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tiff" ContentType="image/tiff"/>
  <Default Extension="gif" ContentType="image/gif"/>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ags/tag1.xml" ContentType="application/vnd.openxmlformats-officedocument.presentationml.tags+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tags/tag12.xml" ContentType="application/vnd.openxmlformats-officedocument.presentationml.tags+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comments/comment1.xml" ContentType="application/vnd.openxmlformats-officedocument.presentationml.comments+xml"/>
  <Override PartName="/ppt/notesSlides/notesSlide16.xml" ContentType="application/vnd.openxmlformats-officedocument.presentationml.notesSlide+xml"/>
  <Override PartName="/ppt/comments/comment2.xml" ContentType="application/vnd.openxmlformats-officedocument.presentationml.comments+xml"/>
  <Override PartName="/ppt/notesSlides/notesSlide17.xml" ContentType="application/vnd.openxmlformats-officedocument.presentationml.notesSlide+xml"/>
  <Override PartName="/ppt/comments/comment3.xml" ContentType="application/vnd.openxmlformats-officedocument.presentationml.comments+xml"/>
  <Override PartName="/ppt/notesSlides/notesSlide18.xml" ContentType="application/vnd.openxmlformats-officedocument.presentationml.notesSlide+xml"/>
  <Override PartName="/ppt/comments/comment4.xml" ContentType="application/vnd.openxmlformats-officedocument.presentationml.comments+xml"/>
  <Override PartName="/ppt/notesSlides/notesSlide19.xml" ContentType="application/vnd.openxmlformats-officedocument.presentationml.notesSlide+xml"/>
  <Override PartName="/ppt/comments/comment5.xml" ContentType="application/vnd.openxmlformats-officedocument.presentationml.comments+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comments/comment6.xml" ContentType="application/vnd.openxmlformats-officedocument.presentationml.comments+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tags/tag13.xml" ContentType="application/vnd.openxmlformats-officedocument.presentationml.tags+xml"/>
  <Override PartName="/ppt/notesSlides/notesSlide24.xml" ContentType="application/vnd.openxmlformats-officedocument.presentationml.notesSlide+xml"/>
  <Override PartName="/ppt/tags/tag14.xml" ContentType="application/vnd.openxmlformats-officedocument.presentationml.tags+xml"/>
  <Override PartName="/ppt/notesSlides/notesSlide25.xml" ContentType="application/vnd.openxmlformats-officedocument.presentationml.notesSlide+xml"/>
  <Override PartName="/ppt/comments/comment7.xml" ContentType="application/vnd.openxmlformats-officedocument.presentationml.comments+xml"/>
  <Override PartName="/ppt/comments/comment8.xml" ContentType="application/vnd.openxmlformats-officedocument.presentationml.comments+xml"/>
  <Override PartName="/ppt/notesSlides/notesSlide26.xml" ContentType="application/vnd.openxmlformats-officedocument.presentationml.notesSlide+xml"/>
  <Override PartName="/ppt/comments/comment9.xml" ContentType="application/vnd.openxmlformats-officedocument.presentationml.comments+xml"/>
  <Override PartName="/ppt/comments/comment10.xml" ContentType="application/vnd.openxmlformats-officedocument.presentationml.comments+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tags/tag15.xml" ContentType="application/vnd.openxmlformats-officedocument.presentationml.tags+xml"/>
  <Override PartName="/ppt/notesSlides/notesSlide33.xml" ContentType="application/vnd.openxmlformats-officedocument.presentationml.notesSlide+xml"/>
  <Override PartName="/ppt/tags/tag16.xml" ContentType="application/vnd.openxmlformats-officedocument.presentationml.tags+xml"/>
  <Override PartName="/ppt/notesSlides/notesSlide34.xml" ContentType="application/vnd.openxmlformats-officedocument.presentationml.notesSlide+xml"/>
  <Override PartName="/ppt/tags/tag17.xml" ContentType="application/vnd.openxmlformats-officedocument.presentationml.tags+xml"/>
  <Override PartName="/ppt/notesSlides/notesSlide35.xml" ContentType="application/vnd.openxmlformats-officedocument.presentationml.notesSlide+xml"/>
  <Override PartName="/ppt/tags/tag18.xml" ContentType="application/vnd.openxmlformats-officedocument.presentationml.tags+xml"/>
  <Override PartName="/ppt/notesSlides/notesSlide36.xml" ContentType="application/vnd.openxmlformats-officedocument.presentationml.notesSlide+xml"/>
  <Override PartName="/ppt/tags/tag19.xml" ContentType="application/vnd.openxmlformats-officedocument.presentationml.tags+xml"/>
  <Override PartName="/ppt/notesSlides/notesSlide37.xml" ContentType="application/vnd.openxmlformats-officedocument.presentationml.notesSlide+xml"/>
  <Override PartName="/ppt/tags/tag20.xml" ContentType="application/vnd.openxmlformats-officedocument.presentationml.tags+xml"/>
  <Override PartName="/ppt/notesSlides/notesSlide38.xml" ContentType="application/vnd.openxmlformats-officedocument.presentationml.notesSlide+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tags/tag29.xml" ContentType="application/vnd.openxmlformats-officedocument.presentationml.tags+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comments/comment11.xml" ContentType="application/vnd.openxmlformats-officedocument.presentationml.comments+xml"/>
  <Override PartName="/ppt/tags/tag30.xml" ContentType="application/vnd.openxmlformats-officedocument.presentationml.tags+xml"/>
  <Override PartName="/ppt/notesSlides/notesSlide43.xml" ContentType="application/vnd.openxmlformats-officedocument.presentationml.notesSlide+xml"/>
  <Override PartName="/ppt/comments/comment12.xml" ContentType="application/vnd.openxmlformats-officedocument.presentationml.comments+xml"/>
  <Override PartName="/ppt/notesSlides/notesSlide44.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787" r:id="rId6"/>
    <p:sldMasterId id="2147483804" r:id="rId7"/>
  </p:sldMasterIdLst>
  <p:notesMasterIdLst>
    <p:notesMasterId r:id="rId59"/>
  </p:notesMasterIdLst>
  <p:sldIdLst>
    <p:sldId id="741" r:id="rId8"/>
    <p:sldId id="784" r:id="rId9"/>
    <p:sldId id="785" r:id="rId10"/>
    <p:sldId id="742" r:id="rId11"/>
    <p:sldId id="738" r:id="rId12"/>
    <p:sldId id="739" r:id="rId13"/>
    <p:sldId id="740" r:id="rId14"/>
    <p:sldId id="744" r:id="rId15"/>
    <p:sldId id="808" r:id="rId16"/>
    <p:sldId id="757" r:id="rId17"/>
    <p:sldId id="754" r:id="rId18"/>
    <p:sldId id="755" r:id="rId19"/>
    <p:sldId id="756" r:id="rId20"/>
    <p:sldId id="780" r:id="rId21"/>
    <p:sldId id="788" r:id="rId22"/>
    <p:sldId id="789" r:id="rId23"/>
    <p:sldId id="790" r:id="rId24"/>
    <p:sldId id="791" r:id="rId25"/>
    <p:sldId id="792" r:id="rId26"/>
    <p:sldId id="794" r:id="rId27"/>
    <p:sldId id="806" r:id="rId28"/>
    <p:sldId id="807" r:id="rId29"/>
    <p:sldId id="746" r:id="rId30"/>
    <p:sldId id="795" r:id="rId31"/>
    <p:sldId id="758" r:id="rId32"/>
    <p:sldId id="796" r:id="rId33"/>
    <p:sldId id="786" r:id="rId34"/>
    <p:sldId id="797" r:id="rId35"/>
    <p:sldId id="798" r:id="rId36"/>
    <p:sldId id="800" r:id="rId37"/>
    <p:sldId id="799" r:id="rId38"/>
    <p:sldId id="747" r:id="rId39"/>
    <p:sldId id="809" r:id="rId40"/>
    <p:sldId id="778" r:id="rId41"/>
    <p:sldId id="810" r:id="rId42"/>
    <p:sldId id="811" r:id="rId43"/>
    <p:sldId id="750" r:id="rId44"/>
    <p:sldId id="771" r:id="rId45"/>
    <p:sldId id="772" r:id="rId46"/>
    <p:sldId id="773" r:id="rId47"/>
    <p:sldId id="774" r:id="rId48"/>
    <p:sldId id="775" r:id="rId49"/>
    <p:sldId id="776" r:id="rId50"/>
    <p:sldId id="779" r:id="rId51"/>
    <p:sldId id="781" r:id="rId52"/>
    <p:sldId id="801" r:id="rId53"/>
    <p:sldId id="802" r:id="rId54"/>
    <p:sldId id="803" r:id="rId55"/>
    <p:sldId id="804" r:id="rId56"/>
    <p:sldId id="734" r:id="rId57"/>
    <p:sldId id="783" r:id="rId58"/>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Tauschia Copeland" initials="TC" lastIdx="51" clrIdx="0">
    <p:extLst>
      <p:ext uri="{19B8F6BF-5375-455C-9EA6-DF929625EA0E}">
        <p15:presenceInfo xmlns:p15="http://schemas.microsoft.com/office/powerpoint/2012/main" userId="Tauschia Copeland" providerId="None"/>
      </p:ext>
    </p:extLst>
  </p:cmAuthor>
  <p:cmAuthor id="2" name="Madhu Reddy" initials="MR" lastIdx="1" clrIdx="1">
    <p:extLst>
      <p:ext uri="{19B8F6BF-5375-455C-9EA6-DF929625EA0E}">
        <p15:presenceInfo xmlns:p15="http://schemas.microsoft.com/office/powerpoint/2012/main" userId="0d8d4d483ea927c5" providerId="Windows Live"/>
      </p:ext>
    </p:extLst>
  </p:cmAuthor>
  <p:cmAuthor id="3" name="Theresa Howe" initials="TH" lastIdx="121" clrIdx="2">
    <p:extLst>
      <p:ext uri="{19B8F6BF-5375-455C-9EA6-DF929625EA0E}">
        <p15:presenceInfo xmlns:p15="http://schemas.microsoft.com/office/powerpoint/2012/main" userId="8dfc3a0cf05d9ab4" providerId="Windows Live"/>
      </p:ext>
    </p:extLst>
  </p:cmAuthor>
  <p:cmAuthor id="4" name="Thad" initials="T" lastIdx="7" clrIdx="3">
    <p:extLst>
      <p:ext uri="{19B8F6BF-5375-455C-9EA6-DF929625EA0E}">
        <p15:presenceInfo xmlns:p15="http://schemas.microsoft.com/office/powerpoint/2012/main" userId="Thad" providerId="None"/>
      </p:ext>
    </p:extLst>
  </p:cmAuthor>
  <p:cmAuthor id="5" name="Abby Breckenridge" initials="AB" lastIdx="7" clrIdx="4">
    <p:extLst>
      <p:ext uri="{19B8F6BF-5375-455C-9EA6-DF929625EA0E}">
        <p15:presenceInfo xmlns:p15="http://schemas.microsoft.com/office/powerpoint/2012/main" userId="Abby Breckenridge" providerId="None"/>
      </p:ext>
    </p:extLst>
  </p:cmAuthor>
  <p:cmAuthor id="6" name="Scott" initials="S" lastIdx="40" clrIdx="5">
    <p:extLst>
      <p:ext uri="{19B8F6BF-5375-455C-9EA6-DF929625EA0E}">
        <p15:presenceInfo xmlns:p15="http://schemas.microsoft.com/office/powerpoint/2012/main" userId="Scott"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8A00"/>
    <a:srgbClr val="BAD80A"/>
    <a:srgbClr val="DC3C00"/>
    <a:srgbClr val="FF8C00"/>
    <a:srgbClr val="7FBA00"/>
    <a:srgbClr val="00BCF2"/>
    <a:srgbClr val="68217A"/>
    <a:srgbClr val="FCD116"/>
    <a:srgbClr val="BBD90A"/>
    <a:srgbClr val="00205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616DA210-FB5B-4158-B5E0-FEB733F419BA}" styleName="Light Style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 styleId="{D7AC3CCA-C797-4891-BE02-D94E43425B78}" styleName="Medium Style 4">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w="12700" cmpd="sng">
              <a:solidFill>
                <a:schemeClr val="dk1"/>
              </a:solid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25400" cmpd="sng">
              <a:solidFill>
                <a:schemeClr val="dk1"/>
              </a:solidFill>
            </a:ln>
          </a:top>
        </a:tcBdr>
        <a:fill>
          <a:solidFill>
            <a:schemeClr val="dk1">
              <a:tint val="20000"/>
            </a:schemeClr>
          </a:solidFill>
        </a:fill>
      </a:tcStyle>
    </a:lastRow>
    <a:firstRow>
      <a:tcTxStyle b="on"/>
      <a:tcStyle>
        <a:tcBdr/>
        <a:fill>
          <a:solidFill>
            <a:schemeClr val="dk1">
              <a:tint val="20000"/>
            </a:schemeClr>
          </a:solidFill>
        </a:fill>
      </a:tcStyle>
    </a:firstRow>
  </a:tblStyle>
  <a:tblStyle styleId="{16D9F66E-5EB9-4882-86FB-DCBF35E3C3E4}" styleName="Medium Style 4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solidFill>
            <a:schemeClr val="accent6">
              <a:tint val="20000"/>
            </a:schemeClr>
          </a:solidFill>
        </a:fill>
      </a:tcStyle>
    </a:wholeTbl>
    <a:band1H>
      <a:tcStyle>
        <a:tcBdr/>
        <a:fill>
          <a:solidFill>
            <a:schemeClr val="accent6">
              <a:tint val="40000"/>
            </a:schemeClr>
          </a:solidFill>
        </a:fill>
      </a:tcStyle>
    </a:band1H>
    <a:band1V>
      <a:tcStyle>
        <a:tcBdr/>
        <a:fill>
          <a:solidFill>
            <a:schemeClr val="accent6">
              <a:tint val="40000"/>
            </a:schemeClr>
          </a:solidFill>
        </a:fill>
      </a:tcStyle>
    </a:band1V>
    <a:lastCol>
      <a:tcTxStyle b="on"/>
      <a:tcStyle>
        <a:tcBdr/>
      </a:tcStyle>
    </a:lastCol>
    <a:firstCol>
      <a:tcTxStyle b="on"/>
      <a:tcStyle>
        <a:tcBdr/>
      </a:tcStyle>
    </a:firstCol>
    <a:lastRow>
      <a:tcTxStyle b="on"/>
      <a:tcStyle>
        <a:tcBdr>
          <a:top>
            <a:ln w="25400" cmpd="sng">
              <a:solidFill>
                <a:schemeClr val="accent6"/>
              </a:solidFill>
            </a:ln>
          </a:top>
        </a:tcBdr>
        <a:fill>
          <a:solidFill>
            <a:schemeClr val="accent6">
              <a:tint val="20000"/>
            </a:schemeClr>
          </a:solidFill>
        </a:fill>
      </a:tcStyle>
    </a:lastRow>
    <a:firstRow>
      <a:tcTxStyle b="on"/>
      <a:tcStyle>
        <a:tcBdr/>
        <a:fill>
          <a:solidFill>
            <a:schemeClr val="accent6">
              <a:tint val="20000"/>
            </a:schemeClr>
          </a:solidFill>
        </a:fill>
      </a:tcStyle>
    </a:firstRow>
  </a:tblStyle>
  <a:tblStyle styleId="{8799B23B-EC83-4686-B30A-512413B5E67A}" styleName="Light Style 3 - Accent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62" autoAdjust="0"/>
    <p:restoredTop sz="90104" autoAdjust="0"/>
  </p:normalViewPr>
  <p:slideViewPr>
    <p:cSldViewPr snapToGrid="0">
      <p:cViewPr varScale="1">
        <p:scale>
          <a:sx n="69" d="100"/>
          <a:sy n="69" d="100"/>
        </p:scale>
        <p:origin x="945" y="51"/>
      </p:cViewPr>
      <p:guideLst/>
    </p:cSldViewPr>
  </p:slideViewPr>
  <p:notesTextViewPr>
    <p:cViewPr>
      <p:scale>
        <a:sx n="3" d="2"/>
        <a:sy n="3" d="2"/>
      </p:scale>
      <p:origin x="0" y="0"/>
    </p:cViewPr>
  </p:notesTextViewPr>
  <p:sorterViewPr>
    <p:cViewPr varScale="1">
      <p:scale>
        <a:sx n="100" d="100"/>
        <a:sy n="100" d="100"/>
      </p:scale>
      <p:origin x="0" y="-5592"/>
    </p:cViewPr>
  </p:sorterViewPr>
  <p:notesViewPr>
    <p:cSldViewPr snapToGrid="0">
      <p:cViewPr varScale="1">
        <p:scale>
          <a:sx n="81" d="100"/>
          <a:sy n="81" d="100"/>
        </p:scale>
        <p:origin x="3912" y="84"/>
      </p:cViewPr>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9.xml"/><Relationship Id="rId21" Type="http://schemas.openxmlformats.org/officeDocument/2006/relationships/slide" Target="slides/slide14.xml"/><Relationship Id="rId34" Type="http://schemas.openxmlformats.org/officeDocument/2006/relationships/slide" Target="slides/slide27.xml"/><Relationship Id="rId42" Type="http://schemas.openxmlformats.org/officeDocument/2006/relationships/slide" Target="slides/slide35.xml"/><Relationship Id="rId47" Type="http://schemas.openxmlformats.org/officeDocument/2006/relationships/slide" Target="slides/slide40.xml"/><Relationship Id="rId50" Type="http://schemas.openxmlformats.org/officeDocument/2006/relationships/slide" Target="slides/slide43.xml"/><Relationship Id="rId55" Type="http://schemas.openxmlformats.org/officeDocument/2006/relationships/slide" Target="slides/slide48.xml"/><Relationship Id="rId63" Type="http://schemas.openxmlformats.org/officeDocument/2006/relationships/theme" Target="theme/theme1.xml"/><Relationship Id="rId7" Type="http://schemas.openxmlformats.org/officeDocument/2006/relationships/slideMaster" Target="slideMasters/slideMaster2.xml"/><Relationship Id="rId2" Type="http://schemas.openxmlformats.org/officeDocument/2006/relationships/customXml" Target="../customXml/item2.xml"/><Relationship Id="rId16" Type="http://schemas.openxmlformats.org/officeDocument/2006/relationships/slide" Target="slides/slide9.xml"/><Relationship Id="rId29" Type="http://schemas.openxmlformats.org/officeDocument/2006/relationships/slide" Target="slides/slide22.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slide" Target="slides/slide25.xml"/><Relationship Id="rId37" Type="http://schemas.openxmlformats.org/officeDocument/2006/relationships/slide" Target="slides/slide30.xml"/><Relationship Id="rId40" Type="http://schemas.openxmlformats.org/officeDocument/2006/relationships/slide" Target="slides/slide33.xml"/><Relationship Id="rId45" Type="http://schemas.openxmlformats.org/officeDocument/2006/relationships/slide" Target="slides/slide38.xml"/><Relationship Id="rId53" Type="http://schemas.openxmlformats.org/officeDocument/2006/relationships/slide" Target="slides/slide46.xml"/><Relationship Id="rId58" Type="http://schemas.openxmlformats.org/officeDocument/2006/relationships/slide" Target="slides/slide51.xml"/><Relationship Id="rId5" Type="http://schemas.openxmlformats.org/officeDocument/2006/relationships/customXml" Target="../customXml/item5.xml"/><Relationship Id="rId61" Type="http://schemas.openxmlformats.org/officeDocument/2006/relationships/presProps" Target="presProps.xml"/><Relationship Id="rId19" Type="http://schemas.openxmlformats.org/officeDocument/2006/relationships/slide" Target="slides/slide1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slide" Target="slides/slide28.xml"/><Relationship Id="rId43" Type="http://schemas.openxmlformats.org/officeDocument/2006/relationships/slide" Target="slides/slide36.xml"/><Relationship Id="rId48" Type="http://schemas.openxmlformats.org/officeDocument/2006/relationships/slide" Target="slides/slide41.xml"/><Relationship Id="rId56" Type="http://schemas.openxmlformats.org/officeDocument/2006/relationships/slide" Target="slides/slide49.xml"/><Relationship Id="rId64" Type="http://schemas.openxmlformats.org/officeDocument/2006/relationships/tableStyles" Target="tableStyles.xml"/><Relationship Id="rId8" Type="http://schemas.openxmlformats.org/officeDocument/2006/relationships/slide" Target="slides/slide1.xml"/><Relationship Id="rId51" Type="http://schemas.openxmlformats.org/officeDocument/2006/relationships/slide" Target="slides/slide44.xml"/><Relationship Id="rId3" Type="http://schemas.openxmlformats.org/officeDocument/2006/relationships/customXml" Target="../customXml/item3.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slide" Target="slides/slide26.xml"/><Relationship Id="rId38" Type="http://schemas.openxmlformats.org/officeDocument/2006/relationships/slide" Target="slides/slide31.xml"/><Relationship Id="rId46" Type="http://schemas.openxmlformats.org/officeDocument/2006/relationships/slide" Target="slides/slide39.xml"/><Relationship Id="rId59" Type="http://schemas.openxmlformats.org/officeDocument/2006/relationships/notesMaster" Target="notesMasters/notesMaster1.xml"/><Relationship Id="rId20" Type="http://schemas.openxmlformats.org/officeDocument/2006/relationships/slide" Target="slides/slide13.xml"/><Relationship Id="rId41" Type="http://schemas.openxmlformats.org/officeDocument/2006/relationships/slide" Target="slides/slide34.xml"/><Relationship Id="rId54" Type="http://schemas.openxmlformats.org/officeDocument/2006/relationships/slide" Target="slides/slide47.xml"/><Relationship Id="rId62"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Master" Target="slideMasters/slideMaster1.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slide" Target="slides/slide29.xml"/><Relationship Id="rId49" Type="http://schemas.openxmlformats.org/officeDocument/2006/relationships/slide" Target="slides/slide42.xml"/><Relationship Id="rId57" Type="http://schemas.openxmlformats.org/officeDocument/2006/relationships/slide" Target="slides/slide50.xml"/><Relationship Id="rId10" Type="http://schemas.openxmlformats.org/officeDocument/2006/relationships/slide" Target="slides/slide3.xml"/><Relationship Id="rId31" Type="http://schemas.openxmlformats.org/officeDocument/2006/relationships/slide" Target="slides/slide24.xml"/><Relationship Id="rId44" Type="http://schemas.openxmlformats.org/officeDocument/2006/relationships/slide" Target="slides/slide37.xml"/><Relationship Id="rId52" Type="http://schemas.openxmlformats.org/officeDocument/2006/relationships/slide" Target="slides/slide45.xml"/><Relationship Id="rId60" Type="http://schemas.openxmlformats.org/officeDocument/2006/relationships/commentAuthors" Target="commentAuthors.xml"/><Relationship Id="rId65" Type="http://schemas.microsoft.com/office/2015/10/relationships/revisionInfo" Target="revisionInfo.xml"/><Relationship Id="rId4" Type="http://schemas.openxmlformats.org/officeDocument/2006/relationships/customXml" Target="../customXml/item4.xml"/><Relationship Id="rId9" Type="http://schemas.openxmlformats.org/officeDocument/2006/relationships/slide" Target="slides/slide2.xml"/><Relationship Id="rId13" Type="http://schemas.openxmlformats.org/officeDocument/2006/relationships/slide" Target="slides/slide6.xml"/><Relationship Id="rId18" Type="http://schemas.openxmlformats.org/officeDocument/2006/relationships/slide" Target="slides/slide11.xml"/><Relationship Id="rId39" Type="http://schemas.openxmlformats.org/officeDocument/2006/relationships/slide" Target="slides/slide32.xml"/></Relationships>
</file>

<file path=ppt/comments/comment1.xml><?xml version="1.0" encoding="utf-8"?>
<p:cmLst xmlns:a="http://schemas.openxmlformats.org/drawingml/2006/main" xmlns:r="http://schemas.openxmlformats.org/officeDocument/2006/relationships" xmlns:p="http://schemas.openxmlformats.org/presentationml/2006/main">
  <p:cm authorId="6" dt="2016-11-02T14:17:50.411" idx="29">
    <p:pos x="106" y="106"/>
    <p:text>"Make icons smaller and text more visible on this"</p:text>
    <p:extLst>
      <p:ext uri="{C676402C-5697-4E1C-873F-D02D1690AC5C}">
        <p15:threadingInfo xmlns:p15="http://schemas.microsoft.com/office/powerpoint/2012/main" timeZoneBias="420"/>
      </p:ext>
    </p:extLst>
  </p:cm>
</p:cmLst>
</file>

<file path=ppt/comments/comment10.xml><?xml version="1.0" encoding="utf-8"?>
<p:cmLst xmlns:a="http://schemas.openxmlformats.org/drawingml/2006/main" xmlns:r="http://schemas.openxmlformats.org/officeDocument/2006/relationships" xmlns:p="http://schemas.openxmlformats.org/presentationml/2006/main">
  <p:cm authorId="6" dt="2016-11-03T11:26:54.779" idx="34">
    <p:pos x="4295" y="2697"/>
    <p:text>Delete grey icons.  Add text ' logs enabled'. There is an icon for Blob Store.</p:text>
    <p:extLst>
      <p:ext uri="{C676402C-5697-4E1C-873F-D02D1690AC5C}">
        <p15:threadingInfo xmlns:p15="http://schemas.microsoft.com/office/powerpoint/2012/main" timeZoneBias="420"/>
      </p:ext>
    </p:extLst>
  </p:cm>
  <p:cm authorId="6" dt="2016-11-03T11:28:46.238" idx="35">
    <p:pos x="4295" y="2793"/>
    <p:text>Perhaps not in boxes, use big green arrows.  They will be scrunched up so they won't look 'so nothing'</p:text>
    <p:extLst>
      <p:ext uri="{C676402C-5697-4E1C-873F-D02D1690AC5C}">
        <p15:threadingInfo xmlns:p15="http://schemas.microsoft.com/office/powerpoint/2012/main" timeZoneBias="420">
          <p15:parentCm authorId="6" idx="34"/>
        </p15:threadingInfo>
      </p:ext>
    </p:extLst>
  </p:cm>
</p:cmLst>
</file>

<file path=ppt/comments/comment11.xml><?xml version="1.0" encoding="utf-8"?>
<p:cmLst xmlns:a="http://schemas.openxmlformats.org/drawingml/2006/main" xmlns:r="http://schemas.openxmlformats.org/officeDocument/2006/relationships" xmlns:p="http://schemas.openxmlformats.org/presentationml/2006/main">
  <p:cm authorId="6" dt="2016-10-27T14:27:43.092" idx="13">
    <p:pos x="10" y="10"/>
    <p:text>Background boxes for the 'On Premises', 'Cloud', and 'Consumption'</p:text>
    <p:extLst>
      <p:ext uri="{C676402C-5697-4E1C-873F-D02D1690AC5C}">
        <p15:threadingInfo xmlns:p15="http://schemas.microsoft.com/office/powerpoint/2012/main" timeZoneBias="420"/>
      </p:ext>
    </p:extLst>
  </p:cm>
  <p:cm authorId="6" dt="2016-10-27T14:28:50.014" idx="14">
    <p:pos x="106" y="106"/>
    <p:text>Have to show the options</p:text>
    <p:extLst>
      <p:ext uri="{C676402C-5697-4E1C-873F-D02D1690AC5C}">
        <p15:threadingInfo xmlns:p15="http://schemas.microsoft.com/office/powerpoint/2012/main" timeZoneBias="420"/>
      </p:ext>
    </p:extLst>
  </p:cm>
  <p:cm authorId="6" dt="2016-11-01T11:21:49.545" idx="23">
    <p:pos x="106" y="202"/>
    <p:text>Not swoopy arrow</p:text>
    <p:extLst>
      <p:ext uri="{C676402C-5697-4E1C-873F-D02D1690AC5C}">
        <p15:threadingInfo xmlns:p15="http://schemas.microsoft.com/office/powerpoint/2012/main" timeZoneBias="420">
          <p15:parentCm authorId="6" idx="14"/>
        </p15:threadingInfo>
      </p:ext>
    </p:extLst>
  </p:cm>
  <p:cm authorId="6" dt="2016-11-01T11:23:31" idx="24">
    <p:pos x="202" y="202"/>
    <p:text>Label style heavier for grey boxes; and make left-aligned</p:text>
    <p:extLst>
      <p:ext uri="{C676402C-5697-4E1C-873F-D02D1690AC5C}">
        <p15:threadingInfo xmlns:p15="http://schemas.microsoft.com/office/powerpoint/2012/main" timeZoneBias="420"/>
      </p:ext>
    </p:extLst>
  </p:cm>
  <p:cm authorId="6" dt="2016-11-01T11:24:40.124" idx="25">
    <p:pos x="202" y="298"/>
    <p:text>Find edited version</p:text>
    <p:extLst>
      <p:ext uri="{C676402C-5697-4E1C-873F-D02D1690AC5C}">
        <p15:threadingInfo xmlns:p15="http://schemas.microsoft.com/office/powerpoint/2012/main" timeZoneBias="420">
          <p15:parentCm authorId="6" idx="24"/>
        </p15:threadingInfo>
      </p:ext>
    </p:extLst>
  </p:cm>
</p:cmLst>
</file>

<file path=ppt/comments/comment12.xml><?xml version="1.0" encoding="utf-8"?>
<p:cmLst xmlns:a="http://schemas.openxmlformats.org/drawingml/2006/main" xmlns:r="http://schemas.openxmlformats.org/officeDocument/2006/relationships" xmlns:p="http://schemas.openxmlformats.org/presentationml/2006/main">
  <p:cm authorId="6" dt="2016-11-03T11:32:22.649" idx="38">
    <p:pos x="10" y="10"/>
    <p:text>Create table. A little 'how you pay' illustration.  Perhaps something from Chilli.</p:text>
    <p:extLst>
      <p:ext uri="{C676402C-5697-4E1C-873F-D02D1690AC5C}">
        <p15:threadingInfo xmlns:p15="http://schemas.microsoft.com/office/powerpoint/2012/main" timeZoneBias="420"/>
      </p:ext>
    </p:extLst>
  </p:cm>
</p:cmLst>
</file>

<file path=ppt/comments/comment2.xml><?xml version="1.0" encoding="utf-8"?>
<p:cmLst xmlns:a="http://schemas.openxmlformats.org/drawingml/2006/main" xmlns:r="http://schemas.openxmlformats.org/officeDocument/2006/relationships" xmlns:p="http://schemas.openxmlformats.org/presentationml/2006/main">
  <p:cm authorId="5" dt="2016-10-31T14:23:53.719" idx="3">
    <p:pos x="10" y="10"/>
    <p:text>Find icons for the blank one.</p:text>
    <p:extLst>
      <p:ext uri="{C676402C-5697-4E1C-873F-D02D1690AC5C}">
        <p15:threadingInfo xmlns:p15="http://schemas.microsoft.com/office/powerpoint/2012/main" timeZoneBias="420"/>
      </p:ext>
    </p:extLst>
  </p:cm>
  <p:cm authorId="5" dt="2016-10-31T14:25:36.004" idx="4">
    <p:pos x="10" y="106"/>
    <p:text>Serach Azure portal
ADL COpy can be the Azure Data Lake Store icon
OSS tools can be the Hadoop elephant</p:text>
    <p:extLst>
      <p:ext uri="{C676402C-5697-4E1C-873F-D02D1690AC5C}">
        <p15:threadingInfo xmlns:p15="http://schemas.microsoft.com/office/powerpoint/2012/main" timeZoneBias="420">
          <p15:parentCm authorId="5" idx="3"/>
        </p15:threadingInfo>
      </p:ext>
    </p:extLst>
  </p:cm>
  <p:cm authorId="6" dt="2016-11-01T11:19:13.703" idx="22">
    <p:pos x="10" y="202"/>
    <p:text>Remove arrrows, bunch boxes</p:text>
    <p:extLst>
      <p:ext uri="{C676402C-5697-4E1C-873F-D02D1690AC5C}">
        <p15:threadingInfo xmlns:p15="http://schemas.microsoft.com/office/powerpoint/2012/main" timeZoneBias="420">
          <p15:parentCm authorId="5" idx="3"/>
        </p15:threadingInfo>
      </p:ext>
    </p:extLst>
  </p:cm>
</p:cmLst>
</file>

<file path=ppt/comments/comment3.xml><?xml version="1.0" encoding="utf-8"?>
<p:cmLst xmlns:a="http://schemas.openxmlformats.org/drawingml/2006/main" xmlns:r="http://schemas.openxmlformats.org/officeDocument/2006/relationships" xmlns:p="http://schemas.openxmlformats.org/presentationml/2006/main">
  <p:cm authorId="6" dt="2016-10-27T16:42:15.993" idx="18">
    <p:pos x="10" y="10"/>
    <p:text>Make the stuff on the bottom experience that magic Thad touch.  If you have time, make the diagram way simpler and friendly to look at.</p:text>
    <p:extLst>
      <p:ext uri="{C676402C-5697-4E1C-873F-D02D1690AC5C}">
        <p15:threadingInfo xmlns:p15="http://schemas.microsoft.com/office/powerpoint/2012/main" timeZoneBias="420"/>
      </p:ext>
    </p:extLst>
  </p:cm>
</p:cmLst>
</file>

<file path=ppt/comments/comment4.xml><?xml version="1.0" encoding="utf-8"?>
<p:cmLst xmlns:a="http://schemas.openxmlformats.org/drawingml/2006/main" xmlns:r="http://schemas.openxmlformats.org/officeDocument/2006/relationships" xmlns:p="http://schemas.openxmlformats.org/presentationml/2006/main">
  <p:cm authorId="6" dt="2016-11-02T14:18:15.380" idx="30">
    <p:pos x="10" y="10"/>
    <p:text>"Can we show ADF supports ADL in the graphic?"</p:text>
    <p:extLst>
      <p:ext uri="{C676402C-5697-4E1C-873F-D02D1690AC5C}">
        <p15:threadingInfo xmlns:p15="http://schemas.microsoft.com/office/powerpoint/2012/main" timeZoneBias="420"/>
      </p:ext>
    </p:extLst>
  </p:cm>
</p:cmLst>
</file>

<file path=ppt/comments/comment5.xml><?xml version="1.0" encoding="utf-8"?>
<p:cmLst xmlns:a="http://schemas.openxmlformats.org/drawingml/2006/main" xmlns:r="http://schemas.openxmlformats.org/officeDocument/2006/relationships" xmlns:p="http://schemas.openxmlformats.org/presentationml/2006/main">
  <p:cm authorId="5" dt="2016-10-31T14:26:38.734" idx="6">
    <p:pos x="10" y="10"/>
    <p:text>Instead of the PBI icon, Let's use a monitor iwth visualiztaions and then label below. SAme for excel, let's have a table icon</p:text>
    <p:extLst>
      <p:ext uri="{C676402C-5697-4E1C-873F-D02D1690AC5C}">
        <p15:threadingInfo xmlns:p15="http://schemas.microsoft.com/office/powerpoint/2012/main" timeZoneBias="420"/>
      </p:ext>
    </p:extLst>
  </p:cm>
  <p:cm authorId="5" dt="2016-10-31T14:27:52.352" idx="7">
    <p:pos x="10" y="106"/>
    <p:text>And please make the label stylematch the original dekcs</p:text>
    <p:extLst>
      <p:ext uri="{C676402C-5697-4E1C-873F-D02D1690AC5C}">
        <p15:threadingInfo xmlns:p15="http://schemas.microsoft.com/office/powerpoint/2012/main" timeZoneBias="420">
          <p15:parentCm authorId="5" idx="6"/>
        </p15:threadingInfo>
      </p:ext>
    </p:extLst>
  </p:cm>
</p:cmLst>
</file>

<file path=ppt/comments/comment6.xml><?xml version="1.0" encoding="utf-8"?>
<p:cmLst xmlns:a="http://schemas.openxmlformats.org/drawingml/2006/main" xmlns:r="http://schemas.openxmlformats.org/officeDocument/2006/relationships" xmlns:p="http://schemas.openxmlformats.org/presentationml/2006/main">
  <p:cm authorId="6" dt="2016-10-26T10:57:09.302" idx="12">
    <p:pos x="10" y="10"/>
    <p:text>Abby and I need to work on text first here.</p:text>
    <p:extLst>
      <p:ext uri="{C676402C-5697-4E1C-873F-D02D1690AC5C}">
        <p15:threadingInfo xmlns:p15="http://schemas.microsoft.com/office/powerpoint/2012/main" timeZoneBias="420"/>
      </p:ext>
    </p:extLst>
  </p:cm>
</p:cmLst>
</file>

<file path=ppt/comments/comment7.xml><?xml version="1.0" encoding="utf-8"?>
<p:cmLst xmlns:a="http://schemas.openxmlformats.org/drawingml/2006/main" xmlns:r="http://schemas.openxmlformats.org/officeDocument/2006/relationships" xmlns:p="http://schemas.openxmlformats.org/presentationml/2006/main">
  <p:cm authorId="6" dt="2016-11-01T11:27:01.750" idx="26">
    <p:pos x="10" y="10"/>
    <p:text>changes box titles, outside box and left-aligned, color of the box</p:text>
    <p:extLst>
      <p:ext uri="{C676402C-5697-4E1C-873F-D02D1690AC5C}">
        <p15:threadingInfo xmlns:p15="http://schemas.microsoft.com/office/powerpoint/2012/main" timeZoneBias="420"/>
      </p:ext>
    </p:extLst>
  </p:cm>
</p:cmLst>
</file>

<file path=ppt/comments/comment8.xml><?xml version="1.0" encoding="utf-8"?>
<p:cmLst xmlns:a="http://schemas.openxmlformats.org/drawingml/2006/main" xmlns:r="http://schemas.openxmlformats.org/officeDocument/2006/relationships" xmlns:p="http://schemas.openxmlformats.org/presentationml/2006/main">
  <p:cm authorId="6" dt="2016-11-03T11:52:36.493" idx="39">
    <p:pos x="10" y="10"/>
    <p:text>Line up is weird... ADLS should be in the middle.  First we show someone getting in and someone getting denied.  IP Range whitelist could be a 'white list' in the ADLS.</p:text>
    <p:extLst>
      <p:ext uri="{C676402C-5697-4E1C-873F-D02D1690AC5C}">
        <p15:threadingInfo xmlns:p15="http://schemas.microsoft.com/office/powerpoint/2012/main" timeZoneBias="420"/>
      </p:ext>
    </p:extLst>
  </p:cm>
  <p:cm authorId="6" dt="2016-11-03T11:52:46.223" idx="40">
    <p:pos x="10" y="106"/>
    <p:text>Work on text</p:text>
    <p:extLst>
      <p:ext uri="{C676402C-5697-4E1C-873F-D02D1690AC5C}">
        <p15:threadingInfo xmlns:p15="http://schemas.microsoft.com/office/powerpoint/2012/main" timeZoneBias="420">
          <p15:parentCm authorId="6" idx="39"/>
        </p15:threadingInfo>
      </p:ext>
    </p:extLst>
  </p:cm>
</p:cmLst>
</file>

<file path=ppt/comments/comment9.xml><?xml version="1.0" encoding="utf-8"?>
<p:cmLst xmlns:a="http://schemas.openxmlformats.org/drawingml/2006/main" xmlns:r="http://schemas.openxmlformats.org/officeDocument/2006/relationships" xmlns:p="http://schemas.openxmlformats.org/presentationml/2006/main">
  <p:cm authorId="6" dt="2016-11-03T11:30:18.283" idx="36">
    <p:pos x="10" y="10"/>
    <p:text>Draw through this</p:text>
    <p:extLst>
      <p:ext uri="{C676402C-5697-4E1C-873F-D02D1690AC5C}">
        <p15:threadingInfo xmlns:p15="http://schemas.microsoft.com/office/powerpoint/2012/main" timeZoneBias="420"/>
      </p:ext>
    </p:extLst>
  </p:cm>
</p:cmLst>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59.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3AAD594-D39D-4D42-B074-85BA01FAA4B9}" type="datetimeFigureOut">
              <a:rPr lang="en-US" smtClean="0"/>
              <a:t>12/6/2017</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305278E-5E87-46DA-836C-231A3458D216}" type="slidenum">
              <a:rPr lang="en-US" smtClean="0"/>
              <a:t>‹#›</a:t>
            </a:fld>
            <a:endParaRPr lang="en-US" dirty="0"/>
          </a:p>
        </p:txBody>
      </p:sp>
    </p:spTree>
    <p:extLst>
      <p:ext uri="{BB962C8B-B14F-4D97-AF65-F5344CB8AC3E}">
        <p14:creationId xmlns:p14="http://schemas.microsoft.com/office/powerpoint/2010/main" val="357933784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6" name="Date Placeholder 5"/>
          <p:cNvSpPr>
            <a:spLocks noGrp="1"/>
          </p:cNvSpPr>
          <p:nvPr>
            <p:ph type="dt" idx="12"/>
          </p:nvPr>
        </p:nvSpPr>
        <p:spPr/>
        <p:txBody>
          <a:bodyPr/>
          <a:lstStyle/>
          <a:p>
            <a:fld id="{C5C565FA-3C99-4787-98A7-FCE46D2F55AF}" type="datetime1">
              <a:rPr lang="en-US" smtClean="0">
                <a:solidFill>
                  <a:prstClr val="black"/>
                </a:solidFill>
              </a:rPr>
              <a:pPr/>
              <a:t>12/6/2017</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a:t>
            </a:fld>
            <a:endParaRPr lang="en-US" dirty="0">
              <a:solidFill>
                <a:prstClr val="black"/>
              </a:solidFill>
            </a:endParaRPr>
          </a:p>
        </p:txBody>
      </p:sp>
      <p:sp>
        <p:nvSpPr>
          <p:cNvPr id="10" name="Footer Placeholder 9"/>
          <p:cNvSpPr>
            <a:spLocks noGrp="1"/>
          </p:cNvSpPr>
          <p:nvPr>
            <p:ph type="ftr" sz="quarter" idx="1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120384858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A305278E-5E87-46DA-836C-231A3458D216}" type="slidenum">
              <a:rPr lang="en-US" smtClean="0"/>
              <a:t>11</a:t>
            </a:fld>
            <a:endParaRPr lang="en-US" dirty="0"/>
          </a:p>
        </p:txBody>
      </p:sp>
    </p:spTree>
    <p:extLst>
      <p:ext uri="{BB962C8B-B14F-4D97-AF65-F5344CB8AC3E}">
        <p14:creationId xmlns:p14="http://schemas.microsoft.com/office/powerpoint/2010/main" val="294764522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A305278E-5E87-46DA-836C-231A3458D216}" type="slidenum">
              <a:rPr lang="en-US" smtClean="0"/>
              <a:t>12</a:t>
            </a:fld>
            <a:endParaRPr lang="en-US" dirty="0"/>
          </a:p>
        </p:txBody>
      </p:sp>
    </p:spTree>
    <p:extLst>
      <p:ext uri="{BB962C8B-B14F-4D97-AF65-F5344CB8AC3E}">
        <p14:creationId xmlns:p14="http://schemas.microsoft.com/office/powerpoint/2010/main" val="257460660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A305278E-5E87-46DA-836C-231A3458D216}" type="slidenum">
              <a:rPr lang="en-US" smtClean="0"/>
              <a:t>13</a:t>
            </a:fld>
            <a:endParaRPr lang="en-US" dirty="0"/>
          </a:p>
        </p:txBody>
      </p:sp>
    </p:spTree>
    <p:extLst>
      <p:ext uri="{BB962C8B-B14F-4D97-AF65-F5344CB8AC3E}">
        <p14:creationId xmlns:p14="http://schemas.microsoft.com/office/powerpoint/2010/main" val="59737621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A305278E-5E87-46DA-836C-231A3458D216}" type="slidenum">
              <a:rPr lang="en-US" smtClean="0"/>
              <a:t>14</a:t>
            </a:fld>
            <a:endParaRPr lang="en-US" dirty="0"/>
          </a:p>
        </p:txBody>
      </p:sp>
    </p:spTree>
    <p:extLst>
      <p:ext uri="{BB962C8B-B14F-4D97-AF65-F5344CB8AC3E}">
        <p14:creationId xmlns:p14="http://schemas.microsoft.com/office/powerpoint/2010/main" val="314863611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latin typeface="Segoe UI" panose="020B0502040204020203"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C5C565FA-3C99-4787-98A7-FCE46D2F55AF}" type="datetime1">
              <a:rPr kumimoji="0" lang="en-US" sz="1800" b="0" i="0" u="none" strike="noStrike" kern="0" cap="none" spc="0" normalizeH="0" baseline="0" noProof="0" smtClean="0">
                <a:ln>
                  <a:noFill/>
                </a:ln>
                <a:solidFill>
                  <a:prstClr val="black"/>
                </a:solidFill>
                <a:effectLst/>
                <a:uLnTx/>
                <a:uFillTx/>
                <a:latin typeface="Segoe UI" panose="020B0502040204020203" pitchFamily="34" charset="0"/>
              </a:rPr>
              <a:pPr marL="0" marR="0" lvl="0" indent="0" defTabSz="914400" eaLnBrk="1" fontAlgn="auto" latinLnBrk="0" hangingPunct="1">
                <a:lnSpc>
                  <a:spcPct val="100000"/>
                </a:lnSpc>
                <a:spcBef>
                  <a:spcPts val="0"/>
                </a:spcBef>
                <a:spcAft>
                  <a:spcPts val="0"/>
                </a:spcAft>
                <a:buClrTx/>
                <a:buSzTx/>
                <a:buFontTx/>
                <a:buNone/>
                <a:tabLst/>
                <a:defRPr/>
              </a:pPr>
              <a:t>12/6/2017</a:t>
            </a:fld>
            <a:endParaRPr kumimoji="0" lang="en-US" sz="1800" b="0" i="0" u="none" strike="noStrike" kern="0" cap="none" spc="0" normalizeH="0" baseline="0" noProof="0" dirty="0">
              <a:ln>
                <a:noFill/>
              </a:ln>
              <a:solidFill>
                <a:prstClr val="black"/>
              </a:solidFill>
              <a:effectLst/>
              <a:uLnTx/>
              <a:uFillTx/>
              <a:latin typeface="Segoe UI" panose="020B0502040204020203" pitchFamily="34" charset="0"/>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latin typeface="Segoe UI" panose="020B0502040204020203" pitchFamily="34" charset="0"/>
              </a:rPr>
              <a:pPr marL="0" marR="0" lvl="0" indent="0" defTabSz="914400" eaLnBrk="1" fontAlgn="auto" latinLnBrk="0" hangingPunct="1">
                <a:lnSpc>
                  <a:spcPct val="100000"/>
                </a:lnSpc>
                <a:spcBef>
                  <a:spcPts val="0"/>
                </a:spcBef>
                <a:spcAft>
                  <a:spcPts val="0"/>
                </a:spcAft>
                <a:buClrTx/>
                <a:buSzTx/>
                <a:buFontTx/>
                <a:buNone/>
                <a:tabLst/>
                <a:defRPr/>
              </a:pPr>
              <a:t>15</a:t>
            </a:fld>
            <a:endParaRPr kumimoji="0" lang="en-US" sz="1800" b="0" i="0" u="none" strike="noStrike" kern="0" cap="none" spc="0" normalizeH="0" baseline="0" noProof="0" dirty="0">
              <a:ln>
                <a:noFill/>
              </a:ln>
              <a:solidFill>
                <a:prstClr val="black"/>
              </a:solidFill>
              <a:effectLst/>
              <a:uLnTx/>
              <a:uFillTx/>
              <a:latin typeface="Segoe UI" panose="020B0502040204020203" pitchFamily="34" charset="0"/>
            </a:endParaRPr>
          </a:p>
        </p:txBody>
      </p:sp>
      <p:sp>
        <p:nvSpPr>
          <p:cNvPr id="10" name="Footer Placeholder 9"/>
          <p:cNvSpPr>
            <a:spLocks noGrp="1"/>
          </p:cNvSpPr>
          <p:nvPr>
            <p:ph type="ftr" sz="quarter" idx="14"/>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337501660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prstClr val="black"/>
                </a:solidFill>
                <a:effectLst/>
                <a:uLnTx/>
                <a:uFillTx/>
              </a:rPr>
              <a:t>Build 2015</a:t>
            </a: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endParaRPr>
          </a:p>
        </p:txBody>
      </p:sp>
      <p:sp>
        <p:nvSpPr>
          <p:cNvPr id="5" name="Footer Placeholder 4"/>
          <p:cNvSpPr>
            <a:spLocks noGrp="1"/>
          </p:cNvSpPr>
          <p:nvPr>
            <p:ph type="ftr" sz="quarter" idx="11"/>
          </p:nvPr>
        </p:nvSpPr>
        <p:spPr/>
        <p:txBody>
          <a:bodyPr/>
          <a:lstStyle/>
          <a:p>
            <a:pPr marL="0" marR="0" lvl="0" indent="0" defTabSz="931467"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D7EAB13D-A6F2-4015-84F7-614A48C87750}" type="datetime8">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6/2017 11:09 PM</a:t>
            </a:fld>
            <a:endParaRPr kumimoji="0" lang="en-US" sz="1800" b="0" i="0" u="none" strike="noStrike" kern="0" cap="none" spc="0" normalizeH="0" baseline="0" noProof="0" dirty="0">
              <a:ln>
                <a:noFill/>
              </a:ln>
              <a:solidFill>
                <a:prstClr val="black"/>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6</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123171526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26259FD-FE16-46CE-B845-BFDA1BDE79A0}"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7</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377634712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0121" indent="-280121" defTabSz="914225">
              <a:lnSpc>
                <a:spcPct val="150000"/>
              </a:lnSpc>
              <a:buFont typeface="Arial" panose="020B0604020202020204" pitchFamily="34" charset="0"/>
              <a:buChar char="•"/>
            </a:pPr>
            <a:r>
              <a:rPr lang="en-US" sz="1200" kern="0" dirty="0">
                <a:solidFill>
                  <a:sysClr val="windowText" lastClr="000000"/>
                </a:solidFill>
                <a:latin typeface="Segoe UI"/>
              </a:rPr>
              <a:t>Fully managed service to support orchestration of data movement and transformation</a:t>
            </a:r>
          </a:p>
          <a:p>
            <a:pPr marL="280121" indent="-280121" defTabSz="914225">
              <a:lnSpc>
                <a:spcPct val="150000"/>
              </a:lnSpc>
              <a:buFont typeface="Arial" panose="020B0604020202020204" pitchFamily="34" charset="0"/>
              <a:buChar char="•"/>
            </a:pPr>
            <a:r>
              <a:rPr lang="en-US" sz="1200" kern="0" dirty="0">
                <a:solidFill>
                  <a:sysClr val="windowText" lastClr="000000"/>
                </a:solidFill>
                <a:latin typeface="Segoe UI"/>
                <a:ea typeface="MS PGothic" charset="0"/>
              </a:rPr>
              <a:t>Connect to relational or non-relational data that is on-premises or in the cloud</a:t>
            </a:r>
          </a:p>
          <a:p>
            <a:pPr marL="280121" indent="-280121" defTabSz="914225">
              <a:lnSpc>
                <a:spcPct val="150000"/>
              </a:lnSpc>
              <a:buFont typeface="Arial" panose="020B0604020202020204" pitchFamily="34" charset="0"/>
              <a:buChar char="•"/>
            </a:pPr>
            <a:r>
              <a:rPr lang="en-US" sz="1200" kern="0" dirty="0">
                <a:solidFill>
                  <a:sysClr val="windowText" lastClr="000000"/>
                </a:solidFill>
                <a:latin typeface="Segoe UI"/>
              </a:rPr>
              <a:t>Single pane of glass to monitor and manage data processing pipelines</a:t>
            </a:r>
          </a:p>
          <a:p>
            <a:pPr marL="280121" indent="-280121" defTabSz="914225">
              <a:lnSpc>
                <a:spcPct val="150000"/>
              </a:lnSpc>
              <a:buFont typeface="Arial" panose="020B0604020202020204" pitchFamily="34" charset="0"/>
              <a:buChar char="•"/>
            </a:pPr>
            <a:r>
              <a:rPr lang="en-US" sz="1200" kern="0" dirty="0">
                <a:solidFill>
                  <a:sysClr val="windowText" lastClr="000000"/>
                </a:solidFill>
              </a:rPr>
              <a:t>Globally deployed service infrastructure</a:t>
            </a:r>
            <a:endParaRPr lang="en-US" sz="1200" kern="0" dirty="0">
              <a:solidFill>
                <a:sysClr val="windowText" lastClr="000000"/>
              </a:solidFill>
              <a:latin typeface="Segoe UI"/>
            </a:endParaRPr>
          </a:p>
          <a:p>
            <a:pPr marL="280121" indent="-280121" defTabSz="914225">
              <a:lnSpc>
                <a:spcPct val="150000"/>
              </a:lnSpc>
              <a:buFont typeface="Arial" panose="020B0604020202020204" pitchFamily="34" charset="0"/>
              <a:buChar char="•"/>
            </a:pPr>
            <a:r>
              <a:rPr lang="en-US" sz="1200" kern="0" dirty="0">
                <a:solidFill>
                  <a:sysClr val="windowText" lastClr="000000"/>
                </a:solidFill>
                <a:latin typeface="Segoe UI"/>
              </a:rPr>
              <a:t>Cost Effective</a:t>
            </a:r>
          </a:p>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6/2017 11:09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87582593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esign wizardry</a:t>
            </a:r>
            <a:r>
              <a:rPr lang="en-US" baseline="0" dirty="0"/>
              <a:t>.  Showcase that Azure it is supported as a source and as a sink</a:t>
            </a:r>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26259FD-FE16-46CE-B845-BFDA1BDE79A0}"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9</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169801373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26259FD-FE16-46CE-B845-BFDA1BDE79A0}"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0</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14126054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A305278E-5E87-46DA-836C-231A3458D216}"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201424768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73475" y="850900"/>
            <a:ext cx="2995613" cy="1684338"/>
          </a:xfrm>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ysClr val="windowText" lastClr="000000"/>
                </a:solidFill>
                <a:effectLst/>
                <a:uLnTx/>
                <a:uFillTx/>
              </a:rPr>
              <a:t>SMSG Readiness</a:t>
            </a: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a:t>
            </a:r>
          </a:p>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D51B1278-D92B-4AF3-A9C1-71DD298190CE}" type="datetimeFigureOut">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6/2017</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83505841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dirty="0"/>
              <a:t>Azure</a:t>
            </a:r>
            <a:r>
              <a:rPr lang="en-US" baseline="0" dirty="0"/>
              <a:t> Data Factory</a:t>
            </a:r>
          </a:p>
          <a:p>
            <a:pPr marL="628650" lvl="1" indent="-171450">
              <a:buFont typeface="Arial" panose="020B0604020202020204" pitchFamily="34" charset="0"/>
              <a:buChar char="•"/>
            </a:pPr>
            <a:r>
              <a:rPr lang="en-US" sz="1333" kern="0" dirty="0">
                <a:gradFill>
                  <a:gsLst>
                    <a:gs pos="0">
                      <a:srgbClr val="FFFFFF"/>
                    </a:gs>
                    <a:gs pos="100000">
                      <a:srgbClr val="FFFFFF"/>
                    </a:gs>
                  </a:gsLst>
                  <a:lin ang="5400000" scaled="0"/>
                </a:gradFill>
              </a:rPr>
              <a:t>First-class support for ADL Store</a:t>
            </a:r>
          </a:p>
          <a:p>
            <a:pPr marL="628650" lvl="1" indent="-171450">
              <a:buFont typeface="Arial" panose="020B0604020202020204" pitchFamily="34" charset="0"/>
              <a:buChar char="•"/>
            </a:pPr>
            <a:r>
              <a:rPr lang="en-US" sz="1333" kern="0" dirty="0">
                <a:gradFill>
                  <a:gsLst>
                    <a:gs pos="0">
                      <a:srgbClr val="FFFFFF"/>
                    </a:gs>
                    <a:gs pos="100000">
                      <a:srgbClr val="FFFFFF"/>
                    </a:gs>
                  </a:gsLst>
                  <a:lin ang="5400000" scaled="0"/>
                </a:gradFill>
              </a:rPr>
              <a:t>Support variety of endpoints</a:t>
            </a:r>
          </a:p>
          <a:p>
            <a:pPr marL="628650" lvl="1" indent="-171450">
              <a:buFont typeface="Arial" panose="020B0604020202020204" pitchFamily="34" charset="0"/>
              <a:buChar char="•"/>
            </a:pPr>
            <a:r>
              <a:rPr lang="en-US" sz="1333" kern="0" dirty="0">
                <a:gradFill>
                  <a:gsLst>
                    <a:gs pos="0">
                      <a:srgbClr val="FFFFFF"/>
                    </a:gs>
                    <a:gs pos="100000">
                      <a:srgbClr val="FFFFFF"/>
                    </a:gs>
                  </a:gsLst>
                  <a:lin ang="5400000" scaled="0"/>
                </a:gradFill>
              </a:rPr>
              <a:t>WASB, </a:t>
            </a:r>
            <a:r>
              <a:rPr lang="en-US" sz="1333" kern="0" dirty="0" err="1">
                <a:gradFill>
                  <a:gsLst>
                    <a:gs pos="0">
                      <a:srgbClr val="FFFFFF"/>
                    </a:gs>
                    <a:gs pos="100000">
                      <a:srgbClr val="FFFFFF"/>
                    </a:gs>
                  </a:gsLst>
                  <a:lin ang="5400000" scaled="0"/>
                </a:gradFill>
              </a:rPr>
              <a:t>OnPrem</a:t>
            </a:r>
            <a:r>
              <a:rPr lang="en-US" sz="1333" kern="0" dirty="0">
                <a:gradFill>
                  <a:gsLst>
                    <a:gs pos="0">
                      <a:srgbClr val="FFFFFF"/>
                    </a:gs>
                    <a:gs pos="100000">
                      <a:srgbClr val="FFFFFF"/>
                    </a:gs>
                  </a:gsLst>
                  <a:lin ang="5400000" scaled="0"/>
                </a:gradFill>
              </a:rPr>
              <a:t>, Relational DB</a:t>
            </a:r>
          </a:p>
          <a:p>
            <a:pPr marL="628650" lvl="1" indent="-171450">
              <a:buFont typeface="Arial" panose="020B0604020202020204" pitchFamily="34" charset="0"/>
              <a:buChar char="•"/>
            </a:pPr>
            <a:r>
              <a:rPr lang="en-US" sz="1333" kern="0" dirty="0">
                <a:gradFill>
                  <a:gsLst>
                    <a:gs pos="0">
                      <a:srgbClr val="FFFFFF"/>
                    </a:gs>
                    <a:gs pos="100000">
                      <a:srgbClr val="FFFFFF"/>
                    </a:gs>
                  </a:gsLst>
                  <a:lin ang="5400000" scaled="0"/>
                </a:gradFill>
              </a:rPr>
              <a:t>Integrated with Analytic tools</a:t>
            </a:r>
          </a:p>
          <a:p>
            <a:pPr marL="628650" lvl="1" indent="-171450">
              <a:buFont typeface="Arial" panose="020B0604020202020204" pitchFamily="34" charset="0"/>
              <a:buChar char="•"/>
            </a:pPr>
            <a:r>
              <a:rPr lang="en-US" sz="1333" kern="0" dirty="0">
                <a:gradFill>
                  <a:gsLst>
                    <a:gs pos="0">
                      <a:srgbClr val="FFFFFF"/>
                    </a:gs>
                    <a:gs pos="100000">
                      <a:srgbClr val="FFFFFF"/>
                    </a:gs>
                  </a:gsLst>
                  <a:lin ang="5400000" scaled="0"/>
                </a:gradFill>
              </a:rPr>
              <a:t>Programmatic customization </a:t>
            </a:r>
          </a:p>
          <a:p>
            <a:pPr marL="171450" lvl="0" indent="-171450">
              <a:buFont typeface="Arial" panose="020B0604020202020204" pitchFamily="34" charset="0"/>
              <a:buChar char="•"/>
            </a:pPr>
            <a:r>
              <a:rPr lang="en-US" sz="1333" kern="0" dirty="0">
                <a:gradFill>
                  <a:gsLst>
                    <a:gs pos="0">
                      <a:srgbClr val="FFFFFF"/>
                    </a:gs>
                    <a:gs pos="100000">
                      <a:srgbClr val="FFFFFF"/>
                    </a:gs>
                  </a:gsLst>
                  <a:lin ang="5400000" scaled="0"/>
                </a:gradFill>
              </a:rPr>
              <a:t>Azure</a:t>
            </a:r>
            <a:r>
              <a:rPr lang="en-US" sz="1333" kern="0" baseline="0" dirty="0">
                <a:gradFill>
                  <a:gsLst>
                    <a:gs pos="0">
                      <a:srgbClr val="FFFFFF"/>
                    </a:gs>
                    <a:gs pos="100000">
                      <a:srgbClr val="FFFFFF"/>
                    </a:gs>
                  </a:gsLst>
                  <a:lin ang="5400000" scaled="0"/>
                </a:gradFill>
              </a:rPr>
              <a:t> Stream Analytics</a:t>
            </a:r>
          </a:p>
          <a:p>
            <a:pPr marL="628650" lvl="1" indent="-171450">
              <a:buFont typeface="Arial" panose="020B0604020202020204" pitchFamily="34" charset="0"/>
              <a:buChar char="•"/>
            </a:pPr>
            <a:r>
              <a:rPr lang="en-US" sz="1333" kern="0" baseline="0" dirty="0">
                <a:gradFill>
                  <a:gsLst>
                    <a:gs pos="0">
                      <a:srgbClr val="FFFFFF"/>
                    </a:gs>
                    <a:gs pos="100000">
                      <a:srgbClr val="FFFFFF"/>
                    </a:gs>
                  </a:gsLst>
                  <a:lin ang="5400000" scaled="0"/>
                </a:gradFill>
              </a:rPr>
              <a:t>Stream data from </a:t>
            </a:r>
            <a:r>
              <a:rPr lang="en-US" sz="1333" kern="0" baseline="0" dirty="0" err="1">
                <a:gradFill>
                  <a:gsLst>
                    <a:gs pos="0">
                      <a:srgbClr val="FFFFFF"/>
                    </a:gs>
                    <a:gs pos="100000">
                      <a:srgbClr val="FFFFFF"/>
                    </a:gs>
                  </a:gsLst>
                  <a:lin ang="5400000" scaled="0"/>
                </a:gradFill>
              </a:rPr>
              <a:t>Eventuhubs</a:t>
            </a:r>
            <a:r>
              <a:rPr lang="en-US" sz="1333" kern="0" baseline="0" dirty="0">
                <a:gradFill>
                  <a:gsLst>
                    <a:gs pos="0">
                      <a:srgbClr val="FFFFFF"/>
                    </a:gs>
                    <a:gs pos="100000">
                      <a:srgbClr val="FFFFFF"/>
                    </a:gs>
                  </a:gsLst>
                  <a:lin ang="5400000" scaled="0"/>
                </a:gradFill>
              </a:rPr>
              <a:t> into ADL store</a:t>
            </a:r>
          </a:p>
          <a:p>
            <a:pPr marL="171450" lvl="0" indent="-171450">
              <a:buFont typeface="Arial" panose="020B0604020202020204" pitchFamily="34" charset="0"/>
              <a:buChar char="•"/>
            </a:pPr>
            <a:r>
              <a:rPr lang="en-US" sz="1333" kern="0" baseline="0" dirty="0">
                <a:gradFill>
                  <a:gsLst>
                    <a:gs pos="0">
                      <a:srgbClr val="FFFFFF"/>
                    </a:gs>
                    <a:gs pos="100000">
                      <a:srgbClr val="FFFFFF"/>
                    </a:gs>
                  </a:gsLst>
                  <a:lin ang="5400000" scaled="0"/>
                </a:gradFill>
              </a:rPr>
              <a:t>OSS Tools</a:t>
            </a:r>
          </a:p>
          <a:p>
            <a:pPr marL="628650" lvl="1" indent="-171450">
              <a:buFont typeface="Arial" panose="020B0604020202020204" pitchFamily="34" charset="0"/>
              <a:buChar char="•"/>
            </a:pPr>
            <a:r>
              <a:rPr lang="en-US" sz="1400" kern="0" dirty="0">
                <a:gradFill>
                  <a:gsLst>
                    <a:gs pos="0">
                      <a:srgbClr val="FFFFFF"/>
                    </a:gs>
                    <a:gs pos="100000">
                      <a:srgbClr val="FFFFFF"/>
                    </a:gs>
                  </a:gsLst>
                  <a:lin ang="5400000" scaled="0"/>
                </a:gradFill>
              </a:rPr>
              <a:t>Use </a:t>
            </a:r>
            <a:r>
              <a:rPr lang="en-US" sz="1400" kern="0" dirty="0" err="1">
                <a:gradFill>
                  <a:gsLst>
                    <a:gs pos="0">
                      <a:srgbClr val="FFFFFF"/>
                    </a:gs>
                    <a:gs pos="100000">
                      <a:srgbClr val="FFFFFF"/>
                    </a:gs>
                  </a:gsLst>
                  <a:lin ang="5400000" scaled="0"/>
                </a:gradFill>
              </a:rPr>
              <a:t>Oozie</a:t>
            </a:r>
            <a:r>
              <a:rPr lang="en-US" sz="1400" kern="0" dirty="0">
                <a:gradFill>
                  <a:gsLst>
                    <a:gs pos="0">
                      <a:srgbClr val="FFFFFF"/>
                    </a:gs>
                    <a:gs pos="100000">
                      <a:srgbClr val="FFFFFF"/>
                    </a:gs>
                  </a:gsLst>
                  <a:lin ang="5400000" scaled="0"/>
                </a:gradFill>
              </a:rPr>
              <a:t>  &amp; Falcon on HDInsight to manage tools like </a:t>
            </a:r>
            <a:r>
              <a:rPr lang="en-US" sz="1400" kern="0" dirty="0" err="1">
                <a:gradFill>
                  <a:gsLst>
                    <a:gs pos="0">
                      <a:srgbClr val="FFFFFF"/>
                    </a:gs>
                    <a:gs pos="100000">
                      <a:srgbClr val="FFFFFF"/>
                    </a:gs>
                  </a:gsLst>
                  <a:lin ang="5400000" scaled="0"/>
                </a:gradFill>
              </a:rPr>
              <a:t>DistCP</a:t>
            </a:r>
            <a:r>
              <a:rPr lang="en-US" sz="1400" kern="0" dirty="0">
                <a:gradFill>
                  <a:gsLst>
                    <a:gs pos="0">
                      <a:srgbClr val="FFFFFF"/>
                    </a:gs>
                    <a:gs pos="100000">
                      <a:srgbClr val="FFFFFF"/>
                    </a:gs>
                  </a:gsLst>
                  <a:lin ang="5400000" scaled="0"/>
                </a:gradFill>
              </a:rPr>
              <a:t> and </a:t>
            </a:r>
            <a:r>
              <a:rPr lang="en-US" sz="1400" kern="0" dirty="0" err="1">
                <a:gradFill>
                  <a:gsLst>
                    <a:gs pos="0">
                      <a:srgbClr val="FFFFFF"/>
                    </a:gs>
                    <a:gs pos="100000">
                      <a:srgbClr val="FFFFFF"/>
                    </a:gs>
                  </a:gsLst>
                  <a:lin ang="5400000" scaled="0"/>
                </a:gradFill>
              </a:rPr>
              <a:t>Sqoop</a:t>
            </a:r>
            <a:endParaRPr lang="en-US" sz="1400" kern="0" dirty="0">
              <a:gradFill>
                <a:gsLst>
                  <a:gs pos="0">
                    <a:srgbClr val="FFFFFF"/>
                  </a:gs>
                  <a:gs pos="100000">
                    <a:srgbClr val="FFFFFF"/>
                  </a:gs>
                </a:gsLst>
                <a:lin ang="5400000" scaled="0"/>
              </a:gradFill>
            </a:endParaRPr>
          </a:p>
          <a:p>
            <a:pPr marL="628650" lvl="1" indent="-171450">
              <a:buFont typeface="Arial" panose="020B0604020202020204" pitchFamily="34" charset="0"/>
              <a:buChar char="•"/>
            </a:pPr>
            <a:r>
              <a:rPr lang="en-US" sz="1400" kern="0" dirty="0">
                <a:gradFill>
                  <a:gsLst>
                    <a:gs pos="0">
                      <a:srgbClr val="FFFFFF"/>
                    </a:gs>
                    <a:gs pos="100000">
                      <a:srgbClr val="FFFFFF"/>
                    </a:gs>
                  </a:gsLst>
                  <a:lin ang="5400000" scaled="0"/>
                </a:gradFill>
              </a:rPr>
              <a:t>Use Storm to stream data from </a:t>
            </a:r>
            <a:r>
              <a:rPr lang="en-US" sz="1400" kern="0" dirty="0" err="1">
                <a:gradFill>
                  <a:gsLst>
                    <a:gs pos="0">
                      <a:srgbClr val="FFFFFF"/>
                    </a:gs>
                    <a:gs pos="100000">
                      <a:srgbClr val="FFFFFF"/>
                    </a:gs>
                  </a:gsLst>
                  <a:lin ang="5400000" scaled="0"/>
                </a:gradFill>
              </a:rPr>
              <a:t>Eventhubs</a:t>
            </a:r>
            <a:r>
              <a:rPr lang="en-US" sz="1400" kern="0" dirty="0">
                <a:gradFill>
                  <a:gsLst>
                    <a:gs pos="0">
                      <a:srgbClr val="FFFFFF"/>
                    </a:gs>
                    <a:gs pos="100000">
                      <a:srgbClr val="FFFFFF"/>
                    </a:gs>
                  </a:gsLst>
                  <a:lin ang="5400000" scaled="0"/>
                </a:gradFill>
              </a:rPr>
              <a:t>/Kafka into ADL Store</a:t>
            </a:r>
          </a:p>
          <a:p>
            <a:pPr marL="171450" lvl="0" indent="-171450">
              <a:buFont typeface="Arial" panose="020B0604020202020204" pitchFamily="34" charset="0"/>
              <a:buChar char="•"/>
            </a:pPr>
            <a:r>
              <a:rPr lang="en-US" sz="1400" kern="0" dirty="0">
                <a:gradFill>
                  <a:gsLst>
                    <a:gs pos="0">
                      <a:srgbClr val="FFFFFF"/>
                    </a:gs>
                    <a:gs pos="100000">
                      <a:srgbClr val="FFFFFF"/>
                    </a:gs>
                  </a:gsLst>
                  <a:lin ang="5400000" scaled="0"/>
                </a:gradFill>
              </a:rPr>
              <a:t>PowerShell</a:t>
            </a:r>
          </a:p>
          <a:p>
            <a:pPr marL="628650" lvl="1" indent="-171450">
              <a:buFont typeface="Arial" panose="020B0604020202020204" pitchFamily="34" charset="0"/>
              <a:buChar char="•"/>
            </a:pPr>
            <a:r>
              <a:rPr lang="en-US" sz="1400" kern="0" dirty="0">
                <a:gradFill>
                  <a:gsLst>
                    <a:gs pos="0">
                      <a:srgbClr val="FFFFFF"/>
                    </a:gs>
                    <a:gs pos="100000">
                      <a:srgbClr val="FFFFFF"/>
                    </a:gs>
                  </a:gsLst>
                  <a:lin ang="5400000" scaled="0"/>
                </a:gradFill>
              </a:rPr>
              <a:t>Use built-in </a:t>
            </a:r>
            <a:r>
              <a:rPr lang="en-US" sz="1400" kern="0" dirty="0" err="1">
                <a:gradFill>
                  <a:gsLst>
                    <a:gs pos="0">
                      <a:srgbClr val="FFFFFF"/>
                    </a:gs>
                    <a:gs pos="100000">
                      <a:srgbClr val="FFFFFF"/>
                    </a:gs>
                  </a:gsLst>
                  <a:lin ang="5400000" scaled="0"/>
                </a:gradFill>
              </a:rPr>
              <a:t>commandlets</a:t>
            </a:r>
            <a:endParaRPr lang="en-US" sz="1400" kern="0" dirty="0">
              <a:gradFill>
                <a:gsLst>
                  <a:gs pos="0">
                    <a:srgbClr val="FFFFFF"/>
                  </a:gs>
                  <a:gs pos="100000">
                    <a:srgbClr val="FFFFFF"/>
                  </a:gs>
                </a:gsLst>
                <a:lin ang="5400000" scaled="0"/>
              </a:gradFill>
            </a:endParaRPr>
          </a:p>
          <a:p>
            <a:pPr marL="628650" lvl="1" indent="-171450">
              <a:buFont typeface="Arial" panose="020B0604020202020204" pitchFamily="34" charset="0"/>
              <a:buChar char="•"/>
            </a:pPr>
            <a:r>
              <a:rPr lang="en-US" sz="1400" kern="0" dirty="0">
                <a:gradFill>
                  <a:gsLst>
                    <a:gs pos="0">
                      <a:srgbClr val="FFFFFF"/>
                    </a:gs>
                    <a:gs pos="100000">
                      <a:srgbClr val="FFFFFF"/>
                    </a:gs>
                  </a:gsLst>
                  <a:lin ang="5400000" scaled="0"/>
                </a:gradFill>
              </a:rPr>
              <a:t>Use PowerShell Workflow Runbooks to manage</a:t>
            </a:r>
          </a:p>
          <a:p>
            <a:pPr marL="628650" lvl="1" indent="-171450">
              <a:buFont typeface="Arial" panose="020B0604020202020204" pitchFamily="34" charset="0"/>
              <a:buChar char="•"/>
            </a:pPr>
            <a:r>
              <a:rPr lang="en-US" sz="1400" kern="0" dirty="0">
                <a:gradFill>
                  <a:gsLst>
                    <a:gs pos="0">
                      <a:srgbClr val="FFFFFF"/>
                    </a:gs>
                    <a:gs pos="100000">
                      <a:srgbClr val="FFFFFF"/>
                    </a:gs>
                  </a:gsLst>
                  <a:lin ang="5400000" scaled="0"/>
                </a:gradFill>
              </a:rPr>
              <a:t>Use PowerShell Script Runbooks to manag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kern="0" dirty="0">
                <a:gradFill>
                  <a:gsLst>
                    <a:gs pos="0">
                      <a:srgbClr val="FFFFFF"/>
                    </a:gs>
                    <a:gs pos="100000">
                      <a:srgbClr val="FFFFFF"/>
                    </a:gs>
                  </a:gsLst>
                  <a:lin ang="5400000" scaled="0"/>
                </a:gradFill>
              </a:rPr>
              <a:t>ADL Store</a:t>
            </a:r>
            <a:r>
              <a:rPr lang="en-US" sz="1400" kern="0" baseline="0" dirty="0">
                <a:gradFill>
                  <a:gsLst>
                    <a:gs pos="0">
                      <a:srgbClr val="FFFFFF"/>
                    </a:gs>
                    <a:gs pos="100000">
                      <a:srgbClr val="FFFFFF"/>
                    </a:gs>
                  </a:gsLst>
                  <a:lin ang="5400000" scaled="0"/>
                </a:gradFill>
              </a:rPr>
              <a:t> SDK </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kern="0" dirty="0">
                <a:gradFill>
                  <a:gsLst>
                    <a:gs pos="0">
                      <a:srgbClr val="FFFFFF"/>
                    </a:gs>
                    <a:gs pos="100000">
                      <a:srgbClr val="FFFFFF"/>
                    </a:gs>
                  </a:gsLst>
                  <a:lin ang="5400000" scaled="0"/>
                </a:gradFill>
              </a:rPr>
              <a:t>Available in various languages (.NET, Java, Node.js, ..)</a:t>
            </a:r>
            <a:endParaRPr lang="en-US" sz="1400" kern="0" baseline="0" dirty="0">
              <a:gradFill>
                <a:gsLst>
                  <a:gs pos="0">
                    <a:srgbClr val="FFFFFF"/>
                  </a:gs>
                  <a:gs pos="100000">
                    <a:srgbClr val="FFFFFF"/>
                  </a:gs>
                </a:gsLst>
                <a:lin ang="5400000" scaled="0"/>
              </a:gradFill>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kern="0" baseline="0" dirty="0">
                <a:gradFill>
                  <a:gsLst>
                    <a:gs pos="0">
                      <a:srgbClr val="FFFFFF"/>
                    </a:gs>
                    <a:gs pos="100000">
                      <a:srgbClr val="FFFFFF"/>
                    </a:gs>
                  </a:gsLst>
                  <a:lin ang="5400000" scaled="0"/>
                </a:gradFill>
              </a:rPr>
              <a:t>REST APIs </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kern="0" dirty="0">
                <a:gradFill>
                  <a:gsLst>
                    <a:gs pos="0">
                      <a:srgbClr val="FFFFFF"/>
                    </a:gs>
                    <a:gs pos="100000">
                      <a:srgbClr val="FFFFFF"/>
                    </a:gs>
                  </a:gsLst>
                  <a:lin ang="5400000" scaled="0"/>
                </a:gradFill>
              </a:rPr>
              <a:t>For unsupported languages and platforms</a:t>
            </a:r>
          </a:p>
          <a:p>
            <a:pPr marL="171450" lvl="0" indent="-171450">
              <a:buFont typeface="Arial" panose="020B0604020202020204" pitchFamily="34" charset="0"/>
              <a:buChar char="•"/>
            </a:pPr>
            <a:endParaRPr lang="en-US" sz="1400" kern="0" dirty="0">
              <a:gradFill>
                <a:gsLst>
                  <a:gs pos="0">
                    <a:srgbClr val="FFFFFF"/>
                  </a:gs>
                  <a:gs pos="100000">
                    <a:srgbClr val="FFFFFF"/>
                  </a:gs>
                </a:gsLst>
                <a:lin ang="5400000" scaled="0"/>
              </a:gradFill>
            </a:endParaRPr>
          </a:p>
          <a:p>
            <a:pPr marL="171450" lvl="0" indent="-171450">
              <a:buFont typeface="Arial" panose="020B0604020202020204" pitchFamily="34" charset="0"/>
              <a:buChar char="•"/>
            </a:pPr>
            <a:endParaRPr lang="en-US" sz="1333" kern="0" dirty="0">
              <a:gradFill>
                <a:gsLst>
                  <a:gs pos="0">
                    <a:srgbClr val="FFFFFF"/>
                  </a:gs>
                  <a:gs pos="100000">
                    <a:srgbClr val="FFFFFF"/>
                  </a:gs>
                </a:gsLst>
                <a:lin ang="5400000" scaled="0"/>
              </a:gradFill>
            </a:endParaRPr>
          </a:p>
          <a:p>
            <a:pPr marL="628650" lvl="1" indent="-171450">
              <a:buFont typeface="Arial" panose="020B0604020202020204" pitchFamily="34" charset="0"/>
              <a:buChar char="•"/>
            </a:pPr>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26259FD-FE16-46CE-B845-BFDA1BDE79A0}"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2</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188716501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A305278E-5E87-46DA-836C-231A3458D216}" type="slidenum">
              <a:rPr lang="en-US" smtClean="0"/>
              <a:t>23</a:t>
            </a:fld>
            <a:endParaRPr lang="en-US" dirty="0"/>
          </a:p>
        </p:txBody>
      </p:sp>
    </p:spTree>
    <p:extLst>
      <p:ext uri="{BB962C8B-B14F-4D97-AF65-F5344CB8AC3E}">
        <p14:creationId xmlns:p14="http://schemas.microsoft.com/office/powerpoint/2010/main" val="113125183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ecurity</a:t>
            </a:r>
            <a:r>
              <a:rPr lang="en-US" baseline="0" dirty="0"/>
              <a:t> imagery. </a:t>
            </a:r>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ysClr val="windowText" lastClr="000000"/>
                </a:solidFill>
                <a:effectLst/>
                <a:uLnTx/>
                <a:uFillTx/>
              </a:rPr>
              <a:t>TechReady 23</a:t>
            </a: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6/2017 11:09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71257450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A305278E-5E87-46DA-836C-231A3458D216}" type="slidenum">
              <a:rPr lang="en-US" smtClean="0"/>
              <a:t>25</a:t>
            </a:fld>
            <a:endParaRPr lang="en-US" dirty="0"/>
          </a:p>
        </p:txBody>
      </p:sp>
    </p:spTree>
    <p:extLst>
      <p:ext uri="{BB962C8B-B14F-4D97-AF65-F5344CB8AC3E}">
        <p14:creationId xmlns:p14="http://schemas.microsoft.com/office/powerpoint/2010/main" val="359990557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A305278E-5E87-46DA-836C-231A3458D216}"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7</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1789865818"/>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ysClr val="windowText" lastClr="000000"/>
                </a:solidFill>
                <a:effectLst/>
                <a:uLnTx/>
                <a:uFillTx/>
              </a:rPr>
              <a:t>TechReady 23</a:t>
            </a: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56D3EFB-C542-4DEB-B4C9-DCBE987BAB6B}"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6/2017 11:09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25284840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A305278E-5E87-46DA-836C-231A3458D216}" type="slidenum">
              <a:rPr lang="en-US" smtClean="0"/>
              <a:t>32</a:t>
            </a:fld>
            <a:endParaRPr lang="en-US" dirty="0"/>
          </a:p>
        </p:txBody>
      </p:sp>
    </p:spTree>
    <p:extLst>
      <p:ext uri="{BB962C8B-B14F-4D97-AF65-F5344CB8AC3E}">
        <p14:creationId xmlns:p14="http://schemas.microsoft.com/office/powerpoint/2010/main" val="516195058"/>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800" dirty="0">
                <a:solidFill>
                  <a:schemeClr val="bg2">
                    <a:lumMod val="50000"/>
                  </a:schemeClr>
                </a:solidFill>
              </a:rPr>
              <a:t>Azure Data Lake Store is fully compliant with </a:t>
            </a:r>
            <a:r>
              <a:rPr lang="en-US" sz="1800" b="1" dirty="0">
                <a:solidFill>
                  <a:schemeClr val="bg2">
                    <a:lumMod val="50000"/>
                  </a:schemeClr>
                </a:solidFill>
              </a:rPr>
              <a:t>WebHDFS 2.7 </a:t>
            </a:r>
            <a:r>
              <a:rPr lang="en-US" sz="1800" dirty="0">
                <a:solidFill>
                  <a:schemeClr val="bg2">
                    <a:lumMod val="50000"/>
                  </a:schemeClr>
                </a:solidFill>
              </a:rPr>
              <a:t>specification</a:t>
            </a:r>
          </a:p>
          <a:p>
            <a:pPr marL="396865" lvl="1" indent="-342900" defTabSz="931954" fontAlgn="base">
              <a:spcBef>
                <a:spcPts val="600"/>
              </a:spcBef>
              <a:spcAft>
                <a:spcPts val="300"/>
              </a:spcAft>
              <a:buClr>
                <a:schemeClr val="accent3">
                  <a:lumMod val="75000"/>
                </a:schemeClr>
              </a:buClr>
              <a:buFont typeface="Wingdings" panose="05000000000000000000" pitchFamily="2" charset="2"/>
              <a:buChar char="ü"/>
              <a:tabLst>
                <a:tab pos="658368" algn="l"/>
              </a:tabLst>
            </a:pPr>
            <a:r>
              <a:rPr lang="en-US" sz="1600" dirty="0">
                <a:ln>
                  <a:solidFill>
                    <a:srgbClr val="FFFFFF">
                      <a:alpha val="0"/>
                    </a:srgbClr>
                  </a:solidFill>
                </a:ln>
                <a:gradFill>
                  <a:gsLst>
                    <a:gs pos="85321">
                      <a:srgbClr val="505050"/>
                    </a:gs>
                    <a:gs pos="57000">
                      <a:srgbClr val="505050"/>
                    </a:gs>
                  </a:gsLst>
                </a:gradFill>
                <a:ea typeface="Segoe UI" pitchFamily="34" charset="0"/>
                <a:cs typeface="Segoe UI" pitchFamily="34" charset="0"/>
              </a:rPr>
              <a:t>Enables applications not running inside Hadoop clusters to access data in HDFS </a:t>
            </a:r>
          </a:p>
          <a:p>
            <a:pPr marL="396865" lvl="1" indent="-342900" defTabSz="931954" fontAlgn="base">
              <a:spcBef>
                <a:spcPts val="600"/>
              </a:spcBef>
              <a:spcAft>
                <a:spcPts val="300"/>
              </a:spcAft>
              <a:buClr>
                <a:schemeClr val="accent3">
                  <a:lumMod val="75000"/>
                </a:schemeClr>
              </a:buClr>
              <a:buFont typeface="Wingdings" panose="05000000000000000000" pitchFamily="2" charset="2"/>
              <a:buChar char="ü"/>
              <a:tabLst>
                <a:tab pos="658368" algn="l"/>
              </a:tabLst>
            </a:pPr>
            <a:r>
              <a:rPr lang="en-US" sz="1600" dirty="0">
                <a:ln>
                  <a:solidFill>
                    <a:srgbClr val="FFFFFF">
                      <a:alpha val="0"/>
                    </a:srgbClr>
                  </a:solidFill>
                </a:ln>
                <a:gradFill>
                  <a:gsLst>
                    <a:gs pos="85321">
                      <a:srgbClr val="505050"/>
                    </a:gs>
                    <a:gs pos="57000">
                      <a:srgbClr val="505050"/>
                    </a:gs>
                  </a:gsLst>
                </a:gradFill>
                <a:ea typeface="Segoe UI" pitchFamily="34" charset="0"/>
                <a:cs typeface="Segoe UI" pitchFamily="34" charset="0"/>
              </a:rPr>
              <a:t>Includes all operations to create, read, write, rename files and directories</a:t>
            </a:r>
          </a:p>
          <a:p>
            <a:pPr marL="396865" lvl="1" indent="-342900" defTabSz="931954" fontAlgn="base">
              <a:spcBef>
                <a:spcPts val="600"/>
              </a:spcBef>
              <a:spcAft>
                <a:spcPts val="300"/>
              </a:spcAft>
              <a:buClr>
                <a:schemeClr val="accent3">
                  <a:lumMod val="75000"/>
                </a:schemeClr>
              </a:buClr>
              <a:buFont typeface="Wingdings" panose="05000000000000000000" pitchFamily="2" charset="2"/>
              <a:buChar char="ü"/>
              <a:tabLst>
                <a:tab pos="658368" algn="l"/>
              </a:tabLst>
            </a:pPr>
            <a:r>
              <a:rPr lang="en-US" sz="1600" dirty="0">
                <a:ln>
                  <a:solidFill>
                    <a:srgbClr val="FFFFFF">
                      <a:alpha val="0"/>
                    </a:srgbClr>
                  </a:solidFill>
                </a:ln>
                <a:gradFill>
                  <a:gsLst>
                    <a:gs pos="85321">
                      <a:srgbClr val="505050"/>
                    </a:gs>
                    <a:gs pos="57000">
                      <a:srgbClr val="505050"/>
                    </a:gs>
                  </a:gsLst>
                </a:gradFill>
                <a:ea typeface="Segoe UI" pitchFamily="34" charset="0"/>
                <a:cs typeface="Segoe UI" pitchFamily="34" charset="0"/>
              </a:rPr>
              <a:t>File read and write calls are directed to corresponding data nodes</a:t>
            </a:r>
          </a:p>
          <a:p>
            <a:pPr marL="396865" lvl="1" indent="-342900" defTabSz="931954" fontAlgn="base">
              <a:spcBef>
                <a:spcPts val="600"/>
              </a:spcBef>
              <a:spcAft>
                <a:spcPts val="300"/>
              </a:spcAft>
              <a:buClr>
                <a:schemeClr val="accent3">
                  <a:lumMod val="75000"/>
                </a:schemeClr>
              </a:buClr>
              <a:buFont typeface="Wingdings" panose="05000000000000000000" pitchFamily="2" charset="2"/>
              <a:buChar char="ü"/>
              <a:tabLst>
                <a:tab pos="658368" algn="l"/>
              </a:tabLst>
            </a:pPr>
            <a:r>
              <a:rPr lang="en-US" sz="1600" dirty="0">
                <a:ln>
                  <a:solidFill>
                    <a:srgbClr val="FFFFFF">
                      <a:alpha val="0"/>
                    </a:srgbClr>
                  </a:solidFill>
                </a:ln>
                <a:gradFill>
                  <a:gsLst>
                    <a:gs pos="85321">
                      <a:srgbClr val="505050"/>
                    </a:gs>
                    <a:gs pos="57000">
                      <a:srgbClr val="505050"/>
                    </a:gs>
                  </a:gsLst>
                </a:gradFill>
                <a:ea typeface="Segoe UI" pitchFamily="34" charset="0"/>
                <a:cs typeface="Segoe UI" pitchFamily="34" charset="0"/>
              </a:rPr>
              <a:t>Takes advantages of HDFS parallelism and uses the full bandwidth of Hadoop clusters</a:t>
            </a:r>
          </a:p>
          <a:p>
            <a:pPr marL="396865" lvl="1" indent="-342900" defTabSz="931954" fontAlgn="base">
              <a:spcBef>
                <a:spcPts val="600"/>
              </a:spcBef>
              <a:spcAft>
                <a:spcPts val="300"/>
              </a:spcAft>
              <a:buClr>
                <a:schemeClr val="accent3">
                  <a:lumMod val="75000"/>
                </a:schemeClr>
              </a:buClr>
              <a:buFont typeface="Wingdings" panose="05000000000000000000" pitchFamily="2" charset="2"/>
              <a:buChar char="ü"/>
              <a:tabLst>
                <a:tab pos="658368" algn="l"/>
              </a:tabLst>
            </a:pPr>
            <a:r>
              <a:rPr lang="en-US" sz="1600" dirty="0">
                <a:ln>
                  <a:solidFill>
                    <a:srgbClr val="FFFFFF">
                      <a:alpha val="0"/>
                    </a:srgbClr>
                  </a:solidFill>
                </a:ln>
                <a:gradFill>
                  <a:gsLst>
                    <a:gs pos="85321">
                      <a:srgbClr val="505050"/>
                    </a:gs>
                    <a:gs pos="57000">
                      <a:srgbClr val="505050"/>
                    </a:gs>
                  </a:gsLst>
                </a:gradFill>
                <a:ea typeface="Segoe UI" pitchFamily="34" charset="0"/>
                <a:cs typeface="Segoe UI" pitchFamily="34" charset="0"/>
              </a:rPr>
              <a:t>Retains the security that the native Hadoop protocol offers.</a:t>
            </a:r>
          </a:p>
          <a:p>
            <a:endParaRPr lang="en-US" dirty="0"/>
          </a:p>
        </p:txBody>
      </p:sp>
      <p:sp>
        <p:nvSpPr>
          <p:cNvPr id="4" name="Slide Number Placeholder 3"/>
          <p:cNvSpPr>
            <a:spLocks noGrp="1"/>
          </p:cNvSpPr>
          <p:nvPr>
            <p:ph type="sldNum" sz="quarter" idx="10"/>
          </p:nvPr>
        </p:nvSpPr>
        <p:spPr/>
        <p:txBody>
          <a:bodyPr/>
          <a:lstStyle/>
          <a:p>
            <a:fld id="{A305278E-5E87-46DA-836C-231A3458D216}" type="slidenum">
              <a:rPr lang="en-US" smtClean="0"/>
              <a:t>33</a:t>
            </a:fld>
            <a:endParaRPr lang="en-US" dirty="0"/>
          </a:p>
        </p:txBody>
      </p:sp>
    </p:spTree>
    <p:extLst>
      <p:ext uri="{BB962C8B-B14F-4D97-AF65-F5344CB8AC3E}">
        <p14:creationId xmlns:p14="http://schemas.microsoft.com/office/powerpoint/2010/main" val="2904041067"/>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A305278E-5E87-46DA-836C-231A3458D216}" type="slidenum">
              <a:rPr lang="en-US" smtClean="0"/>
              <a:t>34</a:t>
            </a:fld>
            <a:endParaRPr lang="en-US" dirty="0"/>
          </a:p>
        </p:txBody>
      </p:sp>
    </p:spTree>
    <p:extLst>
      <p:ext uri="{BB962C8B-B14F-4D97-AF65-F5344CB8AC3E}">
        <p14:creationId xmlns:p14="http://schemas.microsoft.com/office/powerpoint/2010/main" val="49463869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305278E-5E87-46DA-836C-231A3458D216}" type="slidenum">
              <a:rPr lang="en-US" smtClean="0"/>
              <a:t>4</a:t>
            </a:fld>
            <a:endParaRPr lang="en-US" dirty="0"/>
          </a:p>
        </p:txBody>
      </p:sp>
    </p:spTree>
    <p:extLst>
      <p:ext uri="{BB962C8B-B14F-4D97-AF65-F5344CB8AC3E}">
        <p14:creationId xmlns:p14="http://schemas.microsoft.com/office/powerpoint/2010/main" val="1259268059"/>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A305278E-5E87-46DA-836C-231A3458D216}" type="slidenum">
              <a:rPr lang="en-US" smtClean="0"/>
              <a:t>35</a:t>
            </a:fld>
            <a:endParaRPr lang="en-US" dirty="0"/>
          </a:p>
        </p:txBody>
      </p:sp>
    </p:spTree>
    <p:extLst>
      <p:ext uri="{BB962C8B-B14F-4D97-AF65-F5344CB8AC3E}">
        <p14:creationId xmlns:p14="http://schemas.microsoft.com/office/powerpoint/2010/main" val="2343440316"/>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A305278E-5E87-46DA-836C-231A3458D216}" type="slidenum">
              <a:rPr lang="en-US" smtClean="0"/>
              <a:t>36</a:t>
            </a:fld>
            <a:endParaRPr lang="en-US" dirty="0"/>
          </a:p>
        </p:txBody>
      </p:sp>
    </p:spTree>
    <p:extLst>
      <p:ext uri="{BB962C8B-B14F-4D97-AF65-F5344CB8AC3E}">
        <p14:creationId xmlns:p14="http://schemas.microsoft.com/office/powerpoint/2010/main" val="3779511124"/>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A305278E-5E87-46DA-836C-231A3458D216}" type="slidenum">
              <a:rPr lang="en-US" smtClean="0"/>
              <a:t>37</a:t>
            </a:fld>
            <a:endParaRPr lang="en-US" dirty="0"/>
          </a:p>
        </p:txBody>
      </p:sp>
    </p:spTree>
    <p:extLst>
      <p:ext uri="{BB962C8B-B14F-4D97-AF65-F5344CB8AC3E}">
        <p14:creationId xmlns:p14="http://schemas.microsoft.com/office/powerpoint/2010/main" val="3856050694"/>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A305278E-5E87-46DA-836C-231A3458D216}" type="slidenum">
              <a:rPr lang="en-US" smtClean="0"/>
              <a:t>38</a:t>
            </a:fld>
            <a:endParaRPr lang="en-US" dirty="0"/>
          </a:p>
        </p:txBody>
      </p:sp>
    </p:spTree>
    <p:extLst>
      <p:ext uri="{BB962C8B-B14F-4D97-AF65-F5344CB8AC3E}">
        <p14:creationId xmlns:p14="http://schemas.microsoft.com/office/powerpoint/2010/main" val="3457465651"/>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A305278E-5E87-46DA-836C-231A3458D216}" type="slidenum">
              <a:rPr lang="en-US" smtClean="0"/>
              <a:t>39</a:t>
            </a:fld>
            <a:endParaRPr lang="en-US" dirty="0"/>
          </a:p>
        </p:txBody>
      </p:sp>
    </p:spTree>
    <p:extLst>
      <p:ext uri="{BB962C8B-B14F-4D97-AF65-F5344CB8AC3E}">
        <p14:creationId xmlns:p14="http://schemas.microsoft.com/office/powerpoint/2010/main" val="1440932471"/>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A305278E-5E87-46DA-836C-231A3458D216}" type="slidenum">
              <a:rPr lang="en-US" smtClean="0"/>
              <a:t>40</a:t>
            </a:fld>
            <a:endParaRPr lang="en-US" dirty="0"/>
          </a:p>
        </p:txBody>
      </p:sp>
    </p:spTree>
    <p:extLst>
      <p:ext uri="{BB962C8B-B14F-4D97-AF65-F5344CB8AC3E}">
        <p14:creationId xmlns:p14="http://schemas.microsoft.com/office/powerpoint/2010/main" val="1615335625"/>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A305278E-5E87-46DA-836C-231A3458D216}" type="slidenum">
              <a:rPr lang="en-US" smtClean="0"/>
              <a:t>41</a:t>
            </a:fld>
            <a:endParaRPr lang="en-US" dirty="0"/>
          </a:p>
        </p:txBody>
      </p:sp>
    </p:spTree>
    <p:extLst>
      <p:ext uri="{BB962C8B-B14F-4D97-AF65-F5344CB8AC3E}">
        <p14:creationId xmlns:p14="http://schemas.microsoft.com/office/powerpoint/2010/main" val="829113227"/>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A305278E-5E87-46DA-836C-231A3458D216}" type="slidenum">
              <a:rPr lang="en-US" smtClean="0"/>
              <a:t>42</a:t>
            </a:fld>
            <a:endParaRPr lang="en-US" dirty="0"/>
          </a:p>
        </p:txBody>
      </p:sp>
    </p:spTree>
    <p:extLst>
      <p:ext uri="{BB962C8B-B14F-4D97-AF65-F5344CB8AC3E}">
        <p14:creationId xmlns:p14="http://schemas.microsoft.com/office/powerpoint/2010/main" val="1428983207"/>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A305278E-5E87-46DA-836C-231A3458D216}" type="slidenum">
              <a:rPr lang="en-US" smtClean="0"/>
              <a:t>43</a:t>
            </a:fld>
            <a:endParaRPr lang="en-US" dirty="0"/>
          </a:p>
        </p:txBody>
      </p:sp>
    </p:spTree>
    <p:extLst>
      <p:ext uri="{BB962C8B-B14F-4D97-AF65-F5344CB8AC3E}">
        <p14:creationId xmlns:p14="http://schemas.microsoft.com/office/powerpoint/2010/main" val="343616169"/>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A305278E-5E87-46DA-836C-231A3458D216}" type="slidenum">
              <a:rPr lang="en-US" smtClean="0"/>
              <a:t>44</a:t>
            </a:fld>
            <a:endParaRPr lang="en-US" dirty="0"/>
          </a:p>
        </p:txBody>
      </p:sp>
    </p:spTree>
    <p:extLst>
      <p:ext uri="{BB962C8B-B14F-4D97-AF65-F5344CB8AC3E}">
        <p14:creationId xmlns:p14="http://schemas.microsoft.com/office/powerpoint/2010/main" val="312206431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A305278E-5E87-46DA-836C-231A3458D216}" type="slidenum">
              <a:rPr lang="en-US" smtClean="0"/>
              <a:t>5</a:t>
            </a:fld>
            <a:endParaRPr lang="en-US" dirty="0"/>
          </a:p>
        </p:txBody>
      </p:sp>
    </p:spTree>
    <p:extLst>
      <p:ext uri="{BB962C8B-B14F-4D97-AF65-F5344CB8AC3E}">
        <p14:creationId xmlns:p14="http://schemas.microsoft.com/office/powerpoint/2010/main" val="1349941992"/>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A305278E-5E87-46DA-836C-231A3458D216}" type="slidenum">
              <a:rPr lang="en-US" smtClean="0"/>
              <a:t>45</a:t>
            </a:fld>
            <a:endParaRPr lang="en-US" dirty="0"/>
          </a:p>
        </p:txBody>
      </p:sp>
    </p:spTree>
    <p:extLst>
      <p:ext uri="{BB962C8B-B14F-4D97-AF65-F5344CB8AC3E}">
        <p14:creationId xmlns:p14="http://schemas.microsoft.com/office/powerpoint/2010/main" val="2374605528"/>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latin typeface="Segoe UI" panose="020B0502040204020203"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C5C565FA-3C99-4787-98A7-FCE46D2F55AF}" type="datetime1">
              <a:rPr kumimoji="0" lang="en-US" sz="1800" b="0" i="0" u="none" strike="noStrike" kern="0" cap="none" spc="0" normalizeH="0" baseline="0" noProof="0" smtClean="0">
                <a:ln>
                  <a:noFill/>
                </a:ln>
                <a:solidFill>
                  <a:prstClr val="black"/>
                </a:solidFill>
                <a:effectLst/>
                <a:uLnTx/>
                <a:uFillTx/>
                <a:latin typeface="Segoe UI" panose="020B0502040204020203" pitchFamily="34" charset="0"/>
              </a:rPr>
              <a:pPr marL="0" marR="0" lvl="0" indent="0" defTabSz="914400" eaLnBrk="1" fontAlgn="auto" latinLnBrk="0" hangingPunct="1">
                <a:lnSpc>
                  <a:spcPct val="100000"/>
                </a:lnSpc>
                <a:spcBef>
                  <a:spcPts val="0"/>
                </a:spcBef>
                <a:spcAft>
                  <a:spcPts val="0"/>
                </a:spcAft>
                <a:buClrTx/>
                <a:buSzTx/>
                <a:buFontTx/>
                <a:buNone/>
                <a:tabLst/>
                <a:defRPr/>
              </a:pPr>
              <a:t>12/6/2017</a:t>
            </a:fld>
            <a:endParaRPr kumimoji="0" lang="en-US" sz="1800" b="0" i="0" u="none" strike="noStrike" kern="0" cap="none" spc="0" normalizeH="0" baseline="0" noProof="0" dirty="0">
              <a:ln>
                <a:noFill/>
              </a:ln>
              <a:solidFill>
                <a:prstClr val="black"/>
              </a:solidFill>
              <a:effectLst/>
              <a:uLnTx/>
              <a:uFillTx/>
              <a:latin typeface="Segoe UI" panose="020B0502040204020203" pitchFamily="34" charset="0"/>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latin typeface="Segoe UI" panose="020B0502040204020203" pitchFamily="34" charset="0"/>
              </a:rPr>
              <a:pPr marL="0" marR="0" lvl="0" indent="0" defTabSz="914400" eaLnBrk="1" fontAlgn="auto" latinLnBrk="0" hangingPunct="1">
                <a:lnSpc>
                  <a:spcPct val="100000"/>
                </a:lnSpc>
                <a:spcBef>
                  <a:spcPts val="0"/>
                </a:spcBef>
                <a:spcAft>
                  <a:spcPts val="0"/>
                </a:spcAft>
                <a:buClrTx/>
                <a:buSzTx/>
                <a:buFontTx/>
                <a:buNone/>
                <a:tabLst/>
                <a:defRPr/>
              </a:pPr>
              <a:t>46</a:t>
            </a:fld>
            <a:endParaRPr kumimoji="0" lang="en-US" sz="1800" b="0" i="0" u="none" strike="noStrike" kern="0" cap="none" spc="0" normalizeH="0" baseline="0" noProof="0" dirty="0">
              <a:ln>
                <a:noFill/>
              </a:ln>
              <a:solidFill>
                <a:prstClr val="black"/>
              </a:solidFill>
              <a:effectLst/>
              <a:uLnTx/>
              <a:uFillTx/>
              <a:latin typeface="Segoe UI" panose="020B0502040204020203" pitchFamily="34" charset="0"/>
            </a:endParaRPr>
          </a:p>
        </p:txBody>
      </p:sp>
      <p:sp>
        <p:nvSpPr>
          <p:cNvPr id="10" name="Footer Placeholder 9"/>
          <p:cNvSpPr>
            <a:spLocks noGrp="1"/>
          </p:cNvSpPr>
          <p:nvPr>
            <p:ph type="ftr" sz="quarter" idx="14"/>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711704384"/>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3D6935C-AF9A-4D9D-9A33-C087949C20AF}" type="slidenum">
              <a:rPr kumimoji="0" lang="en-US" sz="1800" b="0" i="0" u="none" strike="noStrike" kern="0" cap="none" spc="0" normalizeH="0" baseline="0" noProof="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809536202"/>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latin typeface="Segoe UI" panose="020B0502040204020203"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C5C565FA-3C99-4787-98A7-FCE46D2F55AF}" type="datetime1">
              <a:rPr kumimoji="0" lang="en-US" sz="1800" b="0" i="0" u="none" strike="noStrike" kern="0" cap="none" spc="0" normalizeH="0" baseline="0" noProof="0" smtClean="0">
                <a:ln>
                  <a:noFill/>
                </a:ln>
                <a:solidFill>
                  <a:prstClr val="black"/>
                </a:solidFill>
                <a:effectLst/>
                <a:uLnTx/>
                <a:uFillTx/>
                <a:latin typeface="Segoe UI" panose="020B0502040204020203" pitchFamily="34" charset="0"/>
              </a:rPr>
              <a:pPr marL="0" marR="0" lvl="0" indent="0" defTabSz="914400" eaLnBrk="1" fontAlgn="auto" latinLnBrk="0" hangingPunct="1">
                <a:lnSpc>
                  <a:spcPct val="100000"/>
                </a:lnSpc>
                <a:spcBef>
                  <a:spcPts val="0"/>
                </a:spcBef>
                <a:spcAft>
                  <a:spcPts val="0"/>
                </a:spcAft>
                <a:buClrTx/>
                <a:buSzTx/>
                <a:buFontTx/>
                <a:buNone/>
                <a:tabLst/>
                <a:defRPr/>
              </a:pPr>
              <a:t>12/6/2017</a:t>
            </a:fld>
            <a:endParaRPr kumimoji="0" lang="en-US" sz="1800" b="0" i="0" u="none" strike="noStrike" kern="0" cap="none" spc="0" normalizeH="0" baseline="0" noProof="0" dirty="0">
              <a:ln>
                <a:noFill/>
              </a:ln>
              <a:solidFill>
                <a:prstClr val="black"/>
              </a:solidFill>
              <a:effectLst/>
              <a:uLnTx/>
              <a:uFillTx/>
              <a:latin typeface="Segoe UI" panose="020B0502040204020203" pitchFamily="34" charset="0"/>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latin typeface="Segoe UI" panose="020B0502040204020203" pitchFamily="34" charset="0"/>
              </a:rPr>
              <a:pPr marL="0" marR="0" lvl="0" indent="0" defTabSz="914400" eaLnBrk="1" fontAlgn="auto" latinLnBrk="0" hangingPunct="1">
                <a:lnSpc>
                  <a:spcPct val="100000"/>
                </a:lnSpc>
                <a:spcBef>
                  <a:spcPts val="0"/>
                </a:spcBef>
                <a:spcAft>
                  <a:spcPts val="0"/>
                </a:spcAft>
                <a:buClrTx/>
                <a:buSzTx/>
                <a:buFontTx/>
                <a:buNone/>
                <a:tabLst/>
                <a:defRPr/>
              </a:pPr>
              <a:t>48</a:t>
            </a:fld>
            <a:endParaRPr kumimoji="0" lang="en-US" sz="1800" b="0" i="0" u="none" strike="noStrike" kern="0" cap="none" spc="0" normalizeH="0" baseline="0" noProof="0" dirty="0">
              <a:ln>
                <a:noFill/>
              </a:ln>
              <a:solidFill>
                <a:prstClr val="black"/>
              </a:solidFill>
              <a:effectLst/>
              <a:uLnTx/>
              <a:uFillTx/>
              <a:latin typeface="Segoe UI" panose="020B0502040204020203" pitchFamily="34" charset="0"/>
            </a:endParaRPr>
          </a:p>
        </p:txBody>
      </p:sp>
      <p:sp>
        <p:nvSpPr>
          <p:cNvPr id="10" name="Footer Placeholder 9"/>
          <p:cNvSpPr>
            <a:spLocks noGrp="1"/>
          </p:cNvSpPr>
          <p:nvPr>
            <p:ph type="ftr" sz="quarter" idx="14"/>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2918609328"/>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A305278E-5E87-46DA-836C-231A3458D216}" type="slidenum">
              <a:rPr lang="en-US" smtClean="0"/>
              <a:t>50</a:t>
            </a:fld>
            <a:endParaRPr lang="en-US" dirty="0"/>
          </a:p>
        </p:txBody>
      </p:sp>
    </p:spTree>
    <p:extLst>
      <p:ext uri="{BB962C8B-B14F-4D97-AF65-F5344CB8AC3E}">
        <p14:creationId xmlns:p14="http://schemas.microsoft.com/office/powerpoint/2010/main" val="60379667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39725" indent="-282575" fontAlgn="base">
              <a:spcBef>
                <a:spcPts val="200"/>
              </a:spcBef>
              <a:spcAft>
                <a:spcPts val="600"/>
              </a:spcAft>
              <a:buClr>
                <a:srgbClr val="50B347"/>
              </a:buClr>
              <a:buSzPct val="100000"/>
              <a:buBlip>
                <a:blip r:embed="rId3"/>
              </a:buBlip>
              <a:tabLst>
                <a:tab pos="658368" algn="l"/>
              </a:tabLst>
            </a:pPr>
            <a:r>
              <a:rPr lang="en-US" sz="1200" dirty="0">
                <a:solidFill>
                  <a:srgbClr val="505050"/>
                </a:solidFill>
                <a:ea typeface="Segoe UI" pitchFamily="34" charset="0"/>
                <a:cs typeface="Segoe UI" pitchFamily="34" charset="0"/>
              </a:rPr>
              <a:t>All data has immediate or potential value</a:t>
            </a:r>
          </a:p>
          <a:p>
            <a:pPr marL="339725" indent="-282575" fontAlgn="base">
              <a:spcBef>
                <a:spcPts val="200"/>
              </a:spcBef>
              <a:spcAft>
                <a:spcPts val="600"/>
              </a:spcAft>
              <a:buClr>
                <a:srgbClr val="50B347"/>
              </a:buClr>
              <a:buSzPct val="100000"/>
              <a:buBlip>
                <a:blip r:embed="rId3"/>
              </a:buBlip>
              <a:tabLst>
                <a:tab pos="658368" algn="l"/>
              </a:tabLst>
            </a:pPr>
            <a:r>
              <a:rPr lang="en-US" sz="1200" dirty="0">
                <a:solidFill>
                  <a:srgbClr val="505050"/>
                </a:solidFill>
                <a:ea typeface="Segoe UI" pitchFamily="34" charset="0"/>
                <a:cs typeface="Segoe UI" pitchFamily="34" charset="0"/>
              </a:rPr>
              <a:t>This leads to data hoarding—all data is stored indefinitely</a:t>
            </a:r>
          </a:p>
          <a:p>
            <a:pPr marL="339725" indent="-282575" fontAlgn="base">
              <a:spcBef>
                <a:spcPts val="200"/>
              </a:spcBef>
              <a:spcAft>
                <a:spcPts val="600"/>
              </a:spcAft>
              <a:buClr>
                <a:srgbClr val="50B347"/>
              </a:buClr>
              <a:buSzPct val="100000"/>
              <a:buBlip>
                <a:blip r:embed="rId3"/>
              </a:buBlip>
              <a:tabLst>
                <a:tab pos="658368" algn="l"/>
              </a:tabLst>
            </a:pPr>
            <a:r>
              <a:rPr lang="en-US" sz="1200" dirty="0">
                <a:solidFill>
                  <a:srgbClr val="505050"/>
                </a:solidFill>
                <a:ea typeface="Segoe UI" pitchFamily="34" charset="0"/>
                <a:cs typeface="Segoe UI" pitchFamily="34" charset="0"/>
              </a:rPr>
              <a:t>With an unknown future, there is no defined schema. Data is prepared and stored in </a:t>
            </a:r>
            <a:r>
              <a:rPr lang="en-US" sz="1200" i="1" dirty="0">
                <a:solidFill>
                  <a:srgbClr val="505050"/>
                </a:solidFill>
                <a:ea typeface="Segoe UI" pitchFamily="34" charset="0"/>
                <a:cs typeface="Segoe UI" pitchFamily="34" charset="0"/>
              </a:rPr>
              <a:t>native format; </a:t>
            </a:r>
            <a:r>
              <a:rPr lang="en-US" sz="1200" dirty="0">
                <a:solidFill>
                  <a:srgbClr val="505050"/>
                </a:solidFill>
                <a:ea typeface="Segoe UI" pitchFamily="34" charset="0"/>
                <a:cs typeface="Segoe UI" pitchFamily="34" charset="0"/>
              </a:rPr>
              <a:t>No upfront transformation or aggregation</a:t>
            </a:r>
          </a:p>
          <a:p>
            <a:pPr marL="339725" indent="-282575" fontAlgn="base">
              <a:spcBef>
                <a:spcPts val="200"/>
              </a:spcBef>
              <a:spcAft>
                <a:spcPts val="600"/>
              </a:spcAft>
              <a:buClr>
                <a:srgbClr val="50B347"/>
              </a:buClr>
              <a:buSzPct val="100000"/>
              <a:buBlip>
                <a:blip r:embed="rId3"/>
              </a:buBlip>
              <a:tabLst>
                <a:tab pos="658368" algn="l"/>
              </a:tabLst>
            </a:pPr>
            <a:r>
              <a:rPr lang="en-US" sz="1200" dirty="0">
                <a:solidFill>
                  <a:srgbClr val="505050"/>
                </a:solidFill>
                <a:ea typeface="Segoe UI" pitchFamily="34" charset="0"/>
                <a:cs typeface="Segoe UI" pitchFamily="34" charset="0"/>
              </a:rPr>
              <a:t>Schema is imposed and transformations are done at query time</a:t>
            </a:r>
            <a:br>
              <a:rPr lang="en-US" sz="1200" dirty="0">
                <a:solidFill>
                  <a:srgbClr val="505050"/>
                </a:solidFill>
                <a:ea typeface="Segoe UI" pitchFamily="34" charset="0"/>
                <a:cs typeface="Segoe UI" pitchFamily="34" charset="0"/>
              </a:rPr>
            </a:br>
            <a:r>
              <a:rPr lang="en-US" sz="1200" i="1" dirty="0">
                <a:solidFill>
                  <a:srgbClr val="505050"/>
                </a:solidFill>
                <a:ea typeface="Segoe UI" pitchFamily="34" charset="0"/>
                <a:cs typeface="Segoe UI" pitchFamily="34" charset="0"/>
              </a:rPr>
              <a:t>(schema-on-read). </a:t>
            </a:r>
            <a:r>
              <a:rPr lang="en-US" sz="1200" dirty="0">
                <a:solidFill>
                  <a:srgbClr val="505050"/>
                </a:solidFill>
                <a:ea typeface="Segoe UI" pitchFamily="34" charset="0"/>
                <a:cs typeface="Segoe UI" pitchFamily="34" charset="0"/>
              </a:rPr>
              <a:t>Applications and users interpret the data as they see fit.</a:t>
            </a:r>
          </a:p>
          <a:p>
            <a:endParaRPr lang="en-GB" dirty="0"/>
          </a:p>
        </p:txBody>
      </p:sp>
      <p:sp>
        <p:nvSpPr>
          <p:cNvPr id="4" name="Slide Number Placeholder 3"/>
          <p:cNvSpPr>
            <a:spLocks noGrp="1"/>
          </p:cNvSpPr>
          <p:nvPr>
            <p:ph type="sldNum" sz="quarter" idx="10"/>
          </p:nvPr>
        </p:nvSpPr>
        <p:spPr/>
        <p:txBody>
          <a:bodyPr/>
          <a:lstStyle/>
          <a:p>
            <a:fld id="{A305278E-5E87-46DA-836C-231A3458D216}" type="slidenum">
              <a:rPr lang="en-US" smtClean="0"/>
              <a:t>6</a:t>
            </a:fld>
            <a:endParaRPr lang="en-US" dirty="0"/>
          </a:p>
        </p:txBody>
      </p:sp>
    </p:spTree>
    <p:extLst>
      <p:ext uri="{BB962C8B-B14F-4D97-AF65-F5344CB8AC3E}">
        <p14:creationId xmlns:p14="http://schemas.microsoft.com/office/powerpoint/2010/main" val="83935433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A305278E-5E87-46DA-836C-231A3458D216}" type="slidenum">
              <a:rPr lang="en-US" smtClean="0"/>
              <a:t>7</a:t>
            </a:fld>
            <a:endParaRPr lang="en-US" dirty="0"/>
          </a:p>
        </p:txBody>
      </p:sp>
    </p:spTree>
    <p:extLst>
      <p:ext uri="{BB962C8B-B14F-4D97-AF65-F5344CB8AC3E}">
        <p14:creationId xmlns:p14="http://schemas.microsoft.com/office/powerpoint/2010/main" val="98481061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305278E-5E87-46DA-836C-231A3458D216}" type="slidenum">
              <a:rPr lang="en-US" smtClean="0"/>
              <a:t>8</a:t>
            </a:fld>
            <a:endParaRPr lang="en-US" dirty="0"/>
          </a:p>
        </p:txBody>
      </p:sp>
    </p:spTree>
    <p:extLst>
      <p:ext uri="{BB962C8B-B14F-4D97-AF65-F5344CB8AC3E}">
        <p14:creationId xmlns:p14="http://schemas.microsoft.com/office/powerpoint/2010/main" val="48525448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A305278E-5E87-46DA-836C-231A3458D216}"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68768092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A305278E-5E87-46DA-836C-231A3458D216}" type="slidenum">
              <a:rPr lang="en-US" smtClean="0"/>
              <a:t>10</a:t>
            </a:fld>
            <a:endParaRPr lang="en-US" dirty="0"/>
          </a:p>
        </p:txBody>
      </p:sp>
    </p:spTree>
    <p:extLst>
      <p:ext uri="{BB962C8B-B14F-4D97-AF65-F5344CB8AC3E}">
        <p14:creationId xmlns:p14="http://schemas.microsoft.com/office/powerpoint/2010/main" val="2536292216"/>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14.jpg"/><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15.jp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6.tiff"/><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5_BLANK">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a:srcRect l="120"/>
          <a:stretch/>
        </p:blipFill>
        <p:spPr>
          <a:xfrm>
            <a:off x="-1" y="-312"/>
            <a:ext cx="12206629" cy="6858623"/>
          </a:xfrm>
          <a:prstGeom prst="rect">
            <a:avLst/>
          </a:prstGeom>
        </p:spPr>
      </p:pic>
    </p:spTree>
    <p:extLst>
      <p:ext uri="{BB962C8B-B14F-4D97-AF65-F5344CB8AC3E}">
        <p14:creationId xmlns:p14="http://schemas.microsoft.com/office/powerpoint/2010/main" val="3153661820"/>
      </p:ext>
    </p:extLst>
  </p:cSld>
  <p:clrMapOvr>
    <a:masterClrMapping/>
  </p:clrMapOvr>
  <p:transition spd="med">
    <p:wipe dir="r"/>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2_Blank">
    <p:bg>
      <p:bgPr>
        <a:solidFill>
          <a:srgbClr val="002050"/>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2" cstate="print">
            <a:extLst>
              <a:ext uri="{28A0092B-C50C-407E-A947-70E740481C1C}">
                <a14:useLocalDpi xmlns:a14="http://schemas.microsoft.com/office/drawing/2010/main" val="0"/>
              </a:ext>
            </a:extLst>
          </a:blip>
          <a:srcRect l="10838" t="27302" r="9446" b="26762"/>
          <a:stretch/>
        </p:blipFill>
        <p:spPr>
          <a:xfrm>
            <a:off x="459230" y="3145040"/>
            <a:ext cx="3325370" cy="704879"/>
          </a:xfrm>
          <a:prstGeom prst="rect">
            <a:avLst/>
          </a:prstGeom>
        </p:spPr>
      </p:pic>
    </p:spTree>
    <p:extLst>
      <p:ext uri="{BB962C8B-B14F-4D97-AF65-F5344CB8AC3E}">
        <p14:creationId xmlns:p14="http://schemas.microsoft.com/office/powerpoint/2010/main" val="3601083019"/>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1_Section Title Accent Color 2">
    <p:bg>
      <p:bgPr>
        <a:solidFill>
          <a:srgbClr val="00205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796217"/>
          </a:xfrm>
          <a:noFill/>
        </p:spPr>
        <p:txBody>
          <a:bodyPr tIns="91440" bIns="91440" anchor="t" anchorCtr="0"/>
          <a:lstStyle>
            <a:lvl1pPr algn="l" defTabSz="914186" rtl="0" eaLnBrk="1" latinLnBrk="0" hangingPunct="1">
              <a:lnSpc>
                <a:spcPct val="90000"/>
              </a:lnSpc>
              <a:spcBef>
                <a:spcPct val="0"/>
              </a:spcBef>
              <a:buNone/>
              <a:defRPr lang="en-US" sz="6600" b="0" kern="1200" cap="none" spc="-98" baseline="0" dirty="0">
                <a:ln w="3175">
                  <a:noFill/>
                </a:ln>
                <a:solidFill>
                  <a:schemeClr val="bg1"/>
                </a:solidFill>
                <a:effectLst/>
                <a:latin typeface="+mj-lt"/>
                <a:ea typeface="+mn-ea"/>
                <a:cs typeface="Segoe UI" pitchFamily="34" charset="0"/>
              </a:defRPr>
            </a:lvl1pPr>
          </a:lstStyle>
          <a:p>
            <a:r>
              <a:rPr lang="en-US" dirty="0"/>
              <a:t>Section tit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69238" y="6476787"/>
            <a:ext cx="898127" cy="196093"/>
          </a:xfrm>
          <a:prstGeom prst="rect">
            <a:avLst/>
          </a:prstGeom>
        </p:spPr>
      </p:pic>
    </p:spTree>
    <p:extLst>
      <p:ext uri="{BB962C8B-B14F-4D97-AF65-F5344CB8AC3E}">
        <p14:creationId xmlns:p14="http://schemas.microsoft.com/office/powerpoint/2010/main" val="80968915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cSld name="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68927" y="286381"/>
            <a:ext cx="11653523" cy="927940"/>
          </a:xfrm>
          <a:prstGeom prst="rect">
            <a:avLst/>
          </a:prstGeom>
        </p:spPr>
        <p:txBody>
          <a:bodyPr/>
          <a:lstStyle>
            <a:lvl1pPr algn="l">
              <a:defRPr sz="5098">
                <a:solidFill>
                  <a:schemeClr val="tx2"/>
                </a:solidFill>
              </a:defRPr>
            </a:lvl1pPr>
          </a:lstStyle>
          <a:p>
            <a:r>
              <a:rPr lang="en-US"/>
              <a:t>Click to edit Master title style</a:t>
            </a:r>
            <a:endParaRPr lang="en-US" dirty="0"/>
          </a:p>
        </p:txBody>
      </p:sp>
      <p:sp>
        <p:nvSpPr>
          <p:cNvPr id="4" name="Slide Number Placeholder 2"/>
          <p:cNvSpPr>
            <a:spLocks noGrp="1"/>
          </p:cNvSpPr>
          <p:nvPr>
            <p:ph type="sldNum" sz="quarter" idx="11"/>
          </p:nvPr>
        </p:nvSpPr>
        <p:spPr>
          <a:xfrm>
            <a:off x="11367165" y="6437742"/>
            <a:ext cx="555597" cy="133860"/>
          </a:xfrm>
        </p:spPr>
        <p:txBody>
          <a:bodyPr/>
          <a:lstStyle>
            <a:lvl1pPr defTabSz="913505" fontAlgn="base">
              <a:spcBef>
                <a:spcPct val="0"/>
              </a:spcBef>
              <a:spcAft>
                <a:spcPct val="0"/>
              </a:spcAft>
              <a:defRPr smtClean="0">
                <a:solidFill>
                  <a:srgbClr val="000000"/>
                </a:solidFill>
              </a:defRPr>
            </a:lvl1pPr>
          </a:lstStyle>
          <a:p>
            <a:pPr>
              <a:defRPr/>
            </a:pPr>
            <a:fld id="{F8A0AC42-AA1D-4944-8D96-660DE70C7E1B}" type="slidenum">
              <a:rPr/>
              <a:pPr>
                <a:defRPr/>
              </a:pPr>
              <a:t>‹#›</a:t>
            </a:fld>
            <a:endParaRPr dirty="0"/>
          </a:p>
        </p:txBody>
      </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val="0"/>
              </a:ext>
            </a:extLst>
          </a:blip>
          <a:srcRect l="28502" t="40628" r="27716" b="39461"/>
          <a:stretch/>
        </p:blipFill>
        <p:spPr>
          <a:xfrm>
            <a:off x="523142" y="6434664"/>
            <a:ext cx="935823" cy="239431"/>
          </a:xfrm>
          <a:prstGeom prst="rect">
            <a:avLst/>
          </a:prstGeom>
        </p:spPr>
      </p:pic>
    </p:spTree>
    <p:extLst>
      <p:ext uri="{BB962C8B-B14F-4D97-AF65-F5344CB8AC3E}">
        <p14:creationId xmlns:p14="http://schemas.microsoft.com/office/powerpoint/2010/main" val="22080930"/>
      </p:ext>
    </p:extLst>
  </p:cSld>
  <p:clrMapOvr>
    <a:masterClrMapping/>
  </p:clrMapOvr>
  <p:transition spd="med">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cSld name="Closing logo slide">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40" y="6170059"/>
            <a:ext cx="11623331"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2015 Microsoft Corporation. All rights reserved. </a:t>
            </a:r>
          </a:p>
        </p:txBody>
      </p:sp>
      <p:pic>
        <p:nvPicPr>
          <p:cNvPr id="3" name="Picture 2"/>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bwMode="invGray">
          <a:xfrm>
            <a:off x="450202" y="3083653"/>
            <a:ext cx="3223861" cy="690694"/>
          </a:xfrm>
          <a:prstGeom prst="rect">
            <a:avLst/>
          </a:prstGeom>
        </p:spPr>
      </p:pic>
    </p:spTree>
    <p:extLst>
      <p:ext uri="{BB962C8B-B14F-4D97-AF65-F5344CB8AC3E}">
        <p14:creationId xmlns:p14="http://schemas.microsoft.com/office/powerpoint/2010/main" val="1738359654"/>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265377"/>
            <a:ext cx="11653523" cy="2298771"/>
          </a:xfrm>
        </p:spPr>
        <p:txBody>
          <a:bodyPr>
            <a:spAutoFit/>
          </a:bodyPr>
          <a:lstStyle>
            <a:lvl3pPr>
              <a:defRPr sz="2353"/>
            </a:lvl3pPr>
            <a:lvl4pPr>
              <a:defRPr sz="1961"/>
            </a:lvl4pPr>
            <a:lvl5pPr>
              <a:defRPr sz="1961"/>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dirty="0"/>
              <a:t>Click to edit Master title style</a:t>
            </a:r>
          </a:p>
        </p:txBody>
      </p:sp>
      <p:sp>
        <p:nvSpPr>
          <p:cNvPr id="8" name="Slide Number Placeholder 4"/>
          <p:cNvSpPr>
            <a:spLocks noGrp="1"/>
          </p:cNvSpPr>
          <p:nvPr>
            <p:ph type="sldNum" sz="quarter" idx="4"/>
          </p:nvPr>
        </p:nvSpPr>
        <p:spPr>
          <a:xfrm>
            <a:off x="11367165" y="6629335"/>
            <a:ext cx="555597" cy="133860"/>
          </a:xfrm>
          <a:prstGeom prst="rect">
            <a:avLst/>
          </a:prstGeom>
        </p:spPr>
        <p:txBody>
          <a:bodyPr vert="horz" lIns="91440" tIns="0" rIns="0" bIns="0" rtlCol="0" anchor="ctr"/>
          <a:lstStyle>
            <a:lvl1pPr algn="r" defTabSz="914367" fontAlgn="auto">
              <a:spcBef>
                <a:spcPts val="0"/>
              </a:spcBef>
              <a:spcAft>
                <a:spcPts val="0"/>
              </a:spcAft>
              <a:defRPr lang="en-US" sz="882" b="0" kern="1200">
                <a:solidFill>
                  <a:srgbClr val="505050"/>
                </a:solidFill>
                <a:latin typeface="+mn-lt"/>
                <a:ea typeface="+mn-ea"/>
                <a:cs typeface="+mn-cs"/>
              </a:defRPr>
            </a:lvl1pPr>
          </a:lstStyle>
          <a:p>
            <a:pPr>
              <a:defRPr/>
            </a:pPr>
            <a:fld id="{75FAD755-3BD0-2447-A9DF-109DAABEFD99}" type="slidenum">
              <a:rPr/>
              <a:pPr>
                <a:defRPr/>
              </a:pPr>
              <a:t>‹#›</a:t>
            </a:fld>
            <a:endParaRPr dirty="0"/>
          </a:p>
        </p:txBody>
      </p:sp>
    </p:spTree>
    <p:extLst>
      <p:ext uri="{BB962C8B-B14F-4D97-AF65-F5344CB8AC3E}">
        <p14:creationId xmlns:p14="http://schemas.microsoft.com/office/powerpoint/2010/main" val="2066113545"/>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Slide">
    <p:bg bwMode="gray">
      <p:bgPr>
        <a:solidFill>
          <a:schemeClr val="accent1"/>
        </a:solidFill>
        <a:effectLst/>
      </p:bgPr>
    </p:bg>
    <p:spTree>
      <p:nvGrpSpPr>
        <p:cNvPr id="1" name=""/>
        <p:cNvGrpSpPr/>
        <p:nvPr/>
      </p:nvGrpSpPr>
      <p:grpSpPr>
        <a:xfrm>
          <a:off x="0" y="0"/>
          <a:ext cx="0" cy="0"/>
          <a:chOff x="0" y="0"/>
          <a:chExt cx="0" cy="0"/>
        </a:xfrm>
      </p:grpSpPr>
      <p:sp>
        <p:nvSpPr>
          <p:cNvPr id="10" name="Rectangle 9"/>
          <p:cNvSpPr/>
          <p:nvPr userDrawn="1"/>
        </p:nvSpPr>
        <p:spPr bwMode="gray">
          <a:xfrm>
            <a:off x="0" y="5646494"/>
            <a:ext cx="12191377" cy="121150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30"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pic>
        <p:nvPicPr>
          <p:cNvPr id="11" name="Picture 10"/>
          <p:cNvPicPr>
            <a:picLocks noChangeAspect="1"/>
          </p:cNvPicPr>
          <p:nvPr userDrawn="1"/>
        </p:nvPicPr>
        <p:blipFill>
          <a:blip r:embed="rId2"/>
          <a:stretch>
            <a:fillRect/>
          </a:stretch>
        </p:blipFill>
        <p:spPr>
          <a:xfrm>
            <a:off x="453192" y="6087890"/>
            <a:ext cx="1427788" cy="304828"/>
          </a:xfrm>
          <a:prstGeom prst="rect">
            <a:avLst/>
          </a:prstGeom>
        </p:spPr>
      </p:pic>
      <p:pic>
        <p:nvPicPr>
          <p:cNvPr id="16" name="Picture 15" hidden="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450203" y="6119147"/>
            <a:ext cx="1253377" cy="268786"/>
          </a:xfrm>
          <a:prstGeom prst="rect">
            <a:avLst/>
          </a:prstGeom>
        </p:spPr>
      </p:pic>
      <p:sp>
        <p:nvSpPr>
          <p:cNvPr id="8" name="Title 1"/>
          <p:cNvSpPr>
            <a:spLocks noGrp="1"/>
          </p:cNvSpPr>
          <p:nvPr>
            <p:ph type="title" hasCustomPrompt="1"/>
          </p:nvPr>
        </p:nvSpPr>
        <p:spPr bwMode="white">
          <a:xfrm>
            <a:off x="269302" y="1646860"/>
            <a:ext cx="8964185" cy="1793090"/>
          </a:xfrm>
          <a:noFill/>
        </p:spPr>
        <p:txBody>
          <a:bodyPr lIns="146304" tIns="91440" rIns="146304" bIns="91440" anchor="t" anchorCtr="0"/>
          <a:lstStyle>
            <a:lvl1pPr>
              <a:defRPr sz="5294" spc="-98" baseline="0">
                <a:gradFill>
                  <a:gsLst>
                    <a:gs pos="100000">
                      <a:schemeClr val="tx2"/>
                    </a:gs>
                    <a:gs pos="0">
                      <a:schemeClr val="tx2"/>
                    </a:gs>
                  </a:gsLst>
                  <a:lin ang="5400000" scaled="0"/>
                </a:gradFill>
              </a:defRPr>
            </a:lvl1pPr>
          </a:lstStyle>
          <a:p>
            <a:r>
              <a:rPr lang="en-US" dirty="0"/>
              <a:t>Presentation title</a:t>
            </a:r>
          </a:p>
        </p:txBody>
      </p:sp>
      <p:sp>
        <p:nvSpPr>
          <p:cNvPr id="9" name="Text Placeholder 4"/>
          <p:cNvSpPr>
            <a:spLocks noGrp="1"/>
          </p:cNvSpPr>
          <p:nvPr>
            <p:ph type="body" sz="quarter" idx="12" hasCustomPrompt="1"/>
          </p:nvPr>
        </p:nvSpPr>
        <p:spPr bwMode="white">
          <a:xfrm>
            <a:off x="269301" y="3441247"/>
            <a:ext cx="7171337"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415500988"/>
      </p:ext>
    </p:extLst>
  </p:cSld>
  <p:clrMapOvr>
    <a:overrideClrMapping bg1="dk1" tx1="lt1" bg2="dk2" tx2="lt2" accent1="accent1" accent2="accent2" accent3="accent3" accent4="accent4" accent5="accent5" accent6="accent6" hlink="hlink" folHlink="folHlink"/>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24528831"/>
      </p:ext>
    </p:extLst>
  </p:cSld>
  <p:clrMapOvr>
    <a:overrideClrMapping bg1="lt1" tx1="dk1" bg2="lt2" tx2="dk2" accent1="accent1" accent2="accent2" accent3="accent3" accent4="accent4" accent5="accent5" accent6="accent6" hlink="hlink" folHlink="folHlink"/>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45103911"/>
      </p:ext>
    </p:extLst>
  </p:cSld>
  <p:clrMapOvr>
    <a:overrideClrMapping bg1="lt1" tx1="dk1" bg2="lt2" tx2="dk2" accent1="accent1" accent2="accent2" accent3="accent3" accent4="accent4" accent5="accent5" accent6="accent6" hlink="hlink" folHlink="folHlink"/>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565079"/>
      </p:ext>
    </p:extLst>
  </p:cSld>
  <p:clrMapOvr>
    <a:overrideClrMapping bg1="lt1" tx1="dk1" bg2="lt2" tx2="dk2" accent1="accent1" accent2="accent2" accent3="accent3" accent4="accent4" accent5="accent5" accent6="accent6" hlink="hlink" folHlink="folHlink"/>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wo Column Bullet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54563133"/>
      </p:ext>
    </p:extLst>
  </p:cSld>
  <p:clrMapOvr>
    <a:overrideClrMapping bg1="lt1" tx1="dk1" bg2="lt2" tx2="dk2" accent1="accent1" accent2="accent2" accent3="accent3" accent4="accent4" accent5="accent5" accent6="accent6" hlink="hlink" folHlink="folHlink"/>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Blank">
    <p:bg>
      <p:bgPr>
        <a:solidFill>
          <a:srgbClr val="002050"/>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69238" y="6476787"/>
            <a:ext cx="898127" cy="196093"/>
          </a:xfrm>
          <a:prstGeom prst="rect">
            <a:avLst/>
          </a:prstGeom>
        </p:spPr>
      </p:pic>
    </p:spTree>
    <p:extLst>
      <p:ext uri="{BB962C8B-B14F-4D97-AF65-F5344CB8AC3E}">
        <p14:creationId xmlns:p14="http://schemas.microsoft.com/office/powerpoint/2010/main" val="1869914800"/>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Only">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987683081"/>
      </p:ext>
    </p:extLst>
  </p:cSld>
  <p:clrMapOvr>
    <a:overrideClrMapping bg1="lt1" tx1="dk1" bg2="lt2" tx2="dk2" accent1="accent1" accent2="accent2" accent3="accent3" accent4="accent4" accent5="accent5" accent6="accent6" hlink="hlink" folHlink="folHlink"/>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ustomer Evidence Slide">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gradFill>
                  <a:gsLst>
                    <a:gs pos="18584">
                      <a:schemeClr val="tx2"/>
                    </a:gs>
                    <a:gs pos="57000">
                      <a:schemeClr val="tx2"/>
                    </a:gs>
                  </a:gsLst>
                  <a:lin ang="5400000" scaled="0"/>
                </a:gradFill>
              </a:defRPr>
            </a:lvl1pPr>
          </a:lstStyle>
          <a:p>
            <a:r>
              <a:rPr lang="en-US" dirty="0"/>
              <a:t>Customer evidence slide</a:t>
            </a:r>
          </a:p>
        </p:txBody>
      </p:sp>
      <p:sp>
        <p:nvSpPr>
          <p:cNvPr id="4" name="Picture Placeholder 3"/>
          <p:cNvSpPr>
            <a:spLocks noGrp="1"/>
          </p:cNvSpPr>
          <p:nvPr>
            <p:ph type="pic" sz="quarter" idx="10"/>
          </p:nvPr>
        </p:nvSpPr>
        <p:spPr bwMode="gray">
          <a:xfrm>
            <a:off x="269239" y="1406078"/>
            <a:ext cx="5378549" cy="1791549"/>
          </a:xfrm>
          <a:blipFill>
            <a:blip r:embed="rId2"/>
            <a:stretch>
              <a:fillRect/>
            </a:stretch>
          </a:blipFill>
        </p:spPr>
        <p:txBody>
          <a:bodyPr lIns="182880" tIns="146304" rIns="182880" bIns="146304">
            <a:noAutofit/>
          </a:bodyPr>
          <a:lstStyle>
            <a:lvl1pPr marL="0" indent="0">
              <a:buNone/>
              <a:defRPr lang="en-US" sz="2353" kern="1200" spc="0" baseline="0" dirty="0">
                <a:noFill/>
                <a:latin typeface="+mn-lt"/>
                <a:ea typeface="+mn-ea"/>
                <a:cs typeface="+mn-cs"/>
              </a:defRPr>
            </a:lvl1pPr>
            <a:lvl2pPr>
              <a:defRPr lang="en-US" sz="2353" kern="1200" spc="0" baseline="0" dirty="0">
                <a:gradFill>
                  <a:gsLst>
                    <a:gs pos="1250">
                      <a:schemeClr val="tx1"/>
                    </a:gs>
                    <a:gs pos="100000">
                      <a:schemeClr val="tx1"/>
                    </a:gs>
                  </a:gsLst>
                  <a:lin ang="5400000" scaled="0"/>
                </a:gradFill>
                <a:latin typeface="+mn-lt"/>
                <a:ea typeface="+mn-ea"/>
                <a:cs typeface="+mn-cs"/>
              </a:defRPr>
            </a:lvl2p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dirty="0"/>
              <a:t>Click icon to add picture</a:t>
            </a:r>
          </a:p>
        </p:txBody>
      </p:sp>
      <p:sp>
        <p:nvSpPr>
          <p:cNvPr id="5" name="Rectangle 4"/>
          <p:cNvSpPr/>
          <p:nvPr userDrawn="1"/>
        </p:nvSpPr>
        <p:spPr bwMode="auto">
          <a:xfrm>
            <a:off x="6095999" y="4773828"/>
            <a:ext cx="5829081" cy="1793104"/>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5439">
                    <a:srgbClr val="F8F8F8"/>
                  </a:gs>
                  <a:gs pos="10000">
                    <a:srgbClr val="F8F8F8"/>
                  </a:gs>
                </a:gsLst>
                <a:lin ang="5400000" scaled="0"/>
              </a:gradFill>
            </a:endParaRPr>
          </a:p>
        </p:txBody>
      </p:sp>
      <p:sp>
        <p:nvSpPr>
          <p:cNvPr id="6" name="Picture Placeholder 3"/>
          <p:cNvSpPr>
            <a:spLocks noGrp="1"/>
          </p:cNvSpPr>
          <p:nvPr>
            <p:ph type="pic" sz="quarter" idx="11" hasCustomPrompt="1"/>
          </p:nvPr>
        </p:nvSpPr>
        <p:spPr bwMode="gray">
          <a:xfrm>
            <a:off x="6096000" y="1406078"/>
            <a:ext cx="5826762" cy="3366196"/>
          </a:xfrm>
          <a:blipFill>
            <a:blip r:embed="rId3"/>
            <a:stretch>
              <a:fillRect/>
            </a:stretch>
          </a:blipFill>
        </p:spPr>
        <p:txBody>
          <a:bodyPr lIns="182880" tIns="146304" rIns="182880" bIns="146304">
            <a:noAutofit/>
          </a:bodyPr>
          <a:lstStyle>
            <a:lvl1pPr marL="0" indent="0">
              <a:buNone/>
              <a:defRPr lang="en-US" sz="2353" kern="1200" spc="0" baseline="0" dirty="0">
                <a:gradFill>
                  <a:gsLst>
                    <a:gs pos="1250">
                      <a:schemeClr val="tx1"/>
                    </a:gs>
                    <a:gs pos="100000">
                      <a:schemeClr val="tx1"/>
                    </a:gs>
                  </a:gsLst>
                  <a:lin ang="5400000" scaled="0"/>
                </a:gradFill>
                <a:latin typeface="+mn-lt"/>
                <a:ea typeface="+mn-ea"/>
                <a:cs typeface="+mn-cs"/>
              </a:defRPr>
            </a:lvl1pPr>
            <a:lvl2pPr algn="ctr">
              <a:defRPr lang="en-US" sz="2353" kern="1200" spc="0" baseline="0" dirty="0">
                <a:gradFill>
                  <a:gsLst>
                    <a:gs pos="1250">
                      <a:schemeClr val="tx1"/>
                    </a:gs>
                    <a:gs pos="100000">
                      <a:schemeClr val="tx1"/>
                    </a:gs>
                  </a:gsLst>
                  <a:lin ang="5400000" scaled="0"/>
                </a:gradFill>
                <a:latin typeface="+mn-lt"/>
                <a:ea typeface="+mn-ea"/>
                <a:cs typeface="+mn-cs"/>
              </a:defRPr>
            </a:lvl2p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dirty="0"/>
              <a:t>Your image here</a:t>
            </a:r>
          </a:p>
        </p:txBody>
      </p:sp>
      <p:cxnSp>
        <p:nvCxnSpPr>
          <p:cNvPr id="7" name="Straight Connector 6"/>
          <p:cNvCxnSpPr/>
          <p:nvPr userDrawn="1"/>
        </p:nvCxnSpPr>
        <p:spPr>
          <a:xfrm>
            <a:off x="5871894" y="1801029"/>
            <a:ext cx="0" cy="4662019"/>
          </a:xfrm>
          <a:prstGeom prst="line">
            <a:avLst/>
          </a:prstGeom>
          <a:ln w="3175">
            <a:solidFill>
              <a:schemeClr val="tx1">
                <a:alpha val="2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 name="Text Placeholder 10"/>
          <p:cNvSpPr>
            <a:spLocks noGrp="1"/>
          </p:cNvSpPr>
          <p:nvPr>
            <p:ph type="body" sz="quarter" idx="12"/>
          </p:nvPr>
        </p:nvSpPr>
        <p:spPr>
          <a:xfrm>
            <a:off x="269239" y="3197079"/>
            <a:ext cx="5378549" cy="3369853"/>
          </a:xfrm>
        </p:spPr>
        <p:txBody>
          <a:bodyPr lIns="182880" tIns="146304" rIns="182880" bIns="146304">
            <a:noAutofit/>
          </a:bodyPr>
          <a:lstStyle>
            <a:lvl1pPr marL="0" indent="0">
              <a:buNone/>
              <a:defRPr sz="2353">
                <a:latin typeface="+mn-lt"/>
              </a:defRPr>
            </a:lvl1pPr>
          </a:lstStyle>
          <a:p>
            <a:pPr lvl="0"/>
            <a:r>
              <a:rPr lang="en-US"/>
              <a:t>Edit Master text styles</a:t>
            </a:r>
          </a:p>
        </p:txBody>
      </p:sp>
      <p:sp>
        <p:nvSpPr>
          <p:cNvPr id="15" name="Text Placeholder 14"/>
          <p:cNvSpPr>
            <a:spLocks noGrp="1"/>
          </p:cNvSpPr>
          <p:nvPr>
            <p:ph type="body" sz="quarter" idx="13"/>
          </p:nvPr>
        </p:nvSpPr>
        <p:spPr>
          <a:xfrm>
            <a:off x="6096001" y="4773828"/>
            <a:ext cx="5826761" cy="1791549"/>
          </a:xfrm>
        </p:spPr>
        <p:txBody>
          <a:bodyPr lIns="182880" tIns="146304" rIns="182880" bIns="146304" anchor="ctr">
            <a:noAutofit/>
          </a:bodyPr>
          <a:lstStyle>
            <a:lvl1pPr marL="0" indent="0" algn="ctr">
              <a:buNone/>
              <a:defRPr sz="3137">
                <a:gradFill>
                  <a:gsLst>
                    <a:gs pos="27434">
                      <a:srgbClr val="FFFFFF"/>
                    </a:gs>
                    <a:gs pos="54000">
                      <a:srgbClr val="FFFFFF"/>
                    </a:gs>
                  </a:gsLst>
                  <a:lin ang="5400000" scaled="0"/>
                </a:gradFill>
                <a:latin typeface="+mj-lt"/>
              </a:defRPr>
            </a:lvl1pPr>
          </a:lstStyle>
          <a:p>
            <a:pPr lvl="0"/>
            <a:r>
              <a:rPr lang="en-US"/>
              <a:t>Edit Master text styles</a:t>
            </a:r>
          </a:p>
        </p:txBody>
      </p:sp>
    </p:spTree>
    <p:extLst>
      <p:ext uri="{BB962C8B-B14F-4D97-AF65-F5344CB8AC3E}">
        <p14:creationId xmlns:p14="http://schemas.microsoft.com/office/powerpoint/2010/main" val="3559229111"/>
      </p:ext>
    </p:extLst>
  </p:cSld>
  <p:clrMapOvr>
    <a:overrideClrMapping bg1="lt1" tx1="dk1" bg2="lt2" tx2="dk2" accent1="accent1" accent2="accent2" accent3="accent3" accent4="accent4" accent5="accent5" accent6="accent6" hlink="hlink" folHlink="folHlink"/>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8066548" cy="1158793"/>
          </a:xfrm>
          <a:noFill/>
        </p:spPr>
        <p:txBody>
          <a:bodyPr wrap="square" tIns="91440" bIns="91440" anchor="t" anchorCtr="0">
            <a:spAutoFit/>
          </a:bodyPr>
          <a:lstStyle>
            <a:lvl1pPr>
              <a:defRPr sz="7058" spc="-98" baseline="0">
                <a:gradFill>
                  <a:gsLst>
                    <a:gs pos="8850">
                      <a:schemeClr val="tx1"/>
                    </a:gs>
                    <a:gs pos="23894">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8067822" cy="724246"/>
          </a:xfrm>
          <a:noFill/>
        </p:spPr>
        <p:txBody>
          <a:bodyPr wrap="square" lIns="182880" tIns="146304" rIns="182880" bIns="146304">
            <a:spAutoFit/>
          </a:bodyPr>
          <a:lstStyle>
            <a:lvl1pPr marL="0" indent="0">
              <a:spcBef>
                <a:spcPts val="0"/>
              </a:spcBef>
              <a:buNone/>
              <a:defRPr sz="3137" spc="0" baseline="0">
                <a:gradFill>
                  <a:gsLst>
                    <a:gs pos="8850">
                      <a:schemeClr val="tx1"/>
                    </a:gs>
                    <a:gs pos="23894">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186057295"/>
      </p:ext>
    </p:extLst>
  </p:cSld>
  <p:clrMapOvr>
    <a:overrideClrMapping bg1="dk1" tx1="lt1" bg2="dk2" tx2="lt2" accent1="accent1" accent2="accent2" accent3="accent3" accent4="accent4" accent5="accent5" accent6="accent6" hlink="hlink" folHlink="folHlink"/>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175428240"/>
      </p:ext>
    </p:extLst>
  </p:cSld>
  <p:clrMapOvr>
    <a:overrideClrMapping bg1="dk1" tx1="lt1" bg2="dk2" tx2="lt2" accent1="accent1" accent2="accent2" accent3="accent3" accent4="accent4" accent5="accent5" accent6="accent6" hlink="hlink" folHlink="folHlink"/>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50-50 Right Photo Layou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3334861567"/>
      </p:ext>
    </p:extLst>
  </p:cSld>
  <p:clrMapOvr>
    <a:overrideClrMapping bg1="lt1" tx1="dk1" bg2="lt2" tx2="dk2" accent1="accent1" accent2="accent2" accent3="accent3" accent4="accent4" accent5="accent5" accent6="accent6" hlink="hlink" folHlink="folHlink"/>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Blank">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08809518"/>
      </p:ext>
    </p:extLst>
  </p:cSld>
  <p:clrMapOvr>
    <a:overrideClrMapping bg1="lt1" tx1="dk1" bg2="lt2" tx2="dk2" accent1="accent1" accent2="accent2" accent3="accent3" accent4="accent4" accent5="accent5" accent6="accent6" hlink="hlink" folHlink="folHlink"/>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1_Blank">
    <p:bg>
      <p:bgPr>
        <a:solidFill>
          <a:schemeClr val="tx2"/>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69238" y="6476787"/>
            <a:ext cx="898127" cy="196093"/>
          </a:xfrm>
          <a:prstGeom prst="rect">
            <a:avLst/>
          </a:prstGeom>
        </p:spPr>
      </p:pic>
    </p:spTree>
    <p:extLst>
      <p:ext uri="{BB962C8B-B14F-4D97-AF65-F5344CB8AC3E}">
        <p14:creationId xmlns:p14="http://schemas.microsoft.com/office/powerpoint/2010/main" val="3214730653"/>
      </p:ext>
    </p:extLst>
  </p:cSld>
  <p:clrMapOvr>
    <a:overrideClrMapping bg1="lt1" tx1="dk1" bg2="lt2" tx2="dk2" accent1="accent1" accent2="accent2" accent3="accent3" accent4="accent4" accent5="accent5" accent6="accent6" hlink="hlink" folHlink="folHlink"/>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Closing logo slide_color">
    <p:bg>
      <p:bgRef idx="1001">
        <a:schemeClr val="bg1"/>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userDrawn="1"/>
        </p:nvPicPr>
        <p:blipFill rotWithShape="1">
          <a:blip r:embed="rId2" cstate="screen">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2997392625"/>
      </p:ext>
    </p:extLst>
  </p:cSld>
  <p:clrMapOvr>
    <a:overrideClrMapping bg1="dk1" tx1="lt1" bg2="dk2" tx2="lt2" accent1="accent1" accent2="accent2" accent3="accent3" accent4="accent4" accent5="accent5" accent6="accent6" hlink="hlink" folHlink="folHlink"/>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63pt Title + Subtitl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269240" y="1279455"/>
            <a:ext cx="10816237" cy="563458"/>
          </a:xfrm>
          <a:prstGeom prst="rect">
            <a:avLst/>
          </a:prstGeom>
        </p:spPr>
        <p:txBody>
          <a:bodyPr lIns="192024"/>
          <a:lstStyle>
            <a:lvl1pPr marL="0" indent="0">
              <a:buNone/>
              <a:defRPr lang="en-US" sz="2800" kern="1200" smtClean="0">
                <a:solidFill>
                  <a:schemeClr val="tx2"/>
                </a:solidFill>
                <a:latin typeface="+mj-lt"/>
                <a:ea typeface="+mn-ea"/>
                <a:cs typeface="+mn-cs"/>
              </a:defRPr>
            </a:lvl1pPr>
            <a:lvl2pPr marL="0" indent="0">
              <a:buNone/>
              <a:defRPr lang="en-US" sz="3108" kern="1200" smtClean="0">
                <a:solidFill>
                  <a:schemeClr val="bg1"/>
                </a:solidFill>
                <a:latin typeface="+mj-lt"/>
                <a:ea typeface="+mn-ea"/>
                <a:cs typeface="+mn-cs"/>
              </a:defRPr>
            </a:lvl2pPr>
            <a:lvl3pPr marL="0" indent="0">
              <a:buNone/>
              <a:defRPr lang="en-US" sz="3108" kern="1200" smtClean="0">
                <a:solidFill>
                  <a:schemeClr val="bg1"/>
                </a:solidFill>
                <a:latin typeface="+mj-lt"/>
                <a:ea typeface="+mn-ea"/>
                <a:cs typeface="+mn-cs"/>
              </a:defRPr>
            </a:lvl3pPr>
            <a:lvl4pPr marL="0" indent="0">
              <a:buNone/>
              <a:defRPr lang="en-US" sz="3108" kern="1200" smtClean="0">
                <a:solidFill>
                  <a:schemeClr val="bg1"/>
                </a:solidFill>
                <a:latin typeface="+mj-lt"/>
                <a:ea typeface="+mn-ea"/>
                <a:cs typeface="+mn-cs"/>
              </a:defRPr>
            </a:lvl4pPr>
            <a:lvl5pPr marL="0" indent="0">
              <a:buNone/>
              <a:defRPr lang="en-US" sz="3108" kern="1200">
                <a:solidFill>
                  <a:schemeClr val="bg1"/>
                </a:solidFill>
                <a:latin typeface="+mj-lt"/>
                <a:ea typeface="+mn-ea"/>
                <a:cs typeface="+mn-cs"/>
              </a:defRPr>
            </a:lvl5pPr>
          </a:lstStyle>
          <a:p>
            <a:pPr lvl="0"/>
            <a:r>
              <a:rPr lang="en-US" dirty="0"/>
              <a:t>Click to edit Master text styles</a:t>
            </a:r>
          </a:p>
        </p:txBody>
      </p:sp>
      <p:sp>
        <p:nvSpPr>
          <p:cNvPr id="7" name="Title 2"/>
          <p:cNvSpPr>
            <a:spLocks noGrp="1"/>
          </p:cNvSpPr>
          <p:nvPr>
            <p:ph type="title"/>
          </p:nvPr>
        </p:nvSpPr>
        <p:spPr>
          <a:xfrm>
            <a:off x="268927" y="286381"/>
            <a:ext cx="11653523" cy="927940"/>
          </a:xfrm>
          <a:prstGeom prst="rect">
            <a:avLst/>
          </a:prstGeom>
        </p:spPr>
        <p:txBody>
          <a:bodyPr/>
          <a:lstStyle>
            <a:lvl1pPr algn="l">
              <a:defRPr sz="4800">
                <a:solidFill>
                  <a:schemeClr val="tx2"/>
                </a:solidFill>
              </a:defRPr>
            </a:lvl1pPr>
          </a:lstStyle>
          <a:p>
            <a:r>
              <a:rPr lang="en-US" dirty="0"/>
              <a:t>Click to edit Master title style</a:t>
            </a:r>
          </a:p>
        </p:txBody>
      </p:sp>
      <p:sp>
        <p:nvSpPr>
          <p:cNvPr id="4" name="Footer Placeholder 2"/>
          <p:cNvSpPr>
            <a:spLocks noGrp="1"/>
          </p:cNvSpPr>
          <p:nvPr>
            <p:ph type="ftr" sz="quarter" idx="14"/>
          </p:nvPr>
        </p:nvSpPr>
        <p:spPr/>
        <p:txBody>
          <a:bodyPr/>
          <a:lstStyle>
            <a:lvl1pPr fontAlgn="base">
              <a:spcBef>
                <a:spcPct val="0"/>
              </a:spcBef>
              <a:spcAft>
                <a:spcPct val="0"/>
              </a:spcAft>
              <a:defRPr dirty="0" smtClean="0">
                <a:solidFill>
                  <a:srgbClr val="505050"/>
                </a:solidFill>
              </a:defRPr>
            </a:lvl1pPr>
          </a:lstStyle>
          <a:p>
            <a:pPr>
              <a:defRPr/>
            </a:pPr>
            <a:endParaRPr dirty="0"/>
          </a:p>
        </p:txBody>
      </p:sp>
      <p:sp>
        <p:nvSpPr>
          <p:cNvPr id="5" name="Slide Number Placeholder 3"/>
          <p:cNvSpPr>
            <a:spLocks noGrp="1"/>
          </p:cNvSpPr>
          <p:nvPr>
            <p:ph type="sldNum" sz="quarter" idx="15"/>
          </p:nvPr>
        </p:nvSpPr>
        <p:spPr/>
        <p:txBody>
          <a:bodyPr/>
          <a:lstStyle>
            <a:lvl1pPr defTabSz="913505" fontAlgn="base">
              <a:spcBef>
                <a:spcPct val="0"/>
              </a:spcBef>
              <a:spcAft>
                <a:spcPct val="0"/>
              </a:spcAft>
              <a:defRPr smtClean="0">
                <a:solidFill>
                  <a:srgbClr val="505050"/>
                </a:solidFill>
              </a:defRPr>
            </a:lvl1pPr>
          </a:lstStyle>
          <a:p>
            <a:pPr>
              <a:defRPr/>
            </a:pPr>
            <a:fld id="{56442AAA-6A77-5942-BCC4-0CCA4B0626F8}" type="slidenum">
              <a:rPr/>
              <a:pPr>
                <a:defRPr/>
              </a:pPr>
              <a:t>‹#›</a:t>
            </a:fld>
            <a:endParaRPr dirty="0"/>
          </a:p>
        </p:txBody>
      </p:sp>
      <p:pic>
        <p:nvPicPr>
          <p:cNvPr id="8" name="Picture 7"/>
          <p:cNvPicPr>
            <a:picLocks noChangeAspect="1"/>
          </p:cNvPicPr>
          <p:nvPr userDrawn="1"/>
        </p:nvPicPr>
        <p:blipFill>
          <a:blip r:embed="rId2"/>
          <a:stretch>
            <a:fillRect/>
          </a:stretch>
        </p:blipFill>
        <p:spPr>
          <a:xfrm>
            <a:off x="269239" y="6481587"/>
            <a:ext cx="898127" cy="191293"/>
          </a:xfrm>
          <a:prstGeom prst="rect">
            <a:avLst/>
          </a:prstGeom>
        </p:spPr>
      </p:pic>
    </p:spTree>
    <p:extLst>
      <p:ext uri="{BB962C8B-B14F-4D97-AF65-F5344CB8AC3E}">
        <p14:creationId xmlns:p14="http://schemas.microsoft.com/office/powerpoint/2010/main" val="1394369150"/>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lvl1pPr fontAlgn="base">
              <a:spcBef>
                <a:spcPct val="0"/>
              </a:spcBef>
              <a:spcAft>
                <a:spcPct val="0"/>
              </a:spcAft>
              <a:defRPr dirty="0" smtClean="0">
                <a:solidFill>
                  <a:srgbClr val="000000"/>
                </a:solidFill>
              </a:defRPr>
            </a:lvl1pPr>
          </a:lstStyle>
          <a:p>
            <a:pPr>
              <a:defRPr/>
            </a:pPr>
            <a:endParaRPr dirty="0"/>
          </a:p>
        </p:txBody>
      </p:sp>
      <p:sp>
        <p:nvSpPr>
          <p:cNvPr id="3" name="Slide Number Placeholder 2"/>
          <p:cNvSpPr>
            <a:spLocks noGrp="1"/>
          </p:cNvSpPr>
          <p:nvPr>
            <p:ph type="sldNum" sz="quarter" idx="11"/>
          </p:nvPr>
        </p:nvSpPr>
        <p:spPr/>
        <p:txBody>
          <a:bodyPr/>
          <a:lstStyle>
            <a:lvl1pPr defTabSz="913505" fontAlgn="base">
              <a:spcBef>
                <a:spcPct val="0"/>
              </a:spcBef>
              <a:spcAft>
                <a:spcPct val="0"/>
              </a:spcAft>
              <a:defRPr smtClean="0">
                <a:solidFill>
                  <a:srgbClr val="000000"/>
                </a:solidFill>
              </a:defRPr>
            </a:lvl1pPr>
          </a:lstStyle>
          <a:p>
            <a:pPr>
              <a:defRPr/>
            </a:pPr>
            <a:fld id="{F8A0AC42-AA1D-4944-8D96-660DE70C7E1B}" type="slidenum">
              <a:rPr/>
              <a:pPr>
                <a:defRPr/>
              </a:pPr>
              <a:t>‹#›</a:t>
            </a:fld>
            <a:endParaRPr dirty="0"/>
          </a:p>
        </p:txBody>
      </p:sp>
      <p:pic>
        <p:nvPicPr>
          <p:cNvPr id="5" name="Picture 4"/>
          <p:cNvPicPr>
            <a:picLocks noChangeAspect="1"/>
          </p:cNvPicPr>
          <p:nvPr userDrawn="1"/>
        </p:nvPicPr>
        <p:blipFill>
          <a:blip r:embed="rId2"/>
          <a:stretch>
            <a:fillRect/>
          </a:stretch>
        </p:blipFill>
        <p:spPr>
          <a:xfrm>
            <a:off x="269239" y="6481587"/>
            <a:ext cx="898127" cy="191293"/>
          </a:xfrm>
          <a:prstGeom prst="rect">
            <a:avLst/>
          </a:prstGeom>
        </p:spPr>
      </p:pic>
    </p:spTree>
    <p:extLst>
      <p:ext uri="{BB962C8B-B14F-4D97-AF65-F5344CB8AC3E}">
        <p14:creationId xmlns:p14="http://schemas.microsoft.com/office/powerpoint/2010/main" val="2442039035"/>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1_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68927" y="286381"/>
            <a:ext cx="11653523" cy="927940"/>
          </a:xfrm>
          <a:prstGeom prst="rect">
            <a:avLst/>
          </a:prstGeom>
        </p:spPr>
        <p:txBody>
          <a:bodyPr/>
          <a:lstStyle>
            <a:lvl1pPr algn="l">
              <a:defRPr sz="4800">
                <a:solidFill>
                  <a:schemeClr val="tx2"/>
                </a:solidFill>
              </a:defRPr>
            </a:lvl1pPr>
          </a:lstStyle>
          <a:p>
            <a:r>
              <a:rPr lang="en-US" dirty="0"/>
              <a:t>Click to edit Master title style</a:t>
            </a:r>
          </a:p>
        </p:txBody>
      </p:sp>
      <p:sp>
        <p:nvSpPr>
          <p:cNvPr id="6" name="Slide Number Placeholder 4"/>
          <p:cNvSpPr>
            <a:spLocks noGrp="1"/>
          </p:cNvSpPr>
          <p:nvPr>
            <p:ph type="sldNum" sz="quarter" idx="4"/>
          </p:nvPr>
        </p:nvSpPr>
        <p:spPr>
          <a:xfrm>
            <a:off x="11367165" y="6629335"/>
            <a:ext cx="555597" cy="133860"/>
          </a:xfrm>
          <a:prstGeom prst="rect">
            <a:avLst/>
          </a:prstGeom>
        </p:spPr>
        <p:txBody>
          <a:bodyPr vert="horz" lIns="91440" tIns="0" rIns="0" bIns="0" rtlCol="0" anchor="ctr"/>
          <a:lstStyle>
            <a:lvl1pPr algn="r" defTabSz="914367" fontAlgn="auto">
              <a:spcBef>
                <a:spcPts val="0"/>
              </a:spcBef>
              <a:spcAft>
                <a:spcPts val="0"/>
              </a:spcAft>
              <a:defRPr lang="en-US" sz="882" b="0" kern="1200">
                <a:solidFill>
                  <a:srgbClr val="505050"/>
                </a:solidFill>
                <a:latin typeface="+mn-lt"/>
                <a:ea typeface="+mn-ea"/>
                <a:cs typeface="+mn-cs"/>
              </a:defRPr>
            </a:lvl1pPr>
          </a:lstStyle>
          <a:p>
            <a:pPr>
              <a:defRPr/>
            </a:pPr>
            <a:fld id="{75FAD755-3BD0-2447-A9DF-109DAABEFD99}" type="slidenum">
              <a:rPr/>
              <a:pPr>
                <a:defRPr/>
              </a:pPr>
              <a:t>‹#›</a:t>
            </a:fld>
            <a:endParaRPr dirty="0"/>
          </a:p>
        </p:txBody>
      </p:sp>
      <p:pic>
        <p:nvPicPr>
          <p:cNvPr id="5" name="Picture 4"/>
          <p:cNvPicPr>
            <a:picLocks noChangeAspect="1"/>
          </p:cNvPicPr>
          <p:nvPr userDrawn="1"/>
        </p:nvPicPr>
        <p:blipFill>
          <a:blip r:embed="rId2"/>
          <a:stretch>
            <a:fillRect/>
          </a:stretch>
        </p:blipFill>
        <p:spPr>
          <a:xfrm>
            <a:off x="269239" y="6481587"/>
            <a:ext cx="898127" cy="191293"/>
          </a:xfrm>
          <a:prstGeom prst="rect">
            <a:avLst/>
          </a:prstGeom>
        </p:spPr>
      </p:pic>
    </p:spTree>
    <p:extLst>
      <p:ext uri="{BB962C8B-B14F-4D97-AF65-F5344CB8AC3E}">
        <p14:creationId xmlns:p14="http://schemas.microsoft.com/office/powerpoint/2010/main" val="2533925521"/>
      </p:ext>
    </p:extLst>
  </p:cSld>
  <p:clrMapOvr>
    <a:masterClrMapping/>
  </p:clrMapOvr>
  <p:transition spd="med">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_Title Only">
    <p:bg>
      <p:bgPr>
        <a:solidFill>
          <a:srgbClr val="00205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68927" y="286381"/>
            <a:ext cx="11653523" cy="927940"/>
          </a:xfrm>
          <a:prstGeom prst="rect">
            <a:avLst/>
          </a:prstGeom>
        </p:spPr>
        <p:txBody>
          <a:bodyPr/>
          <a:lstStyle>
            <a:lvl1pPr algn="l">
              <a:defRPr sz="4800">
                <a:solidFill>
                  <a:schemeClr val="bg1"/>
                </a:solidFill>
              </a:defRPr>
            </a:lvl1pPr>
          </a:lstStyle>
          <a:p>
            <a:r>
              <a:rPr lang="en-US" dirty="0"/>
              <a:t>Click to edit Master title style</a:t>
            </a:r>
          </a:p>
        </p:txBody>
      </p:sp>
      <p:sp>
        <p:nvSpPr>
          <p:cNvPr id="6" name="Slide Number Placeholder 4"/>
          <p:cNvSpPr>
            <a:spLocks noGrp="1"/>
          </p:cNvSpPr>
          <p:nvPr>
            <p:ph type="sldNum" sz="quarter" idx="4"/>
          </p:nvPr>
        </p:nvSpPr>
        <p:spPr>
          <a:xfrm>
            <a:off x="11367165" y="6629335"/>
            <a:ext cx="555597" cy="133860"/>
          </a:xfrm>
          <a:prstGeom prst="rect">
            <a:avLst/>
          </a:prstGeom>
        </p:spPr>
        <p:txBody>
          <a:bodyPr vert="horz" lIns="91440" tIns="0" rIns="0" bIns="0" rtlCol="0" anchor="ctr"/>
          <a:lstStyle>
            <a:lvl1pPr algn="r" defTabSz="914367" fontAlgn="auto">
              <a:spcBef>
                <a:spcPts val="0"/>
              </a:spcBef>
              <a:spcAft>
                <a:spcPts val="0"/>
              </a:spcAft>
              <a:defRPr lang="en-US" sz="882" b="0" kern="1200">
                <a:solidFill>
                  <a:srgbClr val="505050"/>
                </a:solidFill>
                <a:latin typeface="+mn-lt"/>
                <a:ea typeface="+mn-ea"/>
                <a:cs typeface="+mn-cs"/>
              </a:defRPr>
            </a:lvl1pPr>
          </a:lstStyle>
          <a:p>
            <a:pPr>
              <a:defRPr/>
            </a:pPr>
            <a:fld id="{75FAD755-3BD0-2447-A9DF-109DAABEFD99}" type="slidenum">
              <a:rPr/>
              <a:pPr>
                <a:defRPr/>
              </a:pPr>
              <a:t>‹#›</a:t>
            </a:fld>
            <a:endParaRPr dirty="0"/>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69238" y="6476787"/>
            <a:ext cx="898127" cy="196093"/>
          </a:xfrm>
          <a:prstGeom prst="rect">
            <a:avLst/>
          </a:prstGeom>
        </p:spPr>
      </p:pic>
      <p:sp>
        <p:nvSpPr>
          <p:cNvPr id="8" name="Text Placeholder 5"/>
          <p:cNvSpPr>
            <a:spLocks noGrp="1"/>
          </p:cNvSpPr>
          <p:nvPr>
            <p:ph type="body" sz="quarter" idx="13"/>
          </p:nvPr>
        </p:nvSpPr>
        <p:spPr>
          <a:xfrm>
            <a:off x="269240" y="1279455"/>
            <a:ext cx="10816237" cy="563458"/>
          </a:xfrm>
          <a:prstGeom prst="rect">
            <a:avLst/>
          </a:prstGeom>
        </p:spPr>
        <p:txBody>
          <a:bodyPr lIns="192024"/>
          <a:lstStyle>
            <a:lvl1pPr marL="0" indent="0">
              <a:buNone/>
              <a:defRPr lang="en-US" sz="2800" kern="1200" smtClean="0">
                <a:solidFill>
                  <a:schemeClr val="bg1"/>
                </a:solidFill>
                <a:latin typeface="+mj-lt"/>
                <a:ea typeface="+mn-ea"/>
                <a:cs typeface="+mn-cs"/>
              </a:defRPr>
            </a:lvl1pPr>
            <a:lvl2pPr marL="0" indent="0">
              <a:buNone/>
              <a:defRPr lang="en-US" sz="3108" kern="1200" smtClean="0">
                <a:solidFill>
                  <a:schemeClr val="bg1"/>
                </a:solidFill>
                <a:latin typeface="+mj-lt"/>
                <a:ea typeface="+mn-ea"/>
                <a:cs typeface="+mn-cs"/>
              </a:defRPr>
            </a:lvl2pPr>
            <a:lvl3pPr marL="0" indent="0">
              <a:buNone/>
              <a:defRPr lang="en-US" sz="3108" kern="1200" smtClean="0">
                <a:solidFill>
                  <a:schemeClr val="bg1"/>
                </a:solidFill>
                <a:latin typeface="+mj-lt"/>
                <a:ea typeface="+mn-ea"/>
                <a:cs typeface="+mn-cs"/>
              </a:defRPr>
            </a:lvl3pPr>
            <a:lvl4pPr marL="0" indent="0">
              <a:buNone/>
              <a:defRPr lang="en-US" sz="3108" kern="1200" smtClean="0">
                <a:solidFill>
                  <a:schemeClr val="bg1"/>
                </a:solidFill>
                <a:latin typeface="+mj-lt"/>
                <a:ea typeface="+mn-ea"/>
                <a:cs typeface="+mn-cs"/>
              </a:defRPr>
            </a:lvl4pPr>
            <a:lvl5pPr marL="0" indent="0">
              <a:buNone/>
              <a:defRPr lang="en-US" sz="3108" kern="1200">
                <a:solidFill>
                  <a:schemeClr val="bg1"/>
                </a:solidFill>
                <a:latin typeface="+mj-lt"/>
                <a:ea typeface="+mn-ea"/>
                <a:cs typeface="+mn-cs"/>
              </a:defRPr>
            </a:lvl5pPr>
          </a:lstStyle>
          <a:p>
            <a:pPr lvl="0"/>
            <a:r>
              <a:rPr lang="en-US" dirty="0"/>
              <a:t>Click to edit Master text styles</a:t>
            </a:r>
          </a:p>
        </p:txBody>
      </p:sp>
    </p:spTree>
    <p:extLst>
      <p:ext uri="{BB962C8B-B14F-4D97-AF65-F5344CB8AC3E}">
        <p14:creationId xmlns:p14="http://schemas.microsoft.com/office/powerpoint/2010/main" val="2817362951"/>
      </p:ext>
    </p:extLst>
  </p:cSld>
  <p:clrMapOvr>
    <a:masterClrMapping/>
  </p:clrMapOvr>
  <p:transition spd="med">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cSld name="4_BLANK">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val="0"/>
              </a:ext>
            </a:extLst>
          </a:blip>
          <a:srcRect t="15237"/>
          <a:stretch/>
        </p:blipFill>
        <p:spPr>
          <a:xfrm flipH="1">
            <a:off x="0" y="-36095"/>
            <a:ext cx="12192000" cy="6894095"/>
          </a:xfrm>
          <a:prstGeom prst="rect">
            <a:avLst/>
          </a:prstGeom>
        </p:spPr>
      </p:pic>
    </p:spTree>
    <p:extLst>
      <p:ext uri="{BB962C8B-B14F-4D97-AF65-F5344CB8AC3E}">
        <p14:creationId xmlns:p14="http://schemas.microsoft.com/office/powerpoint/2010/main" val="3808896604"/>
      </p:ext>
    </p:extLst>
  </p:cSld>
  <p:clrMapOvr>
    <a:masterClrMapping/>
  </p:clrMapOvr>
  <p:transition spd="med">
    <p:wipe dir="r"/>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1"/>
          </p:nvPr>
        </p:nvSpPr>
        <p:spPr>
          <a:xfrm>
            <a:off x="266922" y="1284251"/>
            <a:ext cx="11655840" cy="2018835"/>
          </a:xfrm>
        </p:spPr>
        <p:txBody>
          <a:bodyPr/>
          <a:lstStyle>
            <a:lvl1pPr marL="0" indent="0">
              <a:buNone/>
              <a:defRPr sz="4000">
                <a:gradFill>
                  <a:gsLst>
                    <a:gs pos="2920">
                      <a:schemeClr val="tx2"/>
                    </a:gs>
                    <a:gs pos="39000">
                      <a:schemeClr val="tx2"/>
                    </a:gs>
                  </a:gsLst>
                  <a:lin ang="5400000" scaled="0"/>
                </a:gradFill>
              </a:defRPr>
            </a:lvl1pPr>
            <a:lvl2pPr marL="28012" indent="0">
              <a:buNone/>
              <a:defRPr sz="2000"/>
            </a:lvl2pPr>
            <a:lvl3pPr marL="219428" indent="0">
              <a:buNone/>
              <a:defRPr sz="2000"/>
            </a:lvl3pPr>
            <a:lvl4pPr marL="466868" indent="0">
              <a:buNone/>
              <a:defRPr sz="1800"/>
            </a:lvl4pPr>
            <a:lvl5pPr marL="725201" indent="0">
              <a:buNone/>
              <a:defRPr sz="18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Slide Number Placeholder 4"/>
          <p:cNvSpPr>
            <a:spLocks noGrp="1"/>
          </p:cNvSpPr>
          <p:nvPr>
            <p:ph type="sldNum" sz="quarter" idx="4"/>
          </p:nvPr>
        </p:nvSpPr>
        <p:spPr>
          <a:xfrm>
            <a:off x="11367165" y="6629335"/>
            <a:ext cx="555597" cy="133860"/>
          </a:xfrm>
          <a:prstGeom prst="rect">
            <a:avLst/>
          </a:prstGeom>
        </p:spPr>
        <p:txBody>
          <a:bodyPr vert="horz" lIns="91440" tIns="0" rIns="0" bIns="0" rtlCol="0" anchor="ctr"/>
          <a:lstStyle>
            <a:lvl1pPr algn="r" defTabSz="914367" fontAlgn="auto">
              <a:spcBef>
                <a:spcPts val="0"/>
              </a:spcBef>
              <a:spcAft>
                <a:spcPts val="0"/>
              </a:spcAft>
              <a:defRPr lang="en-US" sz="882" b="0" kern="1200">
                <a:solidFill>
                  <a:srgbClr val="505050"/>
                </a:solidFill>
                <a:latin typeface="+mn-lt"/>
                <a:ea typeface="+mn-ea"/>
                <a:cs typeface="+mn-cs"/>
              </a:defRPr>
            </a:lvl1pPr>
          </a:lstStyle>
          <a:p>
            <a:pPr>
              <a:defRPr/>
            </a:pPr>
            <a:fld id="{75FAD755-3BD0-2447-A9DF-109DAABEFD99}" type="slidenum">
              <a:rPr/>
              <a:pPr>
                <a:defRPr/>
              </a:pPr>
              <a:t>‹#›</a:t>
            </a:fld>
            <a:endParaRPr dirty="0"/>
          </a:p>
        </p:txBody>
      </p:sp>
      <p:pic>
        <p:nvPicPr>
          <p:cNvPr id="6" name="Picture 5"/>
          <p:cNvPicPr>
            <a:picLocks noChangeAspect="1"/>
          </p:cNvPicPr>
          <p:nvPr userDrawn="1"/>
        </p:nvPicPr>
        <p:blipFill>
          <a:blip r:embed="rId2"/>
          <a:stretch>
            <a:fillRect/>
          </a:stretch>
        </p:blipFill>
        <p:spPr>
          <a:xfrm>
            <a:off x="269239" y="6481587"/>
            <a:ext cx="898127" cy="191293"/>
          </a:xfrm>
          <a:prstGeom prst="rect">
            <a:avLst/>
          </a:prstGeom>
        </p:spPr>
      </p:pic>
    </p:spTree>
    <p:extLst>
      <p:ext uri="{BB962C8B-B14F-4D97-AF65-F5344CB8AC3E}">
        <p14:creationId xmlns:p14="http://schemas.microsoft.com/office/powerpoint/2010/main" val="3900822645"/>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89512"/>
            <a:ext cx="11655078" cy="899665"/>
          </a:xfrm>
        </p:spPr>
        <p:txBody>
          <a:bodyPr/>
          <a:lstStyle>
            <a:lvl1pPr>
              <a:defRPr/>
            </a:lvl1pPr>
          </a:lstStyle>
          <a:p>
            <a:r>
              <a:rPr lang="en-US" dirty="0"/>
              <a:t>Slide for Developer Code</a:t>
            </a:r>
          </a:p>
        </p:txBody>
      </p:sp>
      <p:sp>
        <p:nvSpPr>
          <p:cNvPr id="3" name="Rectangle 2"/>
          <p:cNvSpPr/>
          <p:nvPr/>
        </p:nvSpPr>
        <p:spPr bwMode="hidden">
          <a:xfrm>
            <a:off x="1" y="1155941"/>
            <a:ext cx="12192000" cy="570206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40" y="1447803"/>
            <a:ext cx="11155093" cy="2089751"/>
          </a:xfrm>
        </p:spPr>
        <p:txBody>
          <a:bodyPr/>
          <a:lstStyle>
            <a:lvl1pPr marL="0" indent="0">
              <a:buNone/>
              <a:defRPr sz="3200">
                <a:gradFill>
                  <a:gsLst>
                    <a:gs pos="1250">
                      <a:srgbClr val="000000"/>
                    </a:gs>
                    <a:gs pos="100000">
                      <a:srgbClr val="000000"/>
                    </a:gs>
                  </a:gsLst>
                  <a:lin ang="5400000" scaled="0"/>
                </a:gradFill>
                <a:latin typeface="Consolas" pitchFamily="49" charset="0"/>
                <a:cs typeface="Consolas" pitchFamily="49" charset="0"/>
              </a:defRPr>
            </a:lvl1pPr>
            <a:lvl2pPr marL="339726" indent="0">
              <a:buNone/>
              <a:defRPr sz="1800">
                <a:gradFill>
                  <a:gsLst>
                    <a:gs pos="1250">
                      <a:srgbClr val="000000"/>
                    </a:gs>
                    <a:gs pos="100000">
                      <a:srgbClr val="000000"/>
                    </a:gs>
                  </a:gsLst>
                  <a:lin ang="5400000" scaled="0"/>
                </a:gradFill>
                <a:latin typeface="Consolas" pitchFamily="49" charset="0"/>
                <a:cs typeface="Consolas" pitchFamily="49" charset="0"/>
              </a:defRPr>
            </a:lvl2pPr>
            <a:lvl3pPr marL="573090" indent="0">
              <a:buNone/>
              <a:defRPr sz="1600">
                <a:gradFill>
                  <a:gsLst>
                    <a:gs pos="1250">
                      <a:srgbClr val="000000"/>
                    </a:gs>
                    <a:gs pos="100000">
                      <a:srgbClr val="000000"/>
                    </a:gs>
                  </a:gsLst>
                  <a:lin ang="5400000" scaled="0"/>
                </a:gradFill>
                <a:latin typeface="Consolas" pitchFamily="49" charset="0"/>
                <a:cs typeface="Consolas" pitchFamily="49" charset="0"/>
              </a:defRPr>
            </a:lvl3pPr>
            <a:lvl4pPr marL="798516" indent="0">
              <a:buNone/>
              <a:defRPr sz="1400">
                <a:gradFill>
                  <a:gsLst>
                    <a:gs pos="1250">
                      <a:srgbClr val="000000"/>
                    </a:gs>
                    <a:gs pos="100000">
                      <a:srgbClr val="000000"/>
                    </a:gs>
                  </a:gsLst>
                  <a:lin ang="5400000" scaled="0"/>
                </a:gradFill>
                <a:latin typeface="Consolas" pitchFamily="49" charset="0"/>
                <a:cs typeface="Consolas" pitchFamily="49" charset="0"/>
              </a:defRPr>
            </a:lvl4pPr>
            <a:lvl5pPr marL="1030292" indent="0">
              <a:buNone/>
              <a:defRPr sz="1400">
                <a:gradFill>
                  <a:gsLst>
                    <a:gs pos="1250">
                      <a:srgbClr val="000000"/>
                    </a:gs>
                    <a:gs pos="100000">
                      <a:srgbClr val="000000"/>
                    </a:gs>
                  </a:gsLst>
                  <a:lin ang="5400000" scaled="0"/>
                </a:gradFill>
                <a:latin typeface="Consolas" pitchFamily="49" charset="0"/>
                <a:cs typeface="Consolas" pitchFamily="49"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Slide Number Placeholder 4"/>
          <p:cNvSpPr>
            <a:spLocks noGrp="1"/>
          </p:cNvSpPr>
          <p:nvPr>
            <p:ph type="sldNum" sz="quarter" idx="4"/>
          </p:nvPr>
        </p:nvSpPr>
        <p:spPr>
          <a:xfrm>
            <a:off x="11367165" y="6629335"/>
            <a:ext cx="555597" cy="133860"/>
          </a:xfrm>
          <a:prstGeom prst="rect">
            <a:avLst/>
          </a:prstGeom>
        </p:spPr>
        <p:txBody>
          <a:bodyPr vert="horz" lIns="91440" tIns="0" rIns="0" bIns="0" rtlCol="0" anchor="ctr"/>
          <a:lstStyle>
            <a:lvl1pPr algn="r" defTabSz="914367" fontAlgn="auto">
              <a:spcBef>
                <a:spcPts val="0"/>
              </a:spcBef>
              <a:spcAft>
                <a:spcPts val="0"/>
              </a:spcAft>
              <a:defRPr lang="en-US" sz="882" b="0" kern="1200">
                <a:solidFill>
                  <a:srgbClr val="505050"/>
                </a:solidFill>
                <a:latin typeface="+mn-lt"/>
                <a:ea typeface="+mn-ea"/>
                <a:cs typeface="+mn-cs"/>
              </a:defRPr>
            </a:lvl1pPr>
          </a:lstStyle>
          <a:p>
            <a:pPr>
              <a:defRPr/>
            </a:pPr>
            <a:fld id="{75FAD755-3BD0-2447-A9DF-109DAABEFD99}" type="slidenum">
              <a:rPr/>
              <a:pPr>
                <a:defRPr/>
              </a:pPr>
              <a:t>‹#›</a:t>
            </a:fld>
            <a:endParaRPr dirty="0"/>
          </a:p>
        </p:txBody>
      </p:sp>
      <p:pic>
        <p:nvPicPr>
          <p:cNvPr id="7" name="Picture 6"/>
          <p:cNvPicPr>
            <a:picLocks noChangeAspect="1"/>
          </p:cNvPicPr>
          <p:nvPr userDrawn="1"/>
        </p:nvPicPr>
        <p:blipFill>
          <a:blip r:embed="rId2"/>
          <a:stretch>
            <a:fillRect/>
          </a:stretch>
        </p:blipFill>
        <p:spPr>
          <a:xfrm>
            <a:off x="269239" y="6481587"/>
            <a:ext cx="898127" cy="191293"/>
          </a:xfrm>
          <a:prstGeom prst="rect">
            <a:avLst/>
          </a:prstGeom>
        </p:spPr>
      </p:pic>
    </p:spTree>
    <p:extLst>
      <p:ext uri="{BB962C8B-B14F-4D97-AF65-F5344CB8AC3E}">
        <p14:creationId xmlns:p14="http://schemas.microsoft.com/office/powerpoint/2010/main" val="4143820150"/>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ags" Target="../tags/tag1.xml"/><Relationship Id="rId2" Type="http://schemas.openxmlformats.org/officeDocument/2006/relationships/slideLayout" Target="../slideLayouts/slideLayout2.xml"/><Relationship Id="rId16" Type="http://schemas.openxmlformats.org/officeDocument/2006/relationships/vmlDrawing" Target="../drawings/vmlDrawing1.vml"/><Relationship Id="rId20" Type="http://schemas.openxmlformats.org/officeDocument/2006/relationships/image" Target="../media/image2.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2.xml"/><Relationship Id="rId13" Type="http://schemas.openxmlformats.org/officeDocument/2006/relationships/slideLayout" Target="../slideLayouts/slideLayout27.xml"/><Relationship Id="rId3" Type="http://schemas.openxmlformats.org/officeDocument/2006/relationships/slideLayout" Target="../slideLayouts/slideLayout17.xml"/><Relationship Id="rId7" Type="http://schemas.openxmlformats.org/officeDocument/2006/relationships/slideLayout" Target="../slideLayouts/slideLayout21.xml"/><Relationship Id="rId12" Type="http://schemas.openxmlformats.org/officeDocument/2006/relationships/slideLayout" Target="../slideLayouts/slideLayout26.xml"/><Relationship Id="rId2" Type="http://schemas.openxmlformats.org/officeDocument/2006/relationships/slideLayout" Target="../slideLayouts/slideLayout16.xml"/><Relationship Id="rId1" Type="http://schemas.openxmlformats.org/officeDocument/2006/relationships/slideLayout" Target="../slideLayouts/slideLayout15.xml"/><Relationship Id="rId6" Type="http://schemas.openxmlformats.org/officeDocument/2006/relationships/slideLayout" Target="../slideLayouts/slideLayout20.xml"/><Relationship Id="rId11" Type="http://schemas.openxmlformats.org/officeDocument/2006/relationships/slideLayout" Target="../slideLayouts/slideLayout25.xml"/><Relationship Id="rId5" Type="http://schemas.openxmlformats.org/officeDocument/2006/relationships/slideLayout" Target="../slideLayouts/slideLayout19.xml"/><Relationship Id="rId15" Type="http://schemas.openxmlformats.org/officeDocument/2006/relationships/image" Target="../media/image10.png"/><Relationship Id="rId10" Type="http://schemas.openxmlformats.org/officeDocument/2006/relationships/slideLayout" Target="../slideLayouts/slideLayout24.xml"/><Relationship Id="rId4" Type="http://schemas.openxmlformats.org/officeDocument/2006/relationships/slideLayout" Target="../slideLayouts/slideLayout18.xml"/><Relationship Id="rId9" Type="http://schemas.openxmlformats.org/officeDocument/2006/relationships/slideLayout" Target="../slideLayouts/slideLayout23.xml"/><Relationship Id="rId14" Type="http://schemas.openxmlformats.org/officeDocument/2006/relationships/theme" Target="../theme/theme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7"/>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52408" name="think-cell Slide" r:id="rId18" imgW="377" imgH="377" progId="TCLayout.ActiveDocument.1">
                  <p:embed/>
                </p:oleObj>
              </mc:Choice>
              <mc:Fallback>
                <p:oleObj name="think-cell Slide" r:id="rId18" imgW="377" imgH="377" progId="TCLayout.ActiveDocument.1">
                  <p:embed/>
                  <p:pic>
                    <p:nvPicPr>
                      <p:cNvPr id="0" name=""/>
                      <p:cNvPicPr/>
                      <p:nvPr/>
                    </p:nvPicPr>
                    <p:blipFill>
                      <a:blip r:embed="rId19"/>
                      <a:stretch>
                        <a:fillRect/>
                      </a:stretch>
                    </p:blipFill>
                    <p:spPr>
                      <a:xfrm>
                        <a:off x="1557" y="1558"/>
                        <a:ext cx="1556" cy="1556"/>
                      </a:xfrm>
                      <a:prstGeom prst="rect">
                        <a:avLst/>
                      </a:prstGeom>
                    </p:spPr>
                  </p:pic>
                </p:oleObj>
              </mc:Fallback>
            </mc:AlternateContent>
          </a:graphicData>
        </a:graphic>
      </p:graphicFrame>
      <p:sp>
        <p:nvSpPr>
          <p:cNvPr id="2" name="Title Placeholder 1"/>
          <p:cNvSpPr>
            <a:spLocks noGrp="1"/>
          </p:cNvSpPr>
          <p:nvPr>
            <p:ph type="title"/>
          </p:nvPr>
        </p:nvSpPr>
        <p:spPr>
          <a:xfrm>
            <a:off x="269240" y="289512"/>
            <a:ext cx="11655078"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2051" name="Text Placeholder 3"/>
          <p:cNvSpPr>
            <a:spLocks noGrp="1"/>
          </p:cNvSpPr>
          <p:nvPr>
            <p:ph type="body" idx="1"/>
          </p:nvPr>
        </p:nvSpPr>
        <p:spPr bwMode="auto">
          <a:xfrm>
            <a:off x="269239" y="1279455"/>
            <a:ext cx="11653523" cy="20514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182880" tIns="146304" rIns="182880" bIns="146304" numCol="1" anchor="t" anchorCtr="0" compatLnSpc="1">
            <a:prstTxWarp prst="textNoShape">
              <a:avLst/>
            </a:prstTxWarp>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Footer Placeholder 2"/>
          <p:cNvSpPr>
            <a:spLocks noGrp="1"/>
          </p:cNvSpPr>
          <p:nvPr>
            <p:ph type="ftr" sz="quarter" idx="3"/>
          </p:nvPr>
        </p:nvSpPr>
        <p:spPr>
          <a:xfrm>
            <a:off x="4166197" y="6604621"/>
            <a:ext cx="3859607" cy="133860"/>
          </a:xfrm>
          <a:prstGeom prst="rect">
            <a:avLst/>
          </a:prstGeom>
        </p:spPr>
        <p:txBody>
          <a:bodyPr vert="horz" lIns="0" tIns="0" rIns="91440" bIns="0" rtlCol="0" anchor="ctr"/>
          <a:lstStyle>
            <a:lvl1pPr marL="0" algn="l" defTabSz="914367" rtl="0" eaLnBrk="1" fontAlgn="auto" latinLnBrk="0" hangingPunct="1">
              <a:spcBef>
                <a:spcPts val="0"/>
              </a:spcBef>
              <a:spcAft>
                <a:spcPts val="0"/>
              </a:spcAft>
              <a:defRPr lang="en-US" sz="882" kern="1200" dirty="0" smtClean="0">
                <a:solidFill>
                  <a:srgbClr val="505050"/>
                </a:solidFill>
                <a:latin typeface="+mn-lt"/>
                <a:ea typeface="+mn-ea"/>
                <a:cs typeface="+mn-cs"/>
              </a:defRPr>
            </a:lvl1pPr>
          </a:lstStyle>
          <a:p>
            <a:pPr>
              <a:defRPr/>
            </a:pPr>
            <a:endParaRPr dirty="0"/>
          </a:p>
        </p:txBody>
      </p:sp>
      <p:sp>
        <p:nvSpPr>
          <p:cNvPr id="5" name="Slide Number Placeholder 4"/>
          <p:cNvSpPr>
            <a:spLocks noGrp="1"/>
          </p:cNvSpPr>
          <p:nvPr>
            <p:ph type="sldNum" sz="quarter" idx="4"/>
          </p:nvPr>
        </p:nvSpPr>
        <p:spPr>
          <a:xfrm>
            <a:off x="11367165" y="6629335"/>
            <a:ext cx="555597" cy="133860"/>
          </a:xfrm>
          <a:prstGeom prst="rect">
            <a:avLst/>
          </a:prstGeom>
        </p:spPr>
        <p:txBody>
          <a:bodyPr vert="horz" lIns="91440" tIns="0" rIns="0" bIns="0" rtlCol="0" anchor="ctr"/>
          <a:lstStyle>
            <a:lvl1pPr algn="r" defTabSz="914367" fontAlgn="auto">
              <a:spcBef>
                <a:spcPts val="0"/>
              </a:spcBef>
              <a:spcAft>
                <a:spcPts val="0"/>
              </a:spcAft>
              <a:defRPr lang="en-US" sz="882" b="0" kern="1200">
                <a:solidFill>
                  <a:srgbClr val="505050"/>
                </a:solidFill>
                <a:latin typeface="+mn-lt"/>
                <a:ea typeface="+mn-ea"/>
                <a:cs typeface="+mn-cs"/>
              </a:defRPr>
            </a:lvl1pPr>
          </a:lstStyle>
          <a:p>
            <a:pPr>
              <a:defRPr/>
            </a:pPr>
            <a:fld id="{75FAD755-3BD0-2447-A9DF-109DAABEFD99}" type="slidenum">
              <a:rPr/>
              <a:pPr>
                <a:defRPr/>
              </a:pPr>
              <a:t>‹#›</a:t>
            </a:fld>
            <a:endParaRPr dirty="0"/>
          </a:p>
        </p:txBody>
      </p:sp>
      <p:pic>
        <p:nvPicPr>
          <p:cNvPr id="6" name="Picture 5"/>
          <p:cNvPicPr>
            <a:picLocks noChangeAspect="1"/>
          </p:cNvPicPr>
          <p:nvPr userDrawn="1"/>
        </p:nvPicPr>
        <p:blipFill>
          <a:blip r:embed="rId20" cstate="print">
            <a:extLst>
              <a:ext uri="{28A0092B-C50C-407E-A947-70E740481C1C}">
                <a14:useLocalDpi xmlns:a14="http://schemas.microsoft.com/office/drawing/2010/main" val="0"/>
              </a:ext>
            </a:extLst>
          </a:blip>
          <a:stretch>
            <a:fillRect/>
          </a:stretch>
        </p:blipFill>
        <p:spPr>
          <a:xfrm rot="5400000">
            <a:off x="10325051" y="1906413"/>
            <a:ext cx="4214127" cy="401304"/>
          </a:xfrm>
          <a:prstGeom prst="rect">
            <a:avLst/>
          </a:prstGeom>
        </p:spPr>
      </p:pic>
    </p:spTree>
    <p:extLst>
      <p:ext uri="{BB962C8B-B14F-4D97-AF65-F5344CB8AC3E}">
        <p14:creationId xmlns:p14="http://schemas.microsoft.com/office/powerpoint/2010/main" val="3588058422"/>
      </p:ext>
    </p:extLst>
  </p:cSld>
  <p:clrMap bg1="lt1" tx1="dk1" bg2="lt2" tx2="dk2" accent1="accent1" accent2="accent2" accent3="accent3" accent4="accent4" accent5="accent5" accent6="accent6" hlink="hlink" folHlink="folHlink"/>
  <p:sldLayoutIdLst>
    <p:sldLayoutId id="2147483788" r:id="rId1"/>
    <p:sldLayoutId id="2147483798" r:id="rId2"/>
    <p:sldLayoutId id="2147483789" r:id="rId3"/>
    <p:sldLayoutId id="2147483790" r:id="rId4"/>
    <p:sldLayoutId id="2147483792" r:id="rId5"/>
    <p:sldLayoutId id="2147483799" r:id="rId6"/>
    <p:sldLayoutId id="2147483793" r:id="rId7"/>
    <p:sldLayoutId id="2147483794" r:id="rId8"/>
    <p:sldLayoutId id="2147483796" r:id="rId9"/>
    <p:sldLayoutId id="2147483800" r:id="rId10"/>
    <p:sldLayoutId id="2147483797" r:id="rId11"/>
    <p:sldLayoutId id="2147483801" r:id="rId12"/>
    <p:sldLayoutId id="2147483802" r:id="rId13"/>
    <p:sldLayoutId id="2147483803" r:id="rId14"/>
  </p:sldLayoutIdLst>
  <p:transition>
    <p:fade/>
  </p:transition>
  <p:hf hdr="0" ftr="0" dt="0"/>
  <p:txStyles>
    <p:titleStyle>
      <a:lvl1pPr algn="l" defTabSz="913505" rtl="0" eaLnBrk="1" fontAlgn="base" hangingPunct="1">
        <a:lnSpc>
          <a:spcPct val="90000"/>
        </a:lnSpc>
        <a:spcBef>
          <a:spcPct val="0"/>
        </a:spcBef>
        <a:spcAft>
          <a:spcPct val="0"/>
        </a:spcAft>
        <a:defRPr lang="en-US" sz="4800" kern="1200" spc="-100" dirty="0">
          <a:ln w="3175">
            <a:noFill/>
          </a:ln>
          <a:solidFill>
            <a:schemeClr val="tx2"/>
          </a:solidFill>
          <a:latin typeface="+mj-lt"/>
          <a:ea typeface="ＭＳ Ｐゴシック" charset="0"/>
          <a:cs typeface="Segoe UI" pitchFamily="34" charset="0"/>
        </a:defRPr>
      </a:lvl1pPr>
      <a:lvl2pPr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2pPr>
      <a:lvl3pPr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3pPr>
      <a:lvl4pPr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4pPr>
      <a:lvl5pPr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5pPr>
      <a:lvl6pPr marL="448193"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6pPr>
      <a:lvl7pPr marL="896386"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7pPr>
      <a:lvl8pPr marL="1344579"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8pPr>
      <a:lvl9pPr marL="1792773"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9pPr>
    </p:titleStyle>
    <p:bodyStyle>
      <a:lvl1pPr marL="336145" indent="-336145" algn="l" defTabSz="913505" rtl="0" eaLnBrk="1" fontAlgn="base" hangingPunct="1">
        <a:lnSpc>
          <a:spcPct val="90000"/>
        </a:lnSpc>
        <a:spcBef>
          <a:spcPct val="20000"/>
        </a:spcBef>
        <a:spcAft>
          <a:spcPct val="0"/>
        </a:spcAft>
        <a:buSzPct val="90000"/>
        <a:buFont typeface="Arial" charset="0"/>
        <a:buChar char="•"/>
        <a:defRPr sz="3600" kern="1200">
          <a:solidFill>
            <a:schemeClr val="tx2"/>
          </a:solidFill>
          <a:latin typeface="+mj-lt"/>
          <a:ea typeface="ＭＳ Ｐゴシック" charset="0"/>
          <a:cs typeface="ＭＳ Ｐゴシック" charset="0"/>
        </a:defRPr>
      </a:lvl1pPr>
      <a:lvl2pPr marL="572691" indent="-236546" algn="l" defTabSz="913505" rtl="0" eaLnBrk="1" fontAlgn="base" hangingPunct="1">
        <a:lnSpc>
          <a:spcPct val="90000"/>
        </a:lnSpc>
        <a:spcBef>
          <a:spcPct val="20000"/>
        </a:spcBef>
        <a:spcAft>
          <a:spcPct val="0"/>
        </a:spcAft>
        <a:buSzPct val="90000"/>
        <a:buFont typeface="Arial" charset="0"/>
        <a:buChar char="•"/>
        <a:defRPr sz="2000" kern="1200">
          <a:solidFill>
            <a:schemeClr val="tx2"/>
          </a:solidFill>
          <a:latin typeface="+mn-lt"/>
          <a:ea typeface="ＭＳ Ｐゴシック" charset="0"/>
          <a:cs typeface="+mn-cs"/>
        </a:defRPr>
      </a:lvl2pPr>
      <a:lvl3pPr marL="784338" indent="-224097" algn="l" defTabSz="913505" rtl="0" eaLnBrk="1" fontAlgn="base" hangingPunct="1">
        <a:lnSpc>
          <a:spcPct val="90000"/>
        </a:lnSpc>
        <a:spcBef>
          <a:spcPct val="20000"/>
        </a:spcBef>
        <a:spcAft>
          <a:spcPct val="0"/>
        </a:spcAft>
        <a:buSzPct val="90000"/>
        <a:buFont typeface="Arial" charset="0"/>
        <a:buChar char="•"/>
        <a:defRPr sz="1800" kern="1200">
          <a:solidFill>
            <a:schemeClr val="tx2"/>
          </a:solidFill>
          <a:latin typeface="+mn-lt"/>
          <a:ea typeface="ＭＳ Ｐゴシック" charset="0"/>
          <a:cs typeface="+mn-cs"/>
        </a:defRPr>
      </a:lvl3pPr>
      <a:lvl4pPr marL="1008435" indent="-224097" algn="l" defTabSz="913505" rtl="0" eaLnBrk="1" fontAlgn="base" hangingPunct="1">
        <a:lnSpc>
          <a:spcPct val="90000"/>
        </a:lnSpc>
        <a:spcBef>
          <a:spcPct val="20000"/>
        </a:spcBef>
        <a:spcAft>
          <a:spcPct val="0"/>
        </a:spcAft>
        <a:buSzPct val="90000"/>
        <a:buFont typeface="Arial" charset="0"/>
        <a:buChar char="•"/>
        <a:defRPr sz="1600" kern="1200">
          <a:solidFill>
            <a:schemeClr val="tx2"/>
          </a:solidFill>
          <a:latin typeface="+mn-lt"/>
          <a:ea typeface="ＭＳ Ｐゴシック" charset="0"/>
          <a:cs typeface="+mn-cs"/>
        </a:defRPr>
      </a:lvl4pPr>
      <a:lvl5pPr marL="1232531" indent="-224097" algn="l" defTabSz="913505" rtl="0" eaLnBrk="1" fontAlgn="base" hangingPunct="1">
        <a:lnSpc>
          <a:spcPct val="90000"/>
        </a:lnSpc>
        <a:spcBef>
          <a:spcPct val="20000"/>
        </a:spcBef>
        <a:spcAft>
          <a:spcPct val="0"/>
        </a:spcAft>
        <a:buSzPct val="90000"/>
        <a:buFont typeface="Arial" charset="0"/>
        <a:buChar char="•"/>
        <a:defRPr sz="1600" kern="1200">
          <a:solidFill>
            <a:schemeClr val="tx2"/>
          </a:solidFill>
          <a:latin typeface="+mn-lt"/>
          <a:ea typeface="ＭＳ Ｐゴシック" charset="0"/>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302">
          <p15:clr>
            <a:srgbClr val="C35EA4"/>
          </p15:clr>
        </p15:guide>
        <p15:guide id="2" orient="horz" pos="795">
          <p15:clr>
            <a:srgbClr val="C35EA4"/>
          </p15:clr>
        </p15:guide>
        <p15:guide id="3" orient="horz" pos="4075">
          <p15:clr>
            <a:srgbClr val="C35EA4"/>
          </p15:clr>
        </p15:guide>
        <p15:guide id="4" orient="horz" pos="752">
          <p15:clr>
            <a:srgbClr val="C35EA4"/>
          </p15:clr>
        </p15:guide>
        <p15:guide id="5" pos="274">
          <p15:clr>
            <a:srgbClr val="C35EA4"/>
          </p15:clr>
        </p15:guide>
        <p15:guide id="6" pos="7406">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166940"/>
          </a:xfrm>
          <a:prstGeom prst="rect">
            <a:avLst/>
          </a:prstGeom>
        </p:spPr>
        <p:txBody>
          <a:bodyPr vert="horz" wrap="square" lIns="146304" tIns="91440" rIns="146304" bIns="91440" rtlCol="0">
            <a:sp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Rectangle 18"/>
          <p:cNvSpPr/>
          <p:nvPr/>
        </p:nvSpPr>
        <p:spPr bwMode="auto">
          <a:xfrm>
            <a:off x="12314120" y="-4514"/>
            <a:ext cx="277683" cy="494051"/>
          </a:xfrm>
          <a:prstGeom prst="rect">
            <a:avLst/>
          </a:prstGeom>
          <a:solidFill>
            <a:srgbClr val="00BCF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solidFill>
                <a:schemeClr val="tx1"/>
              </a:solidFill>
            </a:endParaRPr>
          </a:p>
        </p:txBody>
      </p:sp>
      <p:sp>
        <p:nvSpPr>
          <p:cNvPr id="20" name="Rectangle 19"/>
          <p:cNvSpPr/>
          <p:nvPr/>
        </p:nvSpPr>
        <p:spPr bwMode="auto">
          <a:xfrm>
            <a:off x="12314120" y="553158"/>
            <a:ext cx="277683" cy="494051"/>
          </a:xfrm>
          <a:prstGeom prst="rect">
            <a:avLst/>
          </a:prstGeom>
          <a:solidFill>
            <a:srgbClr val="FF8C0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solidFill>
                <a:schemeClr val="tx1"/>
              </a:solidFill>
            </a:endParaRPr>
          </a:p>
        </p:txBody>
      </p:sp>
      <p:sp>
        <p:nvSpPr>
          <p:cNvPr id="21" name="Rectangle 20"/>
          <p:cNvSpPr/>
          <p:nvPr/>
        </p:nvSpPr>
        <p:spPr bwMode="auto">
          <a:xfrm>
            <a:off x="12314120" y="1110830"/>
            <a:ext cx="277683" cy="494051"/>
          </a:xfrm>
          <a:prstGeom prst="rect">
            <a:avLst/>
          </a:prstGeom>
          <a:solidFill>
            <a:srgbClr val="68217A"/>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solidFill>
                <a:schemeClr val="tx1"/>
              </a:solidFill>
            </a:endParaRPr>
          </a:p>
        </p:txBody>
      </p:sp>
      <p:sp>
        <p:nvSpPr>
          <p:cNvPr id="25" name="Rectangle 24"/>
          <p:cNvSpPr/>
          <p:nvPr/>
        </p:nvSpPr>
        <p:spPr bwMode="auto">
          <a:xfrm>
            <a:off x="12647288" y="-4514"/>
            <a:ext cx="277683" cy="494051"/>
          </a:xfrm>
          <a:prstGeom prst="rect">
            <a:avLst/>
          </a:prstGeom>
          <a:solidFill>
            <a:srgbClr val="002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5439">
                    <a:srgbClr val="F8F8F8"/>
                  </a:gs>
                  <a:gs pos="10000">
                    <a:srgbClr val="F8F8F8"/>
                  </a:gs>
                </a:gsLst>
                <a:lin ang="5400000" scaled="0"/>
              </a:gradFill>
            </a:endParaRPr>
          </a:p>
        </p:txBody>
      </p:sp>
      <p:sp>
        <p:nvSpPr>
          <p:cNvPr id="27" name="Rectangle 26"/>
          <p:cNvSpPr/>
          <p:nvPr/>
        </p:nvSpPr>
        <p:spPr bwMode="auto">
          <a:xfrm>
            <a:off x="12647288" y="553158"/>
            <a:ext cx="277683" cy="494051"/>
          </a:xfrm>
          <a:prstGeom prst="rect">
            <a:avLst/>
          </a:prstGeom>
          <a:solidFill>
            <a:srgbClr val="7FBA0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5439">
                    <a:srgbClr val="F8F8F8"/>
                  </a:gs>
                  <a:gs pos="10000">
                    <a:srgbClr val="F8F8F8"/>
                  </a:gs>
                </a:gsLst>
                <a:lin ang="5400000" scaled="0"/>
              </a:gradFill>
            </a:endParaRPr>
          </a:p>
        </p:txBody>
      </p:sp>
      <p:sp>
        <p:nvSpPr>
          <p:cNvPr id="29" name="Rectangle 28"/>
          <p:cNvSpPr/>
          <p:nvPr/>
        </p:nvSpPr>
        <p:spPr bwMode="auto">
          <a:xfrm>
            <a:off x="12647288" y="1110830"/>
            <a:ext cx="277683" cy="494051"/>
          </a:xfrm>
          <a:prstGeom prst="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5439">
                    <a:srgbClr val="F8F8F8"/>
                  </a:gs>
                  <a:gs pos="10000">
                    <a:srgbClr val="F8F8F8"/>
                  </a:gs>
                </a:gsLst>
                <a:lin ang="5400000" scaled="0"/>
              </a:gradFill>
            </a:endParaRPr>
          </a:p>
        </p:txBody>
      </p:sp>
      <p:sp>
        <p:nvSpPr>
          <p:cNvPr id="30" name="Rectangle 29"/>
          <p:cNvSpPr/>
          <p:nvPr/>
        </p:nvSpPr>
        <p:spPr bwMode="auto">
          <a:xfrm>
            <a:off x="12647288" y="1668502"/>
            <a:ext cx="277683" cy="494051"/>
          </a:xfrm>
          <a:prstGeom prst="rect">
            <a:avLst/>
          </a:prstGeom>
          <a:solidFill>
            <a:srgbClr val="F2F2F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5439">
                    <a:srgbClr val="F8F8F8"/>
                  </a:gs>
                  <a:gs pos="10000">
                    <a:srgbClr val="F8F8F8"/>
                  </a:gs>
                </a:gsLst>
                <a:lin ang="5400000" scaled="0"/>
              </a:gradFill>
            </a:endParaRPr>
          </a:p>
        </p:txBody>
      </p:sp>
    </p:spTree>
    <p:extLst>
      <p:ext uri="{BB962C8B-B14F-4D97-AF65-F5344CB8AC3E}">
        <p14:creationId xmlns:p14="http://schemas.microsoft.com/office/powerpoint/2010/main" val="2693937034"/>
      </p:ext>
    </p:extLst>
  </p:cSld>
  <p:clrMap bg1="lt1" tx1="dk1" bg2="lt2" tx2="dk2" accent1="accent1" accent2="accent2" accent3="accent3" accent4="accent4" accent5="accent5" accent6="accent6" hlink="hlink" folHlink="folHlink"/>
  <p:sldLayoutIdLst>
    <p:sldLayoutId id="2147483805" r:id="rId1"/>
    <p:sldLayoutId id="2147483806" r:id="rId2"/>
    <p:sldLayoutId id="2147483807" r:id="rId3"/>
    <p:sldLayoutId id="2147483808" r:id="rId4"/>
    <p:sldLayoutId id="2147483809" r:id="rId5"/>
    <p:sldLayoutId id="2147483810" r:id="rId6"/>
    <p:sldLayoutId id="2147483811" r:id="rId7"/>
    <p:sldLayoutId id="2147483812" r:id="rId8"/>
    <p:sldLayoutId id="2147483813" r:id="rId9"/>
    <p:sldLayoutId id="2147483814" r:id="rId10"/>
    <p:sldLayoutId id="2147483815" r:id="rId11"/>
    <p:sldLayoutId id="2147483816" r:id="rId12"/>
    <p:sldLayoutId id="2147483817" r:id="rId13"/>
  </p:sldLayoutIdLst>
  <p:txStyles>
    <p:titleStyle>
      <a:lvl1pPr algn="l" defTabSz="914367" rtl="0" eaLnBrk="1" latinLnBrk="0" hangingPunct="1">
        <a:lnSpc>
          <a:spcPct val="90000"/>
        </a:lnSpc>
        <a:spcBef>
          <a:spcPct val="0"/>
        </a:spcBef>
        <a:buNone/>
        <a:defRPr lang="en-US" sz="4705" b="0" kern="1200" cap="none" spc="-100" baseline="0" dirty="0" smtClean="0">
          <a:ln w="3175">
            <a:noFill/>
          </a:ln>
          <a:solidFill>
            <a:schemeClr val="tx1"/>
          </a:solidFill>
          <a:effectLst/>
          <a:latin typeface="+mj-lt"/>
          <a:ea typeface="+mn-ea"/>
          <a:cs typeface="Segoe UI" pitchFamily="34" charset="0"/>
        </a:defRPr>
      </a:lvl1pPr>
    </p:titleStyle>
    <p:bodyStyle>
      <a:lvl1pPr marL="342900" marR="0" indent="-342900" algn="l" defTabSz="914400" rtl="0" eaLnBrk="1" fontAlgn="base" latinLnBrk="0" hangingPunct="1">
        <a:lnSpc>
          <a:spcPct val="100000"/>
        </a:lnSpc>
        <a:spcBef>
          <a:spcPts val="200"/>
        </a:spcBef>
        <a:spcAft>
          <a:spcPts val="400"/>
        </a:spcAft>
        <a:buClr>
          <a:srgbClr val="50B347"/>
        </a:buClr>
        <a:buSzPct val="100000"/>
        <a:buFont typeface="Arial" charset="0"/>
        <a:buBlip>
          <a:blip r:embed="rId15"/>
        </a:buBlip>
        <a:tabLst>
          <a:tab pos="658368" algn="l"/>
        </a:tabLst>
        <a:defRPr sz="3921" kern="1200" spc="0" baseline="0">
          <a:solidFill>
            <a:schemeClr val="tx1"/>
          </a:soli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solidFill>
            <a:schemeClr val="tx1"/>
          </a:soli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solidFill>
            <a:schemeClr val="tx1"/>
          </a:soli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solidFill>
            <a:schemeClr val="tx1"/>
          </a:soli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solidFill>
            <a:schemeClr val="tx1"/>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1.xml"/></Relationships>
</file>

<file path=ppt/slides/_rels/slide1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0.xml"/><Relationship Id="rId1" Type="http://schemas.openxmlformats.org/officeDocument/2006/relationships/slideLayout" Target="../slideLayouts/slideLayout12.xml"/><Relationship Id="rId4" Type="http://schemas.openxmlformats.org/officeDocument/2006/relationships/image" Target="../media/image34.png"/></Relationships>
</file>

<file path=ppt/slides/_rels/slide1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1.xml"/><Relationship Id="rId1" Type="http://schemas.openxmlformats.org/officeDocument/2006/relationships/slideLayout" Target="../slideLayouts/slideLayout12.xml"/><Relationship Id="rId4" Type="http://schemas.openxmlformats.org/officeDocument/2006/relationships/image" Target="../media/image35.png"/></Relationships>
</file>

<file path=ppt/slides/_rels/slide1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2.xml"/><Relationship Id="rId1" Type="http://schemas.openxmlformats.org/officeDocument/2006/relationships/slideLayout" Target="../slideLayouts/slideLayout12.xml"/><Relationship Id="rId4" Type="http://schemas.openxmlformats.org/officeDocument/2006/relationships/image" Target="../media/image35.png"/></Relationships>
</file>

<file path=ppt/slides/_rels/slide1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3.xml"/><Relationship Id="rId1" Type="http://schemas.openxmlformats.org/officeDocument/2006/relationships/slideLayout" Target="../slideLayouts/slideLayout12.xml"/></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26.xml"/><Relationship Id="rId2" Type="http://schemas.openxmlformats.org/officeDocument/2006/relationships/tags" Target="../tags/tag12.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notesSlide" Target="../notesSlides/notesSlide14.xml"/></Relationships>
</file>

<file path=ppt/slides/_rels/slide16.xml.rels><?xml version="1.0" encoding="UTF-8" standalone="yes"?>
<Relationships xmlns="http://schemas.openxmlformats.org/package/2006/relationships"><Relationship Id="rId3" Type="http://schemas.openxmlformats.org/officeDocument/2006/relationships/image" Target="../media/image36.emf"/><Relationship Id="rId2" Type="http://schemas.openxmlformats.org/officeDocument/2006/relationships/notesSlide" Target="../notesSlides/notesSlide15.xml"/><Relationship Id="rId1" Type="http://schemas.openxmlformats.org/officeDocument/2006/relationships/slideLayout" Target="../slideLayouts/slideLayout20.xml"/><Relationship Id="rId5" Type="http://schemas.openxmlformats.org/officeDocument/2006/relationships/comments" Target="../comments/comment1.xml"/><Relationship Id="rId4" Type="http://schemas.openxmlformats.org/officeDocument/2006/relationships/image" Target="../media/image31.emf"/></Relationships>
</file>

<file path=ppt/slides/_rels/slide17.xml.rels><?xml version="1.0" encoding="UTF-8" standalone="yes"?>
<Relationships xmlns="http://schemas.openxmlformats.org/package/2006/relationships"><Relationship Id="rId8" Type="http://schemas.openxmlformats.org/officeDocument/2006/relationships/comments" Target="../comments/comment2.xml"/><Relationship Id="rId3" Type="http://schemas.openxmlformats.org/officeDocument/2006/relationships/image" Target="../media/image37.png"/><Relationship Id="rId7" Type="http://schemas.openxmlformats.org/officeDocument/2006/relationships/image" Target="../media/image41.png"/><Relationship Id="rId2" Type="http://schemas.openxmlformats.org/officeDocument/2006/relationships/notesSlide" Target="../notesSlides/notesSlide16.xml"/><Relationship Id="rId1" Type="http://schemas.openxmlformats.org/officeDocument/2006/relationships/slideLayout" Target="../slideLayouts/slideLayout20.xml"/><Relationship Id="rId6" Type="http://schemas.openxmlformats.org/officeDocument/2006/relationships/image" Target="../media/image40.svg"/><Relationship Id="rId5" Type="http://schemas.openxmlformats.org/officeDocument/2006/relationships/image" Target="../media/image39.png"/><Relationship Id="rId4" Type="http://schemas.openxmlformats.org/officeDocument/2006/relationships/image" Target="../media/image38.png"/></Relationships>
</file>

<file path=ppt/slides/_rels/slide18.xml.rels><?xml version="1.0" encoding="UTF-8" standalone="yes"?>
<Relationships xmlns="http://schemas.openxmlformats.org/package/2006/relationships"><Relationship Id="rId3" Type="http://schemas.openxmlformats.org/officeDocument/2006/relationships/comments" Target="../comments/comment3.xml"/><Relationship Id="rId2" Type="http://schemas.openxmlformats.org/officeDocument/2006/relationships/notesSlide" Target="../notesSlides/notesSlide17.xml"/><Relationship Id="rId1" Type="http://schemas.openxmlformats.org/officeDocument/2006/relationships/slideLayout" Target="../slideLayouts/slideLayout17.xml"/></Relationships>
</file>

<file path=ppt/slides/_rels/slide19.xml.rels><?xml version="1.0" encoding="UTF-8" standalone="yes"?>
<Relationships xmlns="http://schemas.openxmlformats.org/package/2006/relationships"><Relationship Id="rId3" Type="http://schemas.openxmlformats.org/officeDocument/2006/relationships/comments" Target="../comments/comment4.xml"/><Relationship Id="rId2" Type="http://schemas.openxmlformats.org/officeDocument/2006/relationships/notesSlide" Target="../notesSlides/notesSlide18.xml"/><Relationship Id="rId1" Type="http://schemas.openxmlformats.org/officeDocument/2006/relationships/slideLayout" Target="../slideLayouts/slideLayout20.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5.xml"/></Relationships>
</file>

<file path=ppt/slides/_rels/slide20.xml.rels><?xml version="1.0" encoding="UTF-8" standalone="yes"?>
<Relationships xmlns="http://schemas.openxmlformats.org/package/2006/relationships"><Relationship Id="rId8" Type="http://schemas.openxmlformats.org/officeDocument/2006/relationships/image" Target="../media/image40.svg"/><Relationship Id="rId3" Type="http://schemas.openxmlformats.org/officeDocument/2006/relationships/image" Target="../media/image42.png"/><Relationship Id="rId7" Type="http://schemas.openxmlformats.org/officeDocument/2006/relationships/image" Target="../media/image39.png"/><Relationship Id="rId2" Type="http://schemas.openxmlformats.org/officeDocument/2006/relationships/notesSlide" Target="../notesSlides/notesSlide19.xml"/><Relationship Id="rId1" Type="http://schemas.openxmlformats.org/officeDocument/2006/relationships/slideLayout" Target="../slideLayouts/slideLayout20.xml"/><Relationship Id="rId6" Type="http://schemas.openxmlformats.org/officeDocument/2006/relationships/image" Target="../media/image45.png"/><Relationship Id="rId5" Type="http://schemas.openxmlformats.org/officeDocument/2006/relationships/image" Target="../media/image44.png"/><Relationship Id="rId10" Type="http://schemas.openxmlformats.org/officeDocument/2006/relationships/comments" Target="../comments/comment5.xml"/><Relationship Id="rId4" Type="http://schemas.openxmlformats.org/officeDocument/2006/relationships/image" Target="../media/image43.png"/><Relationship Id="rId9" Type="http://schemas.openxmlformats.org/officeDocument/2006/relationships/image" Target="../media/image46.png"/></Relationships>
</file>

<file path=ppt/slides/_rels/slide21.xml.rels><?xml version="1.0" encoding="UTF-8" standalone="yes"?>
<Relationships xmlns="http://schemas.openxmlformats.org/package/2006/relationships"><Relationship Id="rId8" Type="http://schemas.openxmlformats.org/officeDocument/2006/relationships/image" Target="../media/image38.png"/><Relationship Id="rId3" Type="http://schemas.openxmlformats.org/officeDocument/2006/relationships/image" Target="../media/image47.png"/><Relationship Id="rId7" Type="http://schemas.openxmlformats.org/officeDocument/2006/relationships/image" Target="../media/image51.png"/><Relationship Id="rId2" Type="http://schemas.openxmlformats.org/officeDocument/2006/relationships/notesSlide" Target="../notesSlides/notesSlide20.xml"/><Relationship Id="rId1" Type="http://schemas.openxmlformats.org/officeDocument/2006/relationships/slideLayout" Target="../slideLayouts/slideLayout20.xml"/><Relationship Id="rId6" Type="http://schemas.openxmlformats.org/officeDocument/2006/relationships/image" Target="../media/image50.png"/><Relationship Id="rId5" Type="http://schemas.openxmlformats.org/officeDocument/2006/relationships/image" Target="../media/image49.png"/><Relationship Id="rId4" Type="http://schemas.openxmlformats.org/officeDocument/2006/relationships/image" Target="../media/image48.png"/><Relationship Id="rId9" Type="http://schemas.openxmlformats.org/officeDocument/2006/relationships/image" Target="../media/image52.emf"/></Relationships>
</file>

<file path=ppt/slides/_rels/slide22.xml.rels><?xml version="1.0" encoding="UTF-8" standalone="yes"?>
<Relationships xmlns="http://schemas.openxmlformats.org/package/2006/relationships"><Relationship Id="rId3" Type="http://schemas.openxmlformats.org/officeDocument/2006/relationships/image" Target="../media/image39.png"/><Relationship Id="rId7" Type="http://schemas.openxmlformats.org/officeDocument/2006/relationships/comments" Target="../comments/comment6.xml"/><Relationship Id="rId2" Type="http://schemas.openxmlformats.org/officeDocument/2006/relationships/notesSlide" Target="../notesSlides/notesSlide21.xml"/><Relationship Id="rId1" Type="http://schemas.openxmlformats.org/officeDocument/2006/relationships/slideLayout" Target="../slideLayouts/slideLayout20.xml"/><Relationship Id="rId6" Type="http://schemas.openxmlformats.org/officeDocument/2006/relationships/image" Target="../media/image53.png"/><Relationship Id="rId5" Type="http://schemas.openxmlformats.org/officeDocument/2006/relationships/image" Target="../media/image37.png"/><Relationship Id="rId4" Type="http://schemas.openxmlformats.org/officeDocument/2006/relationships/image" Target="../media/image40.svg"/></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11.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20.xml"/></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24.xml"/><Relationship Id="rId2" Type="http://schemas.openxmlformats.org/officeDocument/2006/relationships/slideLayout" Target="../slideLayouts/slideLayout5.xml"/><Relationship Id="rId1" Type="http://schemas.openxmlformats.org/officeDocument/2006/relationships/tags" Target="../tags/tag13.xml"/><Relationship Id="rId4" Type="http://schemas.openxmlformats.org/officeDocument/2006/relationships/image" Target="../media/image10.png"/></Relationships>
</file>

<file path=ppt/slides/_rels/slide26.xml.rels><?xml version="1.0" encoding="UTF-8" standalone="yes"?>
<Relationships xmlns="http://schemas.openxmlformats.org/package/2006/relationships"><Relationship Id="rId3" Type="http://schemas.openxmlformats.org/officeDocument/2006/relationships/image" Target="../media/image55.png"/><Relationship Id="rId7" Type="http://schemas.openxmlformats.org/officeDocument/2006/relationships/image" Target="../media/image58.emf"/><Relationship Id="rId2" Type="http://schemas.openxmlformats.org/officeDocument/2006/relationships/image" Target="../media/image54.png"/><Relationship Id="rId1" Type="http://schemas.openxmlformats.org/officeDocument/2006/relationships/slideLayout" Target="../slideLayouts/slideLayout20.xml"/><Relationship Id="rId6" Type="http://schemas.openxmlformats.org/officeDocument/2006/relationships/image" Target="../media/image57.emf"/><Relationship Id="rId5" Type="http://schemas.openxmlformats.org/officeDocument/2006/relationships/image" Target="../media/image56.emf"/><Relationship Id="rId4" Type="http://schemas.microsoft.com/office/2007/relationships/hdphoto" Target="../media/hdphoto2.wdp"/></Relationships>
</file>

<file path=ppt/slides/_rels/slide27.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slideLayout" Target="../slideLayouts/slideLayout14.xml"/><Relationship Id="rId7" Type="http://schemas.openxmlformats.org/officeDocument/2006/relationships/image" Target="../media/image59.emf"/><Relationship Id="rId2" Type="http://schemas.openxmlformats.org/officeDocument/2006/relationships/tags" Target="../tags/tag14.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image" Target="../media/image60.png"/><Relationship Id="rId4" Type="http://schemas.openxmlformats.org/officeDocument/2006/relationships/notesSlide" Target="../notesSlides/notesSlide25.xml"/><Relationship Id="rId9" Type="http://schemas.openxmlformats.org/officeDocument/2006/relationships/image" Target="../media/image61.png"/></Relationships>
</file>

<file path=ppt/slides/_rels/slide28.xml.rels><?xml version="1.0" encoding="UTF-8" standalone="yes"?>
<Relationships xmlns="http://schemas.openxmlformats.org/package/2006/relationships"><Relationship Id="rId2" Type="http://schemas.openxmlformats.org/officeDocument/2006/relationships/comments" Target="../comments/comment7.xml"/><Relationship Id="rId1" Type="http://schemas.openxmlformats.org/officeDocument/2006/relationships/slideLayout" Target="../slideLayouts/slideLayout17.xml"/></Relationships>
</file>

<file path=ppt/slides/_rels/slide29.xml.rels><?xml version="1.0" encoding="UTF-8" standalone="yes"?>
<Relationships xmlns="http://schemas.openxmlformats.org/package/2006/relationships"><Relationship Id="rId2" Type="http://schemas.openxmlformats.org/officeDocument/2006/relationships/comments" Target="../comments/comment8.xml"/><Relationship Id="rId1" Type="http://schemas.openxmlformats.org/officeDocument/2006/relationships/slideLayout" Target="../slideLayouts/slideLayout17.xml"/></Relationships>
</file>

<file path=ppt/slides/_rels/slide3.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Layout" Target="../slideLayouts/slideLayout4.xml"/><Relationship Id="rId4" Type="http://schemas.openxmlformats.org/officeDocument/2006/relationships/image" Target="../media/image19.png"/></Relationships>
</file>

<file path=ppt/slides/_rels/slide30.xml.rels><?xml version="1.0" encoding="UTF-8" standalone="yes"?>
<Relationships xmlns="http://schemas.openxmlformats.org/package/2006/relationships"><Relationship Id="rId3" Type="http://schemas.openxmlformats.org/officeDocument/2006/relationships/image" Target="../media/image62.emf"/><Relationship Id="rId2" Type="http://schemas.openxmlformats.org/officeDocument/2006/relationships/notesSlide" Target="../notesSlides/notesSlide26.xml"/><Relationship Id="rId1" Type="http://schemas.openxmlformats.org/officeDocument/2006/relationships/slideLayout" Target="../slideLayouts/slideLayout16.xml"/><Relationship Id="rId5" Type="http://schemas.openxmlformats.org/officeDocument/2006/relationships/comments" Target="../comments/comment9.xml"/><Relationship Id="rId4" Type="http://schemas.openxmlformats.org/officeDocument/2006/relationships/image" Target="../media/image10.png"/></Relationships>
</file>

<file path=ppt/slides/_rels/slide31.xml.rels><?xml version="1.0" encoding="UTF-8" standalone="yes"?>
<Relationships xmlns="http://schemas.openxmlformats.org/package/2006/relationships"><Relationship Id="rId3" Type="http://schemas.openxmlformats.org/officeDocument/2006/relationships/hyperlink" Target="https://github.com/Azure/AzureDataLake/tree/master/Samples/AzureDiagnosticsSample" TargetMode="External"/><Relationship Id="rId2" Type="http://schemas.openxmlformats.org/officeDocument/2006/relationships/image" Target="../media/image10.png"/><Relationship Id="rId1" Type="http://schemas.openxmlformats.org/officeDocument/2006/relationships/slideLayout" Target="../slideLayouts/slideLayout20.xml"/><Relationship Id="rId6" Type="http://schemas.openxmlformats.org/officeDocument/2006/relationships/comments" Target="../comments/comment10.xml"/><Relationship Id="rId5" Type="http://schemas.openxmlformats.org/officeDocument/2006/relationships/image" Target="../media/image64.emf"/><Relationship Id="rId4" Type="http://schemas.openxmlformats.org/officeDocument/2006/relationships/image" Target="../media/image63.emf"/></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11.xml"/></Relationships>
</file>

<file path=ppt/slides/_rels/slide33.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notesSlide" Target="../notesSlides/notesSlide28.xml"/><Relationship Id="rId1" Type="http://schemas.openxmlformats.org/officeDocument/2006/relationships/slideLayout" Target="../slideLayouts/slideLayout5.xml"/></Relationships>
</file>

<file path=ppt/slides/_rels/slide34.xml.rels><?xml version="1.0" encoding="UTF-8" standalone="yes"?>
<Relationships xmlns="http://schemas.openxmlformats.org/package/2006/relationships"><Relationship Id="rId3" Type="http://schemas.openxmlformats.org/officeDocument/2006/relationships/image" Target="../media/image66.emf"/><Relationship Id="rId2" Type="http://schemas.openxmlformats.org/officeDocument/2006/relationships/notesSlide" Target="../notesSlides/notesSlide29.xml"/><Relationship Id="rId1" Type="http://schemas.openxmlformats.org/officeDocument/2006/relationships/slideLayout" Target="../slideLayouts/slideLayout11.xml"/><Relationship Id="rId5" Type="http://schemas.openxmlformats.org/officeDocument/2006/relationships/image" Target="../media/image68.emf"/><Relationship Id="rId4" Type="http://schemas.openxmlformats.org/officeDocument/2006/relationships/image" Target="../media/image67.emf"/></Relationships>
</file>

<file path=ppt/slides/_rels/slide35.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notesSlide" Target="../notesSlides/notesSlide30.xml"/><Relationship Id="rId1" Type="http://schemas.openxmlformats.org/officeDocument/2006/relationships/slideLayout" Target="../slideLayouts/slideLayout5.xml"/><Relationship Id="rId5" Type="http://schemas.openxmlformats.org/officeDocument/2006/relationships/image" Target="../media/image70.svg"/><Relationship Id="rId4" Type="http://schemas.openxmlformats.org/officeDocument/2006/relationships/image" Target="../media/image69.png"/></Relationships>
</file>

<file path=ppt/slides/_rels/slide36.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notesSlide" Target="../notesSlides/notesSlide31.xml"/><Relationship Id="rId1" Type="http://schemas.openxmlformats.org/officeDocument/2006/relationships/slideLayout" Target="../slideLayouts/slideLayout5.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11.xml"/></Relationships>
</file>

<file path=ppt/slides/_rels/slide38.xml.rels><?xml version="1.0" encoding="UTF-8" standalone="yes"?>
<Relationships xmlns="http://schemas.openxmlformats.org/package/2006/relationships"><Relationship Id="rId3" Type="http://schemas.openxmlformats.org/officeDocument/2006/relationships/slideLayout" Target="../slideLayouts/slideLayout6.xml"/><Relationship Id="rId7" Type="http://schemas.openxmlformats.org/officeDocument/2006/relationships/image" Target="../media/image71.png"/><Relationship Id="rId2" Type="http://schemas.openxmlformats.org/officeDocument/2006/relationships/tags" Target="../tags/tag15.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notesSlide" Target="../notesSlides/notesSlide33.xml"/></Relationships>
</file>

<file path=ppt/slides/_rels/slide39.xml.rels><?xml version="1.0" encoding="UTF-8" standalone="yes"?>
<Relationships xmlns="http://schemas.openxmlformats.org/package/2006/relationships"><Relationship Id="rId3" Type="http://schemas.openxmlformats.org/officeDocument/2006/relationships/slideLayout" Target="../slideLayouts/slideLayout6.xml"/><Relationship Id="rId7" Type="http://schemas.openxmlformats.org/officeDocument/2006/relationships/image" Target="../media/image72.png"/><Relationship Id="rId2" Type="http://schemas.openxmlformats.org/officeDocument/2006/relationships/tags" Target="../tags/tag16.xml"/><Relationship Id="rId1" Type="http://schemas.openxmlformats.org/officeDocument/2006/relationships/vmlDrawing" Target="../drawings/vmlDrawing5.v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notesSlide" Target="../notesSlides/notesSlide34.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1.xml"/></Relationships>
</file>

<file path=ppt/slides/_rels/slide40.xml.rels><?xml version="1.0" encoding="UTF-8" standalone="yes"?>
<Relationships xmlns="http://schemas.openxmlformats.org/package/2006/relationships"><Relationship Id="rId8" Type="http://schemas.openxmlformats.org/officeDocument/2006/relationships/image" Target="../media/image74.png"/><Relationship Id="rId3" Type="http://schemas.openxmlformats.org/officeDocument/2006/relationships/slideLayout" Target="../slideLayouts/slideLayout6.xml"/><Relationship Id="rId7" Type="http://schemas.openxmlformats.org/officeDocument/2006/relationships/image" Target="../media/image73.png"/><Relationship Id="rId2" Type="http://schemas.openxmlformats.org/officeDocument/2006/relationships/tags" Target="../tags/tag17.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notesSlide" Target="../notesSlides/notesSlide35.xml"/><Relationship Id="rId9" Type="http://schemas.openxmlformats.org/officeDocument/2006/relationships/image" Target="../media/image75.png"/></Relationships>
</file>

<file path=ppt/slides/_rels/slide41.xml.rels><?xml version="1.0" encoding="UTF-8" standalone="yes"?>
<Relationships xmlns="http://schemas.openxmlformats.org/package/2006/relationships"><Relationship Id="rId8" Type="http://schemas.openxmlformats.org/officeDocument/2006/relationships/image" Target="../media/image77.png"/><Relationship Id="rId3" Type="http://schemas.openxmlformats.org/officeDocument/2006/relationships/slideLayout" Target="../slideLayouts/slideLayout6.xml"/><Relationship Id="rId7" Type="http://schemas.openxmlformats.org/officeDocument/2006/relationships/image" Target="../media/image76.png"/><Relationship Id="rId2" Type="http://schemas.openxmlformats.org/officeDocument/2006/relationships/tags" Target="../tags/tag18.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notesSlide" Target="../notesSlides/notesSlide36.xml"/></Relationships>
</file>

<file path=ppt/slides/_rels/slide42.xml.rels><?xml version="1.0" encoding="UTF-8" standalone="yes"?>
<Relationships xmlns="http://schemas.openxmlformats.org/package/2006/relationships"><Relationship Id="rId3" Type="http://schemas.openxmlformats.org/officeDocument/2006/relationships/slideLayout" Target="../slideLayouts/slideLayout6.xml"/><Relationship Id="rId7" Type="http://schemas.openxmlformats.org/officeDocument/2006/relationships/image" Target="../media/image78.png"/><Relationship Id="rId2" Type="http://schemas.openxmlformats.org/officeDocument/2006/relationships/tags" Target="../tags/tag19.xml"/><Relationship Id="rId1" Type="http://schemas.openxmlformats.org/officeDocument/2006/relationships/vmlDrawing" Target="../drawings/vmlDrawing8.v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notesSlide" Target="../notesSlides/notesSlide37.xml"/></Relationships>
</file>

<file path=ppt/slides/_rels/slide43.xml.rels><?xml version="1.0" encoding="UTF-8" standalone="yes"?>
<Relationships xmlns="http://schemas.openxmlformats.org/package/2006/relationships"><Relationship Id="rId8" Type="http://schemas.openxmlformats.org/officeDocument/2006/relationships/image" Target="../media/image80.png"/><Relationship Id="rId3" Type="http://schemas.openxmlformats.org/officeDocument/2006/relationships/slideLayout" Target="../slideLayouts/slideLayout6.xml"/><Relationship Id="rId7" Type="http://schemas.openxmlformats.org/officeDocument/2006/relationships/image" Target="../media/image79.png"/><Relationship Id="rId2" Type="http://schemas.openxmlformats.org/officeDocument/2006/relationships/tags" Target="../tags/tag20.xml"/><Relationship Id="rId1" Type="http://schemas.openxmlformats.org/officeDocument/2006/relationships/vmlDrawing" Target="../drawings/vmlDrawing9.vml"/><Relationship Id="rId6" Type="http://schemas.openxmlformats.org/officeDocument/2006/relationships/image" Target="../media/image1.emf"/><Relationship Id="rId5" Type="http://schemas.openxmlformats.org/officeDocument/2006/relationships/oleObject" Target="../embeddings/oleObject9.bin"/><Relationship Id="rId4" Type="http://schemas.openxmlformats.org/officeDocument/2006/relationships/notesSlide" Target="../notesSlides/notesSlide38.xml"/><Relationship Id="rId9" Type="http://schemas.openxmlformats.org/officeDocument/2006/relationships/image" Target="../media/image10.png"/></Relationships>
</file>

<file path=ppt/slides/_rels/slide44.xml.rels><?xml version="1.0" encoding="UTF-8" standalone="yes"?>
<Relationships xmlns="http://schemas.openxmlformats.org/package/2006/relationships"><Relationship Id="rId8" Type="http://schemas.openxmlformats.org/officeDocument/2006/relationships/tags" Target="../tags/tag28.xml"/><Relationship Id="rId13" Type="http://schemas.openxmlformats.org/officeDocument/2006/relationships/image" Target="../media/image83.png"/><Relationship Id="rId3" Type="http://schemas.openxmlformats.org/officeDocument/2006/relationships/tags" Target="../tags/tag23.xml"/><Relationship Id="rId7" Type="http://schemas.openxmlformats.org/officeDocument/2006/relationships/tags" Target="../tags/tag27.xml"/><Relationship Id="rId12" Type="http://schemas.openxmlformats.org/officeDocument/2006/relationships/image" Target="../media/image82.png"/><Relationship Id="rId2" Type="http://schemas.openxmlformats.org/officeDocument/2006/relationships/tags" Target="../tags/tag22.xml"/><Relationship Id="rId1" Type="http://schemas.openxmlformats.org/officeDocument/2006/relationships/tags" Target="../tags/tag21.xml"/><Relationship Id="rId6" Type="http://schemas.openxmlformats.org/officeDocument/2006/relationships/tags" Target="../tags/tag26.xml"/><Relationship Id="rId11" Type="http://schemas.openxmlformats.org/officeDocument/2006/relationships/image" Target="../media/image81.png"/><Relationship Id="rId5" Type="http://schemas.openxmlformats.org/officeDocument/2006/relationships/tags" Target="../tags/tag25.xml"/><Relationship Id="rId10" Type="http://schemas.openxmlformats.org/officeDocument/2006/relationships/notesSlide" Target="../notesSlides/notesSlide39.xml"/><Relationship Id="rId4" Type="http://schemas.openxmlformats.org/officeDocument/2006/relationships/tags" Target="../tags/tag24.xml"/><Relationship Id="rId9" Type="http://schemas.openxmlformats.org/officeDocument/2006/relationships/slideLayout" Target="../slideLayouts/slideLayout12.xml"/><Relationship Id="rId14" Type="http://schemas.openxmlformats.org/officeDocument/2006/relationships/image" Target="../media/image84.jpeg"/></Relationships>
</file>

<file path=ppt/slides/_rels/slide45.xml.rels><?xml version="1.0" encoding="UTF-8" standalone="yes"?>
<Relationships xmlns="http://schemas.openxmlformats.org/package/2006/relationships"><Relationship Id="rId8" Type="http://schemas.openxmlformats.org/officeDocument/2006/relationships/image" Target="../media/image89.png"/><Relationship Id="rId3" Type="http://schemas.openxmlformats.org/officeDocument/2006/relationships/image" Target="../media/image10.png"/><Relationship Id="rId7" Type="http://schemas.openxmlformats.org/officeDocument/2006/relationships/image" Target="../media/image88.png"/><Relationship Id="rId2" Type="http://schemas.openxmlformats.org/officeDocument/2006/relationships/notesSlide" Target="../notesSlides/notesSlide40.xml"/><Relationship Id="rId1" Type="http://schemas.openxmlformats.org/officeDocument/2006/relationships/slideLayout" Target="../slideLayouts/slideLayout8.xml"/><Relationship Id="rId6" Type="http://schemas.openxmlformats.org/officeDocument/2006/relationships/image" Target="../media/image87.jpeg"/><Relationship Id="rId5" Type="http://schemas.openxmlformats.org/officeDocument/2006/relationships/image" Target="../media/image86.png"/><Relationship Id="rId4" Type="http://schemas.openxmlformats.org/officeDocument/2006/relationships/image" Target="../media/image85.png"/><Relationship Id="rId9" Type="http://schemas.openxmlformats.org/officeDocument/2006/relationships/image" Target="../media/image65.png"/></Relationships>
</file>

<file path=ppt/slides/_rels/slide46.xml.rels><?xml version="1.0" encoding="UTF-8" standalone="yes"?>
<Relationships xmlns="http://schemas.openxmlformats.org/package/2006/relationships"><Relationship Id="rId8" Type="http://schemas.openxmlformats.org/officeDocument/2006/relationships/image" Target="../media/image91.emf"/><Relationship Id="rId3" Type="http://schemas.openxmlformats.org/officeDocument/2006/relationships/slideLayout" Target="../slideLayouts/slideLayout26.xml"/><Relationship Id="rId7" Type="http://schemas.openxmlformats.org/officeDocument/2006/relationships/image" Target="../media/image90.emf"/><Relationship Id="rId2" Type="http://schemas.openxmlformats.org/officeDocument/2006/relationships/tags" Target="../tags/tag29.xml"/><Relationship Id="rId1" Type="http://schemas.openxmlformats.org/officeDocument/2006/relationships/vmlDrawing" Target="../drawings/vmlDrawing10.v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notesSlide" Target="../notesSlides/notesSlide41.xml"/></Relationships>
</file>

<file path=ppt/slides/_rels/slide47.xml.rels><?xml version="1.0" encoding="UTF-8" standalone="yes"?>
<Relationships xmlns="http://schemas.openxmlformats.org/package/2006/relationships"><Relationship Id="rId8" Type="http://schemas.openxmlformats.org/officeDocument/2006/relationships/image" Target="../media/image69.png"/><Relationship Id="rId13" Type="http://schemas.openxmlformats.org/officeDocument/2006/relationships/image" Target="../media/image100.png"/><Relationship Id="rId18" Type="http://schemas.microsoft.com/office/2007/relationships/hdphoto" Target="../media/hdphoto3.wdp"/><Relationship Id="rId3" Type="http://schemas.openxmlformats.org/officeDocument/2006/relationships/image" Target="../media/image92.png"/><Relationship Id="rId7" Type="http://schemas.openxmlformats.org/officeDocument/2006/relationships/image" Target="../media/image96.png"/><Relationship Id="rId12" Type="http://schemas.openxmlformats.org/officeDocument/2006/relationships/image" Target="../media/image99.svg"/><Relationship Id="rId17" Type="http://schemas.openxmlformats.org/officeDocument/2006/relationships/image" Target="../media/image102.png"/><Relationship Id="rId2" Type="http://schemas.openxmlformats.org/officeDocument/2006/relationships/notesSlide" Target="../notesSlides/notesSlide42.xml"/><Relationship Id="rId16" Type="http://schemas.microsoft.com/office/2007/relationships/hdphoto" Target="../media/hdphoto1.wdp"/><Relationship Id="rId20" Type="http://schemas.openxmlformats.org/officeDocument/2006/relationships/comments" Target="../comments/comment11.xml"/><Relationship Id="rId1" Type="http://schemas.openxmlformats.org/officeDocument/2006/relationships/slideLayout" Target="../slideLayouts/slideLayout20.xml"/><Relationship Id="rId6" Type="http://schemas.openxmlformats.org/officeDocument/2006/relationships/image" Target="../media/image95.svg"/><Relationship Id="rId11" Type="http://schemas.openxmlformats.org/officeDocument/2006/relationships/image" Target="../media/image98.png"/><Relationship Id="rId5" Type="http://schemas.openxmlformats.org/officeDocument/2006/relationships/image" Target="../media/image94.png"/><Relationship Id="rId15" Type="http://schemas.openxmlformats.org/officeDocument/2006/relationships/image" Target="../media/image21.png"/><Relationship Id="rId10" Type="http://schemas.openxmlformats.org/officeDocument/2006/relationships/image" Target="../media/image97.png"/><Relationship Id="rId19" Type="http://schemas.openxmlformats.org/officeDocument/2006/relationships/image" Target="../media/image25.emf"/><Relationship Id="rId4" Type="http://schemas.openxmlformats.org/officeDocument/2006/relationships/image" Target="../media/image93.svg"/><Relationship Id="rId9" Type="http://schemas.openxmlformats.org/officeDocument/2006/relationships/image" Target="../media/image70.svg"/><Relationship Id="rId14" Type="http://schemas.openxmlformats.org/officeDocument/2006/relationships/image" Target="../media/image101.svg"/></Relationships>
</file>

<file path=ppt/slides/_rels/slide48.xml.rels><?xml version="1.0" encoding="UTF-8" standalone="yes"?>
<Relationships xmlns="http://schemas.openxmlformats.org/package/2006/relationships"><Relationship Id="rId3" Type="http://schemas.openxmlformats.org/officeDocument/2006/relationships/slideLayout" Target="../slideLayouts/slideLayout26.xml"/><Relationship Id="rId2" Type="http://schemas.openxmlformats.org/officeDocument/2006/relationships/tags" Target="../tags/tag30.xml"/><Relationship Id="rId1" Type="http://schemas.openxmlformats.org/officeDocument/2006/relationships/vmlDrawing" Target="../drawings/vmlDrawing11.vml"/><Relationship Id="rId6" Type="http://schemas.openxmlformats.org/officeDocument/2006/relationships/image" Target="../media/image1.emf"/><Relationship Id="rId5" Type="http://schemas.openxmlformats.org/officeDocument/2006/relationships/oleObject" Target="../embeddings/oleObject11.bin"/><Relationship Id="rId4" Type="http://schemas.openxmlformats.org/officeDocument/2006/relationships/notesSlide" Target="../notesSlides/notesSlide43.xml"/></Relationships>
</file>

<file path=ppt/slides/_rels/slide49.xml.rels><?xml version="1.0" encoding="UTF-8" standalone="yes"?>
<Relationships xmlns="http://schemas.openxmlformats.org/package/2006/relationships"><Relationship Id="rId2" Type="http://schemas.openxmlformats.org/officeDocument/2006/relationships/comments" Target="../comments/comment12.xml"/><Relationship Id="rId1" Type="http://schemas.openxmlformats.org/officeDocument/2006/relationships/slideLayout" Target="../slideLayouts/slideLayout20.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3.xml"/><Relationship Id="rId1" Type="http://schemas.openxmlformats.org/officeDocument/2006/relationships/tags" Target="../tags/tag2.xml"/><Relationship Id="rId4" Type="http://schemas.openxmlformats.org/officeDocument/2006/relationships/notesSlide" Target="../notesSlides/notesSlide4.xml"/></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6.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5.xml"/><Relationship Id="rId1"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5.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1.xml"/></Relationships>
</file>

<file path=ppt/slides/_rels/slide9.xml.rels><?xml version="1.0" encoding="UTF-8" standalone="yes"?>
<Relationships xmlns="http://schemas.openxmlformats.org/package/2006/relationships"><Relationship Id="rId8" Type="http://schemas.openxmlformats.org/officeDocument/2006/relationships/tags" Target="../tags/tag11.xml"/><Relationship Id="rId13" Type="http://schemas.microsoft.com/office/2007/relationships/hdphoto" Target="../media/hdphoto1.wdp"/><Relationship Id="rId18" Type="http://schemas.openxmlformats.org/officeDocument/2006/relationships/image" Target="../media/image26.emf"/><Relationship Id="rId3" Type="http://schemas.openxmlformats.org/officeDocument/2006/relationships/tags" Target="../tags/tag6.xml"/><Relationship Id="rId21" Type="http://schemas.openxmlformats.org/officeDocument/2006/relationships/image" Target="../media/image29.emf"/><Relationship Id="rId7" Type="http://schemas.openxmlformats.org/officeDocument/2006/relationships/tags" Target="../tags/tag10.xml"/><Relationship Id="rId12" Type="http://schemas.openxmlformats.org/officeDocument/2006/relationships/image" Target="../media/image21.png"/><Relationship Id="rId17" Type="http://schemas.openxmlformats.org/officeDocument/2006/relationships/image" Target="../media/image25.emf"/><Relationship Id="rId25" Type="http://schemas.openxmlformats.org/officeDocument/2006/relationships/image" Target="../media/image33.png"/><Relationship Id="rId2" Type="http://schemas.openxmlformats.org/officeDocument/2006/relationships/tags" Target="../tags/tag5.xml"/><Relationship Id="rId16" Type="http://schemas.openxmlformats.org/officeDocument/2006/relationships/image" Target="../media/image24.svg"/><Relationship Id="rId20" Type="http://schemas.openxmlformats.org/officeDocument/2006/relationships/image" Target="../media/image28.emf"/><Relationship Id="rId1" Type="http://schemas.openxmlformats.org/officeDocument/2006/relationships/tags" Target="../tags/tag4.xml"/><Relationship Id="rId6" Type="http://schemas.openxmlformats.org/officeDocument/2006/relationships/tags" Target="../tags/tag9.xml"/><Relationship Id="rId11" Type="http://schemas.openxmlformats.org/officeDocument/2006/relationships/image" Target="../media/image20.png"/><Relationship Id="rId24" Type="http://schemas.openxmlformats.org/officeDocument/2006/relationships/image" Target="../media/image32.gif"/><Relationship Id="rId5" Type="http://schemas.openxmlformats.org/officeDocument/2006/relationships/tags" Target="../tags/tag8.xml"/><Relationship Id="rId15" Type="http://schemas.openxmlformats.org/officeDocument/2006/relationships/image" Target="../media/image23.png"/><Relationship Id="rId23" Type="http://schemas.openxmlformats.org/officeDocument/2006/relationships/image" Target="../media/image31.emf"/><Relationship Id="rId10" Type="http://schemas.openxmlformats.org/officeDocument/2006/relationships/notesSlide" Target="../notesSlides/notesSlide8.xml"/><Relationship Id="rId19" Type="http://schemas.openxmlformats.org/officeDocument/2006/relationships/image" Target="../media/image27.emf"/><Relationship Id="rId4" Type="http://schemas.openxmlformats.org/officeDocument/2006/relationships/tags" Target="../tags/tag7.xml"/><Relationship Id="rId9" Type="http://schemas.openxmlformats.org/officeDocument/2006/relationships/slideLayout" Target="../slideLayouts/slideLayout20.xml"/><Relationship Id="rId14" Type="http://schemas.openxmlformats.org/officeDocument/2006/relationships/image" Target="../media/image22.png"/><Relationship Id="rId22" Type="http://schemas.openxmlformats.org/officeDocument/2006/relationships/image" Target="../media/image30.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idx="4294967295"/>
          </p:nvPr>
        </p:nvSpPr>
        <p:spPr>
          <a:xfrm>
            <a:off x="422786" y="2147271"/>
            <a:ext cx="7493125" cy="1846659"/>
          </a:xfrm>
        </p:spPr>
        <p:txBody>
          <a:bodyPr>
            <a:noAutofit/>
          </a:bodyPr>
          <a:lstStyle/>
          <a:p>
            <a:r>
              <a:rPr lang="en-US" sz="6000" dirty="0">
                <a:solidFill>
                  <a:schemeClr val="bg1"/>
                </a:solidFill>
              </a:rPr>
              <a:t>Azure Data Lake Store </a:t>
            </a:r>
            <a:r>
              <a:rPr lang="en-US" sz="3600" i="1" dirty="0">
                <a:solidFill>
                  <a:schemeClr val="bg1"/>
                </a:solidFill>
              </a:rPr>
              <a:t>Technical overview</a:t>
            </a:r>
            <a:endParaRPr lang="en-US" sz="6000" i="1" dirty="0">
              <a:solidFill>
                <a:schemeClr val="bg1"/>
              </a:solidFill>
            </a:endParaRPr>
          </a:p>
        </p:txBody>
      </p:sp>
      <p:grpSp>
        <p:nvGrpSpPr>
          <p:cNvPr id="291" name="Group 290"/>
          <p:cNvGrpSpPr/>
          <p:nvPr/>
        </p:nvGrpSpPr>
        <p:grpSpPr>
          <a:xfrm>
            <a:off x="5958602" y="2301077"/>
            <a:ext cx="6111175" cy="4567197"/>
            <a:chOff x="5958602" y="2290803"/>
            <a:chExt cx="6111175" cy="4567197"/>
          </a:xfrm>
        </p:grpSpPr>
        <p:sp>
          <p:nvSpPr>
            <p:cNvPr id="286" name="Freeform 95"/>
            <p:cNvSpPr>
              <a:spLocks/>
            </p:cNvSpPr>
            <p:nvPr/>
          </p:nvSpPr>
          <p:spPr bwMode="auto">
            <a:xfrm>
              <a:off x="7261809" y="2290803"/>
              <a:ext cx="4555882" cy="3095031"/>
            </a:xfrm>
            <a:custGeom>
              <a:avLst/>
              <a:gdLst>
                <a:gd name="T0" fmla="*/ 14 w 1491"/>
                <a:gd name="T1" fmla="*/ 846 h 846"/>
                <a:gd name="T2" fmla="*/ 0 w 1491"/>
                <a:gd name="T3" fmla="*/ 814 h 846"/>
                <a:gd name="T4" fmla="*/ 348 w 1491"/>
                <a:gd name="T5" fmla="*/ 653 h 846"/>
                <a:gd name="T6" fmla="*/ 562 w 1491"/>
                <a:gd name="T7" fmla="*/ 402 h 846"/>
                <a:gd name="T8" fmla="*/ 915 w 1491"/>
                <a:gd name="T9" fmla="*/ 328 h 846"/>
                <a:gd name="T10" fmla="*/ 1127 w 1491"/>
                <a:gd name="T11" fmla="*/ 77 h 846"/>
                <a:gd name="T12" fmla="*/ 1491 w 1491"/>
                <a:gd name="T13" fmla="*/ 0 h 846"/>
                <a:gd name="T14" fmla="*/ 1491 w 1491"/>
                <a:gd name="T15" fmla="*/ 37 h 846"/>
                <a:gd name="T16" fmla="*/ 1147 w 1491"/>
                <a:gd name="T17" fmla="*/ 111 h 846"/>
                <a:gd name="T18" fmla="*/ 934 w 1491"/>
                <a:gd name="T19" fmla="*/ 360 h 846"/>
                <a:gd name="T20" fmla="*/ 582 w 1491"/>
                <a:gd name="T21" fmla="*/ 434 h 846"/>
                <a:gd name="T22" fmla="*/ 371 w 1491"/>
                <a:gd name="T23" fmla="*/ 682 h 846"/>
                <a:gd name="T24" fmla="*/ 14 w 1491"/>
                <a:gd name="T25" fmla="*/ 846 h 8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91" h="846">
                  <a:moveTo>
                    <a:pt x="14" y="846"/>
                  </a:moveTo>
                  <a:lnTo>
                    <a:pt x="0" y="814"/>
                  </a:lnTo>
                  <a:lnTo>
                    <a:pt x="348" y="653"/>
                  </a:lnTo>
                  <a:lnTo>
                    <a:pt x="562" y="402"/>
                  </a:lnTo>
                  <a:lnTo>
                    <a:pt x="915" y="328"/>
                  </a:lnTo>
                  <a:lnTo>
                    <a:pt x="1127" y="77"/>
                  </a:lnTo>
                  <a:lnTo>
                    <a:pt x="1491" y="0"/>
                  </a:lnTo>
                  <a:lnTo>
                    <a:pt x="1491" y="37"/>
                  </a:lnTo>
                  <a:lnTo>
                    <a:pt x="1147" y="111"/>
                  </a:lnTo>
                  <a:lnTo>
                    <a:pt x="934" y="360"/>
                  </a:lnTo>
                  <a:lnTo>
                    <a:pt x="582" y="434"/>
                  </a:lnTo>
                  <a:lnTo>
                    <a:pt x="371" y="682"/>
                  </a:lnTo>
                  <a:lnTo>
                    <a:pt x="14" y="84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79" name="Freeform 94"/>
            <p:cNvSpPr>
              <a:spLocks/>
            </p:cNvSpPr>
            <p:nvPr/>
          </p:nvSpPr>
          <p:spPr bwMode="auto">
            <a:xfrm>
              <a:off x="7220558" y="4356101"/>
              <a:ext cx="4510047" cy="1570572"/>
            </a:xfrm>
            <a:custGeom>
              <a:avLst/>
              <a:gdLst>
                <a:gd name="T0" fmla="*/ 8 w 1476"/>
                <a:gd name="T1" fmla="*/ 514 h 514"/>
                <a:gd name="T2" fmla="*/ 0 w 1476"/>
                <a:gd name="T3" fmla="*/ 479 h 514"/>
                <a:gd name="T4" fmla="*/ 429 w 1476"/>
                <a:gd name="T5" fmla="*/ 374 h 514"/>
                <a:gd name="T6" fmla="*/ 780 w 1476"/>
                <a:gd name="T7" fmla="*/ 156 h 514"/>
                <a:gd name="T8" fmla="*/ 1213 w 1476"/>
                <a:gd name="T9" fmla="*/ 139 h 514"/>
                <a:gd name="T10" fmla="*/ 1476 w 1476"/>
                <a:gd name="T11" fmla="*/ 0 h 514"/>
                <a:gd name="T12" fmla="*/ 1476 w 1476"/>
                <a:gd name="T13" fmla="*/ 0 h 514"/>
                <a:gd name="T14" fmla="*/ 1476 w 1476"/>
                <a:gd name="T15" fmla="*/ 37 h 514"/>
                <a:gd name="T16" fmla="*/ 1476 w 1476"/>
                <a:gd name="T17" fmla="*/ 39 h 514"/>
                <a:gd name="T18" fmla="*/ 1222 w 1476"/>
                <a:gd name="T19" fmla="*/ 175 h 514"/>
                <a:gd name="T20" fmla="*/ 792 w 1476"/>
                <a:gd name="T21" fmla="*/ 191 h 514"/>
                <a:gd name="T22" fmla="*/ 443 w 1476"/>
                <a:gd name="T23" fmla="*/ 408 h 514"/>
                <a:gd name="T24" fmla="*/ 8 w 1476"/>
                <a:gd name="T25" fmla="*/ 514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76" h="514">
                  <a:moveTo>
                    <a:pt x="8" y="514"/>
                  </a:moveTo>
                  <a:lnTo>
                    <a:pt x="0" y="479"/>
                  </a:lnTo>
                  <a:lnTo>
                    <a:pt x="429" y="374"/>
                  </a:lnTo>
                  <a:lnTo>
                    <a:pt x="780" y="156"/>
                  </a:lnTo>
                  <a:lnTo>
                    <a:pt x="1213" y="139"/>
                  </a:lnTo>
                  <a:lnTo>
                    <a:pt x="1476" y="0"/>
                  </a:lnTo>
                  <a:lnTo>
                    <a:pt x="1476" y="0"/>
                  </a:lnTo>
                  <a:lnTo>
                    <a:pt x="1476" y="37"/>
                  </a:lnTo>
                  <a:lnTo>
                    <a:pt x="1476" y="39"/>
                  </a:lnTo>
                  <a:lnTo>
                    <a:pt x="1222" y="175"/>
                  </a:lnTo>
                  <a:lnTo>
                    <a:pt x="792" y="191"/>
                  </a:lnTo>
                  <a:lnTo>
                    <a:pt x="443" y="408"/>
                  </a:lnTo>
                  <a:lnTo>
                    <a:pt x="8" y="514"/>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0" name="Freeform 95"/>
            <p:cNvSpPr>
              <a:spLocks/>
            </p:cNvSpPr>
            <p:nvPr/>
          </p:nvSpPr>
          <p:spPr bwMode="auto">
            <a:xfrm>
              <a:off x="7232781" y="3158311"/>
              <a:ext cx="4555882" cy="2585027"/>
            </a:xfrm>
            <a:custGeom>
              <a:avLst/>
              <a:gdLst>
                <a:gd name="T0" fmla="*/ 14 w 1491"/>
                <a:gd name="T1" fmla="*/ 846 h 846"/>
                <a:gd name="T2" fmla="*/ 0 w 1491"/>
                <a:gd name="T3" fmla="*/ 814 h 846"/>
                <a:gd name="T4" fmla="*/ 348 w 1491"/>
                <a:gd name="T5" fmla="*/ 653 h 846"/>
                <a:gd name="T6" fmla="*/ 562 w 1491"/>
                <a:gd name="T7" fmla="*/ 402 h 846"/>
                <a:gd name="T8" fmla="*/ 915 w 1491"/>
                <a:gd name="T9" fmla="*/ 328 h 846"/>
                <a:gd name="T10" fmla="*/ 1127 w 1491"/>
                <a:gd name="T11" fmla="*/ 77 h 846"/>
                <a:gd name="T12" fmla="*/ 1491 w 1491"/>
                <a:gd name="T13" fmla="*/ 0 h 846"/>
                <a:gd name="T14" fmla="*/ 1491 w 1491"/>
                <a:gd name="T15" fmla="*/ 37 h 846"/>
                <a:gd name="T16" fmla="*/ 1147 w 1491"/>
                <a:gd name="T17" fmla="*/ 111 h 846"/>
                <a:gd name="T18" fmla="*/ 934 w 1491"/>
                <a:gd name="T19" fmla="*/ 360 h 846"/>
                <a:gd name="T20" fmla="*/ 582 w 1491"/>
                <a:gd name="T21" fmla="*/ 434 h 846"/>
                <a:gd name="T22" fmla="*/ 371 w 1491"/>
                <a:gd name="T23" fmla="*/ 682 h 846"/>
                <a:gd name="T24" fmla="*/ 14 w 1491"/>
                <a:gd name="T25" fmla="*/ 846 h 8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91" h="846">
                  <a:moveTo>
                    <a:pt x="14" y="846"/>
                  </a:moveTo>
                  <a:lnTo>
                    <a:pt x="0" y="814"/>
                  </a:lnTo>
                  <a:lnTo>
                    <a:pt x="348" y="653"/>
                  </a:lnTo>
                  <a:lnTo>
                    <a:pt x="562" y="402"/>
                  </a:lnTo>
                  <a:lnTo>
                    <a:pt x="915" y="328"/>
                  </a:lnTo>
                  <a:lnTo>
                    <a:pt x="1127" y="77"/>
                  </a:lnTo>
                  <a:lnTo>
                    <a:pt x="1491" y="0"/>
                  </a:lnTo>
                  <a:lnTo>
                    <a:pt x="1491" y="37"/>
                  </a:lnTo>
                  <a:lnTo>
                    <a:pt x="1147" y="111"/>
                  </a:lnTo>
                  <a:lnTo>
                    <a:pt x="934" y="360"/>
                  </a:lnTo>
                  <a:lnTo>
                    <a:pt x="582" y="434"/>
                  </a:lnTo>
                  <a:lnTo>
                    <a:pt x="371" y="682"/>
                  </a:lnTo>
                  <a:lnTo>
                    <a:pt x="14" y="846"/>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1" name="Freeform 96"/>
            <p:cNvSpPr>
              <a:spLocks/>
            </p:cNvSpPr>
            <p:nvPr/>
          </p:nvSpPr>
          <p:spPr bwMode="auto">
            <a:xfrm>
              <a:off x="7241949" y="5034442"/>
              <a:ext cx="4488659" cy="1219180"/>
            </a:xfrm>
            <a:custGeom>
              <a:avLst/>
              <a:gdLst>
                <a:gd name="T0" fmla="*/ 5 w 1469"/>
                <a:gd name="T1" fmla="*/ 399 h 399"/>
                <a:gd name="T2" fmla="*/ 0 w 1469"/>
                <a:gd name="T3" fmla="*/ 362 h 399"/>
                <a:gd name="T4" fmla="*/ 340 w 1469"/>
                <a:gd name="T5" fmla="*/ 309 h 399"/>
                <a:gd name="T6" fmla="*/ 624 w 1469"/>
                <a:gd name="T7" fmla="*/ 137 h 399"/>
                <a:gd name="T8" fmla="*/ 968 w 1469"/>
                <a:gd name="T9" fmla="*/ 170 h 399"/>
                <a:gd name="T10" fmla="*/ 1249 w 1469"/>
                <a:gd name="T11" fmla="*/ 0 h 399"/>
                <a:gd name="T12" fmla="*/ 1469 w 1469"/>
                <a:gd name="T13" fmla="*/ 25 h 399"/>
                <a:gd name="T14" fmla="*/ 1469 w 1469"/>
                <a:gd name="T15" fmla="*/ 61 h 399"/>
                <a:gd name="T16" fmla="*/ 1257 w 1469"/>
                <a:gd name="T17" fmla="*/ 36 h 399"/>
                <a:gd name="T18" fmla="*/ 976 w 1469"/>
                <a:gd name="T19" fmla="*/ 208 h 399"/>
                <a:gd name="T20" fmla="*/ 632 w 1469"/>
                <a:gd name="T21" fmla="*/ 173 h 399"/>
                <a:gd name="T22" fmla="*/ 352 w 1469"/>
                <a:gd name="T23" fmla="*/ 344 h 399"/>
                <a:gd name="T24" fmla="*/ 5 w 1469"/>
                <a:gd name="T25" fmla="*/ 399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69" h="399">
                  <a:moveTo>
                    <a:pt x="5" y="399"/>
                  </a:moveTo>
                  <a:lnTo>
                    <a:pt x="0" y="362"/>
                  </a:lnTo>
                  <a:lnTo>
                    <a:pt x="340" y="309"/>
                  </a:lnTo>
                  <a:lnTo>
                    <a:pt x="624" y="137"/>
                  </a:lnTo>
                  <a:lnTo>
                    <a:pt x="968" y="170"/>
                  </a:lnTo>
                  <a:lnTo>
                    <a:pt x="1249" y="0"/>
                  </a:lnTo>
                  <a:lnTo>
                    <a:pt x="1469" y="25"/>
                  </a:lnTo>
                  <a:lnTo>
                    <a:pt x="1469" y="61"/>
                  </a:lnTo>
                  <a:lnTo>
                    <a:pt x="1257" y="36"/>
                  </a:lnTo>
                  <a:lnTo>
                    <a:pt x="976" y="208"/>
                  </a:lnTo>
                  <a:lnTo>
                    <a:pt x="632" y="173"/>
                  </a:lnTo>
                  <a:lnTo>
                    <a:pt x="352" y="344"/>
                  </a:lnTo>
                  <a:lnTo>
                    <a:pt x="5" y="399"/>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5" name="Freeform 100"/>
            <p:cNvSpPr>
              <a:spLocks/>
            </p:cNvSpPr>
            <p:nvPr/>
          </p:nvSpPr>
          <p:spPr bwMode="auto">
            <a:xfrm>
              <a:off x="9053911" y="4823607"/>
              <a:ext cx="996121" cy="907510"/>
            </a:xfrm>
            <a:custGeom>
              <a:avLst/>
              <a:gdLst>
                <a:gd name="T0" fmla="*/ 233 w 233"/>
                <a:gd name="T1" fmla="*/ 55 h 212"/>
                <a:gd name="T2" fmla="*/ 90 w 233"/>
                <a:gd name="T3" fmla="*/ 0 h 212"/>
                <a:gd name="T4" fmla="*/ 0 w 233"/>
                <a:gd name="T5" fmla="*/ 20 h 212"/>
                <a:gd name="T6" fmla="*/ 90 w 233"/>
                <a:gd name="T7" fmla="*/ 212 h 212"/>
                <a:gd name="T8" fmla="*/ 233 w 233"/>
                <a:gd name="T9" fmla="*/ 55 h 212"/>
              </a:gdLst>
              <a:ahLst/>
              <a:cxnLst>
                <a:cxn ang="0">
                  <a:pos x="T0" y="T1"/>
                </a:cxn>
                <a:cxn ang="0">
                  <a:pos x="T2" y="T3"/>
                </a:cxn>
                <a:cxn ang="0">
                  <a:pos x="T4" y="T5"/>
                </a:cxn>
                <a:cxn ang="0">
                  <a:pos x="T6" y="T7"/>
                </a:cxn>
                <a:cxn ang="0">
                  <a:pos x="T8" y="T9"/>
                </a:cxn>
              </a:cxnLst>
              <a:rect l="0" t="0" r="r" b="b"/>
              <a:pathLst>
                <a:path w="233" h="212">
                  <a:moveTo>
                    <a:pt x="233" y="55"/>
                  </a:moveTo>
                  <a:cubicBezTo>
                    <a:pt x="195" y="21"/>
                    <a:pt x="145" y="0"/>
                    <a:pt x="90" y="0"/>
                  </a:cubicBezTo>
                  <a:cubicBezTo>
                    <a:pt x="58" y="0"/>
                    <a:pt x="27" y="7"/>
                    <a:pt x="0" y="20"/>
                  </a:cubicBezTo>
                  <a:cubicBezTo>
                    <a:pt x="90" y="212"/>
                    <a:pt x="90" y="212"/>
                    <a:pt x="90" y="212"/>
                  </a:cubicBezTo>
                  <a:lnTo>
                    <a:pt x="233" y="55"/>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6" name="Freeform 101"/>
            <p:cNvSpPr>
              <a:spLocks/>
            </p:cNvSpPr>
            <p:nvPr/>
          </p:nvSpPr>
          <p:spPr bwMode="auto">
            <a:xfrm>
              <a:off x="9438915" y="5058887"/>
              <a:ext cx="840287" cy="672229"/>
            </a:xfrm>
            <a:custGeom>
              <a:avLst/>
              <a:gdLst>
                <a:gd name="T0" fmla="*/ 197 w 197"/>
                <a:gd name="T1" fmla="*/ 77 h 157"/>
                <a:gd name="T2" fmla="*/ 143 w 197"/>
                <a:gd name="T3" fmla="*/ 0 h 157"/>
                <a:gd name="T4" fmla="*/ 0 w 197"/>
                <a:gd name="T5" fmla="*/ 157 h 157"/>
                <a:gd name="T6" fmla="*/ 197 w 197"/>
                <a:gd name="T7" fmla="*/ 77 h 157"/>
              </a:gdLst>
              <a:ahLst/>
              <a:cxnLst>
                <a:cxn ang="0">
                  <a:pos x="T0" y="T1"/>
                </a:cxn>
                <a:cxn ang="0">
                  <a:pos x="T2" y="T3"/>
                </a:cxn>
                <a:cxn ang="0">
                  <a:pos x="T4" y="T5"/>
                </a:cxn>
                <a:cxn ang="0">
                  <a:pos x="T6" y="T7"/>
                </a:cxn>
              </a:cxnLst>
              <a:rect l="0" t="0" r="r" b="b"/>
              <a:pathLst>
                <a:path w="197" h="157">
                  <a:moveTo>
                    <a:pt x="197" y="77"/>
                  </a:moveTo>
                  <a:cubicBezTo>
                    <a:pt x="185" y="47"/>
                    <a:pt x="166" y="21"/>
                    <a:pt x="143" y="0"/>
                  </a:cubicBezTo>
                  <a:cubicBezTo>
                    <a:pt x="0" y="157"/>
                    <a:pt x="0" y="157"/>
                    <a:pt x="0" y="157"/>
                  </a:cubicBezTo>
                  <a:lnTo>
                    <a:pt x="197" y="77"/>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7" name="Freeform 102"/>
            <p:cNvSpPr>
              <a:spLocks/>
            </p:cNvSpPr>
            <p:nvPr/>
          </p:nvSpPr>
          <p:spPr bwMode="auto">
            <a:xfrm>
              <a:off x="8531406" y="4909164"/>
              <a:ext cx="907510" cy="1457516"/>
            </a:xfrm>
            <a:custGeom>
              <a:avLst/>
              <a:gdLst>
                <a:gd name="T0" fmla="*/ 122 w 212"/>
                <a:gd name="T1" fmla="*/ 0 h 341"/>
                <a:gd name="T2" fmla="*/ 0 w 212"/>
                <a:gd name="T3" fmla="*/ 192 h 341"/>
                <a:gd name="T4" fmla="*/ 61 w 212"/>
                <a:gd name="T5" fmla="*/ 341 h 341"/>
                <a:gd name="T6" fmla="*/ 212 w 212"/>
                <a:gd name="T7" fmla="*/ 192 h 341"/>
                <a:gd name="T8" fmla="*/ 122 w 212"/>
                <a:gd name="T9" fmla="*/ 0 h 341"/>
              </a:gdLst>
              <a:ahLst/>
              <a:cxnLst>
                <a:cxn ang="0">
                  <a:pos x="T0" y="T1"/>
                </a:cxn>
                <a:cxn ang="0">
                  <a:pos x="T2" y="T3"/>
                </a:cxn>
                <a:cxn ang="0">
                  <a:pos x="T4" y="T5"/>
                </a:cxn>
                <a:cxn ang="0">
                  <a:pos x="T6" y="T7"/>
                </a:cxn>
                <a:cxn ang="0">
                  <a:pos x="T8" y="T9"/>
                </a:cxn>
              </a:cxnLst>
              <a:rect l="0" t="0" r="r" b="b"/>
              <a:pathLst>
                <a:path w="212" h="341">
                  <a:moveTo>
                    <a:pt x="122" y="0"/>
                  </a:moveTo>
                  <a:cubicBezTo>
                    <a:pt x="50" y="34"/>
                    <a:pt x="0" y="107"/>
                    <a:pt x="0" y="192"/>
                  </a:cubicBezTo>
                  <a:cubicBezTo>
                    <a:pt x="0" y="250"/>
                    <a:pt x="23" y="303"/>
                    <a:pt x="61" y="341"/>
                  </a:cubicBezTo>
                  <a:cubicBezTo>
                    <a:pt x="212" y="192"/>
                    <a:pt x="212" y="192"/>
                    <a:pt x="212" y="192"/>
                  </a:cubicBezTo>
                  <a:lnTo>
                    <a:pt x="122" y="0"/>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8" name="Freeform 103"/>
            <p:cNvSpPr>
              <a:spLocks/>
            </p:cNvSpPr>
            <p:nvPr/>
          </p:nvSpPr>
          <p:spPr bwMode="auto">
            <a:xfrm>
              <a:off x="9438915" y="5388890"/>
              <a:ext cx="910565" cy="342226"/>
            </a:xfrm>
            <a:custGeom>
              <a:avLst/>
              <a:gdLst>
                <a:gd name="T0" fmla="*/ 0 w 213"/>
                <a:gd name="T1" fmla="*/ 80 h 80"/>
                <a:gd name="T2" fmla="*/ 213 w 213"/>
                <a:gd name="T3" fmla="*/ 80 h 80"/>
                <a:gd name="T4" fmla="*/ 197 w 213"/>
                <a:gd name="T5" fmla="*/ 0 h 80"/>
                <a:gd name="T6" fmla="*/ 0 w 213"/>
                <a:gd name="T7" fmla="*/ 80 h 80"/>
              </a:gdLst>
              <a:ahLst/>
              <a:cxnLst>
                <a:cxn ang="0">
                  <a:pos x="T0" y="T1"/>
                </a:cxn>
                <a:cxn ang="0">
                  <a:pos x="T2" y="T3"/>
                </a:cxn>
                <a:cxn ang="0">
                  <a:pos x="T4" y="T5"/>
                </a:cxn>
                <a:cxn ang="0">
                  <a:pos x="T6" y="T7"/>
                </a:cxn>
              </a:cxnLst>
              <a:rect l="0" t="0" r="r" b="b"/>
              <a:pathLst>
                <a:path w="213" h="80">
                  <a:moveTo>
                    <a:pt x="0" y="80"/>
                  </a:moveTo>
                  <a:cubicBezTo>
                    <a:pt x="213" y="80"/>
                    <a:pt x="213" y="80"/>
                    <a:pt x="213" y="80"/>
                  </a:cubicBezTo>
                  <a:cubicBezTo>
                    <a:pt x="213" y="52"/>
                    <a:pt x="207" y="25"/>
                    <a:pt x="197" y="0"/>
                  </a:cubicBezTo>
                  <a:lnTo>
                    <a:pt x="0" y="80"/>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9" name="Freeform 104"/>
            <p:cNvSpPr>
              <a:spLocks/>
            </p:cNvSpPr>
            <p:nvPr/>
          </p:nvSpPr>
          <p:spPr bwMode="auto">
            <a:xfrm>
              <a:off x="8794187" y="5731116"/>
              <a:ext cx="644730" cy="812786"/>
            </a:xfrm>
            <a:custGeom>
              <a:avLst/>
              <a:gdLst>
                <a:gd name="T0" fmla="*/ 0 w 151"/>
                <a:gd name="T1" fmla="*/ 149 h 190"/>
                <a:gd name="T2" fmla="*/ 55 w 151"/>
                <a:gd name="T3" fmla="*/ 190 h 190"/>
                <a:gd name="T4" fmla="*/ 151 w 151"/>
                <a:gd name="T5" fmla="*/ 0 h 190"/>
                <a:gd name="T6" fmla="*/ 0 w 151"/>
                <a:gd name="T7" fmla="*/ 149 h 190"/>
              </a:gdLst>
              <a:ahLst/>
              <a:cxnLst>
                <a:cxn ang="0">
                  <a:pos x="T0" y="T1"/>
                </a:cxn>
                <a:cxn ang="0">
                  <a:pos x="T2" y="T3"/>
                </a:cxn>
                <a:cxn ang="0">
                  <a:pos x="T4" y="T5"/>
                </a:cxn>
                <a:cxn ang="0">
                  <a:pos x="T6" y="T7"/>
                </a:cxn>
              </a:cxnLst>
              <a:rect l="0" t="0" r="r" b="b"/>
              <a:pathLst>
                <a:path w="151" h="190">
                  <a:moveTo>
                    <a:pt x="0" y="149"/>
                  </a:moveTo>
                  <a:cubicBezTo>
                    <a:pt x="16" y="165"/>
                    <a:pt x="35" y="179"/>
                    <a:pt x="55" y="190"/>
                  </a:cubicBezTo>
                  <a:cubicBezTo>
                    <a:pt x="151" y="0"/>
                    <a:pt x="151" y="0"/>
                    <a:pt x="151" y="0"/>
                  </a:cubicBezTo>
                  <a:lnTo>
                    <a:pt x="0" y="149"/>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90" name="Freeform 105"/>
            <p:cNvSpPr>
              <a:spLocks/>
            </p:cNvSpPr>
            <p:nvPr/>
          </p:nvSpPr>
          <p:spPr bwMode="auto">
            <a:xfrm>
              <a:off x="9029466" y="5731116"/>
              <a:ext cx="1320014" cy="910565"/>
            </a:xfrm>
            <a:custGeom>
              <a:avLst/>
              <a:gdLst>
                <a:gd name="T0" fmla="*/ 0 w 309"/>
                <a:gd name="T1" fmla="*/ 190 h 213"/>
                <a:gd name="T2" fmla="*/ 96 w 309"/>
                <a:gd name="T3" fmla="*/ 213 h 213"/>
                <a:gd name="T4" fmla="*/ 309 w 309"/>
                <a:gd name="T5" fmla="*/ 0 h 213"/>
                <a:gd name="T6" fmla="*/ 96 w 309"/>
                <a:gd name="T7" fmla="*/ 0 h 213"/>
                <a:gd name="T8" fmla="*/ 0 w 309"/>
                <a:gd name="T9" fmla="*/ 190 h 213"/>
              </a:gdLst>
              <a:ahLst/>
              <a:cxnLst>
                <a:cxn ang="0">
                  <a:pos x="T0" y="T1"/>
                </a:cxn>
                <a:cxn ang="0">
                  <a:pos x="T2" y="T3"/>
                </a:cxn>
                <a:cxn ang="0">
                  <a:pos x="T4" y="T5"/>
                </a:cxn>
                <a:cxn ang="0">
                  <a:pos x="T6" y="T7"/>
                </a:cxn>
                <a:cxn ang="0">
                  <a:pos x="T8" y="T9"/>
                </a:cxn>
              </a:cxnLst>
              <a:rect l="0" t="0" r="r" b="b"/>
              <a:pathLst>
                <a:path w="309" h="213">
                  <a:moveTo>
                    <a:pt x="0" y="190"/>
                  </a:moveTo>
                  <a:cubicBezTo>
                    <a:pt x="29" y="204"/>
                    <a:pt x="62" y="213"/>
                    <a:pt x="96" y="213"/>
                  </a:cubicBezTo>
                  <a:cubicBezTo>
                    <a:pt x="214" y="213"/>
                    <a:pt x="309" y="118"/>
                    <a:pt x="309" y="0"/>
                  </a:cubicBezTo>
                  <a:cubicBezTo>
                    <a:pt x="96" y="0"/>
                    <a:pt x="96" y="0"/>
                    <a:pt x="96" y="0"/>
                  </a:cubicBezTo>
                  <a:lnTo>
                    <a:pt x="0" y="19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289" name="Group 288"/>
            <p:cNvGrpSpPr/>
            <p:nvPr/>
          </p:nvGrpSpPr>
          <p:grpSpPr>
            <a:xfrm>
              <a:off x="5958602" y="5187221"/>
              <a:ext cx="1915853" cy="1668353"/>
              <a:chOff x="5958602" y="5187221"/>
              <a:chExt cx="1915853" cy="1668353"/>
            </a:xfrm>
          </p:grpSpPr>
          <p:sp>
            <p:nvSpPr>
              <p:cNvPr id="257" name="Rectangle 107"/>
              <p:cNvSpPr>
                <a:spLocks noChangeArrowheads="1"/>
              </p:cNvSpPr>
              <p:nvPr/>
            </p:nvSpPr>
            <p:spPr bwMode="auto">
              <a:xfrm>
                <a:off x="7361116" y="6152787"/>
                <a:ext cx="232225" cy="702785"/>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58" name="Freeform 108"/>
              <p:cNvSpPr>
                <a:spLocks/>
              </p:cNvSpPr>
              <p:nvPr/>
            </p:nvSpPr>
            <p:spPr bwMode="auto">
              <a:xfrm>
                <a:off x="6520830" y="6265845"/>
                <a:ext cx="232225" cy="589729"/>
              </a:xfrm>
              <a:custGeom>
                <a:avLst/>
                <a:gdLst>
                  <a:gd name="T0" fmla="*/ 0 w 76"/>
                  <a:gd name="T1" fmla="*/ 0 h 193"/>
                  <a:gd name="T2" fmla="*/ 0 w 76"/>
                  <a:gd name="T3" fmla="*/ 39 h 193"/>
                  <a:gd name="T4" fmla="*/ 0 w 76"/>
                  <a:gd name="T5" fmla="*/ 193 h 193"/>
                  <a:gd name="T6" fmla="*/ 76 w 76"/>
                  <a:gd name="T7" fmla="*/ 193 h 193"/>
                  <a:gd name="T8" fmla="*/ 76 w 76"/>
                  <a:gd name="T9" fmla="*/ 10 h 193"/>
                  <a:gd name="T10" fmla="*/ 76 w 76"/>
                  <a:gd name="T11" fmla="*/ 0 h 193"/>
                  <a:gd name="T12" fmla="*/ 0 w 76"/>
                  <a:gd name="T13" fmla="*/ 0 h 193"/>
                </a:gdLst>
                <a:ahLst/>
                <a:cxnLst>
                  <a:cxn ang="0">
                    <a:pos x="T0" y="T1"/>
                  </a:cxn>
                  <a:cxn ang="0">
                    <a:pos x="T2" y="T3"/>
                  </a:cxn>
                  <a:cxn ang="0">
                    <a:pos x="T4" y="T5"/>
                  </a:cxn>
                  <a:cxn ang="0">
                    <a:pos x="T6" y="T7"/>
                  </a:cxn>
                  <a:cxn ang="0">
                    <a:pos x="T8" y="T9"/>
                  </a:cxn>
                  <a:cxn ang="0">
                    <a:pos x="T10" y="T11"/>
                  </a:cxn>
                  <a:cxn ang="0">
                    <a:pos x="T12" y="T13"/>
                  </a:cxn>
                </a:cxnLst>
                <a:rect l="0" t="0" r="r" b="b"/>
                <a:pathLst>
                  <a:path w="76" h="193">
                    <a:moveTo>
                      <a:pt x="0" y="0"/>
                    </a:moveTo>
                    <a:lnTo>
                      <a:pt x="0" y="39"/>
                    </a:lnTo>
                    <a:lnTo>
                      <a:pt x="0" y="193"/>
                    </a:lnTo>
                    <a:lnTo>
                      <a:pt x="76" y="193"/>
                    </a:lnTo>
                    <a:lnTo>
                      <a:pt x="76" y="10"/>
                    </a:lnTo>
                    <a:lnTo>
                      <a:pt x="76" y="0"/>
                    </a:lnTo>
                    <a:lnTo>
                      <a:pt x="0" y="0"/>
                    </a:lnTo>
                    <a:close/>
                  </a:path>
                </a:pathLst>
              </a:custGeom>
              <a:solidFill>
                <a:srgbClr val="28C9F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59" name="Freeform 109"/>
              <p:cNvSpPr>
                <a:spLocks/>
              </p:cNvSpPr>
              <p:nvPr/>
            </p:nvSpPr>
            <p:spPr bwMode="auto">
              <a:xfrm>
                <a:off x="6801944" y="5700560"/>
                <a:ext cx="229170" cy="1155012"/>
              </a:xfrm>
              <a:custGeom>
                <a:avLst/>
                <a:gdLst>
                  <a:gd name="T0" fmla="*/ 0 w 75"/>
                  <a:gd name="T1" fmla="*/ 0 h 378"/>
                  <a:gd name="T2" fmla="*/ 0 w 75"/>
                  <a:gd name="T3" fmla="*/ 188 h 378"/>
                  <a:gd name="T4" fmla="*/ 0 w 75"/>
                  <a:gd name="T5" fmla="*/ 378 h 378"/>
                  <a:gd name="T6" fmla="*/ 75 w 75"/>
                  <a:gd name="T7" fmla="*/ 378 h 378"/>
                  <a:gd name="T8" fmla="*/ 75 w 75"/>
                  <a:gd name="T9" fmla="*/ 158 h 378"/>
                  <a:gd name="T10" fmla="*/ 75 w 75"/>
                  <a:gd name="T11" fmla="*/ 0 h 378"/>
                  <a:gd name="T12" fmla="*/ 0 w 75"/>
                  <a:gd name="T13" fmla="*/ 0 h 378"/>
                </a:gdLst>
                <a:ahLst/>
                <a:cxnLst>
                  <a:cxn ang="0">
                    <a:pos x="T0" y="T1"/>
                  </a:cxn>
                  <a:cxn ang="0">
                    <a:pos x="T2" y="T3"/>
                  </a:cxn>
                  <a:cxn ang="0">
                    <a:pos x="T4" y="T5"/>
                  </a:cxn>
                  <a:cxn ang="0">
                    <a:pos x="T6" y="T7"/>
                  </a:cxn>
                  <a:cxn ang="0">
                    <a:pos x="T8" y="T9"/>
                  </a:cxn>
                  <a:cxn ang="0">
                    <a:pos x="T10" y="T11"/>
                  </a:cxn>
                  <a:cxn ang="0">
                    <a:pos x="T12" y="T13"/>
                  </a:cxn>
                </a:cxnLst>
                <a:rect l="0" t="0" r="r" b="b"/>
                <a:pathLst>
                  <a:path w="75" h="378">
                    <a:moveTo>
                      <a:pt x="0" y="0"/>
                    </a:moveTo>
                    <a:lnTo>
                      <a:pt x="0" y="188"/>
                    </a:lnTo>
                    <a:lnTo>
                      <a:pt x="0" y="378"/>
                    </a:lnTo>
                    <a:lnTo>
                      <a:pt x="75" y="378"/>
                    </a:lnTo>
                    <a:lnTo>
                      <a:pt x="75" y="158"/>
                    </a:lnTo>
                    <a:lnTo>
                      <a:pt x="75" y="0"/>
                    </a:lnTo>
                    <a:lnTo>
                      <a:pt x="0" y="0"/>
                    </a:lnTo>
                    <a:close/>
                  </a:path>
                </a:pathLst>
              </a:custGeom>
              <a:solidFill>
                <a:srgbClr val="1F4F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60" name="Freeform 110"/>
              <p:cNvSpPr>
                <a:spLocks/>
              </p:cNvSpPr>
              <p:nvPr/>
            </p:nvSpPr>
            <p:spPr bwMode="auto">
              <a:xfrm>
                <a:off x="7080001" y="5187221"/>
                <a:ext cx="235281" cy="1668351"/>
              </a:xfrm>
              <a:custGeom>
                <a:avLst/>
                <a:gdLst>
                  <a:gd name="T0" fmla="*/ 0 w 77"/>
                  <a:gd name="T1" fmla="*/ 0 h 546"/>
                  <a:gd name="T2" fmla="*/ 0 w 77"/>
                  <a:gd name="T3" fmla="*/ 319 h 546"/>
                  <a:gd name="T4" fmla="*/ 0 w 77"/>
                  <a:gd name="T5" fmla="*/ 546 h 546"/>
                  <a:gd name="T6" fmla="*/ 77 w 77"/>
                  <a:gd name="T7" fmla="*/ 546 h 546"/>
                  <a:gd name="T8" fmla="*/ 77 w 77"/>
                  <a:gd name="T9" fmla="*/ 290 h 546"/>
                  <a:gd name="T10" fmla="*/ 77 w 77"/>
                  <a:gd name="T11" fmla="*/ 0 h 546"/>
                  <a:gd name="T12" fmla="*/ 0 w 77"/>
                  <a:gd name="T13" fmla="*/ 0 h 546"/>
                </a:gdLst>
                <a:ahLst/>
                <a:cxnLst>
                  <a:cxn ang="0">
                    <a:pos x="T0" y="T1"/>
                  </a:cxn>
                  <a:cxn ang="0">
                    <a:pos x="T2" y="T3"/>
                  </a:cxn>
                  <a:cxn ang="0">
                    <a:pos x="T4" y="T5"/>
                  </a:cxn>
                  <a:cxn ang="0">
                    <a:pos x="T6" y="T7"/>
                  </a:cxn>
                  <a:cxn ang="0">
                    <a:pos x="T8" y="T9"/>
                  </a:cxn>
                  <a:cxn ang="0">
                    <a:pos x="T10" y="T11"/>
                  </a:cxn>
                  <a:cxn ang="0">
                    <a:pos x="T12" y="T13"/>
                  </a:cxn>
                </a:cxnLst>
                <a:rect l="0" t="0" r="r" b="b"/>
                <a:pathLst>
                  <a:path w="77" h="546">
                    <a:moveTo>
                      <a:pt x="0" y="0"/>
                    </a:moveTo>
                    <a:lnTo>
                      <a:pt x="0" y="319"/>
                    </a:lnTo>
                    <a:lnTo>
                      <a:pt x="0" y="546"/>
                    </a:lnTo>
                    <a:lnTo>
                      <a:pt x="77" y="546"/>
                    </a:lnTo>
                    <a:lnTo>
                      <a:pt x="77" y="290"/>
                    </a:lnTo>
                    <a:lnTo>
                      <a:pt x="77" y="0"/>
                    </a:lnTo>
                    <a:lnTo>
                      <a:pt x="0" y="0"/>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61" name="Freeform 111"/>
              <p:cNvSpPr>
                <a:spLocks/>
              </p:cNvSpPr>
              <p:nvPr/>
            </p:nvSpPr>
            <p:spPr bwMode="auto">
              <a:xfrm>
                <a:off x="7642230" y="5718893"/>
                <a:ext cx="232225" cy="1136679"/>
              </a:xfrm>
              <a:custGeom>
                <a:avLst/>
                <a:gdLst>
                  <a:gd name="T0" fmla="*/ 0 w 76"/>
                  <a:gd name="T1" fmla="*/ 0 h 372"/>
                  <a:gd name="T2" fmla="*/ 0 w 76"/>
                  <a:gd name="T3" fmla="*/ 74 h 372"/>
                  <a:gd name="T4" fmla="*/ 0 w 76"/>
                  <a:gd name="T5" fmla="*/ 372 h 372"/>
                  <a:gd name="T6" fmla="*/ 76 w 76"/>
                  <a:gd name="T7" fmla="*/ 372 h 372"/>
                  <a:gd name="T8" fmla="*/ 76 w 76"/>
                  <a:gd name="T9" fmla="*/ 43 h 372"/>
                  <a:gd name="T10" fmla="*/ 76 w 76"/>
                  <a:gd name="T11" fmla="*/ 0 h 372"/>
                  <a:gd name="T12" fmla="*/ 0 w 76"/>
                  <a:gd name="T13" fmla="*/ 0 h 372"/>
                </a:gdLst>
                <a:ahLst/>
                <a:cxnLst>
                  <a:cxn ang="0">
                    <a:pos x="T0" y="T1"/>
                  </a:cxn>
                  <a:cxn ang="0">
                    <a:pos x="T2" y="T3"/>
                  </a:cxn>
                  <a:cxn ang="0">
                    <a:pos x="T4" y="T5"/>
                  </a:cxn>
                  <a:cxn ang="0">
                    <a:pos x="T6" y="T7"/>
                  </a:cxn>
                  <a:cxn ang="0">
                    <a:pos x="T8" y="T9"/>
                  </a:cxn>
                  <a:cxn ang="0">
                    <a:pos x="T10" y="T11"/>
                  </a:cxn>
                  <a:cxn ang="0">
                    <a:pos x="T12" y="T13"/>
                  </a:cxn>
                </a:cxnLst>
                <a:rect l="0" t="0" r="r" b="b"/>
                <a:pathLst>
                  <a:path w="76" h="372">
                    <a:moveTo>
                      <a:pt x="0" y="0"/>
                    </a:moveTo>
                    <a:lnTo>
                      <a:pt x="0" y="74"/>
                    </a:lnTo>
                    <a:lnTo>
                      <a:pt x="0" y="372"/>
                    </a:lnTo>
                    <a:lnTo>
                      <a:pt x="76" y="372"/>
                    </a:lnTo>
                    <a:lnTo>
                      <a:pt x="76" y="43"/>
                    </a:lnTo>
                    <a:lnTo>
                      <a:pt x="76" y="0"/>
                    </a:lnTo>
                    <a:lnTo>
                      <a:pt x="0" y="0"/>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62" name="Freeform 112"/>
              <p:cNvSpPr>
                <a:spLocks/>
              </p:cNvSpPr>
              <p:nvPr/>
            </p:nvSpPr>
            <p:spPr bwMode="auto">
              <a:xfrm>
                <a:off x="5958602" y="6290289"/>
                <a:ext cx="235281" cy="565285"/>
              </a:xfrm>
              <a:custGeom>
                <a:avLst/>
                <a:gdLst>
                  <a:gd name="T0" fmla="*/ 0 w 77"/>
                  <a:gd name="T1" fmla="*/ 0 h 185"/>
                  <a:gd name="T2" fmla="*/ 0 w 77"/>
                  <a:gd name="T3" fmla="*/ 104 h 185"/>
                  <a:gd name="T4" fmla="*/ 0 w 77"/>
                  <a:gd name="T5" fmla="*/ 185 h 185"/>
                  <a:gd name="T6" fmla="*/ 77 w 77"/>
                  <a:gd name="T7" fmla="*/ 185 h 185"/>
                  <a:gd name="T8" fmla="*/ 77 w 77"/>
                  <a:gd name="T9" fmla="*/ 73 h 185"/>
                  <a:gd name="T10" fmla="*/ 77 w 77"/>
                  <a:gd name="T11" fmla="*/ 0 h 185"/>
                  <a:gd name="T12" fmla="*/ 0 w 77"/>
                  <a:gd name="T13" fmla="*/ 0 h 185"/>
                </a:gdLst>
                <a:ahLst/>
                <a:cxnLst>
                  <a:cxn ang="0">
                    <a:pos x="T0" y="T1"/>
                  </a:cxn>
                  <a:cxn ang="0">
                    <a:pos x="T2" y="T3"/>
                  </a:cxn>
                  <a:cxn ang="0">
                    <a:pos x="T4" y="T5"/>
                  </a:cxn>
                  <a:cxn ang="0">
                    <a:pos x="T6" y="T7"/>
                  </a:cxn>
                  <a:cxn ang="0">
                    <a:pos x="T8" y="T9"/>
                  </a:cxn>
                  <a:cxn ang="0">
                    <a:pos x="T10" y="T11"/>
                  </a:cxn>
                  <a:cxn ang="0">
                    <a:pos x="T12" y="T13"/>
                  </a:cxn>
                </a:cxnLst>
                <a:rect l="0" t="0" r="r" b="b"/>
                <a:pathLst>
                  <a:path w="77" h="185">
                    <a:moveTo>
                      <a:pt x="0" y="0"/>
                    </a:moveTo>
                    <a:lnTo>
                      <a:pt x="0" y="104"/>
                    </a:lnTo>
                    <a:lnTo>
                      <a:pt x="0" y="185"/>
                    </a:lnTo>
                    <a:lnTo>
                      <a:pt x="77" y="185"/>
                    </a:lnTo>
                    <a:lnTo>
                      <a:pt x="77" y="73"/>
                    </a:lnTo>
                    <a:lnTo>
                      <a:pt x="77" y="0"/>
                    </a:lnTo>
                    <a:lnTo>
                      <a:pt x="0" y="0"/>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63" name="Freeform 113"/>
              <p:cNvSpPr>
                <a:spLocks/>
              </p:cNvSpPr>
              <p:nvPr/>
            </p:nvSpPr>
            <p:spPr bwMode="auto">
              <a:xfrm>
                <a:off x="6242771" y="5361391"/>
                <a:ext cx="229170" cy="1494183"/>
              </a:xfrm>
              <a:custGeom>
                <a:avLst/>
                <a:gdLst>
                  <a:gd name="T0" fmla="*/ 0 w 75"/>
                  <a:gd name="T1" fmla="*/ 0 h 489"/>
                  <a:gd name="T2" fmla="*/ 0 w 75"/>
                  <a:gd name="T3" fmla="*/ 371 h 489"/>
                  <a:gd name="T4" fmla="*/ 0 w 75"/>
                  <a:gd name="T5" fmla="*/ 489 h 489"/>
                  <a:gd name="T6" fmla="*/ 75 w 75"/>
                  <a:gd name="T7" fmla="*/ 489 h 489"/>
                  <a:gd name="T8" fmla="*/ 75 w 75"/>
                  <a:gd name="T9" fmla="*/ 341 h 489"/>
                  <a:gd name="T10" fmla="*/ 75 w 75"/>
                  <a:gd name="T11" fmla="*/ 0 h 489"/>
                  <a:gd name="T12" fmla="*/ 0 w 75"/>
                  <a:gd name="T13" fmla="*/ 0 h 489"/>
                </a:gdLst>
                <a:ahLst/>
                <a:cxnLst>
                  <a:cxn ang="0">
                    <a:pos x="T0" y="T1"/>
                  </a:cxn>
                  <a:cxn ang="0">
                    <a:pos x="T2" y="T3"/>
                  </a:cxn>
                  <a:cxn ang="0">
                    <a:pos x="T4" y="T5"/>
                  </a:cxn>
                  <a:cxn ang="0">
                    <a:pos x="T6" y="T7"/>
                  </a:cxn>
                  <a:cxn ang="0">
                    <a:pos x="T8" y="T9"/>
                  </a:cxn>
                  <a:cxn ang="0">
                    <a:pos x="T10" y="T11"/>
                  </a:cxn>
                  <a:cxn ang="0">
                    <a:pos x="T12" y="T13"/>
                  </a:cxn>
                </a:cxnLst>
                <a:rect l="0" t="0" r="r" b="b"/>
                <a:pathLst>
                  <a:path w="75" h="489">
                    <a:moveTo>
                      <a:pt x="0" y="0"/>
                    </a:moveTo>
                    <a:lnTo>
                      <a:pt x="0" y="371"/>
                    </a:lnTo>
                    <a:lnTo>
                      <a:pt x="0" y="489"/>
                    </a:lnTo>
                    <a:lnTo>
                      <a:pt x="75" y="489"/>
                    </a:lnTo>
                    <a:lnTo>
                      <a:pt x="75" y="341"/>
                    </a:lnTo>
                    <a:lnTo>
                      <a:pt x="75" y="0"/>
                    </a:lnTo>
                    <a:lnTo>
                      <a:pt x="0"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290" name="Group 289"/>
            <p:cNvGrpSpPr/>
            <p:nvPr/>
          </p:nvGrpSpPr>
          <p:grpSpPr>
            <a:xfrm>
              <a:off x="10486982" y="5562430"/>
              <a:ext cx="1582795" cy="1295570"/>
              <a:chOff x="10486982" y="5550837"/>
              <a:chExt cx="1582795" cy="1295570"/>
            </a:xfrm>
          </p:grpSpPr>
          <p:sp>
            <p:nvSpPr>
              <p:cNvPr id="264" name="Rectangle 114"/>
              <p:cNvSpPr>
                <a:spLocks noChangeArrowheads="1"/>
              </p:cNvSpPr>
              <p:nvPr/>
            </p:nvSpPr>
            <p:spPr bwMode="auto">
              <a:xfrm>
                <a:off x="10486982" y="6259733"/>
                <a:ext cx="473617" cy="165002"/>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65" name="Rectangle 115"/>
              <p:cNvSpPr>
                <a:spLocks noChangeArrowheads="1"/>
              </p:cNvSpPr>
              <p:nvPr/>
            </p:nvSpPr>
            <p:spPr bwMode="auto">
              <a:xfrm>
                <a:off x="10486982" y="6424735"/>
                <a:ext cx="473617" cy="421671"/>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66" name="Rectangle 116"/>
              <p:cNvSpPr>
                <a:spLocks noChangeArrowheads="1"/>
              </p:cNvSpPr>
              <p:nvPr/>
            </p:nvSpPr>
            <p:spPr bwMode="auto">
              <a:xfrm>
                <a:off x="11040043" y="5550837"/>
                <a:ext cx="476672" cy="470561"/>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67" name="Rectangle 117"/>
              <p:cNvSpPr>
                <a:spLocks noChangeArrowheads="1"/>
              </p:cNvSpPr>
              <p:nvPr/>
            </p:nvSpPr>
            <p:spPr bwMode="auto">
              <a:xfrm>
                <a:off x="11040043" y="6021398"/>
                <a:ext cx="476672" cy="825009"/>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68" name="Rectangle 118"/>
              <p:cNvSpPr>
                <a:spLocks noChangeArrowheads="1"/>
              </p:cNvSpPr>
              <p:nvPr/>
            </p:nvSpPr>
            <p:spPr bwMode="auto">
              <a:xfrm>
                <a:off x="11596160" y="6161955"/>
                <a:ext cx="473617" cy="476672"/>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69" name="Rectangle 119"/>
              <p:cNvSpPr>
                <a:spLocks noChangeArrowheads="1"/>
              </p:cNvSpPr>
              <p:nvPr/>
            </p:nvSpPr>
            <p:spPr bwMode="auto">
              <a:xfrm>
                <a:off x="11596160" y="6638626"/>
                <a:ext cx="473617" cy="207780"/>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grpSp>
        <p:nvGrpSpPr>
          <p:cNvPr id="223" name="Group 222"/>
          <p:cNvGrpSpPr/>
          <p:nvPr/>
        </p:nvGrpSpPr>
        <p:grpSpPr>
          <a:xfrm>
            <a:off x="9096231" y="2341188"/>
            <a:ext cx="1077865" cy="1077867"/>
            <a:chOff x="10086975" y="1289050"/>
            <a:chExt cx="615950" cy="615951"/>
          </a:xfrm>
        </p:grpSpPr>
        <p:sp>
          <p:nvSpPr>
            <p:cNvPr id="274" name="Freeform 123"/>
            <p:cNvSpPr>
              <a:spLocks noEditPoints="1"/>
            </p:cNvSpPr>
            <p:nvPr/>
          </p:nvSpPr>
          <p:spPr bwMode="auto">
            <a:xfrm>
              <a:off x="10086975" y="1289050"/>
              <a:ext cx="615950" cy="615950"/>
            </a:xfrm>
            <a:custGeom>
              <a:avLst/>
              <a:gdLst>
                <a:gd name="T0" fmla="*/ 139 w 277"/>
                <a:gd name="T1" fmla="*/ 277 h 277"/>
                <a:gd name="T2" fmla="*/ 118 w 277"/>
                <a:gd name="T3" fmla="*/ 270 h 277"/>
                <a:gd name="T4" fmla="*/ 139 w 277"/>
                <a:gd name="T5" fmla="*/ 277 h 277"/>
                <a:gd name="T6" fmla="*/ 160 w 277"/>
                <a:gd name="T7" fmla="*/ 270 h 277"/>
                <a:gd name="T8" fmla="*/ 182 w 277"/>
                <a:gd name="T9" fmla="*/ 270 h 277"/>
                <a:gd name="T10" fmla="*/ 96 w 277"/>
                <a:gd name="T11" fmla="*/ 270 h 277"/>
                <a:gd name="T12" fmla="*/ 79 w 277"/>
                <a:gd name="T13" fmla="*/ 257 h 277"/>
                <a:gd name="T14" fmla="*/ 96 w 277"/>
                <a:gd name="T15" fmla="*/ 270 h 277"/>
                <a:gd name="T16" fmla="*/ 199 w 277"/>
                <a:gd name="T17" fmla="*/ 257 h 277"/>
                <a:gd name="T18" fmla="*/ 220 w 277"/>
                <a:gd name="T19" fmla="*/ 250 h 277"/>
                <a:gd name="T20" fmla="*/ 58 w 277"/>
                <a:gd name="T21" fmla="*/ 250 h 277"/>
                <a:gd name="T22" fmla="*/ 45 w 277"/>
                <a:gd name="T23" fmla="*/ 232 h 277"/>
                <a:gd name="T24" fmla="*/ 58 w 277"/>
                <a:gd name="T25" fmla="*/ 250 h 277"/>
                <a:gd name="T26" fmla="*/ 233 w 277"/>
                <a:gd name="T27" fmla="*/ 232 h 277"/>
                <a:gd name="T28" fmla="*/ 251 w 277"/>
                <a:gd name="T29" fmla="*/ 219 h 277"/>
                <a:gd name="T30" fmla="*/ 27 w 277"/>
                <a:gd name="T31" fmla="*/ 220 h 277"/>
                <a:gd name="T32" fmla="*/ 20 w 277"/>
                <a:gd name="T33" fmla="*/ 199 h 277"/>
                <a:gd name="T34" fmla="*/ 27 w 277"/>
                <a:gd name="T35" fmla="*/ 220 h 277"/>
                <a:gd name="T36" fmla="*/ 258 w 277"/>
                <a:gd name="T37" fmla="*/ 199 h 277"/>
                <a:gd name="T38" fmla="*/ 271 w 277"/>
                <a:gd name="T39" fmla="*/ 181 h 277"/>
                <a:gd name="T40" fmla="*/ 7 w 277"/>
                <a:gd name="T41" fmla="*/ 181 h 277"/>
                <a:gd name="T42" fmla="*/ 8 w 277"/>
                <a:gd name="T43" fmla="*/ 159 h 277"/>
                <a:gd name="T44" fmla="*/ 7 w 277"/>
                <a:gd name="T45" fmla="*/ 181 h 277"/>
                <a:gd name="T46" fmla="*/ 270 w 277"/>
                <a:gd name="T47" fmla="*/ 159 h 277"/>
                <a:gd name="T48" fmla="*/ 272 w 277"/>
                <a:gd name="T49" fmla="*/ 138 h 277"/>
                <a:gd name="T50" fmla="*/ 277 w 277"/>
                <a:gd name="T51" fmla="*/ 138 h 277"/>
                <a:gd name="T52" fmla="*/ 6 w 277"/>
                <a:gd name="T53" fmla="*/ 138 h 277"/>
                <a:gd name="T54" fmla="*/ 0 w 277"/>
                <a:gd name="T55" fmla="*/ 138 h 277"/>
                <a:gd name="T56" fmla="*/ 7 w 277"/>
                <a:gd name="T57" fmla="*/ 118 h 277"/>
                <a:gd name="T58" fmla="*/ 270 w 277"/>
                <a:gd name="T59" fmla="*/ 117 h 277"/>
                <a:gd name="T60" fmla="*/ 270 w 277"/>
                <a:gd name="T61" fmla="*/ 95 h 277"/>
                <a:gd name="T62" fmla="*/ 270 w 277"/>
                <a:gd name="T63" fmla="*/ 117 h 277"/>
                <a:gd name="T64" fmla="*/ 7 w 277"/>
                <a:gd name="T65" fmla="*/ 96 h 277"/>
                <a:gd name="T66" fmla="*/ 20 w 277"/>
                <a:gd name="T67" fmla="*/ 78 h 277"/>
                <a:gd name="T68" fmla="*/ 257 w 277"/>
                <a:gd name="T69" fmla="*/ 77 h 277"/>
                <a:gd name="T70" fmla="*/ 251 w 277"/>
                <a:gd name="T71" fmla="*/ 56 h 277"/>
                <a:gd name="T72" fmla="*/ 257 w 277"/>
                <a:gd name="T73" fmla="*/ 77 h 277"/>
                <a:gd name="T74" fmla="*/ 27 w 277"/>
                <a:gd name="T75" fmla="*/ 57 h 277"/>
                <a:gd name="T76" fmla="*/ 45 w 277"/>
                <a:gd name="T77" fmla="*/ 44 h 277"/>
                <a:gd name="T78" fmla="*/ 233 w 277"/>
                <a:gd name="T79" fmla="*/ 44 h 277"/>
                <a:gd name="T80" fmla="*/ 220 w 277"/>
                <a:gd name="T81" fmla="*/ 26 h 277"/>
                <a:gd name="T82" fmla="*/ 233 w 277"/>
                <a:gd name="T83" fmla="*/ 44 h 277"/>
                <a:gd name="T84" fmla="*/ 57 w 277"/>
                <a:gd name="T85" fmla="*/ 26 h 277"/>
                <a:gd name="T86" fmla="*/ 78 w 277"/>
                <a:gd name="T87" fmla="*/ 20 h 277"/>
                <a:gd name="T88" fmla="*/ 199 w 277"/>
                <a:gd name="T89" fmla="*/ 19 h 277"/>
                <a:gd name="T90" fmla="*/ 181 w 277"/>
                <a:gd name="T91" fmla="*/ 6 h 277"/>
                <a:gd name="T92" fmla="*/ 199 w 277"/>
                <a:gd name="T93" fmla="*/ 19 h 277"/>
                <a:gd name="T94" fmla="*/ 96 w 277"/>
                <a:gd name="T95" fmla="*/ 7 h 277"/>
                <a:gd name="T96" fmla="*/ 118 w 277"/>
                <a:gd name="T97" fmla="*/ 7 h 277"/>
                <a:gd name="T98" fmla="*/ 159 w 277"/>
                <a:gd name="T99" fmla="*/ 7 h 277"/>
                <a:gd name="T100" fmla="*/ 139 w 277"/>
                <a:gd name="T101" fmla="*/ 5 h 277"/>
                <a:gd name="T102" fmla="*/ 139 w 277"/>
                <a:gd name="T103" fmla="*/ 0 h 277"/>
                <a:gd name="T104" fmla="*/ 159 w 277"/>
                <a:gd name="T105" fmla="*/ 7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77" h="277">
                  <a:moveTo>
                    <a:pt x="139" y="277"/>
                  </a:moveTo>
                  <a:cubicBezTo>
                    <a:pt x="139" y="277"/>
                    <a:pt x="139" y="277"/>
                    <a:pt x="139" y="277"/>
                  </a:cubicBezTo>
                  <a:cubicBezTo>
                    <a:pt x="132" y="277"/>
                    <a:pt x="124" y="276"/>
                    <a:pt x="117" y="275"/>
                  </a:cubicBezTo>
                  <a:cubicBezTo>
                    <a:pt x="118" y="270"/>
                    <a:pt x="118" y="270"/>
                    <a:pt x="118" y="270"/>
                  </a:cubicBezTo>
                  <a:cubicBezTo>
                    <a:pt x="125" y="271"/>
                    <a:pt x="132" y="271"/>
                    <a:pt x="139" y="271"/>
                  </a:cubicBezTo>
                  <a:lnTo>
                    <a:pt x="139" y="277"/>
                  </a:lnTo>
                  <a:close/>
                  <a:moveTo>
                    <a:pt x="161" y="275"/>
                  </a:moveTo>
                  <a:cubicBezTo>
                    <a:pt x="160" y="270"/>
                    <a:pt x="160" y="270"/>
                    <a:pt x="160" y="270"/>
                  </a:cubicBezTo>
                  <a:cubicBezTo>
                    <a:pt x="167" y="268"/>
                    <a:pt x="174" y="267"/>
                    <a:pt x="180" y="265"/>
                  </a:cubicBezTo>
                  <a:cubicBezTo>
                    <a:pt x="182" y="270"/>
                    <a:pt x="182" y="270"/>
                    <a:pt x="182" y="270"/>
                  </a:cubicBezTo>
                  <a:cubicBezTo>
                    <a:pt x="175" y="272"/>
                    <a:pt x="168" y="274"/>
                    <a:pt x="161" y="275"/>
                  </a:cubicBezTo>
                  <a:close/>
                  <a:moveTo>
                    <a:pt x="96" y="270"/>
                  </a:moveTo>
                  <a:cubicBezTo>
                    <a:pt x="89" y="268"/>
                    <a:pt x="83" y="265"/>
                    <a:pt x="76" y="262"/>
                  </a:cubicBezTo>
                  <a:cubicBezTo>
                    <a:pt x="79" y="257"/>
                    <a:pt x="79" y="257"/>
                    <a:pt x="79" y="257"/>
                  </a:cubicBezTo>
                  <a:cubicBezTo>
                    <a:pt x="85" y="260"/>
                    <a:pt x="91" y="263"/>
                    <a:pt x="98" y="265"/>
                  </a:cubicBezTo>
                  <a:lnTo>
                    <a:pt x="96" y="270"/>
                  </a:lnTo>
                  <a:close/>
                  <a:moveTo>
                    <a:pt x="202" y="261"/>
                  </a:moveTo>
                  <a:cubicBezTo>
                    <a:pt x="199" y="257"/>
                    <a:pt x="199" y="257"/>
                    <a:pt x="199" y="257"/>
                  </a:cubicBezTo>
                  <a:cubicBezTo>
                    <a:pt x="206" y="254"/>
                    <a:pt x="212" y="250"/>
                    <a:pt x="217" y="246"/>
                  </a:cubicBezTo>
                  <a:cubicBezTo>
                    <a:pt x="220" y="250"/>
                    <a:pt x="220" y="250"/>
                    <a:pt x="220" y="250"/>
                  </a:cubicBezTo>
                  <a:cubicBezTo>
                    <a:pt x="215" y="254"/>
                    <a:pt x="208" y="258"/>
                    <a:pt x="202" y="261"/>
                  </a:cubicBezTo>
                  <a:close/>
                  <a:moveTo>
                    <a:pt x="58" y="250"/>
                  </a:moveTo>
                  <a:cubicBezTo>
                    <a:pt x="52" y="246"/>
                    <a:pt x="46" y="241"/>
                    <a:pt x="41" y="236"/>
                  </a:cubicBezTo>
                  <a:cubicBezTo>
                    <a:pt x="45" y="232"/>
                    <a:pt x="45" y="232"/>
                    <a:pt x="45" y="232"/>
                  </a:cubicBezTo>
                  <a:cubicBezTo>
                    <a:pt x="50" y="237"/>
                    <a:pt x="55" y="242"/>
                    <a:pt x="61" y="246"/>
                  </a:cubicBezTo>
                  <a:lnTo>
                    <a:pt x="58" y="250"/>
                  </a:lnTo>
                  <a:close/>
                  <a:moveTo>
                    <a:pt x="237" y="236"/>
                  </a:moveTo>
                  <a:cubicBezTo>
                    <a:pt x="233" y="232"/>
                    <a:pt x="233" y="232"/>
                    <a:pt x="233" y="232"/>
                  </a:cubicBezTo>
                  <a:cubicBezTo>
                    <a:pt x="238" y="227"/>
                    <a:pt x="243" y="222"/>
                    <a:pt x="247" y="216"/>
                  </a:cubicBezTo>
                  <a:cubicBezTo>
                    <a:pt x="251" y="219"/>
                    <a:pt x="251" y="219"/>
                    <a:pt x="251" y="219"/>
                  </a:cubicBezTo>
                  <a:cubicBezTo>
                    <a:pt x="247" y="225"/>
                    <a:pt x="242" y="231"/>
                    <a:pt x="237" y="236"/>
                  </a:cubicBezTo>
                  <a:close/>
                  <a:moveTo>
                    <a:pt x="27" y="220"/>
                  </a:moveTo>
                  <a:cubicBezTo>
                    <a:pt x="23" y="214"/>
                    <a:pt x="19" y="208"/>
                    <a:pt x="16" y="201"/>
                  </a:cubicBezTo>
                  <a:cubicBezTo>
                    <a:pt x="20" y="199"/>
                    <a:pt x="20" y="199"/>
                    <a:pt x="20" y="199"/>
                  </a:cubicBezTo>
                  <a:cubicBezTo>
                    <a:pt x="24" y="205"/>
                    <a:pt x="27" y="211"/>
                    <a:pt x="31" y="217"/>
                  </a:cubicBezTo>
                  <a:lnTo>
                    <a:pt x="27" y="220"/>
                  </a:lnTo>
                  <a:close/>
                  <a:moveTo>
                    <a:pt x="262" y="201"/>
                  </a:moveTo>
                  <a:cubicBezTo>
                    <a:pt x="258" y="199"/>
                    <a:pt x="258" y="199"/>
                    <a:pt x="258" y="199"/>
                  </a:cubicBezTo>
                  <a:cubicBezTo>
                    <a:pt x="261" y="192"/>
                    <a:pt x="263" y="186"/>
                    <a:pt x="266" y="179"/>
                  </a:cubicBezTo>
                  <a:cubicBezTo>
                    <a:pt x="271" y="181"/>
                    <a:pt x="271" y="181"/>
                    <a:pt x="271" y="181"/>
                  </a:cubicBezTo>
                  <a:cubicBezTo>
                    <a:pt x="268" y="188"/>
                    <a:pt x="266" y="195"/>
                    <a:pt x="262" y="201"/>
                  </a:cubicBezTo>
                  <a:close/>
                  <a:moveTo>
                    <a:pt x="7" y="181"/>
                  </a:moveTo>
                  <a:cubicBezTo>
                    <a:pt x="5" y="174"/>
                    <a:pt x="3" y="167"/>
                    <a:pt x="2" y="160"/>
                  </a:cubicBezTo>
                  <a:cubicBezTo>
                    <a:pt x="8" y="159"/>
                    <a:pt x="8" y="159"/>
                    <a:pt x="8" y="159"/>
                  </a:cubicBezTo>
                  <a:cubicBezTo>
                    <a:pt x="9" y="166"/>
                    <a:pt x="10" y="173"/>
                    <a:pt x="12" y="179"/>
                  </a:cubicBezTo>
                  <a:lnTo>
                    <a:pt x="7" y="181"/>
                  </a:lnTo>
                  <a:close/>
                  <a:moveTo>
                    <a:pt x="276" y="160"/>
                  </a:moveTo>
                  <a:cubicBezTo>
                    <a:pt x="270" y="159"/>
                    <a:pt x="270" y="159"/>
                    <a:pt x="270" y="159"/>
                  </a:cubicBezTo>
                  <a:cubicBezTo>
                    <a:pt x="271" y="152"/>
                    <a:pt x="272" y="145"/>
                    <a:pt x="272" y="138"/>
                  </a:cubicBezTo>
                  <a:cubicBezTo>
                    <a:pt x="272" y="138"/>
                    <a:pt x="272" y="138"/>
                    <a:pt x="272" y="138"/>
                  </a:cubicBezTo>
                  <a:cubicBezTo>
                    <a:pt x="277" y="138"/>
                    <a:pt x="277" y="138"/>
                    <a:pt x="277" y="138"/>
                  </a:cubicBezTo>
                  <a:cubicBezTo>
                    <a:pt x="277" y="138"/>
                    <a:pt x="277" y="138"/>
                    <a:pt x="277" y="138"/>
                  </a:cubicBezTo>
                  <a:cubicBezTo>
                    <a:pt x="277" y="145"/>
                    <a:pt x="277" y="153"/>
                    <a:pt x="276" y="160"/>
                  </a:cubicBezTo>
                  <a:close/>
                  <a:moveTo>
                    <a:pt x="6" y="138"/>
                  </a:moveTo>
                  <a:cubicBezTo>
                    <a:pt x="0" y="138"/>
                    <a:pt x="0" y="138"/>
                    <a:pt x="0" y="138"/>
                  </a:cubicBezTo>
                  <a:cubicBezTo>
                    <a:pt x="0" y="138"/>
                    <a:pt x="0" y="138"/>
                    <a:pt x="0" y="138"/>
                  </a:cubicBezTo>
                  <a:cubicBezTo>
                    <a:pt x="0" y="131"/>
                    <a:pt x="1" y="124"/>
                    <a:pt x="2" y="117"/>
                  </a:cubicBezTo>
                  <a:cubicBezTo>
                    <a:pt x="7" y="118"/>
                    <a:pt x="7" y="118"/>
                    <a:pt x="7" y="118"/>
                  </a:cubicBezTo>
                  <a:cubicBezTo>
                    <a:pt x="6" y="124"/>
                    <a:pt x="6" y="131"/>
                    <a:pt x="6" y="138"/>
                  </a:cubicBezTo>
                  <a:close/>
                  <a:moveTo>
                    <a:pt x="270" y="117"/>
                  </a:moveTo>
                  <a:cubicBezTo>
                    <a:pt x="269" y="110"/>
                    <a:pt x="268" y="103"/>
                    <a:pt x="265" y="97"/>
                  </a:cubicBezTo>
                  <a:cubicBezTo>
                    <a:pt x="270" y="95"/>
                    <a:pt x="270" y="95"/>
                    <a:pt x="270" y="95"/>
                  </a:cubicBezTo>
                  <a:cubicBezTo>
                    <a:pt x="273" y="102"/>
                    <a:pt x="274" y="109"/>
                    <a:pt x="276" y="116"/>
                  </a:cubicBezTo>
                  <a:lnTo>
                    <a:pt x="270" y="117"/>
                  </a:lnTo>
                  <a:close/>
                  <a:moveTo>
                    <a:pt x="12" y="97"/>
                  </a:moveTo>
                  <a:cubicBezTo>
                    <a:pt x="7" y="96"/>
                    <a:pt x="7" y="96"/>
                    <a:pt x="7" y="96"/>
                  </a:cubicBezTo>
                  <a:cubicBezTo>
                    <a:pt x="9" y="89"/>
                    <a:pt x="12" y="82"/>
                    <a:pt x="15" y="76"/>
                  </a:cubicBezTo>
                  <a:cubicBezTo>
                    <a:pt x="20" y="78"/>
                    <a:pt x="20" y="78"/>
                    <a:pt x="20" y="78"/>
                  </a:cubicBezTo>
                  <a:cubicBezTo>
                    <a:pt x="17" y="84"/>
                    <a:pt x="14" y="91"/>
                    <a:pt x="12" y="97"/>
                  </a:cubicBezTo>
                  <a:close/>
                  <a:moveTo>
                    <a:pt x="257" y="77"/>
                  </a:moveTo>
                  <a:cubicBezTo>
                    <a:pt x="254" y="71"/>
                    <a:pt x="250" y="65"/>
                    <a:pt x="246" y="60"/>
                  </a:cubicBezTo>
                  <a:cubicBezTo>
                    <a:pt x="251" y="56"/>
                    <a:pt x="251" y="56"/>
                    <a:pt x="251" y="56"/>
                  </a:cubicBezTo>
                  <a:cubicBezTo>
                    <a:pt x="255" y="62"/>
                    <a:pt x="259" y="68"/>
                    <a:pt x="262" y="75"/>
                  </a:cubicBezTo>
                  <a:lnTo>
                    <a:pt x="257" y="77"/>
                  </a:lnTo>
                  <a:close/>
                  <a:moveTo>
                    <a:pt x="31" y="60"/>
                  </a:moveTo>
                  <a:cubicBezTo>
                    <a:pt x="27" y="57"/>
                    <a:pt x="27" y="57"/>
                    <a:pt x="27" y="57"/>
                  </a:cubicBezTo>
                  <a:cubicBezTo>
                    <a:pt x="31" y="51"/>
                    <a:pt x="36" y="46"/>
                    <a:pt x="41" y="40"/>
                  </a:cubicBezTo>
                  <a:cubicBezTo>
                    <a:pt x="45" y="44"/>
                    <a:pt x="45" y="44"/>
                    <a:pt x="45" y="44"/>
                  </a:cubicBezTo>
                  <a:cubicBezTo>
                    <a:pt x="40" y="49"/>
                    <a:pt x="35" y="55"/>
                    <a:pt x="31" y="60"/>
                  </a:cubicBezTo>
                  <a:close/>
                  <a:moveTo>
                    <a:pt x="233" y="44"/>
                  </a:moveTo>
                  <a:cubicBezTo>
                    <a:pt x="228" y="39"/>
                    <a:pt x="222" y="34"/>
                    <a:pt x="217" y="30"/>
                  </a:cubicBezTo>
                  <a:cubicBezTo>
                    <a:pt x="220" y="26"/>
                    <a:pt x="220" y="26"/>
                    <a:pt x="220" y="26"/>
                  </a:cubicBezTo>
                  <a:cubicBezTo>
                    <a:pt x="226" y="30"/>
                    <a:pt x="231" y="35"/>
                    <a:pt x="236" y="40"/>
                  </a:cubicBezTo>
                  <a:lnTo>
                    <a:pt x="233" y="44"/>
                  </a:lnTo>
                  <a:close/>
                  <a:moveTo>
                    <a:pt x="60" y="31"/>
                  </a:moveTo>
                  <a:cubicBezTo>
                    <a:pt x="57" y="26"/>
                    <a:pt x="57" y="26"/>
                    <a:pt x="57" y="26"/>
                  </a:cubicBezTo>
                  <a:cubicBezTo>
                    <a:pt x="63" y="22"/>
                    <a:pt x="69" y="18"/>
                    <a:pt x="76" y="15"/>
                  </a:cubicBezTo>
                  <a:cubicBezTo>
                    <a:pt x="78" y="20"/>
                    <a:pt x="78" y="20"/>
                    <a:pt x="78" y="20"/>
                  </a:cubicBezTo>
                  <a:cubicBezTo>
                    <a:pt x="72" y="23"/>
                    <a:pt x="66" y="27"/>
                    <a:pt x="60" y="31"/>
                  </a:cubicBezTo>
                  <a:close/>
                  <a:moveTo>
                    <a:pt x="199" y="19"/>
                  </a:moveTo>
                  <a:cubicBezTo>
                    <a:pt x="193" y="16"/>
                    <a:pt x="186" y="14"/>
                    <a:pt x="180" y="11"/>
                  </a:cubicBezTo>
                  <a:cubicBezTo>
                    <a:pt x="181" y="6"/>
                    <a:pt x="181" y="6"/>
                    <a:pt x="181" y="6"/>
                  </a:cubicBezTo>
                  <a:cubicBezTo>
                    <a:pt x="188" y="8"/>
                    <a:pt x="195" y="11"/>
                    <a:pt x="201" y="15"/>
                  </a:cubicBezTo>
                  <a:lnTo>
                    <a:pt x="199" y="19"/>
                  </a:lnTo>
                  <a:close/>
                  <a:moveTo>
                    <a:pt x="97" y="12"/>
                  </a:moveTo>
                  <a:cubicBezTo>
                    <a:pt x="96" y="7"/>
                    <a:pt x="96" y="7"/>
                    <a:pt x="96" y="7"/>
                  </a:cubicBezTo>
                  <a:cubicBezTo>
                    <a:pt x="103" y="4"/>
                    <a:pt x="110" y="3"/>
                    <a:pt x="117" y="1"/>
                  </a:cubicBezTo>
                  <a:cubicBezTo>
                    <a:pt x="118" y="7"/>
                    <a:pt x="118" y="7"/>
                    <a:pt x="118" y="7"/>
                  </a:cubicBezTo>
                  <a:cubicBezTo>
                    <a:pt x="111" y="8"/>
                    <a:pt x="104" y="10"/>
                    <a:pt x="97" y="12"/>
                  </a:cubicBezTo>
                  <a:close/>
                  <a:moveTo>
                    <a:pt x="159" y="7"/>
                  </a:moveTo>
                  <a:cubicBezTo>
                    <a:pt x="153" y="6"/>
                    <a:pt x="146" y="5"/>
                    <a:pt x="139" y="5"/>
                  </a:cubicBezTo>
                  <a:cubicBezTo>
                    <a:pt x="139" y="5"/>
                    <a:pt x="139" y="5"/>
                    <a:pt x="139" y="5"/>
                  </a:cubicBezTo>
                  <a:cubicBezTo>
                    <a:pt x="138" y="0"/>
                    <a:pt x="138" y="0"/>
                    <a:pt x="138" y="0"/>
                  </a:cubicBezTo>
                  <a:cubicBezTo>
                    <a:pt x="139" y="0"/>
                    <a:pt x="139" y="0"/>
                    <a:pt x="139" y="0"/>
                  </a:cubicBezTo>
                  <a:cubicBezTo>
                    <a:pt x="146" y="0"/>
                    <a:pt x="153" y="0"/>
                    <a:pt x="160" y="1"/>
                  </a:cubicBezTo>
                  <a:lnTo>
                    <a:pt x="159" y="7"/>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75" name="Oval 124"/>
            <p:cNvSpPr>
              <a:spLocks noChangeArrowheads="1"/>
            </p:cNvSpPr>
            <p:nvPr/>
          </p:nvSpPr>
          <p:spPr bwMode="auto">
            <a:xfrm>
              <a:off x="10093325" y="1385888"/>
              <a:ext cx="511175" cy="511175"/>
            </a:xfrm>
            <a:prstGeom prst="ellipse">
              <a:avLst/>
            </a:prstGeom>
            <a:solidFill>
              <a:srgbClr val="E6E6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76" name="Freeform 125"/>
            <p:cNvSpPr>
              <a:spLocks noEditPoints="1"/>
            </p:cNvSpPr>
            <p:nvPr/>
          </p:nvSpPr>
          <p:spPr bwMode="auto">
            <a:xfrm>
              <a:off x="10086975" y="1381125"/>
              <a:ext cx="523875" cy="523875"/>
            </a:xfrm>
            <a:custGeom>
              <a:avLst/>
              <a:gdLst>
                <a:gd name="T0" fmla="*/ 118 w 236"/>
                <a:gd name="T1" fmla="*/ 235 h 235"/>
                <a:gd name="T2" fmla="*/ 108 w 236"/>
                <a:gd name="T3" fmla="*/ 229 h 235"/>
                <a:gd name="T4" fmla="*/ 129 w 236"/>
                <a:gd name="T5" fmla="*/ 229 h 235"/>
                <a:gd name="T6" fmla="*/ 118 w 236"/>
                <a:gd name="T7" fmla="*/ 235 h 235"/>
                <a:gd name="T8" fmla="*/ 66 w 236"/>
                <a:gd name="T9" fmla="*/ 222 h 235"/>
                <a:gd name="T10" fmla="*/ 88 w 236"/>
                <a:gd name="T11" fmla="*/ 225 h 235"/>
                <a:gd name="T12" fmla="*/ 150 w 236"/>
                <a:gd name="T13" fmla="*/ 230 h 235"/>
                <a:gd name="T14" fmla="*/ 168 w 236"/>
                <a:gd name="T15" fmla="*/ 217 h 235"/>
                <a:gd name="T16" fmla="*/ 150 w 236"/>
                <a:gd name="T17" fmla="*/ 230 h 235"/>
                <a:gd name="T18" fmla="*/ 31 w 236"/>
                <a:gd name="T19" fmla="*/ 196 h 235"/>
                <a:gd name="T20" fmla="*/ 51 w 236"/>
                <a:gd name="T21" fmla="*/ 207 h 235"/>
                <a:gd name="T22" fmla="*/ 189 w 236"/>
                <a:gd name="T23" fmla="*/ 211 h 235"/>
                <a:gd name="T24" fmla="*/ 201 w 236"/>
                <a:gd name="T25" fmla="*/ 193 h 235"/>
                <a:gd name="T26" fmla="*/ 189 w 236"/>
                <a:gd name="T27" fmla="*/ 211 h 235"/>
                <a:gd name="T28" fmla="*/ 8 w 236"/>
                <a:gd name="T29" fmla="*/ 160 h 235"/>
                <a:gd name="T30" fmla="*/ 23 w 236"/>
                <a:gd name="T31" fmla="*/ 176 h 235"/>
                <a:gd name="T32" fmla="*/ 218 w 236"/>
                <a:gd name="T33" fmla="*/ 179 h 235"/>
                <a:gd name="T34" fmla="*/ 223 w 236"/>
                <a:gd name="T35" fmla="*/ 157 h 235"/>
                <a:gd name="T36" fmla="*/ 218 w 236"/>
                <a:gd name="T37" fmla="*/ 179 h 235"/>
                <a:gd name="T38" fmla="*/ 0 w 236"/>
                <a:gd name="T39" fmla="*/ 117 h 235"/>
                <a:gd name="T40" fmla="*/ 8 w 236"/>
                <a:gd name="T41" fmla="*/ 138 h 235"/>
                <a:gd name="T42" fmla="*/ 234 w 236"/>
                <a:gd name="T43" fmla="*/ 139 h 235"/>
                <a:gd name="T44" fmla="*/ 230 w 236"/>
                <a:gd name="T45" fmla="*/ 117 h 235"/>
                <a:gd name="T46" fmla="*/ 236 w 236"/>
                <a:gd name="T47" fmla="*/ 116 h 235"/>
                <a:gd name="T48" fmla="*/ 234 w 236"/>
                <a:gd name="T49" fmla="*/ 139 h 235"/>
                <a:gd name="T50" fmla="*/ 2 w 236"/>
                <a:gd name="T51" fmla="*/ 96 h 235"/>
                <a:gd name="T52" fmla="*/ 13 w 236"/>
                <a:gd name="T53" fmla="*/ 77 h 235"/>
                <a:gd name="T54" fmla="*/ 228 w 236"/>
                <a:gd name="T55" fmla="*/ 96 h 235"/>
                <a:gd name="T56" fmla="*/ 228 w 236"/>
                <a:gd name="T57" fmla="*/ 74 h 235"/>
                <a:gd name="T58" fmla="*/ 228 w 236"/>
                <a:gd name="T59" fmla="*/ 96 h 235"/>
                <a:gd name="T60" fmla="*/ 18 w 236"/>
                <a:gd name="T61" fmla="*/ 55 h 235"/>
                <a:gd name="T62" fmla="*/ 35 w 236"/>
                <a:gd name="T63" fmla="*/ 41 h 235"/>
                <a:gd name="T64" fmla="*/ 213 w 236"/>
                <a:gd name="T65" fmla="*/ 57 h 235"/>
                <a:gd name="T66" fmla="*/ 205 w 236"/>
                <a:gd name="T67" fmla="*/ 37 h 235"/>
                <a:gd name="T68" fmla="*/ 213 w 236"/>
                <a:gd name="T69" fmla="*/ 57 h 235"/>
                <a:gd name="T70" fmla="*/ 47 w 236"/>
                <a:gd name="T71" fmla="*/ 23 h 235"/>
                <a:gd name="T72" fmla="*/ 68 w 236"/>
                <a:gd name="T73" fmla="*/ 16 h 235"/>
                <a:gd name="T74" fmla="*/ 186 w 236"/>
                <a:gd name="T75" fmla="*/ 27 h 235"/>
                <a:gd name="T76" fmla="*/ 170 w 236"/>
                <a:gd name="T77" fmla="*/ 11 h 235"/>
                <a:gd name="T78" fmla="*/ 186 w 236"/>
                <a:gd name="T79" fmla="*/ 27 h 235"/>
                <a:gd name="T80" fmla="*/ 86 w 236"/>
                <a:gd name="T81" fmla="*/ 4 h 235"/>
                <a:gd name="T82" fmla="*/ 107 w 236"/>
                <a:gd name="T83" fmla="*/ 5 h 235"/>
                <a:gd name="T84" fmla="*/ 149 w 236"/>
                <a:gd name="T85" fmla="*/ 9 h 235"/>
                <a:gd name="T86" fmla="*/ 129 w 236"/>
                <a:gd name="T87" fmla="*/ 0 h 235"/>
                <a:gd name="T88" fmla="*/ 149 w 236"/>
                <a:gd name="T89" fmla="*/ 9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36" h="235">
                  <a:moveTo>
                    <a:pt x="118" y="235"/>
                  </a:moveTo>
                  <a:cubicBezTo>
                    <a:pt x="118" y="235"/>
                    <a:pt x="118" y="235"/>
                    <a:pt x="118" y="235"/>
                  </a:cubicBezTo>
                  <a:cubicBezTo>
                    <a:pt x="115" y="235"/>
                    <a:pt x="111" y="234"/>
                    <a:pt x="107" y="234"/>
                  </a:cubicBezTo>
                  <a:cubicBezTo>
                    <a:pt x="108" y="229"/>
                    <a:pt x="108" y="229"/>
                    <a:pt x="108" y="229"/>
                  </a:cubicBezTo>
                  <a:cubicBezTo>
                    <a:pt x="111" y="229"/>
                    <a:pt x="115" y="229"/>
                    <a:pt x="118" y="229"/>
                  </a:cubicBezTo>
                  <a:cubicBezTo>
                    <a:pt x="122" y="229"/>
                    <a:pt x="125" y="229"/>
                    <a:pt x="129" y="229"/>
                  </a:cubicBezTo>
                  <a:cubicBezTo>
                    <a:pt x="129" y="234"/>
                    <a:pt x="129" y="234"/>
                    <a:pt x="129" y="234"/>
                  </a:cubicBezTo>
                  <a:cubicBezTo>
                    <a:pt x="126" y="234"/>
                    <a:pt x="122" y="235"/>
                    <a:pt x="118" y="235"/>
                  </a:cubicBezTo>
                  <a:close/>
                  <a:moveTo>
                    <a:pt x="86" y="230"/>
                  </a:moveTo>
                  <a:cubicBezTo>
                    <a:pt x="79" y="228"/>
                    <a:pt x="72" y="226"/>
                    <a:pt x="66" y="222"/>
                  </a:cubicBezTo>
                  <a:cubicBezTo>
                    <a:pt x="68" y="218"/>
                    <a:pt x="68" y="218"/>
                    <a:pt x="68" y="218"/>
                  </a:cubicBezTo>
                  <a:cubicBezTo>
                    <a:pt x="74" y="221"/>
                    <a:pt x="81" y="223"/>
                    <a:pt x="88" y="225"/>
                  </a:cubicBezTo>
                  <a:lnTo>
                    <a:pt x="86" y="230"/>
                  </a:lnTo>
                  <a:close/>
                  <a:moveTo>
                    <a:pt x="150" y="230"/>
                  </a:moveTo>
                  <a:cubicBezTo>
                    <a:pt x="149" y="225"/>
                    <a:pt x="149" y="225"/>
                    <a:pt x="149" y="225"/>
                  </a:cubicBezTo>
                  <a:cubicBezTo>
                    <a:pt x="156" y="223"/>
                    <a:pt x="162" y="220"/>
                    <a:pt x="168" y="217"/>
                  </a:cubicBezTo>
                  <a:cubicBezTo>
                    <a:pt x="171" y="222"/>
                    <a:pt x="171" y="222"/>
                    <a:pt x="171" y="222"/>
                  </a:cubicBezTo>
                  <a:cubicBezTo>
                    <a:pt x="164" y="225"/>
                    <a:pt x="157" y="228"/>
                    <a:pt x="150" y="230"/>
                  </a:cubicBezTo>
                  <a:close/>
                  <a:moveTo>
                    <a:pt x="47" y="211"/>
                  </a:moveTo>
                  <a:cubicBezTo>
                    <a:pt x="42" y="207"/>
                    <a:pt x="36" y="202"/>
                    <a:pt x="31" y="196"/>
                  </a:cubicBezTo>
                  <a:cubicBezTo>
                    <a:pt x="35" y="193"/>
                    <a:pt x="35" y="193"/>
                    <a:pt x="35" y="193"/>
                  </a:cubicBezTo>
                  <a:cubicBezTo>
                    <a:pt x="40" y="198"/>
                    <a:pt x="45" y="202"/>
                    <a:pt x="51" y="207"/>
                  </a:cubicBezTo>
                  <a:lnTo>
                    <a:pt x="47" y="211"/>
                  </a:lnTo>
                  <a:close/>
                  <a:moveTo>
                    <a:pt x="189" y="211"/>
                  </a:moveTo>
                  <a:cubicBezTo>
                    <a:pt x="186" y="206"/>
                    <a:pt x="186" y="206"/>
                    <a:pt x="186" y="206"/>
                  </a:cubicBezTo>
                  <a:cubicBezTo>
                    <a:pt x="191" y="202"/>
                    <a:pt x="197" y="198"/>
                    <a:pt x="201" y="193"/>
                  </a:cubicBezTo>
                  <a:cubicBezTo>
                    <a:pt x="205" y="196"/>
                    <a:pt x="205" y="196"/>
                    <a:pt x="205" y="196"/>
                  </a:cubicBezTo>
                  <a:cubicBezTo>
                    <a:pt x="200" y="201"/>
                    <a:pt x="195" y="206"/>
                    <a:pt x="189" y="211"/>
                  </a:cubicBezTo>
                  <a:close/>
                  <a:moveTo>
                    <a:pt x="18" y="179"/>
                  </a:moveTo>
                  <a:cubicBezTo>
                    <a:pt x="14" y="173"/>
                    <a:pt x="11" y="166"/>
                    <a:pt x="8" y="160"/>
                  </a:cubicBezTo>
                  <a:cubicBezTo>
                    <a:pt x="13" y="158"/>
                    <a:pt x="13" y="158"/>
                    <a:pt x="13" y="158"/>
                  </a:cubicBezTo>
                  <a:cubicBezTo>
                    <a:pt x="16" y="164"/>
                    <a:pt x="19" y="170"/>
                    <a:pt x="23" y="176"/>
                  </a:cubicBezTo>
                  <a:lnTo>
                    <a:pt x="18" y="179"/>
                  </a:lnTo>
                  <a:close/>
                  <a:moveTo>
                    <a:pt x="218" y="179"/>
                  </a:moveTo>
                  <a:cubicBezTo>
                    <a:pt x="214" y="176"/>
                    <a:pt x="214" y="176"/>
                    <a:pt x="214" y="176"/>
                  </a:cubicBezTo>
                  <a:cubicBezTo>
                    <a:pt x="217" y="170"/>
                    <a:pt x="220" y="164"/>
                    <a:pt x="223" y="157"/>
                  </a:cubicBezTo>
                  <a:cubicBezTo>
                    <a:pt x="228" y="159"/>
                    <a:pt x="228" y="159"/>
                    <a:pt x="228" y="159"/>
                  </a:cubicBezTo>
                  <a:cubicBezTo>
                    <a:pt x="225" y="166"/>
                    <a:pt x="222" y="173"/>
                    <a:pt x="218" y="179"/>
                  </a:cubicBezTo>
                  <a:close/>
                  <a:moveTo>
                    <a:pt x="2" y="139"/>
                  </a:moveTo>
                  <a:cubicBezTo>
                    <a:pt x="1" y="132"/>
                    <a:pt x="0" y="124"/>
                    <a:pt x="0" y="117"/>
                  </a:cubicBezTo>
                  <a:cubicBezTo>
                    <a:pt x="6" y="117"/>
                    <a:pt x="6" y="117"/>
                    <a:pt x="6" y="117"/>
                  </a:cubicBezTo>
                  <a:cubicBezTo>
                    <a:pt x="6" y="124"/>
                    <a:pt x="7" y="131"/>
                    <a:pt x="8" y="138"/>
                  </a:cubicBezTo>
                  <a:lnTo>
                    <a:pt x="2" y="139"/>
                  </a:lnTo>
                  <a:close/>
                  <a:moveTo>
                    <a:pt x="234" y="139"/>
                  </a:moveTo>
                  <a:cubicBezTo>
                    <a:pt x="229" y="138"/>
                    <a:pt x="229" y="138"/>
                    <a:pt x="229" y="138"/>
                  </a:cubicBezTo>
                  <a:cubicBezTo>
                    <a:pt x="230" y="131"/>
                    <a:pt x="230" y="124"/>
                    <a:pt x="230" y="117"/>
                  </a:cubicBezTo>
                  <a:cubicBezTo>
                    <a:pt x="230" y="116"/>
                    <a:pt x="230" y="116"/>
                    <a:pt x="230" y="116"/>
                  </a:cubicBezTo>
                  <a:cubicBezTo>
                    <a:pt x="236" y="116"/>
                    <a:pt x="236" y="116"/>
                    <a:pt x="236" y="116"/>
                  </a:cubicBezTo>
                  <a:cubicBezTo>
                    <a:pt x="236" y="117"/>
                    <a:pt x="236" y="117"/>
                    <a:pt x="236" y="117"/>
                  </a:cubicBezTo>
                  <a:cubicBezTo>
                    <a:pt x="236" y="124"/>
                    <a:pt x="235" y="131"/>
                    <a:pt x="234" y="139"/>
                  </a:cubicBezTo>
                  <a:close/>
                  <a:moveTo>
                    <a:pt x="8" y="97"/>
                  </a:moveTo>
                  <a:cubicBezTo>
                    <a:pt x="2" y="96"/>
                    <a:pt x="2" y="96"/>
                    <a:pt x="2" y="96"/>
                  </a:cubicBezTo>
                  <a:cubicBezTo>
                    <a:pt x="4" y="88"/>
                    <a:pt x="6" y="81"/>
                    <a:pt x="8" y="75"/>
                  </a:cubicBezTo>
                  <a:cubicBezTo>
                    <a:pt x="13" y="77"/>
                    <a:pt x="13" y="77"/>
                    <a:pt x="13" y="77"/>
                  </a:cubicBezTo>
                  <a:cubicBezTo>
                    <a:pt x="11" y="83"/>
                    <a:pt x="9" y="90"/>
                    <a:pt x="8" y="97"/>
                  </a:cubicBezTo>
                  <a:close/>
                  <a:moveTo>
                    <a:pt x="228" y="96"/>
                  </a:moveTo>
                  <a:cubicBezTo>
                    <a:pt x="227" y="89"/>
                    <a:pt x="225" y="82"/>
                    <a:pt x="223" y="76"/>
                  </a:cubicBezTo>
                  <a:cubicBezTo>
                    <a:pt x="228" y="74"/>
                    <a:pt x="228" y="74"/>
                    <a:pt x="228" y="74"/>
                  </a:cubicBezTo>
                  <a:cubicBezTo>
                    <a:pt x="230" y="81"/>
                    <a:pt x="232" y="88"/>
                    <a:pt x="234" y="95"/>
                  </a:cubicBezTo>
                  <a:lnTo>
                    <a:pt x="228" y="96"/>
                  </a:lnTo>
                  <a:close/>
                  <a:moveTo>
                    <a:pt x="23" y="58"/>
                  </a:moveTo>
                  <a:cubicBezTo>
                    <a:pt x="18" y="55"/>
                    <a:pt x="18" y="55"/>
                    <a:pt x="18" y="55"/>
                  </a:cubicBezTo>
                  <a:cubicBezTo>
                    <a:pt x="22" y="49"/>
                    <a:pt x="26" y="43"/>
                    <a:pt x="31" y="38"/>
                  </a:cubicBezTo>
                  <a:cubicBezTo>
                    <a:pt x="35" y="41"/>
                    <a:pt x="35" y="41"/>
                    <a:pt x="35" y="41"/>
                  </a:cubicBezTo>
                  <a:cubicBezTo>
                    <a:pt x="30" y="47"/>
                    <a:pt x="26" y="52"/>
                    <a:pt x="23" y="58"/>
                  </a:cubicBezTo>
                  <a:close/>
                  <a:moveTo>
                    <a:pt x="213" y="57"/>
                  </a:moveTo>
                  <a:cubicBezTo>
                    <a:pt x="210" y="52"/>
                    <a:pt x="206" y="46"/>
                    <a:pt x="201" y="41"/>
                  </a:cubicBezTo>
                  <a:cubicBezTo>
                    <a:pt x="205" y="37"/>
                    <a:pt x="205" y="37"/>
                    <a:pt x="205" y="37"/>
                  </a:cubicBezTo>
                  <a:cubicBezTo>
                    <a:pt x="210" y="43"/>
                    <a:pt x="214" y="48"/>
                    <a:pt x="218" y="55"/>
                  </a:cubicBezTo>
                  <a:lnTo>
                    <a:pt x="213" y="57"/>
                  </a:lnTo>
                  <a:close/>
                  <a:moveTo>
                    <a:pt x="50" y="27"/>
                  </a:moveTo>
                  <a:cubicBezTo>
                    <a:pt x="47" y="23"/>
                    <a:pt x="47" y="23"/>
                    <a:pt x="47" y="23"/>
                  </a:cubicBezTo>
                  <a:cubicBezTo>
                    <a:pt x="53" y="19"/>
                    <a:pt x="59" y="15"/>
                    <a:pt x="65" y="12"/>
                  </a:cubicBezTo>
                  <a:cubicBezTo>
                    <a:pt x="68" y="16"/>
                    <a:pt x="68" y="16"/>
                    <a:pt x="68" y="16"/>
                  </a:cubicBezTo>
                  <a:cubicBezTo>
                    <a:pt x="62" y="20"/>
                    <a:pt x="56" y="23"/>
                    <a:pt x="50" y="27"/>
                  </a:cubicBezTo>
                  <a:close/>
                  <a:moveTo>
                    <a:pt x="186" y="27"/>
                  </a:moveTo>
                  <a:cubicBezTo>
                    <a:pt x="180" y="23"/>
                    <a:pt x="174" y="19"/>
                    <a:pt x="168" y="16"/>
                  </a:cubicBezTo>
                  <a:cubicBezTo>
                    <a:pt x="170" y="11"/>
                    <a:pt x="170" y="11"/>
                    <a:pt x="170" y="11"/>
                  </a:cubicBezTo>
                  <a:cubicBezTo>
                    <a:pt x="177" y="15"/>
                    <a:pt x="183" y="18"/>
                    <a:pt x="189" y="23"/>
                  </a:cubicBezTo>
                  <a:lnTo>
                    <a:pt x="186" y="27"/>
                  </a:lnTo>
                  <a:close/>
                  <a:moveTo>
                    <a:pt x="87" y="9"/>
                  </a:moveTo>
                  <a:cubicBezTo>
                    <a:pt x="86" y="4"/>
                    <a:pt x="86" y="4"/>
                    <a:pt x="86" y="4"/>
                  </a:cubicBezTo>
                  <a:cubicBezTo>
                    <a:pt x="93" y="2"/>
                    <a:pt x="100" y="0"/>
                    <a:pt x="107" y="0"/>
                  </a:cubicBezTo>
                  <a:cubicBezTo>
                    <a:pt x="107" y="5"/>
                    <a:pt x="107" y="5"/>
                    <a:pt x="107" y="5"/>
                  </a:cubicBezTo>
                  <a:cubicBezTo>
                    <a:pt x="101" y="6"/>
                    <a:pt x="94" y="7"/>
                    <a:pt x="87" y="9"/>
                  </a:cubicBezTo>
                  <a:close/>
                  <a:moveTo>
                    <a:pt x="149" y="9"/>
                  </a:moveTo>
                  <a:cubicBezTo>
                    <a:pt x="142" y="7"/>
                    <a:pt x="135" y="6"/>
                    <a:pt x="128" y="5"/>
                  </a:cubicBezTo>
                  <a:cubicBezTo>
                    <a:pt x="129" y="0"/>
                    <a:pt x="129" y="0"/>
                    <a:pt x="129" y="0"/>
                  </a:cubicBezTo>
                  <a:cubicBezTo>
                    <a:pt x="136" y="0"/>
                    <a:pt x="143" y="2"/>
                    <a:pt x="150" y="4"/>
                  </a:cubicBezTo>
                  <a:lnTo>
                    <a:pt x="149" y="9"/>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77" name="Oval 126"/>
            <p:cNvSpPr>
              <a:spLocks noChangeArrowheads="1"/>
            </p:cNvSpPr>
            <p:nvPr/>
          </p:nvSpPr>
          <p:spPr bwMode="auto">
            <a:xfrm>
              <a:off x="10093325" y="1484313"/>
              <a:ext cx="412750" cy="412750"/>
            </a:xfrm>
            <a:prstGeom prst="ellipse">
              <a:avLst/>
            </a:pr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78" name="Freeform 127"/>
            <p:cNvSpPr>
              <a:spLocks noEditPoints="1"/>
            </p:cNvSpPr>
            <p:nvPr/>
          </p:nvSpPr>
          <p:spPr bwMode="auto">
            <a:xfrm>
              <a:off x="10086975" y="1477963"/>
              <a:ext cx="427038" cy="427038"/>
            </a:xfrm>
            <a:custGeom>
              <a:avLst/>
              <a:gdLst>
                <a:gd name="T0" fmla="*/ 96 w 192"/>
                <a:gd name="T1" fmla="*/ 186 h 192"/>
                <a:gd name="T2" fmla="*/ 117 w 192"/>
                <a:gd name="T3" fmla="*/ 189 h 192"/>
                <a:gd name="T4" fmla="*/ 75 w 192"/>
                <a:gd name="T5" fmla="*/ 189 h 192"/>
                <a:gd name="T6" fmla="*/ 57 w 192"/>
                <a:gd name="T7" fmla="*/ 177 h 192"/>
                <a:gd name="T8" fmla="*/ 75 w 192"/>
                <a:gd name="T9" fmla="*/ 189 h 192"/>
                <a:gd name="T10" fmla="*/ 135 w 192"/>
                <a:gd name="T11" fmla="*/ 177 h 192"/>
                <a:gd name="T12" fmla="*/ 156 w 192"/>
                <a:gd name="T13" fmla="*/ 171 h 192"/>
                <a:gd name="T14" fmla="*/ 37 w 192"/>
                <a:gd name="T15" fmla="*/ 171 h 192"/>
                <a:gd name="T16" fmla="*/ 26 w 192"/>
                <a:gd name="T17" fmla="*/ 152 h 192"/>
                <a:gd name="T18" fmla="*/ 37 w 192"/>
                <a:gd name="T19" fmla="*/ 171 h 192"/>
                <a:gd name="T20" fmla="*/ 167 w 192"/>
                <a:gd name="T21" fmla="*/ 152 h 192"/>
                <a:gd name="T22" fmla="*/ 182 w 192"/>
                <a:gd name="T23" fmla="*/ 137 h 192"/>
                <a:gd name="T24" fmla="*/ 10 w 192"/>
                <a:gd name="T25" fmla="*/ 138 h 192"/>
                <a:gd name="T26" fmla="*/ 8 w 192"/>
                <a:gd name="T27" fmla="*/ 116 h 192"/>
                <a:gd name="T28" fmla="*/ 10 w 192"/>
                <a:gd name="T29" fmla="*/ 138 h 192"/>
                <a:gd name="T30" fmla="*/ 184 w 192"/>
                <a:gd name="T31" fmla="*/ 116 h 192"/>
                <a:gd name="T32" fmla="*/ 186 w 192"/>
                <a:gd name="T33" fmla="*/ 96 h 192"/>
                <a:gd name="T34" fmla="*/ 192 w 192"/>
                <a:gd name="T35" fmla="*/ 96 h 192"/>
                <a:gd name="T36" fmla="*/ 0 w 192"/>
                <a:gd name="T37" fmla="*/ 96 h 192"/>
                <a:gd name="T38" fmla="*/ 3 w 192"/>
                <a:gd name="T39" fmla="*/ 75 h 192"/>
                <a:gd name="T40" fmla="*/ 6 w 192"/>
                <a:gd name="T41" fmla="*/ 96 h 192"/>
                <a:gd name="T42" fmla="*/ 184 w 192"/>
                <a:gd name="T43" fmla="*/ 76 h 192"/>
                <a:gd name="T44" fmla="*/ 182 w 192"/>
                <a:gd name="T45" fmla="*/ 54 h 192"/>
                <a:gd name="T46" fmla="*/ 184 w 192"/>
                <a:gd name="T47" fmla="*/ 76 h 192"/>
                <a:gd name="T48" fmla="*/ 10 w 192"/>
                <a:gd name="T49" fmla="*/ 55 h 192"/>
                <a:gd name="T50" fmla="*/ 25 w 192"/>
                <a:gd name="T51" fmla="*/ 40 h 192"/>
                <a:gd name="T52" fmla="*/ 166 w 192"/>
                <a:gd name="T53" fmla="*/ 40 h 192"/>
                <a:gd name="T54" fmla="*/ 155 w 192"/>
                <a:gd name="T55" fmla="*/ 21 h 192"/>
                <a:gd name="T56" fmla="*/ 166 w 192"/>
                <a:gd name="T57" fmla="*/ 40 h 192"/>
                <a:gd name="T58" fmla="*/ 36 w 192"/>
                <a:gd name="T59" fmla="*/ 21 h 192"/>
                <a:gd name="T60" fmla="*/ 57 w 192"/>
                <a:gd name="T61" fmla="*/ 15 h 192"/>
                <a:gd name="T62" fmla="*/ 135 w 192"/>
                <a:gd name="T63" fmla="*/ 15 h 192"/>
                <a:gd name="T64" fmla="*/ 117 w 192"/>
                <a:gd name="T65" fmla="*/ 3 h 192"/>
                <a:gd name="T66" fmla="*/ 135 w 192"/>
                <a:gd name="T67" fmla="*/ 15 h 192"/>
                <a:gd name="T68" fmla="*/ 74 w 192"/>
                <a:gd name="T69" fmla="*/ 3 h 192"/>
                <a:gd name="T70" fmla="*/ 96 w 192"/>
                <a:gd name="T71" fmla="*/ 6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92" h="192">
                  <a:moveTo>
                    <a:pt x="96" y="192"/>
                  </a:moveTo>
                  <a:cubicBezTo>
                    <a:pt x="96" y="186"/>
                    <a:pt x="96" y="186"/>
                    <a:pt x="96" y="186"/>
                  </a:cubicBezTo>
                  <a:cubicBezTo>
                    <a:pt x="103" y="186"/>
                    <a:pt x="110" y="185"/>
                    <a:pt x="116" y="184"/>
                  </a:cubicBezTo>
                  <a:cubicBezTo>
                    <a:pt x="117" y="189"/>
                    <a:pt x="117" y="189"/>
                    <a:pt x="117" y="189"/>
                  </a:cubicBezTo>
                  <a:cubicBezTo>
                    <a:pt x="110" y="191"/>
                    <a:pt x="103" y="192"/>
                    <a:pt x="96" y="192"/>
                  </a:cubicBezTo>
                  <a:close/>
                  <a:moveTo>
                    <a:pt x="75" y="189"/>
                  </a:moveTo>
                  <a:cubicBezTo>
                    <a:pt x="68" y="188"/>
                    <a:pt x="61" y="185"/>
                    <a:pt x="55" y="182"/>
                  </a:cubicBezTo>
                  <a:cubicBezTo>
                    <a:pt x="57" y="177"/>
                    <a:pt x="57" y="177"/>
                    <a:pt x="57" y="177"/>
                  </a:cubicBezTo>
                  <a:cubicBezTo>
                    <a:pt x="63" y="180"/>
                    <a:pt x="69" y="182"/>
                    <a:pt x="76" y="184"/>
                  </a:cubicBezTo>
                  <a:lnTo>
                    <a:pt x="75" y="189"/>
                  </a:lnTo>
                  <a:close/>
                  <a:moveTo>
                    <a:pt x="138" y="182"/>
                  </a:moveTo>
                  <a:cubicBezTo>
                    <a:pt x="135" y="177"/>
                    <a:pt x="135" y="177"/>
                    <a:pt x="135" y="177"/>
                  </a:cubicBezTo>
                  <a:cubicBezTo>
                    <a:pt x="141" y="174"/>
                    <a:pt x="147" y="171"/>
                    <a:pt x="152" y="167"/>
                  </a:cubicBezTo>
                  <a:cubicBezTo>
                    <a:pt x="156" y="171"/>
                    <a:pt x="156" y="171"/>
                    <a:pt x="156" y="171"/>
                  </a:cubicBezTo>
                  <a:cubicBezTo>
                    <a:pt x="150" y="175"/>
                    <a:pt x="144" y="179"/>
                    <a:pt x="138" y="182"/>
                  </a:cubicBezTo>
                  <a:close/>
                  <a:moveTo>
                    <a:pt x="37" y="171"/>
                  </a:moveTo>
                  <a:cubicBezTo>
                    <a:pt x="31" y="166"/>
                    <a:pt x="26" y="161"/>
                    <a:pt x="21" y="156"/>
                  </a:cubicBezTo>
                  <a:cubicBezTo>
                    <a:pt x="26" y="152"/>
                    <a:pt x="26" y="152"/>
                    <a:pt x="26" y="152"/>
                  </a:cubicBezTo>
                  <a:cubicBezTo>
                    <a:pt x="30" y="158"/>
                    <a:pt x="35" y="162"/>
                    <a:pt x="40" y="167"/>
                  </a:cubicBezTo>
                  <a:lnTo>
                    <a:pt x="37" y="171"/>
                  </a:lnTo>
                  <a:close/>
                  <a:moveTo>
                    <a:pt x="171" y="156"/>
                  </a:moveTo>
                  <a:cubicBezTo>
                    <a:pt x="167" y="152"/>
                    <a:pt x="167" y="152"/>
                    <a:pt x="167" y="152"/>
                  </a:cubicBezTo>
                  <a:cubicBezTo>
                    <a:pt x="171" y="147"/>
                    <a:pt x="174" y="141"/>
                    <a:pt x="177" y="135"/>
                  </a:cubicBezTo>
                  <a:cubicBezTo>
                    <a:pt x="182" y="137"/>
                    <a:pt x="182" y="137"/>
                    <a:pt x="182" y="137"/>
                  </a:cubicBezTo>
                  <a:cubicBezTo>
                    <a:pt x="179" y="144"/>
                    <a:pt x="175" y="150"/>
                    <a:pt x="171" y="156"/>
                  </a:cubicBezTo>
                  <a:close/>
                  <a:moveTo>
                    <a:pt x="10" y="138"/>
                  </a:moveTo>
                  <a:cubicBezTo>
                    <a:pt x="7" y="131"/>
                    <a:pt x="4" y="124"/>
                    <a:pt x="3" y="117"/>
                  </a:cubicBezTo>
                  <a:cubicBezTo>
                    <a:pt x="8" y="116"/>
                    <a:pt x="8" y="116"/>
                    <a:pt x="8" y="116"/>
                  </a:cubicBezTo>
                  <a:cubicBezTo>
                    <a:pt x="10" y="123"/>
                    <a:pt x="12" y="129"/>
                    <a:pt x="15" y="135"/>
                  </a:cubicBezTo>
                  <a:lnTo>
                    <a:pt x="10" y="138"/>
                  </a:lnTo>
                  <a:close/>
                  <a:moveTo>
                    <a:pt x="189" y="117"/>
                  </a:moveTo>
                  <a:cubicBezTo>
                    <a:pt x="184" y="116"/>
                    <a:pt x="184" y="116"/>
                    <a:pt x="184" y="116"/>
                  </a:cubicBezTo>
                  <a:cubicBezTo>
                    <a:pt x="185" y="110"/>
                    <a:pt x="186" y="103"/>
                    <a:pt x="186" y="96"/>
                  </a:cubicBezTo>
                  <a:cubicBezTo>
                    <a:pt x="186" y="96"/>
                    <a:pt x="186" y="96"/>
                    <a:pt x="186" y="96"/>
                  </a:cubicBezTo>
                  <a:cubicBezTo>
                    <a:pt x="192" y="96"/>
                    <a:pt x="192" y="96"/>
                    <a:pt x="192" y="96"/>
                  </a:cubicBezTo>
                  <a:cubicBezTo>
                    <a:pt x="192" y="96"/>
                    <a:pt x="192" y="96"/>
                    <a:pt x="192" y="96"/>
                  </a:cubicBezTo>
                  <a:cubicBezTo>
                    <a:pt x="192" y="103"/>
                    <a:pt x="191" y="110"/>
                    <a:pt x="189" y="117"/>
                  </a:cubicBezTo>
                  <a:close/>
                  <a:moveTo>
                    <a:pt x="0" y="96"/>
                  </a:moveTo>
                  <a:cubicBezTo>
                    <a:pt x="0" y="96"/>
                    <a:pt x="0" y="96"/>
                    <a:pt x="0" y="96"/>
                  </a:cubicBezTo>
                  <a:cubicBezTo>
                    <a:pt x="0" y="89"/>
                    <a:pt x="1" y="82"/>
                    <a:pt x="3" y="75"/>
                  </a:cubicBezTo>
                  <a:cubicBezTo>
                    <a:pt x="8" y="76"/>
                    <a:pt x="8" y="76"/>
                    <a:pt x="8" y="76"/>
                  </a:cubicBezTo>
                  <a:cubicBezTo>
                    <a:pt x="7" y="83"/>
                    <a:pt x="6" y="89"/>
                    <a:pt x="6" y="96"/>
                  </a:cubicBezTo>
                  <a:lnTo>
                    <a:pt x="0" y="96"/>
                  </a:lnTo>
                  <a:close/>
                  <a:moveTo>
                    <a:pt x="184" y="76"/>
                  </a:moveTo>
                  <a:cubicBezTo>
                    <a:pt x="182" y="69"/>
                    <a:pt x="180" y="63"/>
                    <a:pt x="177" y="57"/>
                  </a:cubicBezTo>
                  <a:cubicBezTo>
                    <a:pt x="182" y="54"/>
                    <a:pt x="182" y="54"/>
                    <a:pt x="182" y="54"/>
                  </a:cubicBezTo>
                  <a:cubicBezTo>
                    <a:pt x="185" y="61"/>
                    <a:pt x="188" y="67"/>
                    <a:pt x="189" y="74"/>
                  </a:cubicBezTo>
                  <a:lnTo>
                    <a:pt x="184" y="76"/>
                  </a:lnTo>
                  <a:close/>
                  <a:moveTo>
                    <a:pt x="15" y="57"/>
                  </a:moveTo>
                  <a:cubicBezTo>
                    <a:pt x="10" y="55"/>
                    <a:pt x="10" y="55"/>
                    <a:pt x="10" y="55"/>
                  </a:cubicBezTo>
                  <a:cubicBezTo>
                    <a:pt x="13" y="48"/>
                    <a:pt x="17" y="42"/>
                    <a:pt x="21" y="37"/>
                  </a:cubicBezTo>
                  <a:cubicBezTo>
                    <a:pt x="25" y="40"/>
                    <a:pt x="25" y="40"/>
                    <a:pt x="25" y="40"/>
                  </a:cubicBezTo>
                  <a:cubicBezTo>
                    <a:pt x="21" y="45"/>
                    <a:pt x="18" y="51"/>
                    <a:pt x="15" y="57"/>
                  </a:cubicBezTo>
                  <a:close/>
                  <a:moveTo>
                    <a:pt x="166" y="40"/>
                  </a:moveTo>
                  <a:cubicBezTo>
                    <a:pt x="162" y="34"/>
                    <a:pt x="157" y="30"/>
                    <a:pt x="152" y="25"/>
                  </a:cubicBezTo>
                  <a:cubicBezTo>
                    <a:pt x="155" y="21"/>
                    <a:pt x="155" y="21"/>
                    <a:pt x="155" y="21"/>
                  </a:cubicBezTo>
                  <a:cubicBezTo>
                    <a:pt x="161" y="26"/>
                    <a:pt x="166" y="31"/>
                    <a:pt x="171" y="36"/>
                  </a:cubicBezTo>
                  <a:lnTo>
                    <a:pt x="166" y="40"/>
                  </a:lnTo>
                  <a:close/>
                  <a:moveTo>
                    <a:pt x="40" y="26"/>
                  </a:moveTo>
                  <a:cubicBezTo>
                    <a:pt x="36" y="21"/>
                    <a:pt x="36" y="21"/>
                    <a:pt x="36" y="21"/>
                  </a:cubicBezTo>
                  <a:cubicBezTo>
                    <a:pt x="42" y="17"/>
                    <a:pt x="48" y="13"/>
                    <a:pt x="54" y="10"/>
                  </a:cubicBezTo>
                  <a:cubicBezTo>
                    <a:pt x="57" y="15"/>
                    <a:pt x="57" y="15"/>
                    <a:pt x="57" y="15"/>
                  </a:cubicBezTo>
                  <a:cubicBezTo>
                    <a:pt x="51" y="18"/>
                    <a:pt x="45" y="21"/>
                    <a:pt x="40" y="26"/>
                  </a:cubicBezTo>
                  <a:close/>
                  <a:moveTo>
                    <a:pt x="135" y="15"/>
                  </a:moveTo>
                  <a:cubicBezTo>
                    <a:pt x="129" y="12"/>
                    <a:pt x="122" y="10"/>
                    <a:pt x="116" y="8"/>
                  </a:cubicBezTo>
                  <a:cubicBezTo>
                    <a:pt x="117" y="3"/>
                    <a:pt x="117" y="3"/>
                    <a:pt x="117" y="3"/>
                  </a:cubicBezTo>
                  <a:cubicBezTo>
                    <a:pt x="124" y="4"/>
                    <a:pt x="131" y="7"/>
                    <a:pt x="137" y="10"/>
                  </a:cubicBezTo>
                  <a:lnTo>
                    <a:pt x="135" y="15"/>
                  </a:lnTo>
                  <a:close/>
                  <a:moveTo>
                    <a:pt x="76" y="8"/>
                  </a:moveTo>
                  <a:cubicBezTo>
                    <a:pt x="74" y="3"/>
                    <a:pt x="74" y="3"/>
                    <a:pt x="74" y="3"/>
                  </a:cubicBezTo>
                  <a:cubicBezTo>
                    <a:pt x="81" y="1"/>
                    <a:pt x="89" y="0"/>
                    <a:pt x="96" y="0"/>
                  </a:cubicBezTo>
                  <a:cubicBezTo>
                    <a:pt x="96" y="6"/>
                    <a:pt x="96" y="6"/>
                    <a:pt x="96" y="6"/>
                  </a:cubicBezTo>
                  <a:cubicBezTo>
                    <a:pt x="89" y="6"/>
                    <a:pt x="82" y="7"/>
                    <a:pt x="76" y="8"/>
                  </a:cubicBezTo>
                  <a:close/>
                </a:path>
              </a:pathLst>
            </a:custGeom>
            <a:solidFill>
              <a:srgbClr val="823B8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79" name="Oval 128"/>
            <p:cNvSpPr>
              <a:spLocks noChangeArrowheads="1"/>
            </p:cNvSpPr>
            <p:nvPr/>
          </p:nvSpPr>
          <p:spPr bwMode="auto">
            <a:xfrm>
              <a:off x="10094913" y="1573213"/>
              <a:ext cx="325438" cy="323850"/>
            </a:xfrm>
            <a:prstGeom prst="ellipse">
              <a:avLst/>
            </a:pr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87" name="Freeform 130"/>
            <p:cNvSpPr>
              <a:spLocks noEditPoints="1"/>
            </p:cNvSpPr>
            <p:nvPr/>
          </p:nvSpPr>
          <p:spPr bwMode="auto">
            <a:xfrm>
              <a:off x="10177463" y="1666875"/>
              <a:ext cx="161925" cy="138113"/>
            </a:xfrm>
            <a:custGeom>
              <a:avLst/>
              <a:gdLst>
                <a:gd name="T0" fmla="*/ 69 w 73"/>
                <a:gd name="T1" fmla="*/ 58 h 62"/>
                <a:gd name="T2" fmla="*/ 0 w 73"/>
                <a:gd name="T3" fmla="*/ 11 h 62"/>
                <a:gd name="T4" fmla="*/ 0 w 73"/>
                <a:gd name="T5" fmla="*/ 62 h 62"/>
                <a:gd name="T6" fmla="*/ 73 w 73"/>
                <a:gd name="T7" fmla="*/ 0 h 62"/>
                <a:gd name="T8" fmla="*/ 0 w 73"/>
                <a:gd name="T9" fmla="*/ 0 h 62"/>
                <a:gd name="T10" fmla="*/ 42 w 73"/>
                <a:gd name="T11" fmla="*/ 35 h 62"/>
                <a:gd name="T12" fmla="*/ 40 w 73"/>
                <a:gd name="T13" fmla="*/ 31 h 62"/>
                <a:gd name="T14" fmla="*/ 38 w 73"/>
                <a:gd name="T15" fmla="*/ 29 h 62"/>
                <a:gd name="T16" fmla="*/ 34 w 73"/>
                <a:gd name="T17" fmla="*/ 27 h 62"/>
                <a:gd name="T18" fmla="*/ 31 w 73"/>
                <a:gd name="T19" fmla="*/ 27 h 62"/>
                <a:gd name="T20" fmla="*/ 27 w 73"/>
                <a:gd name="T21" fmla="*/ 29 h 62"/>
                <a:gd name="T22" fmla="*/ 24 w 73"/>
                <a:gd name="T23" fmla="*/ 31 h 62"/>
                <a:gd name="T24" fmla="*/ 22 w 73"/>
                <a:gd name="T25" fmla="*/ 35 h 62"/>
                <a:gd name="T26" fmla="*/ 22 w 73"/>
                <a:gd name="T27" fmla="*/ 38 h 62"/>
                <a:gd name="T28" fmla="*/ 22 w 73"/>
                <a:gd name="T29" fmla="*/ 42 h 62"/>
                <a:gd name="T30" fmla="*/ 24 w 73"/>
                <a:gd name="T31" fmla="*/ 45 h 62"/>
                <a:gd name="T32" fmla="*/ 27 w 73"/>
                <a:gd name="T33" fmla="*/ 48 h 62"/>
                <a:gd name="T34" fmla="*/ 30 w 73"/>
                <a:gd name="T35" fmla="*/ 49 h 62"/>
                <a:gd name="T36" fmla="*/ 33 w 73"/>
                <a:gd name="T37" fmla="*/ 46 h 62"/>
                <a:gd name="T38" fmla="*/ 37 w 73"/>
                <a:gd name="T39" fmla="*/ 48 h 62"/>
                <a:gd name="T40" fmla="*/ 37 w 73"/>
                <a:gd name="T41" fmla="*/ 44 h 62"/>
                <a:gd name="T42" fmla="*/ 42 w 73"/>
                <a:gd name="T43" fmla="*/ 43 h 62"/>
                <a:gd name="T44" fmla="*/ 40 w 73"/>
                <a:gd name="T45" fmla="*/ 39 h 62"/>
                <a:gd name="T46" fmla="*/ 36 w 73"/>
                <a:gd name="T47" fmla="*/ 38 h 62"/>
                <a:gd name="T48" fmla="*/ 29 w 73"/>
                <a:gd name="T49" fmla="*/ 41 h 62"/>
                <a:gd name="T50" fmla="*/ 32 w 73"/>
                <a:gd name="T51" fmla="*/ 34 h 62"/>
                <a:gd name="T52" fmla="*/ 30 w 73"/>
                <a:gd name="T53" fmla="*/ 38 h 62"/>
                <a:gd name="T54" fmla="*/ 32 w 73"/>
                <a:gd name="T55" fmla="*/ 40 h 62"/>
                <a:gd name="T56" fmla="*/ 50 w 73"/>
                <a:gd name="T57" fmla="*/ 31 h 62"/>
                <a:gd name="T58" fmla="*/ 51 w 73"/>
                <a:gd name="T59" fmla="*/ 28 h 62"/>
                <a:gd name="T60" fmla="*/ 50 w 73"/>
                <a:gd name="T61" fmla="*/ 27 h 62"/>
                <a:gd name="T62" fmla="*/ 47 w 73"/>
                <a:gd name="T63" fmla="*/ 27 h 62"/>
                <a:gd name="T64" fmla="*/ 45 w 73"/>
                <a:gd name="T65" fmla="*/ 25 h 62"/>
                <a:gd name="T66" fmla="*/ 43 w 73"/>
                <a:gd name="T67" fmla="*/ 27 h 62"/>
                <a:gd name="T68" fmla="*/ 41 w 73"/>
                <a:gd name="T69" fmla="*/ 27 h 62"/>
                <a:gd name="T70" fmla="*/ 40 w 73"/>
                <a:gd name="T71" fmla="*/ 29 h 62"/>
                <a:gd name="T72" fmla="*/ 42 w 73"/>
                <a:gd name="T73" fmla="*/ 31 h 62"/>
                <a:gd name="T74" fmla="*/ 40 w 73"/>
                <a:gd name="T75" fmla="*/ 33 h 62"/>
                <a:gd name="T76" fmla="*/ 41 w 73"/>
                <a:gd name="T77" fmla="*/ 34 h 62"/>
                <a:gd name="T78" fmla="*/ 45 w 73"/>
                <a:gd name="T79" fmla="*/ 36 h 62"/>
                <a:gd name="T80" fmla="*/ 47 w 73"/>
                <a:gd name="T81" fmla="*/ 36 h 62"/>
                <a:gd name="T82" fmla="*/ 50 w 73"/>
                <a:gd name="T83" fmla="*/ 34 h 62"/>
                <a:gd name="T84" fmla="*/ 51 w 73"/>
                <a:gd name="T85" fmla="*/ 33 h 62"/>
                <a:gd name="T86" fmla="*/ 50 w 73"/>
                <a:gd name="T87" fmla="*/ 31 h 62"/>
                <a:gd name="T88" fmla="*/ 46 w 73"/>
                <a:gd name="T89" fmla="*/ 32 h 62"/>
                <a:gd name="T90" fmla="*/ 47 w 73"/>
                <a:gd name="T91" fmla="*/ 31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73" h="62">
                  <a:moveTo>
                    <a:pt x="3" y="15"/>
                  </a:moveTo>
                  <a:cubicBezTo>
                    <a:pt x="3" y="58"/>
                    <a:pt x="3" y="58"/>
                    <a:pt x="3" y="58"/>
                  </a:cubicBezTo>
                  <a:cubicBezTo>
                    <a:pt x="69" y="58"/>
                    <a:pt x="69" y="58"/>
                    <a:pt x="69" y="58"/>
                  </a:cubicBezTo>
                  <a:cubicBezTo>
                    <a:pt x="69" y="15"/>
                    <a:pt x="69" y="15"/>
                    <a:pt x="69" y="15"/>
                  </a:cubicBezTo>
                  <a:cubicBezTo>
                    <a:pt x="3" y="15"/>
                    <a:pt x="3" y="15"/>
                    <a:pt x="3" y="15"/>
                  </a:cubicBezTo>
                  <a:close/>
                  <a:moveTo>
                    <a:pt x="0" y="11"/>
                  </a:moveTo>
                  <a:cubicBezTo>
                    <a:pt x="73" y="11"/>
                    <a:pt x="73" y="11"/>
                    <a:pt x="73" y="11"/>
                  </a:cubicBezTo>
                  <a:cubicBezTo>
                    <a:pt x="73" y="62"/>
                    <a:pt x="73" y="62"/>
                    <a:pt x="73" y="62"/>
                  </a:cubicBezTo>
                  <a:cubicBezTo>
                    <a:pt x="0" y="62"/>
                    <a:pt x="0" y="62"/>
                    <a:pt x="0" y="62"/>
                  </a:cubicBezTo>
                  <a:cubicBezTo>
                    <a:pt x="0" y="11"/>
                    <a:pt x="0" y="11"/>
                    <a:pt x="0" y="11"/>
                  </a:cubicBezTo>
                  <a:close/>
                  <a:moveTo>
                    <a:pt x="0" y="0"/>
                  </a:moveTo>
                  <a:cubicBezTo>
                    <a:pt x="73" y="0"/>
                    <a:pt x="73" y="0"/>
                    <a:pt x="73" y="0"/>
                  </a:cubicBezTo>
                  <a:cubicBezTo>
                    <a:pt x="73" y="7"/>
                    <a:pt x="73" y="7"/>
                    <a:pt x="73" y="7"/>
                  </a:cubicBezTo>
                  <a:cubicBezTo>
                    <a:pt x="0" y="7"/>
                    <a:pt x="0" y="7"/>
                    <a:pt x="0" y="7"/>
                  </a:cubicBezTo>
                  <a:cubicBezTo>
                    <a:pt x="0" y="0"/>
                    <a:pt x="0" y="0"/>
                    <a:pt x="0" y="0"/>
                  </a:cubicBezTo>
                  <a:close/>
                  <a:moveTo>
                    <a:pt x="43" y="37"/>
                  </a:moveTo>
                  <a:cubicBezTo>
                    <a:pt x="43" y="35"/>
                    <a:pt x="43" y="35"/>
                    <a:pt x="43" y="35"/>
                  </a:cubicBezTo>
                  <a:cubicBezTo>
                    <a:pt x="43" y="35"/>
                    <a:pt x="43" y="35"/>
                    <a:pt x="42" y="35"/>
                  </a:cubicBezTo>
                  <a:cubicBezTo>
                    <a:pt x="39" y="35"/>
                    <a:pt x="39" y="35"/>
                    <a:pt x="39" y="35"/>
                  </a:cubicBezTo>
                  <a:cubicBezTo>
                    <a:pt x="39" y="35"/>
                    <a:pt x="39" y="34"/>
                    <a:pt x="39" y="34"/>
                  </a:cubicBezTo>
                  <a:cubicBezTo>
                    <a:pt x="40" y="31"/>
                    <a:pt x="40" y="31"/>
                    <a:pt x="40" y="31"/>
                  </a:cubicBezTo>
                  <a:cubicBezTo>
                    <a:pt x="40" y="31"/>
                    <a:pt x="40" y="31"/>
                    <a:pt x="40" y="31"/>
                  </a:cubicBezTo>
                  <a:cubicBezTo>
                    <a:pt x="38" y="29"/>
                    <a:pt x="38" y="29"/>
                    <a:pt x="38" y="29"/>
                  </a:cubicBezTo>
                  <a:cubicBezTo>
                    <a:pt x="38" y="29"/>
                    <a:pt x="38" y="29"/>
                    <a:pt x="38" y="29"/>
                  </a:cubicBezTo>
                  <a:cubicBezTo>
                    <a:pt x="35" y="31"/>
                    <a:pt x="35" y="31"/>
                    <a:pt x="35" y="31"/>
                  </a:cubicBezTo>
                  <a:cubicBezTo>
                    <a:pt x="35" y="31"/>
                    <a:pt x="35" y="31"/>
                    <a:pt x="34" y="31"/>
                  </a:cubicBezTo>
                  <a:cubicBezTo>
                    <a:pt x="34" y="27"/>
                    <a:pt x="34" y="27"/>
                    <a:pt x="34" y="27"/>
                  </a:cubicBezTo>
                  <a:cubicBezTo>
                    <a:pt x="34" y="27"/>
                    <a:pt x="33" y="27"/>
                    <a:pt x="33" y="27"/>
                  </a:cubicBezTo>
                  <a:cubicBezTo>
                    <a:pt x="31" y="27"/>
                    <a:pt x="31" y="27"/>
                    <a:pt x="31" y="27"/>
                  </a:cubicBezTo>
                  <a:cubicBezTo>
                    <a:pt x="31" y="27"/>
                    <a:pt x="31" y="27"/>
                    <a:pt x="31" y="27"/>
                  </a:cubicBezTo>
                  <a:cubicBezTo>
                    <a:pt x="30" y="31"/>
                    <a:pt x="30" y="31"/>
                    <a:pt x="30" y="31"/>
                  </a:cubicBezTo>
                  <a:cubicBezTo>
                    <a:pt x="30" y="31"/>
                    <a:pt x="29" y="31"/>
                    <a:pt x="29" y="31"/>
                  </a:cubicBezTo>
                  <a:cubicBezTo>
                    <a:pt x="27" y="29"/>
                    <a:pt x="27" y="29"/>
                    <a:pt x="27" y="29"/>
                  </a:cubicBezTo>
                  <a:cubicBezTo>
                    <a:pt x="26" y="29"/>
                    <a:pt x="26" y="29"/>
                    <a:pt x="26" y="29"/>
                  </a:cubicBezTo>
                  <a:cubicBezTo>
                    <a:pt x="24" y="31"/>
                    <a:pt x="24" y="31"/>
                    <a:pt x="24" y="31"/>
                  </a:cubicBezTo>
                  <a:cubicBezTo>
                    <a:pt x="24" y="31"/>
                    <a:pt x="24" y="31"/>
                    <a:pt x="24" y="31"/>
                  </a:cubicBezTo>
                  <a:cubicBezTo>
                    <a:pt x="26" y="34"/>
                    <a:pt x="26" y="34"/>
                    <a:pt x="26" y="34"/>
                  </a:cubicBezTo>
                  <a:cubicBezTo>
                    <a:pt x="25" y="34"/>
                    <a:pt x="25" y="35"/>
                    <a:pt x="25" y="35"/>
                  </a:cubicBezTo>
                  <a:cubicBezTo>
                    <a:pt x="22" y="35"/>
                    <a:pt x="22" y="35"/>
                    <a:pt x="22" y="35"/>
                  </a:cubicBezTo>
                  <a:cubicBezTo>
                    <a:pt x="22" y="35"/>
                    <a:pt x="22" y="35"/>
                    <a:pt x="22" y="35"/>
                  </a:cubicBezTo>
                  <a:cubicBezTo>
                    <a:pt x="21" y="37"/>
                    <a:pt x="21" y="37"/>
                    <a:pt x="21" y="37"/>
                  </a:cubicBezTo>
                  <a:cubicBezTo>
                    <a:pt x="21" y="38"/>
                    <a:pt x="21" y="38"/>
                    <a:pt x="22" y="38"/>
                  </a:cubicBezTo>
                  <a:cubicBezTo>
                    <a:pt x="24" y="39"/>
                    <a:pt x="24" y="39"/>
                    <a:pt x="24" y="39"/>
                  </a:cubicBezTo>
                  <a:cubicBezTo>
                    <a:pt x="24" y="40"/>
                    <a:pt x="24" y="40"/>
                    <a:pt x="25" y="40"/>
                  </a:cubicBezTo>
                  <a:cubicBezTo>
                    <a:pt x="22" y="42"/>
                    <a:pt x="22" y="42"/>
                    <a:pt x="22" y="42"/>
                  </a:cubicBezTo>
                  <a:cubicBezTo>
                    <a:pt x="22" y="42"/>
                    <a:pt x="22" y="43"/>
                    <a:pt x="22" y="43"/>
                  </a:cubicBezTo>
                  <a:cubicBezTo>
                    <a:pt x="23" y="45"/>
                    <a:pt x="23" y="45"/>
                    <a:pt x="23" y="45"/>
                  </a:cubicBezTo>
                  <a:cubicBezTo>
                    <a:pt x="23" y="45"/>
                    <a:pt x="24" y="45"/>
                    <a:pt x="24" y="45"/>
                  </a:cubicBezTo>
                  <a:cubicBezTo>
                    <a:pt x="27" y="44"/>
                    <a:pt x="27" y="44"/>
                    <a:pt x="27" y="44"/>
                  </a:cubicBezTo>
                  <a:cubicBezTo>
                    <a:pt x="27" y="44"/>
                    <a:pt x="27" y="44"/>
                    <a:pt x="28" y="45"/>
                  </a:cubicBezTo>
                  <a:cubicBezTo>
                    <a:pt x="27" y="48"/>
                    <a:pt x="27" y="48"/>
                    <a:pt x="27" y="48"/>
                  </a:cubicBezTo>
                  <a:cubicBezTo>
                    <a:pt x="27" y="48"/>
                    <a:pt x="27" y="48"/>
                    <a:pt x="28" y="48"/>
                  </a:cubicBezTo>
                  <a:cubicBezTo>
                    <a:pt x="29" y="49"/>
                    <a:pt x="29" y="49"/>
                    <a:pt x="29" y="49"/>
                  </a:cubicBezTo>
                  <a:cubicBezTo>
                    <a:pt x="30" y="49"/>
                    <a:pt x="30" y="49"/>
                    <a:pt x="30" y="49"/>
                  </a:cubicBezTo>
                  <a:cubicBezTo>
                    <a:pt x="32" y="46"/>
                    <a:pt x="32" y="46"/>
                    <a:pt x="32" y="46"/>
                  </a:cubicBezTo>
                  <a:cubicBezTo>
                    <a:pt x="32" y="46"/>
                    <a:pt x="32" y="46"/>
                    <a:pt x="32" y="46"/>
                  </a:cubicBezTo>
                  <a:cubicBezTo>
                    <a:pt x="32" y="46"/>
                    <a:pt x="32" y="46"/>
                    <a:pt x="33" y="46"/>
                  </a:cubicBezTo>
                  <a:cubicBezTo>
                    <a:pt x="34" y="49"/>
                    <a:pt x="34" y="49"/>
                    <a:pt x="34" y="49"/>
                  </a:cubicBezTo>
                  <a:cubicBezTo>
                    <a:pt x="34" y="49"/>
                    <a:pt x="35" y="49"/>
                    <a:pt x="35" y="49"/>
                  </a:cubicBezTo>
                  <a:cubicBezTo>
                    <a:pt x="37" y="48"/>
                    <a:pt x="37" y="48"/>
                    <a:pt x="37" y="48"/>
                  </a:cubicBezTo>
                  <a:cubicBezTo>
                    <a:pt x="37" y="48"/>
                    <a:pt x="37" y="48"/>
                    <a:pt x="37" y="48"/>
                  </a:cubicBezTo>
                  <a:cubicBezTo>
                    <a:pt x="37" y="45"/>
                    <a:pt x="37" y="45"/>
                    <a:pt x="37" y="45"/>
                  </a:cubicBezTo>
                  <a:cubicBezTo>
                    <a:pt x="37" y="44"/>
                    <a:pt x="37" y="44"/>
                    <a:pt x="37" y="44"/>
                  </a:cubicBezTo>
                  <a:cubicBezTo>
                    <a:pt x="41" y="45"/>
                    <a:pt x="41" y="45"/>
                    <a:pt x="41" y="45"/>
                  </a:cubicBezTo>
                  <a:cubicBezTo>
                    <a:pt x="41" y="45"/>
                    <a:pt x="41" y="45"/>
                    <a:pt x="41" y="45"/>
                  </a:cubicBezTo>
                  <a:cubicBezTo>
                    <a:pt x="42" y="43"/>
                    <a:pt x="42" y="43"/>
                    <a:pt x="42" y="43"/>
                  </a:cubicBezTo>
                  <a:cubicBezTo>
                    <a:pt x="42" y="43"/>
                    <a:pt x="42" y="42"/>
                    <a:pt x="42" y="42"/>
                  </a:cubicBezTo>
                  <a:cubicBezTo>
                    <a:pt x="40" y="40"/>
                    <a:pt x="40" y="40"/>
                    <a:pt x="40" y="40"/>
                  </a:cubicBezTo>
                  <a:cubicBezTo>
                    <a:pt x="40" y="40"/>
                    <a:pt x="40" y="40"/>
                    <a:pt x="40" y="39"/>
                  </a:cubicBezTo>
                  <a:cubicBezTo>
                    <a:pt x="43" y="38"/>
                    <a:pt x="43" y="38"/>
                    <a:pt x="43" y="38"/>
                  </a:cubicBezTo>
                  <a:cubicBezTo>
                    <a:pt x="43" y="38"/>
                    <a:pt x="43" y="38"/>
                    <a:pt x="43" y="37"/>
                  </a:cubicBezTo>
                  <a:close/>
                  <a:moveTo>
                    <a:pt x="36" y="38"/>
                  </a:moveTo>
                  <a:cubicBezTo>
                    <a:pt x="36" y="40"/>
                    <a:pt x="36" y="41"/>
                    <a:pt x="35" y="41"/>
                  </a:cubicBezTo>
                  <a:cubicBezTo>
                    <a:pt x="34" y="42"/>
                    <a:pt x="33" y="43"/>
                    <a:pt x="32" y="43"/>
                  </a:cubicBezTo>
                  <a:cubicBezTo>
                    <a:pt x="31" y="43"/>
                    <a:pt x="30" y="42"/>
                    <a:pt x="29" y="41"/>
                  </a:cubicBezTo>
                  <a:cubicBezTo>
                    <a:pt x="28" y="41"/>
                    <a:pt x="28" y="40"/>
                    <a:pt x="28" y="38"/>
                  </a:cubicBezTo>
                  <a:cubicBezTo>
                    <a:pt x="28" y="37"/>
                    <a:pt x="28" y="36"/>
                    <a:pt x="29" y="35"/>
                  </a:cubicBezTo>
                  <a:cubicBezTo>
                    <a:pt x="30" y="35"/>
                    <a:pt x="31" y="34"/>
                    <a:pt x="32" y="34"/>
                  </a:cubicBezTo>
                  <a:cubicBezTo>
                    <a:pt x="33" y="34"/>
                    <a:pt x="34" y="35"/>
                    <a:pt x="35" y="35"/>
                  </a:cubicBezTo>
                  <a:cubicBezTo>
                    <a:pt x="36" y="36"/>
                    <a:pt x="36" y="37"/>
                    <a:pt x="36" y="38"/>
                  </a:cubicBezTo>
                  <a:close/>
                  <a:moveTo>
                    <a:pt x="30" y="38"/>
                  </a:moveTo>
                  <a:cubicBezTo>
                    <a:pt x="30" y="37"/>
                    <a:pt x="31" y="36"/>
                    <a:pt x="32" y="36"/>
                  </a:cubicBezTo>
                  <a:cubicBezTo>
                    <a:pt x="33" y="36"/>
                    <a:pt x="34" y="37"/>
                    <a:pt x="34" y="38"/>
                  </a:cubicBezTo>
                  <a:cubicBezTo>
                    <a:pt x="34" y="39"/>
                    <a:pt x="33" y="40"/>
                    <a:pt x="32" y="40"/>
                  </a:cubicBezTo>
                  <a:cubicBezTo>
                    <a:pt x="31" y="40"/>
                    <a:pt x="30" y="39"/>
                    <a:pt x="30" y="38"/>
                  </a:cubicBezTo>
                  <a:close/>
                  <a:moveTo>
                    <a:pt x="50" y="31"/>
                  </a:moveTo>
                  <a:cubicBezTo>
                    <a:pt x="50" y="31"/>
                    <a:pt x="50" y="31"/>
                    <a:pt x="50" y="31"/>
                  </a:cubicBezTo>
                  <a:cubicBezTo>
                    <a:pt x="50" y="30"/>
                    <a:pt x="50" y="30"/>
                    <a:pt x="50" y="30"/>
                  </a:cubicBezTo>
                  <a:cubicBezTo>
                    <a:pt x="51" y="29"/>
                    <a:pt x="51" y="29"/>
                    <a:pt x="51" y="29"/>
                  </a:cubicBezTo>
                  <a:cubicBezTo>
                    <a:pt x="51" y="29"/>
                    <a:pt x="51" y="28"/>
                    <a:pt x="51" y="28"/>
                  </a:cubicBezTo>
                  <a:cubicBezTo>
                    <a:pt x="51" y="28"/>
                    <a:pt x="51" y="28"/>
                    <a:pt x="51" y="28"/>
                  </a:cubicBezTo>
                  <a:cubicBezTo>
                    <a:pt x="50" y="27"/>
                    <a:pt x="50" y="27"/>
                    <a:pt x="50" y="27"/>
                  </a:cubicBezTo>
                  <a:cubicBezTo>
                    <a:pt x="50" y="27"/>
                    <a:pt x="50" y="27"/>
                    <a:pt x="50" y="27"/>
                  </a:cubicBezTo>
                  <a:cubicBezTo>
                    <a:pt x="50" y="27"/>
                    <a:pt x="50" y="27"/>
                    <a:pt x="50" y="27"/>
                  </a:cubicBezTo>
                  <a:cubicBezTo>
                    <a:pt x="48" y="27"/>
                    <a:pt x="48" y="27"/>
                    <a:pt x="48" y="27"/>
                  </a:cubicBezTo>
                  <a:cubicBezTo>
                    <a:pt x="48" y="27"/>
                    <a:pt x="47" y="27"/>
                    <a:pt x="47" y="27"/>
                  </a:cubicBezTo>
                  <a:cubicBezTo>
                    <a:pt x="47" y="25"/>
                    <a:pt x="47" y="25"/>
                    <a:pt x="47" y="25"/>
                  </a:cubicBezTo>
                  <a:cubicBezTo>
                    <a:pt x="47" y="25"/>
                    <a:pt x="46" y="25"/>
                    <a:pt x="46" y="25"/>
                  </a:cubicBezTo>
                  <a:cubicBezTo>
                    <a:pt x="45" y="25"/>
                    <a:pt x="45" y="25"/>
                    <a:pt x="45" y="25"/>
                  </a:cubicBezTo>
                  <a:cubicBezTo>
                    <a:pt x="45" y="25"/>
                    <a:pt x="45" y="25"/>
                    <a:pt x="45" y="25"/>
                  </a:cubicBezTo>
                  <a:cubicBezTo>
                    <a:pt x="44" y="27"/>
                    <a:pt x="44" y="27"/>
                    <a:pt x="44" y="27"/>
                  </a:cubicBezTo>
                  <a:cubicBezTo>
                    <a:pt x="44" y="27"/>
                    <a:pt x="43" y="27"/>
                    <a:pt x="43" y="27"/>
                  </a:cubicBezTo>
                  <a:cubicBezTo>
                    <a:pt x="41" y="27"/>
                    <a:pt x="41" y="27"/>
                    <a:pt x="41" y="27"/>
                  </a:cubicBezTo>
                  <a:cubicBezTo>
                    <a:pt x="41" y="27"/>
                    <a:pt x="41" y="27"/>
                    <a:pt x="41" y="27"/>
                  </a:cubicBezTo>
                  <a:cubicBezTo>
                    <a:pt x="41" y="27"/>
                    <a:pt x="41" y="27"/>
                    <a:pt x="41" y="27"/>
                  </a:cubicBezTo>
                  <a:cubicBezTo>
                    <a:pt x="40" y="28"/>
                    <a:pt x="40" y="28"/>
                    <a:pt x="40" y="28"/>
                  </a:cubicBezTo>
                  <a:cubicBezTo>
                    <a:pt x="40" y="28"/>
                    <a:pt x="40" y="28"/>
                    <a:pt x="40" y="28"/>
                  </a:cubicBezTo>
                  <a:cubicBezTo>
                    <a:pt x="40" y="28"/>
                    <a:pt x="40" y="29"/>
                    <a:pt x="40" y="29"/>
                  </a:cubicBezTo>
                  <a:cubicBezTo>
                    <a:pt x="42" y="30"/>
                    <a:pt x="42" y="30"/>
                    <a:pt x="42" y="30"/>
                  </a:cubicBezTo>
                  <a:cubicBezTo>
                    <a:pt x="41" y="30"/>
                    <a:pt x="41" y="30"/>
                    <a:pt x="41" y="31"/>
                  </a:cubicBezTo>
                  <a:cubicBezTo>
                    <a:pt x="41" y="31"/>
                    <a:pt x="41" y="31"/>
                    <a:pt x="42" y="31"/>
                  </a:cubicBezTo>
                  <a:cubicBezTo>
                    <a:pt x="40" y="32"/>
                    <a:pt x="40" y="32"/>
                    <a:pt x="40" y="32"/>
                  </a:cubicBezTo>
                  <a:cubicBezTo>
                    <a:pt x="40" y="33"/>
                    <a:pt x="40" y="33"/>
                    <a:pt x="40" y="33"/>
                  </a:cubicBezTo>
                  <a:cubicBezTo>
                    <a:pt x="40" y="33"/>
                    <a:pt x="40" y="33"/>
                    <a:pt x="40" y="33"/>
                  </a:cubicBezTo>
                  <a:cubicBezTo>
                    <a:pt x="41" y="34"/>
                    <a:pt x="41" y="34"/>
                    <a:pt x="41" y="34"/>
                  </a:cubicBezTo>
                  <a:cubicBezTo>
                    <a:pt x="41" y="34"/>
                    <a:pt x="41" y="34"/>
                    <a:pt x="41" y="34"/>
                  </a:cubicBezTo>
                  <a:cubicBezTo>
                    <a:pt x="41" y="34"/>
                    <a:pt x="41" y="34"/>
                    <a:pt x="41" y="34"/>
                  </a:cubicBezTo>
                  <a:cubicBezTo>
                    <a:pt x="43" y="34"/>
                    <a:pt x="43" y="34"/>
                    <a:pt x="43" y="34"/>
                  </a:cubicBezTo>
                  <a:cubicBezTo>
                    <a:pt x="43" y="34"/>
                    <a:pt x="44" y="34"/>
                    <a:pt x="44" y="35"/>
                  </a:cubicBezTo>
                  <a:cubicBezTo>
                    <a:pt x="45" y="36"/>
                    <a:pt x="45" y="36"/>
                    <a:pt x="45" y="36"/>
                  </a:cubicBezTo>
                  <a:cubicBezTo>
                    <a:pt x="45" y="36"/>
                    <a:pt x="45" y="37"/>
                    <a:pt x="45" y="37"/>
                  </a:cubicBezTo>
                  <a:cubicBezTo>
                    <a:pt x="46" y="37"/>
                    <a:pt x="46" y="37"/>
                    <a:pt x="46" y="37"/>
                  </a:cubicBezTo>
                  <a:cubicBezTo>
                    <a:pt x="46" y="37"/>
                    <a:pt x="47" y="36"/>
                    <a:pt x="47" y="36"/>
                  </a:cubicBezTo>
                  <a:cubicBezTo>
                    <a:pt x="47" y="35"/>
                    <a:pt x="47" y="35"/>
                    <a:pt x="47" y="35"/>
                  </a:cubicBezTo>
                  <a:cubicBezTo>
                    <a:pt x="47" y="34"/>
                    <a:pt x="48" y="34"/>
                    <a:pt x="48" y="34"/>
                  </a:cubicBezTo>
                  <a:cubicBezTo>
                    <a:pt x="50" y="34"/>
                    <a:pt x="50" y="34"/>
                    <a:pt x="50" y="34"/>
                  </a:cubicBezTo>
                  <a:cubicBezTo>
                    <a:pt x="50" y="34"/>
                    <a:pt x="50" y="34"/>
                    <a:pt x="50" y="34"/>
                  </a:cubicBezTo>
                  <a:cubicBezTo>
                    <a:pt x="50" y="34"/>
                    <a:pt x="50" y="34"/>
                    <a:pt x="50" y="34"/>
                  </a:cubicBezTo>
                  <a:cubicBezTo>
                    <a:pt x="51" y="33"/>
                    <a:pt x="51" y="33"/>
                    <a:pt x="51" y="33"/>
                  </a:cubicBezTo>
                  <a:cubicBezTo>
                    <a:pt x="51" y="33"/>
                    <a:pt x="51" y="33"/>
                    <a:pt x="51" y="33"/>
                  </a:cubicBezTo>
                  <a:cubicBezTo>
                    <a:pt x="51" y="33"/>
                    <a:pt x="51" y="33"/>
                    <a:pt x="51" y="32"/>
                  </a:cubicBezTo>
                  <a:cubicBezTo>
                    <a:pt x="50" y="31"/>
                    <a:pt x="50" y="31"/>
                    <a:pt x="50" y="31"/>
                  </a:cubicBezTo>
                  <a:cubicBezTo>
                    <a:pt x="50" y="31"/>
                    <a:pt x="50" y="31"/>
                    <a:pt x="50" y="31"/>
                  </a:cubicBezTo>
                  <a:close/>
                  <a:moveTo>
                    <a:pt x="47" y="31"/>
                  </a:moveTo>
                  <a:cubicBezTo>
                    <a:pt x="47" y="31"/>
                    <a:pt x="46" y="32"/>
                    <a:pt x="46" y="32"/>
                  </a:cubicBezTo>
                  <a:cubicBezTo>
                    <a:pt x="45" y="32"/>
                    <a:pt x="44" y="31"/>
                    <a:pt x="44" y="31"/>
                  </a:cubicBezTo>
                  <a:cubicBezTo>
                    <a:pt x="44" y="30"/>
                    <a:pt x="45" y="29"/>
                    <a:pt x="46" y="29"/>
                  </a:cubicBezTo>
                  <a:cubicBezTo>
                    <a:pt x="46" y="29"/>
                    <a:pt x="47" y="30"/>
                    <a:pt x="47" y="31"/>
                  </a:cubicBez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222" name="Group 221"/>
          <p:cNvGrpSpPr/>
          <p:nvPr/>
        </p:nvGrpSpPr>
        <p:grpSpPr>
          <a:xfrm>
            <a:off x="10723790" y="921741"/>
            <a:ext cx="1184952" cy="1184952"/>
            <a:chOff x="10402888" y="800100"/>
            <a:chExt cx="723900" cy="723900"/>
          </a:xfrm>
        </p:grpSpPr>
        <p:sp>
          <p:nvSpPr>
            <p:cNvPr id="192" name="Freeform 131"/>
            <p:cNvSpPr>
              <a:spLocks noEditPoints="1"/>
            </p:cNvSpPr>
            <p:nvPr/>
          </p:nvSpPr>
          <p:spPr bwMode="auto">
            <a:xfrm>
              <a:off x="10402888" y="800100"/>
              <a:ext cx="723900" cy="723900"/>
            </a:xfrm>
            <a:custGeom>
              <a:avLst/>
              <a:gdLst>
                <a:gd name="T0" fmla="*/ 130 w 326"/>
                <a:gd name="T1" fmla="*/ 323 h 326"/>
                <a:gd name="T2" fmla="*/ 152 w 326"/>
                <a:gd name="T3" fmla="*/ 321 h 326"/>
                <a:gd name="T4" fmla="*/ 174 w 326"/>
                <a:gd name="T5" fmla="*/ 326 h 326"/>
                <a:gd name="T6" fmla="*/ 195 w 326"/>
                <a:gd name="T7" fmla="*/ 318 h 326"/>
                <a:gd name="T8" fmla="*/ 174 w 326"/>
                <a:gd name="T9" fmla="*/ 326 h 326"/>
                <a:gd name="T10" fmla="*/ 88 w 326"/>
                <a:gd name="T11" fmla="*/ 308 h 326"/>
                <a:gd name="T12" fmla="*/ 110 w 326"/>
                <a:gd name="T13" fmla="*/ 312 h 326"/>
                <a:gd name="T14" fmla="*/ 218 w 326"/>
                <a:gd name="T15" fmla="*/ 317 h 326"/>
                <a:gd name="T16" fmla="*/ 236 w 326"/>
                <a:gd name="T17" fmla="*/ 303 h 326"/>
                <a:gd name="T18" fmla="*/ 218 w 326"/>
                <a:gd name="T19" fmla="*/ 317 h 326"/>
                <a:gd name="T20" fmla="*/ 52 w 326"/>
                <a:gd name="T21" fmla="*/ 283 h 326"/>
                <a:gd name="T22" fmla="*/ 72 w 326"/>
                <a:gd name="T23" fmla="*/ 292 h 326"/>
                <a:gd name="T24" fmla="*/ 257 w 326"/>
                <a:gd name="T25" fmla="*/ 296 h 326"/>
                <a:gd name="T26" fmla="*/ 271 w 326"/>
                <a:gd name="T27" fmla="*/ 278 h 326"/>
                <a:gd name="T28" fmla="*/ 257 w 326"/>
                <a:gd name="T29" fmla="*/ 296 h 326"/>
                <a:gd name="T30" fmla="*/ 24 w 326"/>
                <a:gd name="T31" fmla="*/ 248 h 326"/>
                <a:gd name="T32" fmla="*/ 41 w 326"/>
                <a:gd name="T33" fmla="*/ 263 h 326"/>
                <a:gd name="T34" fmla="*/ 289 w 326"/>
                <a:gd name="T35" fmla="*/ 266 h 326"/>
                <a:gd name="T36" fmla="*/ 298 w 326"/>
                <a:gd name="T37" fmla="*/ 245 h 326"/>
                <a:gd name="T38" fmla="*/ 289 w 326"/>
                <a:gd name="T39" fmla="*/ 266 h 326"/>
                <a:gd name="T40" fmla="*/ 6 w 326"/>
                <a:gd name="T41" fmla="*/ 207 h 326"/>
                <a:gd name="T42" fmla="*/ 18 w 326"/>
                <a:gd name="T43" fmla="*/ 226 h 326"/>
                <a:gd name="T44" fmla="*/ 313 w 326"/>
                <a:gd name="T45" fmla="*/ 228 h 326"/>
                <a:gd name="T46" fmla="*/ 315 w 326"/>
                <a:gd name="T47" fmla="*/ 206 h 326"/>
                <a:gd name="T48" fmla="*/ 313 w 326"/>
                <a:gd name="T49" fmla="*/ 228 h 326"/>
                <a:gd name="T50" fmla="*/ 0 w 326"/>
                <a:gd name="T51" fmla="*/ 164 h 326"/>
                <a:gd name="T52" fmla="*/ 7 w 326"/>
                <a:gd name="T53" fmla="*/ 185 h 326"/>
                <a:gd name="T54" fmla="*/ 324 w 326"/>
                <a:gd name="T55" fmla="*/ 185 h 326"/>
                <a:gd name="T56" fmla="*/ 321 w 326"/>
                <a:gd name="T57" fmla="*/ 163 h 326"/>
                <a:gd name="T58" fmla="*/ 326 w 326"/>
                <a:gd name="T59" fmla="*/ 163 h 326"/>
                <a:gd name="T60" fmla="*/ 324 w 326"/>
                <a:gd name="T61" fmla="*/ 185 h 326"/>
                <a:gd name="T62" fmla="*/ 1 w 326"/>
                <a:gd name="T63" fmla="*/ 141 h 326"/>
                <a:gd name="T64" fmla="*/ 11 w 326"/>
                <a:gd name="T65" fmla="*/ 121 h 326"/>
                <a:gd name="T66" fmla="*/ 319 w 326"/>
                <a:gd name="T67" fmla="*/ 141 h 326"/>
                <a:gd name="T68" fmla="*/ 320 w 326"/>
                <a:gd name="T69" fmla="*/ 119 h 326"/>
                <a:gd name="T70" fmla="*/ 319 w 326"/>
                <a:gd name="T71" fmla="*/ 141 h 326"/>
                <a:gd name="T72" fmla="*/ 13 w 326"/>
                <a:gd name="T73" fmla="*/ 99 h 326"/>
                <a:gd name="T74" fmla="*/ 28 w 326"/>
                <a:gd name="T75" fmla="*/ 82 h 326"/>
                <a:gd name="T76" fmla="*/ 307 w 326"/>
                <a:gd name="T77" fmla="*/ 100 h 326"/>
                <a:gd name="T78" fmla="*/ 302 w 326"/>
                <a:gd name="T79" fmla="*/ 78 h 326"/>
                <a:gd name="T80" fmla="*/ 307 w 326"/>
                <a:gd name="T81" fmla="*/ 100 h 326"/>
                <a:gd name="T82" fmla="*/ 36 w 326"/>
                <a:gd name="T83" fmla="*/ 61 h 326"/>
                <a:gd name="T84" fmla="*/ 55 w 326"/>
                <a:gd name="T85" fmla="*/ 48 h 326"/>
                <a:gd name="T86" fmla="*/ 285 w 326"/>
                <a:gd name="T87" fmla="*/ 63 h 326"/>
                <a:gd name="T88" fmla="*/ 274 w 326"/>
                <a:gd name="T89" fmla="*/ 44 h 326"/>
                <a:gd name="T90" fmla="*/ 285 w 326"/>
                <a:gd name="T91" fmla="*/ 63 h 326"/>
                <a:gd name="T92" fmla="*/ 69 w 326"/>
                <a:gd name="T93" fmla="*/ 30 h 326"/>
                <a:gd name="T94" fmla="*/ 90 w 326"/>
                <a:gd name="T95" fmla="*/ 23 h 326"/>
                <a:gd name="T96" fmla="*/ 254 w 326"/>
                <a:gd name="T97" fmla="*/ 34 h 326"/>
                <a:gd name="T98" fmla="*/ 238 w 326"/>
                <a:gd name="T99" fmla="*/ 18 h 326"/>
                <a:gd name="T100" fmla="*/ 254 w 326"/>
                <a:gd name="T101" fmla="*/ 34 h 326"/>
                <a:gd name="T102" fmla="*/ 108 w 326"/>
                <a:gd name="T103" fmla="*/ 10 h 326"/>
                <a:gd name="T104" fmla="*/ 130 w 326"/>
                <a:gd name="T105" fmla="*/ 9 h 326"/>
                <a:gd name="T106" fmla="*/ 215 w 326"/>
                <a:gd name="T107" fmla="*/ 15 h 326"/>
                <a:gd name="T108" fmla="*/ 196 w 326"/>
                <a:gd name="T109" fmla="*/ 3 h 326"/>
                <a:gd name="T110" fmla="*/ 215 w 326"/>
                <a:gd name="T111" fmla="*/ 15 h 326"/>
                <a:gd name="T112" fmla="*/ 151 w 326"/>
                <a:gd name="T113" fmla="*/ 1 h 326"/>
                <a:gd name="T114" fmla="*/ 173 w 326"/>
                <a:gd name="T115" fmla="*/ 6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26" h="326">
                  <a:moveTo>
                    <a:pt x="152" y="326"/>
                  </a:moveTo>
                  <a:cubicBezTo>
                    <a:pt x="145" y="325"/>
                    <a:pt x="137" y="324"/>
                    <a:pt x="130" y="323"/>
                  </a:cubicBezTo>
                  <a:cubicBezTo>
                    <a:pt x="131" y="318"/>
                    <a:pt x="131" y="318"/>
                    <a:pt x="131" y="318"/>
                  </a:cubicBezTo>
                  <a:cubicBezTo>
                    <a:pt x="138" y="319"/>
                    <a:pt x="145" y="320"/>
                    <a:pt x="152" y="321"/>
                  </a:cubicBezTo>
                  <a:lnTo>
                    <a:pt x="152" y="326"/>
                  </a:lnTo>
                  <a:close/>
                  <a:moveTo>
                    <a:pt x="174" y="326"/>
                  </a:moveTo>
                  <a:cubicBezTo>
                    <a:pt x="174" y="321"/>
                    <a:pt x="174" y="321"/>
                    <a:pt x="174" y="321"/>
                  </a:cubicBezTo>
                  <a:cubicBezTo>
                    <a:pt x="181" y="320"/>
                    <a:pt x="188" y="319"/>
                    <a:pt x="195" y="318"/>
                  </a:cubicBezTo>
                  <a:cubicBezTo>
                    <a:pt x="196" y="323"/>
                    <a:pt x="196" y="323"/>
                    <a:pt x="196" y="323"/>
                  </a:cubicBezTo>
                  <a:cubicBezTo>
                    <a:pt x="189" y="324"/>
                    <a:pt x="182" y="325"/>
                    <a:pt x="174" y="326"/>
                  </a:cubicBezTo>
                  <a:close/>
                  <a:moveTo>
                    <a:pt x="108" y="317"/>
                  </a:moveTo>
                  <a:cubicBezTo>
                    <a:pt x="101" y="314"/>
                    <a:pt x="95" y="312"/>
                    <a:pt x="88" y="308"/>
                  </a:cubicBezTo>
                  <a:cubicBezTo>
                    <a:pt x="91" y="303"/>
                    <a:pt x="91" y="303"/>
                    <a:pt x="91" y="303"/>
                  </a:cubicBezTo>
                  <a:cubicBezTo>
                    <a:pt x="97" y="307"/>
                    <a:pt x="104" y="309"/>
                    <a:pt x="110" y="312"/>
                  </a:cubicBezTo>
                  <a:lnTo>
                    <a:pt x="108" y="317"/>
                  </a:lnTo>
                  <a:close/>
                  <a:moveTo>
                    <a:pt x="218" y="317"/>
                  </a:moveTo>
                  <a:cubicBezTo>
                    <a:pt x="216" y="312"/>
                    <a:pt x="216" y="312"/>
                    <a:pt x="216" y="312"/>
                  </a:cubicBezTo>
                  <a:cubicBezTo>
                    <a:pt x="223" y="309"/>
                    <a:pt x="229" y="306"/>
                    <a:pt x="236" y="303"/>
                  </a:cubicBezTo>
                  <a:cubicBezTo>
                    <a:pt x="238" y="308"/>
                    <a:pt x="238" y="308"/>
                    <a:pt x="238" y="308"/>
                  </a:cubicBezTo>
                  <a:cubicBezTo>
                    <a:pt x="231" y="311"/>
                    <a:pt x="225" y="314"/>
                    <a:pt x="218" y="317"/>
                  </a:cubicBezTo>
                  <a:close/>
                  <a:moveTo>
                    <a:pt x="69" y="297"/>
                  </a:moveTo>
                  <a:cubicBezTo>
                    <a:pt x="63" y="292"/>
                    <a:pt x="57" y="288"/>
                    <a:pt x="52" y="283"/>
                  </a:cubicBezTo>
                  <a:cubicBezTo>
                    <a:pt x="55" y="279"/>
                    <a:pt x="55" y="279"/>
                    <a:pt x="55" y="279"/>
                  </a:cubicBezTo>
                  <a:cubicBezTo>
                    <a:pt x="61" y="283"/>
                    <a:pt x="66" y="288"/>
                    <a:pt x="72" y="292"/>
                  </a:cubicBezTo>
                  <a:lnTo>
                    <a:pt x="69" y="297"/>
                  </a:lnTo>
                  <a:close/>
                  <a:moveTo>
                    <a:pt x="257" y="296"/>
                  </a:moveTo>
                  <a:cubicBezTo>
                    <a:pt x="254" y="292"/>
                    <a:pt x="254" y="292"/>
                    <a:pt x="254" y="292"/>
                  </a:cubicBezTo>
                  <a:cubicBezTo>
                    <a:pt x="260" y="288"/>
                    <a:pt x="265" y="283"/>
                    <a:pt x="271" y="278"/>
                  </a:cubicBezTo>
                  <a:cubicBezTo>
                    <a:pt x="274" y="282"/>
                    <a:pt x="274" y="282"/>
                    <a:pt x="274" y="282"/>
                  </a:cubicBezTo>
                  <a:cubicBezTo>
                    <a:pt x="269" y="287"/>
                    <a:pt x="263" y="292"/>
                    <a:pt x="257" y="296"/>
                  </a:cubicBezTo>
                  <a:close/>
                  <a:moveTo>
                    <a:pt x="37" y="266"/>
                  </a:moveTo>
                  <a:cubicBezTo>
                    <a:pt x="32" y="261"/>
                    <a:pt x="28" y="254"/>
                    <a:pt x="24" y="248"/>
                  </a:cubicBezTo>
                  <a:cubicBezTo>
                    <a:pt x="28" y="245"/>
                    <a:pt x="28" y="245"/>
                    <a:pt x="28" y="245"/>
                  </a:cubicBezTo>
                  <a:cubicBezTo>
                    <a:pt x="32" y="251"/>
                    <a:pt x="36" y="257"/>
                    <a:pt x="41" y="263"/>
                  </a:cubicBezTo>
                  <a:lnTo>
                    <a:pt x="37" y="266"/>
                  </a:lnTo>
                  <a:close/>
                  <a:moveTo>
                    <a:pt x="289" y="266"/>
                  </a:moveTo>
                  <a:cubicBezTo>
                    <a:pt x="285" y="263"/>
                    <a:pt x="285" y="263"/>
                    <a:pt x="285" y="263"/>
                  </a:cubicBezTo>
                  <a:cubicBezTo>
                    <a:pt x="290" y="257"/>
                    <a:pt x="294" y="251"/>
                    <a:pt x="298" y="245"/>
                  </a:cubicBezTo>
                  <a:cubicBezTo>
                    <a:pt x="302" y="248"/>
                    <a:pt x="302" y="248"/>
                    <a:pt x="302" y="248"/>
                  </a:cubicBezTo>
                  <a:cubicBezTo>
                    <a:pt x="298" y="254"/>
                    <a:pt x="294" y="260"/>
                    <a:pt x="289" y="266"/>
                  </a:cubicBezTo>
                  <a:close/>
                  <a:moveTo>
                    <a:pt x="13" y="228"/>
                  </a:moveTo>
                  <a:cubicBezTo>
                    <a:pt x="10" y="222"/>
                    <a:pt x="8" y="215"/>
                    <a:pt x="6" y="207"/>
                  </a:cubicBezTo>
                  <a:cubicBezTo>
                    <a:pt x="11" y="206"/>
                    <a:pt x="11" y="206"/>
                    <a:pt x="11" y="206"/>
                  </a:cubicBezTo>
                  <a:cubicBezTo>
                    <a:pt x="13" y="213"/>
                    <a:pt x="16" y="220"/>
                    <a:pt x="18" y="226"/>
                  </a:cubicBezTo>
                  <a:lnTo>
                    <a:pt x="13" y="228"/>
                  </a:lnTo>
                  <a:close/>
                  <a:moveTo>
                    <a:pt x="313" y="228"/>
                  </a:moveTo>
                  <a:cubicBezTo>
                    <a:pt x="308" y="226"/>
                    <a:pt x="308" y="226"/>
                    <a:pt x="308" y="226"/>
                  </a:cubicBezTo>
                  <a:cubicBezTo>
                    <a:pt x="310" y="219"/>
                    <a:pt x="313" y="213"/>
                    <a:pt x="315" y="206"/>
                  </a:cubicBezTo>
                  <a:cubicBezTo>
                    <a:pt x="320" y="207"/>
                    <a:pt x="320" y="207"/>
                    <a:pt x="320" y="207"/>
                  </a:cubicBezTo>
                  <a:cubicBezTo>
                    <a:pt x="318" y="214"/>
                    <a:pt x="315" y="221"/>
                    <a:pt x="313" y="228"/>
                  </a:cubicBezTo>
                  <a:close/>
                  <a:moveTo>
                    <a:pt x="1" y="186"/>
                  </a:moveTo>
                  <a:cubicBezTo>
                    <a:pt x="0" y="178"/>
                    <a:pt x="0" y="171"/>
                    <a:pt x="0" y="164"/>
                  </a:cubicBezTo>
                  <a:cubicBezTo>
                    <a:pt x="5" y="163"/>
                    <a:pt x="5" y="163"/>
                    <a:pt x="5" y="163"/>
                  </a:cubicBezTo>
                  <a:cubicBezTo>
                    <a:pt x="5" y="171"/>
                    <a:pt x="6" y="178"/>
                    <a:pt x="7" y="185"/>
                  </a:cubicBezTo>
                  <a:lnTo>
                    <a:pt x="1" y="186"/>
                  </a:lnTo>
                  <a:close/>
                  <a:moveTo>
                    <a:pt x="324" y="185"/>
                  </a:moveTo>
                  <a:cubicBezTo>
                    <a:pt x="319" y="185"/>
                    <a:pt x="319" y="185"/>
                    <a:pt x="319" y="185"/>
                  </a:cubicBezTo>
                  <a:cubicBezTo>
                    <a:pt x="320" y="178"/>
                    <a:pt x="321" y="170"/>
                    <a:pt x="321" y="163"/>
                  </a:cubicBezTo>
                  <a:cubicBezTo>
                    <a:pt x="321" y="163"/>
                    <a:pt x="321" y="163"/>
                    <a:pt x="321" y="163"/>
                  </a:cubicBezTo>
                  <a:cubicBezTo>
                    <a:pt x="326" y="163"/>
                    <a:pt x="326" y="163"/>
                    <a:pt x="326" y="163"/>
                  </a:cubicBezTo>
                  <a:cubicBezTo>
                    <a:pt x="326" y="163"/>
                    <a:pt x="326" y="163"/>
                    <a:pt x="326" y="163"/>
                  </a:cubicBezTo>
                  <a:cubicBezTo>
                    <a:pt x="326" y="171"/>
                    <a:pt x="325" y="178"/>
                    <a:pt x="324" y="185"/>
                  </a:cubicBezTo>
                  <a:close/>
                  <a:moveTo>
                    <a:pt x="7" y="142"/>
                  </a:moveTo>
                  <a:cubicBezTo>
                    <a:pt x="1" y="141"/>
                    <a:pt x="1" y="141"/>
                    <a:pt x="1" y="141"/>
                  </a:cubicBezTo>
                  <a:cubicBezTo>
                    <a:pt x="2" y="134"/>
                    <a:pt x="4" y="127"/>
                    <a:pt x="6" y="120"/>
                  </a:cubicBezTo>
                  <a:cubicBezTo>
                    <a:pt x="11" y="121"/>
                    <a:pt x="11" y="121"/>
                    <a:pt x="11" y="121"/>
                  </a:cubicBezTo>
                  <a:cubicBezTo>
                    <a:pt x="9" y="128"/>
                    <a:pt x="8" y="135"/>
                    <a:pt x="7" y="142"/>
                  </a:cubicBezTo>
                  <a:close/>
                  <a:moveTo>
                    <a:pt x="319" y="141"/>
                  </a:moveTo>
                  <a:cubicBezTo>
                    <a:pt x="318" y="134"/>
                    <a:pt x="317" y="127"/>
                    <a:pt x="315" y="120"/>
                  </a:cubicBezTo>
                  <a:cubicBezTo>
                    <a:pt x="320" y="119"/>
                    <a:pt x="320" y="119"/>
                    <a:pt x="320" y="119"/>
                  </a:cubicBezTo>
                  <a:cubicBezTo>
                    <a:pt x="322" y="126"/>
                    <a:pt x="323" y="133"/>
                    <a:pt x="324" y="140"/>
                  </a:cubicBezTo>
                  <a:lnTo>
                    <a:pt x="319" y="141"/>
                  </a:lnTo>
                  <a:close/>
                  <a:moveTo>
                    <a:pt x="18" y="101"/>
                  </a:moveTo>
                  <a:cubicBezTo>
                    <a:pt x="13" y="99"/>
                    <a:pt x="13" y="99"/>
                    <a:pt x="13" y="99"/>
                  </a:cubicBezTo>
                  <a:cubicBezTo>
                    <a:pt x="16" y="92"/>
                    <a:pt x="20" y="85"/>
                    <a:pt x="23" y="79"/>
                  </a:cubicBezTo>
                  <a:cubicBezTo>
                    <a:pt x="28" y="82"/>
                    <a:pt x="28" y="82"/>
                    <a:pt x="28" y="82"/>
                  </a:cubicBezTo>
                  <a:cubicBezTo>
                    <a:pt x="24" y="88"/>
                    <a:pt x="21" y="94"/>
                    <a:pt x="18" y="101"/>
                  </a:cubicBezTo>
                  <a:close/>
                  <a:moveTo>
                    <a:pt x="307" y="100"/>
                  </a:moveTo>
                  <a:cubicBezTo>
                    <a:pt x="305" y="93"/>
                    <a:pt x="301" y="87"/>
                    <a:pt x="297" y="81"/>
                  </a:cubicBezTo>
                  <a:cubicBezTo>
                    <a:pt x="302" y="78"/>
                    <a:pt x="302" y="78"/>
                    <a:pt x="302" y="78"/>
                  </a:cubicBezTo>
                  <a:cubicBezTo>
                    <a:pt x="306" y="84"/>
                    <a:pt x="309" y="91"/>
                    <a:pt x="312" y="98"/>
                  </a:cubicBezTo>
                  <a:lnTo>
                    <a:pt x="307" y="100"/>
                  </a:lnTo>
                  <a:close/>
                  <a:moveTo>
                    <a:pt x="40" y="64"/>
                  </a:moveTo>
                  <a:cubicBezTo>
                    <a:pt x="36" y="61"/>
                    <a:pt x="36" y="61"/>
                    <a:pt x="36" y="61"/>
                  </a:cubicBezTo>
                  <a:cubicBezTo>
                    <a:pt x="41" y="55"/>
                    <a:pt x="46" y="49"/>
                    <a:pt x="51" y="44"/>
                  </a:cubicBezTo>
                  <a:cubicBezTo>
                    <a:pt x="55" y="48"/>
                    <a:pt x="55" y="48"/>
                    <a:pt x="55" y="48"/>
                  </a:cubicBezTo>
                  <a:cubicBezTo>
                    <a:pt x="50" y="53"/>
                    <a:pt x="45" y="58"/>
                    <a:pt x="40" y="64"/>
                  </a:cubicBezTo>
                  <a:close/>
                  <a:moveTo>
                    <a:pt x="285" y="63"/>
                  </a:moveTo>
                  <a:cubicBezTo>
                    <a:pt x="280" y="58"/>
                    <a:pt x="275" y="53"/>
                    <a:pt x="270" y="48"/>
                  </a:cubicBezTo>
                  <a:cubicBezTo>
                    <a:pt x="274" y="44"/>
                    <a:pt x="274" y="44"/>
                    <a:pt x="274" y="44"/>
                  </a:cubicBezTo>
                  <a:cubicBezTo>
                    <a:pt x="279" y="49"/>
                    <a:pt x="284" y="54"/>
                    <a:pt x="289" y="60"/>
                  </a:cubicBezTo>
                  <a:lnTo>
                    <a:pt x="285" y="63"/>
                  </a:lnTo>
                  <a:close/>
                  <a:moveTo>
                    <a:pt x="72" y="35"/>
                  </a:moveTo>
                  <a:cubicBezTo>
                    <a:pt x="69" y="30"/>
                    <a:pt x="69" y="30"/>
                    <a:pt x="69" y="30"/>
                  </a:cubicBezTo>
                  <a:cubicBezTo>
                    <a:pt x="75" y="26"/>
                    <a:pt x="81" y="22"/>
                    <a:pt x="88" y="19"/>
                  </a:cubicBezTo>
                  <a:cubicBezTo>
                    <a:pt x="90" y="23"/>
                    <a:pt x="90" y="23"/>
                    <a:pt x="90" y="23"/>
                  </a:cubicBezTo>
                  <a:cubicBezTo>
                    <a:pt x="84" y="27"/>
                    <a:pt x="78" y="30"/>
                    <a:pt x="72" y="35"/>
                  </a:cubicBezTo>
                  <a:close/>
                  <a:moveTo>
                    <a:pt x="254" y="34"/>
                  </a:moveTo>
                  <a:cubicBezTo>
                    <a:pt x="248" y="30"/>
                    <a:pt x="241" y="26"/>
                    <a:pt x="235" y="23"/>
                  </a:cubicBezTo>
                  <a:cubicBezTo>
                    <a:pt x="238" y="18"/>
                    <a:pt x="238" y="18"/>
                    <a:pt x="238" y="18"/>
                  </a:cubicBezTo>
                  <a:cubicBezTo>
                    <a:pt x="244" y="22"/>
                    <a:pt x="251" y="26"/>
                    <a:pt x="257" y="30"/>
                  </a:cubicBezTo>
                  <a:lnTo>
                    <a:pt x="254" y="34"/>
                  </a:lnTo>
                  <a:close/>
                  <a:moveTo>
                    <a:pt x="110" y="15"/>
                  </a:moveTo>
                  <a:cubicBezTo>
                    <a:pt x="108" y="10"/>
                    <a:pt x="108" y="10"/>
                    <a:pt x="108" y="10"/>
                  </a:cubicBezTo>
                  <a:cubicBezTo>
                    <a:pt x="115" y="7"/>
                    <a:pt x="122" y="5"/>
                    <a:pt x="129" y="4"/>
                  </a:cubicBezTo>
                  <a:cubicBezTo>
                    <a:pt x="130" y="9"/>
                    <a:pt x="130" y="9"/>
                    <a:pt x="130" y="9"/>
                  </a:cubicBezTo>
                  <a:cubicBezTo>
                    <a:pt x="123" y="10"/>
                    <a:pt x="117" y="12"/>
                    <a:pt x="110" y="15"/>
                  </a:cubicBezTo>
                  <a:close/>
                  <a:moveTo>
                    <a:pt x="215" y="15"/>
                  </a:moveTo>
                  <a:cubicBezTo>
                    <a:pt x="209" y="12"/>
                    <a:pt x="202" y="10"/>
                    <a:pt x="195" y="9"/>
                  </a:cubicBezTo>
                  <a:cubicBezTo>
                    <a:pt x="196" y="3"/>
                    <a:pt x="196" y="3"/>
                    <a:pt x="196" y="3"/>
                  </a:cubicBezTo>
                  <a:cubicBezTo>
                    <a:pt x="203" y="5"/>
                    <a:pt x="210" y="7"/>
                    <a:pt x="217" y="9"/>
                  </a:cubicBezTo>
                  <a:lnTo>
                    <a:pt x="215" y="15"/>
                  </a:lnTo>
                  <a:close/>
                  <a:moveTo>
                    <a:pt x="152" y="6"/>
                  </a:moveTo>
                  <a:cubicBezTo>
                    <a:pt x="151" y="1"/>
                    <a:pt x="151" y="1"/>
                    <a:pt x="151" y="1"/>
                  </a:cubicBezTo>
                  <a:cubicBezTo>
                    <a:pt x="159" y="0"/>
                    <a:pt x="166" y="0"/>
                    <a:pt x="174" y="1"/>
                  </a:cubicBezTo>
                  <a:cubicBezTo>
                    <a:pt x="173" y="6"/>
                    <a:pt x="173" y="6"/>
                    <a:pt x="173" y="6"/>
                  </a:cubicBezTo>
                  <a:cubicBezTo>
                    <a:pt x="166" y="5"/>
                    <a:pt x="159" y="5"/>
                    <a:pt x="152" y="6"/>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93" name="Oval 132"/>
            <p:cNvSpPr>
              <a:spLocks noChangeArrowheads="1"/>
            </p:cNvSpPr>
            <p:nvPr/>
          </p:nvSpPr>
          <p:spPr bwMode="auto">
            <a:xfrm>
              <a:off x="10409238" y="914400"/>
              <a:ext cx="601663" cy="604838"/>
            </a:xfrm>
            <a:prstGeom prst="ellipse">
              <a:avLst/>
            </a:prstGeom>
            <a:solidFill>
              <a:srgbClr val="E6E6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94" name="Freeform 133"/>
            <p:cNvSpPr>
              <a:spLocks noEditPoints="1"/>
            </p:cNvSpPr>
            <p:nvPr/>
          </p:nvSpPr>
          <p:spPr bwMode="auto">
            <a:xfrm>
              <a:off x="10402888" y="908050"/>
              <a:ext cx="615950" cy="615950"/>
            </a:xfrm>
            <a:custGeom>
              <a:avLst/>
              <a:gdLst>
                <a:gd name="T0" fmla="*/ 138 w 277"/>
                <a:gd name="T1" fmla="*/ 277 h 277"/>
                <a:gd name="T2" fmla="*/ 118 w 277"/>
                <a:gd name="T3" fmla="*/ 270 h 277"/>
                <a:gd name="T4" fmla="*/ 139 w 277"/>
                <a:gd name="T5" fmla="*/ 277 h 277"/>
                <a:gd name="T6" fmla="*/ 159 w 277"/>
                <a:gd name="T7" fmla="*/ 270 h 277"/>
                <a:gd name="T8" fmla="*/ 181 w 277"/>
                <a:gd name="T9" fmla="*/ 270 h 277"/>
                <a:gd name="T10" fmla="*/ 96 w 277"/>
                <a:gd name="T11" fmla="*/ 271 h 277"/>
                <a:gd name="T12" fmla="*/ 78 w 277"/>
                <a:gd name="T13" fmla="*/ 257 h 277"/>
                <a:gd name="T14" fmla="*/ 96 w 277"/>
                <a:gd name="T15" fmla="*/ 271 h 277"/>
                <a:gd name="T16" fmla="*/ 199 w 277"/>
                <a:gd name="T17" fmla="*/ 257 h 277"/>
                <a:gd name="T18" fmla="*/ 220 w 277"/>
                <a:gd name="T19" fmla="*/ 251 h 277"/>
                <a:gd name="T20" fmla="*/ 57 w 277"/>
                <a:gd name="T21" fmla="*/ 251 h 277"/>
                <a:gd name="T22" fmla="*/ 44 w 277"/>
                <a:gd name="T23" fmla="*/ 233 h 277"/>
                <a:gd name="T24" fmla="*/ 57 w 277"/>
                <a:gd name="T25" fmla="*/ 251 h 277"/>
                <a:gd name="T26" fmla="*/ 233 w 277"/>
                <a:gd name="T27" fmla="*/ 233 h 277"/>
                <a:gd name="T28" fmla="*/ 251 w 277"/>
                <a:gd name="T29" fmla="*/ 220 h 277"/>
                <a:gd name="T30" fmla="*/ 26 w 277"/>
                <a:gd name="T31" fmla="*/ 220 h 277"/>
                <a:gd name="T32" fmla="*/ 20 w 277"/>
                <a:gd name="T33" fmla="*/ 199 h 277"/>
                <a:gd name="T34" fmla="*/ 26 w 277"/>
                <a:gd name="T35" fmla="*/ 220 h 277"/>
                <a:gd name="T36" fmla="*/ 257 w 277"/>
                <a:gd name="T37" fmla="*/ 199 h 277"/>
                <a:gd name="T38" fmla="*/ 270 w 277"/>
                <a:gd name="T39" fmla="*/ 182 h 277"/>
                <a:gd name="T40" fmla="*/ 7 w 277"/>
                <a:gd name="T41" fmla="*/ 182 h 277"/>
                <a:gd name="T42" fmla="*/ 7 w 277"/>
                <a:gd name="T43" fmla="*/ 160 h 277"/>
                <a:gd name="T44" fmla="*/ 7 w 277"/>
                <a:gd name="T45" fmla="*/ 182 h 277"/>
                <a:gd name="T46" fmla="*/ 270 w 277"/>
                <a:gd name="T47" fmla="*/ 160 h 277"/>
                <a:gd name="T48" fmla="*/ 272 w 277"/>
                <a:gd name="T49" fmla="*/ 138 h 277"/>
                <a:gd name="T50" fmla="*/ 277 w 277"/>
                <a:gd name="T51" fmla="*/ 139 h 277"/>
                <a:gd name="T52" fmla="*/ 5 w 277"/>
                <a:gd name="T53" fmla="*/ 139 h 277"/>
                <a:gd name="T54" fmla="*/ 0 w 277"/>
                <a:gd name="T55" fmla="*/ 139 h 277"/>
                <a:gd name="T56" fmla="*/ 7 w 277"/>
                <a:gd name="T57" fmla="*/ 118 h 277"/>
                <a:gd name="T58" fmla="*/ 270 w 277"/>
                <a:gd name="T59" fmla="*/ 117 h 277"/>
                <a:gd name="T60" fmla="*/ 270 w 277"/>
                <a:gd name="T61" fmla="*/ 95 h 277"/>
                <a:gd name="T62" fmla="*/ 270 w 277"/>
                <a:gd name="T63" fmla="*/ 117 h 277"/>
                <a:gd name="T64" fmla="*/ 7 w 277"/>
                <a:gd name="T65" fmla="*/ 96 h 277"/>
                <a:gd name="T66" fmla="*/ 20 w 277"/>
                <a:gd name="T67" fmla="*/ 79 h 277"/>
                <a:gd name="T68" fmla="*/ 257 w 277"/>
                <a:gd name="T69" fmla="*/ 78 h 277"/>
                <a:gd name="T70" fmla="*/ 250 w 277"/>
                <a:gd name="T71" fmla="*/ 57 h 277"/>
                <a:gd name="T72" fmla="*/ 257 w 277"/>
                <a:gd name="T73" fmla="*/ 78 h 277"/>
                <a:gd name="T74" fmla="*/ 26 w 277"/>
                <a:gd name="T75" fmla="*/ 58 h 277"/>
                <a:gd name="T76" fmla="*/ 44 w 277"/>
                <a:gd name="T77" fmla="*/ 45 h 277"/>
                <a:gd name="T78" fmla="*/ 232 w 277"/>
                <a:gd name="T79" fmla="*/ 44 h 277"/>
                <a:gd name="T80" fmla="*/ 219 w 277"/>
                <a:gd name="T81" fmla="*/ 26 h 277"/>
                <a:gd name="T82" fmla="*/ 232 w 277"/>
                <a:gd name="T83" fmla="*/ 44 h 277"/>
                <a:gd name="T84" fmla="*/ 57 w 277"/>
                <a:gd name="T85" fmla="*/ 27 h 277"/>
                <a:gd name="T86" fmla="*/ 78 w 277"/>
                <a:gd name="T87" fmla="*/ 20 h 277"/>
                <a:gd name="T88" fmla="*/ 198 w 277"/>
                <a:gd name="T89" fmla="*/ 20 h 277"/>
                <a:gd name="T90" fmla="*/ 181 w 277"/>
                <a:gd name="T91" fmla="*/ 7 h 277"/>
                <a:gd name="T92" fmla="*/ 198 w 277"/>
                <a:gd name="T93" fmla="*/ 20 h 277"/>
                <a:gd name="T94" fmla="*/ 95 w 277"/>
                <a:gd name="T95" fmla="*/ 7 h 277"/>
                <a:gd name="T96" fmla="*/ 117 w 277"/>
                <a:gd name="T97" fmla="*/ 7 h 277"/>
                <a:gd name="T98" fmla="*/ 159 w 277"/>
                <a:gd name="T99" fmla="*/ 7 h 277"/>
                <a:gd name="T100" fmla="*/ 138 w 277"/>
                <a:gd name="T101" fmla="*/ 6 h 277"/>
                <a:gd name="T102" fmla="*/ 138 w 277"/>
                <a:gd name="T103" fmla="*/ 0 h 277"/>
                <a:gd name="T104" fmla="*/ 159 w 277"/>
                <a:gd name="T105" fmla="*/ 7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77" h="277">
                  <a:moveTo>
                    <a:pt x="139" y="277"/>
                  </a:moveTo>
                  <a:cubicBezTo>
                    <a:pt x="138" y="277"/>
                    <a:pt x="138" y="277"/>
                    <a:pt x="138" y="277"/>
                  </a:cubicBezTo>
                  <a:cubicBezTo>
                    <a:pt x="131" y="277"/>
                    <a:pt x="124" y="277"/>
                    <a:pt x="117" y="276"/>
                  </a:cubicBezTo>
                  <a:cubicBezTo>
                    <a:pt x="118" y="270"/>
                    <a:pt x="118" y="270"/>
                    <a:pt x="118" y="270"/>
                  </a:cubicBezTo>
                  <a:cubicBezTo>
                    <a:pt x="125" y="271"/>
                    <a:pt x="131" y="272"/>
                    <a:pt x="138" y="272"/>
                  </a:cubicBezTo>
                  <a:lnTo>
                    <a:pt x="139" y="277"/>
                  </a:lnTo>
                  <a:close/>
                  <a:moveTo>
                    <a:pt x="160" y="276"/>
                  </a:moveTo>
                  <a:cubicBezTo>
                    <a:pt x="159" y="270"/>
                    <a:pt x="159" y="270"/>
                    <a:pt x="159" y="270"/>
                  </a:cubicBezTo>
                  <a:cubicBezTo>
                    <a:pt x="166" y="269"/>
                    <a:pt x="173" y="268"/>
                    <a:pt x="180" y="265"/>
                  </a:cubicBezTo>
                  <a:cubicBezTo>
                    <a:pt x="181" y="270"/>
                    <a:pt x="181" y="270"/>
                    <a:pt x="181" y="270"/>
                  </a:cubicBezTo>
                  <a:cubicBezTo>
                    <a:pt x="174" y="273"/>
                    <a:pt x="167" y="274"/>
                    <a:pt x="160" y="276"/>
                  </a:cubicBezTo>
                  <a:close/>
                  <a:moveTo>
                    <a:pt x="96" y="271"/>
                  </a:moveTo>
                  <a:cubicBezTo>
                    <a:pt x="89" y="268"/>
                    <a:pt x="82" y="266"/>
                    <a:pt x="76" y="262"/>
                  </a:cubicBezTo>
                  <a:cubicBezTo>
                    <a:pt x="78" y="257"/>
                    <a:pt x="78" y="257"/>
                    <a:pt x="78" y="257"/>
                  </a:cubicBezTo>
                  <a:cubicBezTo>
                    <a:pt x="84" y="261"/>
                    <a:pt x="91" y="263"/>
                    <a:pt x="97" y="265"/>
                  </a:cubicBezTo>
                  <a:lnTo>
                    <a:pt x="96" y="271"/>
                  </a:lnTo>
                  <a:close/>
                  <a:moveTo>
                    <a:pt x="201" y="262"/>
                  </a:moveTo>
                  <a:cubicBezTo>
                    <a:pt x="199" y="257"/>
                    <a:pt x="199" y="257"/>
                    <a:pt x="199" y="257"/>
                  </a:cubicBezTo>
                  <a:cubicBezTo>
                    <a:pt x="205" y="254"/>
                    <a:pt x="211" y="251"/>
                    <a:pt x="217" y="246"/>
                  </a:cubicBezTo>
                  <a:cubicBezTo>
                    <a:pt x="220" y="251"/>
                    <a:pt x="220" y="251"/>
                    <a:pt x="220" y="251"/>
                  </a:cubicBezTo>
                  <a:cubicBezTo>
                    <a:pt x="214" y="255"/>
                    <a:pt x="208" y="259"/>
                    <a:pt x="201" y="262"/>
                  </a:cubicBezTo>
                  <a:close/>
                  <a:moveTo>
                    <a:pt x="57" y="251"/>
                  </a:moveTo>
                  <a:cubicBezTo>
                    <a:pt x="51" y="247"/>
                    <a:pt x="46" y="242"/>
                    <a:pt x="41" y="237"/>
                  </a:cubicBezTo>
                  <a:cubicBezTo>
                    <a:pt x="44" y="233"/>
                    <a:pt x="44" y="233"/>
                    <a:pt x="44" y="233"/>
                  </a:cubicBezTo>
                  <a:cubicBezTo>
                    <a:pt x="49" y="238"/>
                    <a:pt x="55" y="242"/>
                    <a:pt x="60" y="247"/>
                  </a:cubicBezTo>
                  <a:lnTo>
                    <a:pt x="57" y="251"/>
                  </a:lnTo>
                  <a:close/>
                  <a:moveTo>
                    <a:pt x="236" y="237"/>
                  </a:moveTo>
                  <a:cubicBezTo>
                    <a:pt x="233" y="233"/>
                    <a:pt x="233" y="233"/>
                    <a:pt x="233" y="233"/>
                  </a:cubicBezTo>
                  <a:cubicBezTo>
                    <a:pt x="238" y="228"/>
                    <a:pt x="242" y="223"/>
                    <a:pt x="246" y="217"/>
                  </a:cubicBezTo>
                  <a:cubicBezTo>
                    <a:pt x="251" y="220"/>
                    <a:pt x="251" y="220"/>
                    <a:pt x="251" y="220"/>
                  </a:cubicBezTo>
                  <a:cubicBezTo>
                    <a:pt x="246" y="226"/>
                    <a:pt x="242" y="232"/>
                    <a:pt x="236" y="237"/>
                  </a:cubicBezTo>
                  <a:close/>
                  <a:moveTo>
                    <a:pt x="26" y="220"/>
                  </a:moveTo>
                  <a:cubicBezTo>
                    <a:pt x="22" y="215"/>
                    <a:pt x="18" y="208"/>
                    <a:pt x="15" y="202"/>
                  </a:cubicBezTo>
                  <a:cubicBezTo>
                    <a:pt x="20" y="199"/>
                    <a:pt x="20" y="199"/>
                    <a:pt x="20" y="199"/>
                  </a:cubicBezTo>
                  <a:cubicBezTo>
                    <a:pt x="23" y="206"/>
                    <a:pt x="27" y="212"/>
                    <a:pt x="31" y="217"/>
                  </a:cubicBezTo>
                  <a:lnTo>
                    <a:pt x="26" y="220"/>
                  </a:lnTo>
                  <a:close/>
                  <a:moveTo>
                    <a:pt x="262" y="202"/>
                  </a:moveTo>
                  <a:cubicBezTo>
                    <a:pt x="257" y="199"/>
                    <a:pt x="257" y="199"/>
                    <a:pt x="257" y="199"/>
                  </a:cubicBezTo>
                  <a:cubicBezTo>
                    <a:pt x="260" y="193"/>
                    <a:pt x="263" y="186"/>
                    <a:pt x="265" y="180"/>
                  </a:cubicBezTo>
                  <a:cubicBezTo>
                    <a:pt x="270" y="182"/>
                    <a:pt x="270" y="182"/>
                    <a:pt x="270" y="182"/>
                  </a:cubicBezTo>
                  <a:cubicBezTo>
                    <a:pt x="268" y="188"/>
                    <a:pt x="265" y="195"/>
                    <a:pt x="262" y="202"/>
                  </a:cubicBezTo>
                  <a:close/>
                  <a:moveTo>
                    <a:pt x="7" y="182"/>
                  </a:moveTo>
                  <a:cubicBezTo>
                    <a:pt x="4" y="175"/>
                    <a:pt x="3" y="168"/>
                    <a:pt x="2" y="161"/>
                  </a:cubicBezTo>
                  <a:cubicBezTo>
                    <a:pt x="7" y="160"/>
                    <a:pt x="7" y="160"/>
                    <a:pt x="7" y="160"/>
                  </a:cubicBezTo>
                  <a:cubicBezTo>
                    <a:pt x="8" y="167"/>
                    <a:pt x="10" y="174"/>
                    <a:pt x="12" y="180"/>
                  </a:cubicBezTo>
                  <a:lnTo>
                    <a:pt x="7" y="182"/>
                  </a:lnTo>
                  <a:close/>
                  <a:moveTo>
                    <a:pt x="275" y="160"/>
                  </a:moveTo>
                  <a:cubicBezTo>
                    <a:pt x="270" y="160"/>
                    <a:pt x="270" y="160"/>
                    <a:pt x="270" y="160"/>
                  </a:cubicBezTo>
                  <a:cubicBezTo>
                    <a:pt x="271" y="153"/>
                    <a:pt x="272" y="146"/>
                    <a:pt x="272" y="139"/>
                  </a:cubicBezTo>
                  <a:cubicBezTo>
                    <a:pt x="272" y="138"/>
                    <a:pt x="272" y="138"/>
                    <a:pt x="272" y="138"/>
                  </a:cubicBezTo>
                  <a:cubicBezTo>
                    <a:pt x="277" y="138"/>
                    <a:pt x="277" y="138"/>
                    <a:pt x="277" y="138"/>
                  </a:cubicBezTo>
                  <a:cubicBezTo>
                    <a:pt x="277" y="139"/>
                    <a:pt x="277" y="139"/>
                    <a:pt x="277" y="139"/>
                  </a:cubicBezTo>
                  <a:cubicBezTo>
                    <a:pt x="277" y="146"/>
                    <a:pt x="276" y="153"/>
                    <a:pt x="275" y="160"/>
                  </a:cubicBezTo>
                  <a:close/>
                  <a:moveTo>
                    <a:pt x="5" y="139"/>
                  </a:moveTo>
                  <a:cubicBezTo>
                    <a:pt x="0" y="139"/>
                    <a:pt x="0" y="139"/>
                    <a:pt x="0" y="139"/>
                  </a:cubicBezTo>
                  <a:cubicBezTo>
                    <a:pt x="0" y="139"/>
                    <a:pt x="0" y="139"/>
                    <a:pt x="0" y="139"/>
                  </a:cubicBezTo>
                  <a:cubicBezTo>
                    <a:pt x="0" y="132"/>
                    <a:pt x="0" y="124"/>
                    <a:pt x="2" y="117"/>
                  </a:cubicBezTo>
                  <a:cubicBezTo>
                    <a:pt x="7" y="118"/>
                    <a:pt x="7" y="118"/>
                    <a:pt x="7" y="118"/>
                  </a:cubicBezTo>
                  <a:cubicBezTo>
                    <a:pt x="6" y="125"/>
                    <a:pt x="5" y="132"/>
                    <a:pt x="5" y="139"/>
                  </a:cubicBezTo>
                  <a:close/>
                  <a:moveTo>
                    <a:pt x="270" y="117"/>
                  </a:moveTo>
                  <a:cubicBezTo>
                    <a:pt x="269" y="111"/>
                    <a:pt x="267" y="104"/>
                    <a:pt x="265" y="97"/>
                  </a:cubicBezTo>
                  <a:cubicBezTo>
                    <a:pt x="270" y="95"/>
                    <a:pt x="270" y="95"/>
                    <a:pt x="270" y="95"/>
                  </a:cubicBezTo>
                  <a:cubicBezTo>
                    <a:pt x="272" y="102"/>
                    <a:pt x="274" y="109"/>
                    <a:pt x="275" y="117"/>
                  </a:cubicBezTo>
                  <a:lnTo>
                    <a:pt x="270" y="117"/>
                  </a:lnTo>
                  <a:close/>
                  <a:moveTo>
                    <a:pt x="12" y="98"/>
                  </a:moveTo>
                  <a:cubicBezTo>
                    <a:pt x="7" y="96"/>
                    <a:pt x="7" y="96"/>
                    <a:pt x="7" y="96"/>
                  </a:cubicBezTo>
                  <a:cubicBezTo>
                    <a:pt x="9" y="89"/>
                    <a:pt x="12" y="83"/>
                    <a:pt x="15" y="76"/>
                  </a:cubicBezTo>
                  <a:cubicBezTo>
                    <a:pt x="20" y="79"/>
                    <a:pt x="20" y="79"/>
                    <a:pt x="20" y="79"/>
                  </a:cubicBezTo>
                  <a:cubicBezTo>
                    <a:pt x="16" y="85"/>
                    <a:pt x="14" y="91"/>
                    <a:pt x="12" y="98"/>
                  </a:cubicBezTo>
                  <a:close/>
                  <a:moveTo>
                    <a:pt x="257" y="78"/>
                  </a:moveTo>
                  <a:cubicBezTo>
                    <a:pt x="254" y="72"/>
                    <a:pt x="250" y="66"/>
                    <a:pt x="246" y="60"/>
                  </a:cubicBezTo>
                  <a:cubicBezTo>
                    <a:pt x="250" y="57"/>
                    <a:pt x="250" y="57"/>
                    <a:pt x="250" y="57"/>
                  </a:cubicBezTo>
                  <a:cubicBezTo>
                    <a:pt x="254" y="63"/>
                    <a:pt x="258" y="69"/>
                    <a:pt x="262" y="75"/>
                  </a:cubicBezTo>
                  <a:lnTo>
                    <a:pt x="257" y="78"/>
                  </a:lnTo>
                  <a:close/>
                  <a:moveTo>
                    <a:pt x="31" y="61"/>
                  </a:moveTo>
                  <a:cubicBezTo>
                    <a:pt x="26" y="58"/>
                    <a:pt x="26" y="58"/>
                    <a:pt x="26" y="58"/>
                  </a:cubicBezTo>
                  <a:cubicBezTo>
                    <a:pt x="30" y="52"/>
                    <a:pt x="35" y="46"/>
                    <a:pt x="40" y="41"/>
                  </a:cubicBezTo>
                  <a:cubicBezTo>
                    <a:pt x="44" y="45"/>
                    <a:pt x="44" y="45"/>
                    <a:pt x="44" y="45"/>
                  </a:cubicBezTo>
                  <a:cubicBezTo>
                    <a:pt x="39" y="50"/>
                    <a:pt x="35" y="55"/>
                    <a:pt x="31" y="61"/>
                  </a:cubicBezTo>
                  <a:close/>
                  <a:moveTo>
                    <a:pt x="232" y="44"/>
                  </a:moveTo>
                  <a:cubicBezTo>
                    <a:pt x="227" y="39"/>
                    <a:pt x="222" y="35"/>
                    <a:pt x="216" y="31"/>
                  </a:cubicBezTo>
                  <a:cubicBezTo>
                    <a:pt x="219" y="26"/>
                    <a:pt x="219" y="26"/>
                    <a:pt x="219" y="26"/>
                  </a:cubicBezTo>
                  <a:cubicBezTo>
                    <a:pt x="225" y="31"/>
                    <a:pt x="231" y="35"/>
                    <a:pt x="236" y="40"/>
                  </a:cubicBezTo>
                  <a:lnTo>
                    <a:pt x="232" y="44"/>
                  </a:lnTo>
                  <a:close/>
                  <a:moveTo>
                    <a:pt x="60" y="31"/>
                  </a:moveTo>
                  <a:cubicBezTo>
                    <a:pt x="57" y="27"/>
                    <a:pt x="57" y="27"/>
                    <a:pt x="57" y="27"/>
                  </a:cubicBezTo>
                  <a:cubicBezTo>
                    <a:pt x="63" y="23"/>
                    <a:pt x="69" y="19"/>
                    <a:pt x="75" y="15"/>
                  </a:cubicBezTo>
                  <a:cubicBezTo>
                    <a:pt x="78" y="20"/>
                    <a:pt x="78" y="20"/>
                    <a:pt x="78" y="20"/>
                  </a:cubicBezTo>
                  <a:cubicBezTo>
                    <a:pt x="71" y="23"/>
                    <a:pt x="65" y="27"/>
                    <a:pt x="60" y="31"/>
                  </a:cubicBezTo>
                  <a:close/>
                  <a:moveTo>
                    <a:pt x="198" y="20"/>
                  </a:moveTo>
                  <a:cubicBezTo>
                    <a:pt x="192" y="17"/>
                    <a:pt x="186" y="14"/>
                    <a:pt x="179" y="12"/>
                  </a:cubicBezTo>
                  <a:cubicBezTo>
                    <a:pt x="181" y="7"/>
                    <a:pt x="181" y="7"/>
                    <a:pt x="181" y="7"/>
                  </a:cubicBezTo>
                  <a:cubicBezTo>
                    <a:pt x="188" y="9"/>
                    <a:pt x="194" y="12"/>
                    <a:pt x="201" y="15"/>
                  </a:cubicBezTo>
                  <a:lnTo>
                    <a:pt x="198" y="20"/>
                  </a:lnTo>
                  <a:close/>
                  <a:moveTo>
                    <a:pt x="97" y="12"/>
                  </a:moveTo>
                  <a:cubicBezTo>
                    <a:pt x="95" y="7"/>
                    <a:pt x="95" y="7"/>
                    <a:pt x="95" y="7"/>
                  </a:cubicBezTo>
                  <a:cubicBezTo>
                    <a:pt x="102" y="5"/>
                    <a:pt x="109" y="3"/>
                    <a:pt x="116" y="2"/>
                  </a:cubicBezTo>
                  <a:cubicBezTo>
                    <a:pt x="117" y="7"/>
                    <a:pt x="117" y="7"/>
                    <a:pt x="117" y="7"/>
                  </a:cubicBezTo>
                  <a:cubicBezTo>
                    <a:pt x="110" y="8"/>
                    <a:pt x="103" y="10"/>
                    <a:pt x="97" y="12"/>
                  </a:cubicBezTo>
                  <a:close/>
                  <a:moveTo>
                    <a:pt x="159" y="7"/>
                  </a:moveTo>
                  <a:cubicBezTo>
                    <a:pt x="152" y="6"/>
                    <a:pt x="145" y="6"/>
                    <a:pt x="138" y="6"/>
                  </a:cubicBezTo>
                  <a:cubicBezTo>
                    <a:pt x="138" y="6"/>
                    <a:pt x="138" y="6"/>
                    <a:pt x="138" y="6"/>
                  </a:cubicBezTo>
                  <a:cubicBezTo>
                    <a:pt x="138" y="0"/>
                    <a:pt x="138" y="0"/>
                    <a:pt x="138" y="0"/>
                  </a:cubicBezTo>
                  <a:cubicBezTo>
                    <a:pt x="138" y="0"/>
                    <a:pt x="138" y="0"/>
                    <a:pt x="138" y="0"/>
                  </a:cubicBezTo>
                  <a:cubicBezTo>
                    <a:pt x="146" y="0"/>
                    <a:pt x="153" y="1"/>
                    <a:pt x="160" y="2"/>
                  </a:cubicBezTo>
                  <a:lnTo>
                    <a:pt x="159" y="7"/>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95" name="Oval 134"/>
            <p:cNvSpPr>
              <a:spLocks noChangeArrowheads="1"/>
            </p:cNvSpPr>
            <p:nvPr/>
          </p:nvSpPr>
          <p:spPr bwMode="auto">
            <a:xfrm>
              <a:off x="10409238" y="1030288"/>
              <a:ext cx="487363" cy="488950"/>
            </a:xfrm>
            <a:prstGeom prst="ellipse">
              <a:avLst/>
            </a:pr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96" name="Freeform 135"/>
            <p:cNvSpPr>
              <a:spLocks noEditPoints="1"/>
            </p:cNvSpPr>
            <p:nvPr/>
          </p:nvSpPr>
          <p:spPr bwMode="auto">
            <a:xfrm>
              <a:off x="10402888" y="1025525"/>
              <a:ext cx="500063" cy="498475"/>
            </a:xfrm>
            <a:custGeom>
              <a:avLst/>
              <a:gdLst>
                <a:gd name="T0" fmla="*/ 112 w 225"/>
                <a:gd name="T1" fmla="*/ 224 h 224"/>
                <a:gd name="T2" fmla="*/ 92 w 225"/>
                <a:gd name="T3" fmla="*/ 217 h 224"/>
                <a:gd name="T4" fmla="*/ 112 w 225"/>
                <a:gd name="T5" fmla="*/ 224 h 224"/>
                <a:gd name="T6" fmla="*/ 133 w 225"/>
                <a:gd name="T7" fmla="*/ 217 h 224"/>
                <a:gd name="T8" fmla="*/ 155 w 225"/>
                <a:gd name="T9" fmla="*/ 216 h 224"/>
                <a:gd name="T10" fmla="*/ 69 w 225"/>
                <a:gd name="T11" fmla="*/ 216 h 224"/>
                <a:gd name="T12" fmla="*/ 53 w 225"/>
                <a:gd name="T13" fmla="*/ 201 h 224"/>
                <a:gd name="T14" fmla="*/ 69 w 225"/>
                <a:gd name="T15" fmla="*/ 216 h 224"/>
                <a:gd name="T16" fmla="*/ 172 w 225"/>
                <a:gd name="T17" fmla="*/ 201 h 224"/>
                <a:gd name="T18" fmla="*/ 192 w 225"/>
                <a:gd name="T19" fmla="*/ 191 h 224"/>
                <a:gd name="T20" fmla="*/ 33 w 225"/>
                <a:gd name="T21" fmla="*/ 191 h 224"/>
                <a:gd name="T22" fmla="*/ 23 w 225"/>
                <a:gd name="T23" fmla="*/ 171 h 224"/>
                <a:gd name="T24" fmla="*/ 33 w 225"/>
                <a:gd name="T25" fmla="*/ 191 h 224"/>
                <a:gd name="T26" fmla="*/ 201 w 225"/>
                <a:gd name="T27" fmla="*/ 171 h 224"/>
                <a:gd name="T28" fmla="*/ 216 w 225"/>
                <a:gd name="T29" fmla="*/ 155 h 224"/>
                <a:gd name="T30" fmla="*/ 8 w 225"/>
                <a:gd name="T31" fmla="*/ 155 h 224"/>
                <a:gd name="T32" fmla="*/ 7 w 225"/>
                <a:gd name="T33" fmla="*/ 133 h 224"/>
                <a:gd name="T34" fmla="*/ 8 w 225"/>
                <a:gd name="T35" fmla="*/ 155 h 224"/>
                <a:gd name="T36" fmla="*/ 217 w 225"/>
                <a:gd name="T37" fmla="*/ 133 h 224"/>
                <a:gd name="T38" fmla="*/ 219 w 225"/>
                <a:gd name="T39" fmla="*/ 111 h 224"/>
                <a:gd name="T40" fmla="*/ 225 w 225"/>
                <a:gd name="T41" fmla="*/ 112 h 224"/>
                <a:gd name="T42" fmla="*/ 0 w 225"/>
                <a:gd name="T43" fmla="*/ 112 h 224"/>
                <a:gd name="T44" fmla="*/ 2 w 225"/>
                <a:gd name="T45" fmla="*/ 90 h 224"/>
                <a:gd name="T46" fmla="*/ 5 w 225"/>
                <a:gd name="T47" fmla="*/ 112 h 224"/>
                <a:gd name="T48" fmla="*/ 217 w 225"/>
                <a:gd name="T49" fmla="*/ 91 h 224"/>
                <a:gd name="T50" fmla="*/ 216 w 225"/>
                <a:gd name="T51" fmla="*/ 68 h 224"/>
                <a:gd name="T52" fmla="*/ 217 w 225"/>
                <a:gd name="T53" fmla="*/ 91 h 224"/>
                <a:gd name="T54" fmla="*/ 8 w 225"/>
                <a:gd name="T55" fmla="*/ 69 h 224"/>
                <a:gd name="T56" fmla="*/ 23 w 225"/>
                <a:gd name="T57" fmla="*/ 53 h 224"/>
                <a:gd name="T58" fmla="*/ 201 w 225"/>
                <a:gd name="T59" fmla="*/ 52 h 224"/>
                <a:gd name="T60" fmla="*/ 191 w 225"/>
                <a:gd name="T61" fmla="*/ 32 h 224"/>
                <a:gd name="T62" fmla="*/ 201 w 225"/>
                <a:gd name="T63" fmla="*/ 52 h 224"/>
                <a:gd name="T64" fmla="*/ 33 w 225"/>
                <a:gd name="T65" fmla="*/ 33 h 224"/>
                <a:gd name="T66" fmla="*/ 53 w 225"/>
                <a:gd name="T67" fmla="*/ 23 h 224"/>
                <a:gd name="T68" fmla="*/ 171 w 225"/>
                <a:gd name="T69" fmla="*/ 23 h 224"/>
                <a:gd name="T70" fmla="*/ 155 w 225"/>
                <a:gd name="T71" fmla="*/ 8 h 224"/>
                <a:gd name="T72" fmla="*/ 171 w 225"/>
                <a:gd name="T73" fmla="*/ 23 h 224"/>
                <a:gd name="T74" fmla="*/ 69 w 225"/>
                <a:gd name="T75" fmla="*/ 8 h 224"/>
                <a:gd name="T76" fmla="*/ 91 w 225"/>
                <a:gd name="T77" fmla="*/ 7 h 224"/>
                <a:gd name="T78" fmla="*/ 133 w 225"/>
                <a:gd name="T79" fmla="*/ 7 h 224"/>
                <a:gd name="T80" fmla="*/ 112 w 225"/>
                <a:gd name="T81" fmla="*/ 5 h 224"/>
                <a:gd name="T82" fmla="*/ 112 w 225"/>
                <a:gd name="T83" fmla="*/ 0 h 224"/>
                <a:gd name="T84" fmla="*/ 133 w 225"/>
                <a:gd name="T85" fmla="*/ 7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25" h="224">
                  <a:moveTo>
                    <a:pt x="112" y="224"/>
                  </a:moveTo>
                  <a:cubicBezTo>
                    <a:pt x="112" y="224"/>
                    <a:pt x="112" y="224"/>
                    <a:pt x="112" y="224"/>
                  </a:cubicBezTo>
                  <a:cubicBezTo>
                    <a:pt x="105" y="224"/>
                    <a:pt x="98" y="224"/>
                    <a:pt x="90" y="222"/>
                  </a:cubicBezTo>
                  <a:cubicBezTo>
                    <a:pt x="92" y="217"/>
                    <a:pt x="92" y="217"/>
                    <a:pt x="92" y="217"/>
                  </a:cubicBezTo>
                  <a:cubicBezTo>
                    <a:pt x="98" y="218"/>
                    <a:pt x="105" y="219"/>
                    <a:pt x="112" y="219"/>
                  </a:cubicBezTo>
                  <a:lnTo>
                    <a:pt x="112" y="224"/>
                  </a:lnTo>
                  <a:close/>
                  <a:moveTo>
                    <a:pt x="134" y="222"/>
                  </a:moveTo>
                  <a:cubicBezTo>
                    <a:pt x="133" y="217"/>
                    <a:pt x="133" y="217"/>
                    <a:pt x="133" y="217"/>
                  </a:cubicBezTo>
                  <a:cubicBezTo>
                    <a:pt x="140" y="215"/>
                    <a:pt x="147" y="213"/>
                    <a:pt x="153" y="211"/>
                  </a:cubicBezTo>
                  <a:cubicBezTo>
                    <a:pt x="155" y="216"/>
                    <a:pt x="155" y="216"/>
                    <a:pt x="155" y="216"/>
                  </a:cubicBezTo>
                  <a:cubicBezTo>
                    <a:pt x="149" y="219"/>
                    <a:pt x="141" y="221"/>
                    <a:pt x="134" y="222"/>
                  </a:cubicBezTo>
                  <a:close/>
                  <a:moveTo>
                    <a:pt x="69" y="216"/>
                  </a:moveTo>
                  <a:cubicBezTo>
                    <a:pt x="63" y="213"/>
                    <a:pt x="56" y="210"/>
                    <a:pt x="50" y="205"/>
                  </a:cubicBezTo>
                  <a:cubicBezTo>
                    <a:pt x="53" y="201"/>
                    <a:pt x="53" y="201"/>
                    <a:pt x="53" y="201"/>
                  </a:cubicBezTo>
                  <a:cubicBezTo>
                    <a:pt x="59" y="205"/>
                    <a:pt x="65" y="208"/>
                    <a:pt x="71" y="211"/>
                  </a:cubicBezTo>
                  <a:lnTo>
                    <a:pt x="69" y="216"/>
                  </a:lnTo>
                  <a:close/>
                  <a:moveTo>
                    <a:pt x="175" y="205"/>
                  </a:moveTo>
                  <a:cubicBezTo>
                    <a:pt x="172" y="201"/>
                    <a:pt x="172" y="201"/>
                    <a:pt x="172" y="201"/>
                  </a:cubicBezTo>
                  <a:cubicBezTo>
                    <a:pt x="178" y="197"/>
                    <a:pt x="183" y="192"/>
                    <a:pt x="188" y="188"/>
                  </a:cubicBezTo>
                  <a:cubicBezTo>
                    <a:pt x="192" y="191"/>
                    <a:pt x="192" y="191"/>
                    <a:pt x="192" y="191"/>
                  </a:cubicBezTo>
                  <a:cubicBezTo>
                    <a:pt x="187" y="197"/>
                    <a:pt x="181" y="201"/>
                    <a:pt x="175" y="205"/>
                  </a:cubicBezTo>
                  <a:close/>
                  <a:moveTo>
                    <a:pt x="33" y="191"/>
                  </a:moveTo>
                  <a:cubicBezTo>
                    <a:pt x="28" y="186"/>
                    <a:pt x="23" y="181"/>
                    <a:pt x="19" y="174"/>
                  </a:cubicBezTo>
                  <a:cubicBezTo>
                    <a:pt x="23" y="171"/>
                    <a:pt x="23" y="171"/>
                    <a:pt x="23" y="171"/>
                  </a:cubicBezTo>
                  <a:cubicBezTo>
                    <a:pt x="27" y="177"/>
                    <a:pt x="32" y="183"/>
                    <a:pt x="37" y="188"/>
                  </a:cubicBezTo>
                  <a:lnTo>
                    <a:pt x="33" y="191"/>
                  </a:lnTo>
                  <a:close/>
                  <a:moveTo>
                    <a:pt x="206" y="174"/>
                  </a:moveTo>
                  <a:cubicBezTo>
                    <a:pt x="201" y="171"/>
                    <a:pt x="201" y="171"/>
                    <a:pt x="201" y="171"/>
                  </a:cubicBezTo>
                  <a:cubicBezTo>
                    <a:pt x="205" y="165"/>
                    <a:pt x="208" y="159"/>
                    <a:pt x="211" y="153"/>
                  </a:cubicBezTo>
                  <a:cubicBezTo>
                    <a:pt x="216" y="155"/>
                    <a:pt x="216" y="155"/>
                    <a:pt x="216" y="155"/>
                  </a:cubicBezTo>
                  <a:cubicBezTo>
                    <a:pt x="213" y="162"/>
                    <a:pt x="210" y="168"/>
                    <a:pt x="206" y="174"/>
                  </a:cubicBezTo>
                  <a:close/>
                  <a:moveTo>
                    <a:pt x="8" y="155"/>
                  </a:moveTo>
                  <a:cubicBezTo>
                    <a:pt x="6" y="148"/>
                    <a:pt x="4" y="141"/>
                    <a:pt x="2" y="134"/>
                  </a:cubicBezTo>
                  <a:cubicBezTo>
                    <a:pt x="7" y="133"/>
                    <a:pt x="7" y="133"/>
                    <a:pt x="7" y="133"/>
                  </a:cubicBezTo>
                  <a:cubicBezTo>
                    <a:pt x="9" y="140"/>
                    <a:pt x="11" y="147"/>
                    <a:pt x="13" y="153"/>
                  </a:cubicBezTo>
                  <a:lnTo>
                    <a:pt x="8" y="155"/>
                  </a:lnTo>
                  <a:close/>
                  <a:moveTo>
                    <a:pt x="223" y="134"/>
                  </a:moveTo>
                  <a:cubicBezTo>
                    <a:pt x="217" y="133"/>
                    <a:pt x="217" y="133"/>
                    <a:pt x="217" y="133"/>
                  </a:cubicBezTo>
                  <a:cubicBezTo>
                    <a:pt x="219" y="126"/>
                    <a:pt x="219" y="119"/>
                    <a:pt x="219" y="112"/>
                  </a:cubicBezTo>
                  <a:cubicBezTo>
                    <a:pt x="219" y="111"/>
                    <a:pt x="219" y="111"/>
                    <a:pt x="219" y="111"/>
                  </a:cubicBezTo>
                  <a:cubicBezTo>
                    <a:pt x="225" y="111"/>
                    <a:pt x="225" y="111"/>
                    <a:pt x="225" y="111"/>
                  </a:cubicBezTo>
                  <a:cubicBezTo>
                    <a:pt x="225" y="112"/>
                    <a:pt x="225" y="112"/>
                    <a:pt x="225" y="112"/>
                  </a:cubicBezTo>
                  <a:cubicBezTo>
                    <a:pt x="225" y="119"/>
                    <a:pt x="224" y="127"/>
                    <a:pt x="223" y="134"/>
                  </a:cubicBezTo>
                  <a:close/>
                  <a:moveTo>
                    <a:pt x="0" y="112"/>
                  </a:moveTo>
                  <a:cubicBezTo>
                    <a:pt x="0" y="112"/>
                    <a:pt x="0" y="112"/>
                    <a:pt x="0" y="112"/>
                  </a:cubicBezTo>
                  <a:cubicBezTo>
                    <a:pt x="0" y="105"/>
                    <a:pt x="1" y="97"/>
                    <a:pt x="2" y="90"/>
                  </a:cubicBezTo>
                  <a:cubicBezTo>
                    <a:pt x="7" y="91"/>
                    <a:pt x="7" y="91"/>
                    <a:pt x="7" y="91"/>
                  </a:cubicBezTo>
                  <a:cubicBezTo>
                    <a:pt x="6" y="98"/>
                    <a:pt x="5" y="105"/>
                    <a:pt x="5" y="112"/>
                  </a:cubicBezTo>
                  <a:lnTo>
                    <a:pt x="0" y="112"/>
                  </a:lnTo>
                  <a:close/>
                  <a:moveTo>
                    <a:pt x="217" y="91"/>
                  </a:moveTo>
                  <a:cubicBezTo>
                    <a:pt x="216" y="84"/>
                    <a:pt x="214" y="77"/>
                    <a:pt x="211" y="71"/>
                  </a:cubicBezTo>
                  <a:cubicBezTo>
                    <a:pt x="216" y="68"/>
                    <a:pt x="216" y="68"/>
                    <a:pt x="216" y="68"/>
                  </a:cubicBezTo>
                  <a:cubicBezTo>
                    <a:pt x="219" y="75"/>
                    <a:pt x="221" y="82"/>
                    <a:pt x="222" y="90"/>
                  </a:cubicBezTo>
                  <a:lnTo>
                    <a:pt x="217" y="91"/>
                  </a:lnTo>
                  <a:close/>
                  <a:moveTo>
                    <a:pt x="13" y="71"/>
                  </a:moveTo>
                  <a:cubicBezTo>
                    <a:pt x="8" y="69"/>
                    <a:pt x="8" y="69"/>
                    <a:pt x="8" y="69"/>
                  </a:cubicBezTo>
                  <a:cubicBezTo>
                    <a:pt x="11" y="62"/>
                    <a:pt x="15" y="56"/>
                    <a:pt x="19" y="50"/>
                  </a:cubicBezTo>
                  <a:cubicBezTo>
                    <a:pt x="23" y="53"/>
                    <a:pt x="23" y="53"/>
                    <a:pt x="23" y="53"/>
                  </a:cubicBezTo>
                  <a:cubicBezTo>
                    <a:pt x="19" y="58"/>
                    <a:pt x="16" y="65"/>
                    <a:pt x="13" y="71"/>
                  </a:cubicBezTo>
                  <a:close/>
                  <a:moveTo>
                    <a:pt x="201" y="52"/>
                  </a:moveTo>
                  <a:cubicBezTo>
                    <a:pt x="197" y="46"/>
                    <a:pt x="193" y="41"/>
                    <a:pt x="188" y="36"/>
                  </a:cubicBezTo>
                  <a:cubicBezTo>
                    <a:pt x="191" y="32"/>
                    <a:pt x="191" y="32"/>
                    <a:pt x="191" y="32"/>
                  </a:cubicBezTo>
                  <a:cubicBezTo>
                    <a:pt x="197" y="37"/>
                    <a:pt x="201" y="43"/>
                    <a:pt x="205" y="49"/>
                  </a:cubicBezTo>
                  <a:lnTo>
                    <a:pt x="201" y="52"/>
                  </a:lnTo>
                  <a:close/>
                  <a:moveTo>
                    <a:pt x="36" y="36"/>
                  </a:moveTo>
                  <a:cubicBezTo>
                    <a:pt x="33" y="33"/>
                    <a:pt x="33" y="33"/>
                    <a:pt x="33" y="33"/>
                  </a:cubicBezTo>
                  <a:cubicBezTo>
                    <a:pt x="38" y="27"/>
                    <a:pt x="43" y="23"/>
                    <a:pt x="50" y="19"/>
                  </a:cubicBezTo>
                  <a:cubicBezTo>
                    <a:pt x="53" y="23"/>
                    <a:pt x="53" y="23"/>
                    <a:pt x="53" y="23"/>
                  </a:cubicBezTo>
                  <a:cubicBezTo>
                    <a:pt x="47" y="27"/>
                    <a:pt x="41" y="31"/>
                    <a:pt x="36" y="36"/>
                  </a:cubicBezTo>
                  <a:close/>
                  <a:moveTo>
                    <a:pt x="171" y="23"/>
                  </a:moveTo>
                  <a:cubicBezTo>
                    <a:pt x="166" y="19"/>
                    <a:pt x="159" y="16"/>
                    <a:pt x="153" y="13"/>
                  </a:cubicBezTo>
                  <a:cubicBezTo>
                    <a:pt x="155" y="8"/>
                    <a:pt x="155" y="8"/>
                    <a:pt x="155" y="8"/>
                  </a:cubicBezTo>
                  <a:cubicBezTo>
                    <a:pt x="162" y="11"/>
                    <a:pt x="168" y="14"/>
                    <a:pt x="174" y="18"/>
                  </a:cubicBezTo>
                  <a:lnTo>
                    <a:pt x="171" y="23"/>
                  </a:lnTo>
                  <a:close/>
                  <a:moveTo>
                    <a:pt x="71" y="13"/>
                  </a:moveTo>
                  <a:cubicBezTo>
                    <a:pt x="69" y="8"/>
                    <a:pt x="69" y="8"/>
                    <a:pt x="69" y="8"/>
                  </a:cubicBezTo>
                  <a:cubicBezTo>
                    <a:pt x="76" y="5"/>
                    <a:pt x="83" y="3"/>
                    <a:pt x="90" y="2"/>
                  </a:cubicBezTo>
                  <a:cubicBezTo>
                    <a:pt x="91" y="7"/>
                    <a:pt x="91" y="7"/>
                    <a:pt x="91" y="7"/>
                  </a:cubicBezTo>
                  <a:cubicBezTo>
                    <a:pt x="84" y="8"/>
                    <a:pt x="77" y="10"/>
                    <a:pt x="71" y="13"/>
                  </a:cubicBezTo>
                  <a:close/>
                  <a:moveTo>
                    <a:pt x="133" y="7"/>
                  </a:moveTo>
                  <a:cubicBezTo>
                    <a:pt x="126" y="6"/>
                    <a:pt x="119" y="5"/>
                    <a:pt x="112" y="5"/>
                  </a:cubicBezTo>
                  <a:cubicBezTo>
                    <a:pt x="112" y="5"/>
                    <a:pt x="112" y="5"/>
                    <a:pt x="112" y="5"/>
                  </a:cubicBezTo>
                  <a:cubicBezTo>
                    <a:pt x="112" y="0"/>
                    <a:pt x="112" y="0"/>
                    <a:pt x="112" y="0"/>
                  </a:cubicBezTo>
                  <a:cubicBezTo>
                    <a:pt x="112" y="0"/>
                    <a:pt x="112" y="0"/>
                    <a:pt x="112" y="0"/>
                  </a:cubicBezTo>
                  <a:cubicBezTo>
                    <a:pt x="120" y="0"/>
                    <a:pt x="127" y="0"/>
                    <a:pt x="134" y="2"/>
                  </a:cubicBezTo>
                  <a:lnTo>
                    <a:pt x="133" y="7"/>
                  </a:ln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98" name="Oval 137"/>
            <p:cNvSpPr>
              <a:spLocks noChangeArrowheads="1"/>
            </p:cNvSpPr>
            <p:nvPr/>
          </p:nvSpPr>
          <p:spPr bwMode="auto">
            <a:xfrm>
              <a:off x="10409241" y="1135063"/>
              <a:ext cx="382588" cy="384175"/>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99" name="Freeform 138"/>
            <p:cNvSpPr>
              <a:spLocks noEditPoints="1"/>
            </p:cNvSpPr>
            <p:nvPr/>
          </p:nvSpPr>
          <p:spPr bwMode="auto">
            <a:xfrm>
              <a:off x="10506075" y="1246188"/>
              <a:ext cx="192088" cy="161925"/>
            </a:xfrm>
            <a:custGeom>
              <a:avLst/>
              <a:gdLst>
                <a:gd name="T0" fmla="*/ 82 w 86"/>
                <a:gd name="T1" fmla="*/ 69 h 73"/>
                <a:gd name="T2" fmla="*/ 0 w 86"/>
                <a:gd name="T3" fmla="*/ 13 h 73"/>
                <a:gd name="T4" fmla="*/ 0 w 86"/>
                <a:gd name="T5" fmla="*/ 73 h 73"/>
                <a:gd name="T6" fmla="*/ 86 w 86"/>
                <a:gd name="T7" fmla="*/ 0 h 73"/>
                <a:gd name="T8" fmla="*/ 0 w 86"/>
                <a:gd name="T9" fmla="*/ 0 h 73"/>
                <a:gd name="T10" fmla="*/ 50 w 86"/>
                <a:gd name="T11" fmla="*/ 41 h 73"/>
                <a:gd name="T12" fmla="*/ 48 w 86"/>
                <a:gd name="T13" fmla="*/ 37 h 73"/>
                <a:gd name="T14" fmla="*/ 45 w 86"/>
                <a:gd name="T15" fmla="*/ 35 h 73"/>
                <a:gd name="T16" fmla="*/ 40 w 86"/>
                <a:gd name="T17" fmla="*/ 32 h 73"/>
                <a:gd name="T18" fmla="*/ 36 w 86"/>
                <a:gd name="T19" fmla="*/ 32 h 73"/>
                <a:gd name="T20" fmla="*/ 32 w 86"/>
                <a:gd name="T21" fmla="*/ 35 h 73"/>
                <a:gd name="T22" fmla="*/ 29 w 86"/>
                <a:gd name="T23" fmla="*/ 37 h 73"/>
                <a:gd name="T24" fmla="*/ 27 w 86"/>
                <a:gd name="T25" fmla="*/ 41 h 73"/>
                <a:gd name="T26" fmla="*/ 26 w 86"/>
                <a:gd name="T27" fmla="*/ 45 h 73"/>
                <a:gd name="T28" fmla="*/ 27 w 86"/>
                <a:gd name="T29" fmla="*/ 50 h 73"/>
                <a:gd name="T30" fmla="*/ 28 w 86"/>
                <a:gd name="T31" fmla="*/ 53 h 73"/>
                <a:gd name="T32" fmla="*/ 32 w 86"/>
                <a:gd name="T33" fmla="*/ 56 h 73"/>
                <a:gd name="T34" fmla="*/ 36 w 86"/>
                <a:gd name="T35" fmla="*/ 58 h 73"/>
                <a:gd name="T36" fmla="*/ 39 w 86"/>
                <a:gd name="T37" fmla="*/ 54 h 73"/>
                <a:gd name="T38" fmla="*/ 44 w 86"/>
                <a:gd name="T39" fmla="*/ 57 h 73"/>
                <a:gd name="T40" fmla="*/ 45 w 86"/>
                <a:gd name="T41" fmla="*/ 52 h 73"/>
                <a:gd name="T42" fmla="*/ 50 w 86"/>
                <a:gd name="T43" fmla="*/ 51 h 73"/>
                <a:gd name="T44" fmla="*/ 47 w 86"/>
                <a:gd name="T45" fmla="*/ 46 h 73"/>
                <a:gd name="T46" fmla="*/ 43 w 86"/>
                <a:gd name="T47" fmla="*/ 45 h 73"/>
                <a:gd name="T48" fmla="*/ 35 w 86"/>
                <a:gd name="T49" fmla="*/ 49 h 73"/>
                <a:gd name="T50" fmla="*/ 38 w 86"/>
                <a:gd name="T51" fmla="*/ 40 h 73"/>
                <a:gd name="T52" fmla="*/ 36 w 86"/>
                <a:gd name="T53" fmla="*/ 45 h 73"/>
                <a:gd name="T54" fmla="*/ 38 w 86"/>
                <a:gd name="T55" fmla="*/ 48 h 73"/>
                <a:gd name="T56" fmla="*/ 59 w 86"/>
                <a:gd name="T57" fmla="*/ 36 h 73"/>
                <a:gd name="T58" fmla="*/ 61 w 86"/>
                <a:gd name="T59" fmla="*/ 33 h 73"/>
                <a:gd name="T60" fmla="*/ 59 w 86"/>
                <a:gd name="T61" fmla="*/ 32 h 73"/>
                <a:gd name="T62" fmla="*/ 56 w 86"/>
                <a:gd name="T63" fmla="*/ 31 h 73"/>
                <a:gd name="T64" fmla="*/ 53 w 86"/>
                <a:gd name="T65" fmla="*/ 29 h 73"/>
                <a:gd name="T66" fmla="*/ 51 w 86"/>
                <a:gd name="T67" fmla="*/ 32 h 73"/>
                <a:gd name="T68" fmla="*/ 48 w 86"/>
                <a:gd name="T69" fmla="*/ 32 h 73"/>
                <a:gd name="T70" fmla="*/ 48 w 86"/>
                <a:gd name="T71" fmla="*/ 34 h 73"/>
                <a:gd name="T72" fmla="*/ 49 w 86"/>
                <a:gd name="T73" fmla="*/ 37 h 73"/>
                <a:gd name="T74" fmla="*/ 48 w 86"/>
                <a:gd name="T75" fmla="*/ 39 h 73"/>
                <a:gd name="T76" fmla="*/ 49 w 86"/>
                <a:gd name="T77" fmla="*/ 40 h 73"/>
                <a:gd name="T78" fmla="*/ 53 w 86"/>
                <a:gd name="T79" fmla="*/ 43 h 73"/>
                <a:gd name="T80" fmla="*/ 55 w 86"/>
                <a:gd name="T81" fmla="*/ 43 h 73"/>
                <a:gd name="T82" fmla="*/ 59 w 86"/>
                <a:gd name="T83" fmla="*/ 40 h 73"/>
                <a:gd name="T84" fmla="*/ 61 w 86"/>
                <a:gd name="T85" fmla="*/ 39 h 73"/>
                <a:gd name="T86" fmla="*/ 59 w 86"/>
                <a:gd name="T87" fmla="*/ 37 h 73"/>
                <a:gd name="T88" fmla="*/ 54 w 86"/>
                <a:gd name="T89" fmla="*/ 38 h 73"/>
                <a:gd name="T90" fmla="*/ 56 w 86"/>
                <a:gd name="T91" fmla="*/ 36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6" h="73">
                  <a:moveTo>
                    <a:pt x="4" y="17"/>
                  </a:moveTo>
                  <a:cubicBezTo>
                    <a:pt x="4" y="69"/>
                    <a:pt x="4" y="69"/>
                    <a:pt x="4" y="69"/>
                  </a:cubicBezTo>
                  <a:cubicBezTo>
                    <a:pt x="82" y="69"/>
                    <a:pt x="82" y="69"/>
                    <a:pt x="82" y="69"/>
                  </a:cubicBezTo>
                  <a:cubicBezTo>
                    <a:pt x="82" y="17"/>
                    <a:pt x="82" y="17"/>
                    <a:pt x="82" y="17"/>
                  </a:cubicBezTo>
                  <a:cubicBezTo>
                    <a:pt x="4" y="17"/>
                    <a:pt x="4" y="17"/>
                    <a:pt x="4" y="17"/>
                  </a:cubicBezTo>
                  <a:close/>
                  <a:moveTo>
                    <a:pt x="0" y="13"/>
                  </a:moveTo>
                  <a:cubicBezTo>
                    <a:pt x="86" y="13"/>
                    <a:pt x="86" y="13"/>
                    <a:pt x="86" y="13"/>
                  </a:cubicBezTo>
                  <a:cubicBezTo>
                    <a:pt x="86" y="73"/>
                    <a:pt x="86" y="73"/>
                    <a:pt x="86" y="73"/>
                  </a:cubicBezTo>
                  <a:cubicBezTo>
                    <a:pt x="0" y="73"/>
                    <a:pt x="0" y="73"/>
                    <a:pt x="0" y="73"/>
                  </a:cubicBezTo>
                  <a:cubicBezTo>
                    <a:pt x="0" y="13"/>
                    <a:pt x="0" y="13"/>
                    <a:pt x="0" y="13"/>
                  </a:cubicBezTo>
                  <a:close/>
                  <a:moveTo>
                    <a:pt x="0" y="0"/>
                  </a:moveTo>
                  <a:cubicBezTo>
                    <a:pt x="86" y="0"/>
                    <a:pt x="86" y="0"/>
                    <a:pt x="86" y="0"/>
                  </a:cubicBezTo>
                  <a:cubicBezTo>
                    <a:pt x="86" y="9"/>
                    <a:pt x="86" y="9"/>
                    <a:pt x="86" y="9"/>
                  </a:cubicBezTo>
                  <a:cubicBezTo>
                    <a:pt x="0" y="9"/>
                    <a:pt x="0" y="9"/>
                    <a:pt x="0" y="9"/>
                  </a:cubicBezTo>
                  <a:cubicBezTo>
                    <a:pt x="0" y="0"/>
                    <a:pt x="0" y="0"/>
                    <a:pt x="0" y="0"/>
                  </a:cubicBezTo>
                  <a:close/>
                  <a:moveTo>
                    <a:pt x="51" y="44"/>
                  </a:moveTo>
                  <a:cubicBezTo>
                    <a:pt x="51" y="42"/>
                    <a:pt x="51" y="42"/>
                    <a:pt x="51" y="42"/>
                  </a:cubicBezTo>
                  <a:cubicBezTo>
                    <a:pt x="51" y="42"/>
                    <a:pt x="51" y="41"/>
                    <a:pt x="50" y="41"/>
                  </a:cubicBezTo>
                  <a:cubicBezTo>
                    <a:pt x="46" y="41"/>
                    <a:pt x="46" y="41"/>
                    <a:pt x="46" y="41"/>
                  </a:cubicBezTo>
                  <a:cubicBezTo>
                    <a:pt x="46" y="41"/>
                    <a:pt x="46" y="40"/>
                    <a:pt x="46" y="40"/>
                  </a:cubicBezTo>
                  <a:cubicBezTo>
                    <a:pt x="48" y="37"/>
                    <a:pt x="48" y="37"/>
                    <a:pt x="48" y="37"/>
                  </a:cubicBezTo>
                  <a:cubicBezTo>
                    <a:pt x="48" y="37"/>
                    <a:pt x="48" y="36"/>
                    <a:pt x="47" y="36"/>
                  </a:cubicBezTo>
                  <a:cubicBezTo>
                    <a:pt x="46" y="35"/>
                    <a:pt x="46" y="35"/>
                    <a:pt x="46" y="35"/>
                  </a:cubicBezTo>
                  <a:cubicBezTo>
                    <a:pt x="45" y="34"/>
                    <a:pt x="45" y="34"/>
                    <a:pt x="45" y="35"/>
                  </a:cubicBezTo>
                  <a:cubicBezTo>
                    <a:pt x="42" y="37"/>
                    <a:pt x="42" y="37"/>
                    <a:pt x="42" y="37"/>
                  </a:cubicBezTo>
                  <a:cubicBezTo>
                    <a:pt x="42" y="37"/>
                    <a:pt x="41" y="37"/>
                    <a:pt x="41" y="36"/>
                  </a:cubicBezTo>
                  <a:cubicBezTo>
                    <a:pt x="40" y="32"/>
                    <a:pt x="40" y="32"/>
                    <a:pt x="40" y="32"/>
                  </a:cubicBezTo>
                  <a:cubicBezTo>
                    <a:pt x="40" y="32"/>
                    <a:pt x="40" y="32"/>
                    <a:pt x="39" y="32"/>
                  </a:cubicBezTo>
                  <a:cubicBezTo>
                    <a:pt x="37" y="32"/>
                    <a:pt x="37" y="32"/>
                    <a:pt x="37" y="32"/>
                  </a:cubicBezTo>
                  <a:cubicBezTo>
                    <a:pt x="37" y="32"/>
                    <a:pt x="37" y="32"/>
                    <a:pt x="36" y="32"/>
                  </a:cubicBezTo>
                  <a:cubicBezTo>
                    <a:pt x="36" y="36"/>
                    <a:pt x="36" y="36"/>
                    <a:pt x="36" y="36"/>
                  </a:cubicBezTo>
                  <a:cubicBezTo>
                    <a:pt x="35" y="37"/>
                    <a:pt x="35" y="37"/>
                    <a:pt x="35" y="37"/>
                  </a:cubicBezTo>
                  <a:cubicBezTo>
                    <a:pt x="32" y="35"/>
                    <a:pt x="32" y="35"/>
                    <a:pt x="32" y="35"/>
                  </a:cubicBezTo>
                  <a:cubicBezTo>
                    <a:pt x="31" y="34"/>
                    <a:pt x="31" y="34"/>
                    <a:pt x="31" y="35"/>
                  </a:cubicBezTo>
                  <a:cubicBezTo>
                    <a:pt x="29" y="36"/>
                    <a:pt x="29" y="36"/>
                    <a:pt x="29" y="36"/>
                  </a:cubicBezTo>
                  <a:cubicBezTo>
                    <a:pt x="29" y="36"/>
                    <a:pt x="29" y="37"/>
                    <a:pt x="29" y="37"/>
                  </a:cubicBezTo>
                  <a:cubicBezTo>
                    <a:pt x="31" y="40"/>
                    <a:pt x="31" y="40"/>
                    <a:pt x="31" y="40"/>
                  </a:cubicBezTo>
                  <a:cubicBezTo>
                    <a:pt x="30" y="40"/>
                    <a:pt x="30" y="41"/>
                    <a:pt x="30" y="41"/>
                  </a:cubicBezTo>
                  <a:cubicBezTo>
                    <a:pt x="27" y="41"/>
                    <a:pt x="27" y="41"/>
                    <a:pt x="27" y="41"/>
                  </a:cubicBezTo>
                  <a:cubicBezTo>
                    <a:pt x="26" y="41"/>
                    <a:pt x="26" y="42"/>
                    <a:pt x="26" y="42"/>
                  </a:cubicBezTo>
                  <a:cubicBezTo>
                    <a:pt x="25" y="44"/>
                    <a:pt x="25" y="44"/>
                    <a:pt x="25" y="44"/>
                  </a:cubicBezTo>
                  <a:cubicBezTo>
                    <a:pt x="25" y="44"/>
                    <a:pt x="25" y="45"/>
                    <a:pt x="26" y="45"/>
                  </a:cubicBezTo>
                  <a:cubicBezTo>
                    <a:pt x="29" y="46"/>
                    <a:pt x="29" y="46"/>
                    <a:pt x="29" y="46"/>
                  </a:cubicBezTo>
                  <a:cubicBezTo>
                    <a:pt x="29" y="47"/>
                    <a:pt x="29" y="47"/>
                    <a:pt x="29" y="47"/>
                  </a:cubicBezTo>
                  <a:cubicBezTo>
                    <a:pt x="27" y="50"/>
                    <a:pt x="27" y="50"/>
                    <a:pt x="27" y="50"/>
                  </a:cubicBezTo>
                  <a:cubicBezTo>
                    <a:pt x="27" y="50"/>
                    <a:pt x="26" y="50"/>
                    <a:pt x="27" y="51"/>
                  </a:cubicBezTo>
                  <a:cubicBezTo>
                    <a:pt x="28" y="53"/>
                    <a:pt x="28" y="53"/>
                    <a:pt x="28" y="53"/>
                  </a:cubicBezTo>
                  <a:cubicBezTo>
                    <a:pt x="28" y="53"/>
                    <a:pt x="28" y="53"/>
                    <a:pt x="28" y="53"/>
                  </a:cubicBezTo>
                  <a:cubicBezTo>
                    <a:pt x="32" y="52"/>
                    <a:pt x="32" y="52"/>
                    <a:pt x="32" y="52"/>
                  </a:cubicBezTo>
                  <a:cubicBezTo>
                    <a:pt x="32" y="52"/>
                    <a:pt x="32" y="52"/>
                    <a:pt x="33" y="53"/>
                  </a:cubicBezTo>
                  <a:cubicBezTo>
                    <a:pt x="32" y="56"/>
                    <a:pt x="32" y="56"/>
                    <a:pt x="32" y="56"/>
                  </a:cubicBezTo>
                  <a:cubicBezTo>
                    <a:pt x="32" y="56"/>
                    <a:pt x="32" y="57"/>
                    <a:pt x="33" y="57"/>
                  </a:cubicBezTo>
                  <a:cubicBezTo>
                    <a:pt x="35" y="58"/>
                    <a:pt x="35" y="58"/>
                    <a:pt x="35" y="58"/>
                  </a:cubicBezTo>
                  <a:cubicBezTo>
                    <a:pt x="35" y="58"/>
                    <a:pt x="36" y="58"/>
                    <a:pt x="36" y="58"/>
                  </a:cubicBezTo>
                  <a:cubicBezTo>
                    <a:pt x="38" y="54"/>
                    <a:pt x="38" y="54"/>
                    <a:pt x="38" y="54"/>
                  </a:cubicBezTo>
                  <a:cubicBezTo>
                    <a:pt x="38" y="54"/>
                    <a:pt x="38" y="54"/>
                    <a:pt x="38" y="54"/>
                  </a:cubicBezTo>
                  <a:cubicBezTo>
                    <a:pt x="38" y="54"/>
                    <a:pt x="39" y="54"/>
                    <a:pt x="39" y="54"/>
                  </a:cubicBezTo>
                  <a:cubicBezTo>
                    <a:pt x="41" y="58"/>
                    <a:pt x="41" y="58"/>
                    <a:pt x="41" y="58"/>
                  </a:cubicBezTo>
                  <a:cubicBezTo>
                    <a:pt x="41" y="58"/>
                    <a:pt x="41" y="58"/>
                    <a:pt x="42" y="58"/>
                  </a:cubicBezTo>
                  <a:cubicBezTo>
                    <a:pt x="44" y="57"/>
                    <a:pt x="44" y="57"/>
                    <a:pt x="44" y="57"/>
                  </a:cubicBezTo>
                  <a:cubicBezTo>
                    <a:pt x="44" y="57"/>
                    <a:pt x="44" y="56"/>
                    <a:pt x="44" y="56"/>
                  </a:cubicBezTo>
                  <a:cubicBezTo>
                    <a:pt x="44" y="53"/>
                    <a:pt x="44" y="53"/>
                    <a:pt x="44" y="53"/>
                  </a:cubicBezTo>
                  <a:cubicBezTo>
                    <a:pt x="44" y="52"/>
                    <a:pt x="44" y="52"/>
                    <a:pt x="45" y="52"/>
                  </a:cubicBezTo>
                  <a:cubicBezTo>
                    <a:pt x="48" y="53"/>
                    <a:pt x="48" y="53"/>
                    <a:pt x="48" y="53"/>
                  </a:cubicBezTo>
                  <a:cubicBezTo>
                    <a:pt x="48" y="53"/>
                    <a:pt x="49" y="53"/>
                    <a:pt x="49" y="53"/>
                  </a:cubicBezTo>
                  <a:cubicBezTo>
                    <a:pt x="50" y="51"/>
                    <a:pt x="50" y="51"/>
                    <a:pt x="50" y="51"/>
                  </a:cubicBezTo>
                  <a:cubicBezTo>
                    <a:pt x="50" y="50"/>
                    <a:pt x="50" y="50"/>
                    <a:pt x="50" y="50"/>
                  </a:cubicBezTo>
                  <a:cubicBezTo>
                    <a:pt x="47" y="47"/>
                    <a:pt x="47" y="47"/>
                    <a:pt x="47" y="47"/>
                  </a:cubicBezTo>
                  <a:cubicBezTo>
                    <a:pt x="47" y="47"/>
                    <a:pt x="47" y="47"/>
                    <a:pt x="47" y="46"/>
                  </a:cubicBezTo>
                  <a:cubicBezTo>
                    <a:pt x="51" y="45"/>
                    <a:pt x="51" y="45"/>
                    <a:pt x="51" y="45"/>
                  </a:cubicBezTo>
                  <a:cubicBezTo>
                    <a:pt x="51" y="45"/>
                    <a:pt x="51" y="45"/>
                    <a:pt x="51" y="44"/>
                  </a:cubicBezTo>
                  <a:close/>
                  <a:moveTo>
                    <a:pt x="43" y="45"/>
                  </a:moveTo>
                  <a:cubicBezTo>
                    <a:pt x="43" y="47"/>
                    <a:pt x="43" y="48"/>
                    <a:pt x="42" y="49"/>
                  </a:cubicBezTo>
                  <a:cubicBezTo>
                    <a:pt x="41" y="50"/>
                    <a:pt x="40" y="50"/>
                    <a:pt x="38" y="50"/>
                  </a:cubicBezTo>
                  <a:cubicBezTo>
                    <a:pt x="37" y="50"/>
                    <a:pt x="36" y="50"/>
                    <a:pt x="35" y="49"/>
                  </a:cubicBezTo>
                  <a:cubicBezTo>
                    <a:pt x="34" y="48"/>
                    <a:pt x="33" y="47"/>
                    <a:pt x="33" y="45"/>
                  </a:cubicBezTo>
                  <a:cubicBezTo>
                    <a:pt x="33" y="44"/>
                    <a:pt x="34" y="42"/>
                    <a:pt x="35" y="42"/>
                  </a:cubicBezTo>
                  <a:cubicBezTo>
                    <a:pt x="36" y="41"/>
                    <a:pt x="37" y="40"/>
                    <a:pt x="38" y="40"/>
                  </a:cubicBezTo>
                  <a:cubicBezTo>
                    <a:pt x="40" y="40"/>
                    <a:pt x="41" y="41"/>
                    <a:pt x="42" y="42"/>
                  </a:cubicBezTo>
                  <a:cubicBezTo>
                    <a:pt x="43" y="42"/>
                    <a:pt x="43" y="44"/>
                    <a:pt x="43" y="45"/>
                  </a:cubicBezTo>
                  <a:close/>
                  <a:moveTo>
                    <a:pt x="36" y="45"/>
                  </a:moveTo>
                  <a:cubicBezTo>
                    <a:pt x="36" y="44"/>
                    <a:pt x="37" y="43"/>
                    <a:pt x="38" y="43"/>
                  </a:cubicBezTo>
                  <a:cubicBezTo>
                    <a:pt x="40" y="43"/>
                    <a:pt x="41" y="44"/>
                    <a:pt x="41" y="45"/>
                  </a:cubicBezTo>
                  <a:cubicBezTo>
                    <a:pt x="41" y="46"/>
                    <a:pt x="40" y="48"/>
                    <a:pt x="38" y="48"/>
                  </a:cubicBezTo>
                  <a:cubicBezTo>
                    <a:pt x="37" y="48"/>
                    <a:pt x="36" y="46"/>
                    <a:pt x="36" y="45"/>
                  </a:cubicBezTo>
                  <a:close/>
                  <a:moveTo>
                    <a:pt x="59" y="37"/>
                  </a:moveTo>
                  <a:cubicBezTo>
                    <a:pt x="59" y="37"/>
                    <a:pt x="59" y="36"/>
                    <a:pt x="59" y="36"/>
                  </a:cubicBezTo>
                  <a:cubicBezTo>
                    <a:pt x="59" y="36"/>
                    <a:pt x="59" y="35"/>
                    <a:pt x="59" y="35"/>
                  </a:cubicBezTo>
                  <a:cubicBezTo>
                    <a:pt x="60" y="34"/>
                    <a:pt x="60" y="34"/>
                    <a:pt x="60" y="34"/>
                  </a:cubicBezTo>
                  <a:cubicBezTo>
                    <a:pt x="61" y="34"/>
                    <a:pt x="61" y="33"/>
                    <a:pt x="61" y="33"/>
                  </a:cubicBezTo>
                  <a:cubicBezTo>
                    <a:pt x="61" y="33"/>
                    <a:pt x="61" y="33"/>
                    <a:pt x="61" y="33"/>
                  </a:cubicBezTo>
                  <a:cubicBezTo>
                    <a:pt x="60" y="32"/>
                    <a:pt x="60" y="32"/>
                    <a:pt x="60" y="32"/>
                  </a:cubicBezTo>
                  <a:cubicBezTo>
                    <a:pt x="60" y="32"/>
                    <a:pt x="60" y="32"/>
                    <a:pt x="59" y="32"/>
                  </a:cubicBezTo>
                  <a:cubicBezTo>
                    <a:pt x="59" y="32"/>
                    <a:pt x="59" y="32"/>
                    <a:pt x="59" y="32"/>
                  </a:cubicBezTo>
                  <a:cubicBezTo>
                    <a:pt x="57" y="32"/>
                    <a:pt x="57" y="32"/>
                    <a:pt x="57" y="32"/>
                  </a:cubicBezTo>
                  <a:cubicBezTo>
                    <a:pt x="57" y="32"/>
                    <a:pt x="56" y="32"/>
                    <a:pt x="56" y="31"/>
                  </a:cubicBezTo>
                  <a:cubicBezTo>
                    <a:pt x="55" y="29"/>
                    <a:pt x="55" y="29"/>
                    <a:pt x="55" y="29"/>
                  </a:cubicBezTo>
                  <a:cubicBezTo>
                    <a:pt x="55" y="29"/>
                    <a:pt x="55" y="29"/>
                    <a:pt x="55" y="29"/>
                  </a:cubicBezTo>
                  <a:cubicBezTo>
                    <a:pt x="53" y="29"/>
                    <a:pt x="53" y="29"/>
                    <a:pt x="53" y="29"/>
                  </a:cubicBezTo>
                  <a:cubicBezTo>
                    <a:pt x="53" y="29"/>
                    <a:pt x="53" y="29"/>
                    <a:pt x="53" y="29"/>
                  </a:cubicBezTo>
                  <a:cubicBezTo>
                    <a:pt x="52" y="31"/>
                    <a:pt x="52" y="31"/>
                    <a:pt x="52" y="31"/>
                  </a:cubicBezTo>
                  <a:cubicBezTo>
                    <a:pt x="52" y="32"/>
                    <a:pt x="51" y="32"/>
                    <a:pt x="51" y="32"/>
                  </a:cubicBezTo>
                  <a:cubicBezTo>
                    <a:pt x="49" y="32"/>
                    <a:pt x="49" y="32"/>
                    <a:pt x="49" y="32"/>
                  </a:cubicBezTo>
                  <a:cubicBezTo>
                    <a:pt x="49" y="32"/>
                    <a:pt x="49" y="32"/>
                    <a:pt x="49" y="32"/>
                  </a:cubicBezTo>
                  <a:cubicBezTo>
                    <a:pt x="49" y="32"/>
                    <a:pt x="48" y="32"/>
                    <a:pt x="48" y="32"/>
                  </a:cubicBezTo>
                  <a:cubicBezTo>
                    <a:pt x="48" y="33"/>
                    <a:pt x="48" y="33"/>
                    <a:pt x="48" y="33"/>
                  </a:cubicBezTo>
                  <a:cubicBezTo>
                    <a:pt x="48" y="33"/>
                    <a:pt x="48" y="33"/>
                    <a:pt x="48" y="33"/>
                  </a:cubicBezTo>
                  <a:cubicBezTo>
                    <a:pt x="48" y="33"/>
                    <a:pt x="48" y="34"/>
                    <a:pt x="48" y="34"/>
                  </a:cubicBezTo>
                  <a:cubicBezTo>
                    <a:pt x="49" y="35"/>
                    <a:pt x="49" y="35"/>
                    <a:pt x="49" y="35"/>
                  </a:cubicBezTo>
                  <a:cubicBezTo>
                    <a:pt x="49" y="35"/>
                    <a:pt x="49" y="36"/>
                    <a:pt x="49" y="36"/>
                  </a:cubicBezTo>
                  <a:cubicBezTo>
                    <a:pt x="49" y="36"/>
                    <a:pt x="49" y="37"/>
                    <a:pt x="49" y="37"/>
                  </a:cubicBezTo>
                  <a:cubicBezTo>
                    <a:pt x="48" y="38"/>
                    <a:pt x="48" y="38"/>
                    <a:pt x="48" y="38"/>
                  </a:cubicBezTo>
                  <a:cubicBezTo>
                    <a:pt x="48" y="38"/>
                    <a:pt x="48" y="39"/>
                    <a:pt x="48" y="39"/>
                  </a:cubicBezTo>
                  <a:cubicBezTo>
                    <a:pt x="48" y="39"/>
                    <a:pt x="48" y="39"/>
                    <a:pt x="48" y="39"/>
                  </a:cubicBezTo>
                  <a:cubicBezTo>
                    <a:pt x="48" y="40"/>
                    <a:pt x="48" y="40"/>
                    <a:pt x="48" y="40"/>
                  </a:cubicBezTo>
                  <a:cubicBezTo>
                    <a:pt x="48" y="40"/>
                    <a:pt x="49" y="40"/>
                    <a:pt x="49" y="40"/>
                  </a:cubicBezTo>
                  <a:cubicBezTo>
                    <a:pt x="49" y="40"/>
                    <a:pt x="49" y="40"/>
                    <a:pt x="49" y="40"/>
                  </a:cubicBezTo>
                  <a:cubicBezTo>
                    <a:pt x="51" y="40"/>
                    <a:pt x="51" y="40"/>
                    <a:pt x="51" y="40"/>
                  </a:cubicBezTo>
                  <a:cubicBezTo>
                    <a:pt x="51" y="40"/>
                    <a:pt x="52" y="40"/>
                    <a:pt x="52" y="41"/>
                  </a:cubicBezTo>
                  <a:cubicBezTo>
                    <a:pt x="53" y="43"/>
                    <a:pt x="53" y="43"/>
                    <a:pt x="53" y="43"/>
                  </a:cubicBezTo>
                  <a:cubicBezTo>
                    <a:pt x="53" y="43"/>
                    <a:pt x="53" y="43"/>
                    <a:pt x="53" y="43"/>
                  </a:cubicBezTo>
                  <a:cubicBezTo>
                    <a:pt x="55" y="43"/>
                    <a:pt x="55" y="43"/>
                    <a:pt x="55" y="43"/>
                  </a:cubicBezTo>
                  <a:cubicBezTo>
                    <a:pt x="55" y="43"/>
                    <a:pt x="55" y="43"/>
                    <a:pt x="55" y="43"/>
                  </a:cubicBezTo>
                  <a:cubicBezTo>
                    <a:pt x="56" y="41"/>
                    <a:pt x="56" y="41"/>
                    <a:pt x="56" y="41"/>
                  </a:cubicBezTo>
                  <a:cubicBezTo>
                    <a:pt x="56" y="40"/>
                    <a:pt x="57" y="40"/>
                    <a:pt x="57" y="40"/>
                  </a:cubicBezTo>
                  <a:cubicBezTo>
                    <a:pt x="59" y="40"/>
                    <a:pt x="59" y="40"/>
                    <a:pt x="59" y="40"/>
                  </a:cubicBezTo>
                  <a:cubicBezTo>
                    <a:pt x="59" y="40"/>
                    <a:pt x="59" y="40"/>
                    <a:pt x="59" y="40"/>
                  </a:cubicBezTo>
                  <a:cubicBezTo>
                    <a:pt x="60" y="40"/>
                    <a:pt x="60" y="40"/>
                    <a:pt x="60" y="40"/>
                  </a:cubicBezTo>
                  <a:cubicBezTo>
                    <a:pt x="61" y="39"/>
                    <a:pt x="61" y="39"/>
                    <a:pt x="61" y="39"/>
                  </a:cubicBezTo>
                  <a:cubicBezTo>
                    <a:pt x="61" y="39"/>
                    <a:pt x="61" y="39"/>
                    <a:pt x="61" y="39"/>
                  </a:cubicBezTo>
                  <a:cubicBezTo>
                    <a:pt x="61" y="39"/>
                    <a:pt x="61" y="38"/>
                    <a:pt x="60" y="38"/>
                  </a:cubicBezTo>
                  <a:cubicBezTo>
                    <a:pt x="59" y="37"/>
                    <a:pt x="59" y="37"/>
                    <a:pt x="59" y="37"/>
                  </a:cubicBezTo>
                  <a:cubicBezTo>
                    <a:pt x="59" y="37"/>
                    <a:pt x="59" y="37"/>
                    <a:pt x="59" y="37"/>
                  </a:cubicBezTo>
                  <a:close/>
                  <a:moveTo>
                    <a:pt x="56" y="36"/>
                  </a:moveTo>
                  <a:cubicBezTo>
                    <a:pt x="56" y="37"/>
                    <a:pt x="55" y="38"/>
                    <a:pt x="54" y="38"/>
                  </a:cubicBezTo>
                  <a:cubicBezTo>
                    <a:pt x="53" y="38"/>
                    <a:pt x="52" y="37"/>
                    <a:pt x="52" y="36"/>
                  </a:cubicBezTo>
                  <a:cubicBezTo>
                    <a:pt x="52" y="35"/>
                    <a:pt x="53" y="34"/>
                    <a:pt x="54" y="34"/>
                  </a:cubicBezTo>
                  <a:cubicBezTo>
                    <a:pt x="55" y="34"/>
                    <a:pt x="56" y="35"/>
                    <a:pt x="56" y="36"/>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221" name="Group 220"/>
          <p:cNvGrpSpPr/>
          <p:nvPr/>
        </p:nvGrpSpPr>
        <p:grpSpPr>
          <a:xfrm>
            <a:off x="7285285" y="3237130"/>
            <a:ext cx="1261253" cy="1259066"/>
            <a:chOff x="10402888" y="1804988"/>
            <a:chExt cx="915988" cy="914400"/>
          </a:xfrm>
        </p:grpSpPr>
        <p:sp>
          <p:nvSpPr>
            <p:cNvPr id="200" name="Freeform 139"/>
            <p:cNvSpPr>
              <a:spLocks noEditPoints="1"/>
            </p:cNvSpPr>
            <p:nvPr/>
          </p:nvSpPr>
          <p:spPr bwMode="auto">
            <a:xfrm>
              <a:off x="10402888" y="1804988"/>
              <a:ext cx="915988" cy="914400"/>
            </a:xfrm>
            <a:custGeom>
              <a:avLst/>
              <a:gdLst>
                <a:gd name="T0" fmla="*/ 227 w 412"/>
                <a:gd name="T1" fmla="*/ 406 h 412"/>
                <a:gd name="T2" fmla="*/ 185 w 412"/>
                <a:gd name="T3" fmla="*/ 411 h 412"/>
                <a:gd name="T4" fmla="*/ 185 w 412"/>
                <a:gd name="T5" fmla="*/ 406 h 412"/>
                <a:gd name="T6" fmla="*/ 248 w 412"/>
                <a:gd name="T7" fmla="*/ 402 h 412"/>
                <a:gd name="T8" fmla="*/ 249 w 412"/>
                <a:gd name="T9" fmla="*/ 408 h 412"/>
                <a:gd name="T10" fmla="*/ 125 w 412"/>
                <a:gd name="T11" fmla="*/ 390 h 412"/>
                <a:gd name="T12" fmla="*/ 290 w 412"/>
                <a:gd name="T13" fmla="*/ 394 h 412"/>
                <a:gd name="T14" fmla="*/ 309 w 412"/>
                <a:gd name="T15" fmla="*/ 385 h 412"/>
                <a:gd name="T16" fmla="*/ 85 w 412"/>
                <a:gd name="T17" fmla="*/ 373 h 412"/>
                <a:gd name="T18" fmla="*/ 103 w 412"/>
                <a:gd name="T19" fmla="*/ 385 h 412"/>
                <a:gd name="T20" fmla="*/ 341 w 412"/>
                <a:gd name="T21" fmla="*/ 355 h 412"/>
                <a:gd name="T22" fmla="*/ 68 w 412"/>
                <a:gd name="T23" fmla="*/ 359 h 412"/>
                <a:gd name="T24" fmla="*/ 72 w 412"/>
                <a:gd name="T25" fmla="*/ 355 h 412"/>
                <a:gd name="T26" fmla="*/ 355 w 412"/>
                <a:gd name="T27" fmla="*/ 340 h 412"/>
                <a:gd name="T28" fmla="*/ 359 w 412"/>
                <a:gd name="T29" fmla="*/ 344 h 412"/>
                <a:gd name="T30" fmla="*/ 32 w 412"/>
                <a:gd name="T31" fmla="*/ 307 h 412"/>
                <a:gd name="T32" fmla="*/ 385 w 412"/>
                <a:gd name="T33" fmla="*/ 309 h 412"/>
                <a:gd name="T34" fmla="*/ 395 w 412"/>
                <a:gd name="T35" fmla="*/ 290 h 412"/>
                <a:gd name="T36" fmla="*/ 10 w 412"/>
                <a:gd name="T37" fmla="*/ 270 h 412"/>
                <a:gd name="T38" fmla="*/ 18 w 412"/>
                <a:gd name="T39" fmla="*/ 290 h 412"/>
                <a:gd name="T40" fmla="*/ 403 w 412"/>
                <a:gd name="T41" fmla="*/ 248 h 412"/>
                <a:gd name="T42" fmla="*/ 4 w 412"/>
                <a:gd name="T43" fmla="*/ 249 h 412"/>
                <a:gd name="T44" fmla="*/ 10 w 412"/>
                <a:gd name="T45" fmla="*/ 248 h 412"/>
                <a:gd name="T46" fmla="*/ 406 w 412"/>
                <a:gd name="T47" fmla="*/ 227 h 412"/>
                <a:gd name="T48" fmla="*/ 412 w 412"/>
                <a:gd name="T49" fmla="*/ 206 h 412"/>
                <a:gd name="T50" fmla="*/ 0 w 412"/>
                <a:gd name="T51" fmla="*/ 206 h 412"/>
                <a:gd name="T52" fmla="*/ 6 w 412"/>
                <a:gd name="T53" fmla="*/ 185 h 412"/>
                <a:gd name="T54" fmla="*/ 406 w 412"/>
                <a:gd name="T55" fmla="*/ 185 h 412"/>
                <a:gd name="T56" fmla="*/ 411 w 412"/>
                <a:gd name="T57" fmla="*/ 184 h 412"/>
                <a:gd name="T58" fmla="*/ 4 w 412"/>
                <a:gd name="T59" fmla="*/ 163 h 412"/>
                <a:gd name="T60" fmla="*/ 10 w 412"/>
                <a:gd name="T61" fmla="*/ 164 h 412"/>
                <a:gd name="T62" fmla="*/ 394 w 412"/>
                <a:gd name="T63" fmla="*/ 122 h 412"/>
                <a:gd name="T64" fmla="*/ 22 w 412"/>
                <a:gd name="T65" fmla="*/ 124 h 412"/>
                <a:gd name="T66" fmla="*/ 32 w 412"/>
                <a:gd name="T67" fmla="*/ 106 h 412"/>
                <a:gd name="T68" fmla="*/ 368 w 412"/>
                <a:gd name="T69" fmla="*/ 88 h 412"/>
                <a:gd name="T70" fmla="*/ 380 w 412"/>
                <a:gd name="T71" fmla="*/ 105 h 412"/>
                <a:gd name="T72" fmla="*/ 53 w 412"/>
                <a:gd name="T73" fmla="*/ 68 h 412"/>
                <a:gd name="T74" fmla="*/ 355 w 412"/>
                <a:gd name="T75" fmla="*/ 71 h 412"/>
                <a:gd name="T76" fmla="*/ 359 w 412"/>
                <a:gd name="T77" fmla="*/ 68 h 412"/>
                <a:gd name="T78" fmla="*/ 68 w 412"/>
                <a:gd name="T79" fmla="*/ 53 h 412"/>
                <a:gd name="T80" fmla="*/ 72 w 412"/>
                <a:gd name="T81" fmla="*/ 57 h 412"/>
                <a:gd name="T82" fmla="*/ 309 w 412"/>
                <a:gd name="T83" fmla="*/ 27 h 412"/>
                <a:gd name="T84" fmla="*/ 105 w 412"/>
                <a:gd name="T85" fmla="*/ 32 h 412"/>
                <a:gd name="T86" fmla="*/ 124 w 412"/>
                <a:gd name="T87" fmla="*/ 23 h 412"/>
                <a:gd name="T88" fmla="*/ 268 w 412"/>
                <a:gd name="T89" fmla="*/ 15 h 412"/>
                <a:gd name="T90" fmla="*/ 287 w 412"/>
                <a:gd name="T91" fmla="*/ 22 h 412"/>
                <a:gd name="T92" fmla="*/ 163 w 412"/>
                <a:gd name="T93" fmla="*/ 4 h 412"/>
                <a:gd name="T94" fmla="*/ 248 w 412"/>
                <a:gd name="T95" fmla="*/ 9 h 412"/>
                <a:gd name="T96" fmla="*/ 249 w 412"/>
                <a:gd name="T97" fmla="*/ 4 h 412"/>
                <a:gd name="T98" fmla="*/ 184 w 412"/>
                <a:gd name="T99" fmla="*/ 1 h 412"/>
                <a:gd name="T100" fmla="*/ 185 w 412"/>
                <a:gd name="T101" fmla="*/ 6 h 4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12" h="412">
                  <a:moveTo>
                    <a:pt x="206" y="412"/>
                  </a:moveTo>
                  <a:cubicBezTo>
                    <a:pt x="206" y="407"/>
                    <a:pt x="206" y="407"/>
                    <a:pt x="206" y="407"/>
                  </a:cubicBezTo>
                  <a:cubicBezTo>
                    <a:pt x="213" y="407"/>
                    <a:pt x="220" y="406"/>
                    <a:pt x="227" y="406"/>
                  </a:cubicBezTo>
                  <a:cubicBezTo>
                    <a:pt x="228" y="411"/>
                    <a:pt x="228" y="411"/>
                    <a:pt x="228" y="411"/>
                  </a:cubicBezTo>
                  <a:cubicBezTo>
                    <a:pt x="221" y="412"/>
                    <a:pt x="213" y="412"/>
                    <a:pt x="206" y="412"/>
                  </a:cubicBezTo>
                  <a:close/>
                  <a:moveTo>
                    <a:pt x="185" y="411"/>
                  </a:moveTo>
                  <a:cubicBezTo>
                    <a:pt x="178" y="410"/>
                    <a:pt x="170" y="409"/>
                    <a:pt x="163" y="408"/>
                  </a:cubicBezTo>
                  <a:cubicBezTo>
                    <a:pt x="164" y="402"/>
                    <a:pt x="164" y="402"/>
                    <a:pt x="164" y="402"/>
                  </a:cubicBezTo>
                  <a:cubicBezTo>
                    <a:pt x="171" y="404"/>
                    <a:pt x="178" y="405"/>
                    <a:pt x="185" y="406"/>
                  </a:cubicBezTo>
                  <a:lnTo>
                    <a:pt x="185" y="411"/>
                  </a:lnTo>
                  <a:close/>
                  <a:moveTo>
                    <a:pt x="249" y="408"/>
                  </a:moveTo>
                  <a:cubicBezTo>
                    <a:pt x="248" y="402"/>
                    <a:pt x="248" y="402"/>
                    <a:pt x="248" y="402"/>
                  </a:cubicBezTo>
                  <a:cubicBezTo>
                    <a:pt x="255" y="401"/>
                    <a:pt x="262" y="399"/>
                    <a:pt x="268" y="397"/>
                  </a:cubicBezTo>
                  <a:cubicBezTo>
                    <a:pt x="270" y="402"/>
                    <a:pt x="270" y="402"/>
                    <a:pt x="270" y="402"/>
                  </a:cubicBezTo>
                  <a:cubicBezTo>
                    <a:pt x="263" y="404"/>
                    <a:pt x="256" y="406"/>
                    <a:pt x="249" y="408"/>
                  </a:cubicBezTo>
                  <a:close/>
                  <a:moveTo>
                    <a:pt x="142" y="402"/>
                  </a:moveTo>
                  <a:cubicBezTo>
                    <a:pt x="136" y="400"/>
                    <a:pt x="129" y="397"/>
                    <a:pt x="122" y="394"/>
                  </a:cubicBezTo>
                  <a:cubicBezTo>
                    <a:pt x="125" y="390"/>
                    <a:pt x="125" y="390"/>
                    <a:pt x="125" y="390"/>
                  </a:cubicBezTo>
                  <a:cubicBezTo>
                    <a:pt x="131" y="392"/>
                    <a:pt x="138" y="395"/>
                    <a:pt x="144" y="397"/>
                  </a:cubicBezTo>
                  <a:lnTo>
                    <a:pt x="142" y="402"/>
                  </a:lnTo>
                  <a:close/>
                  <a:moveTo>
                    <a:pt x="290" y="394"/>
                  </a:moveTo>
                  <a:cubicBezTo>
                    <a:pt x="288" y="389"/>
                    <a:pt x="288" y="389"/>
                    <a:pt x="288" y="389"/>
                  </a:cubicBezTo>
                  <a:cubicBezTo>
                    <a:pt x="294" y="387"/>
                    <a:pt x="301" y="383"/>
                    <a:pt x="307" y="380"/>
                  </a:cubicBezTo>
                  <a:cubicBezTo>
                    <a:pt x="309" y="385"/>
                    <a:pt x="309" y="385"/>
                    <a:pt x="309" y="385"/>
                  </a:cubicBezTo>
                  <a:cubicBezTo>
                    <a:pt x="303" y="388"/>
                    <a:pt x="297" y="391"/>
                    <a:pt x="290" y="394"/>
                  </a:cubicBezTo>
                  <a:close/>
                  <a:moveTo>
                    <a:pt x="103" y="385"/>
                  </a:moveTo>
                  <a:cubicBezTo>
                    <a:pt x="97" y="381"/>
                    <a:pt x="91" y="377"/>
                    <a:pt x="85" y="373"/>
                  </a:cubicBezTo>
                  <a:cubicBezTo>
                    <a:pt x="88" y="369"/>
                    <a:pt x="88" y="369"/>
                    <a:pt x="88" y="369"/>
                  </a:cubicBezTo>
                  <a:cubicBezTo>
                    <a:pt x="94" y="373"/>
                    <a:pt x="100" y="377"/>
                    <a:pt x="106" y="380"/>
                  </a:cubicBezTo>
                  <a:lnTo>
                    <a:pt x="103" y="385"/>
                  </a:lnTo>
                  <a:close/>
                  <a:moveTo>
                    <a:pt x="327" y="373"/>
                  </a:moveTo>
                  <a:cubicBezTo>
                    <a:pt x="324" y="368"/>
                    <a:pt x="324" y="368"/>
                    <a:pt x="324" y="368"/>
                  </a:cubicBezTo>
                  <a:cubicBezTo>
                    <a:pt x="330" y="364"/>
                    <a:pt x="335" y="360"/>
                    <a:pt x="341" y="355"/>
                  </a:cubicBezTo>
                  <a:cubicBezTo>
                    <a:pt x="344" y="359"/>
                    <a:pt x="344" y="359"/>
                    <a:pt x="344" y="359"/>
                  </a:cubicBezTo>
                  <a:cubicBezTo>
                    <a:pt x="339" y="364"/>
                    <a:pt x="333" y="369"/>
                    <a:pt x="327" y="373"/>
                  </a:cubicBezTo>
                  <a:close/>
                  <a:moveTo>
                    <a:pt x="68" y="359"/>
                  </a:moveTo>
                  <a:cubicBezTo>
                    <a:pt x="63" y="355"/>
                    <a:pt x="58" y="349"/>
                    <a:pt x="53" y="344"/>
                  </a:cubicBezTo>
                  <a:cubicBezTo>
                    <a:pt x="57" y="340"/>
                    <a:pt x="57" y="340"/>
                    <a:pt x="57" y="340"/>
                  </a:cubicBezTo>
                  <a:cubicBezTo>
                    <a:pt x="62" y="346"/>
                    <a:pt x="67" y="351"/>
                    <a:pt x="72" y="355"/>
                  </a:cubicBezTo>
                  <a:lnTo>
                    <a:pt x="68" y="359"/>
                  </a:lnTo>
                  <a:close/>
                  <a:moveTo>
                    <a:pt x="359" y="344"/>
                  </a:moveTo>
                  <a:cubicBezTo>
                    <a:pt x="355" y="340"/>
                    <a:pt x="355" y="340"/>
                    <a:pt x="355" y="340"/>
                  </a:cubicBezTo>
                  <a:cubicBezTo>
                    <a:pt x="360" y="335"/>
                    <a:pt x="365" y="330"/>
                    <a:pt x="369" y="324"/>
                  </a:cubicBezTo>
                  <a:cubicBezTo>
                    <a:pt x="373" y="327"/>
                    <a:pt x="373" y="327"/>
                    <a:pt x="373" y="327"/>
                  </a:cubicBezTo>
                  <a:cubicBezTo>
                    <a:pt x="369" y="333"/>
                    <a:pt x="364" y="339"/>
                    <a:pt x="359" y="344"/>
                  </a:cubicBezTo>
                  <a:close/>
                  <a:moveTo>
                    <a:pt x="39" y="327"/>
                  </a:moveTo>
                  <a:cubicBezTo>
                    <a:pt x="35" y="322"/>
                    <a:pt x="31" y="315"/>
                    <a:pt x="28" y="309"/>
                  </a:cubicBezTo>
                  <a:cubicBezTo>
                    <a:pt x="32" y="307"/>
                    <a:pt x="32" y="307"/>
                    <a:pt x="32" y="307"/>
                  </a:cubicBezTo>
                  <a:cubicBezTo>
                    <a:pt x="36" y="313"/>
                    <a:pt x="40" y="319"/>
                    <a:pt x="44" y="324"/>
                  </a:cubicBezTo>
                  <a:lnTo>
                    <a:pt x="39" y="327"/>
                  </a:lnTo>
                  <a:close/>
                  <a:moveTo>
                    <a:pt x="385" y="309"/>
                  </a:moveTo>
                  <a:cubicBezTo>
                    <a:pt x="380" y="306"/>
                    <a:pt x="380" y="306"/>
                    <a:pt x="380" y="306"/>
                  </a:cubicBezTo>
                  <a:cubicBezTo>
                    <a:pt x="384" y="300"/>
                    <a:pt x="387" y="294"/>
                    <a:pt x="390" y="288"/>
                  </a:cubicBezTo>
                  <a:cubicBezTo>
                    <a:pt x="395" y="290"/>
                    <a:pt x="395" y="290"/>
                    <a:pt x="395" y="290"/>
                  </a:cubicBezTo>
                  <a:cubicBezTo>
                    <a:pt x="392" y="296"/>
                    <a:pt x="388" y="303"/>
                    <a:pt x="385" y="309"/>
                  </a:cubicBezTo>
                  <a:close/>
                  <a:moveTo>
                    <a:pt x="18" y="290"/>
                  </a:moveTo>
                  <a:cubicBezTo>
                    <a:pt x="15" y="283"/>
                    <a:pt x="12" y="277"/>
                    <a:pt x="10" y="270"/>
                  </a:cubicBezTo>
                  <a:cubicBezTo>
                    <a:pt x="15" y="268"/>
                    <a:pt x="15" y="268"/>
                    <a:pt x="15" y="268"/>
                  </a:cubicBezTo>
                  <a:cubicBezTo>
                    <a:pt x="17" y="275"/>
                    <a:pt x="20" y="281"/>
                    <a:pt x="23" y="288"/>
                  </a:cubicBezTo>
                  <a:lnTo>
                    <a:pt x="18" y="290"/>
                  </a:lnTo>
                  <a:close/>
                  <a:moveTo>
                    <a:pt x="402" y="270"/>
                  </a:moveTo>
                  <a:cubicBezTo>
                    <a:pt x="397" y="268"/>
                    <a:pt x="397" y="268"/>
                    <a:pt x="397" y="268"/>
                  </a:cubicBezTo>
                  <a:cubicBezTo>
                    <a:pt x="399" y="261"/>
                    <a:pt x="401" y="255"/>
                    <a:pt x="403" y="248"/>
                  </a:cubicBezTo>
                  <a:cubicBezTo>
                    <a:pt x="408" y="249"/>
                    <a:pt x="408" y="249"/>
                    <a:pt x="408" y="249"/>
                  </a:cubicBezTo>
                  <a:cubicBezTo>
                    <a:pt x="406" y="256"/>
                    <a:pt x="405" y="263"/>
                    <a:pt x="402" y="270"/>
                  </a:cubicBezTo>
                  <a:close/>
                  <a:moveTo>
                    <a:pt x="4" y="249"/>
                  </a:moveTo>
                  <a:cubicBezTo>
                    <a:pt x="3" y="242"/>
                    <a:pt x="2" y="235"/>
                    <a:pt x="1" y="228"/>
                  </a:cubicBezTo>
                  <a:cubicBezTo>
                    <a:pt x="6" y="227"/>
                    <a:pt x="6" y="227"/>
                    <a:pt x="6" y="227"/>
                  </a:cubicBezTo>
                  <a:cubicBezTo>
                    <a:pt x="7" y="234"/>
                    <a:pt x="8" y="241"/>
                    <a:pt x="10" y="248"/>
                  </a:cubicBezTo>
                  <a:lnTo>
                    <a:pt x="4" y="249"/>
                  </a:lnTo>
                  <a:close/>
                  <a:moveTo>
                    <a:pt x="411" y="228"/>
                  </a:moveTo>
                  <a:cubicBezTo>
                    <a:pt x="406" y="227"/>
                    <a:pt x="406" y="227"/>
                    <a:pt x="406" y="227"/>
                  </a:cubicBezTo>
                  <a:cubicBezTo>
                    <a:pt x="407" y="220"/>
                    <a:pt x="407" y="213"/>
                    <a:pt x="407" y="206"/>
                  </a:cubicBezTo>
                  <a:cubicBezTo>
                    <a:pt x="407" y="206"/>
                    <a:pt x="407" y="206"/>
                    <a:pt x="407" y="206"/>
                  </a:cubicBezTo>
                  <a:cubicBezTo>
                    <a:pt x="412" y="206"/>
                    <a:pt x="412" y="206"/>
                    <a:pt x="412" y="206"/>
                  </a:cubicBezTo>
                  <a:cubicBezTo>
                    <a:pt x="412" y="206"/>
                    <a:pt x="412" y="206"/>
                    <a:pt x="412" y="206"/>
                  </a:cubicBezTo>
                  <a:cubicBezTo>
                    <a:pt x="412" y="213"/>
                    <a:pt x="412" y="220"/>
                    <a:pt x="411" y="228"/>
                  </a:cubicBezTo>
                  <a:close/>
                  <a:moveTo>
                    <a:pt x="0" y="206"/>
                  </a:moveTo>
                  <a:cubicBezTo>
                    <a:pt x="0" y="206"/>
                    <a:pt x="0" y="206"/>
                    <a:pt x="0" y="206"/>
                  </a:cubicBezTo>
                  <a:cubicBezTo>
                    <a:pt x="0" y="199"/>
                    <a:pt x="0" y="192"/>
                    <a:pt x="1" y="185"/>
                  </a:cubicBezTo>
                  <a:cubicBezTo>
                    <a:pt x="6" y="185"/>
                    <a:pt x="6" y="185"/>
                    <a:pt x="6" y="185"/>
                  </a:cubicBezTo>
                  <a:cubicBezTo>
                    <a:pt x="6" y="192"/>
                    <a:pt x="5" y="199"/>
                    <a:pt x="5" y="206"/>
                  </a:cubicBezTo>
                  <a:lnTo>
                    <a:pt x="0" y="206"/>
                  </a:lnTo>
                  <a:close/>
                  <a:moveTo>
                    <a:pt x="406" y="185"/>
                  </a:moveTo>
                  <a:cubicBezTo>
                    <a:pt x="405" y="178"/>
                    <a:pt x="404" y="171"/>
                    <a:pt x="403" y="164"/>
                  </a:cubicBezTo>
                  <a:cubicBezTo>
                    <a:pt x="408" y="163"/>
                    <a:pt x="408" y="163"/>
                    <a:pt x="408" y="163"/>
                  </a:cubicBezTo>
                  <a:cubicBezTo>
                    <a:pt x="409" y="170"/>
                    <a:pt x="410" y="177"/>
                    <a:pt x="411" y="184"/>
                  </a:cubicBezTo>
                  <a:lnTo>
                    <a:pt x="406" y="185"/>
                  </a:lnTo>
                  <a:close/>
                  <a:moveTo>
                    <a:pt x="10" y="164"/>
                  </a:moveTo>
                  <a:cubicBezTo>
                    <a:pt x="4" y="163"/>
                    <a:pt x="4" y="163"/>
                    <a:pt x="4" y="163"/>
                  </a:cubicBezTo>
                  <a:cubicBezTo>
                    <a:pt x="6" y="156"/>
                    <a:pt x="8" y="149"/>
                    <a:pt x="10" y="142"/>
                  </a:cubicBezTo>
                  <a:cubicBezTo>
                    <a:pt x="15" y="144"/>
                    <a:pt x="15" y="144"/>
                    <a:pt x="15" y="144"/>
                  </a:cubicBezTo>
                  <a:cubicBezTo>
                    <a:pt x="13" y="151"/>
                    <a:pt x="11" y="158"/>
                    <a:pt x="10" y="164"/>
                  </a:cubicBezTo>
                  <a:close/>
                  <a:moveTo>
                    <a:pt x="397" y="143"/>
                  </a:moveTo>
                  <a:cubicBezTo>
                    <a:pt x="395" y="137"/>
                    <a:pt x="392" y="130"/>
                    <a:pt x="389" y="124"/>
                  </a:cubicBezTo>
                  <a:cubicBezTo>
                    <a:pt x="394" y="122"/>
                    <a:pt x="394" y="122"/>
                    <a:pt x="394" y="122"/>
                  </a:cubicBezTo>
                  <a:cubicBezTo>
                    <a:pt x="397" y="128"/>
                    <a:pt x="400" y="135"/>
                    <a:pt x="402" y="142"/>
                  </a:cubicBezTo>
                  <a:lnTo>
                    <a:pt x="397" y="143"/>
                  </a:lnTo>
                  <a:close/>
                  <a:moveTo>
                    <a:pt x="22" y="124"/>
                  </a:moveTo>
                  <a:cubicBezTo>
                    <a:pt x="18" y="122"/>
                    <a:pt x="18" y="122"/>
                    <a:pt x="18" y="122"/>
                  </a:cubicBezTo>
                  <a:cubicBezTo>
                    <a:pt x="20" y="116"/>
                    <a:pt x="24" y="109"/>
                    <a:pt x="27" y="103"/>
                  </a:cubicBezTo>
                  <a:cubicBezTo>
                    <a:pt x="32" y="106"/>
                    <a:pt x="32" y="106"/>
                    <a:pt x="32" y="106"/>
                  </a:cubicBezTo>
                  <a:cubicBezTo>
                    <a:pt x="29" y="112"/>
                    <a:pt x="25" y="118"/>
                    <a:pt x="22" y="124"/>
                  </a:cubicBezTo>
                  <a:close/>
                  <a:moveTo>
                    <a:pt x="380" y="105"/>
                  </a:moveTo>
                  <a:cubicBezTo>
                    <a:pt x="376" y="99"/>
                    <a:pt x="373" y="93"/>
                    <a:pt x="368" y="88"/>
                  </a:cubicBezTo>
                  <a:cubicBezTo>
                    <a:pt x="373" y="84"/>
                    <a:pt x="373" y="84"/>
                    <a:pt x="373" y="84"/>
                  </a:cubicBezTo>
                  <a:cubicBezTo>
                    <a:pt x="377" y="90"/>
                    <a:pt x="381" y="96"/>
                    <a:pt x="385" y="102"/>
                  </a:cubicBezTo>
                  <a:lnTo>
                    <a:pt x="380" y="105"/>
                  </a:lnTo>
                  <a:close/>
                  <a:moveTo>
                    <a:pt x="43" y="88"/>
                  </a:moveTo>
                  <a:cubicBezTo>
                    <a:pt x="39" y="85"/>
                    <a:pt x="39" y="85"/>
                    <a:pt x="39" y="85"/>
                  </a:cubicBezTo>
                  <a:cubicBezTo>
                    <a:pt x="43" y="79"/>
                    <a:pt x="48" y="74"/>
                    <a:pt x="53" y="68"/>
                  </a:cubicBezTo>
                  <a:cubicBezTo>
                    <a:pt x="57" y="72"/>
                    <a:pt x="57" y="72"/>
                    <a:pt x="57" y="72"/>
                  </a:cubicBezTo>
                  <a:cubicBezTo>
                    <a:pt x="52" y="77"/>
                    <a:pt x="48" y="82"/>
                    <a:pt x="43" y="88"/>
                  </a:cubicBezTo>
                  <a:close/>
                  <a:moveTo>
                    <a:pt x="355" y="71"/>
                  </a:moveTo>
                  <a:cubicBezTo>
                    <a:pt x="350" y="66"/>
                    <a:pt x="345" y="61"/>
                    <a:pt x="340" y="56"/>
                  </a:cubicBezTo>
                  <a:cubicBezTo>
                    <a:pt x="344" y="52"/>
                    <a:pt x="344" y="52"/>
                    <a:pt x="344" y="52"/>
                  </a:cubicBezTo>
                  <a:cubicBezTo>
                    <a:pt x="349" y="57"/>
                    <a:pt x="354" y="62"/>
                    <a:pt x="359" y="68"/>
                  </a:cubicBezTo>
                  <a:lnTo>
                    <a:pt x="355" y="71"/>
                  </a:lnTo>
                  <a:close/>
                  <a:moveTo>
                    <a:pt x="72" y="57"/>
                  </a:moveTo>
                  <a:cubicBezTo>
                    <a:pt x="68" y="53"/>
                    <a:pt x="68" y="53"/>
                    <a:pt x="68" y="53"/>
                  </a:cubicBezTo>
                  <a:cubicBezTo>
                    <a:pt x="73" y="48"/>
                    <a:pt x="79" y="43"/>
                    <a:pt x="85" y="39"/>
                  </a:cubicBezTo>
                  <a:cubicBezTo>
                    <a:pt x="88" y="44"/>
                    <a:pt x="88" y="44"/>
                    <a:pt x="88" y="44"/>
                  </a:cubicBezTo>
                  <a:cubicBezTo>
                    <a:pt x="82" y="48"/>
                    <a:pt x="77" y="52"/>
                    <a:pt x="72" y="57"/>
                  </a:cubicBezTo>
                  <a:close/>
                  <a:moveTo>
                    <a:pt x="324" y="43"/>
                  </a:moveTo>
                  <a:cubicBezTo>
                    <a:pt x="318" y="39"/>
                    <a:pt x="312" y="35"/>
                    <a:pt x="306" y="32"/>
                  </a:cubicBezTo>
                  <a:cubicBezTo>
                    <a:pt x="309" y="27"/>
                    <a:pt x="309" y="27"/>
                    <a:pt x="309" y="27"/>
                  </a:cubicBezTo>
                  <a:cubicBezTo>
                    <a:pt x="315" y="31"/>
                    <a:pt x="321" y="35"/>
                    <a:pt x="327" y="39"/>
                  </a:cubicBezTo>
                  <a:lnTo>
                    <a:pt x="324" y="43"/>
                  </a:lnTo>
                  <a:close/>
                  <a:moveTo>
                    <a:pt x="105" y="32"/>
                  </a:moveTo>
                  <a:cubicBezTo>
                    <a:pt x="103" y="27"/>
                    <a:pt x="103" y="27"/>
                    <a:pt x="103" y="27"/>
                  </a:cubicBezTo>
                  <a:cubicBezTo>
                    <a:pt x="109" y="24"/>
                    <a:pt x="115" y="21"/>
                    <a:pt x="122" y="18"/>
                  </a:cubicBezTo>
                  <a:cubicBezTo>
                    <a:pt x="124" y="23"/>
                    <a:pt x="124" y="23"/>
                    <a:pt x="124" y="23"/>
                  </a:cubicBezTo>
                  <a:cubicBezTo>
                    <a:pt x="118" y="25"/>
                    <a:pt x="111" y="29"/>
                    <a:pt x="105" y="32"/>
                  </a:cubicBezTo>
                  <a:close/>
                  <a:moveTo>
                    <a:pt x="287" y="22"/>
                  </a:moveTo>
                  <a:cubicBezTo>
                    <a:pt x="281" y="19"/>
                    <a:pt x="274" y="17"/>
                    <a:pt x="268" y="15"/>
                  </a:cubicBezTo>
                  <a:cubicBezTo>
                    <a:pt x="270" y="10"/>
                    <a:pt x="270" y="10"/>
                    <a:pt x="270" y="10"/>
                  </a:cubicBezTo>
                  <a:cubicBezTo>
                    <a:pt x="276" y="12"/>
                    <a:pt x="283" y="14"/>
                    <a:pt x="290" y="17"/>
                  </a:cubicBezTo>
                  <a:lnTo>
                    <a:pt x="287" y="22"/>
                  </a:lnTo>
                  <a:close/>
                  <a:moveTo>
                    <a:pt x="144" y="15"/>
                  </a:moveTo>
                  <a:cubicBezTo>
                    <a:pt x="142" y="10"/>
                    <a:pt x="142" y="10"/>
                    <a:pt x="142" y="10"/>
                  </a:cubicBezTo>
                  <a:cubicBezTo>
                    <a:pt x="149" y="8"/>
                    <a:pt x="156" y="6"/>
                    <a:pt x="163" y="4"/>
                  </a:cubicBezTo>
                  <a:cubicBezTo>
                    <a:pt x="164" y="10"/>
                    <a:pt x="164" y="10"/>
                    <a:pt x="164" y="10"/>
                  </a:cubicBezTo>
                  <a:cubicBezTo>
                    <a:pt x="157" y="11"/>
                    <a:pt x="150" y="13"/>
                    <a:pt x="144" y="15"/>
                  </a:cubicBezTo>
                  <a:close/>
                  <a:moveTo>
                    <a:pt x="248" y="9"/>
                  </a:moveTo>
                  <a:cubicBezTo>
                    <a:pt x="241" y="8"/>
                    <a:pt x="234" y="7"/>
                    <a:pt x="227" y="6"/>
                  </a:cubicBezTo>
                  <a:cubicBezTo>
                    <a:pt x="227" y="1"/>
                    <a:pt x="227" y="1"/>
                    <a:pt x="227" y="1"/>
                  </a:cubicBezTo>
                  <a:cubicBezTo>
                    <a:pt x="234" y="2"/>
                    <a:pt x="242" y="3"/>
                    <a:pt x="249" y="4"/>
                  </a:cubicBezTo>
                  <a:lnTo>
                    <a:pt x="248" y="9"/>
                  </a:lnTo>
                  <a:close/>
                  <a:moveTo>
                    <a:pt x="185" y="6"/>
                  </a:moveTo>
                  <a:cubicBezTo>
                    <a:pt x="184" y="1"/>
                    <a:pt x="184" y="1"/>
                    <a:pt x="184" y="1"/>
                  </a:cubicBezTo>
                  <a:cubicBezTo>
                    <a:pt x="191" y="0"/>
                    <a:pt x="199" y="0"/>
                    <a:pt x="206" y="0"/>
                  </a:cubicBezTo>
                  <a:cubicBezTo>
                    <a:pt x="206" y="5"/>
                    <a:pt x="206" y="5"/>
                    <a:pt x="206" y="5"/>
                  </a:cubicBezTo>
                  <a:cubicBezTo>
                    <a:pt x="199" y="5"/>
                    <a:pt x="192" y="6"/>
                    <a:pt x="185" y="6"/>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01" name="Oval 140"/>
            <p:cNvSpPr>
              <a:spLocks noChangeArrowheads="1"/>
            </p:cNvSpPr>
            <p:nvPr/>
          </p:nvSpPr>
          <p:spPr bwMode="auto">
            <a:xfrm>
              <a:off x="10409238" y="1949450"/>
              <a:ext cx="765175" cy="763588"/>
            </a:xfrm>
            <a:prstGeom prst="ellipse">
              <a:avLst/>
            </a:prstGeom>
            <a:solidFill>
              <a:srgbClr val="E6E6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02" name="Freeform 141"/>
            <p:cNvSpPr>
              <a:spLocks noEditPoints="1"/>
            </p:cNvSpPr>
            <p:nvPr/>
          </p:nvSpPr>
          <p:spPr bwMode="auto">
            <a:xfrm>
              <a:off x="10402888" y="1941513"/>
              <a:ext cx="777875" cy="777875"/>
            </a:xfrm>
            <a:custGeom>
              <a:avLst/>
              <a:gdLst>
                <a:gd name="T0" fmla="*/ 164 w 350"/>
                <a:gd name="T1" fmla="*/ 344 h 350"/>
                <a:gd name="T2" fmla="*/ 175 w 350"/>
                <a:gd name="T3" fmla="*/ 350 h 350"/>
                <a:gd name="T4" fmla="*/ 123 w 350"/>
                <a:gd name="T5" fmla="*/ 337 h 350"/>
                <a:gd name="T6" fmla="*/ 208 w 350"/>
                <a:gd name="T7" fmla="*/ 347 h 350"/>
                <a:gd name="T8" fmla="*/ 229 w 350"/>
                <a:gd name="T9" fmla="*/ 342 h 350"/>
                <a:gd name="T10" fmla="*/ 81 w 350"/>
                <a:gd name="T11" fmla="*/ 323 h 350"/>
                <a:gd name="T12" fmla="*/ 101 w 350"/>
                <a:gd name="T13" fmla="*/ 334 h 350"/>
                <a:gd name="T14" fmla="*/ 266 w 350"/>
                <a:gd name="T15" fmla="*/ 318 h 350"/>
                <a:gd name="T16" fmla="*/ 63 w 350"/>
                <a:gd name="T17" fmla="*/ 310 h 350"/>
                <a:gd name="T18" fmla="*/ 67 w 350"/>
                <a:gd name="T19" fmla="*/ 306 h 350"/>
                <a:gd name="T20" fmla="*/ 283 w 350"/>
                <a:gd name="T21" fmla="*/ 306 h 350"/>
                <a:gd name="T22" fmla="*/ 287 w 350"/>
                <a:gd name="T23" fmla="*/ 310 h 350"/>
                <a:gd name="T24" fmla="*/ 26 w 350"/>
                <a:gd name="T25" fmla="*/ 257 h 350"/>
                <a:gd name="T26" fmla="*/ 317 w 350"/>
                <a:gd name="T27" fmla="*/ 278 h 350"/>
                <a:gd name="T28" fmla="*/ 328 w 350"/>
                <a:gd name="T29" fmla="*/ 259 h 350"/>
                <a:gd name="T30" fmla="*/ 5 w 350"/>
                <a:gd name="T31" fmla="*/ 219 h 350"/>
                <a:gd name="T32" fmla="*/ 12 w 350"/>
                <a:gd name="T33" fmla="*/ 240 h 350"/>
                <a:gd name="T34" fmla="*/ 339 w 350"/>
                <a:gd name="T35" fmla="*/ 217 h 350"/>
                <a:gd name="T36" fmla="*/ 1 w 350"/>
                <a:gd name="T37" fmla="*/ 197 h 350"/>
                <a:gd name="T38" fmla="*/ 7 w 350"/>
                <a:gd name="T39" fmla="*/ 197 h 350"/>
                <a:gd name="T40" fmla="*/ 343 w 350"/>
                <a:gd name="T41" fmla="*/ 196 h 350"/>
                <a:gd name="T42" fmla="*/ 350 w 350"/>
                <a:gd name="T43" fmla="*/ 175 h 350"/>
                <a:gd name="T44" fmla="*/ 7 w 350"/>
                <a:gd name="T45" fmla="*/ 154 h 350"/>
                <a:gd name="T46" fmla="*/ 10 w 350"/>
                <a:gd name="T47" fmla="*/ 133 h 350"/>
                <a:gd name="T48" fmla="*/ 339 w 350"/>
                <a:gd name="T49" fmla="*/ 132 h 350"/>
                <a:gd name="T50" fmla="*/ 343 w 350"/>
                <a:gd name="T51" fmla="*/ 153 h 350"/>
                <a:gd name="T52" fmla="*/ 21 w 350"/>
                <a:gd name="T53" fmla="*/ 91 h 350"/>
                <a:gd name="T54" fmla="*/ 333 w 350"/>
                <a:gd name="T55" fmla="*/ 112 h 350"/>
                <a:gd name="T56" fmla="*/ 338 w 350"/>
                <a:gd name="T57" fmla="*/ 110 h 350"/>
                <a:gd name="T58" fmla="*/ 33 w 350"/>
                <a:gd name="T59" fmla="*/ 72 h 350"/>
                <a:gd name="T60" fmla="*/ 38 w 350"/>
                <a:gd name="T61" fmla="*/ 76 h 350"/>
                <a:gd name="T62" fmla="*/ 302 w 350"/>
                <a:gd name="T63" fmla="*/ 55 h 350"/>
                <a:gd name="T64" fmla="*/ 67 w 350"/>
                <a:gd name="T65" fmla="*/ 45 h 350"/>
                <a:gd name="T66" fmla="*/ 84 w 350"/>
                <a:gd name="T67" fmla="*/ 32 h 350"/>
                <a:gd name="T68" fmla="*/ 266 w 350"/>
                <a:gd name="T69" fmla="*/ 32 h 350"/>
                <a:gd name="T70" fmla="*/ 283 w 350"/>
                <a:gd name="T71" fmla="*/ 44 h 350"/>
                <a:gd name="T72" fmla="*/ 121 w 350"/>
                <a:gd name="T73" fmla="*/ 9 h 350"/>
                <a:gd name="T74" fmla="*/ 247 w 350"/>
                <a:gd name="T75" fmla="*/ 21 h 350"/>
                <a:gd name="T76" fmla="*/ 249 w 350"/>
                <a:gd name="T77" fmla="*/ 16 h 350"/>
                <a:gd name="T78" fmla="*/ 142 w 350"/>
                <a:gd name="T79" fmla="*/ 3 h 350"/>
                <a:gd name="T80" fmla="*/ 143 w 350"/>
                <a:gd name="T81" fmla="*/ 8 h 350"/>
                <a:gd name="T82" fmla="*/ 186 w 350"/>
                <a:gd name="T83" fmla="*/ 0 h 3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50" h="350">
                  <a:moveTo>
                    <a:pt x="175" y="350"/>
                  </a:moveTo>
                  <a:cubicBezTo>
                    <a:pt x="171" y="350"/>
                    <a:pt x="168" y="350"/>
                    <a:pt x="164" y="350"/>
                  </a:cubicBezTo>
                  <a:cubicBezTo>
                    <a:pt x="164" y="344"/>
                    <a:pt x="164" y="344"/>
                    <a:pt x="164" y="344"/>
                  </a:cubicBezTo>
                  <a:cubicBezTo>
                    <a:pt x="171" y="345"/>
                    <a:pt x="179" y="345"/>
                    <a:pt x="186" y="344"/>
                  </a:cubicBezTo>
                  <a:cubicBezTo>
                    <a:pt x="186" y="350"/>
                    <a:pt x="186" y="350"/>
                    <a:pt x="186" y="350"/>
                  </a:cubicBezTo>
                  <a:cubicBezTo>
                    <a:pt x="182" y="350"/>
                    <a:pt x="179" y="350"/>
                    <a:pt x="175" y="350"/>
                  </a:cubicBezTo>
                  <a:close/>
                  <a:moveTo>
                    <a:pt x="142" y="347"/>
                  </a:moveTo>
                  <a:cubicBezTo>
                    <a:pt x="135" y="346"/>
                    <a:pt x="128" y="344"/>
                    <a:pt x="121" y="342"/>
                  </a:cubicBezTo>
                  <a:cubicBezTo>
                    <a:pt x="123" y="337"/>
                    <a:pt x="123" y="337"/>
                    <a:pt x="123" y="337"/>
                  </a:cubicBezTo>
                  <a:cubicBezTo>
                    <a:pt x="129" y="339"/>
                    <a:pt x="136" y="341"/>
                    <a:pt x="143" y="342"/>
                  </a:cubicBezTo>
                  <a:lnTo>
                    <a:pt x="142" y="347"/>
                  </a:lnTo>
                  <a:close/>
                  <a:moveTo>
                    <a:pt x="208" y="347"/>
                  </a:moveTo>
                  <a:cubicBezTo>
                    <a:pt x="207" y="342"/>
                    <a:pt x="207" y="342"/>
                    <a:pt x="207" y="342"/>
                  </a:cubicBezTo>
                  <a:cubicBezTo>
                    <a:pt x="214" y="340"/>
                    <a:pt x="221" y="339"/>
                    <a:pt x="228" y="336"/>
                  </a:cubicBezTo>
                  <a:cubicBezTo>
                    <a:pt x="229" y="342"/>
                    <a:pt x="229" y="342"/>
                    <a:pt x="229" y="342"/>
                  </a:cubicBezTo>
                  <a:cubicBezTo>
                    <a:pt x="222" y="344"/>
                    <a:pt x="215" y="346"/>
                    <a:pt x="208" y="347"/>
                  </a:cubicBezTo>
                  <a:close/>
                  <a:moveTo>
                    <a:pt x="101" y="334"/>
                  </a:moveTo>
                  <a:cubicBezTo>
                    <a:pt x="94" y="331"/>
                    <a:pt x="87" y="327"/>
                    <a:pt x="81" y="323"/>
                  </a:cubicBezTo>
                  <a:cubicBezTo>
                    <a:pt x="84" y="318"/>
                    <a:pt x="84" y="318"/>
                    <a:pt x="84" y="318"/>
                  </a:cubicBezTo>
                  <a:cubicBezTo>
                    <a:pt x="90" y="322"/>
                    <a:pt x="96" y="326"/>
                    <a:pt x="103" y="329"/>
                  </a:cubicBezTo>
                  <a:lnTo>
                    <a:pt x="101" y="334"/>
                  </a:lnTo>
                  <a:close/>
                  <a:moveTo>
                    <a:pt x="250" y="334"/>
                  </a:moveTo>
                  <a:cubicBezTo>
                    <a:pt x="247" y="329"/>
                    <a:pt x="247" y="329"/>
                    <a:pt x="247" y="329"/>
                  </a:cubicBezTo>
                  <a:cubicBezTo>
                    <a:pt x="254" y="326"/>
                    <a:pt x="260" y="322"/>
                    <a:pt x="266" y="318"/>
                  </a:cubicBezTo>
                  <a:cubicBezTo>
                    <a:pt x="269" y="323"/>
                    <a:pt x="269" y="323"/>
                    <a:pt x="269" y="323"/>
                  </a:cubicBezTo>
                  <a:cubicBezTo>
                    <a:pt x="263" y="327"/>
                    <a:pt x="256" y="330"/>
                    <a:pt x="250" y="334"/>
                  </a:cubicBezTo>
                  <a:close/>
                  <a:moveTo>
                    <a:pt x="63" y="310"/>
                  </a:moveTo>
                  <a:cubicBezTo>
                    <a:pt x="58" y="305"/>
                    <a:pt x="52" y="300"/>
                    <a:pt x="47" y="295"/>
                  </a:cubicBezTo>
                  <a:cubicBezTo>
                    <a:pt x="51" y="291"/>
                    <a:pt x="51" y="291"/>
                    <a:pt x="51" y="291"/>
                  </a:cubicBezTo>
                  <a:cubicBezTo>
                    <a:pt x="56" y="297"/>
                    <a:pt x="61" y="301"/>
                    <a:pt x="67" y="306"/>
                  </a:cubicBezTo>
                  <a:lnTo>
                    <a:pt x="63" y="310"/>
                  </a:lnTo>
                  <a:close/>
                  <a:moveTo>
                    <a:pt x="287" y="310"/>
                  </a:moveTo>
                  <a:cubicBezTo>
                    <a:pt x="283" y="306"/>
                    <a:pt x="283" y="306"/>
                    <a:pt x="283" y="306"/>
                  </a:cubicBezTo>
                  <a:cubicBezTo>
                    <a:pt x="289" y="301"/>
                    <a:pt x="294" y="296"/>
                    <a:pt x="299" y="291"/>
                  </a:cubicBezTo>
                  <a:cubicBezTo>
                    <a:pt x="303" y="295"/>
                    <a:pt x="303" y="295"/>
                    <a:pt x="303" y="295"/>
                  </a:cubicBezTo>
                  <a:cubicBezTo>
                    <a:pt x="298" y="300"/>
                    <a:pt x="292" y="305"/>
                    <a:pt x="287" y="310"/>
                  </a:cubicBezTo>
                  <a:close/>
                  <a:moveTo>
                    <a:pt x="33" y="278"/>
                  </a:moveTo>
                  <a:cubicBezTo>
                    <a:pt x="29" y="272"/>
                    <a:pt x="25" y="266"/>
                    <a:pt x="22" y="260"/>
                  </a:cubicBezTo>
                  <a:cubicBezTo>
                    <a:pt x="26" y="257"/>
                    <a:pt x="26" y="257"/>
                    <a:pt x="26" y="257"/>
                  </a:cubicBezTo>
                  <a:cubicBezTo>
                    <a:pt x="30" y="263"/>
                    <a:pt x="34" y="269"/>
                    <a:pt x="38" y="275"/>
                  </a:cubicBezTo>
                  <a:lnTo>
                    <a:pt x="33" y="278"/>
                  </a:lnTo>
                  <a:close/>
                  <a:moveTo>
                    <a:pt x="317" y="278"/>
                  </a:moveTo>
                  <a:cubicBezTo>
                    <a:pt x="312" y="275"/>
                    <a:pt x="312" y="275"/>
                    <a:pt x="312" y="275"/>
                  </a:cubicBezTo>
                  <a:cubicBezTo>
                    <a:pt x="316" y="269"/>
                    <a:pt x="320" y="263"/>
                    <a:pt x="324" y="257"/>
                  </a:cubicBezTo>
                  <a:cubicBezTo>
                    <a:pt x="328" y="259"/>
                    <a:pt x="328" y="259"/>
                    <a:pt x="328" y="259"/>
                  </a:cubicBezTo>
                  <a:cubicBezTo>
                    <a:pt x="325" y="266"/>
                    <a:pt x="321" y="272"/>
                    <a:pt x="317" y="278"/>
                  </a:cubicBezTo>
                  <a:close/>
                  <a:moveTo>
                    <a:pt x="12" y="240"/>
                  </a:moveTo>
                  <a:cubicBezTo>
                    <a:pt x="10" y="233"/>
                    <a:pt x="7" y="226"/>
                    <a:pt x="5" y="219"/>
                  </a:cubicBezTo>
                  <a:cubicBezTo>
                    <a:pt x="11" y="218"/>
                    <a:pt x="11" y="218"/>
                    <a:pt x="11" y="218"/>
                  </a:cubicBezTo>
                  <a:cubicBezTo>
                    <a:pt x="12" y="224"/>
                    <a:pt x="15" y="231"/>
                    <a:pt x="17" y="238"/>
                  </a:cubicBezTo>
                  <a:lnTo>
                    <a:pt x="12" y="240"/>
                  </a:lnTo>
                  <a:close/>
                  <a:moveTo>
                    <a:pt x="338" y="240"/>
                  </a:moveTo>
                  <a:cubicBezTo>
                    <a:pt x="333" y="238"/>
                    <a:pt x="333" y="238"/>
                    <a:pt x="333" y="238"/>
                  </a:cubicBezTo>
                  <a:cubicBezTo>
                    <a:pt x="335" y="231"/>
                    <a:pt x="338" y="224"/>
                    <a:pt x="339" y="217"/>
                  </a:cubicBezTo>
                  <a:cubicBezTo>
                    <a:pt x="345" y="219"/>
                    <a:pt x="345" y="219"/>
                    <a:pt x="345" y="219"/>
                  </a:cubicBezTo>
                  <a:cubicBezTo>
                    <a:pt x="343" y="226"/>
                    <a:pt x="341" y="233"/>
                    <a:pt x="338" y="240"/>
                  </a:cubicBezTo>
                  <a:close/>
                  <a:moveTo>
                    <a:pt x="1" y="197"/>
                  </a:moveTo>
                  <a:cubicBezTo>
                    <a:pt x="0" y="190"/>
                    <a:pt x="0" y="183"/>
                    <a:pt x="0" y="175"/>
                  </a:cubicBezTo>
                  <a:cubicBezTo>
                    <a:pt x="5" y="175"/>
                    <a:pt x="5" y="175"/>
                    <a:pt x="5" y="175"/>
                  </a:cubicBezTo>
                  <a:cubicBezTo>
                    <a:pt x="5" y="182"/>
                    <a:pt x="6" y="190"/>
                    <a:pt x="7" y="197"/>
                  </a:cubicBezTo>
                  <a:lnTo>
                    <a:pt x="1" y="197"/>
                  </a:lnTo>
                  <a:close/>
                  <a:moveTo>
                    <a:pt x="349" y="197"/>
                  </a:moveTo>
                  <a:cubicBezTo>
                    <a:pt x="343" y="196"/>
                    <a:pt x="343" y="196"/>
                    <a:pt x="343" y="196"/>
                  </a:cubicBezTo>
                  <a:cubicBezTo>
                    <a:pt x="344" y="189"/>
                    <a:pt x="345" y="182"/>
                    <a:pt x="345" y="175"/>
                  </a:cubicBezTo>
                  <a:cubicBezTo>
                    <a:pt x="345" y="175"/>
                    <a:pt x="345" y="175"/>
                    <a:pt x="345" y="175"/>
                  </a:cubicBezTo>
                  <a:cubicBezTo>
                    <a:pt x="350" y="175"/>
                    <a:pt x="350" y="175"/>
                    <a:pt x="350" y="175"/>
                  </a:cubicBezTo>
                  <a:cubicBezTo>
                    <a:pt x="350" y="175"/>
                    <a:pt x="350" y="175"/>
                    <a:pt x="350" y="175"/>
                  </a:cubicBezTo>
                  <a:cubicBezTo>
                    <a:pt x="350" y="182"/>
                    <a:pt x="350" y="190"/>
                    <a:pt x="349" y="197"/>
                  </a:cubicBezTo>
                  <a:close/>
                  <a:moveTo>
                    <a:pt x="7" y="154"/>
                  </a:moveTo>
                  <a:cubicBezTo>
                    <a:pt x="1" y="153"/>
                    <a:pt x="1" y="153"/>
                    <a:pt x="1" y="153"/>
                  </a:cubicBezTo>
                  <a:cubicBezTo>
                    <a:pt x="2" y="146"/>
                    <a:pt x="3" y="139"/>
                    <a:pt x="5" y="132"/>
                  </a:cubicBezTo>
                  <a:cubicBezTo>
                    <a:pt x="10" y="133"/>
                    <a:pt x="10" y="133"/>
                    <a:pt x="10" y="133"/>
                  </a:cubicBezTo>
                  <a:cubicBezTo>
                    <a:pt x="9" y="140"/>
                    <a:pt x="7" y="147"/>
                    <a:pt x="7" y="154"/>
                  </a:cubicBezTo>
                  <a:close/>
                  <a:moveTo>
                    <a:pt x="343" y="153"/>
                  </a:moveTo>
                  <a:cubicBezTo>
                    <a:pt x="342" y="146"/>
                    <a:pt x="341" y="139"/>
                    <a:pt x="339" y="132"/>
                  </a:cubicBezTo>
                  <a:cubicBezTo>
                    <a:pt x="345" y="131"/>
                    <a:pt x="345" y="131"/>
                    <a:pt x="345" y="131"/>
                  </a:cubicBezTo>
                  <a:cubicBezTo>
                    <a:pt x="346" y="138"/>
                    <a:pt x="348" y="145"/>
                    <a:pt x="349" y="153"/>
                  </a:cubicBezTo>
                  <a:lnTo>
                    <a:pt x="343" y="153"/>
                  </a:lnTo>
                  <a:close/>
                  <a:moveTo>
                    <a:pt x="17" y="113"/>
                  </a:moveTo>
                  <a:cubicBezTo>
                    <a:pt x="12" y="111"/>
                    <a:pt x="12" y="111"/>
                    <a:pt x="12" y="111"/>
                  </a:cubicBezTo>
                  <a:cubicBezTo>
                    <a:pt x="15" y="104"/>
                    <a:pt x="18" y="97"/>
                    <a:pt x="21" y="91"/>
                  </a:cubicBezTo>
                  <a:cubicBezTo>
                    <a:pt x="26" y="94"/>
                    <a:pt x="26" y="94"/>
                    <a:pt x="26" y="94"/>
                  </a:cubicBezTo>
                  <a:cubicBezTo>
                    <a:pt x="23" y="100"/>
                    <a:pt x="20" y="106"/>
                    <a:pt x="17" y="113"/>
                  </a:cubicBezTo>
                  <a:close/>
                  <a:moveTo>
                    <a:pt x="333" y="112"/>
                  </a:moveTo>
                  <a:cubicBezTo>
                    <a:pt x="330" y="106"/>
                    <a:pt x="327" y="99"/>
                    <a:pt x="324" y="93"/>
                  </a:cubicBezTo>
                  <a:cubicBezTo>
                    <a:pt x="328" y="90"/>
                    <a:pt x="328" y="90"/>
                    <a:pt x="328" y="90"/>
                  </a:cubicBezTo>
                  <a:cubicBezTo>
                    <a:pt x="332" y="97"/>
                    <a:pt x="335" y="103"/>
                    <a:pt x="338" y="110"/>
                  </a:cubicBezTo>
                  <a:lnTo>
                    <a:pt x="333" y="112"/>
                  </a:lnTo>
                  <a:close/>
                  <a:moveTo>
                    <a:pt x="38" y="76"/>
                  </a:moveTo>
                  <a:cubicBezTo>
                    <a:pt x="33" y="72"/>
                    <a:pt x="33" y="72"/>
                    <a:pt x="33" y="72"/>
                  </a:cubicBezTo>
                  <a:cubicBezTo>
                    <a:pt x="37" y="66"/>
                    <a:pt x="42" y="61"/>
                    <a:pt x="47" y="55"/>
                  </a:cubicBezTo>
                  <a:cubicBezTo>
                    <a:pt x="51" y="59"/>
                    <a:pt x="51" y="59"/>
                    <a:pt x="51" y="59"/>
                  </a:cubicBezTo>
                  <a:cubicBezTo>
                    <a:pt x="46" y="64"/>
                    <a:pt x="42" y="70"/>
                    <a:pt x="38" y="76"/>
                  </a:cubicBezTo>
                  <a:close/>
                  <a:moveTo>
                    <a:pt x="312" y="75"/>
                  </a:moveTo>
                  <a:cubicBezTo>
                    <a:pt x="308" y="69"/>
                    <a:pt x="303" y="64"/>
                    <a:pt x="298" y="59"/>
                  </a:cubicBezTo>
                  <a:cubicBezTo>
                    <a:pt x="302" y="55"/>
                    <a:pt x="302" y="55"/>
                    <a:pt x="302" y="55"/>
                  </a:cubicBezTo>
                  <a:cubicBezTo>
                    <a:pt x="307" y="60"/>
                    <a:pt x="312" y="66"/>
                    <a:pt x="316" y="72"/>
                  </a:cubicBezTo>
                  <a:lnTo>
                    <a:pt x="312" y="75"/>
                  </a:lnTo>
                  <a:close/>
                  <a:moveTo>
                    <a:pt x="67" y="45"/>
                  </a:moveTo>
                  <a:cubicBezTo>
                    <a:pt x="63" y="40"/>
                    <a:pt x="63" y="40"/>
                    <a:pt x="63" y="40"/>
                  </a:cubicBezTo>
                  <a:cubicBezTo>
                    <a:pt x="69" y="36"/>
                    <a:pt x="75" y="31"/>
                    <a:pt x="81" y="27"/>
                  </a:cubicBezTo>
                  <a:cubicBezTo>
                    <a:pt x="84" y="32"/>
                    <a:pt x="84" y="32"/>
                    <a:pt x="84" y="32"/>
                  </a:cubicBezTo>
                  <a:cubicBezTo>
                    <a:pt x="78" y="36"/>
                    <a:pt x="72" y="40"/>
                    <a:pt x="67" y="45"/>
                  </a:cubicBezTo>
                  <a:close/>
                  <a:moveTo>
                    <a:pt x="283" y="44"/>
                  </a:moveTo>
                  <a:cubicBezTo>
                    <a:pt x="277" y="40"/>
                    <a:pt x="272" y="35"/>
                    <a:pt x="266" y="32"/>
                  </a:cubicBezTo>
                  <a:cubicBezTo>
                    <a:pt x="268" y="27"/>
                    <a:pt x="268" y="27"/>
                    <a:pt x="268" y="27"/>
                  </a:cubicBezTo>
                  <a:cubicBezTo>
                    <a:pt x="275" y="31"/>
                    <a:pt x="281" y="35"/>
                    <a:pt x="286" y="40"/>
                  </a:cubicBezTo>
                  <a:lnTo>
                    <a:pt x="283" y="44"/>
                  </a:lnTo>
                  <a:close/>
                  <a:moveTo>
                    <a:pt x="102" y="22"/>
                  </a:moveTo>
                  <a:cubicBezTo>
                    <a:pt x="100" y="17"/>
                    <a:pt x="100" y="17"/>
                    <a:pt x="100" y="17"/>
                  </a:cubicBezTo>
                  <a:cubicBezTo>
                    <a:pt x="107" y="14"/>
                    <a:pt x="114" y="11"/>
                    <a:pt x="121" y="9"/>
                  </a:cubicBezTo>
                  <a:cubicBezTo>
                    <a:pt x="122" y="14"/>
                    <a:pt x="122" y="14"/>
                    <a:pt x="122" y="14"/>
                  </a:cubicBezTo>
                  <a:cubicBezTo>
                    <a:pt x="115" y="16"/>
                    <a:pt x="109" y="19"/>
                    <a:pt x="102" y="22"/>
                  </a:cubicBezTo>
                  <a:close/>
                  <a:moveTo>
                    <a:pt x="247" y="21"/>
                  </a:moveTo>
                  <a:cubicBezTo>
                    <a:pt x="240" y="18"/>
                    <a:pt x="234" y="16"/>
                    <a:pt x="227" y="14"/>
                  </a:cubicBezTo>
                  <a:cubicBezTo>
                    <a:pt x="229" y="8"/>
                    <a:pt x="229" y="8"/>
                    <a:pt x="229" y="8"/>
                  </a:cubicBezTo>
                  <a:cubicBezTo>
                    <a:pt x="236" y="11"/>
                    <a:pt x="243" y="13"/>
                    <a:pt x="249" y="16"/>
                  </a:cubicBezTo>
                  <a:lnTo>
                    <a:pt x="247" y="21"/>
                  </a:lnTo>
                  <a:close/>
                  <a:moveTo>
                    <a:pt x="143" y="8"/>
                  </a:moveTo>
                  <a:cubicBezTo>
                    <a:pt x="142" y="3"/>
                    <a:pt x="142" y="3"/>
                    <a:pt x="142" y="3"/>
                  </a:cubicBezTo>
                  <a:cubicBezTo>
                    <a:pt x="149" y="2"/>
                    <a:pt x="156" y="1"/>
                    <a:pt x="164" y="0"/>
                  </a:cubicBezTo>
                  <a:cubicBezTo>
                    <a:pt x="164" y="6"/>
                    <a:pt x="164" y="6"/>
                    <a:pt x="164" y="6"/>
                  </a:cubicBezTo>
                  <a:cubicBezTo>
                    <a:pt x="157" y="6"/>
                    <a:pt x="150" y="7"/>
                    <a:pt x="143" y="8"/>
                  </a:cubicBezTo>
                  <a:close/>
                  <a:moveTo>
                    <a:pt x="206" y="8"/>
                  </a:moveTo>
                  <a:cubicBezTo>
                    <a:pt x="199" y="7"/>
                    <a:pt x="192" y="6"/>
                    <a:pt x="185" y="6"/>
                  </a:cubicBezTo>
                  <a:cubicBezTo>
                    <a:pt x="186" y="0"/>
                    <a:pt x="186" y="0"/>
                    <a:pt x="186" y="0"/>
                  </a:cubicBezTo>
                  <a:cubicBezTo>
                    <a:pt x="193" y="1"/>
                    <a:pt x="200" y="2"/>
                    <a:pt x="207" y="3"/>
                  </a:cubicBezTo>
                  <a:lnTo>
                    <a:pt x="206" y="8"/>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03" name="Oval 142"/>
            <p:cNvSpPr>
              <a:spLocks noChangeArrowheads="1"/>
            </p:cNvSpPr>
            <p:nvPr/>
          </p:nvSpPr>
          <p:spPr bwMode="auto">
            <a:xfrm>
              <a:off x="10409238" y="2095500"/>
              <a:ext cx="617538" cy="617538"/>
            </a:xfrm>
            <a:prstGeom prst="ellipse">
              <a:avLst/>
            </a:pr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10" name="Freeform 143"/>
            <p:cNvSpPr>
              <a:spLocks noEditPoints="1"/>
            </p:cNvSpPr>
            <p:nvPr/>
          </p:nvSpPr>
          <p:spPr bwMode="auto">
            <a:xfrm>
              <a:off x="10402888" y="2089150"/>
              <a:ext cx="630238" cy="630238"/>
            </a:xfrm>
            <a:custGeom>
              <a:avLst/>
              <a:gdLst>
                <a:gd name="T0" fmla="*/ 142 w 284"/>
                <a:gd name="T1" fmla="*/ 284 h 284"/>
                <a:gd name="T2" fmla="*/ 121 w 284"/>
                <a:gd name="T3" fmla="*/ 277 h 284"/>
                <a:gd name="T4" fmla="*/ 142 w 284"/>
                <a:gd name="T5" fmla="*/ 284 h 284"/>
                <a:gd name="T6" fmla="*/ 163 w 284"/>
                <a:gd name="T7" fmla="*/ 277 h 284"/>
                <a:gd name="T8" fmla="*/ 186 w 284"/>
                <a:gd name="T9" fmla="*/ 277 h 284"/>
                <a:gd name="T10" fmla="*/ 98 w 284"/>
                <a:gd name="T11" fmla="*/ 277 h 284"/>
                <a:gd name="T12" fmla="*/ 80 w 284"/>
                <a:gd name="T13" fmla="*/ 264 h 284"/>
                <a:gd name="T14" fmla="*/ 98 w 284"/>
                <a:gd name="T15" fmla="*/ 277 h 284"/>
                <a:gd name="T16" fmla="*/ 204 w 284"/>
                <a:gd name="T17" fmla="*/ 264 h 284"/>
                <a:gd name="T18" fmla="*/ 225 w 284"/>
                <a:gd name="T19" fmla="*/ 257 h 284"/>
                <a:gd name="T20" fmla="*/ 59 w 284"/>
                <a:gd name="T21" fmla="*/ 257 h 284"/>
                <a:gd name="T22" fmla="*/ 45 w 284"/>
                <a:gd name="T23" fmla="*/ 239 h 284"/>
                <a:gd name="T24" fmla="*/ 59 w 284"/>
                <a:gd name="T25" fmla="*/ 257 h 284"/>
                <a:gd name="T26" fmla="*/ 238 w 284"/>
                <a:gd name="T27" fmla="*/ 239 h 284"/>
                <a:gd name="T28" fmla="*/ 257 w 284"/>
                <a:gd name="T29" fmla="*/ 226 h 284"/>
                <a:gd name="T30" fmla="*/ 27 w 284"/>
                <a:gd name="T31" fmla="*/ 226 h 284"/>
                <a:gd name="T32" fmla="*/ 20 w 284"/>
                <a:gd name="T33" fmla="*/ 204 h 284"/>
                <a:gd name="T34" fmla="*/ 27 w 284"/>
                <a:gd name="T35" fmla="*/ 226 h 284"/>
                <a:gd name="T36" fmla="*/ 263 w 284"/>
                <a:gd name="T37" fmla="*/ 204 h 284"/>
                <a:gd name="T38" fmla="*/ 277 w 284"/>
                <a:gd name="T39" fmla="*/ 186 h 284"/>
                <a:gd name="T40" fmla="*/ 7 w 284"/>
                <a:gd name="T41" fmla="*/ 186 h 284"/>
                <a:gd name="T42" fmla="*/ 7 w 284"/>
                <a:gd name="T43" fmla="*/ 164 h 284"/>
                <a:gd name="T44" fmla="*/ 7 w 284"/>
                <a:gd name="T45" fmla="*/ 186 h 284"/>
                <a:gd name="T46" fmla="*/ 277 w 284"/>
                <a:gd name="T47" fmla="*/ 164 h 284"/>
                <a:gd name="T48" fmla="*/ 278 w 284"/>
                <a:gd name="T49" fmla="*/ 142 h 284"/>
                <a:gd name="T50" fmla="*/ 284 w 284"/>
                <a:gd name="T51" fmla="*/ 142 h 284"/>
                <a:gd name="T52" fmla="*/ 5 w 284"/>
                <a:gd name="T53" fmla="*/ 143 h 284"/>
                <a:gd name="T54" fmla="*/ 0 w 284"/>
                <a:gd name="T55" fmla="*/ 142 h 284"/>
                <a:gd name="T56" fmla="*/ 7 w 284"/>
                <a:gd name="T57" fmla="*/ 121 h 284"/>
                <a:gd name="T58" fmla="*/ 5 w 284"/>
                <a:gd name="T59" fmla="*/ 143 h 284"/>
                <a:gd name="T60" fmla="*/ 272 w 284"/>
                <a:gd name="T61" fmla="*/ 100 h 284"/>
                <a:gd name="T62" fmla="*/ 282 w 284"/>
                <a:gd name="T63" fmla="*/ 120 h 284"/>
                <a:gd name="T64" fmla="*/ 12 w 284"/>
                <a:gd name="T65" fmla="*/ 100 h 284"/>
                <a:gd name="T66" fmla="*/ 15 w 284"/>
                <a:gd name="T67" fmla="*/ 78 h 284"/>
                <a:gd name="T68" fmla="*/ 12 w 284"/>
                <a:gd name="T69" fmla="*/ 100 h 284"/>
                <a:gd name="T70" fmla="*/ 252 w 284"/>
                <a:gd name="T71" fmla="*/ 62 h 284"/>
                <a:gd name="T72" fmla="*/ 268 w 284"/>
                <a:gd name="T73" fmla="*/ 77 h 284"/>
                <a:gd name="T74" fmla="*/ 31 w 284"/>
                <a:gd name="T75" fmla="*/ 62 h 284"/>
                <a:gd name="T76" fmla="*/ 41 w 284"/>
                <a:gd name="T77" fmla="*/ 42 h 284"/>
                <a:gd name="T78" fmla="*/ 31 w 284"/>
                <a:gd name="T79" fmla="*/ 62 h 284"/>
                <a:gd name="T80" fmla="*/ 222 w 284"/>
                <a:gd name="T81" fmla="*/ 32 h 284"/>
                <a:gd name="T82" fmla="*/ 242 w 284"/>
                <a:gd name="T83" fmla="*/ 42 h 284"/>
                <a:gd name="T84" fmla="*/ 61 w 284"/>
                <a:gd name="T85" fmla="*/ 32 h 284"/>
                <a:gd name="T86" fmla="*/ 77 w 284"/>
                <a:gd name="T87" fmla="*/ 16 h 284"/>
                <a:gd name="T88" fmla="*/ 61 w 284"/>
                <a:gd name="T89" fmla="*/ 32 h 284"/>
                <a:gd name="T90" fmla="*/ 184 w 284"/>
                <a:gd name="T91" fmla="*/ 12 h 284"/>
                <a:gd name="T92" fmla="*/ 206 w 284"/>
                <a:gd name="T93" fmla="*/ 16 h 284"/>
                <a:gd name="T94" fmla="*/ 99 w 284"/>
                <a:gd name="T95" fmla="*/ 13 h 284"/>
                <a:gd name="T96" fmla="*/ 119 w 284"/>
                <a:gd name="T97" fmla="*/ 2 h 284"/>
                <a:gd name="T98" fmla="*/ 99 w 284"/>
                <a:gd name="T99" fmla="*/ 13 h 284"/>
                <a:gd name="T100" fmla="*/ 142 w 284"/>
                <a:gd name="T101" fmla="*/ 6 h 284"/>
                <a:gd name="T102" fmla="*/ 141 w 284"/>
                <a:gd name="T103" fmla="*/ 0 h 284"/>
                <a:gd name="T104" fmla="*/ 164 w 284"/>
                <a:gd name="T105" fmla="*/ 2 h 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84" h="284">
                  <a:moveTo>
                    <a:pt x="142" y="284"/>
                  </a:moveTo>
                  <a:cubicBezTo>
                    <a:pt x="142" y="284"/>
                    <a:pt x="142" y="284"/>
                    <a:pt x="142" y="284"/>
                  </a:cubicBezTo>
                  <a:cubicBezTo>
                    <a:pt x="134" y="284"/>
                    <a:pt x="127" y="284"/>
                    <a:pt x="120" y="282"/>
                  </a:cubicBezTo>
                  <a:cubicBezTo>
                    <a:pt x="121" y="277"/>
                    <a:pt x="121" y="277"/>
                    <a:pt x="121" y="277"/>
                  </a:cubicBezTo>
                  <a:cubicBezTo>
                    <a:pt x="128" y="278"/>
                    <a:pt x="135" y="279"/>
                    <a:pt x="142" y="279"/>
                  </a:cubicBezTo>
                  <a:lnTo>
                    <a:pt x="142" y="284"/>
                  </a:lnTo>
                  <a:close/>
                  <a:moveTo>
                    <a:pt x="164" y="282"/>
                  </a:moveTo>
                  <a:cubicBezTo>
                    <a:pt x="163" y="277"/>
                    <a:pt x="163" y="277"/>
                    <a:pt x="163" y="277"/>
                  </a:cubicBezTo>
                  <a:cubicBezTo>
                    <a:pt x="170" y="276"/>
                    <a:pt x="177" y="274"/>
                    <a:pt x="184" y="272"/>
                  </a:cubicBezTo>
                  <a:cubicBezTo>
                    <a:pt x="186" y="277"/>
                    <a:pt x="186" y="277"/>
                    <a:pt x="186" y="277"/>
                  </a:cubicBezTo>
                  <a:cubicBezTo>
                    <a:pt x="179" y="280"/>
                    <a:pt x="171" y="281"/>
                    <a:pt x="164" y="282"/>
                  </a:cubicBezTo>
                  <a:close/>
                  <a:moveTo>
                    <a:pt x="98" y="277"/>
                  </a:moveTo>
                  <a:cubicBezTo>
                    <a:pt x="91" y="275"/>
                    <a:pt x="84" y="272"/>
                    <a:pt x="78" y="269"/>
                  </a:cubicBezTo>
                  <a:cubicBezTo>
                    <a:pt x="80" y="264"/>
                    <a:pt x="80" y="264"/>
                    <a:pt x="80" y="264"/>
                  </a:cubicBezTo>
                  <a:cubicBezTo>
                    <a:pt x="86" y="267"/>
                    <a:pt x="93" y="270"/>
                    <a:pt x="100" y="272"/>
                  </a:cubicBezTo>
                  <a:lnTo>
                    <a:pt x="98" y="277"/>
                  </a:lnTo>
                  <a:close/>
                  <a:moveTo>
                    <a:pt x="206" y="269"/>
                  </a:moveTo>
                  <a:cubicBezTo>
                    <a:pt x="204" y="264"/>
                    <a:pt x="204" y="264"/>
                    <a:pt x="204" y="264"/>
                  </a:cubicBezTo>
                  <a:cubicBezTo>
                    <a:pt x="210" y="261"/>
                    <a:pt x="216" y="257"/>
                    <a:pt x="222" y="253"/>
                  </a:cubicBezTo>
                  <a:cubicBezTo>
                    <a:pt x="225" y="257"/>
                    <a:pt x="225" y="257"/>
                    <a:pt x="225" y="257"/>
                  </a:cubicBezTo>
                  <a:cubicBezTo>
                    <a:pt x="219" y="261"/>
                    <a:pt x="213" y="265"/>
                    <a:pt x="206" y="269"/>
                  </a:cubicBezTo>
                  <a:close/>
                  <a:moveTo>
                    <a:pt x="59" y="257"/>
                  </a:moveTo>
                  <a:cubicBezTo>
                    <a:pt x="53" y="253"/>
                    <a:pt x="47" y="248"/>
                    <a:pt x="42" y="243"/>
                  </a:cubicBezTo>
                  <a:cubicBezTo>
                    <a:pt x="45" y="239"/>
                    <a:pt x="45" y="239"/>
                    <a:pt x="45" y="239"/>
                  </a:cubicBezTo>
                  <a:cubicBezTo>
                    <a:pt x="50" y="244"/>
                    <a:pt x="56" y="249"/>
                    <a:pt x="62" y="253"/>
                  </a:cubicBezTo>
                  <a:lnTo>
                    <a:pt x="59" y="257"/>
                  </a:lnTo>
                  <a:close/>
                  <a:moveTo>
                    <a:pt x="242" y="243"/>
                  </a:moveTo>
                  <a:cubicBezTo>
                    <a:pt x="238" y="239"/>
                    <a:pt x="238" y="239"/>
                    <a:pt x="238" y="239"/>
                  </a:cubicBezTo>
                  <a:cubicBezTo>
                    <a:pt x="243" y="234"/>
                    <a:pt x="248" y="228"/>
                    <a:pt x="252" y="222"/>
                  </a:cubicBezTo>
                  <a:cubicBezTo>
                    <a:pt x="257" y="226"/>
                    <a:pt x="257" y="226"/>
                    <a:pt x="257" y="226"/>
                  </a:cubicBezTo>
                  <a:cubicBezTo>
                    <a:pt x="252" y="232"/>
                    <a:pt x="247" y="237"/>
                    <a:pt x="242" y="243"/>
                  </a:cubicBezTo>
                  <a:close/>
                  <a:moveTo>
                    <a:pt x="27" y="226"/>
                  </a:moveTo>
                  <a:cubicBezTo>
                    <a:pt x="23" y="220"/>
                    <a:pt x="19" y="214"/>
                    <a:pt x="15" y="207"/>
                  </a:cubicBezTo>
                  <a:cubicBezTo>
                    <a:pt x="20" y="204"/>
                    <a:pt x="20" y="204"/>
                    <a:pt x="20" y="204"/>
                  </a:cubicBezTo>
                  <a:cubicBezTo>
                    <a:pt x="23" y="211"/>
                    <a:pt x="27" y="217"/>
                    <a:pt x="31" y="223"/>
                  </a:cubicBezTo>
                  <a:lnTo>
                    <a:pt x="27" y="226"/>
                  </a:lnTo>
                  <a:close/>
                  <a:moveTo>
                    <a:pt x="268" y="207"/>
                  </a:moveTo>
                  <a:cubicBezTo>
                    <a:pt x="263" y="204"/>
                    <a:pt x="263" y="204"/>
                    <a:pt x="263" y="204"/>
                  </a:cubicBezTo>
                  <a:cubicBezTo>
                    <a:pt x="267" y="198"/>
                    <a:pt x="269" y="191"/>
                    <a:pt x="272" y="184"/>
                  </a:cubicBezTo>
                  <a:cubicBezTo>
                    <a:pt x="277" y="186"/>
                    <a:pt x="277" y="186"/>
                    <a:pt x="277" y="186"/>
                  </a:cubicBezTo>
                  <a:cubicBezTo>
                    <a:pt x="275" y="193"/>
                    <a:pt x="272" y="200"/>
                    <a:pt x="268" y="207"/>
                  </a:cubicBezTo>
                  <a:close/>
                  <a:moveTo>
                    <a:pt x="7" y="186"/>
                  </a:moveTo>
                  <a:cubicBezTo>
                    <a:pt x="5" y="179"/>
                    <a:pt x="3" y="172"/>
                    <a:pt x="2" y="165"/>
                  </a:cubicBezTo>
                  <a:cubicBezTo>
                    <a:pt x="7" y="164"/>
                    <a:pt x="7" y="164"/>
                    <a:pt x="7" y="164"/>
                  </a:cubicBezTo>
                  <a:cubicBezTo>
                    <a:pt x="8" y="171"/>
                    <a:pt x="10" y="178"/>
                    <a:pt x="12" y="185"/>
                  </a:cubicBezTo>
                  <a:lnTo>
                    <a:pt x="7" y="186"/>
                  </a:lnTo>
                  <a:close/>
                  <a:moveTo>
                    <a:pt x="282" y="164"/>
                  </a:moveTo>
                  <a:cubicBezTo>
                    <a:pt x="277" y="164"/>
                    <a:pt x="277" y="164"/>
                    <a:pt x="277" y="164"/>
                  </a:cubicBezTo>
                  <a:cubicBezTo>
                    <a:pt x="278" y="157"/>
                    <a:pt x="278" y="149"/>
                    <a:pt x="278" y="142"/>
                  </a:cubicBezTo>
                  <a:cubicBezTo>
                    <a:pt x="278" y="142"/>
                    <a:pt x="278" y="142"/>
                    <a:pt x="278" y="142"/>
                  </a:cubicBezTo>
                  <a:cubicBezTo>
                    <a:pt x="284" y="142"/>
                    <a:pt x="284" y="142"/>
                    <a:pt x="284" y="142"/>
                  </a:cubicBezTo>
                  <a:cubicBezTo>
                    <a:pt x="284" y="142"/>
                    <a:pt x="284" y="142"/>
                    <a:pt x="284" y="142"/>
                  </a:cubicBezTo>
                  <a:cubicBezTo>
                    <a:pt x="284" y="150"/>
                    <a:pt x="283" y="157"/>
                    <a:pt x="282" y="164"/>
                  </a:cubicBezTo>
                  <a:close/>
                  <a:moveTo>
                    <a:pt x="5" y="143"/>
                  </a:moveTo>
                  <a:cubicBezTo>
                    <a:pt x="0" y="143"/>
                    <a:pt x="0" y="143"/>
                    <a:pt x="0" y="143"/>
                  </a:cubicBezTo>
                  <a:cubicBezTo>
                    <a:pt x="0" y="142"/>
                    <a:pt x="0" y="142"/>
                    <a:pt x="0" y="142"/>
                  </a:cubicBezTo>
                  <a:cubicBezTo>
                    <a:pt x="0" y="135"/>
                    <a:pt x="0" y="128"/>
                    <a:pt x="2" y="120"/>
                  </a:cubicBezTo>
                  <a:cubicBezTo>
                    <a:pt x="7" y="121"/>
                    <a:pt x="7" y="121"/>
                    <a:pt x="7" y="121"/>
                  </a:cubicBezTo>
                  <a:cubicBezTo>
                    <a:pt x="6" y="128"/>
                    <a:pt x="5" y="135"/>
                    <a:pt x="5" y="142"/>
                  </a:cubicBezTo>
                  <a:lnTo>
                    <a:pt x="5" y="143"/>
                  </a:lnTo>
                  <a:close/>
                  <a:moveTo>
                    <a:pt x="277" y="120"/>
                  </a:moveTo>
                  <a:cubicBezTo>
                    <a:pt x="275" y="113"/>
                    <a:pt x="274" y="106"/>
                    <a:pt x="272" y="100"/>
                  </a:cubicBezTo>
                  <a:cubicBezTo>
                    <a:pt x="277" y="98"/>
                    <a:pt x="277" y="98"/>
                    <a:pt x="277" y="98"/>
                  </a:cubicBezTo>
                  <a:cubicBezTo>
                    <a:pt x="279" y="105"/>
                    <a:pt x="281" y="112"/>
                    <a:pt x="282" y="120"/>
                  </a:cubicBezTo>
                  <a:lnTo>
                    <a:pt x="277" y="120"/>
                  </a:lnTo>
                  <a:close/>
                  <a:moveTo>
                    <a:pt x="12" y="100"/>
                  </a:moveTo>
                  <a:cubicBezTo>
                    <a:pt x="7" y="99"/>
                    <a:pt x="7" y="99"/>
                    <a:pt x="7" y="99"/>
                  </a:cubicBezTo>
                  <a:cubicBezTo>
                    <a:pt x="9" y="92"/>
                    <a:pt x="12" y="85"/>
                    <a:pt x="15" y="78"/>
                  </a:cubicBezTo>
                  <a:cubicBezTo>
                    <a:pt x="20" y="81"/>
                    <a:pt x="20" y="81"/>
                    <a:pt x="20" y="81"/>
                  </a:cubicBezTo>
                  <a:cubicBezTo>
                    <a:pt x="17" y="87"/>
                    <a:pt x="14" y="94"/>
                    <a:pt x="12" y="100"/>
                  </a:cubicBezTo>
                  <a:close/>
                  <a:moveTo>
                    <a:pt x="263" y="80"/>
                  </a:moveTo>
                  <a:cubicBezTo>
                    <a:pt x="260" y="74"/>
                    <a:pt x="256" y="67"/>
                    <a:pt x="252" y="62"/>
                  </a:cubicBezTo>
                  <a:cubicBezTo>
                    <a:pt x="256" y="58"/>
                    <a:pt x="256" y="58"/>
                    <a:pt x="256" y="58"/>
                  </a:cubicBezTo>
                  <a:cubicBezTo>
                    <a:pt x="261" y="64"/>
                    <a:pt x="265" y="71"/>
                    <a:pt x="268" y="77"/>
                  </a:cubicBezTo>
                  <a:lnTo>
                    <a:pt x="263" y="80"/>
                  </a:lnTo>
                  <a:close/>
                  <a:moveTo>
                    <a:pt x="31" y="62"/>
                  </a:moveTo>
                  <a:cubicBezTo>
                    <a:pt x="27" y="59"/>
                    <a:pt x="27" y="59"/>
                    <a:pt x="27" y="59"/>
                  </a:cubicBezTo>
                  <a:cubicBezTo>
                    <a:pt x="31" y="53"/>
                    <a:pt x="36" y="47"/>
                    <a:pt x="41" y="42"/>
                  </a:cubicBezTo>
                  <a:cubicBezTo>
                    <a:pt x="45" y="46"/>
                    <a:pt x="45" y="46"/>
                    <a:pt x="45" y="46"/>
                  </a:cubicBezTo>
                  <a:cubicBezTo>
                    <a:pt x="40" y="51"/>
                    <a:pt x="35" y="57"/>
                    <a:pt x="31" y="62"/>
                  </a:cubicBezTo>
                  <a:close/>
                  <a:moveTo>
                    <a:pt x="238" y="45"/>
                  </a:moveTo>
                  <a:cubicBezTo>
                    <a:pt x="233" y="40"/>
                    <a:pt x="227" y="36"/>
                    <a:pt x="222" y="32"/>
                  </a:cubicBezTo>
                  <a:cubicBezTo>
                    <a:pt x="225" y="27"/>
                    <a:pt x="225" y="27"/>
                    <a:pt x="225" y="27"/>
                  </a:cubicBezTo>
                  <a:cubicBezTo>
                    <a:pt x="231" y="32"/>
                    <a:pt x="237" y="36"/>
                    <a:pt x="242" y="42"/>
                  </a:cubicBezTo>
                  <a:lnTo>
                    <a:pt x="238" y="45"/>
                  </a:lnTo>
                  <a:close/>
                  <a:moveTo>
                    <a:pt x="61" y="32"/>
                  </a:moveTo>
                  <a:cubicBezTo>
                    <a:pt x="58" y="28"/>
                    <a:pt x="58" y="28"/>
                    <a:pt x="58" y="28"/>
                  </a:cubicBezTo>
                  <a:cubicBezTo>
                    <a:pt x="64" y="23"/>
                    <a:pt x="70" y="19"/>
                    <a:pt x="77" y="16"/>
                  </a:cubicBezTo>
                  <a:cubicBezTo>
                    <a:pt x="79" y="21"/>
                    <a:pt x="79" y="21"/>
                    <a:pt x="79" y="21"/>
                  </a:cubicBezTo>
                  <a:cubicBezTo>
                    <a:pt x="73" y="24"/>
                    <a:pt x="67" y="28"/>
                    <a:pt x="61" y="32"/>
                  </a:cubicBezTo>
                  <a:close/>
                  <a:moveTo>
                    <a:pt x="203" y="20"/>
                  </a:moveTo>
                  <a:cubicBezTo>
                    <a:pt x="197" y="17"/>
                    <a:pt x="190" y="14"/>
                    <a:pt x="184" y="12"/>
                  </a:cubicBezTo>
                  <a:cubicBezTo>
                    <a:pt x="185" y="7"/>
                    <a:pt x="185" y="7"/>
                    <a:pt x="185" y="7"/>
                  </a:cubicBezTo>
                  <a:cubicBezTo>
                    <a:pt x="192" y="9"/>
                    <a:pt x="199" y="12"/>
                    <a:pt x="206" y="16"/>
                  </a:cubicBezTo>
                  <a:lnTo>
                    <a:pt x="203" y="20"/>
                  </a:lnTo>
                  <a:close/>
                  <a:moveTo>
                    <a:pt x="99" y="13"/>
                  </a:moveTo>
                  <a:cubicBezTo>
                    <a:pt x="98" y="7"/>
                    <a:pt x="98" y="7"/>
                    <a:pt x="98" y="7"/>
                  </a:cubicBezTo>
                  <a:cubicBezTo>
                    <a:pt x="105" y="5"/>
                    <a:pt x="112" y="3"/>
                    <a:pt x="119" y="2"/>
                  </a:cubicBezTo>
                  <a:cubicBezTo>
                    <a:pt x="120" y="7"/>
                    <a:pt x="120" y="7"/>
                    <a:pt x="120" y="7"/>
                  </a:cubicBezTo>
                  <a:cubicBezTo>
                    <a:pt x="113" y="9"/>
                    <a:pt x="106" y="10"/>
                    <a:pt x="99" y="13"/>
                  </a:cubicBezTo>
                  <a:close/>
                  <a:moveTo>
                    <a:pt x="163" y="7"/>
                  </a:moveTo>
                  <a:cubicBezTo>
                    <a:pt x="156" y="6"/>
                    <a:pt x="149" y="6"/>
                    <a:pt x="142" y="6"/>
                  </a:cubicBezTo>
                  <a:cubicBezTo>
                    <a:pt x="141" y="6"/>
                    <a:pt x="141" y="6"/>
                    <a:pt x="141" y="6"/>
                  </a:cubicBezTo>
                  <a:cubicBezTo>
                    <a:pt x="141" y="0"/>
                    <a:pt x="141" y="0"/>
                    <a:pt x="141" y="0"/>
                  </a:cubicBezTo>
                  <a:cubicBezTo>
                    <a:pt x="142" y="0"/>
                    <a:pt x="142" y="0"/>
                    <a:pt x="142" y="0"/>
                  </a:cubicBezTo>
                  <a:cubicBezTo>
                    <a:pt x="149" y="0"/>
                    <a:pt x="156" y="1"/>
                    <a:pt x="164" y="2"/>
                  </a:cubicBezTo>
                  <a:lnTo>
                    <a:pt x="163" y="7"/>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19" name="Oval 145"/>
            <p:cNvSpPr>
              <a:spLocks noChangeArrowheads="1"/>
            </p:cNvSpPr>
            <p:nvPr/>
          </p:nvSpPr>
          <p:spPr bwMode="auto">
            <a:xfrm>
              <a:off x="10409231" y="2228852"/>
              <a:ext cx="484188" cy="484188"/>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20" name="Freeform 146"/>
            <p:cNvSpPr>
              <a:spLocks noEditPoints="1"/>
            </p:cNvSpPr>
            <p:nvPr/>
          </p:nvSpPr>
          <p:spPr bwMode="auto">
            <a:xfrm>
              <a:off x="10533063" y="2368550"/>
              <a:ext cx="242888" cy="206375"/>
            </a:xfrm>
            <a:custGeom>
              <a:avLst/>
              <a:gdLst>
                <a:gd name="T0" fmla="*/ 104 w 109"/>
                <a:gd name="T1" fmla="*/ 87 h 93"/>
                <a:gd name="T2" fmla="*/ 0 w 109"/>
                <a:gd name="T3" fmla="*/ 16 h 93"/>
                <a:gd name="T4" fmla="*/ 0 w 109"/>
                <a:gd name="T5" fmla="*/ 93 h 93"/>
                <a:gd name="T6" fmla="*/ 109 w 109"/>
                <a:gd name="T7" fmla="*/ 0 h 93"/>
                <a:gd name="T8" fmla="*/ 0 w 109"/>
                <a:gd name="T9" fmla="*/ 0 h 93"/>
                <a:gd name="T10" fmla="*/ 64 w 109"/>
                <a:gd name="T11" fmla="*/ 52 h 93"/>
                <a:gd name="T12" fmla="*/ 60 w 109"/>
                <a:gd name="T13" fmla="*/ 47 h 93"/>
                <a:gd name="T14" fmla="*/ 57 w 109"/>
                <a:gd name="T15" fmla="*/ 44 h 93"/>
                <a:gd name="T16" fmla="*/ 51 w 109"/>
                <a:gd name="T17" fmla="*/ 41 h 93"/>
                <a:gd name="T18" fmla="*/ 46 w 109"/>
                <a:gd name="T19" fmla="*/ 41 h 93"/>
                <a:gd name="T20" fmla="*/ 40 w 109"/>
                <a:gd name="T21" fmla="*/ 44 h 93"/>
                <a:gd name="T22" fmla="*/ 37 w 109"/>
                <a:gd name="T23" fmla="*/ 47 h 93"/>
                <a:gd name="T24" fmla="*/ 34 w 109"/>
                <a:gd name="T25" fmla="*/ 52 h 93"/>
                <a:gd name="T26" fmla="*/ 33 w 109"/>
                <a:gd name="T27" fmla="*/ 57 h 93"/>
                <a:gd name="T28" fmla="*/ 34 w 109"/>
                <a:gd name="T29" fmla="*/ 63 h 93"/>
                <a:gd name="T30" fmla="*/ 36 w 109"/>
                <a:gd name="T31" fmla="*/ 67 h 93"/>
                <a:gd name="T32" fmla="*/ 41 w 109"/>
                <a:gd name="T33" fmla="*/ 71 h 93"/>
                <a:gd name="T34" fmla="*/ 45 w 109"/>
                <a:gd name="T35" fmla="*/ 73 h 93"/>
                <a:gd name="T36" fmla="*/ 49 w 109"/>
                <a:gd name="T37" fmla="*/ 69 h 93"/>
                <a:gd name="T38" fmla="*/ 56 w 109"/>
                <a:gd name="T39" fmla="*/ 72 h 93"/>
                <a:gd name="T40" fmla="*/ 57 w 109"/>
                <a:gd name="T41" fmla="*/ 66 h 93"/>
                <a:gd name="T42" fmla="*/ 64 w 109"/>
                <a:gd name="T43" fmla="*/ 64 h 93"/>
                <a:gd name="T44" fmla="*/ 60 w 109"/>
                <a:gd name="T45" fmla="*/ 59 h 93"/>
                <a:gd name="T46" fmla="*/ 55 w 109"/>
                <a:gd name="T47" fmla="*/ 57 h 93"/>
                <a:gd name="T48" fmla="*/ 44 w 109"/>
                <a:gd name="T49" fmla="*/ 62 h 93"/>
                <a:gd name="T50" fmla="*/ 49 w 109"/>
                <a:gd name="T51" fmla="*/ 51 h 93"/>
                <a:gd name="T52" fmla="*/ 46 w 109"/>
                <a:gd name="T53" fmla="*/ 57 h 93"/>
                <a:gd name="T54" fmla="*/ 49 w 109"/>
                <a:gd name="T55" fmla="*/ 60 h 93"/>
                <a:gd name="T56" fmla="*/ 75 w 109"/>
                <a:gd name="T57" fmla="*/ 46 h 93"/>
                <a:gd name="T58" fmla="*/ 77 w 109"/>
                <a:gd name="T59" fmla="*/ 42 h 93"/>
                <a:gd name="T60" fmla="*/ 75 w 109"/>
                <a:gd name="T61" fmla="*/ 40 h 93"/>
                <a:gd name="T62" fmla="*/ 71 w 109"/>
                <a:gd name="T63" fmla="*/ 40 h 93"/>
                <a:gd name="T64" fmla="*/ 68 w 109"/>
                <a:gd name="T65" fmla="*/ 37 h 93"/>
                <a:gd name="T66" fmla="*/ 64 w 109"/>
                <a:gd name="T67" fmla="*/ 41 h 93"/>
                <a:gd name="T68" fmla="*/ 61 w 109"/>
                <a:gd name="T69" fmla="*/ 40 h 93"/>
                <a:gd name="T70" fmla="*/ 60 w 109"/>
                <a:gd name="T71" fmla="*/ 43 h 93"/>
                <a:gd name="T72" fmla="*/ 63 w 109"/>
                <a:gd name="T73" fmla="*/ 47 h 93"/>
                <a:gd name="T74" fmla="*/ 60 w 109"/>
                <a:gd name="T75" fmla="*/ 49 h 93"/>
                <a:gd name="T76" fmla="*/ 62 w 109"/>
                <a:gd name="T77" fmla="*/ 51 h 93"/>
                <a:gd name="T78" fmla="*/ 67 w 109"/>
                <a:gd name="T79" fmla="*/ 54 h 93"/>
                <a:gd name="T80" fmla="*/ 70 w 109"/>
                <a:gd name="T81" fmla="*/ 54 h 93"/>
                <a:gd name="T82" fmla="*/ 75 w 109"/>
                <a:gd name="T83" fmla="*/ 51 h 93"/>
                <a:gd name="T84" fmla="*/ 77 w 109"/>
                <a:gd name="T85" fmla="*/ 49 h 93"/>
                <a:gd name="T86" fmla="*/ 75 w 109"/>
                <a:gd name="T87" fmla="*/ 47 h 93"/>
                <a:gd name="T88" fmla="*/ 69 w 109"/>
                <a:gd name="T89" fmla="*/ 48 h 93"/>
                <a:gd name="T90" fmla="*/ 71 w 109"/>
                <a:gd name="T91" fmla="*/ 46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09" h="93">
                  <a:moveTo>
                    <a:pt x="5" y="22"/>
                  </a:moveTo>
                  <a:cubicBezTo>
                    <a:pt x="5" y="87"/>
                    <a:pt x="5" y="87"/>
                    <a:pt x="5" y="87"/>
                  </a:cubicBezTo>
                  <a:cubicBezTo>
                    <a:pt x="104" y="87"/>
                    <a:pt x="104" y="87"/>
                    <a:pt x="104" y="87"/>
                  </a:cubicBezTo>
                  <a:cubicBezTo>
                    <a:pt x="104" y="22"/>
                    <a:pt x="104" y="22"/>
                    <a:pt x="104" y="22"/>
                  </a:cubicBezTo>
                  <a:cubicBezTo>
                    <a:pt x="5" y="22"/>
                    <a:pt x="5" y="22"/>
                    <a:pt x="5" y="22"/>
                  </a:cubicBezTo>
                  <a:close/>
                  <a:moveTo>
                    <a:pt x="0" y="16"/>
                  </a:moveTo>
                  <a:cubicBezTo>
                    <a:pt x="109" y="16"/>
                    <a:pt x="109" y="16"/>
                    <a:pt x="109" y="16"/>
                  </a:cubicBezTo>
                  <a:cubicBezTo>
                    <a:pt x="109" y="93"/>
                    <a:pt x="109" y="93"/>
                    <a:pt x="109" y="93"/>
                  </a:cubicBezTo>
                  <a:cubicBezTo>
                    <a:pt x="0" y="93"/>
                    <a:pt x="0" y="93"/>
                    <a:pt x="0" y="93"/>
                  </a:cubicBezTo>
                  <a:cubicBezTo>
                    <a:pt x="0" y="16"/>
                    <a:pt x="0" y="16"/>
                    <a:pt x="0" y="16"/>
                  </a:cubicBezTo>
                  <a:close/>
                  <a:moveTo>
                    <a:pt x="0" y="0"/>
                  </a:moveTo>
                  <a:cubicBezTo>
                    <a:pt x="109" y="0"/>
                    <a:pt x="109" y="0"/>
                    <a:pt x="109" y="0"/>
                  </a:cubicBezTo>
                  <a:cubicBezTo>
                    <a:pt x="109" y="11"/>
                    <a:pt x="109" y="11"/>
                    <a:pt x="109" y="11"/>
                  </a:cubicBezTo>
                  <a:cubicBezTo>
                    <a:pt x="0" y="11"/>
                    <a:pt x="0" y="11"/>
                    <a:pt x="0" y="11"/>
                  </a:cubicBezTo>
                  <a:cubicBezTo>
                    <a:pt x="0" y="0"/>
                    <a:pt x="0" y="0"/>
                    <a:pt x="0" y="0"/>
                  </a:cubicBezTo>
                  <a:close/>
                  <a:moveTo>
                    <a:pt x="65" y="56"/>
                  </a:moveTo>
                  <a:cubicBezTo>
                    <a:pt x="64" y="53"/>
                    <a:pt x="64" y="53"/>
                    <a:pt x="64" y="53"/>
                  </a:cubicBezTo>
                  <a:cubicBezTo>
                    <a:pt x="64" y="53"/>
                    <a:pt x="64" y="52"/>
                    <a:pt x="64" y="52"/>
                  </a:cubicBezTo>
                  <a:cubicBezTo>
                    <a:pt x="59" y="52"/>
                    <a:pt x="59" y="52"/>
                    <a:pt x="59" y="52"/>
                  </a:cubicBezTo>
                  <a:cubicBezTo>
                    <a:pt x="59" y="52"/>
                    <a:pt x="59" y="51"/>
                    <a:pt x="58" y="51"/>
                  </a:cubicBezTo>
                  <a:cubicBezTo>
                    <a:pt x="60" y="47"/>
                    <a:pt x="60" y="47"/>
                    <a:pt x="60" y="47"/>
                  </a:cubicBezTo>
                  <a:cubicBezTo>
                    <a:pt x="61" y="46"/>
                    <a:pt x="60" y="46"/>
                    <a:pt x="60" y="46"/>
                  </a:cubicBezTo>
                  <a:cubicBezTo>
                    <a:pt x="58" y="44"/>
                    <a:pt x="58" y="44"/>
                    <a:pt x="58" y="44"/>
                  </a:cubicBezTo>
                  <a:cubicBezTo>
                    <a:pt x="58" y="44"/>
                    <a:pt x="57" y="44"/>
                    <a:pt x="57" y="44"/>
                  </a:cubicBezTo>
                  <a:cubicBezTo>
                    <a:pt x="53" y="47"/>
                    <a:pt x="53" y="47"/>
                    <a:pt x="53" y="47"/>
                  </a:cubicBezTo>
                  <a:cubicBezTo>
                    <a:pt x="53" y="46"/>
                    <a:pt x="53" y="46"/>
                    <a:pt x="52" y="46"/>
                  </a:cubicBezTo>
                  <a:cubicBezTo>
                    <a:pt x="51" y="41"/>
                    <a:pt x="51" y="41"/>
                    <a:pt x="51" y="41"/>
                  </a:cubicBezTo>
                  <a:cubicBezTo>
                    <a:pt x="51" y="40"/>
                    <a:pt x="50" y="40"/>
                    <a:pt x="50" y="40"/>
                  </a:cubicBezTo>
                  <a:cubicBezTo>
                    <a:pt x="47" y="40"/>
                    <a:pt x="47" y="40"/>
                    <a:pt x="47" y="40"/>
                  </a:cubicBezTo>
                  <a:cubicBezTo>
                    <a:pt x="47" y="40"/>
                    <a:pt x="46" y="40"/>
                    <a:pt x="46" y="41"/>
                  </a:cubicBezTo>
                  <a:cubicBezTo>
                    <a:pt x="45" y="46"/>
                    <a:pt x="45" y="46"/>
                    <a:pt x="45" y="46"/>
                  </a:cubicBezTo>
                  <a:cubicBezTo>
                    <a:pt x="45" y="46"/>
                    <a:pt x="44" y="46"/>
                    <a:pt x="44" y="47"/>
                  </a:cubicBezTo>
                  <a:cubicBezTo>
                    <a:pt x="40" y="44"/>
                    <a:pt x="40" y="44"/>
                    <a:pt x="40" y="44"/>
                  </a:cubicBezTo>
                  <a:cubicBezTo>
                    <a:pt x="40" y="44"/>
                    <a:pt x="39" y="44"/>
                    <a:pt x="39" y="44"/>
                  </a:cubicBezTo>
                  <a:cubicBezTo>
                    <a:pt x="37" y="46"/>
                    <a:pt x="37" y="46"/>
                    <a:pt x="37" y="46"/>
                  </a:cubicBezTo>
                  <a:cubicBezTo>
                    <a:pt x="37" y="46"/>
                    <a:pt x="37" y="46"/>
                    <a:pt x="37" y="47"/>
                  </a:cubicBezTo>
                  <a:cubicBezTo>
                    <a:pt x="39" y="51"/>
                    <a:pt x="39" y="51"/>
                    <a:pt x="39" y="51"/>
                  </a:cubicBezTo>
                  <a:cubicBezTo>
                    <a:pt x="39" y="51"/>
                    <a:pt x="38" y="52"/>
                    <a:pt x="38" y="52"/>
                  </a:cubicBezTo>
                  <a:cubicBezTo>
                    <a:pt x="34" y="52"/>
                    <a:pt x="34" y="52"/>
                    <a:pt x="34" y="52"/>
                  </a:cubicBezTo>
                  <a:cubicBezTo>
                    <a:pt x="33" y="52"/>
                    <a:pt x="33" y="53"/>
                    <a:pt x="33" y="53"/>
                  </a:cubicBezTo>
                  <a:cubicBezTo>
                    <a:pt x="32" y="56"/>
                    <a:pt x="32" y="56"/>
                    <a:pt x="32" y="56"/>
                  </a:cubicBezTo>
                  <a:cubicBezTo>
                    <a:pt x="32" y="56"/>
                    <a:pt x="32" y="57"/>
                    <a:pt x="33" y="57"/>
                  </a:cubicBezTo>
                  <a:cubicBezTo>
                    <a:pt x="37" y="59"/>
                    <a:pt x="37" y="59"/>
                    <a:pt x="37" y="59"/>
                  </a:cubicBezTo>
                  <a:cubicBezTo>
                    <a:pt x="37" y="59"/>
                    <a:pt x="37" y="59"/>
                    <a:pt x="37" y="60"/>
                  </a:cubicBezTo>
                  <a:cubicBezTo>
                    <a:pt x="34" y="63"/>
                    <a:pt x="34" y="63"/>
                    <a:pt x="34" y="63"/>
                  </a:cubicBezTo>
                  <a:cubicBezTo>
                    <a:pt x="34" y="63"/>
                    <a:pt x="33" y="64"/>
                    <a:pt x="34" y="64"/>
                  </a:cubicBezTo>
                  <a:cubicBezTo>
                    <a:pt x="35" y="67"/>
                    <a:pt x="35" y="67"/>
                    <a:pt x="35" y="67"/>
                  </a:cubicBezTo>
                  <a:cubicBezTo>
                    <a:pt x="35" y="67"/>
                    <a:pt x="36" y="67"/>
                    <a:pt x="36" y="67"/>
                  </a:cubicBezTo>
                  <a:cubicBezTo>
                    <a:pt x="41" y="66"/>
                    <a:pt x="41" y="66"/>
                    <a:pt x="41" y="66"/>
                  </a:cubicBezTo>
                  <a:cubicBezTo>
                    <a:pt x="41" y="66"/>
                    <a:pt x="41" y="66"/>
                    <a:pt x="42" y="67"/>
                  </a:cubicBezTo>
                  <a:cubicBezTo>
                    <a:pt x="41" y="71"/>
                    <a:pt x="41" y="71"/>
                    <a:pt x="41" y="71"/>
                  </a:cubicBezTo>
                  <a:cubicBezTo>
                    <a:pt x="41" y="72"/>
                    <a:pt x="41" y="72"/>
                    <a:pt x="42" y="72"/>
                  </a:cubicBezTo>
                  <a:cubicBezTo>
                    <a:pt x="44" y="73"/>
                    <a:pt x="44" y="73"/>
                    <a:pt x="44" y="73"/>
                  </a:cubicBezTo>
                  <a:cubicBezTo>
                    <a:pt x="45" y="73"/>
                    <a:pt x="45" y="73"/>
                    <a:pt x="45" y="73"/>
                  </a:cubicBezTo>
                  <a:cubicBezTo>
                    <a:pt x="48" y="69"/>
                    <a:pt x="48" y="69"/>
                    <a:pt x="48" y="69"/>
                  </a:cubicBezTo>
                  <a:cubicBezTo>
                    <a:pt x="48" y="69"/>
                    <a:pt x="48" y="69"/>
                    <a:pt x="49" y="69"/>
                  </a:cubicBezTo>
                  <a:cubicBezTo>
                    <a:pt x="49" y="69"/>
                    <a:pt x="49" y="69"/>
                    <a:pt x="49" y="69"/>
                  </a:cubicBezTo>
                  <a:cubicBezTo>
                    <a:pt x="52" y="73"/>
                    <a:pt x="52" y="73"/>
                    <a:pt x="52" y="73"/>
                  </a:cubicBezTo>
                  <a:cubicBezTo>
                    <a:pt x="52" y="73"/>
                    <a:pt x="52" y="73"/>
                    <a:pt x="53" y="73"/>
                  </a:cubicBezTo>
                  <a:cubicBezTo>
                    <a:pt x="56" y="72"/>
                    <a:pt x="56" y="72"/>
                    <a:pt x="56" y="72"/>
                  </a:cubicBezTo>
                  <a:cubicBezTo>
                    <a:pt x="56" y="72"/>
                    <a:pt x="56" y="72"/>
                    <a:pt x="56" y="71"/>
                  </a:cubicBezTo>
                  <a:cubicBezTo>
                    <a:pt x="56" y="67"/>
                    <a:pt x="56" y="67"/>
                    <a:pt x="56" y="67"/>
                  </a:cubicBezTo>
                  <a:cubicBezTo>
                    <a:pt x="56" y="66"/>
                    <a:pt x="56" y="66"/>
                    <a:pt x="57" y="66"/>
                  </a:cubicBezTo>
                  <a:cubicBezTo>
                    <a:pt x="61" y="67"/>
                    <a:pt x="61" y="67"/>
                    <a:pt x="61" y="67"/>
                  </a:cubicBezTo>
                  <a:cubicBezTo>
                    <a:pt x="61" y="67"/>
                    <a:pt x="62" y="67"/>
                    <a:pt x="62" y="67"/>
                  </a:cubicBezTo>
                  <a:cubicBezTo>
                    <a:pt x="64" y="64"/>
                    <a:pt x="64" y="64"/>
                    <a:pt x="64" y="64"/>
                  </a:cubicBezTo>
                  <a:cubicBezTo>
                    <a:pt x="64" y="64"/>
                    <a:pt x="64" y="63"/>
                    <a:pt x="63" y="63"/>
                  </a:cubicBezTo>
                  <a:cubicBezTo>
                    <a:pt x="60" y="60"/>
                    <a:pt x="60" y="60"/>
                    <a:pt x="60" y="60"/>
                  </a:cubicBezTo>
                  <a:cubicBezTo>
                    <a:pt x="60" y="59"/>
                    <a:pt x="60" y="59"/>
                    <a:pt x="60" y="59"/>
                  </a:cubicBezTo>
                  <a:cubicBezTo>
                    <a:pt x="64" y="57"/>
                    <a:pt x="64" y="57"/>
                    <a:pt x="64" y="57"/>
                  </a:cubicBezTo>
                  <a:cubicBezTo>
                    <a:pt x="65" y="57"/>
                    <a:pt x="65" y="56"/>
                    <a:pt x="65" y="56"/>
                  </a:cubicBezTo>
                  <a:close/>
                  <a:moveTo>
                    <a:pt x="55" y="57"/>
                  </a:moveTo>
                  <a:cubicBezTo>
                    <a:pt x="55" y="59"/>
                    <a:pt x="54" y="61"/>
                    <a:pt x="53" y="62"/>
                  </a:cubicBezTo>
                  <a:cubicBezTo>
                    <a:pt x="52" y="63"/>
                    <a:pt x="50" y="64"/>
                    <a:pt x="49" y="64"/>
                  </a:cubicBezTo>
                  <a:cubicBezTo>
                    <a:pt x="47" y="64"/>
                    <a:pt x="45" y="63"/>
                    <a:pt x="44" y="62"/>
                  </a:cubicBezTo>
                  <a:cubicBezTo>
                    <a:pt x="43" y="61"/>
                    <a:pt x="42" y="59"/>
                    <a:pt x="42" y="57"/>
                  </a:cubicBezTo>
                  <a:cubicBezTo>
                    <a:pt x="42" y="55"/>
                    <a:pt x="43" y="54"/>
                    <a:pt x="44" y="53"/>
                  </a:cubicBezTo>
                  <a:cubicBezTo>
                    <a:pt x="45" y="51"/>
                    <a:pt x="47" y="51"/>
                    <a:pt x="49" y="51"/>
                  </a:cubicBezTo>
                  <a:cubicBezTo>
                    <a:pt x="50" y="51"/>
                    <a:pt x="52" y="51"/>
                    <a:pt x="53" y="53"/>
                  </a:cubicBezTo>
                  <a:cubicBezTo>
                    <a:pt x="54" y="54"/>
                    <a:pt x="55" y="55"/>
                    <a:pt x="55" y="57"/>
                  </a:cubicBezTo>
                  <a:close/>
                  <a:moveTo>
                    <a:pt x="46" y="57"/>
                  </a:moveTo>
                  <a:cubicBezTo>
                    <a:pt x="46" y="56"/>
                    <a:pt x="47" y="54"/>
                    <a:pt x="49" y="54"/>
                  </a:cubicBezTo>
                  <a:cubicBezTo>
                    <a:pt x="50" y="54"/>
                    <a:pt x="52" y="56"/>
                    <a:pt x="52" y="57"/>
                  </a:cubicBezTo>
                  <a:cubicBezTo>
                    <a:pt x="52" y="59"/>
                    <a:pt x="50" y="60"/>
                    <a:pt x="49" y="60"/>
                  </a:cubicBezTo>
                  <a:cubicBezTo>
                    <a:pt x="47" y="60"/>
                    <a:pt x="46" y="59"/>
                    <a:pt x="46" y="57"/>
                  </a:cubicBezTo>
                  <a:close/>
                  <a:moveTo>
                    <a:pt x="75" y="47"/>
                  </a:moveTo>
                  <a:cubicBezTo>
                    <a:pt x="75" y="47"/>
                    <a:pt x="75" y="46"/>
                    <a:pt x="75" y="46"/>
                  </a:cubicBezTo>
                  <a:cubicBezTo>
                    <a:pt x="75" y="45"/>
                    <a:pt x="75" y="45"/>
                    <a:pt x="75" y="44"/>
                  </a:cubicBezTo>
                  <a:cubicBezTo>
                    <a:pt x="77" y="43"/>
                    <a:pt x="77" y="43"/>
                    <a:pt x="77" y="43"/>
                  </a:cubicBezTo>
                  <a:cubicBezTo>
                    <a:pt x="77" y="43"/>
                    <a:pt x="77" y="42"/>
                    <a:pt x="77" y="42"/>
                  </a:cubicBezTo>
                  <a:cubicBezTo>
                    <a:pt x="77" y="42"/>
                    <a:pt x="77" y="42"/>
                    <a:pt x="77" y="42"/>
                  </a:cubicBezTo>
                  <a:cubicBezTo>
                    <a:pt x="76" y="40"/>
                    <a:pt x="76" y="40"/>
                    <a:pt x="76" y="40"/>
                  </a:cubicBezTo>
                  <a:cubicBezTo>
                    <a:pt x="76" y="40"/>
                    <a:pt x="76" y="40"/>
                    <a:pt x="75" y="40"/>
                  </a:cubicBezTo>
                  <a:cubicBezTo>
                    <a:pt x="75" y="40"/>
                    <a:pt x="75" y="40"/>
                    <a:pt x="75" y="40"/>
                  </a:cubicBezTo>
                  <a:cubicBezTo>
                    <a:pt x="73" y="41"/>
                    <a:pt x="73" y="41"/>
                    <a:pt x="73" y="41"/>
                  </a:cubicBezTo>
                  <a:cubicBezTo>
                    <a:pt x="72" y="40"/>
                    <a:pt x="71" y="40"/>
                    <a:pt x="71" y="40"/>
                  </a:cubicBezTo>
                  <a:cubicBezTo>
                    <a:pt x="70" y="37"/>
                    <a:pt x="70" y="37"/>
                    <a:pt x="70" y="37"/>
                  </a:cubicBezTo>
                  <a:cubicBezTo>
                    <a:pt x="70" y="37"/>
                    <a:pt x="70" y="37"/>
                    <a:pt x="69" y="37"/>
                  </a:cubicBezTo>
                  <a:cubicBezTo>
                    <a:pt x="68" y="37"/>
                    <a:pt x="68" y="37"/>
                    <a:pt x="68" y="37"/>
                  </a:cubicBezTo>
                  <a:cubicBezTo>
                    <a:pt x="67" y="37"/>
                    <a:pt x="67" y="37"/>
                    <a:pt x="67" y="37"/>
                  </a:cubicBezTo>
                  <a:cubicBezTo>
                    <a:pt x="67" y="40"/>
                    <a:pt x="67" y="40"/>
                    <a:pt x="67" y="40"/>
                  </a:cubicBezTo>
                  <a:cubicBezTo>
                    <a:pt x="66" y="40"/>
                    <a:pt x="65" y="40"/>
                    <a:pt x="64" y="41"/>
                  </a:cubicBezTo>
                  <a:cubicBezTo>
                    <a:pt x="62" y="40"/>
                    <a:pt x="62" y="40"/>
                    <a:pt x="62" y="40"/>
                  </a:cubicBezTo>
                  <a:cubicBezTo>
                    <a:pt x="62" y="40"/>
                    <a:pt x="62" y="40"/>
                    <a:pt x="62" y="40"/>
                  </a:cubicBezTo>
                  <a:cubicBezTo>
                    <a:pt x="62" y="40"/>
                    <a:pt x="61" y="40"/>
                    <a:pt x="61" y="40"/>
                  </a:cubicBezTo>
                  <a:cubicBezTo>
                    <a:pt x="60" y="42"/>
                    <a:pt x="60" y="42"/>
                    <a:pt x="60" y="42"/>
                  </a:cubicBezTo>
                  <a:cubicBezTo>
                    <a:pt x="60" y="42"/>
                    <a:pt x="60" y="42"/>
                    <a:pt x="60" y="42"/>
                  </a:cubicBezTo>
                  <a:cubicBezTo>
                    <a:pt x="60" y="42"/>
                    <a:pt x="60" y="43"/>
                    <a:pt x="60" y="43"/>
                  </a:cubicBezTo>
                  <a:cubicBezTo>
                    <a:pt x="63" y="44"/>
                    <a:pt x="63" y="44"/>
                    <a:pt x="63" y="44"/>
                  </a:cubicBezTo>
                  <a:cubicBezTo>
                    <a:pt x="62" y="45"/>
                    <a:pt x="62" y="45"/>
                    <a:pt x="62" y="46"/>
                  </a:cubicBezTo>
                  <a:cubicBezTo>
                    <a:pt x="62" y="46"/>
                    <a:pt x="62" y="46"/>
                    <a:pt x="63" y="47"/>
                  </a:cubicBezTo>
                  <a:cubicBezTo>
                    <a:pt x="60" y="48"/>
                    <a:pt x="60" y="48"/>
                    <a:pt x="60" y="48"/>
                  </a:cubicBezTo>
                  <a:cubicBezTo>
                    <a:pt x="60" y="49"/>
                    <a:pt x="60" y="49"/>
                    <a:pt x="60" y="49"/>
                  </a:cubicBezTo>
                  <a:cubicBezTo>
                    <a:pt x="60" y="49"/>
                    <a:pt x="60" y="49"/>
                    <a:pt x="60" y="49"/>
                  </a:cubicBezTo>
                  <a:cubicBezTo>
                    <a:pt x="61" y="51"/>
                    <a:pt x="61" y="51"/>
                    <a:pt x="61" y="51"/>
                  </a:cubicBezTo>
                  <a:cubicBezTo>
                    <a:pt x="61" y="51"/>
                    <a:pt x="62" y="51"/>
                    <a:pt x="62" y="51"/>
                  </a:cubicBezTo>
                  <a:cubicBezTo>
                    <a:pt x="62" y="51"/>
                    <a:pt x="62" y="51"/>
                    <a:pt x="62" y="51"/>
                  </a:cubicBezTo>
                  <a:cubicBezTo>
                    <a:pt x="64" y="50"/>
                    <a:pt x="64" y="50"/>
                    <a:pt x="64" y="50"/>
                  </a:cubicBezTo>
                  <a:cubicBezTo>
                    <a:pt x="65" y="51"/>
                    <a:pt x="66" y="51"/>
                    <a:pt x="67" y="51"/>
                  </a:cubicBezTo>
                  <a:cubicBezTo>
                    <a:pt x="67" y="54"/>
                    <a:pt x="67" y="54"/>
                    <a:pt x="67" y="54"/>
                  </a:cubicBezTo>
                  <a:cubicBezTo>
                    <a:pt x="67" y="54"/>
                    <a:pt x="67" y="55"/>
                    <a:pt x="68" y="55"/>
                  </a:cubicBezTo>
                  <a:cubicBezTo>
                    <a:pt x="69" y="55"/>
                    <a:pt x="69" y="55"/>
                    <a:pt x="69" y="55"/>
                  </a:cubicBezTo>
                  <a:cubicBezTo>
                    <a:pt x="70" y="55"/>
                    <a:pt x="70" y="54"/>
                    <a:pt x="70" y="54"/>
                  </a:cubicBezTo>
                  <a:cubicBezTo>
                    <a:pt x="71" y="52"/>
                    <a:pt x="71" y="52"/>
                    <a:pt x="71" y="52"/>
                  </a:cubicBezTo>
                  <a:cubicBezTo>
                    <a:pt x="71" y="51"/>
                    <a:pt x="72" y="51"/>
                    <a:pt x="73" y="50"/>
                  </a:cubicBezTo>
                  <a:cubicBezTo>
                    <a:pt x="75" y="51"/>
                    <a:pt x="75" y="51"/>
                    <a:pt x="75" y="51"/>
                  </a:cubicBezTo>
                  <a:cubicBezTo>
                    <a:pt x="75" y="51"/>
                    <a:pt x="75" y="51"/>
                    <a:pt x="75" y="51"/>
                  </a:cubicBezTo>
                  <a:cubicBezTo>
                    <a:pt x="76" y="51"/>
                    <a:pt x="76" y="51"/>
                    <a:pt x="76" y="51"/>
                  </a:cubicBezTo>
                  <a:cubicBezTo>
                    <a:pt x="77" y="49"/>
                    <a:pt x="77" y="49"/>
                    <a:pt x="77" y="49"/>
                  </a:cubicBezTo>
                  <a:cubicBezTo>
                    <a:pt x="77" y="49"/>
                    <a:pt x="77" y="49"/>
                    <a:pt x="77" y="49"/>
                  </a:cubicBezTo>
                  <a:cubicBezTo>
                    <a:pt x="77" y="49"/>
                    <a:pt x="77" y="49"/>
                    <a:pt x="77" y="48"/>
                  </a:cubicBezTo>
                  <a:cubicBezTo>
                    <a:pt x="75" y="47"/>
                    <a:pt x="75" y="47"/>
                    <a:pt x="75" y="47"/>
                  </a:cubicBezTo>
                  <a:cubicBezTo>
                    <a:pt x="75" y="47"/>
                    <a:pt x="75" y="47"/>
                    <a:pt x="75" y="47"/>
                  </a:cubicBezTo>
                  <a:close/>
                  <a:moveTo>
                    <a:pt x="71" y="46"/>
                  </a:moveTo>
                  <a:cubicBezTo>
                    <a:pt x="71" y="47"/>
                    <a:pt x="70" y="48"/>
                    <a:pt x="69" y="48"/>
                  </a:cubicBezTo>
                  <a:cubicBezTo>
                    <a:pt x="67" y="48"/>
                    <a:pt x="66" y="47"/>
                    <a:pt x="66" y="46"/>
                  </a:cubicBezTo>
                  <a:cubicBezTo>
                    <a:pt x="66" y="44"/>
                    <a:pt x="67" y="43"/>
                    <a:pt x="69" y="43"/>
                  </a:cubicBezTo>
                  <a:cubicBezTo>
                    <a:pt x="70" y="43"/>
                    <a:pt x="71" y="44"/>
                    <a:pt x="71" y="46"/>
                  </a:cubicBezTo>
                  <a:close/>
                </a:path>
              </a:pathLst>
            </a:custGeom>
            <a:solidFill>
              <a:srgbClr val="DC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318" name="Group 317"/>
          <p:cNvGrpSpPr/>
          <p:nvPr/>
        </p:nvGrpSpPr>
        <p:grpSpPr>
          <a:xfrm>
            <a:off x="5657727" y="4136256"/>
            <a:ext cx="1077865" cy="1077867"/>
            <a:chOff x="10086975" y="1289050"/>
            <a:chExt cx="615950" cy="615951"/>
          </a:xfrm>
        </p:grpSpPr>
        <p:sp>
          <p:nvSpPr>
            <p:cNvPr id="319" name="Freeform 123"/>
            <p:cNvSpPr>
              <a:spLocks noEditPoints="1"/>
            </p:cNvSpPr>
            <p:nvPr/>
          </p:nvSpPr>
          <p:spPr bwMode="auto">
            <a:xfrm>
              <a:off x="10086975" y="1289050"/>
              <a:ext cx="615950" cy="615950"/>
            </a:xfrm>
            <a:custGeom>
              <a:avLst/>
              <a:gdLst>
                <a:gd name="T0" fmla="*/ 139 w 277"/>
                <a:gd name="T1" fmla="*/ 277 h 277"/>
                <a:gd name="T2" fmla="*/ 118 w 277"/>
                <a:gd name="T3" fmla="*/ 270 h 277"/>
                <a:gd name="T4" fmla="*/ 139 w 277"/>
                <a:gd name="T5" fmla="*/ 277 h 277"/>
                <a:gd name="T6" fmla="*/ 160 w 277"/>
                <a:gd name="T7" fmla="*/ 270 h 277"/>
                <a:gd name="T8" fmla="*/ 182 w 277"/>
                <a:gd name="T9" fmla="*/ 270 h 277"/>
                <a:gd name="T10" fmla="*/ 96 w 277"/>
                <a:gd name="T11" fmla="*/ 270 h 277"/>
                <a:gd name="T12" fmla="*/ 79 w 277"/>
                <a:gd name="T13" fmla="*/ 257 h 277"/>
                <a:gd name="T14" fmla="*/ 96 w 277"/>
                <a:gd name="T15" fmla="*/ 270 h 277"/>
                <a:gd name="T16" fmla="*/ 199 w 277"/>
                <a:gd name="T17" fmla="*/ 257 h 277"/>
                <a:gd name="T18" fmla="*/ 220 w 277"/>
                <a:gd name="T19" fmla="*/ 250 h 277"/>
                <a:gd name="T20" fmla="*/ 58 w 277"/>
                <a:gd name="T21" fmla="*/ 250 h 277"/>
                <a:gd name="T22" fmla="*/ 45 w 277"/>
                <a:gd name="T23" fmla="*/ 232 h 277"/>
                <a:gd name="T24" fmla="*/ 58 w 277"/>
                <a:gd name="T25" fmla="*/ 250 h 277"/>
                <a:gd name="T26" fmla="*/ 233 w 277"/>
                <a:gd name="T27" fmla="*/ 232 h 277"/>
                <a:gd name="T28" fmla="*/ 251 w 277"/>
                <a:gd name="T29" fmla="*/ 219 h 277"/>
                <a:gd name="T30" fmla="*/ 27 w 277"/>
                <a:gd name="T31" fmla="*/ 220 h 277"/>
                <a:gd name="T32" fmla="*/ 20 w 277"/>
                <a:gd name="T33" fmla="*/ 199 h 277"/>
                <a:gd name="T34" fmla="*/ 27 w 277"/>
                <a:gd name="T35" fmla="*/ 220 h 277"/>
                <a:gd name="T36" fmla="*/ 258 w 277"/>
                <a:gd name="T37" fmla="*/ 199 h 277"/>
                <a:gd name="T38" fmla="*/ 271 w 277"/>
                <a:gd name="T39" fmla="*/ 181 h 277"/>
                <a:gd name="T40" fmla="*/ 7 w 277"/>
                <a:gd name="T41" fmla="*/ 181 h 277"/>
                <a:gd name="T42" fmla="*/ 8 w 277"/>
                <a:gd name="T43" fmla="*/ 159 h 277"/>
                <a:gd name="T44" fmla="*/ 7 w 277"/>
                <a:gd name="T45" fmla="*/ 181 h 277"/>
                <a:gd name="T46" fmla="*/ 270 w 277"/>
                <a:gd name="T47" fmla="*/ 159 h 277"/>
                <a:gd name="T48" fmla="*/ 272 w 277"/>
                <a:gd name="T49" fmla="*/ 138 h 277"/>
                <a:gd name="T50" fmla="*/ 277 w 277"/>
                <a:gd name="T51" fmla="*/ 138 h 277"/>
                <a:gd name="T52" fmla="*/ 6 w 277"/>
                <a:gd name="T53" fmla="*/ 138 h 277"/>
                <a:gd name="T54" fmla="*/ 0 w 277"/>
                <a:gd name="T55" fmla="*/ 138 h 277"/>
                <a:gd name="T56" fmla="*/ 7 w 277"/>
                <a:gd name="T57" fmla="*/ 118 h 277"/>
                <a:gd name="T58" fmla="*/ 270 w 277"/>
                <a:gd name="T59" fmla="*/ 117 h 277"/>
                <a:gd name="T60" fmla="*/ 270 w 277"/>
                <a:gd name="T61" fmla="*/ 95 h 277"/>
                <a:gd name="T62" fmla="*/ 270 w 277"/>
                <a:gd name="T63" fmla="*/ 117 h 277"/>
                <a:gd name="T64" fmla="*/ 7 w 277"/>
                <a:gd name="T65" fmla="*/ 96 h 277"/>
                <a:gd name="T66" fmla="*/ 20 w 277"/>
                <a:gd name="T67" fmla="*/ 78 h 277"/>
                <a:gd name="T68" fmla="*/ 257 w 277"/>
                <a:gd name="T69" fmla="*/ 77 h 277"/>
                <a:gd name="T70" fmla="*/ 251 w 277"/>
                <a:gd name="T71" fmla="*/ 56 h 277"/>
                <a:gd name="T72" fmla="*/ 257 w 277"/>
                <a:gd name="T73" fmla="*/ 77 h 277"/>
                <a:gd name="T74" fmla="*/ 27 w 277"/>
                <a:gd name="T75" fmla="*/ 57 h 277"/>
                <a:gd name="T76" fmla="*/ 45 w 277"/>
                <a:gd name="T77" fmla="*/ 44 h 277"/>
                <a:gd name="T78" fmla="*/ 233 w 277"/>
                <a:gd name="T79" fmla="*/ 44 h 277"/>
                <a:gd name="T80" fmla="*/ 220 w 277"/>
                <a:gd name="T81" fmla="*/ 26 h 277"/>
                <a:gd name="T82" fmla="*/ 233 w 277"/>
                <a:gd name="T83" fmla="*/ 44 h 277"/>
                <a:gd name="T84" fmla="*/ 57 w 277"/>
                <a:gd name="T85" fmla="*/ 26 h 277"/>
                <a:gd name="T86" fmla="*/ 78 w 277"/>
                <a:gd name="T87" fmla="*/ 20 h 277"/>
                <a:gd name="T88" fmla="*/ 199 w 277"/>
                <a:gd name="T89" fmla="*/ 19 h 277"/>
                <a:gd name="T90" fmla="*/ 181 w 277"/>
                <a:gd name="T91" fmla="*/ 6 h 277"/>
                <a:gd name="T92" fmla="*/ 199 w 277"/>
                <a:gd name="T93" fmla="*/ 19 h 277"/>
                <a:gd name="T94" fmla="*/ 96 w 277"/>
                <a:gd name="T95" fmla="*/ 7 h 277"/>
                <a:gd name="T96" fmla="*/ 118 w 277"/>
                <a:gd name="T97" fmla="*/ 7 h 277"/>
                <a:gd name="T98" fmla="*/ 159 w 277"/>
                <a:gd name="T99" fmla="*/ 7 h 277"/>
                <a:gd name="T100" fmla="*/ 139 w 277"/>
                <a:gd name="T101" fmla="*/ 5 h 277"/>
                <a:gd name="T102" fmla="*/ 139 w 277"/>
                <a:gd name="T103" fmla="*/ 0 h 277"/>
                <a:gd name="T104" fmla="*/ 159 w 277"/>
                <a:gd name="T105" fmla="*/ 7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77" h="277">
                  <a:moveTo>
                    <a:pt x="139" y="277"/>
                  </a:moveTo>
                  <a:cubicBezTo>
                    <a:pt x="139" y="277"/>
                    <a:pt x="139" y="277"/>
                    <a:pt x="139" y="277"/>
                  </a:cubicBezTo>
                  <a:cubicBezTo>
                    <a:pt x="132" y="277"/>
                    <a:pt x="124" y="276"/>
                    <a:pt x="117" y="275"/>
                  </a:cubicBezTo>
                  <a:cubicBezTo>
                    <a:pt x="118" y="270"/>
                    <a:pt x="118" y="270"/>
                    <a:pt x="118" y="270"/>
                  </a:cubicBezTo>
                  <a:cubicBezTo>
                    <a:pt x="125" y="271"/>
                    <a:pt x="132" y="271"/>
                    <a:pt x="139" y="271"/>
                  </a:cubicBezTo>
                  <a:lnTo>
                    <a:pt x="139" y="277"/>
                  </a:lnTo>
                  <a:close/>
                  <a:moveTo>
                    <a:pt x="161" y="275"/>
                  </a:moveTo>
                  <a:cubicBezTo>
                    <a:pt x="160" y="270"/>
                    <a:pt x="160" y="270"/>
                    <a:pt x="160" y="270"/>
                  </a:cubicBezTo>
                  <a:cubicBezTo>
                    <a:pt x="167" y="268"/>
                    <a:pt x="174" y="267"/>
                    <a:pt x="180" y="265"/>
                  </a:cubicBezTo>
                  <a:cubicBezTo>
                    <a:pt x="182" y="270"/>
                    <a:pt x="182" y="270"/>
                    <a:pt x="182" y="270"/>
                  </a:cubicBezTo>
                  <a:cubicBezTo>
                    <a:pt x="175" y="272"/>
                    <a:pt x="168" y="274"/>
                    <a:pt x="161" y="275"/>
                  </a:cubicBezTo>
                  <a:close/>
                  <a:moveTo>
                    <a:pt x="96" y="270"/>
                  </a:moveTo>
                  <a:cubicBezTo>
                    <a:pt x="89" y="268"/>
                    <a:pt x="83" y="265"/>
                    <a:pt x="76" y="262"/>
                  </a:cubicBezTo>
                  <a:cubicBezTo>
                    <a:pt x="79" y="257"/>
                    <a:pt x="79" y="257"/>
                    <a:pt x="79" y="257"/>
                  </a:cubicBezTo>
                  <a:cubicBezTo>
                    <a:pt x="85" y="260"/>
                    <a:pt x="91" y="263"/>
                    <a:pt x="98" y="265"/>
                  </a:cubicBezTo>
                  <a:lnTo>
                    <a:pt x="96" y="270"/>
                  </a:lnTo>
                  <a:close/>
                  <a:moveTo>
                    <a:pt x="202" y="261"/>
                  </a:moveTo>
                  <a:cubicBezTo>
                    <a:pt x="199" y="257"/>
                    <a:pt x="199" y="257"/>
                    <a:pt x="199" y="257"/>
                  </a:cubicBezTo>
                  <a:cubicBezTo>
                    <a:pt x="206" y="254"/>
                    <a:pt x="212" y="250"/>
                    <a:pt x="217" y="246"/>
                  </a:cubicBezTo>
                  <a:cubicBezTo>
                    <a:pt x="220" y="250"/>
                    <a:pt x="220" y="250"/>
                    <a:pt x="220" y="250"/>
                  </a:cubicBezTo>
                  <a:cubicBezTo>
                    <a:pt x="215" y="254"/>
                    <a:pt x="208" y="258"/>
                    <a:pt x="202" y="261"/>
                  </a:cubicBezTo>
                  <a:close/>
                  <a:moveTo>
                    <a:pt x="58" y="250"/>
                  </a:moveTo>
                  <a:cubicBezTo>
                    <a:pt x="52" y="246"/>
                    <a:pt x="46" y="241"/>
                    <a:pt x="41" y="236"/>
                  </a:cubicBezTo>
                  <a:cubicBezTo>
                    <a:pt x="45" y="232"/>
                    <a:pt x="45" y="232"/>
                    <a:pt x="45" y="232"/>
                  </a:cubicBezTo>
                  <a:cubicBezTo>
                    <a:pt x="50" y="237"/>
                    <a:pt x="55" y="242"/>
                    <a:pt x="61" y="246"/>
                  </a:cubicBezTo>
                  <a:lnTo>
                    <a:pt x="58" y="250"/>
                  </a:lnTo>
                  <a:close/>
                  <a:moveTo>
                    <a:pt x="237" y="236"/>
                  </a:moveTo>
                  <a:cubicBezTo>
                    <a:pt x="233" y="232"/>
                    <a:pt x="233" y="232"/>
                    <a:pt x="233" y="232"/>
                  </a:cubicBezTo>
                  <a:cubicBezTo>
                    <a:pt x="238" y="227"/>
                    <a:pt x="243" y="222"/>
                    <a:pt x="247" y="216"/>
                  </a:cubicBezTo>
                  <a:cubicBezTo>
                    <a:pt x="251" y="219"/>
                    <a:pt x="251" y="219"/>
                    <a:pt x="251" y="219"/>
                  </a:cubicBezTo>
                  <a:cubicBezTo>
                    <a:pt x="247" y="225"/>
                    <a:pt x="242" y="231"/>
                    <a:pt x="237" y="236"/>
                  </a:cubicBezTo>
                  <a:close/>
                  <a:moveTo>
                    <a:pt x="27" y="220"/>
                  </a:moveTo>
                  <a:cubicBezTo>
                    <a:pt x="23" y="214"/>
                    <a:pt x="19" y="208"/>
                    <a:pt x="16" y="201"/>
                  </a:cubicBezTo>
                  <a:cubicBezTo>
                    <a:pt x="20" y="199"/>
                    <a:pt x="20" y="199"/>
                    <a:pt x="20" y="199"/>
                  </a:cubicBezTo>
                  <a:cubicBezTo>
                    <a:pt x="24" y="205"/>
                    <a:pt x="27" y="211"/>
                    <a:pt x="31" y="217"/>
                  </a:cubicBezTo>
                  <a:lnTo>
                    <a:pt x="27" y="220"/>
                  </a:lnTo>
                  <a:close/>
                  <a:moveTo>
                    <a:pt x="262" y="201"/>
                  </a:moveTo>
                  <a:cubicBezTo>
                    <a:pt x="258" y="199"/>
                    <a:pt x="258" y="199"/>
                    <a:pt x="258" y="199"/>
                  </a:cubicBezTo>
                  <a:cubicBezTo>
                    <a:pt x="261" y="192"/>
                    <a:pt x="263" y="186"/>
                    <a:pt x="266" y="179"/>
                  </a:cubicBezTo>
                  <a:cubicBezTo>
                    <a:pt x="271" y="181"/>
                    <a:pt x="271" y="181"/>
                    <a:pt x="271" y="181"/>
                  </a:cubicBezTo>
                  <a:cubicBezTo>
                    <a:pt x="268" y="188"/>
                    <a:pt x="266" y="195"/>
                    <a:pt x="262" y="201"/>
                  </a:cubicBezTo>
                  <a:close/>
                  <a:moveTo>
                    <a:pt x="7" y="181"/>
                  </a:moveTo>
                  <a:cubicBezTo>
                    <a:pt x="5" y="174"/>
                    <a:pt x="3" y="167"/>
                    <a:pt x="2" y="160"/>
                  </a:cubicBezTo>
                  <a:cubicBezTo>
                    <a:pt x="8" y="159"/>
                    <a:pt x="8" y="159"/>
                    <a:pt x="8" y="159"/>
                  </a:cubicBezTo>
                  <a:cubicBezTo>
                    <a:pt x="9" y="166"/>
                    <a:pt x="10" y="173"/>
                    <a:pt x="12" y="179"/>
                  </a:cubicBezTo>
                  <a:lnTo>
                    <a:pt x="7" y="181"/>
                  </a:lnTo>
                  <a:close/>
                  <a:moveTo>
                    <a:pt x="276" y="160"/>
                  </a:moveTo>
                  <a:cubicBezTo>
                    <a:pt x="270" y="159"/>
                    <a:pt x="270" y="159"/>
                    <a:pt x="270" y="159"/>
                  </a:cubicBezTo>
                  <a:cubicBezTo>
                    <a:pt x="271" y="152"/>
                    <a:pt x="272" y="145"/>
                    <a:pt x="272" y="138"/>
                  </a:cubicBezTo>
                  <a:cubicBezTo>
                    <a:pt x="272" y="138"/>
                    <a:pt x="272" y="138"/>
                    <a:pt x="272" y="138"/>
                  </a:cubicBezTo>
                  <a:cubicBezTo>
                    <a:pt x="277" y="138"/>
                    <a:pt x="277" y="138"/>
                    <a:pt x="277" y="138"/>
                  </a:cubicBezTo>
                  <a:cubicBezTo>
                    <a:pt x="277" y="138"/>
                    <a:pt x="277" y="138"/>
                    <a:pt x="277" y="138"/>
                  </a:cubicBezTo>
                  <a:cubicBezTo>
                    <a:pt x="277" y="145"/>
                    <a:pt x="277" y="153"/>
                    <a:pt x="276" y="160"/>
                  </a:cubicBezTo>
                  <a:close/>
                  <a:moveTo>
                    <a:pt x="6" y="138"/>
                  </a:moveTo>
                  <a:cubicBezTo>
                    <a:pt x="0" y="138"/>
                    <a:pt x="0" y="138"/>
                    <a:pt x="0" y="138"/>
                  </a:cubicBezTo>
                  <a:cubicBezTo>
                    <a:pt x="0" y="138"/>
                    <a:pt x="0" y="138"/>
                    <a:pt x="0" y="138"/>
                  </a:cubicBezTo>
                  <a:cubicBezTo>
                    <a:pt x="0" y="131"/>
                    <a:pt x="1" y="124"/>
                    <a:pt x="2" y="117"/>
                  </a:cubicBezTo>
                  <a:cubicBezTo>
                    <a:pt x="7" y="118"/>
                    <a:pt x="7" y="118"/>
                    <a:pt x="7" y="118"/>
                  </a:cubicBezTo>
                  <a:cubicBezTo>
                    <a:pt x="6" y="124"/>
                    <a:pt x="6" y="131"/>
                    <a:pt x="6" y="138"/>
                  </a:cubicBezTo>
                  <a:close/>
                  <a:moveTo>
                    <a:pt x="270" y="117"/>
                  </a:moveTo>
                  <a:cubicBezTo>
                    <a:pt x="269" y="110"/>
                    <a:pt x="268" y="103"/>
                    <a:pt x="265" y="97"/>
                  </a:cubicBezTo>
                  <a:cubicBezTo>
                    <a:pt x="270" y="95"/>
                    <a:pt x="270" y="95"/>
                    <a:pt x="270" y="95"/>
                  </a:cubicBezTo>
                  <a:cubicBezTo>
                    <a:pt x="273" y="102"/>
                    <a:pt x="274" y="109"/>
                    <a:pt x="276" y="116"/>
                  </a:cubicBezTo>
                  <a:lnTo>
                    <a:pt x="270" y="117"/>
                  </a:lnTo>
                  <a:close/>
                  <a:moveTo>
                    <a:pt x="12" y="97"/>
                  </a:moveTo>
                  <a:cubicBezTo>
                    <a:pt x="7" y="96"/>
                    <a:pt x="7" y="96"/>
                    <a:pt x="7" y="96"/>
                  </a:cubicBezTo>
                  <a:cubicBezTo>
                    <a:pt x="9" y="89"/>
                    <a:pt x="12" y="82"/>
                    <a:pt x="15" y="76"/>
                  </a:cubicBezTo>
                  <a:cubicBezTo>
                    <a:pt x="20" y="78"/>
                    <a:pt x="20" y="78"/>
                    <a:pt x="20" y="78"/>
                  </a:cubicBezTo>
                  <a:cubicBezTo>
                    <a:pt x="17" y="84"/>
                    <a:pt x="14" y="91"/>
                    <a:pt x="12" y="97"/>
                  </a:cubicBezTo>
                  <a:close/>
                  <a:moveTo>
                    <a:pt x="257" y="77"/>
                  </a:moveTo>
                  <a:cubicBezTo>
                    <a:pt x="254" y="71"/>
                    <a:pt x="250" y="65"/>
                    <a:pt x="246" y="60"/>
                  </a:cubicBezTo>
                  <a:cubicBezTo>
                    <a:pt x="251" y="56"/>
                    <a:pt x="251" y="56"/>
                    <a:pt x="251" y="56"/>
                  </a:cubicBezTo>
                  <a:cubicBezTo>
                    <a:pt x="255" y="62"/>
                    <a:pt x="259" y="68"/>
                    <a:pt x="262" y="75"/>
                  </a:cubicBezTo>
                  <a:lnTo>
                    <a:pt x="257" y="77"/>
                  </a:lnTo>
                  <a:close/>
                  <a:moveTo>
                    <a:pt x="31" y="60"/>
                  </a:moveTo>
                  <a:cubicBezTo>
                    <a:pt x="27" y="57"/>
                    <a:pt x="27" y="57"/>
                    <a:pt x="27" y="57"/>
                  </a:cubicBezTo>
                  <a:cubicBezTo>
                    <a:pt x="31" y="51"/>
                    <a:pt x="36" y="46"/>
                    <a:pt x="41" y="40"/>
                  </a:cubicBezTo>
                  <a:cubicBezTo>
                    <a:pt x="45" y="44"/>
                    <a:pt x="45" y="44"/>
                    <a:pt x="45" y="44"/>
                  </a:cubicBezTo>
                  <a:cubicBezTo>
                    <a:pt x="40" y="49"/>
                    <a:pt x="35" y="55"/>
                    <a:pt x="31" y="60"/>
                  </a:cubicBezTo>
                  <a:close/>
                  <a:moveTo>
                    <a:pt x="233" y="44"/>
                  </a:moveTo>
                  <a:cubicBezTo>
                    <a:pt x="228" y="39"/>
                    <a:pt x="222" y="34"/>
                    <a:pt x="217" y="30"/>
                  </a:cubicBezTo>
                  <a:cubicBezTo>
                    <a:pt x="220" y="26"/>
                    <a:pt x="220" y="26"/>
                    <a:pt x="220" y="26"/>
                  </a:cubicBezTo>
                  <a:cubicBezTo>
                    <a:pt x="226" y="30"/>
                    <a:pt x="231" y="35"/>
                    <a:pt x="236" y="40"/>
                  </a:cubicBezTo>
                  <a:lnTo>
                    <a:pt x="233" y="44"/>
                  </a:lnTo>
                  <a:close/>
                  <a:moveTo>
                    <a:pt x="60" y="31"/>
                  </a:moveTo>
                  <a:cubicBezTo>
                    <a:pt x="57" y="26"/>
                    <a:pt x="57" y="26"/>
                    <a:pt x="57" y="26"/>
                  </a:cubicBezTo>
                  <a:cubicBezTo>
                    <a:pt x="63" y="22"/>
                    <a:pt x="69" y="18"/>
                    <a:pt x="76" y="15"/>
                  </a:cubicBezTo>
                  <a:cubicBezTo>
                    <a:pt x="78" y="20"/>
                    <a:pt x="78" y="20"/>
                    <a:pt x="78" y="20"/>
                  </a:cubicBezTo>
                  <a:cubicBezTo>
                    <a:pt x="72" y="23"/>
                    <a:pt x="66" y="27"/>
                    <a:pt x="60" y="31"/>
                  </a:cubicBezTo>
                  <a:close/>
                  <a:moveTo>
                    <a:pt x="199" y="19"/>
                  </a:moveTo>
                  <a:cubicBezTo>
                    <a:pt x="193" y="16"/>
                    <a:pt x="186" y="14"/>
                    <a:pt x="180" y="11"/>
                  </a:cubicBezTo>
                  <a:cubicBezTo>
                    <a:pt x="181" y="6"/>
                    <a:pt x="181" y="6"/>
                    <a:pt x="181" y="6"/>
                  </a:cubicBezTo>
                  <a:cubicBezTo>
                    <a:pt x="188" y="8"/>
                    <a:pt x="195" y="11"/>
                    <a:pt x="201" y="15"/>
                  </a:cubicBezTo>
                  <a:lnTo>
                    <a:pt x="199" y="19"/>
                  </a:lnTo>
                  <a:close/>
                  <a:moveTo>
                    <a:pt x="97" y="12"/>
                  </a:moveTo>
                  <a:cubicBezTo>
                    <a:pt x="96" y="7"/>
                    <a:pt x="96" y="7"/>
                    <a:pt x="96" y="7"/>
                  </a:cubicBezTo>
                  <a:cubicBezTo>
                    <a:pt x="103" y="4"/>
                    <a:pt x="110" y="3"/>
                    <a:pt x="117" y="1"/>
                  </a:cubicBezTo>
                  <a:cubicBezTo>
                    <a:pt x="118" y="7"/>
                    <a:pt x="118" y="7"/>
                    <a:pt x="118" y="7"/>
                  </a:cubicBezTo>
                  <a:cubicBezTo>
                    <a:pt x="111" y="8"/>
                    <a:pt x="104" y="10"/>
                    <a:pt x="97" y="12"/>
                  </a:cubicBezTo>
                  <a:close/>
                  <a:moveTo>
                    <a:pt x="159" y="7"/>
                  </a:moveTo>
                  <a:cubicBezTo>
                    <a:pt x="153" y="6"/>
                    <a:pt x="146" y="5"/>
                    <a:pt x="139" y="5"/>
                  </a:cubicBezTo>
                  <a:cubicBezTo>
                    <a:pt x="139" y="5"/>
                    <a:pt x="139" y="5"/>
                    <a:pt x="139" y="5"/>
                  </a:cubicBezTo>
                  <a:cubicBezTo>
                    <a:pt x="138" y="0"/>
                    <a:pt x="138" y="0"/>
                    <a:pt x="138" y="0"/>
                  </a:cubicBezTo>
                  <a:cubicBezTo>
                    <a:pt x="139" y="0"/>
                    <a:pt x="139" y="0"/>
                    <a:pt x="139" y="0"/>
                  </a:cubicBezTo>
                  <a:cubicBezTo>
                    <a:pt x="146" y="0"/>
                    <a:pt x="153" y="0"/>
                    <a:pt x="160" y="1"/>
                  </a:cubicBezTo>
                  <a:lnTo>
                    <a:pt x="159" y="7"/>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20" name="Oval 124"/>
            <p:cNvSpPr>
              <a:spLocks noChangeArrowheads="1"/>
            </p:cNvSpPr>
            <p:nvPr/>
          </p:nvSpPr>
          <p:spPr bwMode="auto">
            <a:xfrm>
              <a:off x="10093325" y="1385888"/>
              <a:ext cx="511175" cy="511175"/>
            </a:xfrm>
            <a:prstGeom prst="ellipse">
              <a:avLst/>
            </a:prstGeom>
            <a:solidFill>
              <a:srgbClr val="E6E6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21" name="Freeform 125"/>
            <p:cNvSpPr>
              <a:spLocks noEditPoints="1"/>
            </p:cNvSpPr>
            <p:nvPr/>
          </p:nvSpPr>
          <p:spPr bwMode="auto">
            <a:xfrm>
              <a:off x="10086975" y="1381125"/>
              <a:ext cx="523875" cy="523875"/>
            </a:xfrm>
            <a:custGeom>
              <a:avLst/>
              <a:gdLst>
                <a:gd name="T0" fmla="*/ 118 w 236"/>
                <a:gd name="T1" fmla="*/ 235 h 235"/>
                <a:gd name="T2" fmla="*/ 108 w 236"/>
                <a:gd name="T3" fmla="*/ 229 h 235"/>
                <a:gd name="T4" fmla="*/ 129 w 236"/>
                <a:gd name="T5" fmla="*/ 229 h 235"/>
                <a:gd name="T6" fmla="*/ 118 w 236"/>
                <a:gd name="T7" fmla="*/ 235 h 235"/>
                <a:gd name="T8" fmla="*/ 66 w 236"/>
                <a:gd name="T9" fmla="*/ 222 h 235"/>
                <a:gd name="T10" fmla="*/ 88 w 236"/>
                <a:gd name="T11" fmla="*/ 225 h 235"/>
                <a:gd name="T12" fmla="*/ 150 w 236"/>
                <a:gd name="T13" fmla="*/ 230 h 235"/>
                <a:gd name="T14" fmla="*/ 168 w 236"/>
                <a:gd name="T15" fmla="*/ 217 h 235"/>
                <a:gd name="T16" fmla="*/ 150 w 236"/>
                <a:gd name="T17" fmla="*/ 230 h 235"/>
                <a:gd name="T18" fmla="*/ 31 w 236"/>
                <a:gd name="T19" fmla="*/ 196 h 235"/>
                <a:gd name="T20" fmla="*/ 51 w 236"/>
                <a:gd name="T21" fmla="*/ 207 h 235"/>
                <a:gd name="T22" fmla="*/ 189 w 236"/>
                <a:gd name="T23" fmla="*/ 211 h 235"/>
                <a:gd name="T24" fmla="*/ 201 w 236"/>
                <a:gd name="T25" fmla="*/ 193 h 235"/>
                <a:gd name="T26" fmla="*/ 189 w 236"/>
                <a:gd name="T27" fmla="*/ 211 h 235"/>
                <a:gd name="T28" fmla="*/ 8 w 236"/>
                <a:gd name="T29" fmla="*/ 160 h 235"/>
                <a:gd name="T30" fmla="*/ 23 w 236"/>
                <a:gd name="T31" fmla="*/ 176 h 235"/>
                <a:gd name="T32" fmla="*/ 218 w 236"/>
                <a:gd name="T33" fmla="*/ 179 h 235"/>
                <a:gd name="T34" fmla="*/ 223 w 236"/>
                <a:gd name="T35" fmla="*/ 157 h 235"/>
                <a:gd name="T36" fmla="*/ 218 w 236"/>
                <a:gd name="T37" fmla="*/ 179 h 235"/>
                <a:gd name="T38" fmla="*/ 0 w 236"/>
                <a:gd name="T39" fmla="*/ 117 h 235"/>
                <a:gd name="T40" fmla="*/ 8 w 236"/>
                <a:gd name="T41" fmla="*/ 138 h 235"/>
                <a:gd name="T42" fmla="*/ 234 w 236"/>
                <a:gd name="T43" fmla="*/ 139 h 235"/>
                <a:gd name="T44" fmla="*/ 230 w 236"/>
                <a:gd name="T45" fmla="*/ 117 h 235"/>
                <a:gd name="T46" fmla="*/ 236 w 236"/>
                <a:gd name="T47" fmla="*/ 116 h 235"/>
                <a:gd name="T48" fmla="*/ 234 w 236"/>
                <a:gd name="T49" fmla="*/ 139 h 235"/>
                <a:gd name="T50" fmla="*/ 2 w 236"/>
                <a:gd name="T51" fmla="*/ 96 h 235"/>
                <a:gd name="T52" fmla="*/ 13 w 236"/>
                <a:gd name="T53" fmla="*/ 77 h 235"/>
                <a:gd name="T54" fmla="*/ 228 w 236"/>
                <a:gd name="T55" fmla="*/ 96 h 235"/>
                <a:gd name="T56" fmla="*/ 228 w 236"/>
                <a:gd name="T57" fmla="*/ 74 h 235"/>
                <a:gd name="T58" fmla="*/ 228 w 236"/>
                <a:gd name="T59" fmla="*/ 96 h 235"/>
                <a:gd name="T60" fmla="*/ 18 w 236"/>
                <a:gd name="T61" fmla="*/ 55 h 235"/>
                <a:gd name="T62" fmla="*/ 35 w 236"/>
                <a:gd name="T63" fmla="*/ 41 h 235"/>
                <a:gd name="T64" fmla="*/ 213 w 236"/>
                <a:gd name="T65" fmla="*/ 57 h 235"/>
                <a:gd name="T66" fmla="*/ 205 w 236"/>
                <a:gd name="T67" fmla="*/ 37 h 235"/>
                <a:gd name="T68" fmla="*/ 213 w 236"/>
                <a:gd name="T69" fmla="*/ 57 h 235"/>
                <a:gd name="T70" fmla="*/ 47 w 236"/>
                <a:gd name="T71" fmla="*/ 23 h 235"/>
                <a:gd name="T72" fmla="*/ 68 w 236"/>
                <a:gd name="T73" fmla="*/ 16 h 235"/>
                <a:gd name="T74" fmla="*/ 186 w 236"/>
                <a:gd name="T75" fmla="*/ 27 h 235"/>
                <a:gd name="T76" fmla="*/ 170 w 236"/>
                <a:gd name="T77" fmla="*/ 11 h 235"/>
                <a:gd name="T78" fmla="*/ 186 w 236"/>
                <a:gd name="T79" fmla="*/ 27 h 235"/>
                <a:gd name="T80" fmla="*/ 86 w 236"/>
                <a:gd name="T81" fmla="*/ 4 h 235"/>
                <a:gd name="T82" fmla="*/ 107 w 236"/>
                <a:gd name="T83" fmla="*/ 5 h 235"/>
                <a:gd name="T84" fmla="*/ 149 w 236"/>
                <a:gd name="T85" fmla="*/ 9 h 235"/>
                <a:gd name="T86" fmla="*/ 129 w 236"/>
                <a:gd name="T87" fmla="*/ 0 h 235"/>
                <a:gd name="T88" fmla="*/ 149 w 236"/>
                <a:gd name="T89" fmla="*/ 9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36" h="235">
                  <a:moveTo>
                    <a:pt x="118" y="235"/>
                  </a:moveTo>
                  <a:cubicBezTo>
                    <a:pt x="118" y="235"/>
                    <a:pt x="118" y="235"/>
                    <a:pt x="118" y="235"/>
                  </a:cubicBezTo>
                  <a:cubicBezTo>
                    <a:pt x="115" y="235"/>
                    <a:pt x="111" y="234"/>
                    <a:pt x="107" y="234"/>
                  </a:cubicBezTo>
                  <a:cubicBezTo>
                    <a:pt x="108" y="229"/>
                    <a:pt x="108" y="229"/>
                    <a:pt x="108" y="229"/>
                  </a:cubicBezTo>
                  <a:cubicBezTo>
                    <a:pt x="111" y="229"/>
                    <a:pt x="115" y="229"/>
                    <a:pt x="118" y="229"/>
                  </a:cubicBezTo>
                  <a:cubicBezTo>
                    <a:pt x="122" y="229"/>
                    <a:pt x="125" y="229"/>
                    <a:pt x="129" y="229"/>
                  </a:cubicBezTo>
                  <a:cubicBezTo>
                    <a:pt x="129" y="234"/>
                    <a:pt x="129" y="234"/>
                    <a:pt x="129" y="234"/>
                  </a:cubicBezTo>
                  <a:cubicBezTo>
                    <a:pt x="126" y="234"/>
                    <a:pt x="122" y="235"/>
                    <a:pt x="118" y="235"/>
                  </a:cubicBezTo>
                  <a:close/>
                  <a:moveTo>
                    <a:pt x="86" y="230"/>
                  </a:moveTo>
                  <a:cubicBezTo>
                    <a:pt x="79" y="228"/>
                    <a:pt x="72" y="226"/>
                    <a:pt x="66" y="222"/>
                  </a:cubicBezTo>
                  <a:cubicBezTo>
                    <a:pt x="68" y="218"/>
                    <a:pt x="68" y="218"/>
                    <a:pt x="68" y="218"/>
                  </a:cubicBezTo>
                  <a:cubicBezTo>
                    <a:pt x="74" y="221"/>
                    <a:pt x="81" y="223"/>
                    <a:pt x="88" y="225"/>
                  </a:cubicBezTo>
                  <a:lnTo>
                    <a:pt x="86" y="230"/>
                  </a:lnTo>
                  <a:close/>
                  <a:moveTo>
                    <a:pt x="150" y="230"/>
                  </a:moveTo>
                  <a:cubicBezTo>
                    <a:pt x="149" y="225"/>
                    <a:pt x="149" y="225"/>
                    <a:pt x="149" y="225"/>
                  </a:cubicBezTo>
                  <a:cubicBezTo>
                    <a:pt x="156" y="223"/>
                    <a:pt x="162" y="220"/>
                    <a:pt x="168" y="217"/>
                  </a:cubicBezTo>
                  <a:cubicBezTo>
                    <a:pt x="171" y="222"/>
                    <a:pt x="171" y="222"/>
                    <a:pt x="171" y="222"/>
                  </a:cubicBezTo>
                  <a:cubicBezTo>
                    <a:pt x="164" y="225"/>
                    <a:pt x="157" y="228"/>
                    <a:pt x="150" y="230"/>
                  </a:cubicBezTo>
                  <a:close/>
                  <a:moveTo>
                    <a:pt x="47" y="211"/>
                  </a:moveTo>
                  <a:cubicBezTo>
                    <a:pt x="42" y="207"/>
                    <a:pt x="36" y="202"/>
                    <a:pt x="31" y="196"/>
                  </a:cubicBezTo>
                  <a:cubicBezTo>
                    <a:pt x="35" y="193"/>
                    <a:pt x="35" y="193"/>
                    <a:pt x="35" y="193"/>
                  </a:cubicBezTo>
                  <a:cubicBezTo>
                    <a:pt x="40" y="198"/>
                    <a:pt x="45" y="202"/>
                    <a:pt x="51" y="207"/>
                  </a:cubicBezTo>
                  <a:lnTo>
                    <a:pt x="47" y="211"/>
                  </a:lnTo>
                  <a:close/>
                  <a:moveTo>
                    <a:pt x="189" y="211"/>
                  </a:moveTo>
                  <a:cubicBezTo>
                    <a:pt x="186" y="206"/>
                    <a:pt x="186" y="206"/>
                    <a:pt x="186" y="206"/>
                  </a:cubicBezTo>
                  <a:cubicBezTo>
                    <a:pt x="191" y="202"/>
                    <a:pt x="197" y="198"/>
                    <a:pt x="201" y="193"/>
                  </a:cubicBezTo>
                  <a:cubicBezTo>
                    <a:pt x="205" y="196"/>
                    <a:pt x="205" y="196"/>
                    <a:pt x="205" y="196"/>
                  </a:cubicBezTo>
                  <a:cubicBezTo>
                    <a:pt x="200" y="201"/>
                    <a:pt x="195" y="206"/>
                    <a:pt x="189" y="211"/>
                  </a:cubicBezTo>
                  <a:close/>
                  <a:moveTo>
                    <a:pt x="18" y="179"/>
                  </a:moveTo>
                  <a:cubicBezTo>
                    <a:pt x="14" y="173"/>
                    <a:pt x="11" y="166"/>
                    <a:pt x="8" y="160"/>
                  </a:cubicBezTo>
                  <a:cubicBezTo>
                    <a:pt x="13" y="158"/>
                    <a:pt x="13" y="158"/>
                    <a:pt x="13" y="158"/>
                  </a:cubicBezTo>
                  <a:cubicBezTo>
                    <a:pt x="16" y="164"/>
                    <a:pt x="19" y="170"/>
                    <a:pt x="23" y="176"/>
                  </a:cubicBezTo>
                  <a:lnTo>
                    <a:pt x="18" y="179"/>
                  </a:lnTo>
                  <a:close/>
                  <a:moveTo>
                    <a:pt x="218" y="179"/>
                  </a:moveTo>
                  <a:cubicBezTo>
                    <a:pt x="214" y="176"/>
                    <a:pt x="214" y="176"/>
                    <a:pt x="214" y="176"/>
                  </a:cubicBezTo>
                  <a:cubicBezTo>
                    <a:pt x="217" y="170"/>
                    <a:pt x="220" y="164"/>
                    <a:pt x="223" y="157"/>
                  </a:cubicBezTo>
                  <a:cubicBezTo>
                    <a:pt x="228" y="159"/>
                    <a:pt x="228" y="159"/>
                    <a:pt x="228" y="159"/>
                  </a:cubicBezTo>
                  <a:cubicBezTo>
                    <a:pt x="225" y="166"/>
                    <a:pt x="222" y="173"/>
                    <a:pt x="218" y="179"/>
                  </a:cubicBezTo>
                  <a:close/>
                  <a:moveTo>
                    <a:pt x="2" y="139"/>
                  </a:moveTo>
                  <a:cubicBezTo>
                    <a:pt x="1" y="132"/>
                    <a:pt x="0" y="124"/>
                    <a:pt x="0" y="117"/>
                  </a:cubicBezTo>
                  <a:cubicBezTo>
                    <a:pt x="6" y="117"/>
                    <a:pt x="6" y="117"/>
                    <a:pt x="6" y="117"/>
                  </a:cubicBezTo>
                  <a:cubicBezTo>
                    <a:pt x="6" y="124"/>
                    <a:pt x="7" y="131"/>
                    <a:pt x="8" y="138"/>
                  </a:cubicBezTo>
                  <a:lnTo>
                    <a:pt x="2" y="139"/>
                  </a:lnTo>
                  <a:close/>
                  <a:moveTo>
                    <a:pt x="234" y="139"/>
                  </a:moveTo>
                  <a:cubicBezTo>
                    <a:pt x="229" y="138"/>
                    <a:pt x="229" y="138"/>
                    <a:pt x="229" y="138"/>
                  </a:cubicBezTo>
                  <a:cubicBezTo>
                    <a:pt x="230" y="131"/>
                    <a:pt x="230" y="124"/>
                    <a:pt x="230" y="117"/>
                  </a:cubicBezTo>
                  <a:cubicBezTo>
                    <a:pt x="230" y="116"/>
                    <a:pt x="230" y="116"/>
                    <a:pt x="230" y="116"/>
                  </a:cubicBezTo>
                  <a:cubicBezTo>
                    <a:pt x="236" y="116"/>
                    <a:pt x="236" y="116"/>
                    <a:pt x="236" y="116"/>
                  </a:cubicBezTo>
                  <a:cubicBezTo>
                    <a:pt x="236" y="117"/>
                    <a:pt x="236" y="117"/>
                    <a:pt x="236" y="117"/>
                  </a:cubicBezTo>
                  <a:cubicBezTo>
                    <a:pt x="236" y="124"/>
                    <a:pt x="235" y="131"/>
                    <a:pt x="234" y="139"/>
                  </a:cubicBezTo>
                  <a:close/>
                  <a:moveTo>
                    <a:pt x="8" y="97"/>
                  </a:moveTo>
                  <a:cubicBezTo>
                    <a:pt x="2" y="96"/>
                    <a:pt x="2" y="96"/>
                    <a:pt x="2" y="96"/>
                  </a:cubicBezTo>
                  <a:cubicBezTo>
                    <a:pt x="4" y="88"/>
                    <a:pt x="6" y="81"/>
                    <a:pt x="8" y="75"/>
                  </a:cubicBezTo>
                  <a:cubicBezTo>
                    <a:pt x="13" y="77"/>
                    <a:pt x="13" y="77"/>
                    <a:pt x="13" y="77"/>
                  </a:cubicBezTo>
                  <a:cubicBezTo>
                    <a:pt x="11" y="83"/>
                    <a:pt x="9" y="90"/>
                    <a:pt x="8" y="97"/>
                  </a:cubicBezTo>
                  <a:close/>
                  <a:moveTo>
                    <a:pt x="228" y="96"/>
                  </a:moveTo>
                  <a:cubicBezTo>
                    <a:pt x="227" y="89"/>
                    <a:pt x="225" y="82"/>
                    <a:pt x="223" y="76"/>
                  </a:cubicBezTo>
                  <a:cubicBezTo>
                    <a:pt x="228" y="74"/>
                    <a:pt x="228" y="74"/>
                    <a:pt x="228" y="74"/>
                  </a:cubicBezTo>
                  <a:cubicBezTo>
                    <a:pt x="230" y="81"/>
                    <a:pt x="232" y="88"/>
                    <a:pt x="234" y="95"/>
                  </a:cubicBezTo>
                  <a:lnTo>
                    <a:pt x="228" y="96"/>
                  </a:lnTo>
                  <a:close/>
                  <a:moveTo>
                    <a:pt x="23" y="58"/>
                  </a:moveTo>
                  <a:cubicBezTo>
                    <a:pt x="18" y="55"/>
                    <a:pt x="18" y="55"/>
                    <a:pt x="18" y="55"/>
                  </a:cubicBezTo>
                  <a:cubicBezTo>
                    <a:pt x="22" y="49"/>
                    <a:pt x="26" y="43"/>
                    <a:pt x="31" y="38"/>
                  </a:cubicBezTo>
                  <a:cubicBezTo>
                    <a:pt x="35" y="41"/>
                    <a:pt x="35" y="41"/>
                    <a:pt x="35" y="41"/>
                  </a:cubicBezTo>
                  <a:cubicBezTo>
                    <a:pt x="30" y="47"/>
                    <a:pt x="26" y="52"/>
                    <a:pt x="23" y="58"/>
                  </a:cubicBezTo>
                  <a:close/>
                  <a:moveTo>
                    <a:pt x="213" y="57"/>
                  </a:moveTo>
                  <a:cubicBezTo>
                    <a:pt x="210" y="52"/>
                    <a:pt x="206" y="46"/>
                    <a:pt x="201" y="41"/>
                  </a:cubicBezTo>
                  <a:cubicBezTo>
                    <a:pt x="205" y="37"/>
                    <a:pt x="205" y="37"/>
                    <a:pt x="205" y="37"/>
                  </a:cubicBezTo>
                  <a:cubicBezTo>
                    <a:pt x="210" y="43"/>
                    <a:pt x="214" y="48"/>
                    <a:pt x="218" y="55"/>
                  </a:cubicBezTo>
                  <a:lnTo>
                    <a:pt x="213" y="57"/>
                  </a:lnTo>
                  <a:close/>
                  <a:moveTo>
                    <a:pt x="50" y="27"/>
                  </a:moveTo>
                  <a:cubicBezTo>
                    <a:pt x="47" y="23"/>
                    <a:pt x="47" y="23"/>
                    <a:pt x="47" y="23"/>
                  </a:cubicBezTo>
                  <a:cubicBezTo>
                    <a:pt x="53" y="19"/>
                    <a:pt x="59" y="15"/>
                    <a:pt x="65" y="12"/>
                  </a:cubicBezTo>
                  <a:cubicBezTo>
                    <a:pt x="68" y="16"/>
                    <a:pt x="68" y="16"/>
                    <a:pt x="68" y="16"/>
                  </a:cubicBezTo>
                  <a:cubicBezTo>
                    <a:pt x="62" y="20"/>
                    <a:pt x="56" y="23"/>
                    <a:pt x="50" y="27"/>
                  </a:cubicBezTo>
                  <a:close/>
                  <a:moveTo>
                    <a:pt x="186" y="27"/>
                  </a:moveTo>
                  <a:cubicBezTo>
                    <a:pt x="180" y="23"/>
                    <a:pt x="174" y="19"/>
                    <a:pt x="168" y="16"/>
                  </a:cubicBezTo>
                  <a:cubicBezTo>
                    <a:pt x="170" y="11"/>
                    <a:pt x="170" y="11"/>
                    <a:pt x="170" y="11"/>
                  </a:cubicBezTo>
                  <a:cubicBezTo>
                    <a:pt x="177" y="15"/>
                    <a:pt x="183" y="18"/>
                    <a:pt x="189" y="23"/>
                  </a:cubicBezTo>
                  <a:lnTo>
                    <a:pt x="186" y="27"/>
                  </a:lnTo>
                  <a:close/>
                  <a:moveTo>
                    <a:pt x="87" y="9"/>
                  </a:moveTo>
                  <a:cubicBezTo>
                    <a:pt x="86" y="4"/>
                    <a:pt x="86" y="4"/>
                    <a:pt x="86" y="4"/>
                  </a:cubicBezTo>
                  <a:cubicBezTo>
                    <a:pt x="93" y="2"/>
                    <a:pt x="100" y="0"/>
                    <a:pt x="107" y="0"/>
                  </a:cubicBezTo>
                  <a:cubicBezTo>
                    <a:pt x="107" y="5"/>
                    <a:pt x="107" y="5"/>
                    <a:pt x="107" y="5"/>
                  </a:cubicBezTo>
                  <a:cubicBezTo>
                    <a:pt x="101" y="6"/>
                    <a:pt x="94" y="7"/>
                    <a:pt x="87" y="9"/>
                  </a:cubicBezTo>
                  <a:close/>
                  <a:moveTo>
                    <a:pt x="149" y="9"/>
                  </a:moveTo>
                  <a:cubicBezTo>
                    <a:pt x="142" y="7"/>
                    <a:pt x="135" y="6"/>
                    <a:pt x="128" y="5"/>
                  </a:cubicBezTo>
                  <a:cubicBezTo>
                    <a:pt x="129" y="0"/>
                    <a:pt x="129" y="0"/>
                    <a:pt x="129" y="0"/>
                  </a:cubicBezTo>
                  <a:cubicBezTo>
                    <a:pt x="136" y="0"/>
                    <a:pt x="143" y="2"/>
                    <a:pt x="150" y="4"/>
                  </a:cubicBezTo>
                  <a:lnTo>
                    <a:pt x="149" y="9"/>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22" name="Oval 126"/>
            <p:cNvSpPr>
              <a:spLocks noChangeArrowheads="1"/>
            </p:cNvSpPr>
            <p:nvPr/>
          </p:nvSpPr>
          <p:spPr bwMode="auto">
            <a:xfrm>
              <a:off x="10093325" y="1484313"/>
              <a:ext cx="412750" cy="412750"/>
            </a:xfrm>
            <a:prstGeom prst="ellipse">
              <a:avLst/>
            </a:pr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23" name="Freeform 127"/>
            <p:cNvSpPr>
              <a:spLocks noEditPoints="1"/>
            </p:cNvSpPr>
            <p:nvPr/>
          </p:nvSpPr>
          <p:spPr bwMode="auto">
            <a:xfrm>
              <a:off x="10086975" y="1477963"/>
              <a:ext cx="427038" cy="427038"/>
            </a:xfrm>
            <a:custGeom>
              <a:avLst/>
              <a:gdLst>
                <a:gd name="T0" fmla="*/ 96 w 192"/>
                <a:gd name="T1" fmla="*/ 186 h 192"/>
                <a:gd name="T2" fmla="*/ 117 w 192"/>
                <a:gd name="T3" fmla="*/ 189 h 192"/>
                <a:gd name="T4" fmla="*/ 75 w 192"/>
                <a:gd name="T5" fmla="*/ 189 h 192"/>
                <a:gd name="T6" fmla="*/ 57 w 192"/>
                <a:gd name="T7" fmla="*/ 177 h 192"/>
                <a:gd name="T8" fmla="*/ 75 w 192"/>
                <a:gd name="T9" fmla="*/ 189 h 192"/>
                <a:gd name="T10" fmla="*/ 135 w 192"/>
                <a:gd name="T11" fmla="*/ 177 h 192"/>
                <a:gd name="T12" fmla="*/ 156 w 192"/>
                <a:gd name="T13" fmla="*/ 171 h 192"/>
                <a:gd name="T14" fmla="*/ 37 w 192"/>
                <a:gd name="T15" fmla="*/ 171 h 192"/>
                <a:gd name="T16" fmla="*/ 26 w 192"/>
                <a:gd name="T17" fmla="*/ 152 h 192"/>
                <a:gd name="T18" fmla="*/ 37 w 192"/>
                <a:gd name="T19" fmla="*/ 171 h 192"/>
                <a:gd name="T20" fmla="*/ 167 w 192"/>
                <a:gd name="T21" fmla="*/ 152 h 192"/>
                <a:gd name="T22" fmla="*/ 182 w 192"/>
                <a:gd name="T23" fmla="*/ 137 h 192"/>
                <a:gd name="T24" fmla="*/ 10 w 192"/>
                <a:gd name="T25" fmla="*/ 138 h 192"/>
                <a:gd name="T26" fmla="*/ 8 w 192"/>
                <a:gd name="T27" fmla="*/ 116 h 192"/>
                <a:gd name="T28" fmla="*/ 10 w 192"/>
                <a:gd name="T29" fmla="*/ 138 h 192"/>
                <a:gd name="T30" fmla="*/ 184 w 192"/>
                <a:gd name="T31" fmla="*/ 116 h 192"/>
                <a:gd name="T32" fmla="*/ 186 w 192"/>
                <a:gd name="T33" fmla="*/ 96 h 192"/>
                <a:gd name="T34" fmla="*/ 192 w 192"/>
                <a:gd name="T35" fmla="*/ 96 h 192"/>
                <a:gd name="T36" fmla="*/ 0 w 192"/>
                <a:gd name="T37" fmla="*/ 96 h 192"/>
                <a:gd name="T38" fmla="*/ 3 w 192"/>
                <a:gd name="T39" fmla="*/ 75 h 192"/>
                <a:gd name="T40" fmla="*/ 6 w 192"/>
                <a:gd name="T41" fmla="*/ 96 h 192"/>
                <a:gd name="T42" fmla="*/ 184 w 192"/>
                <a:gd name="T43" fmla="*/ 76 h 192"/>
                <a:gd name="T44" fmla="*/ 182 w 192"/>
                <a:gd name="T45" fmla="*/ 54 h 192"/>
                <a:gd name="T46" fmla="*/ 184 w 192"/>
                <a:gd name="T47" fmla="*/ 76 h 192"/>
                <a:gd name="T48" fmla="*/ 10 w 192"/>
                <a:gd name="T49" fmla="*/ 55 h 192"/>
                <a:gd name="T50" fmla="*/ 25 w 192"/>
                <a:gd name="T51" fmla="*/ 40 h 192"/>
                <a:gd name="T52" fmla="*/ 166 w 192"/>
                <a:gd name="T53" fmla="*/ 40 h 192"/>
                <a:gd name="T54" fmla="*/ 155 w 192"/>
                <a:gd name="T55" fmla="*/ 21 h 192"/>
                <a:gd name="T56" fmla="*/ 166 w 192"/>
                <a:gd name="T57" fmla="*/ 40 h 192"/>
                <a:gd name="T58" fmla="*/ 36 w 192"/>
                <a:gd name="T59" fmla="*/ 21 h 192"/>
                <a:gd name="T60" fmla="*/ 57 w 192"/>
                <a:gd name="T61" fmla="*/ 15 h 192"/>
                <a:gd name="T62" fmla="*/ 135 w 192"/>
                <a:gd name="T63" fmla="*/ 15 h 192"/>
                <a:gd name="T64" fmla="*/ 117 w 192"/>
                <a:gd name="T65" fmla="*/ 3 h 192"/>
                <a:gd name="T66" fmla="*/ 135 w 192"/>
                <a:gd name="T67" fmla="*/ 15 h 192"/>
                <a:gd name="T68" fmla="*/ 74 w 192"/>
                <a:gd name="T69" fmla="*/ 3 h 192"/>
                <a:gd name="T70" fmla="*/ 96 w 192"/>
                <a:gd name="T71" fmla="*/ 6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92" h="192">
                  <a:moveTo>
                    <a:pt x="96" y="192"/>
                  </a:moveTo>
                  <a:cubicBezTo>
                    <a:pt x="96" y="186"/>
                    <a:pt x="96" y="186"/>
                    <a:pt x="96" y="186"/>
                  </a:cubicBezTo>
                  <a:cubicBezTo>
                    <a:pt x="103" y="186"/>
                    <a:pt x="110" y="185"/>
                    <a:pt x="116" y="184"/>
                  </a:cubicBezTo>
                  <a:cubicBezTo>
                    <a:pt x="117" y="189"/>
                    <a:pt x="117" y="189"/>
                    <a:pt x="117" y="189"/>
                  </a:cubicBezTo>
                  <a:cubicBezTo>
                    <a:pt x="110" y="191"/>
                    <a:pt x="103" y="192"/>
                    <a:pt x="96" y="192"/>
                  </a:cubicBezTo>
                  <a:close/>
                  <a:moveTo>
                    <a:pt x="75" y="189"/>
                  </a:moveTo>
                  <a:cubicBezTo>
                    <a:pt x="68" y="188"/>
                    <a:pt x="61" y="185"/>
                    <a:pt x="55" y="182"/>
                  </a:cubicBezTo>
                  <a:cubicBezTo>
                    <a:pt x="57" y="177"/>
                    <a:pt x="57" y="177"/>
                    <a:pt x="57" y="177"/>
                  </a:cubicBezTo>
                  <a:cubicBezTo>
                    <a:pt x="63" y="180"/>
                    <a:pt x="69" y="182"/>
                    <a:pt x="76" y="184"/>
                  </a:cubicBezTo>
                  <a:lnTo>
                    <a:pt x="75" y="189"/>
                  </a:lnTo>
                  <a:close/>
                  <a:moveTo>
                    <a:pt x="138" y="182"/>
                  </a:moveTo>
                  <a:cubicBezTo>
                    <a:pt x="135" y="177"/>
                    <a:pt x="135" y="177"/>
                    <a:pt x="135" y="177"/>
                  </a:cubicBezTo>
                  <a:cubicBezTo>
                    <a:pt x="141" y="174"/>
                    <a:pt x="147" y="171"/>
                    <a:pt x="152" y="167"/>
                  </a:cubicBezTo>
                  <a:cubicBezTo>
                    <a:pt x="156" y="171"/>
                    <a:pt x="156" y="171"/>
                    <a:pt x="156" y="171"/>
                  </a:cubicBezTo>
                  <a:cubicBezTo>
                    <a:pt x="150" y="175"/>
                    <a:pt x="144" y="179"/>
                    <a:pt x="138" y="182"/>
                  </a:cubicBezTo>
                  <a:close/>
                  <a:moveTo>
                    <a:pt x="37" y="171"/>
                  </a:moveTo>
                  <a:cubicBezTo>
                    <a:pt x="31" y="166"/>
                    <a:pt x="26" y="161"/>
                    <a:pt x="21" y="156"/>
                  </a:cubicBezTo>
                  <a:cubicBezTo>
                    <a:pt x="26" y="152"/>
                    <a:pt x="26" y="152"/>
                    <a:pt x="26" y="152"/>
                  </a:cubicBezTo>
                  <a:cubicBezTo>
                    <a:pt x="30" y="158"/>
                    <a:pt x="35" y="162"/>
                    <a:pt x="40" y="167"/>
                  </a:cubicBezTo>
                  <a:lnTo>
                    <a:pt x="37" y="171"/>
                  </a:lnTo>
                  <a:close/>
                  <a:moveTo>
                    <a:pt x="171" y="156"/>
                  </a:moveTo>
                  <a:cubicBezTo>
                    <a:pt x="167" y="152"/>
                    <a:pt x="167" y="152"/>
                    <a:pt x="167" y="152"/>
                  </a:cubicBezTo>
                  <a:cubicBezTo>
                    <a:pt x="171" y="147"/>
                    <a:pt x="174" y="141"/>
                    <a:pt x="177" y="135"/>
                  </a:cubicBezTo>
                  <a:cubicBezTo>
                    <a:pt x="182" y="137"/>
                    <a:pt x="182" y="137"/>
                    <a:pt x="182" y="137"/>
                  </a:cubicBezTo>
                  <a:cubicBezTo>
                    <a:pt x="179" y="144"/>
                    <a:pt x="175" y="150"/>
                    <a:pt x="171" y="156"/>
                  </a:cubicBezTo>
                  <a:close/>
                  <a:moveTo>
                    <a:pt x="10" y="138"/>
                  </a:moveTo>
                  <a:cubicBezTo>
                    <a:pt x="7" y="131"/>
                    <a:pt x="4" y="124"/>
                    <a:pt x="3" y="117"/>
                  </a:cubicBezTo>
                  <a:cubicBezTo>
                    <a:pt x="8" y="116"/>
                    <a:pt x="8" y="116"/>
                    <a:pt x="8" y="116"/>
                  </a:cubicBezTo>
                  <a:cubicBezTo>
                    <a:pt x="10" y="123"/>
                    <a:pt x="12" y="129"/>
                    <a:pt x="15" y="135"/>
                  </a:cubicBezTo>
                  <a:lnTo>
                    <a:pt x="10" y="138"/>
                  </a:lnTo>
                  <a:close/>
                  <a:moveTo>
                    <a:pt x="189" y="117"/>
                  </a:moveTo>
                  <a:cubicBezTo>
                    <a:pt x="184" y="116"/>
                    <a:pt x="184" y="116"/>
                    <a:pt x="184" y="116"/>
                  </a:cubicBezTo>
                  <a:cubicBezTo>
                    <a:pt x="185" y="110"/>
                    <a:pt x="186" y="103"/>
                    <a:pt x="186" y="96"/>
                  </a:cubicBezTo>
                  <a:cubicBezTo>
                    <a:pt x="186" y="96"/>
                    <a:pt x="186" y="96"/>
                    <a:pt x="186" y="96"/>
                  </a:cubicBezTo>
                  <a:cubicBezTo>
                    <a:pt x="192" y="96"/>
                    <a:pt x="192" y="96"/>
                    <a:pt x="192" y="96"/>
                  </a:cubicBezTo>
                  <a:cubicBezTo>
                    <a:pt x="192" y="96"/>
                    <a:pt x="192" y="96"/>
                    <a:pt x="192" y="96"/>
                  </a:cubicBezTo>
                  <a:cubicBezTo>
                    <a:pt x="192" y="103"/>
                    <a:pt x="191" y="110"/>
                    <a:pt x="189" y="117"/>
                  </a:cubicBezTo>
                  <a:close/>
                  <a:moveTo>
                    <a:pt x="0" y="96"/>
                  </a:moveTo>
                  <a:cubicBezTo>
                    <a:pt x="0" y="96"/>
                    <a:pt x="0" y="96"/>
                    <a:pt x="0" y="96"/>
                  </a:cubicBezTo>
                  <a:cubicBezTo>
                    <a:pt x="0" y="89"/>
                    <a:pt x="1" y="82"/>
                    <a:pt x="3" y="75"/>
                  </a:cubicBezTo>
                  <a:cubicBezTo>
                    <a:pt x="8" y="76"/>
                    <a:pt x="8" y="76"/>
                    <a:pt x="8" y="76"/>
                  </a:cubicBezTo>
                  <a:cubicBezTo>
                    <a:pt x="7" y="83"/>
                    <a:pt x="6" y="89"/>
                    <a:pt x="6" y="96"/>
                  </a:cubicBezTo>
                  <a:lnTo>
                    <a:pt x="0" y="96"/>
                  </a:lnTo>
                  <a:close/>
                  <a:moveTo>
                    <a:pt x="184" y="76"/>
                  </a:moveTo>
                  <a:cubicBezTo>
                    <a:pt x="182" y="69"/>
                    <a:pt x="180" y="63"/>
                    <a:pt x="177" y="57"/>
                  </a:cubicBezTo>
                  <a:cubicBezTo>
                    <a:pt x="182" y="54"/>
                    <a:pt x="182" y="54"/>
                    <a:pt x="182" y="54"/>
                  </a:cubicBezTo>
                  <a:cubicBezTo>
                    <a:pt x="185" y="61"/>
                    <a:pt x="188" y="67"/>
                    <a:pt x="189" y="74"/>
                  </a:cubicBezTo>
                  <a:lnTo>
                    <a:pt x="184" y="76"/>
                  </a:lnTo>
                  <a:close/>
                  <a:moveTo>
                    <a:pt x="15" y="57"/>
                  </a:moveTo>
                  <a:cubicBezTo>
                    <a:pt x="10" y="55"/>
                    <a:pt x="10" y="55"/>
                    <a:pt x="10" y="55"/>
                  </a:cubicBezTo>
                  <a:cubicBezTo>
                    <a:pt x="13" y="48"/>
                    <a:pt x="17" y="42"/>
                    <a:pt x="21" y="37"/>
                  </a:cubicBezTo>
                  <a:cubicBezTo>
                    <a:pt x="25" y="40"/>
                    <a:pt x="25" y="40"/>
                    <a:pt x="25" y="40"/>
                  </a:cubicBezTo>
                  <a:cubicBezTo>
                    <a:pt x="21" y="45"/>
                    <a:pt x="18" y="51"/>
                    <a:pt x="15" y="57"/>
                  </a:cubicBezTo>
                  <a:close/>
                  <a:moveTo>
                    <a:pt x="166" y="40"/>
                  </a:moveTo>
                  <a:cubicBezTo>
                    <a:pt x="162" y="34"/>
                    <a:pt x="157" y="30"/>
                    <a:pt x="152" y="25"/>
                  </a:cubicBezTo>
                  <a:cubicBezTo>
                    <a:pt x="155" y="21"/>
                    <a:pt x="155" y="21"/>
                    <a:pt x="155" y="21"/>
                  </a:cubicBezTo>
                  <a:cubicBezTo>
                    <a:pt x="161" y="26"/>
                    <a:pt x="166" y="31"/>
                    <a:pt x="171" y="36"/>
                  </a:cubicBezTo>
                  <a:lnTo>
                    <a:pt x="166" y="40"/>
                  </a:lnTo>
                  <a:close/>
                  <a:moveTo>
                    <a:pt x="40" y="26"/>
                  </a:moveTo>
                  <a:cubicBezTo>
                    <a:pt x="36" y="21"/>
                    <a:pt x="36" y="21"/>
                    <a:pt x="36" y="21"/>
                  </a:cubicBezTo>
                  <a:cubicBezTo>
                    <a:pt x="42" y="17"/>
                    <a:pt x="48" y="13"/>
                    <a:pt x="54" y="10"/>
                  </a:cubicBezTo>
                  <a:cubicBezTo>
                    <a:pt x="57" y="15"/>
                    <a:pt x="57" y="15"/>
                    <a:pt x="57" y="15"/>
                  </a:cubicBezTo>
                  <a:cubicBezTo>
                    <a:pt x="51" y="18"/>
                    <a:pt x="45" y="21"/>
                    <a:pt x="40" y="26"/>
                  </a:cubicBezTo>
                  <a:close/>
                  <a:moveTo>
                    <a:pt x="135" y="15"/>
                  </a:moveTo>
                  <a:cubicBezTo>
                    <a:pt x="129" y="12"/>
                    <a:pt x="122" y="10"/>
                    <a:pt x="116" y="8"/>
                  </a:cubicBezTo>
                  <a:cubicBezTo>
                    <a:pt x="117" y="3"/>
                    <a:pt x="117" y="3"/>
                    <a:pt x="117" y="3"/>
                  </a:cubicBezTo>
                  <a:cubicBezTo>
                    <a:pt x="124" y="4"/>
                    <a:pt x="131" y="7"/>
                    <a:pt x="137" y="10"/>
                  </a:cubicBezTo>
                  <a:lnTo>
                    <a:pt x="135" y="15"/>
                  </a:lnTo>
                  <a:close/>
                  <a:moveTo>
                    <a:pt x="76" y="8"/>
                  </a:moveTo>
                  <a:cubicBezTo>
                    <a:pt x="74" y="3"/>
                    <a:pt x="74" y="3"/>
                    <a:pt x="74" y="3"/>
                  </a:cubicBezTo>
                  <a:cubicBezTo>
                    <a:pt x="81" y="1"/>
                    <a:pt x="89" y="0"/>
                    <a:pt x="96" y="0"/>
                  </a:cubicBezTo>
                  <a:cubicBezTo>
                    <a:pt x="96" y="6"/>
                    <a:pt x="96" y="6"/>
                    <a:pt x="96" y="6"/>
                  </a:cubicBezTo>
                  <a:cubicBezTo>
                    <a:pt x="89" y="6"/>
                    <a:pt x="82" y="7"/>
                    <a:pt x="76" y="8"/>
                  </a:cubicBezTo>
                  <a:close/>
                </a:path>
              </a:pathLst>
            </a:custGeom>
            <a:solidFill>
              <a:srgbClr val="00D8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25" name="Oval 129"/>
            <p:cNvSpPr>
              <a:spLocks noChangeArrowheads="1"/>
            </p:cNvSpPr>
            <p:nvPr/>
          </p:nvSpPr>
          <p:spPr bwMode="auto">
            <a:xfrm>
              <a:off x="10093322" y="1573213"/>
              <a:ext cx="323850" cy="323850"/>
            </a:xfrm>
            <a:prstGeom prst="ellipse">
              <a:avLst/>
            </a:prstGeom>
            <a:solidFill>
              <a:srgbClr val="00D8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26" name="Freeform 130"/>
            <p:cNvSpPr>
              <a:spLocks noEditPoints="1"/>
            </p:cNvSpPr>
            <p:nvPr/>
          </p:nvSpPr>
          <p:spPr bwMode="auto">
            <a:xfrm>
              <a:off x="10177463" y="1666875"/>
              <a:ext cx="161925" cy="138113"/>
            </a:xfrm>
            <a:custGeom>
              <a:avLst/>
              <a:gdLst>
                <a:gd name="T0" fmla="*/ 69 w 73"/>
                <a:gd name="T1" fmla="*/ 58 h 62"/>
                <a:gd name="T2" fmla="*/ 0 w 73"/>
                <a:gd name="T3" fmla="*/ 11 h 62"/>
                <a:gd name="T4" fmla="*/ 0 w 73"/>
                <a:gd name="T5" fmla="*/ 62 h 62"/>
                <a:gd name="T6" fmla="*/ 73 w 73"/>
                <a:gd name="T7" fmla="*/ 0 h 62"/>
                <a:gd name="T8" fmla="*/ 0 w 73"/>
                <a:gd name="T9" fmla="*/ 0 h 62"/>
                <a:gd name="T10" fmla="*/ 42 w 73"/>
                <a:gd name="T11" fmla="*/ 35 h 62"/>
                <a:gd name="T12" fmla="*/ 40 w 73"/>
                <a:gd name="T13" fmla="*/ 31 h 62"/>
                <a:gd name="T14" fmla="*/ 38 w 73"/>
                <a:gd name="T15" fmla="*/ 29 h 62"/>
                <a:gd name="T16" fmla="*/ 34 w 73"/>
                <a:gd name="T17" fmla="*/ 27 h 62"/>
                <a:gd name="T18" fmla="*/ 31 w 73"/>
                <a:gd name="T19" fmla="*/ 27 h 62"/>
                <a:gd name="T20" fmla="*/ 27 w 73"/>
                <a:gd name="T21" fmla="*/ 29 h 62"/>
                <a:gd name="T22" fmla="*/ 24 w 73"/>
                <a:gd name="T23" fmla="*/ 31 h 62"/>
                <a:gd name="T24" fmla="*/ 22 w 73"/>
                <a:gd name="T25" fmla="*/ 35 h 62"/>
                <a:gd name="T26" fmla="*/ 22 w 73"/>
                <a:gd name="T27" fmla="*/ 38 h 62"/>
                <a:gd name="T28" fmla="*/ 22 w 73"/>
                <a:gd name="T29" fmla="*/ 42 h 62"/>
                <a:gd name="T30" fmla="*/ 24 w 73"/>
                <a:gd name="T31" fmla="*/ 45 h 62"/>
                <a:gd name="T32" fmla="*/ 27 w 73"/>
                <a:gd name="T33" fmla="*/ 48 h 62"/>
                <a:gd name="T34" fmla="*/ 30 w 73"/>
                <a:gd name="T35" fmla="*/ 49 h 62"/>
                <a:gd name="T36" fmla="*/ 33 w 73"/>
                <a:gd name="T37" fmla="*/ 46 h 62"/>
                <a:gd name="T38" fmla="*/ 37 w 73"/>
                <a:gd name="T39" fmla="*/ 48 h 62"/>
                <a:gd name="T40" fmla="*/ 37 w 73"/>
                <a:gd name="T41" fmla="*/ 44 h 62"/>
                <a:gd name="T42" fmla="*/ 42 w 73"/>
                <a:gd name="T43" fmla="*/ 43 h 62"/>
                <a:gd name="T44" fmla="*/ 40 w 73"/>
                <a:gd name="T45" fmla="*/ 39 h 62"/>
                <a:gd name="T46" fmla="*/ 36 w 73"/>
                <a:gd name="T47" fmla="*/ 38 h 62"/>
                <a:gd name="T48" fmla="*/ 29 w 73"/>
                <a:gd name="T49" fmla="*/ 41 h 62"/>
                <a:gd name="T50" fmla="*/ 32 w 73"/>
                <a:gd name="T51" fmla="*/ 34 h 62"/>
                <a:gd name="T52" fmla="*/ 30 w 73"/>
                <a:gd name="T53" fmla="*/ 38 h 62"/>
                <a:gd name="T54" fmla="*/ 32 w 73"/>
                <a:gd name="T55" fmla="*/ 40 h 62"/>
                <a:gd name="T56" fmla="*/ 50 w 73"/>
                <a:gd name="T57" fmla="*/ 31 h 62"/>
                <a:gd name="T58" fmla="*/ 51 w 73"/>
                <a:gd name="T59" fmla="*/ 28 h 62"/>
                <a:gd name="T60" fmla="*/ 50 w 73"/>
                <a:gd name="T61" fmla="*/ 27 h 62"/>
                <a:gd name="T62" fmla="*/ 47 w 73"/>
                <a:gd name="T63" fmla="*/ 27 h 62"/>
                <a:gd name="T64" fmla="*/ 45 w 73"/>
                <a:gd name="T65" fmla="*/ 25 h 62"/>
                <a:gd name="T66" fmla="*/ 43 w 73"/>
                <a:gd name="T67" fmla="*/ 27 h 62"/>
                <a:gd name="T68" fmla="*/ 41 w 73"/>
                <a:gd name="T69" fmla="*/ 27 h 62"/>
                <a:gd name="T70" fmla="*/ 40 w 73"/>
                <a:gd name="T71" fmla="*/ 29 h 62"/>
                <a:gd name="T72" fmla="*/ 42 w 73"/>
                <a:gd name="T73" fmla="*/ 31 h 62"/>
                <a:gd name="T74" fmla="*/ 40 w 73"/>
                <a:gd name="T75" fmla="*/ 33 h 62"/>
                <a:gd name="T76" fmla="*/ 41 w 73"/>
                <a:gd name="T77" fmla="*/ 34 h 62"/>
                <a:gd name="T78" fmla="*/ 45 w 73"/>
                <a:gd name="T79" fmla="*/ 36 h 62"/>
                <a:gd name="T80" fmla="*/ 47 w 73"/>
                <a:gd name="T81" fmla="*/ 36 h 62"/>
                <a:gd name="T82" fmla="*/ 50 w 73"/>
                <a:gd name="T83" fmla="*/ 34 h 62"/>
                <a:gd name="T84" fmla="*/ 51 w 73"/>
                <a:gd name="T85" fmla="*/ 33 h 62"/>
                <a:gd name="T86" fmla="*/ 50 w 73"/>
                <a:gd name="T87" fmla="*/ 31 h 62"/>
                <a:gd name="T88" fmla="*/ 46 w 73"/>
                <a:gd name="T89" fmla="*/ 32 h 62"/>
                <a:gd name="T90" fmla="*/ 47 w 73"/>
                <a:gd name="T91" fmla="*/ 31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73" h="62">
                  <a:moveTo>
                    <a:pt x="3" y="15"/>
                  </a:moveTo>
                  <a:cubicBezTo>
                    <a:pt x="3" y="58"/>
                    <a:pt x="3" y="58"/>
                    <a:pt x="3" y="58"/>
                  </a:cubicBezTo>
                  <a:cubicBezTo>
                    <a:pt x="69" y="58"/>
                    <a:pt x="69" y="58"/>
                    <a:pt x="69" y="58"/>
                  </a:cubicBezTo>
                  <a:cubicBezTo>
                    <a:pt x="69" y="15"/>
                    <a:pt x="69" y="15"/>
                    <a:pt x="69" y="15"/>
                  </a:cubicBezTo>
                  <a:cubicBezTo>
                    <a:pt x="3" y="15"/>
                    <a:pt x="3" y="15"/>
                    <a:pt x="3" y="15"/>
                  </a:cubicBezTo>
                  <a:close/>
                  <a:moveTo>
                    <a:pt x="0" y="11"/>
                  </a:moveTo>
                  <a:cubicBezTo>
                    <a:pt x="73" y="11"/>
                    <a:pt x="73" y="11"/>
                    <a:pt x="73" y="11"/>
                  </a:cubicBezTo>
                  <a:cubicBezTo>
                    <a:pt x="73" y="62"/>
                    <a:pt x="73" y="62"/>
                    <a:pt x="73" y="62"/>
                  </a:cubicBezTo>
                  <a:cubicBezTo>
                    <a:pt x="0" y="62"/>
                    <a:pt x="0" y="62"/>
                    <a:pt x="0" y="62"/>
                  </a:cubicBezTo>
                  <a:cubicBezTo>
                    <a:pt x="0" y="11"/>
                    <a:pt x="0" y="11"/>
                    <a:pt x="0" y="11"/>
                  </a:cubicBezTo>
                  <a:close/>
                  <a:moveTo>
                    <a:pt x="0" y="0"/>
                  </a:moveTo>
                  <a:cubicBezTo>
                    <a:pt x="73" y="0"/>
                    <a:pt x="73" y="0"/>
                    <a:pt x="73" y="0"/>
                  </a:cubicBezTo>
                  <a:cubicBezTo>
                    <a:pt x="73" y="7"/>
                    <a:pt x="73" y="7"/>
                    <a:pt x="73" y="7"/>
                  </a:cubicBezTo>
                  <a:cubicBezTo>
                    <a:pt x="0" y="7"/>
                    <a:pt x="0" y="7"/>
                    <a:pt x="0" y="7"/>
                  </a:cubicBezTo>
                  <a:cubicBezTo>
                    <a:pt x="0" y="0"/>
                    <a:pt x="0" y="0"/>
                    <a:pt x="0" y="0"/>
                  </a:cubicBezTo>
                  <a:close/>
                  <a:moveTo>
                    <a:pt x="43" y="37"/>
                  </a:moveTo>
                  <a:cubicBezTo>
                    <a:pt x="43" y="35"/>
                    <a:pt x="43" y="35"/>
                    <a:pt x="43" y="35"/>
                  </a:cubicBezTo>
                  <a:cubicBezTo>
                    <a:pt x="43" y="35"/>
                    <a:pt x="43" y="35"/>
                    <a:pt x="42" y="35"/>
                  </a:cubicBezTo>
                  <a:cubicBezTo>
                    <a:pt x="39" y="35"/>
                    <a:pt x="39" y="35"/>
                    <a:pt x="39" y="35"/>
                  </a:cubicBezTo>
                  <a:cubicBezTo>
                    <a:pt x="39" y="35"/>
                    <a:pt x="39" y="34"/>
                    <a:pt x="39" y="34"/>
                  </a:cubicBezTo>
                  <a:cubicBezTo>
                    <a:pt x="40" y="31"/>
                    <a:pt x="40" y="31"/>
                    <a:pt x="40" y="31"/>
                  </a:cubicBezTo>
                  <a:cubicBezTo>
                    <a:pt x="40" y="31"/>
                    <a:pt x="40" y="31"/>
                    <a:pt x="40" y="31"/>
                  </a:cubicBezTo>
                  <a:cubicBezTo>
                    <a:pt x="38" y="29"/>
                    <a:pt x="38" y="29"/>
                    <a:pt x="38" y="29"/>
                  </a:cubicBezTo>
                  <a:cubicBezTo>
                    <a:pt x="38" y="29"/>
                    <a:pt x="38" y="29"/>
                    <a:pt x="38" y="29"/>
                  </a:cubicBezTo>
                  <a:cubicBezTo>
                    <a:pt x="35" y="31"/>
                    <a:pt x="35" y="31"/>
                    <a:pt x="35" y="31"/>
                  </a:cubicBezTo>
                  <a:cubicBezTo>
                    <a:pt x="35" y="31"/>
                    <a:pt x="35" y="31"/>
                    <a:pt x="34" y="31"/>
                  </a:cubicBezTo>
                  <a:cubicBezTo>
                    <a:pt x="34" y="27"/>
                    <a:pt x="34" y="27"/>
                    <a:pt x="34" y="27"/>
                  </a:cubicBezTo>
                  <a:cubicBezTo>
                    <a:pt x="34" y="27"/>
                    <a:pt x="33" y="27"/>
                    <a:pt x="33" y="27"/>
                  </a:cubicBezTo>
                  <a:cubicBezTo>
                    <a:pt x="31" y="27"/>
                    <a:pt x="31" y="27"/>
                    <a:pt x="31" y="27"/>
                  </a:cubicBezTo>
                  <a:cubicBezTo>
                    <a:pt x="31" y="27"/>
                    <a:pt x="31" y="27"/>
                    <a:pt x="31" y="27"/>
                  </a:cubicBezTo>
                  <a:cubicBezTo>
                    <a:pt x="30" y="31"/>
                    <a:pt x="30" y="31"/>
                    <a:pt x="30" y="31"/>
                  </a:cubicBezTo>
                  <a:cubicBezTo>
                    <a:pt x="30" y="31"/>
                    <a:pt x="29" y="31"/>
                    <a:pt x="29" y="31"/>
                  </a:cubicBezTo>
                  <a:cubicBezTo>
                    <a:pt x="27" y="29"/>
                    <a:pt x="27" y="29"/>
                    <a:pt x="27" y="29"/>
                  </a:cubicBezTo>
                  <a:cubicBezTo>
                    <a:pt x="26" y="29"/>
                    <a:pt x="26" y="29"/>
                    <a:pt x="26" y="29"/>
                  </a:cubicBezTo>
                  <a:cubicBezTo>
                    <a:pt x="24" y="31"/>
                    <a:pt x="24" y="31"/>
                    <a:pt x="24" y="31"/>
                  </a:cubicBezTo>
                  <a:cubicBezTo>
                    <a:pt x="24" y="31"/>
                    <a:pt x="24" y="31"/>
                    <a:pt x="24" y="31"/>
                  </a:cubicBezTo>
                  <a:cubicBezTo>
                    <a:pt x="26" y="34"/>
                    <a:pt x="26" y="34"/>
                    <a:pt x="26" y="34"/>
                  </a:cubicBezTo>
                  <a:cubicBezTo>
                    <a:pt x="25" y="34"/>
                    <a:pt x="25" y="35"/>
                    <a:pt x="25" y="35"/>
                  </a:cubicBezTo>
                  <a:cubicBezTo>
                    <a:pt x="22" y="35"/>
                    <a:pt x="22" y="35"/>
                    <a:pt x="22" y="35"/>
                  </a:cubicBezTo>
                  <a:cubicBezTo>
                    <a:pt x="22" y="35"/>
                    <a:pt x="22" y="35"/>
                    <a:pt x="22" y="35"/>
                  </a:cubicBezTo>
                  <a:cubicBezTo>
                    <a:pt x="21" y="37"/>
                    <a:pt x="21" y="37"/>
                    <a:pt x="21" y="37"/>
                  </a:cubicBezTo>
                  <a:cubicBezTo>
                    <a:pt x="21" y="38"/>
                    <a:pt x="21" y="38"/>
                    <a:pt x="22" y="38"/>
                  </a:cubicBezTo>
                  <a:cubicBezTo>
                    <a:pt x="24" y="39"/>
                    <a:pt x="24" y="39"/>
                    <a:pt x="24" y="39"/>
                  </a:cubicBezTo>
                  <a:cubicBezTo>
                    <a:pt x="24" y="40"/>
                    <a:pt x="24" y="40"/>
                    <a:pt x="25" y="40"/>
                  </a:cubicBezTo>
                  <a:cubicBezTo>
                    <a:pt x="22" y="42"/>
                    <a:pt x="22" y="42"/>
                    <a:pt x="22" y="42"/>
                  </a:cubicBezTo>
                  <a:cubicBezTo>
                    <a:pt x="22" y="42"/>
                    <a:pt x="22" y="43"/>
                    <a:pt x="22" y="43"/>
                  </a:cubicBezTo>
                  <a:cubicBezTo>
                    <a:pt x="23" y="45"/>
                    <a:pt x="23" y="45"/>
                    <a:pt x="23" y="45"/>
                  </a:cubicBezTo>
                  <a:cubicBezTo>
                    <a:pt x="23" y="45"/>
                    <a:pt x="24" y="45"/>
                    <a:pt x="24" y="45"/>
                  </a:cubicBezTo>
                  <a:cubicBezTo>
                    <a:pt x="27" y="44"/>
                    <a:pt x="27" y="44"/>
                    <a:pt x="27" y="44"/>
                  </a:cubicBezTo>
                  <a:cubicBezTo>
                    <a:pt x="27" y="44"/>
                    <a:pt x="27" y="44"/>
                    <a:pt x="28" y="45"/>
                  </a:cubicBezTo>
                  <a:cubicBezTo>
                    <a:pt x="27" y="48"/>
                    <a:pt x="27" y="48"/>
                    <a:pt x="27" y="48"/>
                  </a:cubicBezTo>
                  <a:cubicBezTo>
                    <a:pt x="27" y="48"/>
                    <a:pt x="27" y="48"/>
                    <a:pt x="28" y="48"/>
                  </a:cubicBezTo>
                  <a:cubicBezTo>
                    <a:pt x="29" y="49"/>
                    <a:pt x="29" y="49"/>
                    <a:pt x="29" y="49"/>
                  </a:cubicBezTo>
                  <a:cubicBezTo>
                    <a:pt x="30" y="49"/>
                    <a:pt x="30" y="49"/>
                    <a:pt x="30" y="49"/>
                  </a:cubicBezTo>
                  <a:cubicBezTo>
                    <a:pt x="32" y="46"/>
                    <a:pt x="32" y="46"/>
                    <a:pt x="32" y="46"/>
                  </a:cubicBezTo>
                  <a:cubicBezTo>
                    <a:pt x="32" y="46"/>
                    <a:pt x="32" y="46"/>
                    <a:pt x="32" y="46"/>
                  </a:cubicBezTo>
                  <a:cubicBezTo>
                    <a:pt x="32" y="46"/>
                    <a:pt x="32" y="46"/>
                    <a:pt x="33" y="46"/>
                  </a:cubicBezTo>
                  <a:cubicBezTo>
                    <a:pt x="34" y="49"/>
                    <a:pt x="34" y="49"/>
                    <a:pt x="34" y="49"/>
                  </a:cubicBezTo>
                  <a:cubicBezTo>
                    <a:pt x="34" y="49"/>
                    <a:pt x="35" y="49"/>
                    <a:pt x="35" y="49"/>
                  </a:cubicBezTo>
                  <a:cubicBezTo>
                    <a:pt x="37" y="48"/>
                    <a:pt x="37" y="48"/>
                    <a:pt x="37" y="48"/>
                  </a:cubicBezTo>
                  <a:cubicBezTo>
                    <a:pt x="37" y="48"/>
                    <a:pt x="37" y="48"/>
                    <a:pt x="37" y="48"/>
                  </a:cubicBezTo>
                  <a:cubicBezTo>
                    <a:pt x="37" y="45"/>
                    <a:pt x="37" y="45"/>
                    <a:pt x="37" y="45"/>
                  </a:cubicBezTo>
                  <a:cubicBezTo>
                    <a:pt x="37" y="44"/>
                    <a:pt x="37" y="44"/>
                    <a:pt x="37" y="44"/>
                  </a:cubicBezTo>
                  <a:cubicBezTo>
                    <a:pt x="41" y="45"/>
                    <a:pt x="41" y="45"/>
                    <a:pt x="41" y="45"/>
                  </a:cubicBezTo>
                  <a:cubicBezTo>
                    <a:pt x="41" y="45"/>
                    <a:pt x="41" y="45"/>
                    <a:pt x="41" y="45"/>
                  </a:cubicBezTo>
                  <a:cubicBezTo>
                    <a:pt x="42" y="43"/>
                    <a:pt x="42" y="43"/>
                    <a:pt x="42" y="43"/>
                  </a:cubicBezTo>
                  <a:cubicBezTo>
                    <a:pt x="42" y="43"/>
                    <a:pt x="42" y="42"/>
                    <a:pt x="42" y="42"/>
                  </a:cubicBezTo>
                  <a:cubicBezTo>
                    <a:pt x="40" y="40"/>
                    <a:pt x="40" y="40"/>
                    <a:pt x="40" y="40"/>
                  </a:cubicBezTo>
                  <a:cubicBezTo>
                    <a:pt x="40" y="40"/>
                    <a:pt x="40" y="40"/>
                    <a:pt x="40" y="39"/>
                  </a:cubicBezTo>
                  <a:cubicBezTo>
                    <a:pt x="43" y="38"/>
                    <a:pt x="43" y="38"/>
                    <a:pt x="43" y="38"/>
                  </a:cubicBezTo>
                  <a:cubicBezTo>
                    <a:pt x="43" y="38"/>
                    <a:pt x="43" y="38"/>
                    <a:pt x="43" y="37"/>
                  </a:cubicBezTo>
                  <a:close/>
                  <a:moveTo>
                    <a:pt x="36" y="38"/>
                  </a:moveTo>
                  <a:cubicBezTo>
                    <a:pt x="36" y="40"/>
                    <a:pt x="36" y="41"/>
                    <a:pt x="35" y="41"/>
                  </a:cubicBezTo>
                  <a:cubicBezTo>
                    <a:pt x="34" y="42"/>
                    <a:pt x="33" y="43"/>
                    <a:pt x="32" y="43"/>
                  </a:cubicBezTo>
                  <a:cubicBezTo>
                    <a:pt x="31" y="43"/>
                    <a:pt x="30" y="42"/>
                    <a:pt x="29" y="41"/>
                  </a:cubicBezTo>
                  <a:cubicBezTo>
                    <a:pt x="28" y="41"/>
                    <a:pt x="28" y="40"/>
                    <a:pt x="28" y="38"/>
                  </a:cubicBezTo>
                  <a:cubicBezTo>
                    <a:pt x="28" y="37"/>
                    <a:pt x="28" y="36"/>
                    <a:pt x="29" y="35"/>
                  </a:cubicBezTo>
                  <a:cubicBezTo>
                    <a:pt x="30" y="35"/>
                    <a:pt x="31" y="34"/>
                    <a:pt x="32" y="34"/>
                  </a:cubicBezTo>
                  <a:cubicBezTo>
                    <a:pt x="33" y="34"/>
                    <a:pt x="34" y="35"/>
                    <a:pt x="35" y="35"/>
                  </a:cubicBezTo>
                  <a:cubicBezTo>
                    <a:pt x="36" y="36"/>
                    <a:pt x="36" y="37"/>
                    <a:pt x="36" y="38"/>
                  </a:cubicBezTo>
                  <a:close/>
                  <a:moveTo>
                    <a:pt x="30" y="38"/>
                  </a:moveTo>
                  <a:cubicBezTo>
                    <a:pt x="30" y="37"/>
                    <a:pt x="31" y="36"/>
                    <a:pt x="32" y="36"/>
                  </a:cubicBezTo>
                  <a:cubicBezTo>
                    <a:pt x="33" y="36"/>
                    <a:pt x="34" y="37"/>
                    <a:pt x="34" y="38"/>
                  </a:cubicBezTo>
                  <a:cubicBezTo>
                    <a:pt x="34" y="39"/>
                    <a:pt x="33" y="40"/>
                    <a:pt x="32" y="40"/>
                  </a:cubicBezTo>
                  <a:cubicBezTo>
                    <a:pt x="31" y="40"/>
                    <a:pt x="30" y="39"/>
                    <a:pt x="30" y="38"/>
                  </a:cubicBezTo>
                  <a:close/>
                  <a:moveTo>
                    <a:pt x="50" y="31"/>
                  </a:moveTo>
                  <a:cubicBezTo>
                    <a:pt x="50" y="31"/>
                    <a:pt x="50" y="31"/>
                    <a:pt x="50" y="31"/>
                  </a:cubicBezTo>
                  <a:cubicBezTo>
                    <a:pt x="50" y="30"/>
                    <a:pt x="50" y="30"/>
                    <a:pt x="50" y="30"/>
                  </a:cubicBezTo>
                  <a:cubicBezTo>
                    <a:pt x="51" y="29"/>
                    <a:pt x="51" y="29"/>
                    <a:pt x="51" y="29"/>
                  </a:cubicBezTo>
                  <a:cubicBezTo>
                    <a:pt x="51" y="29"/>
                    <a:pt x="51" y="28"/>
                    <a:pt x="51" y="28"/>
                  </a:cubicBezTo>
                  <a:cubicBezTo>
                    <a:pt x="51" y="28"/>
                    <a:pt x="51" y="28"/>
                    <a:pt x="51" y="28"/>
                  </a:cubicBezTo>
                  <a:cubicBezTo>
                    <a:pt x="50" y="27"/>
                    <a:pt x="50" y="27"/>
                    <a:pt x="50" y="27"/>
                  </a:cubicBezTo>
                  <a:cubicBezTo>
                    <a:pt x="50" y="27"/>
                    <a:pt x="50" y="27"/>
                    <a:pt x="50" y="27"/>
                  </a:cubicBezTo>
                  <a:cubicBezTo>
                    <a:pt x="50" y="27"/>
                    <a:pt x="50" y="27"/>
                    <a:pt x="50" y="27"/>
                  </a:cubicBezTo>
                  <a:cubicBezTo>
                    <a:pt x="48" y="27"/>
                    <a:pt x="48" y="27"/>
                    <a:pt x="48" y="27"/>
                  </a:cubicBezTo>
                  <a:cubicBezTo>
                    <a:pt x="48" y="27"/>
                    <a:pt x="47" y="27"/>
                    <a:pt x="47" y="27"/>
                  </a:cubicBezTo>
                  <a:cubicBezTo>
                    <a:pt x="47" y="25"/>
                    <a:pt x="47" y="25"/>
                    <a:pt x="47" y="25"/>
                  </a:cubicBezTo>
                  <a:cubicBezTo>
                    <a:pt x="47" y="25"/>
                    <a:pt x="46" y="25"/>
                    <a:pt x="46" y="25"/>
                  </a:cubicBezTo>
                  <a:cubicBezTo>
                    <a:pt x="45" y="25"/>
                    <a:pt x="45" y="25"/>
                    <a:pt x="45" y="25"/>
                  </a:cubicBezTo>
                  <a:cubicBezTo>
                    <a:pt x="45" y="25"/>
                    <a:pt x="45" y="25"/>
                    <a:pt x="45" y="25"/>
                  </a:cubicBezTo>
                  <a:cubicBezTo>
                    <a:pt x="44" y="27"/>
                    <a:pt x="44" y="27"/>
                    <a:pt x="44" y="27"/>
                  </a:cubicBezTo>
                  <a:cubicBezTo>
                    <a:pt x="44" y="27"/>
                    <a:pt x="43" y="27"/>
                    <a:pt x="43" y="27"/>
                  </a:cubicBezTo>
                  <a:cubicBezTo>
                    <a:pt x="41" y="27"/>
                    <a:pt x="41" y="27"/>
                    <a:pt x="41" y="27"/>
                  </a:cubicBezTo>
                  <a:cubicBezTo>
                    <a:pt x="41" y="27"/>
                    <a:pt x="41" y="27"/>
                    <a:pt x="41" y="27"/>
                  </a:cubicBezTo>
                  <a:cubicBezTo>
                    <a:pt x="41" y="27"/>
                    <a:pt x="41" y="27"/>
                    <a:pt x="41" y="27"/>
                  </a:cubicBezTo>
                  <a:cubicBezTo>
                    <a:pt x="40" y="28"/>
                    <a:pt x="40" y="28"/>
                    <a:pt x="40" y="28"/>
                  </a:cubicBezTo>
                  <a:cubicBezTo>
                    <a:pt x="40" y="28"/>
                    <a:pt x="40" y="28"/>
                    <a:pt x="40" y="28"/>
                  </a:cubicBezTo>
                  <a:cubicBezTo>
                    <a:pt x="40" y="28"/>
                    <a:pt x="40" y="29"/>
                    <a:pt x="40" y="29"/>
                  </a:cubicBezTo>
                  <a:cubicBezTo>
                    <a:pt x="42" y="30"/>
                    <a:pt x="42" y="30"/>
                    <a:pt x="42" y="30"/>
                  </a:cubicBezTo>
                  <a:cubicBezTo>
                    <a:pt x="41" y="30"/>
                    <a:pt x="41" y="30"/>
                    <a:pt x="41" y="31"/>
                  </a:cubicBezTo>
                  <a:cubicBezTo>
                    <a:pt x="41" y="31"/>
                    <a:pt x="41" y="31"/>
                    <a:pt x="42" y="31"/>
                  </a:cubicBezTo>
                  <a:cubicBezTo>
                    <a:pt x="40" y="32"/>
                    <a:pt x="40" y="32"/>
                    <a:pt x="40" y="32"/>
                  </a:cubicBezTo>
                  <a:cubicBezTo>
                    <a:pt x="40" y="33"/>
                    <a:pt x="40" y="33"/>
                    <a:pt x="40" y="33"/>
                  </a:cubicBezTo>
                  <a:cubicBezTo>
                    <a:pt x="40" y="33"/>
                    <a:pt x="40" y="33"/>
                    <a:pt x="40" y="33"/>
                  </a:cubicBezTo>
                  <a:cubicBezTo>
                    <a:pt x="41" y="34"/>
                    <a:pt x="41" y="34"/>
                    <a:pt x="41" y="34"/>
                  </a:cubicBezTo>
                  <a:cubicBezTo>
                    <a:pt x="41" y="34"/>
                    <a:pt x="41" y="34"/>
                    <a:pt x="41" y="34"/>
                  </a:cubicBezTo>
                  <a:cubicBezTo>
                    <a:pt x="41" y="34"/>
                    <a:pt x="41" y="34"/>
                    <a:pt x="41" y="34"/>
                  </a:cubicBezTo>
                  <a:cubicBezTo>
                    <a:pt x="43" y="34"/>
                    <a:pt x="43" y="34"/>
                    <a:pt x="43" y="34"/>
                  </a:cubicBezTo>
                  <a:cubicBezTo>
                    <a:pt x="43" y="34"/>
                    <a:pt x="44" y="34"/>
                    <a:pt x="44" y="35"/>
                  </a:cubicBezTo>
                  <a:cubicBezTo>
                    <a:pt x="45" y="36"/>
                    <a:pt x="45" y="36"/>
                    <a:pt x="45" y="36"/>
                  </a:cubicBezTo>
                  <a:cubicBezTo>
                    <a:pt x="45" y="36"/>
                    <a:pt x="45" y="37"/>
                    <a:pt x="45" y="37"/>
                  </a:cubicBezTo>
                  <a:cubicBezTo>
                    <a:pt x="46" y="37"/>
                    <a:pt x="46" y="37"/>
                    <a:pt x="46" y="37"/>
                  </a:cubicBezTo>
                  <a:cubicBezTo>
                    <a:pt x="46" y="37"/>
                    <a:pt x="47" y="36"/>
                    <a:pt x="47" y="36"/>
                  </a:cubicBezTo>
                  <a:cubicBezTo>
                    <a:pt x="47" y="35"/>
                    <a:pt x="47" y="35"/>
                    <a:pt x="47" y="35"/>
                  </a:cubicBezTo>
                  <a:cubicBezTo>
                    <a:pt x="47" y="34"/>
                    <a:pt x="48" y="34"/>
                    <a:pt x="48" y="34"/>
                  </a:cubicBezTo>
                  <a:cubicBezTo>
                    <a:pt x="50" y="34"/>
                    <a:pt x="50" y="34"/>
                    <a:pt x="50" y="34"/>
                  </a:cubicBezTo>
                  <a:cubicBezTo>
                    <a:pt x="50" y="34"/>
                    <a:pt x="50" y="34"/>
                    <a:pt x="50" y="34"/>
                  </a:cubicBezTo>
                  <a:cubicBezTo>
                    <a:pt x="50" y="34"/>
                    <a:pt x="50" y="34"/>
                    <a:pt x="50" y="34"/>
                  </a:cubicBezTo>
                  <a:cubicBezTo>
                    <a:pt x="51" y="33"/>
                    <a:pt x="51" y="33"/>
                    <a:pt x="51" y="33"/>
                  </a:cubicBezTo>
                  <a:cubicBezTo>
                    <a:pt x="51" y="33"/>
                    <a:pt x="51" y="33"/>
                    <a:pt x="51" y="33"/>
                  </a:cubicBezTo>
                  <a:cubicBezTo>
                    <a:pt x="51" y="33"/>
                    <a:pt x="51" y="33"/>
                    <a:pt x="51" y="32"/>
                  </a:cubicBezTo>
                  <a:cubicBezTo>
                    <a:pt x="50" y="31"/>
                    <a:pt x="50" y="31"/>
                    <a:pt x="50" y="31"/>
                  </a:cubicBezTo>
                  <a:cubicBezTo>
                    <a:pt x="50" y="31"/>
                    <a:pt x="50" y="31"/>
                    <a:pt x="50" y="31"/>
                  </a:cubicBezTo>
                  <a:close/>
                  <a:moveTo>
                    <a:pt x="47" y="31"/>
                  </a:moveTo>
                  <a:cubicBezTo>
                    <a:pt x="47" y="31"/>
                    <a:pt x="46" y="32"/>
                    <a:pt x="46" y="32"/>
                  </a:cubicBezTo>
                  <a:cubicBezTo>
                    <a:pt x="45" y="32"/>
                    <a:pt x="44" y="31"/>
                    <a:pt x="44" y="31"/>
                  </a:cubicBezTo>
                  <a:cubicBezTo>
                    <a:pt x="44" y="30"/>
                    <a:pt x="45" y="29"/>
                    <a:pt x="46" y="29"/>
                  </a:cubicBezTo>
                  <a:cubicBezTo>
                    <a:pt x="46" y="29"/>
                    <a:pt x="47" y="30"/>
                    <a:pt x="47" y="31"/>
                  </a:cubicBez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843668873"/>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cale, performance,</a:t>
            </a:r>
            <a:br>
              <a:rPr lang="en-US" dirty="0"/>
            </a:br>
            <a:r>
              <a:rPr lang="en-US" dirty="0"/>
              <a:t>reliability </a:t>
            </a:r>
          </a:p>
        </p:txBody>
      </p:sp>
      <p:grpSp>
        <p:nvGrpSpPr>
          <p:cNvPr id="217" name="Group 216"/>
          <p:cNvGrpSpPr/>
          <p:nvPr/>
        </p:nvGrpSpPr>
        <p:grpSpPr>
          <a:xfrm>
            <a:off x="8445500" y="2391974"/>
            <a:ext cx="3311525" cy="4466026"/>
            <a:chOff x="8445500" y="2391974"/>
            <a:chExt cx="3311525" cy="4466026"/>
          </a:xfrm>
        </p:grpSpPr>
        <p:sp>
          <p:nvSpPr>
            <p:cNvPr id="109" name="Rectangle 108"/>
            <p:cNvSpPr/>
            <p:nvPr/>
          </p:nvSpPr>
          <p:spPr>
            <a:xfrm>
              <a:off x="9263607" y="3320872"/>
              <a:ext cx="2142365" cy="1443376"/>
            </a:xfrm>
            <a:prstGeom prst="rect">
              <a:avLst/>
            </a:prstGeom>
            <a:solidFill>
              <a:srgbClr val="FFFFFF"/>
            </a:solidFill>
            <a:ln w="57150" cap="flat" cmpd="sng" algn="ctr">
              <a:solidFill>
                <a:srgbClr val="002050"/>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a typeface="+mn-ea"/>
                <a:cs typeface="+mn-cs"/>
              </a:endParaRPr>
            </a:p>
          </p:txBody>
        </p:sp>
        <p:grpSp>
          <p:nvGrpSpPr>
            <p:cNvPr id="110" name="Group 109"/>
            <p:cNvGrpSpPr/>
            <p:nvPr/>
          </p:nvGrpSpPr>
          <p:grpSpPr>
            <a:xfrm rot="20371446">
              <a:off x="10139288" y="3045820"/>
              <a:ext cx="718898" cy="464043"/>
              <a:chOff x="4775201" y="792163"/>
              <a:chExt cx="2024063" cy="1306513"/>
            </a:xfrm>
          </p:grpSpPr>
          <p:sp>
            <p:nvSpPr>
              <p:cNvPr id="111" name="Freeform 30"/>
              <p:cNvSpPr>
                <a:spLocks/>
              </p:cNvSpPr>
              <p:nvPr/>
            </p:nvSpPr>
            <p:spPr bwMode="auto">
              <a:xfrm>
                <a:off x="4775201" y="792163"/>
                <a:ext cx="2024063" cy="1306513"/>
              </a:xfrm>
              <a:custGeom>
                <a:avLst/>
                <a:gdLst>
                  <a:gd name="T0" fmla="*/ 431 w 431"/>
                  <a:gd name="T1" fmla="*/ 249 h 277"/>
                  <a:gd name="T2" fmla="*/ 402 w 431"/>
                  <a:gd name="T3" fmla="*/ 277 h 277"/>
                  <a:gd name="T4" fmla="*/ 28 w 431"/>
                  <a:gd name="T5" fmla="*/ 277 h 277"/>
                  <a:gd name="T6" fmla="*/ 0 w 431"/>
                  <a:gd name="T7" fmla="*/ 249 h 277"/>
                  <a:gd name="T8" fmla="*/ 0 w 431"/>
                  <a:gd name="T9" fmla="*/ 29 h 277"/>
                  <a:gd name="T10" fmla="*/ 28 w 431"/>
                  <a:gd name="T11" fmla="*/ 0 h 277"/>
                  <a:gd name="T12" fmla="*/ 402 w 431"/>
                  <a:gd name="T13" fmla="*/ 0 h 277"/>
                  <a:gd name="T14" fmla="*/ 431 w 431"/>
                  <a:gd name="T15" fmla="*/ 29 h 277"/>
                  <a:gd name="T16" fmla="*/ 431 w 431"/>
                  <a:gd name="T17" fmla="*/ 249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31" h="277">
                    <a:moveTo>
                      <a:pt x="431" y="249"/>
                    </a:moveTo>
                    <a:cubicBezTo>
                      <a:pt x="431" y="264"/>
                      <a:pt x="418" y="277"/>
                      <a:pt x="402" y="277"/>
                    </a:cubicBezTo>
                    <a:cubicBezTo>
                      <a:pt x="28" y="277"/>
                      <a:pt x="28" y="277"/>
                      <a:pt x="28" y="277"/>
                    </a:cubicBezTo>
                    <a:cubicBezTo>
                      <a:pt x="13" y="277"/>
                      <a:pt x="0" y="264"/>
                      <a:pt x="0" y="249"/>
                    </a:cubicBezTo>
                    <a:cubicBezTo>
                      <a:pt x="0" y="29"/>
                      <a:pt x="0" y="29"/>
                      <a:pt x="0" y="29"/>
                    </a:cubicBezTo>
                    <a:cubicBezTo>
                      <a:pt x="0" y="13"/>
                      <a:pt x="13" y="0"/>
                      <a:pt x="28" y="0"/>
                    </a:cubicBezTo>
                    <a:cubicBezTo>
                      <a:pt x="402" y="0"/>
                      <a:pt x="402" y="0"/>
                      <a:pt x="402" y="0"/>
                    </a:cubicBezTo>
                    <a:cubicBezTo>
                      <a:pt x="418" y="0"/>
                      <a:pt x="431" y="13"/>
                      <a:pt x="431" y="29"/>
                    </a:cubicBezTo>
                    <a:lnTo>
                      <a:pt x="431" y="24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09325"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rgbClr val="FFFFFF"/>
                  </a:solidFill>
                  <a:effectLst/>
                  <a:uLnTx/>
                  <a:uFillTx/>
                </a:endParaRPr>
              </a:p>
            </p:txBody>
          </p:sp>
          <p:sp>
            <p:nvSpPr>
              <p:cNvPr id="112" name="Rectangle 31"/>
              <p:cNvSpPr>
                <a:spLocks noChangeArrowheads="1"/>
              </p:cNvSpPr>
              <p:nvPr/>
            </p:nvSpPr>
            <p:spPr bwMode="auto">
              <a:xfrm>
                <a:off x="4916488" y="942975"/>
                <a:ext cx="1736725" cy="10048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609325"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rgbClr val="FFFFFF"/>
                  </a:solidFill>
                  <a:effectLst/>
                  <a:uLnTx/>
                  <a:uFillTx/>
                </a:endParaRPr>
              </a:p>
            </p:txBody>
          </p:sp>
          <p:sp>
            <p:nvSpPr>
              <p:cNvPr id="113" name="Freeform 32"/>
              <p:cNvSpPr>
                <a:spLocks/>
              </p:cNvSpPr>
              <p:nvPr/>
            </p:nvSpPr>
            <p:spPr bwMode="auto">
              <a:xfrm>
                <a:off x="5029201" y="1268413"/>
                <a:ext cx="661988" cy="514350"/>
              </a:xfrm>
              <a:custGeom>
                <a:avLst/>
                <a:gdLst>
                  <a:gd name="T0" fmla="*/ 11 w 141"/>
                  <a:gd name="T1" fmla="*/ 0 h 109"/>
                  <a:gd name="T2" fmla="*/ 0 w 141"/>
                  <a:gd name="T3" fmla="*/ 38 h 109"/>
                  <a:gd name="T4" fmla="*/ 70 w 141"/>
                  <a:gd name="T5" fmla="*/ 109 h 109"/>
                  <a:gd name="T6" fmla="*/ 141 w 141"/>
                  <a:gd name="T7" fmla="*/ 38 h 109"/>
                  <a:gd name="T8" fmla="*/ 70 w 141"/>
                  <a:gd name="T9" fmla="*/ 38 h 109"/>
                  <a:gd name="T10" fmla="*/ 11 w 141"/>
                  <a:gd name="T11" fmla="*/ 0 h 109"/>
                </a:gdLst>
                <a:ahLst/>
                <a:cxnLst>
                  <a:cxn ang="0">
                    <a:pos x="T0" y="T1"/>
                  </a:cxn>
                  <a:cxn ang="0">
                    <a:pos x="T2" y="T3"/>
                  </a:cxn>
                  <a:cxn ang="0">
                    <a:pos x="T4" y="T5"/>
                  </a:cxn>
                  <a:cxn ang="0">
                    <a:pos x="T6" y="T7"/>
                  </a:cxn>
                  <a:cxn ang="0">
                    <a:pos x="T8" y="T9"/>
                  </a:cxn>
                  <a:cxn ang="0">
                    <a:pos x="T10" y="T11"/>
                  </a:cxn>
                </a:cxnLst>
                <a:rect l="0" t="0" r="r" b="b"/>
                <a:pathLst>
                  <a:path w="141" h="109">
                    <a:moveTo>
                      <a:pt x="11" y="0"/>
                    </a:moveTo>
                    <a:cubicBezTo>
                      <a:pt x="4" y="11"/>
                      <a:pt x="0" y="24"/>
                      <a:pt x="0" y="38"/>
                    </a:cubicBezTo>
                    <a:cubicBezTo>
                      <a:pt x="0" y="77"/>
                      <a:pt x="31" y="109"/>
                      <a:pt x="70" y="109"/>
                    </a:cubicBezTo>
                    <a:cubicBezTo>
                      <a:pt x="110" y="109"/>
                      <a:pt x="141" y="77"/>
                      <a:pt x="141" y="38"/>
                    </a:cubicBezTo>
                    <a:cubicBezTo>
                      <a:pt x="70" y="38"/>
                      <a:pt x="70" y="38"/>
                      <a:pt x="70" y="38"/>
                    </a:cubicBezTo>
                    <a:lnTo>
                      <a:pt x="11" y="0"/>
                    </a:lnTo>
                    <a:close/>
                  </a:path>
                </a:pathLst>
              </a:custGeom>
              <a:solidFill>
                <a:srgbClr val="0E71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09325"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rgbClr val="FFFFFF"/>
                  </a:solidFill>
                  <a:effectLst/>
                  <a:uLnTx/>
                  <a:uFillTx/>
                </a:endParaRPr>
              </a:p>
            </p:txBody>
          </p:sp>
          <p:sp>
            <p:nvSpPr>
              <p:cNvPr id="114" name="Freeform 33"/>
              <p:cNvSpPr>
                <a:spLocks/>
              </p:cNvSpPr>
              <p:nvPr/>
            </p:nvSpPr>
            <p:spPr bwMode="auto">
              <a:xfrm>
                <a:off x="5357813" y="1112838"/>
                <a:ext cx="333375" cy="334963"/>
              </a:xfrm>
              <a:custGeom>
                <a:avLst/>
                <a:gdLst>
                  <a:gd name="T0" fmla="*/ 0 w 71"/>
                  <a:gd name="T1" fmla="*/ 0 h 71"/>
                  <a:gd name="T2" fmla="*/ 0 w 71"/>
                  <a:gd name="T3" fmla="*/ 71 h 71"/>
                  <a:gd name="T4" fmla="*/ 71 w 71"/>
                  <a:gd name="T5" fmla="*/ 71 h 71"/>
                  <a:gd name="T6" fmla="*/ 0 w 71"/>
                  <a:gd name="T7" fmla="*/ 0 h 71"/>
                </a:gdLst>
                <a:ahLst/>
                <a:cxnLst>
                  <a:cxn ang="0">
                    <a:pos x="T0" y="T1"/>
                  </a:cxn>
                  <a:cxn ang="0">
                    <a:pos x="T2" y="T3"/>
                  </a:cxn>
                  <a:cxn ang="0">
                    <a:pos x="T4" y="T5"/>
                  </a:cxn>
                  <a:cxn ang="0">
                    <a:pos x="T6" y="T7"/>
                  </a:cxn>
                </a:cxnLst>
                <a:rect l="0" t="0" r="r" b="b"/>
                <a:pathLst>
                  <a:path w="71" h="71">
                    <a:moveTo>
                      <a:pt x="0" y="0"/>
                    </a:moveTo>
                    <a:cubicBezTo>
                      <a:pt x="0" y="71"/>
                      <a:pt x="0" y="71"/>
                      <a:pt x="0" y="71"/>
                    </a:cubicBezTo>
                    <a:cubicBezTo>
                      <a:pt x="71" y="71"/>
                      <a:pt x="71" y="71"/>
                      <a:pt x="71" y="71"/>
                    </a:cubicBezTo>
                    <a:cubicBezTo>
                      <a:pt x="71" y="32"/>
                      <a:pt x="40" y="0"/>
                      <a:pt x="0" y="0"/>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09325"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rgbClr val="FFFFFF"/>
                  </a:solidFill>
                  <a:effectLst/>
                  <a:uLnTx/>
                  <a:uFillTx/>
                </a:endParaRPr>
              </a:p>
            </p:txBody>
          </p:sp>
          <p:sp>
            <p:nvSpPr>
              <p:cNvPr id="115" name="Freeform 34"/>
              <p:cNvSpPr>
                <a:spLocks/>
              </p:cNvSpPr>
              <p:nvPr/>
            </p:nvSpPr>
            <p:spPr bwMode="auto">
              <a:xfrm>
                <a:off x="5122863" y="1112838"/>
                <a:ext cx="234950" cy="334963"/>
              </a:xfrm>
              <a:custGeom>
                <a:avLst/>
                <a:gdLst>
                  <a:gd name="T0" fmla="*/ 50 w 50"/>
                  <a:gd name="T1" fmla="*/ 71 h 71"/>
                  <a:gd name="T2" fmla="*/ 50 w 50"/>
                  <a:gd name="T3" fmla="*/ 0 h 71"/>
                  <a:gd name="T4" fmla="*/ 0 w 50"/>
                  <a:gd name="T5" fmla="*/ 21 h 71"/>
                  <a:gd name="T6" fmla="*/ 50 w 50"/>
                  <a:gd name="T7" fmla="*/ 71 h 71"/>
                </a:gdLst>
                <a:ahLst/>
                <a:cxnLst>
                  <a:cxn ang="0">
                    <a:pos x="T0" y="T1"/>
                  </a:cxn>
                  <a:cxn ang="0">
                    <a:pos x="T2" y="T3"/>
                  </a:cxn>
                  <a:cxn ang="0">
                    <a:pos x="T4" y="T5"/>
                  </a:cxn>
                  <a:cxn ang="0">
                    <a:pos x="T6" y="T7"/>
                  </a:cxn>
                </a:cxnLst>
                <a:rect l="0" t="0" r="r" b="b"/>
                <a:pathLst>
                  <a:path w="50" h="71">
                    <a:moveTo>
                      <a:pt x="50" y="71"/>
                    </a:moveTo>
                    <a:cubicBezTo>
                      <a:pt x="50" y="0"/>
                      <a:pt x="50" y="0"/>
                      <a:pt x="50" y="0"/>
                    </a:cubicBezTo>
                    <a:cubicBezTo>
                      <a:pt x="31" y="0"/>
                      <a:pt x="13" y="8"/>
                      <a:pt x="0" y="21"/>
                    </a:cubicBezTo>
                    <a:lnTo>
                      <a:pt x="50" y="71"/>
                    </a:lnTo>
                    <a:close/>
                  </a:path>
                </a:pathLst>
              </a:custGeom>
              <a:solidFill>
                <a:srgbClr val="DD5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09325"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rgbClr val="FFFFFF"/>
                  </a:solidFill>
                  <a:effectLst/>
                  <a:uLnTx/>
                  <a:uFillTx/>
                </a:endParaRPr>
              </a:p>
            </p:txBody>
          </p:sp>
          <p:sp>
            <p:nvSpPr>
              <p:cNvPr id="116" name="Rectangle 35"/>
              <p:cNvSpPr>
                <a:spLocks noChangeArrowheads="1"/>
              </p:cNvSpPr>
              <p:nvPr/>
            </p:nvSpPr>
            <p:spPr bwMode="auto">
              <a:xfrm>
                <a:off x="5868988" y="1570038"/>
                <a:ext cx="671513" cy="212725"/>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609325"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rgbClr val="FFFFFF"/>
                  </a:solidFill>
                  <a:effectLst/>
                  <a:uLnTx/>
                  <a:uFillTx/>
                </a:endParaRPr>
              </a:p>
            </p:txBody>
          </p:sp>
          <p:sp>
            <p:nvSpPr>
              <p:cNvPr id="117" name="Freeform 36"/>
              <p:cNvSpPr>
                <a:spLocks/>
              </p:cNvSpPr>
              <p:nvPr/>
            </p:nvSpPr>
            <p:spPr bwMode="auto">
              <a:xfrm>
                <a:off x="5837238" y="1612900"/>
                <a:ext cx="731838" cy="136525"/>
              </a:xfrm>
              <a:custGeom>
                <a:avLst/>
                <a:gdLst>
                  <a:gd name="T0" fmla="*/ 0 w 461"/>
                  <a:gd name="T1" fmla="*/ 86 h 86"/>
                  <a:gd name="T2" fmla="*/ 71 w 461"/>
                  <a:gd name="T3" fmla="*/ 39 h 86"/>
                  <a:gd name="T4" fmla="*/ 94 w 461"/>
                  <a:gd name="T5" fmla="*/ 71 h 86"/>
                  <a:gd name="T6" fmla="*/ 154 w 461"/>
                  <a:gd name="T7" fmla="*/ 39 h 86"/>
                  <a:gd name="T8" fmla="*/ 186 w 461"/>
                  <a:gd name="T9" fmla="*/ 71 h 86"/>
                  <a:gd name="T10" fmla="*/ 225 w 461"/>
                  <a:gd name="T11" fmla="*/ 33 h 86"/>
                  <a:gd name="T12" fmla="*/ 284 w 461"/>
                  <a:gd name="T13" fmla="*/ 0 h 86"/>
                  <a:gd name="T14" fmla="*/ 307 w 461"/>
                  <a:gd name="T15" fmla="*/ 24 h 86"/>
                  <a:gd name="T16" fmla="*/ 319 w 461"/>
                  <a:gd name="T17" fmla="*/ 42 h 86"/>
                  <a:gd name="T18" fmla="*/ 364 w 461"/>
                  <a:gd name="T19" fmla="*/ 21 h 86"/>
                  <a:gd name="T20" fmla="*/ 393 w 461"/>
                  <a:gd name="T21" fmla="*/ 53 h 86"/>
                  <a:gd name="T22" fmla="*/ 408 w 461"/>
                  <a:gd name="T23" fmla="*/ 39 h 86"/>
                  <a:gd name="T24" fmla="*/ 461 w 461"/>
                  <a:gd name="T25" fmla="*/ 71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1" h="86">
                    <a:moveTo>
                      <a:pt x="0" y="86"/>
                    </a:moveTo>
                    <a:lnTo>
                      <a:pt x="71" y="39"/>
                    </a:lnTo>
                    <a:lnTo>
                      <a:pt x="94" y="71"/>
                    </a:lnTo>
                    <a:lnTo>
                      <a:pt x="154" y="39"/>
                    </a:lnTo>
                    <a:lnTo>
                      <a:pt x="186" y="71"/>
                    </a:lnTo>
                    <a:lnTo>
                      <a:pt x="225" y="33"/>
                    </a:lnTo>
                    <a:lnTo>
                      <a:pt x="284" y="0"/>
                    </a:lnTo>
                    <a:lnTo>
                      <a:pt x="307" y="24"/>
                    </a:lnTo>
                    <a:lnTo>
                      <a:pt x="319" y="42"/>
                    </a:lnTo>
                    <a:lnTo>
                      <a:pt x="364" y="21"/>
                    </a:lnTo>
                    <a:lnTo>
                      <a:pt x="393" y="53"/>
                    </a:lnTo>
                    <a:lnTo>
                      <a:pt x="408" y="39"/>
                    </a:lnTo>
                    <a:lnTo>
                      <a:pt x="461" y="71"/>
                    </a:lnTo>
                  </a:path>
                </a:pathLst>
              </a:custGeom>
              <a:noFill/>
              <a:ln w="14288" cap="flat">
                <a:solidFill>
                  <a:srgbClr val="FFA83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609325"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rgbClr val="FFFFFF"/>
                  </a:solidFill>
                  <a:effectLst/>
                  <a:uLnTx/>
                  <a:uFillTx/>
                </a:endParaRPr>
              </a:p>
            </p:txBody>
          </p:sp>
          <p:sp>
            <p:nvSpPr>
              <p:cNvPr id="118" name="Rectangle 37"/>
              <p:cNvSpPr>
                <a:spLocks noChangeArrowheads="1"/>
              </p:cNvSpPr>
              <p:nvPr/>
            </p:nvSpPr>
            <p:spPr bwMode="auto">
              <a:xfrm>
                <a:off x="5868988" y="1169988"/>
                <a:ext cx="90488" cy="292100"/>
              </a:xfrm>
              <a:prstGeom prst="rect">
                <a:avLst/>
              </a:prstGeom>
              <a:solidFill>
                <a:srgbClr val="12903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609325"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rgbClr val="FFFFFF"/>
                  </a:solidFill>
                  <a:effectLst/>
                  <a:uLnTx/>
                  <a:uFillTx/>
                </a:endParaRPr>
              </a:p>
            </p:txBody>
          </p:sp>
          <p:sp>
            <p:nvSpPr>
              <p:cNvPr id="119" name="Rectangle 38"/>
              <p:cNvSpPr>
                <a:spLocks noChangeArrowheads="1"/>
              </p:cNvSpPr>
              <p:nvPr/>
            </p:nvSpPr>
            <p:spPr bwMode="auto">
              <a:xfrm>
                <a:off x="6015038" y="1277938"/>
                <a:ext cx="88900" cy="184150"/>
              </a:xfrm>
              <a:prstGeom prst="rect">
                <a:avLst/>
              </a:prstGeom>
              <a:solidFill>
                <a:srgbClr val="DD5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609325"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rgbClr val="FFFFFF"/>
                  </a:solidFill>
                  <a:effectLst/>
                  <a:uLnTx/>
                  <a:uFillTx/>
                </a:endParaRPr>
              </a:p>
            </p:txBody>
          </p:sp>
          <p:sp>
            <p:nvSpPr>
              <p:cNvPr id="120" name="Rectangle 39"/>
              <p:cNvSpPr>
                <a:spLocks noChangeArrowheads="1"/>
              </p:cNvSpPr>
              <p:nvPr/>
            </p:nvSpPr>
            <p:spPr bwMode="auto">
              <a:xfrm>
                <a:off x="6161088" y="1385888"/>
                <a:ext cx="88900" cy="7620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609325"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rgbClr val="FFFFFF"/>
                  </a:solidFill>
                  <a:effectLst/>
                  <a:uLnTx/>
                  <a:uFillTx/>
                </a:endParaRPr>
              </a:p>
            </p:txBody>
          </p:sp>
          <p:sp>
            <p:nvSpPr>
              <p:cNvPr id="121" name="Rectangle 40"/>
              <p:cNvSpPr>
                <a:spLocks noChangeArrowheads="1"/>
              </p:cNvSpPr>
              <p:nvPr/>
            </p:nvSpPr>
            <p:spPr bwMode="auto">
              <a:xfrm>
                <a:off x="6307138" y="1244600"/>
                <a:ext cx="88900" cy="217488"/>
              </a:xfrm>
              <a:prstGeom prst="rect">
                <a:avLst/>
              </a:prstGeom>
              <a:solidFill>
                <a:srgbClr val="DD5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609325"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rgbClr val="FFFFFF"/>
                  </a:solidFill>
                  <a:effectLst/>
                  <a:uLnTx/>
                  <a:uFillTx/>
                </a:endParaRPr>
              </a:p>
            </p:txBody>
          </p:sp>
          <p:sp>
            <p:nvSpPr>
              <p:cNvPr id="122" name="Rectangle 41"/>
              <p:cNvSpPr>
                <a:spLocks noChangeArrowheads="1"/>
              </p:cNvSpPr>
              <p:nvPr/>
            </p:nvSpPr>
            <p:spPr bwMode="auto">
              <a:xfrm>
                <a:off x="6451601" y="1112838"/>
                <a:ext cx="88900" cy="349250"/>
              </a:xfrm>
              <a:prstGeom prst="rect">
                <a:avLst/>
              </a:prstGeom>
              <a:solidFill>
                <a:srgbClr val="000000">
                  <a:lumMod val="65000"/>
                  <a:lumOff val="3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609325"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rgbClr val="FFFFFF"/>
                  </a:solidFill>
                  <a:effectLst/>
                  <a:uLnTx/>
                  <a:uFillTx/>
                </a:endParaRPr>
              </a:p>
            </p:txBody>
          </p:sp>
        </p:grpSp>
        <p:grpSp>
          <p:nvGrpSpPr>
            <p:cNvPr id="123" name="Group 122"/>
            <p:cNvGrpSpPr/>
            <p:nvPr/>
          </p:nvGrpSpPr>
          <p:grpSpPr>
            <a:xfrm>
              <a:off x="9023159" y="2992953"/>
              <a:ext cx="822171" cy="822171"/>
              <a:chOff x="5413784" y="5749282"/>
              <a:chExt cx="652035" cy="652035"/>
            </a:xfrm>
          </p:grpSpPr>
          <p:sp>
            <p:nvSpPr>
              <p:cNvPr id="124" name="Oval 123"/>
              <p:cNvSpPr/>
              <p:nvPr/>
            </p:nvSpPr>
            <p:spPr bwMode="auto">
              <a:xfrm rot="662724">
                <a:off x="5413784" y="5749282"/>
                <a:ext cx="652035" cy="652035"/>
              </a:xfrm>
              <a:prstGeom prst="ellipse">
                <a:avLst/>
              </a:prstGeom>
              <a:solidFill>
                <a:srgbClr val="5C2D91"/>
              </a:solidFill>
              <a:ln w="47625" cap="flat" cmpd="sng" algn="ctr">
                <a:solidFill>
                  <a:srgbClr val="000000">
                    <a:lumMod val="20000"/>
                    <a:lumOff val="80000"/>
                  </a:srgbClr>
                </a:solid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5417">
                        <a:srgbClr val="000000"/>
                      </a:gs>
                      <a:gs pos="100000">
                        <a:srgbClr val="000000"/>
                      </a:gs>
                    </a:gsLst>
                    <a:lin ang="5400000" scaled="0"/>
                  </a:gradFill>
                  <a:effectLst/>
                  <a:uLnTx/>
                  <a:uFillTx/>
                  <a:latin typeface="Segoe UI"/>
                  <a:ea typeface="+mn-ea"/>
                  <a:cs typeface="+mn-cs"/>
                </a:endParaRPr>
              </a:p>
            </p:txBody>
          </p:sp>
          <p:sp>
            <p:nvSpPr>
              <p:cNvPr id="125" name="Freeform 124"/>
              <p:cNvSpPr/>
              <p:nvPr/>
            </p:nvSpPr>
            <p:spPr bwMode="auto">
              <a:xfrm>
                <a:off x="5518543" y="5898198"/>
                <a:ext cx="423868" cy="380636"/>
              </a:xfrm>
              <a:custGeom>
                <a:avLst/>
                <a:gdLst/>
                <a:ahLst/>
                <a:cxnLst/>
                <a:rect l="l" t="t" r="r" b="b"/>
                <a:pathLst>
                  <a:path w="3944686" h="3542339">
                    <a:moveTo>
                      <a:pt x="2192297" y="2335887"/>
                    </a:moveTo>
                    <a:cubicBezTo>
                      <a:pt x="2222820" y="2335887"/>
                      <a:pt x="2253343" y="2347531"/>
                      <a:pt x="2276631" y="2370819"/>
                    </a:cubicBezTo>
                    <a:lnTo>
                      <a:pt x="2292434" y="2386622"/>
                    </a:lnTo>
                    <a:cubicBezTo>
                      <a:pt x="2335532" y="2429720"/>
                      <a:pt x="2338751" y="2497598"/>
                      <a:pt x="2300496" y="2543150"/>
                    </a:cubicBezTo>
                    <a:cubicBezTo>
                      <a:pt x="2320893" y="2524465"/>
                      <a:pt x="2347082" y="2515893"/>
                      <a:pt x="2373272" y="2515893"/>
                    </a:cubicBezTo>
                    <a:cubicBezTo>
                      <a:pt x="2403795" y="2515893"/>
                      <a:pt x="2434317" y="2527537"/>
                      <a:pt x="2457606" y="2550825"/>
                    </a:cubicBezTo>
                    <a:lnTo>
                      <a:pt x="2473408" y="2566628"/>
                    </a:lnTo>
                    <a:cubicBezTo>
                      <a:pt x="2513642" y="2606861"/>
                      <a:pt x="2519121" y="2668690"/>
                      <a:pt x="2487855" y="2713541"/>
                    </a:cubicBezTo>
                    <a:cubicBezTo>
                      <a:pt x="2506319" y="2698588"/>
                      <a:pt x="2529091" y="2692106"/>
                      <a:pt x="2551864" y="2692106"/>
                    </a:cubicBezTo>
                    <a:cubicBezTo>
                      <a:pt x="2582388" y="2692105"/>
                      <a:pt x="2612911" y="2703750"/>
                      <a:pt x="2636199" y="2727038"/>
                    </a:cubicBezTo>
                    <a:lnTo>
                      <a:pt x="2652002" y="2742841"/>
                    </a:lnTo>
                    <a:cubicBezTo>
                      <a:pt x="2695158" y="2785997"/>
                      <a:pt x="2698327" y="2853999"/>
                      <a:pt x="2659933" y="2899565"/>
                    </a:cubicBezTo>
                    <a:cubicBezTo>
                      <a:pt x="2705363" y="2862497"/>
                      <a:pt x="2772186" y="2866128"/>
                      <a:pt x="2814793" y="2908735"/>
                    </a:cubicBezTo>
                    <a:lnTo>
                      <a:pt x="2830596" y="2924538"/>
                    </a:lnTo>
                    <a:cubicBezTo>
                      <a:pt x="2877172" y="2971114"/>
                      <a:pt x="2877172" y="3046630"/>
                      <a:pt x="2830596" y="3093207"/>
                    </a:cubicBezTo>
                    <a:lnTo>
                      <a:pt x="2578619" y="3345183"/>
                    </a:lnTo>
                    <a:cubicBezTo>
                      <a:pt x="2532042" y="3391760"/>
                      <a:pt x="2456526" y="3391760"/>
                      <a:pt x="2409950" y="3345183"/>
                    </a:cubicBezTo>
                    <a:lnTo>
                      <a:pt x="2394147" y="3329381"/>
                    </a:lnTo>
                    <a:cubicBezTo>
                      <a:pt x="2350991" y="3286224"/>
                      <a:pt x="2347822" y="3218222"/>
                      <a:pt x="2386216" y="3172656"/>
                    </a:cubicBezTo>
                    <a:cubicBezTo>
                      <a:pt x="2340786" y="3209724"/>
                      <a:pt x="2273962" y="3206093"/>
                      <a:pt x="2231356" y="3163487"/>
                    </a:cubicBezTo>
                    <a:lnTo>
                      <a:pt x="2215553" y="3147684"/>
                    </a:lnTo>
                    <a:cubicBezTo>
                      <a:pt x="2175319" y="3107450"/>
                      <a:pt x="2169841" y="3045621"/>
                      <a:pt x="2201107" y="3000770"/>
                    </a:cubicBezTo>
                    <a:cubicBezTo>
                      <a:pt x="2156148" y="3033099"/>
                      <a:pt x="2093426" y="3027937"/>
                      <a:pt x="2052763" y="2987273"/>
                    </a:cubicBezTo>
                    <a:lnTo>
                      <a:pt x="2036960" y="2971471"/>
                    </a:lnTo>
                    <a:cubicBezTo>
                      <a:pt x="1993861" y="2928372"/>
                      <a:pt x="1990644" y="2860494"/>
                      <a:pt x="2028898" y="2814942"/>
                    </a:cubicBezTo>
                    <a:cubicBezTo>
                      <a:pt x="1983303" y="2853609"/>
                      <a:pt x="1915058" y="2850537"/>
                      <a:pt x="1871788" y="2807267"/>
                    </a:cubicBezTo>
                    <a:lnTo>
                      <a:pt x="1855985" y="2791465"/>
                    </a:lnTo>
                    <a:cubicBezTo>
                      <a:pt x="1809409" y="2744889"/>
                      <a:pt x="1809409" y="2669372"/>
                      <a:pt x="1855985" y="2622796"/>
                    </a:cubicBezTo>
                    <a:lnTo>
                      <a:pt x="2107962" y="2370819"/>
                    </a:lnTo>
                    <a:cubicBezTo>
                      <a:pt x="2131251" y="2347531"/>
                      <a:pt x="2161773" y="2335887"/>
                      <a:pt x="2192297" y="2335887"/>
                    </a:cubicBezTo>
                    <a:close/>
                    <a:moveTo>
                      <a:pt x="2691097" y="2200055"/>
                    </a:moveTo>
                    <a:lnTo>
                      <a:pt x="3472263" y="2977700"/>
                    </a:lnTo>
                    <a:cubicBezTo>
                      <a:pt x="3570347" y="3075342"/>
                      <a:pt x="3570705" y="3234008"/>
                      <a:pt x="3473064" y="3332091"/>
                    </a:cubicBezTo>
                    <a:lnTo>
                      <a:pt x="3337229" y="3468542"/>
                    </a:lnTo>
                    <a:cubicBezTo>
                      <a:pt x="3239588" y="3566624"/>
                      <a:pt x="3080921" y="3566984"/>
                      <a:pt x="2982839" y="3469342"/>
                    </a:cubicBezTo>
                    <a:lnTo>
                      <a:pt x="2817512" y="3304759"/>
                    </a:lnTo>
                    <a:lnTo>
                      <a:pt x="2962277" y="3146075"/>
                    </a:lnTo>
                    <a:cubicBezTo>
                      <a:pt x="3000906" y="3080723"/>
                      <a:pt x="3068110" y="2862970"/>
                      <a:pt x="2806702" y="2742850"/>
                    </a:cubicBezTo>
                    <a:cubicBezTo>
                      <a:pt x="2788975" y="2687023"/>
                      <a:pt x="2711717" y="2588332"/>
                      <a:pt x="2632077" y="2568225"/>
                    </a:cubicBezTo>
                    <a:cubicBezTo>
                      <a:pt x="2614878" y="2517689"/>
                      <a:pt x="2571486" y="2455248"/>
                      <a:pt x="2501902" y="2409475"/>
                    </a:cubicBezTo>
                    <a:cubicBezTo>
                      <a:pt x="2576176" y="2376963"/>
                      <a:pt x="2631305" y="2325306"/>
                      <a:pt x="2691097" y="2200055"/>
                    </a:cubicBezTo>
                    <a:close/>
                    <a:moveTo>
                      <a:pt x="3102770" y="1568894"/>
                    </a:moveTo>
                    <a:cubicBezTo>
                      <a:pt x="3144045" y="1569688"/>
                      <a:pt x="3175795" y="1589531"/>
                      <a:pt x="3212307" y="1628425"/>
                    </a:cubicBezTo>
                    <a:lnTo>
                      <a:pt x="3671888" y="2085625"/>
                    </a:lnTo>
                    <a:cubicBezTo>
                      <a:pt x="3725069" y="2130076"/>
                      <a:pt x="3706813" y="2205481"/>
                      <a:pt x="3681413" y="2240406"/>
                    </a:cubicBezTo>
                    <a:lnTo>
                      <a:pt x="3305176" y="2619025"/>
                    </a:lnTo>
                    <a:lnTo>
                      <a:pt x="2636045" y="1949894"/>
                    </a:lnTo>
                    <a:lnTo>
                      <a:pt x="2580156" y="2089614"/>
                    </a:lnTo>
                    <a:lnTo>
                      <a:pt x="2580331" y="2089788"/>
                    </a:lnTo>
                    <a:lnTo>
                      <a:pt x="2573515" y="2107172"/>
                    </a:lnTo>
                    <a:cubicBezTo>
                      <a:pt x="2564396" y="2153317"/>
                      <a:pt x="2550969" y="2186218"/>
                      <a:pt x="2533301" y="2209748"/>
                    </a:cubicBezTo>
                    <a:lnTo>
                      <a:pt x="2529684" y="2218975"/>
                    </a:lnTo>
                    <a:lnTo>
                      <a:pt x="2524242" y="2224111"/>
                    </a:lnTo>
                    <a:cubicBezTo>
                      <a:pt x="2500438" y="2257107"/>
                      <a:pt x="2471081" y="2273400"/>
                      <a:pt x="2443163" y="2290413"/>
                    </a:cubicBezTo>
                    <a:cubicBezTo>
                      <a:pt x="2282032" y="2346769"/>
                      <a:pt x="2244726" y="2234057"/>
                      <a:pt x="2245520" y="2159444"/>
                    </a:cubicBezTo>
                    <a:lnTo>
                      <a:pt x="2350183" y="1889991"/>
                    </a:lnTo>
                    <a:lnTo>
                      <a:pt x="2357973" y="1868434"/>
                    </a:lnTo>
                    <a:lnTo>
                      <a:pt x="2358432" y="1868891"/>
                    </a:lnTo>
                    <a:lnTo>
                      <a:pt x="2433638" y="1685575"/>
                    </a:lnTo>
                    <a:cubicBezTo>
                      <a:pt x="2459038" y="1641919"/>
                      <a:pt x="2493963" y="1610168"/>
                      <a:pt x="2552701" y="1583181"/>
                    </a:cubicBezTo>
                    <a:close/>
                    <a:moveTo>
                      <a:pt x="3366858" y="1340370"/>
                    </a:moveTo>
                    <a:cubicBezTo>
                      <a:pt x="3396373" y="1340115"/>
                      <a:pt x="3425985" y="1351120"/>
                      <a:pt x="3448699" y="1373445"/>
                    </a:cubicBezTo>
                    <a:lnTo>
                      <a:pt x="3910198" y="1827046"/>
                    </a:lnTo>
                    <a:cubicBezTo>
                      <a:pt x="3955627" y="1871696"/>
                      <a:pt x="3956257" y="1944719"/>
                      <a:pt x="3911606" y="1990146"/>
                    </a:cubicBezTo>
                    <a:lnTo>
                      <a:pt x="3870718" y="2031747"/>
                    </a:lnTo>
                    <a:cubicBezTo>
                      <a:pt x="3826068" y="2077175"/>
                      <a:pt x="3753045" y="2077805"/>
                      <a:pt x="3707618" y="2033155"/>
                    </a:cubicBezTo>
                    <a:lnTo>
                      <a:pt x="3246119" y="1579553"/>
                    </a:lnTo>
                    <a:cubicBezTo>
                      <a:pt x="3200691" y="1534903"/>
                      <a:pt x="3200060" y="1461881"/>
                      <a:pt x="3244711" y="1416454"/>
                    </a:cubicBezTo>
                    <a:lnTo>
                      <a:pt x="3285600" y="1374853"/>
                    </a:lnTo>
                    <a:cubicBezTo>
                      <a:pt x="3307925" y="1352139"/>
                      <a:pt x="3337343" y="1340624"/>
                      <a:pt x="3366858" y="1340370"/>
                    </a:cubicBezTo>
                    <a:close/>
                    <a:moveTo>
                      <a:pt x="704734" y="662655"/>
                    </a:moveTo>
                    <a:cubicBezTo>
                      <a:pt x="787264" y="660409"/>
                      <a:pt x="791171" y="737242"/>
                      <a:pt x="778669" y="783080"/>
                    </a:cubicBezTo>
                    <a:cubicBezTo>
                      <a:pt x="731838" y="864838"/>
                      <a:pt x="584995" y="1003743"/>
                      <a:pt x="702469" y="1328387"/>
                    </a:cubicBezTo>
                    <a:cubicBezTo>
                      <a:pt x="709612" y="1383157"/>
                      <a:pt x="666750" y="1442687"/>
                      <a:pt x="573881" y="1406969"/>
                    </a:cubicBezTo>
                    <a:cubicBezTo>
                      <a:pt x="389733" y="1094230"/>
                      <a:pt x="574676" y="767205"/>
                      <a:pt x="664370" y="668780"/>
                    </a:cubicBezTo>
                    <a:cubicBezTo>
                      <a:pt x="679550" y="664912"/>
                      <a:pt x="692945" y="662976"/>
                      <a:pt x="704734" y="662655"/>
                    </a:cubicBezTo>
                    <a:close/>
                    <a:moveTo>
                      <a:pt x="1117600" y="323849"/>
                    </a:moveTo>
                    <a:cubicBezTo>
                      <a:pt x="679225" y="323849"/>
                      <a:pt x="323850" y="679224"/>
                      <a:pt x="323850" y="1117599"/>
                    </a:cubicBezTo>
                    <a:cubicBezTo>
                      <a:pt x="323850" y="1555975"/>
                      <a:pt x="679225" y="1911350"/>
                      <a:pt x="1117601" y="1911350"/>
                    </a:cubicBezTo>
                    <a:cubicBezTo>
                      <a:pt x="1555976" y="1911350"/>
                      <a:pt x="1911350" y="1555975"/>
                      <a:pt x="1911351" y="1117599"/>
                    </a:cubicBezTo>
                    <a:cubicBezTo>
                      <a:pt x="1911350" y="679224"/>
                      <a:pt x="1555976" y="323849"/>
                      <a:pt x="1117600" y="323849"/>
                    </a:cubicBezTo>
                    <a:close/>
                    <a:moveTo>
                      <a:pt x="1117600" y="0"/>
                    </a:moveTo>
                    <a:cubicBezTo>
                      <a:pt x="1734834" y="0"/>
                      <a:pt x="2235200" y="500366"/>
                      <a:pt x="2235200" y="1117599"/>
                    </a:cubicBezTo>
                    <a:cubicBezTo>
                      <a:pt x="2235200" y="1301729"/>
                      <a:pt x="2190672" y="1475458"/>
                      <a:pt x="2110973" y="1628182"/>
                    </a:cubicBezTo>
                    <a:cubicBezTo>
                      <a:pt x="2122110" y="1635147"/>
                      <a:pt x="2132273" y="1643753"/>
                      <a:pt x="2141859" y="1653293"/>
                    </a:cubicBezTo>
                    <a:lnTo>
                      <a:pt x="2260556" y="1771456"/>
                    </a:lnTo>
                    <a:cubicBezTo>
                      <a:pt x="2194277" y="1936882"/>
                      <a:pt x="2092662" y="2130894"/>
                      <a:pt x="2120901" y="2218974"/>
                    </a:cubicBezTo>
                    <a:cubicBezTo>
                      <a:pt x="2022995" y="2244740"/>
                      <a:pt x="1962724" y="2320683"/>
                      <a:pt x="1893639" y="2385053"/>
                    </a:cubicBezTo>
                    <a:lnTo>
                      <a:pt x="1652433" y="2144936"/>
                    </a:lnTo>
                    <a:lnTo>
                      <a:pt x="1625589" y="2112222"/>
                    </a:lnTo>
                    <a:cubicBezTo>
                      <a:pt x="1473521" y="2191167"/>
                      <a:pt x="1300703" y="2235200"/>
                      <a:pt x="1117600" y="2235200"/>
                    </a:cubicBezTo>
                    <a:cubicBezTo>
                      <a:pt x="500367" y="2235200"/>
                      <a:pt x="0" y="1734833"/>
                      <a:pt x="0" y="1117599"/>
                    </a:cubicBezTo>
                    <a:cubicBezTo>
                      <a:pt x="0" y="500366"/>
                      <a:pt x="500368" y="-1"/>
                      <a:pt x="1117600" y="0"/>
                    </a:cubicBezTo>
                    <a:close/>
                  </a:path>
                </a:pathLst>
              </a:custGeom>
              <a:solidFill>
                <a:srgbClr val="FFFFFF"/>
              </a:solidFill>
              <a:ln w="9525" cap="flat" cmpd="sng" algn="ctr">
                <a:noFill/>
                <a:prstDash val="solid"/>
                <a:headEnd type="none" w="med" len="med"/>
                <a:tailEnd type="none" w="med" len="med"/>
              </a:ln>
              <a:effectLst/>
            </p:spPr>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923"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5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126" name="Group 139"/>
            <p:cNvGrpSpPr>
              <a:grpSpLocks noChangeAspect="1"/>
            </p:cNvGrpSpPr>
            <p:nvPr/>
          </p:nvGrpSpPr>
          <p:grpSpPr bwMode="auto">
            <a:xfrm rot="1800000">
              <a:off x="11009090" y="3042530"/>
              <a:ext cx="518448" cy="706609"/>
              <a:chOff x="6652" y="1661"/>
              <a:chExt cx="259" cy="353"/>
            </a:xfrm>
          </p:grpSpPr>
          <p:sp>
            <p:nvSpPr>
              <p:cNvPr id="127" name="AutoShape 138"/>
              <p:cNvSpPr>
                <a:spLocks noChangeAspect="1" noChangeArrowheads="1" noTextEdit="1"/>
              </p:cNvSpPr>
              <p:nvPr/>
            </p:nvSpPr>
            <p:spPr bwMode="auto">
              <a:xfrm>
                <a:off x="6652" y="1661"/>
                <a:ext cx="259" cy="3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FFFFFF"/>
                  </a:solidFill>
                  <a:effectLst/>
                  <a:uLnTx/>
                  <a:uFillTx/>
                </a:endParaRPr>
              </a:p>
            </p:txBody>
          </p:sp>
          <p:sp>
            <p:nvSpPr>
              <p:cNvPr id="128" name="Freeform 140"/>
              <p:cNvSpPr>
                <a:spLocks/>
              </p:cNvSpPr>
              <p:nvPr/>
            </p:nvSpPr>
            <p:spPr bwMode="auto">
              <a:xfrm>
                <a:off x="6652" y="1669"/>
                <a:ext cx="260" cy="346"/>
              </a:xfrm>
              <a:custGeom>
                <a:avLst/>
                <a:gdLst>
                  <a:gd name="T0" fmla="*/ 253 w 253"/>
                  <a:gd name="T1" fmla="*/ 315 h 338"/>
                  <a:gd name="T2" fmla="*/ 230 w 253"/>
                  <a:gd name="T3" fmla="*/ 338 h 338"/>
                  <a:gd name="T4" fmla="*/ 23 w 253"/>
                  <a:gd name="T5" fmla="*/ 338 h 338"/>
                  <a:gd name="T6" fmla="*/ 0 w 253"/>
                  <a:gd name="T7" fmla="*/ 315 h 338"/>
                  <a:gd name="T8" fmla="*/ 0 w 253"/>
                  <a:gd name="T9" fmla="*/ 23 h 338"/>
                  <a:gd name="T10" fmla="*/ 23 w 253"/>
                  <a:gd name="T11" fmla="*/ 0 h 338"/>
                  <a:gd name="T12" fmla="*/ 230 w 253"/>
                  <a:gd name="T13" fmla="*/ 0 h 338"/>
                  <a:gd name="T14" fmla="*/ 253 w 253"/>
                  <a:gd name="T15" fmla="*/ 23 h 338"/>
                  <a:gd name="T16" fmla="*/ 253 w 253"/>
                  <a:gd name="T17" fmla="*/ 315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3" h="338">
                    <a:moveTo>
                      <a:pt x="253" y="315"/>
                    </a:moveTo>
                    <a:cubicBezTo>
                      <a:pt x="253" y="328"/>
                      <a:pt x="242" y="338"/>
                      <a:pt x="230" y="338"/>
                    </a:cubicBezTo>
                    <a:cubicBezTo>
                      <a:pt x="23" y="338"/>
                      <a:pt x="23" y="338"/>
                      <a:pt x="23" y="338"/>
                    </a:cubicBezTo>
                    <a:cubicBezTo>
                      <a:pt x="10" y="338"/>
                      <a:pt x="0" y="328"/>
                      <a:pt x="0" y="315"/>
                    </a:cubicBezTo>
                    <a:cubicBezTo>
                      <a:pt x="0" y="23"/>
                      <a:pt x="0" y="23"/>
                      <a:pt x="0" y="23"/>
                    </a:cubicBezTo>
                    <a:cubicBezTo>
                      <a:pt x="0" y="10"/>
                      <a:pt x="10" y="0"/>
                      <a:pt x="23" y="0"/>
                    </a:cubicBezTo>
                    <a:cubicBezTo>
                      <a:pt x="230" y="0"/>
                      <a:pt x="230" y="0"/>
                      <a:pt x="230" y="0"/>
                    </a:cubicBezTo>
                    <a:cubicBezTo>
                      <a:pt x="242" y="0"/>
                      <a:pt x="253" y="10"/>
                      <a:pt x="253" y="23"/>
                    </a:cubicBezTo>
                    <a:lnTo>
                      <a:pt x="253" y="315"/>
                    </a:lnTo>
                    <a:close/>
                  </a:path>
                </a:pathLst>
              </a:custGeom>
              <a:solidFill>
                <a:srgbClr val="B484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FFFFFF"/>
                  </a:solidFill>
                  <a:effectLst/>
                  <a:uLnTx/>
                  <a:uFillTx/>
                </a:endParaRPr>
              </a:p>
            </p:txBody>
          </p:sp>
          <p:sp>
            <p:nvSpPr>
              <p:cNvPr id="129" name="Rectangle 141"/>
              <p:cNvSpPr>
                <a:spLocks noChangeArrowheads="1"/>
              </p:cNvSpPr>
              <p:nvPr/>
            </p:nvSpPr>
            <p:spPr bwMode="auto">
              <a:xfrm>
                <a:off x="6677" y="1695"/>
                <a:ext cx="210" cy="29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FFFFFF"/>
                  </a:solidFill>
                  <a:effectLst/>
                  <a:uLnTx/>
                  <a:uFillTx/>
                </a:endParaRPr>
              </a:p>
            </p:txBody>
          </p:sp>
          <p:sp>
            <p:nvSpPr>
              <p:cNvPr id="130" name="Freeform 142"/>
              <p:cNvSpPr>
                <a:spLocks noEditPoints="1"/>
              </p:cNvSpPr>
              <p:nvPr/>
            </p:nvSpPr>
            <p:spPr bwMode="auto">
              <a:xfrm>
                <a:off x="6701" y="1661"/>
                <a:ext cx="161" cy="45"/>
              </a:xfrm>
              <a:custGeom>
                <a:avLst/>
                <a:gdLst>
                  <a:gd name="T0" fmla="*/ 146 w 156"/>
                  <a:gd name="T1" fmla="*/ 17 h 44"/>
                  <a:gd name="T2" fmla="*/ 88 w 156"/>
                  <a:gd name="T3" fmla="*/ 17 h 44"/>
                  <a:gd name="T4" fmla="*/ 88 w 156"/>
                  <a:gd name="T5" fmla="*/ 10 h 44"/>
                  <a:gd name="T6" fmla="*/ 78 w 156"/>
                  <a:gd name="T7" fmla="*/ 0 h 44"/>
                  <a:gd name="T8" fmla="*/ 68 w 156"/>
                  <a:gd name="T9" fmla="*/ 10 h 44"/>
                  <a:gd name="T10" fmla="*/ 68 w 156"/>
                  <a:gd name="T11" fmla="*/ 17 h 44"/>
                  <a:gd name="T12" fmla="*/ 10 w 156"/>
                  <a:gd name="T13" fmla="*/ 17 h 44"/>
                  <a:gd name="T14" fmla="*/ 0 w 156"/>
                  <a:gd name="T15" fmla="*/ 44 h 44"/>
                  <a:gd name="T16" fmla="*/ 156 w 156"/>
                  <a:gd name="T17" fmla="*/ 44 h 44"/>
                  <a:gd name="T18" fmla="*/ 146 w 156"/>
                  <a:gd name="T19" fmla="*/ 17 h 44"/>
                  <a:gd name="T20" fmla="*/ 78 w 156"/>
                  <a:gd name="T21" fmla="*/ 5 h 44"/>
                  <a:gd name="T22" fmla="*/ 83 w 156"/>
                  <a:gd name="T23" fmla="*/ 10 h 44"/>
                  <a:gd name="T24" fmla="*/ 78 w 156"/>
                  <a:gd name="T25" fmla="*/ 15 h 44"/>
                  <a:gd name="T26" fmla="*/ 73 w 156"/>
                  <a:gd name="T27" fmla="*/ 10 h 44"/>
                  <a:gd name="T28" fmla="*/ 78 w 156"/>
                  <a:gd name="T29" fmla="*/ 5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56" h="44">
                    <a:moveTo>
                      <a:pt x="146" y="17"/>
                    </a:moveTo>
                    <a:cubicBezTo>
                      <a:pt x="88" y="17"/>
                      <a:pt x="88" y="17"/>
                      <a:pt x="88" y="17"/>
                    </a:cubicBezTo>
                    <a:cubicBezTo>
                      <a:pt x="88" y="10"/>
                      <a:pt x="88" y="10"/>
                      <a:pt x="88" y="10"/>
                    </a:cubicBezTo>
                    <a:cubicBezTo>
                      <a:pt x="88" y="5"/>
                      <a:pt x="84" y="0"/>
                      <a:pt x="78" y="0"/>
                    </a:cubicBezTo>
                    <a:cubicBezTo>
                      <a:pt x="73" y="0"/>
                      <a:pt x="68" y="5"/>
                      <a:pt x="68" y="10"/>
                    </a:cubicBezTo>
                    <a:cubicBezTo>
                      <a:pt x="68" y="17"/>
                      <a:pt x="68" y="17"/>
                      <a:pt x="68" y="17"/>
                    </a:cubicBezTo>
                    <a:cubicBezTo>
                      <a:pt x="10" y="17"/>
                      <a:pt x="10" y="17"/>
                      <a:pt x="10" y="17"/>
                    </a:cubicBezTo>
                    <a:cubicBezTo>
                      <a:pt x="0" y="44"/>
                      <a:pt x="0" y="44"/>
                      <a:pt x="0" y="44"/>
                    </a:cubicBezTo>
                    <a:cubicBezTo>
                      <a:pt x="156" y="44"/>
                      <a:pt x="156" y="44"/>
                      <a:pt x="156" y="44"/>
                    </a:cubicBezTo>
                    <a:lnTo>
                      <a:pt x="146" y="17"/>
                    </a:lnTo>
                    <a:close/>
                    <a:moveTo>
                      <a:pt x="78" y="5"/>
                    </a:moveTo>
                    <a:cubicBezTo>
                      <a:pt x="81" y="5"/>
                      <a:pt x="83" y="7"/>
                      <a:pt x="83" y="10"/>
                    </a:cubicBezTo>
                    <a:cubicBezTo>
                      <a:pt x="83" y="13"/>
                      <a:pt x="81" y="15"/>
                      <a:pt x="78" y="15"/>
                    </a:cubicBezTo>
                    <a:cubicBezTo>
                      <a:pt x="76" y="15"/>
                      <a:pt x="73" y="13"/>
                      <a:pt x="73" y="10"/>
                    </a:cubicBezTo>
                    <a:cubicBezTo>
                      <a:pt x="73" y="7"/>
                      <a:pt x="76" y="5"/>
                      <a:pt x="78" y="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FFFFFF"/>
                  </a:solidFill>
                  <a:effectLst/>
                  <a:uLnTx/>
                  <a:uFillTx/>
                </a:endParaRPr>
              </a:p>
            </p:txBody>
          </p:sp>
        </p:grpSp>
        <p:sp>
          <p:nvSpPr>
            <p:cNvPr id="132" name="Freeform 131"/>
            <p:cNvSpPr>
              <a:spLocks/>
            </p:cNvSpPr>
            <p:nvPr/>
          </p:nvSpPr>
          <p:spPr bwMode="auto">
            <a:xfrm rot="8728510">
              <a:off x="8449700" y="5655120"/>
              <a:ext cx="103424" cy="107561"/>
            </a:xfrm>
            <a:custGeom>
              <a:avLst/>
              <a:gdLst>
                <a:gd name="T0" fmla="*/ 57 w 57"/>
                <a:gd name="T1" fmla="*/ 32 h 59"/>
                <a:gd name="T2" fmla="*/ 25 w 57"/>
                <a:gd name="T3" fmla="*/ 0 h 59"/>
                <a:gd name="T4" fmla="*/ 9 w 57"/>
                <a:gd name="T5" fmla="*/ 4 h 59"/>
                <a:gd name="T6" fmla="*/ 12 w 57"/>
                <a:gd name="T7" fmla="*/ 46 h 59"/>
                <a:gd name="T8" fmla="*/ 57 w 57"/>
                <a:gd name="T9" fmla="*/ 46 h 59"/>
                <a:gd name="T10" fmla="*/ 57 w 57"/>
                <a:gd name="T11" fmla="*/ 33 h 59"/>
                <a:gd name="T12" fmla="*/ 57 w 57"/>
                <a:gd name="T13" fmla="*/ 33 h 59"/>
                <a:gd name="T14" fmla="*/ 57 w 57"/>
                <a:gd name="T15" fmla="*/ 32 h 5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7" h="59">
                  <a:moveTo>
                    <a:pt x="57" y="32"/>
                  </a:moveTo>
                  <a:cubicBezTo>
                    <a:pt x="57" y="14"/>
                    <a:pt x="43" y="0"/>
                    <a:pt x="25" y="0"/>
                  </a:cubicBezTo>
                  <a:cubicBezTo>
                    <a:pt x="19" y="0"/>
                    <a:pt x="14" y="1"/>
                    <a:pt x="9" y="4"/>
                  </a:cubicBezTo>
                  <a:cubicBezTo>
                    <a:pt x="0" y="17"/>
                    <a:pt x="1" y="34"/>
                    <a:pt x="12" y="46"/>
                  </a:cubicBezTo>
                  <a:cubicBezTo>
                    <a:pt x="24" y="58"/>
                    <a:pt x="45" y="59"/>
                    <a:pt x="57" y="46"/>
                  </a:cubicBezTo>
                  <a:cubicBezTo>
                    <a:pt x="57" y="33"/>
                    <a:pt x="57" y="33"/>
                    <a:pt x="57" y="33"/>
                  </a:cubicBezTo>
                  <a:cubicBezTo>
                    <a:pt x="57" y="33"/>
                    <a:pt x="57" y="33"/>
                    <a:pt x="57" y="33"/>
                  </a:cubicBezTo>
                  <a:cubicBezTo>
                    <a:pt x="57" y="33"/>
                    <a:pt x="57" y="32"/>
                    <a:pt x="57" y="32"/>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133" name="Freeform 132"/>
            <p:cNvSpPr>
              <a:spLocks/>
            </p:cNvSpPr>
            <p:nvPr/>
          </p:nvSpPr>
          <p:spPr bwMode="auto">
            <a:xfrm>
              <a:off x="9070188" y="4330209"/>
              <a:ext cx="481962" cy="604002"/>
            </a:xfrm>
            <a:custGeom>
              <a:avLst/>
              <a:gdLst>
                <a:gd name="T0" fmla="*/ 9 w 265"/>
                <a:gd name="T1" fmla="*/ 331 h 331"/>
                <a:gd name="T2" fmla="*/ 0 w 265"/>
                <a:gd name="T3" fmla="*/ 331 h 331"/>
                <a:gd name="T4" fmla="*/ 2 w 265"/>
                <a:gd name="T5" fmla="*/ 266 h 331"/>
                <a:gd name="T6" fmla="*/ 9 w 265"/>
                <a:gd name="T7" fmla="*/ 266 h 331"/>
                <a:gd name="T8" fmla="*/ 115 w 265"/>
                <a:gd name="T9" fmla="*/ 232 h 331"/>
                <a:gd name="T10" fmla="*/ 172 w 265"/>
                <a:gd name="T11" fmla="*/ 151 h 331"/>
                <a:gd name="T12" fmla="*/ 200 w 265"/>
                <a:gd name="T13" fmla="*/ 4 h 331"/>
                <a:gd name="T14" fmla="*/ 200 w 265"/>
                <a:gd name="T15" fmla="*/ 1 h 331"/>
                <a:gd name="T16" fmla="*/ 200 w 265"/>
                <a:gd name="T17" fmla="*/ 1 h 331"/>
                <a:gd name="T18" fmla="*/ 265 w 265"/>
                <a:gd name="T19" fmla="*/ 0 h 331"/>
                <a:gd name="T20" fmla="*/ 265 w 265"/>
                <a:gd name="T21" fmla="*/ 4 h 331"/>
                <a:gd name="T22" fmla="*/ 251 w 265"/>
                <a:gd name="T23" fmla="*/ 120 h 331"/>
                <a:gd name="T24" fmla="*/ 156 w 265"/>
                <a:gd name="T25" fmla="*/ 283 h 331"/>
                <a:gd name="T26" fmla="*/ 9 w 265"/>
                <a:gd name="T27" fmla="*/ 331 h 331"/>
                <a:gd name="T28" fmla="*/ 9 w 265"/>
                <a:gd name="T29" fmla="*/ 331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5" h="331">
                  <a:moveTo>
                    <a:pt x="9" y="331"/>
                  </a:moveTo>
                  <a:cubicBezTo>
                    <a:pt x="6" y="331"/>
                    <a:pt x="3" y="331"/>
                    <a:pt x="0" y="331"/>
                  </a:cubicBezTo>
                  <a:cubicBezTo>
                    <a:pt x="2" y="266"/>
                    <a:pt x="2" y="266"/>
                    <a:pt x="2" y="266"/>
                  </a:cubicBezTo>
                  <a:cubicBezTo>
                    <a:pt x="4" y="266"/>
                    <a:pt x="7" y="266"/>
                    <a:pt x="9" y="266"/>
                  </a:cubicBezTo>
                  <a:cubicBezTo>
                    <a:pt x="56" y="266"/>
                    <a:pt x="89" y="252"/>
                    <a:pt x="115" y="232"/>
                  </a:cubicBezTo>
                  <a:cubicBezTo>
                    <a:pt x="140" y="211"/>
                    <a:pt x="159" y="182"/>
                    <a:pt x="172" y="151"/>
                  </a:cubicBezTo>
                  <a:cubicBezTo>
                    <a:pt x="198" y="89"/>
                    <a:pt x="200" y="18"/>
                    <a:pt x="200" y="4"/>
                  </a:cubicBezTo>
                  <a:cubicBezTo>
                    <a:pt x="200" y="2"/>
                    <a:pt x="200" y="1"/>
                    <a:pt x="200" y="1"/>
                  </a:cubicBezTo>
                  <a:cubicBezTo>
                    <a:pt x="200" y="1"/>
                    <a:pt x="200" y="1"/>
                    <a:pt x="200" y="1"/>
                  </a:cubicBezTo>
                  <a:cubicBezTo>
                    <a:pt x="265" y="0"/>
                    <a:pt x="265" y="0"/>
                    <a:pt x="265" y="0"/>
                  </a:cubicBezTo>
                  <a:cubicBezTo>
                    <a:pt x="265" y="0"/>
                    <a:pt x="265" y="2"/>
                    <a:pt x="265" y="4"/>
                  </a:cubicBezTo>
                  <a:cubicBezTo>
                    <a:pt x="265" y="18"/>
                    <a:pt x="264" y="65"/>
                    <a:pt x="251" y="120"/>
                  </a:cubicBezTo>
                  <a:cubicBezTo>
                    <a:pt x="237" y="174"/>
                    <a:pt x="211" y="238"/>
                    <a:pt x="156" y="283"/>
                  </a:cubicBezTo>
                  <a:cubicBezTo>
                    <a:pt x="119" y="312"/>
                    <a:pt x="70" y="331"/>
                    <a:pt x="9" y="331"/>
                  </a:cubicBezTo>
                  <a:cubicBezTo>
                    <a:pt x="9" y="331"/>
                    <a:pt x="9" y="331"/>
                    <a:pt x="9" y="331"/>
                  </a:cubicBezTo>
                </a:path>
              </a:pathLst>
            </a:custGeom>
            <a:solidFill>
              <a:srgbClr val="FFF1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134" name="Freeform 133"/>
            <p:cNvSpPr>
              <a:spLocks/>
            </p:cNvSpPr>
            <p:nvPr/>
          </p:nvSpPr>
          <p:spPr bwMode="auto">
            <a:xfrm>
              <a:off x="9072257" y="4330209"/>
              <a:ext cx="479893" cy="604002"/>
            </a:xfrm>
            <a:custGeom>
              <a:avLst/>
              <a:gdLst>
                <a:gd name="T0" fmla="*/ 263 w 263"/>
                <a:gd name="T1" fmla="*/ 0 h 331"/>
                <a:gd name="T2" fmla="*/ 198 w 263"/>
                <a:gd name="T3" fmla="*/ 1 h 331"/>
                <a:gd name="T4" fmla="*/ 198 w 263"/>
                <a:gd name="T5" fmla="*/ 1 h 331"/>
                <a:gd name="T6" fmla="*/ 198 w 263"/>
                <a:gd name="T7" fmla="*/ 4 h 331"/>
                <a:gd name="T8" fmla="*/ 198 w 263"/>
                <a:gd name="T9" fmla="*/ 5 h 331"/>
                <a:gd name="T10" fmla="*/ 170 w 263"/>
                <a:gd name="T11" fmla="*/ 151 h 331"/>
                <a:gd name="T12" fmla="*/ 113 w 263"/>
                <a:gd name="T13" fmla="*/ 232 h 331"/>
                <a:gd name="T14" fmla="*/ 7 w 263"/>
                <a:gd name="T15" fmla="*/ 266 h 331"/>
                <a:gd name="T16" fmla="*/ 0 w 263"/>
                <a:gd name="T17" fmla="*/ 266 h 331"/>
                <a:gd name="T18" fmla="*/ 0 w 263"/>
                <a:gd name="T19" fmla="*/ 266 h 331"/>
                <a:gd name="T20" fmla="*/ 2 w 263"/>
                <a:gd name="T21" fmla="*/ 266 h 331"/>
                <a:gd name="T22" fmla="*/ 2 w 263"/>
                <a:gd name="T23" fmla="*/ 331 h 331"/>
                <a:gd name="T24" fmla="*/ 7 w 263"/>
                <a:gd name="T25" fmla="*/ 331 h 331"/>
                <a:gd name="T26" fmla="*/ 7 w 263"/>
                <a:gd name="T27" fmla="*/ 331 h 331"/>
                <a:gd name="T28" fmla="*/ 154 w 263"/>
                <a:gd name="T29" fmla="*/ 283 h 331"/>
                <a:gd name="T30" fmla="*/ 249 w 263"/>
                <a:gd name="T31" fmla="*/ 120 h 331"/>
                <a:gd name="T32" fmla="*/ 263 w 263"/>
                <a:gd name="T33" fmla="*/ 4 h 331"/>
                <a:gd name="T34" fmla="*/ 263 w 263"/>
                <a:gd name="T35" fmla="*/ 0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63" h="331">
                  <a:moveTo>
                    <a:pt x="263" y="0"/>
                  </a:moveTo>
                  <a:cubicBezTo>
                    <a:pt x="198" y="1"/>
                    <a:pt x="198" y="1"/>
                    <a:pt x="198" y="1"/>
                  </a:cubicBezTo>
                  <a:cubicBezTo>
                    <a:pt x="198" y="1"/>
                    <a:pt x="198" y="1"/>
                    <a:pt x="198" y="1"/>
                  </a:cubicBezTo>
                  <a:cubicBezTo>
                    <a:pt x="198" y="1"/>
                    <a:pt x="198" y="2"/>
                    <a:pt x="198" y="4"/>
                  </a:cubicBezTo>
                  <a:cubicBezTo>
                    <a:pt x="198" y="4"/>
                    <a:pt x="198" y="5"/>
                    <a:pt x="198" y="5"/>
                  </a:cubicBezTo>
                  <a:cubicBezTo>
                    <a:pt x="198" y="22"/>
                    <a:pt x="195" y="91"/>
                    <a:pt x="170" y="151"/>
                  </a:cubicBezTo>
                  <a:cubicBezTo>
                    <a:pt x="157" y="182"/>
                    <a:pt x="138" y="211"/>
                    <a:pt x="113" y="232"/>
                  </a:cubicBezTo>
                  <a:cubicBezTo>
                    <a:pt x="87" y="252"/>
                    <a:pt x="54" y="266"/>
                    <a:pt x="7" y="266"/>
                  </a:cubicBezTo>
                  <a:cubicBezTo>
                    <a:pt x="5" y="266"/>
                    <a:pt x="2" y="266"/>
                    <a:pt x="0" y="266"/>
                  </a:cubicBezTo>
                  <a:cubicBezTo>
                    <a:pt x="0" y="266"/>
                    <a:pt x="0" y="266"/>
                    <a:pt x="0" y="266"/>
                  </a:cubicBezTo>
                  <a:cubicBezTo>
                    <a:pt x="2" y="266"/>
                    <a:pt x="2" y="266"/>
                    <a:pt x="2" y="266"/>
                  </a:cubicBezTo>
                  <a:cubicBezTo>
                    <a:pt x="2" y="331"/>
                    <a:pt x="2" y="331"/>
                    <a:pt x="2" y="331"/>
                  </a:cubicBezTo>
                  <a:cubicBezTo>
                    <a:pt x="4" y="331"/>
                    <a:pt x="5" y="331"/>
                    <a:pt x="7" y="331"/>
                  </a:cubicBezTo>
                  <a:cubicBezTo>
                    <a:pt x="7" y="331"/>
                    <a:pt x="7" y="331"/>
                    <a:pt x="7" y="331"/>
                  </a:cubicBezTo>
                  <a:cubicBezTo>
                    <a:pt x="68" y="331"/>
                    <a:pt x="117" y="312"/>
                    <a:pt x="154" y="283"/>
                  </a:cubicBezTo>
                  <a:cubicBezTo>
                    <a:pt x="209" y="238"/>
                    <a:pt x="235" y="174"/>
                    <a:pt x="249" y="120"/>
                  </a:cubicBezTo>
                  <a:cubicBezTo>
                    <a:pt x="262" y="65"/>
                    <a:pt x="263" y="18"/>
                    <a:pt x="263" y="4"/>
                  </a:cubicBezTo>
                  <a:cubicBezTo>
                    <a:pt x="263" y="2"/>
                    <a:pt x="263" y="0"/>
                    <a:pt x="263" y="0"/>
                  </a:cubicBezTo>
                </a:path>
              </a:pathLst>
            </a:custGeom>
            <a:solidFill>
              <a:srgbClr val="15AEE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135" name="Freeform 134"/>
            <p:cNvSpPr>
              <a:spLocks/>
            </p:cNvSpPr>
            <p:nvPr/>
          </p:nvSpPr>
          <p:spPr bwMode="auto">
            <a:xfrm>
              <a:off x="8879884" y="6713126"/>
              <a:ext cx="248221" cy="138590"/>
            </a:xfrm>
            <a:custGeom>
              <a:avLst/>
              <a:gdLst>
                <a:gd name="T0" fmla="*/ 120 w 120"/>
                <a:gd name="T1" fmla="*/ 51 h 67"/>
                <a:gd name="T2" fmla="*/ 68 w 120"/>
                <a:gd name="T3" fmla="*/ 0 h 67"/>
                <a:gd name="T4" fmla="*/ 0 w 120"/>
                <a:gd name="T5" fmla="*/ 0 h 67"/>
                <a:gd name="T6" fmla="*/ 0 w 120"/>
                <a:gd name="T7" fmla="*/ 67 h 67"/>
                <a:gd name="T8" fmla="*/ 120 w 120"/>
                <a:gd name="T9" fmla="*/ 67 h 67"/>
                <a:gd name="T10" fmla="*/ 120 w 120"/>
                <a:gd name="T11" fmla="*/ 51 h 67"/>
              </a:gdLst>
              <a:ahLst/>
              <a:cxnLst>
                <a:cxn ang="0">
                  <a:pos x="T0" y="T1"/>
                </a:cxn>
                <a:cxn ang="0">
                  <a:pos x="T2" y="T3"/>
                </a:cxn>
                <a:cxn ang="0">
                  <a:pos x="T4" y="T5"/>
                </a:cxn>
                <a:cxn ang="0">
                  <a:pos x="T6" y="T7"/>
                </a:cxn>
                <a:cxn ang="0">
                  <a:pos x="T8" y="T9"/>
                </a:cxn>
                <a:cxn ang="0">
                  <a:pos x="T10" y="T11"/>
                </a:cxn>
              </a:cxnLst>
              <a:rect l="0" t="0" r="r" b="b"/>
              <a:pathLst>
                <a:path w="120" h="67">
                  <a:moveTo>
                    <a:pt x="120" y="51"/>
                  </a:moveTo>
                  <a:lnTo>
                    <a:pt x="68" y="0"/>
                  </a:lnTo>
                  <a:lnTo>
                    <a:pt x="0" y="0"/>
                  </a:lnTo>
                  <a:lnTo>
                    <a:pt x="0" y="67"/>
                  </a:lnTo>
                  <a:lnTo>
                    <a:pt x="120" y="67"/>
                  </a:lnTo>
                  <a:lnTo>
                    <a:pt x="120" y="51"/>
                  </a:lnTo>
                  <a:close/>
                </a:path>
              </a:pathLst>
            </a:custGeom>
            <a:solidFill>
              <a:schemeClr val="accent1">
                <a:lumMod val="25000"/>
                <a:lumOff val="75000"/>
              </a:schemeClr>
            </a:solidFill>
            <a:ln>
              <a:noFill/>
            </a:ln>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136" name="Rectangle 135"/>
            <p:cNvSpPr>
              <a:spLocks noChangeArrowheads="1"/>
            </p:cNvSpPr>
            <p:nvPr/>
          </p:nvSpPr>
          <p:spPr bwMode="auto">
            <a:xfrm>
              <a:off x="8879886" y="5809186"/>
              <a:ext cx="138590" cy="903936"/>
            </a:xfrm>
            <a:prstGeom prst="rect">
              <a:avLst/>
            </a:prstGeom>
            <a:solidFill>
              <a:srgbClr val="BA141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137" name="Rectangle 136"/>
            <p:cNvSpPr>
              <a:spLocks noChangeArrowheads="1"/>
            </p:cNvSpPr>
            <p:nvPr/>
          </p:nvSpPr>
          <p:spPr bwMode="auto">
            <a:xfrm>
              <a:off x="8879886" y="5809186"/>
              <a:ext cx="138590" cy="9039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138" name="Rectangle 137"/>
            <p:cNvSpPr>
              <a:spLocks noChangeArrowheads="1"/>
            </p:cNvSpPr>
            <p:nvPr/>
          </p:nvSpPr>
          <p:spPr bwMode="auto">
            <a:xfrm>
              <a:off x="8664761" y="5809186"/>
              <a:ext cx="138590" cy="903936"/>
            </a:xfrm>
            <a:prstGeom prst="rect">
              <a:avLst/>
            </a:prstGeom>
            <a:solidFill>
              <a:srgbClr val="BA141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139" name="Rectangle 138"/>
            <p:cNvSpPr>
              <a:spLocks noChangeArrowheads="1"/>
            </p:cNvSpPr>
            <p:nvPr/>
          </p:nvSpPr>
          <p:spPr bwMode="auto">
            <a:xfrm>
              <a:off x="8664761" y="5809186"/>
              <a:ext cx="138590" cy="9039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140" name="Freeform 139"/>
            <p:cNvSpPr>
              <a:spLocks/>
            </p:cNvSpPr>
            <p:nvPr/>
          </p:nvSpPr>
          <p:spPr bwMode="auto">
            <a:xfrm>
              <a:off x="8664761" y="6713126"/>
              <a:ext cx="246153" cy="138590"/>
            </a:xfrm>
            <a:custGeom>
              <a:avLst/>
              <a:gdLst>
                <a:gd name="T0" fmla="*/ 119 w 119"/>
                <a:gd name="T1" fmla="*/ 51 h 67"/>
                <a:gd name="T2" fmla="*/ 68 w 119"/>
                <a:gd name="T3" fmla="*/ 0 h 67"/>
                <a:gd name="T4" fmla="*/ 0 w 119"/>
                <a:gd name="T5" fmla="*/ 0 h 67"/>
                <a:gd name="T6" fmla="*/ 0 w 119"/>
                <a:gd name="T7" fmla="*/ 67 h 67"/>
                <a:gd name="T8" fmla="*/ 119 w 119"/>
                <a:gd name="T9" fmla="*/ 67 h 67"/>
                <a:gd name="T10" fmla="*/ 119 w 119"/>
                <a:gd name="T11" fmla="*/ 51 h 67"/>
              </a:gdLst>
              <a:ahLst/>
              <a:cxnLst>
                <a:cxn ang="0">
                  <a:pos x="T0" y="T1"/>
                </a:cxn>
                <a:cxn ang="0">
                  <a:pos x="T2" y="T3"/>
                </a:cxn>
                <a:cxn ang="0">
                  <a:pos x="T4" y="T5"/>
                </a:cxn>
                <a:cxn ang="0">
                  <a:pos x="T6" y="T7"/>
                </a:cxn>
                <a:cxn ang="0">
                  <a:pos x="T8" y="T9"/>
                </a:cxn>
                <a:cxn ang="0">
                  <a:pos x="T10" y="T11"/>
                </a:cxn>
              </a:cxnLst>
              <a:rect l="0" t="0" r="r" b="b"/>
              <a:pathLst>
                <a:path w="119" h="67">
                  <a:moveTo>
                    <a:pt x="119" y="51"/>
                  </a:moveTo>
                  <a:lnTo>
                    <a:pt x="68" y="0"/>
                  </a:lnTo>
                  <a:lnTo>
                    <a:pt x="0" y="0"/>
                  </a:lnTo>
                  <a:lnTo>
                    <a:pt x="0" y="67"/>
                  </a:lnTo>
                  <a:lnTo>
                    <a:pt x="119" y="67"/>
                  </a:lnTo>
                  <a:lnTo>
                    <a:pt x="119" y="51"/>
                  </a:lnTo>
                  <a:close/>
                </a:path>
              </a:pathLst>
            </a:custGeom>
            <a:solidFill>
              <a:schemeClr val="accent1">
                <a:lumMod val="25000"/>
                <a:lumOff val="75000"/>
              </a:schemeClr>
            </a:solidFill>
            <a:ln>
              <a:noFill/>
            </a:ln>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141" name="Rectangle 140"/>
            <p:cNvSpPr>
              <a:spLocks noChangeArrowheads="1"/>
            </p:cNvSpPr>
            <p:nvPr/>
          </p:nvSpPr>
          <p:spPr bwMode="auto">
            <a:xfrm>
              <a:off x="8569609" y="4816306"/>
              <a:ext cx="506784" cy="1032183"/>
            </a:xfrm>
            <a:prstGeom prst="rect">
              <a:avLst/>
            </a:prstGeom>
            <a:solidFill>
              <a:srgbClr val="15AE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142" name="Rectangle 141"/>
            <p:cNvSpPr>
              <a:spLocks noChangeArrowheads="1"/>
            </p:cNvSpPr>
            <p:nvPr/>
          </p:nvSpPr>
          <p:spPr bwMode="auto">
            <a:xfrm>
              <a:off x="8569609" y="4816306"/>
              <a:ext cx="506784" cy="1032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143" name="Freeform 142"/>
            <p:cNvSpPr>
              <a:spLocks noEditPoints="1"/>
            </p:cNvSpPr>
            <p:nvPr/>
          </p:nvSpPr>
          <p:spPr bwMode="auto">
            <a:xfrm>
              <a:off x="8569609" y="5128652"/>
              <a:ext cx="506784" cy="719839"/>
            </a:xfrm>
            <a:custGeom>
              <a:avLst/>
              <a:gdLst>
                <a:gd name="T0" fmla="*/ 278 w 278"/>
                <a:gd name="T1" fmla="*/ 341 h 395"/>
                <a:gd name="T2" fmla="*/ 0 w 278"/>
                <a:gd name="T3" fmla="*/ 341 h 395"/>
                <a:gd name="T4" fmla="*/ 0 w 278"/>
                <a:gd name="T5" fmla="*/ 395 h 395"/>
                <a:gd name="T6" fmla="*/ 278 w 278"/>
                <a:gd name="T7" fmla="*/ 395 h 395"/>
                <a:gd name="T8" fmla="*/ 278 w 278"/>
                <a:gd name="T9" fmla="*/ 341 h 395"/>
                <a:gd name="T10" fmla="*/ 22 w 278"/>
                <a:gd name="T11" fmla="*/ 0 h 395"/>
                <a:gd name="T12" fmla="*/ 0 w 278"/>
                <a:gd name="T13" fmla="*/ 160 h 395"/>
                <a:gd name="T14" fmla="*/ 0 w 278"/>
                <a:gd name="T15" fmla="*/ 279 h 395"/>
                <a:gd name="T16" fmla="*/ 278 w 278"/>
                <a:gd name="T17" fmla="*/ 279 h 395"/>
                <a:gd name="T18" fmla="*/ 278 w 278"/>
                <a:gd name="T19" fmla="*/ 229 h 395"/>
                <a:gd name="T20" fmla="*/ 22 w 278"/>
                <a:gd name="T21" fmla="*/ 0 h 3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8" h="395">
                  <a:moveTo>
                    <a:pt x="278" y="341"/>
                  </a:moveTo>
                  <a:cubicBezTo>
                    <a:pt x="0" y="341"/>
                    <a:pt x="0" y="341"/>
                    <a:pt x="0" y="341"/>
                  </a:cubicBezTo>
                  <a:cubicBezTo>
                    <a:pt x="0" y="395"/>
                    <a:pt x="0" y="395"/>
                    <a:pt x="0" y="395"/>
                  </a:cubicBezTo>
                  <a:cubicBezTo>
                    <a:pt x="278" y="395"/>
                    <a:pt x="278" y="395"/>
                    <a:pt x="278" y="395"/>
                  </a:cubicBezTo>
                  <a:cubicBezTo>
                    <a:pt x="278" y="341"/>
                    <a:pt x="278" y="341"/>
                    <a:pt x="278" y="341"/>
                  </a:cubicBezTo>
                  <a:moveTo>
                    <a:pt x="22" y="0"/>
                  </a:moveTo>
                  <a:cubicBezTo>
                    <a:pt x="13" y="45"/>
                    <a:pt x="5" y="99"/>
                    <a:pt x="0" y="160"/>
                  </a:cubicBezTo>
                  <a:cubicBezTo>
                    <a:pt x="0" y="279"/>
                    <a:pt x="0" y="279"/>
                    <a:pt x="0" y="279"/>
                  </a:cubicBezTo>
                  <a:cubicBezTo>
                    <a:pt x="278" y="279"/>
                    <a:pt x="278" y="279"/>
                    <a:pt x="278" y="279"/>
                  </a:cubicBezTo>
                  <a:cubicBezTo>
                    <a:pt x="278" y="229"/>
                    <a:pt x="278" y="229"/>
                    <a:pt x="278" y="229"/>
                  </a:cubicBezTo>
                  <a:cubicBezTo>
                    <a:pt x="22" y="0"/>
                    <a:pt x="22" y="0"/>
                    <a:pt x="22" y="0"/>
                  </a:cubicBezTo>
                </a:path>
              </a:pathLst>
            </a:custGeom>
            <a:solidFill>
              <a:srgbClr val="15AEEF">
                <a:lumMod val="5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144" name="Freeform 143"/>
            <p:cNvSpPr>
              <a:spLocks/>
            </p:cNvSpPr>
            <p:nvPr/>
          </p:nvSpPr>
          <p:spPr bwMode="auto">
            <a:xfrm>
              <a:off x="8445500" y="4818375"/>
              <a:ext cx="229604" cy="885319"/>
            </a:xfrm>
            <a:custGeom>
              <a:avLst/>
              <a:gdLst>
                <a:gd name="T0" fmla="*/ 0 w 126"/>
                <a:gd name="T1" fmla="*/ 485 h 485"/>
                <a:gd name="T2" fmla="*/ 68 w 126"/>
                <a:gd name="T3" fmla="*/ 0 h 485"/>
                <a:gd name="T4" fmla="*/ 68 w 126"/>
                <a:gd name="T5" fmla="*/ 0 h 485"/>
                <a:gd name="T6" fmla="*/ 126 w 126"/>
                <a:gd name="T7" fmla="*/ 21 h 485"/>
                <a:gd name="T8" fmla="*/ 116 w 126"/>
                <a:gd name="T9" fmla="*/ 53 h 485"/>
                <a:gd name="T10" fmla="*/ 94 w 126"/>
                <a:gd name="T11" fmla="*/ 146 h 485"/>
                <a:gd name="T12" fmla="*/ 62 w 126"/>
                <a:gd name="T13" fmla="*/ 485 h 485"/>
                <a:gd name="T14" fmla="*/ 0 w 126"/>
                <a:gd name="T15" fmla="*/ 485 h 4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6" h="485">
                  <a:moveTo>
                    <a:pt x="0" y="485"/>
                  </a:moveTo>
                  <a:cubicBezTo>
                    <a:pt x="0" y="193"/>
                    <a:pt x="67" y="2"/>
                    <a:pt x="68" y="0"/>
                  </a:cubicBezTo>
                  <a:cubicBezTo>
                    <a:pt x="68" y="0"/>
                    <a:pt x="68" y="0"/>
                    <a:pt x="68" y="0"/>
                  </a:cubicBezTo>
                  <a:cubicBezTo>
                    <a:pt x="126" y="21"/>
                    <a:pt x="126" y="21"/>
                    <a:pt x="126" y="21"/>
                  </a:cubicBezTo>
                  <a:cubicBezTo>
                    <a:pt x="126" y="21"/>
                    <a:pt x="122" y="31"/>
                    <a:pt x="116" y="53"/>
                  </a:cubicBezTo>
                  <a:cubicBezTo>
                    <a:pt x="110" y="74"/>
                    <a:pt x="102" y="106"/>
                    <a:pt x="94" y="146"/>
                  </a:cubicBezTo>
                  <a:cubicBezTo>
                    <a:pt x="78" y="227"/>
                    <a:pt x="62" y="344"/>
                    <a:pt x="62" y="485"/>
                  </a:cubicBezTo>
                  <a:cubicBezTo>
                    <a:pt x="0" y="485"/>
                    <a:pt x="0" y="485"/>
                    <a:pt x="0" y="485"/>
                  </a:cubicBezTo>
                </a:path>
              </a:pathLst>
            </a:custGeom>
            <a:solidFill>
              <a:srgbClr val="15AEE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145" name="Freeform 144"/>
            <p:cNvSpPr>
              <a:spLocks/>
            </p:cNvSpPr>
            <p:nvPr/>
          </p:nvSpPr>
          <p:spPr bwMode="auto">
            <a:xfrm>
              <a:off x="8813694" y="4654964"/>
              <a:ext cx="132384" cy="161343"/>
            </a:xfrm>
            <a:custGeom>
              <a:avLst/>
              <a:gdLst>
                <a:gd name="T0" fmla="*/ 73 w 73"/>
                <a:gd name="T1" fmla="*/ 8 h 88"/>
                <a:gd name="T2" fmla="*/ 49 w 73"/>
                <a:gd name="T3" fmla="*/ 0 h 88"/>
                <a:gd name="T4" fmla="*/ 42 w 73"/>
                <a:gd name="T5" fmla="*/ 19 h 88"/>
                <a:gd name="T6" fmla="*/ 0 w 73"/>
                <a:gd name="T7" fmla="*/ 8 h 88"/>
                <a:gd name="T8" fmla="*/ 0 w 73"/>
                <a:gd name="T9" fmla="*/ 88 h 88"/>
                <a:gd name="T10" fmla="*/ 50 w 73"/>
                <a:gd name="T11" fmla="*/ 88 h 88"/>
                <a:gd name="T12" fmla="*/ 50 w 73"/>
                <a:gd name="T13" fmla="*/ 49 h 88"/>
                <a:gd name="T14" fmla="*/ 73 w 73"/>
                <a:gd name="T15" fmla="*/ 8 h 8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3" h="88">
                  <a:moveTo>
                    <a:pt x="73" y="8"/>
                  </a:moveTo>
                  <a:cubicBezTo>
                    <a:pt x="49" y="0"/>
                    <a:pt x="49" y="0"/>
                    <a:pt x="49" y="0"/>
                  </a:cubicBezTo>
                  <a:cubicBezTo>
                    <a:pt x="42" y="19"/>
                    <a:pt x="42" y="19"/>
                    <a:pt x="42" y="19"/>
                  </a:cubicBezTo>
                  <a:cubicBezTo>
                    <a:pt x="0" y="8"/>
                    <a:pt x="0" y="8"/>
                    <a:pt x="0" y="8"/>
                  </a:cubicBezTo>
                  <a:cubicBezTo>
                    <a:pt x="0" y="88"/>
                    <a:pt x="0" y="88"/>
                    <a:pt x="0" y="88"/>
                  </a:cubicBezTo>
                  <a:cubicBezTo>
                    <a:pt x="50" y="88"/>
                    <a:pt x="50" y="88"/>
                    <a:pt x="50" y="88"/>
                  </a:cubicBezTo>
                  <a:cubicBezTo>
                    <a:pt x="50" y="49"/>
                    <a:pt x="50" y="49"/>
                    <a:pt x="50" y="49"/>
                  </a:cubicBezTo>
                  <a:cubicBezTo>
                    <a:pt x="51" y="36"/>
                    <a:pt x="55" y="14"/>
                    <a:pt x="73" y="8"/>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146" name="Freeform 145"/>
            <p:cNvSpPr>
              <a:spLocks/>
            </p:cNvSpPr>
            <p:nvPr/>
          </p:nvSpPr>
          <p:spPr bwMode="auto">
            <a:xfrm>
              <a:off x="8962628" y="4468798"/>
              <a:ext cx="95150" cy="138590"/>
            </a:xfrm>
            <a:custGeom>
              <a:avLst/>
              <a:gdLst>
                <a:gd name="T0" fmla="*/ 0 w 46"/>
                <a:gd name="T1" fmla="*/ 0 h 67"/>
                <a:gd name="T2" fmla="*/ 46 w 46"/>
                <a:gd name="T3" fmla="*/ 51 h 67"/>
                <a:gd name="T4" fmla="*/ 13 w 46"/>
                <a:gd name="T5" fmla="*/ 67 h 67"/>
                <a:gd name="T6" fmla="*/ 0 w 46"/>
                <a:gd name="T7" fmla="*/ 0 h 67"/>
              </a:gdLst>
              <a:ahLst/>
              <a:cxnLst>
                <a:cxn ang="0">
                  <a:pos x="T0" y="T1"/>
                </a:cxn>
                <a:cxn ang="0">
                  <a:pos x="T2" y="T3"/>
                </a:cxn>
                <a:cxn ang="0">
                  <a:pos x="T4" y="T5"/>
                </a:cxn>
                <a:cxn ang="0">
                  <a:pos x="T6" y="T7"/>
                </a:cxn>
              </a:cxnLst>
              <a:rect l="0" t="0" r="r" b="b"/>
              <a:pathLst>
                <a:path w="46" h="67">
                  <a:moveTo>
                    <a:pt x="0" y="0"/>
                  </a:moveTo>
                  <a:lnTo>
                    <a:pt x="46" y="51"/>
                  </a:lnTo>
                  <a:lnTo>
                    <a:pt x="13" y="67"/>
                  </a:lnTo>
                  <a:lnTo>
                    <a:pt x="0" y="0"/>
                  </a:lnTo>
                  <a:close/>
                </a:path>
              </a:pathLst>
            </a:custGeom>
            <a:solidFill>
              <a:srgbClr val="9A8D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147" name="Freeform 146"/>
            <p:cNvSpPr>
              <a:spLocks/>
            </p:cNvSpPr>
            <p:nvPr/>
          </p:nvSpPr>
          <p:spPr bwMode="auto">
            <a:xfrm>
              <a:off x="8908845" y="4516376"/>
              <a:ext cx="22755" cy="22755"/>
            </a:xfrm>
            <a:custGeom>
              <a:avLst/>
              <a:gdLst>
                <a:gd name="T0" fmla="*/ 11 w 12"/>
                <a:gd name="T1" fmla="*/ 3 h 12"/>
                <a:gd name="T2" fmla="*/ 9 w 12"/>
                <a:gd name="T3" fmla="*/ 10 h 12"/>
                <a:gd name="T4" fmla="*/ 2 w 12"/>
                <a:gd name="T5" fmla="*/ 8 h 12"/>
                <a:gd name="T6" fmla="*/ 4 w 12"/>
                <a:gd name="T7" fmla="*/ 1 h 12"/>
                <a:gd name="T8" fmla="*/ 11 w 12"/>
                <a:gd name="T9" fmla="*/ 3 h 12"/>
              </a:gdLst>
              <a:ahLst/>
              <a:cxnLst>
                <a:cxn ang="0">
                  <a:pos x="T0" y="T1"/>
                </a:cxn>
                <a:cxn ang="0">
                  <a:pos x="T2" y="T3"/>
                </a:cxn>
                <a:cxn ang="0">
                  <a:pos x="T4" y="T5"/>
                </a:cxn>
                <a:cxn ang="0">
                  <a:pos x="T6" y="T7"/>
                </a:cxn>
                <a:cxn ang="0">
                  <a:pos x="T8" y="T9"/>
                </a:cxn>
              </a:cxnLst>
              <a:rect l="0" t="0" r="r" b="b"/>
              <a:pathLst>
                <a:path w="12" h="12">
                  <a:moveTo>
                    <a:pt x="11" y="3"/>
                  </a:moveTo>
                  <a:cubicBezTo>
                    <a:pt x="12" y="6"/>
                    <a:pt x="11" y="9"/>
                    <a:pt x="9" y="10"/>
                  </a:cubicBezTo>
                  <a:cubicBezTo>
                    <a:pt x="6" y="12"/>
                    <a:pt x="3" y="11"/>
                    <a:pt x="2" y="8"/>
                  </a:cubicBezTo>
                  <a:cubicBezTo>
                    <a:pt x="0" y="5"/>
                    <a:pt x="1" y="2"/>
                    <a:pt x="4" y="1"/>
                  </a:cubicBezTo>
                  <a:cubicBezTo>
                    <a:pt x="7" y="0"/>
                    <a:pt x="10" y="1"/>
                    <a:pt x="11" y="3"/>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148" name="Freeform 147"/>
            <p:cNvSpPr>
              <a:spLocks/>
            </p:cNvSpPr>
            <p:nvPr/>
          </p:nvSpPr>
          <p:spPr bwMode="auto">
            <a:xfrm>
              <a:off x="8952285" y="5004541"/>
              <a:ext cx="68262" cy="47578"/>
            </a:xfrm>
            <a:custGeom>
              <a:avLst/>
              <a:gdLst>
                <a:gd name="T0" fmla="*/ 0 w 33"/>
                <a:gd name="T1" fmla="*/ 23 h 23"/>
                <a:gd name="T2" fmla="*/ 17 w 33"/>
                <a:gd name="T3" fmla="*/ 0 h 23"/>
                <a:gd name="T4" fmla="*/ 33 w 33"/>
                <a:gd name="T5" fmla="*/ 23 h 23"/>
                <a:gd name="T6" fmla="*/ 0 w 33"/>
                <a:gd name="T7" fmla="*/ 23 h 23"/>
              </a:gdLst>
              <a:ahLst/>
              <a:cxnLst>
                <a:cxn ang="0">
                  <a:pos x="T0" y="T1"/>
                </a:cxn>
                <a:cxn ang="0">
                  <a:pos x="T2" y="T3"/>
                </a:cxn>
                <a:cxn ang="0">
                  <a:pos x="T4" y="T5"/>
                </a:cxn>
                <a:cxn ang="0">
                  <a:pos x="T6" y="T7"/>
                </a:cxn>
              </a:cxnLst>
              <a:rect l="0" t="0" r="r" b="b"/>
              <a:pathLst>
                <a:path w="33" h="23">
                  <a:moveTo>
                    <a:pt x="0" y="23"/>
                  </a:moveTo>
                  <a:lnTo>
                    <a:pt x="17" y="0"/>
                  </a:lnTo>
                  <a:lnTo>
                    <a:pt x="33" y="23"/>
                  </a:lnTo>
                  <a:lnTo>
                    <a:pt x="0" y="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149" name="Freeform 148"/>
            <p:cNvSpPr>
              <a:spLocks/>
            </p:cNvSpPr>
            <p:nvPr/>
          </p:nvSpPr>
          <p:spPr bwMode="auto">
            <a:xfrm>
              <a:off x="8987448" y="5004541"/>
              <a:ext cx="68262" cy="47578"/>
            </a:xfrm>
            <a:custGeom>
              <a:avLst/>
              <a:gdLst>
                <a:gd name="T0" fmla="*/ 0 w 33"/>
                <a:gd name="T1" fmla="*/ 23 h 23"/>
                <a:gd name="T2" fmla="*/ 17 w 33"/>
                <a:gd name="T3" fmla="*/ 0 h 23"/>
                <a:gd name="T4" fmla="*/ 33 w 33"/>
                <a:gd name="T5" fmla="*/ 23 h 23"/>
                <a:gd name="T6" fmla="*/ 0 w 33"/>
                <a:gd name="T7" fmla="*/ 23 h 23"/>
              </a:gdLst>
              <a:ahLst/>
              <a:cxnLst>
                <a:cxn ang="0">
                  <a:pos x="T0" y="T1"/>
                </a:cxn>
                <a:cxn ang="0">
                  <a:pos x="T2" y="T3"/>
                </a:cxn>
                <a:cxn ang="0">
                  <a:pos x="T4" y="T5"/>
                </a:cxn>
                <a:cxn ang="0">
                  <a:pos x="T6" y="T7"/>
                </a:cxn>
              </a:cxnLst>
              <a:rect l="0" t="0" r="r" b="b"/>
              <a:pathLst>
                <a:path w="33" h="23">
                  <a:moveTo>
                    <a:pt x="0" y="23"/>
                  </a:moveTo>
                  <a:lnTo>
                    <a:pt x="17" y="0"/>
                  </a:lnTo>
                  <a:lnTo>
                    <a:pt x="33" y="23"/>
                  </a:lnTo>
                  <a:lnTo>
                    <a:pt x="0" y="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150" name="Freeform 149"/>
            <p:cNvSpPr>
              <a:spLocks/>
            </p:cNvSpPr>
            <p:nvPr/>
          </p:nvSpPr>
          <p:spPr bwMode="auto">
            <a:xfrm>
              <a:off x="8803350" y="4814238"/>
              <a:ext cx="111700" cy="43439"/>
            </a:xfrm>
            <a:custGeom>
              <a:avLst/>
              <a:gdLst>
                <a:gd name="T0" fmla="*/ 54 w 54"/>
                <a:gd name="T1" fmla="*/ 0 h 21"/>
                <a:gd name="T2" fmla="*/ 26 w 54"/>
                <a:gd name="T3" fmla="*/ 21 h 21"/>
                <a:gd name="T4" fmla="*/ 0 w 54"/>
                <a:gd name="T5" fmla="*/ 0 h 21"/>
                <a:gd name="T6" fmla="*/ 54 w 54"/>
                <a:gd name="T7" fmla="*/ 0 h 21"/>
              </a:gdLst>
              <a:ahLst/>
              <a:cxnLst>
                <a:cxn ang="0">
                  <a:pos x="T0" y="T1"/>
                </a:cxn>
                <a:cxn ang="0">
                  <a:pos x="T2" y="T3"/>
                </a:cxn>
                <a:cxn ang="0">
                  <a:pos x="T4" y="T5"/>
                </a:cxn>
                <a:cxn ang="0">
                  <a:pos x="T6" y="T7"/>
                </a:cxn>
              </a:cxnLst>
              <a:rect l="0" t="0" r="r" b="b"/>
              <a:pathLst>
                <a:path w="54" h="21">
                  <a:moveTo>
                    <a:pt x="54" y="0"/>
                  </a:moveTo>
                  <a:lnTo>
                    <a:pt x="26" y="21"/>
                  </a:lnTo>
                  <a:lnTo>
                    <a:pt x="0" y="0"/>
                  </a:lnTo>
                  <a:lnTo>
                    <a:pt x="54" y="0"/>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151" name="Freeform 150"/>
            <p:cNvSpPr>
              <a:spLocks/>
            </p:cNvSpPr>
            <p:nvPr/>
          </p:nvSpPr>
          <p:spPr bwMode="auto">
            <a:xfrm>
              <a:off x="8803350" y="4814238"/>
              <a:ext cx="111700" cy="43439"/>
            </a:xfrm>
            <a:custGeom>
              <a:avLst/>
              <a:gdLst>
                <a:gd name="T0" fmla="*/ 54 w 54"/>
                <a:gd name="T1" fmla="*/ 0 h 21"/>
                <a:gd name="T2" fmla="*/ 26 w 54"/>
                <a:gd name="T3" fmla="*/ 21 h 21"/>
                <a:gd name="T4" fmla="*/ 0 w 54"/>
                <a:gd name="T5" fmla="*/ 0 h 21"/>
                <a:gd name="T6" fmla="*/ 54 w 54"/>
                <a:gd name="T7" fmla="*/ 0 h 21"/>
              </a:gdLst>
              <a:ahLst/>
              <a:cxnLst>
                <a:cxn ang="0">
                  <a:pos x="T0" y="T1"/>
                </a:cxn>
                <a:cxn ang="0">
                  <a:pos x="T2" y="T3"/>
                </a:cxn>
                <a:cxn ang="0">
                  <a:pos x="T4" y="T5"/>
                </a:cxn>
                <a:cxn ang="0">
                  <a:pos x="T6" y="T7"/>
                </a:cxn>
              </a:cxnLst>
              <a:rect l="0" t="0" r="r" b="b"/>
              <a:pathLst>
                <a:path w="54" h="21">
                  <a:moveTo>
                    <a:pt x="54" y="0"/>
                  </a:moveTo>
                  <a:lnTo>
                    <a:pt x="26" y="21"/>
                  </a:lnTo>
                  <a:lnTo>
                    <a:pt x="0" y="0"/>
                  </a:lnTo>
                  <a:lnTo>
                    <a:pt x="5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152" name="Freeform 151"/>
            <p:cNvSpPr>
              <a:spLocks/>
            </p:cNvSpPr>
            <p:nvPr/>
          </p:nvSpPr>
          <p:spPr bwMode="auto">
            <a:xfrm>
              <a:off x="8803350" y="4857678"/>
              <a:ext cx="111700" cy="413701"/>
            </a:xfrm>
            <a:custGeom>
              <a:avLst/>
              <a:gdLst>
                <a:gd name="T0" fmla="*/ 54 w 54"/>
                <a:gd name="T1" fmla="*/ 0 h 200"/>
                <a:gd name="T2" fmla="*/ 26 w 54"/>
                <a:gd name="T3" fmla="*/ 0 h 200"/>
                <a:gd name="T4" fmla="*/ 0 w 54"/>
                <a:gd name="T5" fmla="*/ 0 h 200"/>
                <a:gd name="T6" fmla="*/ 28 w 54"/>
                <a:gd name="T7" fmla="*/ 200 h 200"/>
                <a:gd name="T8" fmla="*/ 54 w 54"/>
                <a:gd name="T9" fmla="*/ 0 h 200"/>
              </a:gdLst>
              <a:ahLst/>
              <a:cxnLst>
                <a:cxn ang="0">
                  <a:pos x="T0" y="T1"/>
                </a:cxn>
                <a:cxn ang="0">
                  <a:pos x="T2" y="T3"/>
                </a:cxn>
                <a:cxn ang="0">
                  <a:pos x="T4" y="T5"/>
                </a:cxn>
                <a:cxn ang="0">
                  <a:pos x="T6" y="T7"/>
                </a:cxn>
                <a:cxn ang="0">
                  <a:pos x="T8" y="T9"/>
                </a:cxn>
              </a:cxnLst>
              <a:rect l="0" t="0" r="r" b="b"/>
              <a:pathLst>
                <a:path w="54" h="200">
                  <a:moveTo>
                    <a:pt x="54" y="0"/>
                  </a:moveTo>
                  <a:lnTo>
                    <a:pt x="26" y="0"/>
                  </a:lnTo>
                  <a:lnTo>
                    <a:pt x="0" y="0"/>
                  </a:lnTo>
                  <a:lnTo>
                    <a:pt x="28" y="200"/>
                  </a:lnTo>
                  <a:lnTo>
                    <a:pt x="54" y="0"/>
                  </a:lnTo>
                  <a:close/>
                </a:path>
              </a:pathLst>
            </a:custGeom>
            <a:solidFill>
              <a:srgbClr val="15AEEF">
                <a:lumMod val="20000"/>
                <a:lumOff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153" name="Freeform 152"/>
            <p:cNvSpPr>
              <a:spLocks/>
            </p:cNvSpPr>
            <p:nvPr/>
          </p:nvSpPr>
          <p:spPr bwMode="auto">
            <a:xfrm>
              <a:off x="8803350" y="4857678"/>
              <a:ext cx="111700" cy="413701"/>
            </a:xfrm>
            <a:custGeom>
              <a:avLst/>
              <a:gdLst>
                <a:gd name="T0" fmla="*/ 54 w 54"/>
                <a:gd name="T1" fmla="*/ 0 h 200"/>
                <a:gd name="T2" fmla="*/ 26 w 54"/>
                <a:gd name="T3" fmla="*/ 0 h 200"/>
                <a:gd name="T4" fmla="*/ 0 w 54"/>
                <a:gd name="T5" fmla="*/ 0 h 200"/>
                <a:gd name="T6" fmla="*/ 28 w 54"/>
                <a:gd name="T7" fmla="*/ 200 h 200"/>
                <a:gd name="T8" fmla="*/ 54 w 54"/>
                <a:gd name="T9" fmla="*/ 0 h 200"/>
              </a:gdLst>
              <a:ahLst/>
              <a:cxnLst>
                <a:cxn ang="0">
                  <a:pos x="T0" y="T1"/>
                </a:cxn>
                <a:cxn ang="0">
                  <a:pos x="T2" y="T3"/>
                </a:cxn>
                <a:cxn ang="0">
                  <a:pos x="T4" y="T5"/>
                </a:cxn>
                <a:cxn ang="0">
                  <a:pos x="T6" y="T7"/>
                </a:cxn>
                <a:cxn ang="0">
                  <a:pos x="T8" y="T9"/>
                </a:cxn>
              </a:cxnLst>
              <a:rect l="0" t="0" r="r" b="b"/>
              <a:pathLst>
                <a:path w="54" h="200">
                  <a:moveTo>
                    <a:pt x="54" y="0"/>
                  </a:moveTo>
                  <a:lnTo>
                    <a:pt x="26" y="0"/>
                  </a:lnTo>
                  <a:lnTo>
                    <a:pt x="0" y="0"/>
                  </a:lnTo>
                  <a:lnTo>
                    <a:pt x="28" y="200"/>
                  </a:lnTo>
                  <a:lnTo>
                    <a:pt x="5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154" name="Freeform 153"/>
            <p:cNvSpPr>
              <a:spLocks/>
            </p:cNvSpPr>
            <p:nvPr/>
          </p:nvSpPr>
          <p:spPr bwMode="auto">
            <a:xfrm>
              <a:off x="8832311" y="4857678"/>
              <a:ext cx="53781" cy="78603"/>
            </a:xfrm>
            <a:custGeom>
              <a:avLst/>
              <a:gdLst>
                <a:gd name="T0" fmla="*/ 0 w 26"/>
                <a:gd name="T1" fmla="*/ 24 h 38"/>
                <a:gd name="T2" fmla="*/ 3 w 26"/>
                <a:gd name="T3" fmla="*/ 38 h 38"/>
                <a:gd name="T4" fmla="*/ 21 w 26"/>
                <a:gd name="T5" fmla="*/ 38 h 38"/>
                <a:gd name="T6" fmla="*/ 26 w 26"/>
                <a:gd name="T7" fmla="*/ 18 h 38"/>
                <a:gd name="T8" fmla="*/ 12 w 26"/>
                <a:gd name="T9" fmla="*/ 0 h 38"/>
                <a:gd name="T10" fmla="*/ 0 w 26"/>
                <a:gd name="T11" fmla="*/ 24 h 38"/>
              </a:gdLst>
              <a:ahLst/>
              <a:cxnLst>
                <a:cxn ang="0">
                  <a:pos x="T0" y="T1"/>
                </a:cxn>
                <a:cxn ang="0">
                  <a:pos x="T2" y="T3"/>
                </a:cxn>
                <a:cxn ang="0">
                  <a:pos x="T4" y="T5"/>
                </a:cxn>
                <a:cxn ang="0">
                  <a:pos x="T6" y="T7"/>
                </a:cxn>
                <a:cxn ang="0">
                  <a:pos x="T8" y="T9"/>
                </a:cxn>
                <a:cxn ang="0">
                  <a:pos x="T10" y="T11"/>
                </a:cxn>
              </a:cxnLst>
              <a:rect l="0" t="0" r="r" b="b"/>
              <a:pathLst>
                <a:path w="26" h="38">
                  <a:moveTo>
                    <a:pt x="0" y="24"/>
                  </a:moveTo>
                  <a:lnTo>
                    <a:pt x="3" y="38"/>
                  </a:lnTo>
                  <a:lnTo>
                    <a:pt x="21" y="38"/>
                  </a:lnTo>
                  <a:lnTo>
                    <a:pt x="26" y="18"/>
                  </a:lnTo>
                  <a:lnTo>
                    <a:pt x="12" y="0"/>
                  </a:lnTo>
                  <a:lnTo>
                    <a:pt x="0" y="24"/>
                  </a:lnTo>
                  <a:close/>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155" name="Freeform 154"/>
            <p:cNvSpPr>
              <a:spLocks/>
            </p:cNvSpPr>
            <p:nvPr/>
          </p:nvSpPr>
          <p:spPr bwMode="auto">
            <a:xfrm>
              <a:off x="8824036" y="4936281"/>
              <a:ext cx="68262" cy="335098"/>
            </a:xfrm>
            <a:custGeom>
              <a:avLst/>
              <a:gdLst>
                <a:gd name="T0" fmla="*/ 25 w 33"/>
                <a:gd name="T1" fmla="*/ 0 h 162"/>
                <a:gd name="T2" fmla="*/ 7 w 33"/>
                <a:gd name="T3" fmla="*/ 0 h 162"/>
                <a:gd name="T4" fmla="*/ 0 w 33"/>
                <a:gd name="T5" fmla="*/ 40 h 162"/>
                <a:gd name="T6" fmla="*/ 18 w 33"/>
                <a:gd name="T7" fmla="*/ 162 h 162"/>
                <a:gd name="T8" fmla="*/ 33 w 33"/>
                <a:gd name="T9" fmla="*/ 47 h 162"/>
                <a:gd name="T10" fmla="*/ 25 w 33"/>
                <a:gd name="T11" fmla="*/ 0 h 162"/>
              </a:gdLst>
              <a:ahLst/>
              <a:cxnLst>
                <a:cxn ang="0">
                  <a:pos x="T0" y="T1"/>
                </a:cxn>
                <a:cxn ang="0">
                  <a:pos x="T2" y="T3"/>
                </a:cxn>
                <a:cxn ang="0">
                  <a:pos x="T4" y="T5"/>
                </a:cxn>
                <a:cxn ang="0">
                  <a:pos x="T6" y="T7"/>
                </a:cxn>
                <a:cxn ang="0">
                  <a:pos x="T8" y="T9"/>
                </a:cxn>
                <a:cxn ang="0">
                  <a:pos x="T10" y="T11"/>
                </a:cxn>
              </a:cxnLst>
              <a:rect l="0" t="0" r="r" b="b"/>
              <a:pathLst>
                <a:path w="33" h="162">
                  <a:moveTo>
                    <a:pt x="25" y="0"/>
                  </a:moveTo>
                  <a:lnTo>
                    <a:pt x="7" y="0"/>
                  </a:lnTo>
                  <a:lnTo>
                    <a:pt x="0" y="40"/>
                  </a:lnTo>
                  <a:lnTo>
                    <a:pt x="18" y="162"/>
                  </a:lnTo>
                  <a:lnTo>
                    <a:pt x="33" y="47"/>
                  </a:lnTo>
                  <a:lnTo>
                    <a:pt x="25" y="0"/>
                  </a:lnTo>
                  <a:close/>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156" name="Freeform 155"/>
            <p:cNvSpPr>
              <a:spLocks/>
            </p:cNvSpPr>
            <p:nvPr/>
          </p:nvSpPr>
          <p:spPr bwMode="auto">
            <a:xfrm>
              <a:off x="8803350" y="4814238"/>
              <a:ext cx="55851" cy="107561"/>
            </a:xfrm>
            <a:custGeom>
              <a:avLst/>
              <a:gdLst>
                <a:gd name="T0" fmla="*/ 27 w 27"/>
                <a:gd name="T1" fmla="*/ 21 h 52"/>
                <a:gd name="T2" fmla="*/ 9 w 27"/>
                <a:gd name="T3" fmla="*/ 52 h 52"/>
                <a:gd name="T4" fmla="*/ 0 w 27"/>
                <a:gd name="T5" fmla="*/ 21 h 52"/>
                <a:gd name="T6" fmla="*/ 0 w 27"/>
                <a:gd name="T7" fmla="*/ 0 h 52"/>
                <a:gd name="T8" fmla="*/ 27 w 27"/>
                <a:gd name="T9" fmla="*/ 21 h 52"/>
              </a:gdLst>
              <a:ahLst/>
              <a:cxnLst>
                <a:cxn ang="0">
                  <a:pos x="T0" y="T1"/>
                </a:cxn>
                <a:cxn ang="0">
                  <a:pos x="T2" y="T3"/>
                </a:cxn>
                <a:cxn ang="0">
                  <a:pos x="T4" y="T5"/>
                </a:cxn>
                <a:cxn ang="0">
                  <a:pos x="T6" y="T7"/>
                </a:cxn>
                <a:cxn ang="0">
                  <a:pos x="T8" y="T9"/>
                </a:cxn>
              </a:cxnLst>
              <a:rect l="0" t="0" r="r" b="b"/>
              <a:pathLst>
                <a:path w="27" h="52">
                  <a:moveTo>
                    <a:pt x="27" y="21"/>
                  </a:moveTo>
                  <a:lnTo>
                    <a:pt x="9" y="52"/>
                  </a:lnTo>
                  <a:lnTo>
                    <a:pt x="0" y="21"/>
                  </a:lnTo>
                  <a:lnTo>
                    <a:pt x="0" y="0"/>
                  </a:lnTo>
                  <a:lnTo>
                    <a:pt x="27" y="2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157" name="Freeform 156"/>
            <p:cNvSpPr>
              <a:spLocks/>
            </p:cNvSpPr>
            <p:nvPr/>
          </p:nvSpPr>
          <p:spPr bwMode="auto">
            <a:xfrm>
              <a:off x="8857131" y="4814238"/>
              <a:ext cx="57919" cy="107561"/>
            </a:xfrm>
            <a:custGeom>
              <a:avLst/>
              <a:gdLst>
                <a:gd name="T0" fmla="*/ 0 w 28"/>
                <a:gd name="T1" fmla="*/ 21 h 52"/>
                <a:gd name="T2" fmla="*/ 20 w 28"/>
                <a:gd name="T3" fmla="*/ 52 h 52"/>
                <a:gd name="T4" fmla="*/ 28 w 28"/>
                <a:gd name="T5" fmla="*/ 21 h 52"/>
                <a:gd name="T6" fmla="*/ 28 w 28"/>
                <a:gd name="T7" fmla="*/ 0 h 52"/>
                <a:gd name="T8" fmla="*/ 0 w 28"/>
                <a:gd name="T9" fmla="*/ 21 h 52"/>
              </a:gdLst>
              <a:ahLst/>
              <a:cxnLst>
                <a:cxn ang="0">
                  <a:pos x="T0" y="T1"/>
                </a:cxn>
                <a:cxn ang="0">
                  <a:pos x="T2" y="T3"/>
                </a:cxn>
                <a:cxn ang="0">
                  <a:pos x="T4" y="T5"/>
                </a:cxn>
                <a:cxn ang="0">
                  <a:pos x="T6" y="T7"/>
                </a:cxn>
                <a:cxn ang="0">
                  <a:pos x="T8" y="T9"/>
                </a:cxn>
              </a:cxnLst>
              <a:rect l="0" t="0" r="r" b="b"/>
              <a:pathLst>
                <a:path w="28" h="52">
                  <a:moveTo>
                    <a:pt x="0" y="21"/>
                  </a:moveTo>
                  <a:lnTo>
                    <a:pt x="20" y="52"/>
                  </a:lnTo>
                  <a:lnTo>
                    <a:pt x="28" y="21"/>
                  </a:lnTo>
                  <a:lnTo>
                    <a:pt x="28" y="0"/>
                  </a:lnTo>
                  <a:lnTo>
                    <a:pt x="0" y="2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158" name="Freeform 157"/>
            <p:cNvSpPr>
              <a:spLocks/>
            </p:cNvSpPr>
            <p:nvPr/>
          </p:nvSpPr>
          <p:spPr bwMode="auto">
            <a:xfrm>
              <a:off x="9434245" y="4104742"/>
              <a:ext cx="117905" cy="229604"/>
            </a:xfrm>
            <a:custGeom>
              <a:avLst/>
              <a:gdLst>
                <a:gd name="T0" fmla="*/ 65 w 65"/>
                <a:gd name="T1" fmla="*/ 91 h 126"/>
                <a:gd name="T2" fmla="*/ 33 w 65"/>
                <a:gd name="T3" fmla="*/ 59 h 126"/>
                <a:gd name="T4" fmla="*/ 21 w 65"/>
                <a:gd name="T5" fmla="*/ 61 h 126"/>
                <a:gd name="T6" fmla="*/ 21 w 65"/>
                <a:gd name="T7" fmla="*/ 11 h 126"/>
                <a:gd name="T8" fmla="*/ 21 w 65"/>
                <a:gd name="T9" fmla="*/ 11 h 126"/>
                <a:gd name="T10" fmla="*/ 21 w 65"/>
                <a:gd name="T11" fmla="*/ 11 h 126"/>
                <a:gd name="T12" fmla="*/ 11 w 65"/>
                <a:gd name="T13" fmla="*/ 0 h 126"/>
                <a:gd name="T14" fmla="*/ 0 w 65"/>
                <a:gd name="T15" fmla="*/ 11 h 126"/>
                <a:gd name="T16" fmla="*/ 0 w 65"/>
                <a:gd name="T17" fmla="*/ 11 h 126"/>
                <a:gd name="T18" fmla="*/ 0 w 65"/>
                <a:gd name="T19" fmla="*/ 11 h 126"/>
                <a:gd name="T20" fmla="*/ 0 w 65"/>
                <a:gd name="T21" fmla="*/ 126 h 126"/>
                <a:gd name="T22" fmla="*/ 65 w 65"/>
                <a:gd name="T23" fmla="*/ 126 h 126"/>
                <a:gd name="T24" fmla="*/ 65 w 65"/>
                <a:gd name="T25" fmla="*/ 92 h 126"/>
                <a:gd name="T26" fmla="*/ 65 w 65"/>
                <a:gd name="T27" fmla="*/ 92 h 126"/>
                <a:gd name="T28" fmla="*/ 65 w 65"/>
                <a:gd name="T29" fmla="*/ 91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5" h="126">
                  <a:moveTo>
                    <a:pt x="65" y="91"/>
                  </a:moveTo>
                  <a:cubicBezTo>
                    <a:pt x="65" y="73"/>
                    <a:pt x="51" y="59"/>
                    <a:pt x="33" y="59"/>
                  </a:cubicBezTo>
                  <a:cubicBezTo>
                    <a:pt x="29" y="59"/>
                    <a:pt x="25" y="59"/>
                    <a:pt x="21" y="61"/>
                  </a:cubicBezTo>
                  <a:cubicBezTo>
                    <a:pt x="21" y="11"/>
                    <a:pt x="21" y="11"/>
                    <a:pt x="21" y="11"/>
                  </a:cubicBezTo>
                  <a:cubicBezTo>
                    <a:pt x="21" y="11"/>
                    <a:pt x="21" y="11"/>
                    <a:pt x="21" y="11"/>
                  </a:cubicBezTo>
                  <a:cubicBezTo>
                    <a:pt x="21" y="11"/>
                    <a:pt x="21" y="11"/>
                    <a:pt x="21" y="11"/>
                  </a:cubicBezTo>
                  <a:cubicBezTo>
                    <a:pt x="21" y="5"/>
                    <a:pt x="17" y="0"/>
                    <a:pt x="11" y="0"/>
                  </a:cubicBezTo>
                  <a:cubicBezTo>
                    <a:pt x="5" y="0"/>
                    <a:pt x="0" y="5"/>
                    <a:pt x="0" y="11"/>
                  </a:cubicBezTo>
                  <a:cubicBezTo>
                    <a:pt x="0" y="11"/>
                    <a:pt x="0" y="11"/>
                    <a:pt x="0" y="11"/>
                  </a:cubicBezTo>
                  <a:cubicBezTo>
                    <a:pt x="0" y="11"/>
                    <a:pt x="0" y="11"/>
                    <a:pt x="0" y="11"/>
                  </a:cubicBezTo>
                  <a:cubicBezTo>
                    <a:pt x="0" y="126"/>
                    <a:pt x="0" y="126"/>
                    <a:pt x="0" y="126"/>
                  </a:cubicBezTo>
                  <a:cubicBezTo>
                    <a:pt x="65" y="126"/>
                    <a:pt x="65" y="126"/>
                    <a:pt x="65" y="126"/>
                  </a:cubicBezTo>
                  <a:cubicBezTo>
                    <a:pt x="65" y="92"/>
                    <a:pt x="65" y="92"/>
                    <a:pt x="65" y="92"/>
                  </a:cubicBezTo>
                  <a:cubicBezTo>
                    <a:pt x="65" y="92"/>
                    <a:pt x="65" y="92"/>
                    <a:pt x="65" y="92"/>
                  </a:cubicBezTo>
                  <a:cubicBezTo>
                    <a:pt x="65" y="92"/>
                    <a:pt x="65" y="91"/>
                    <a:pt x="65" y="91"/>
                  </a:cubicBezTo>
                  <a:close/>
                </a:path>
              </a:pathLst>
            </a:custGeom>
            <a:solidFill>
              <a:srgbClr val="FF8C00"/>
            </a:solidFill>
            <a:ln>
              <a:noFill/>
            </a:ln>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159" name="Freeform 158"/>
            <p:cNvSpPr>
              <a:spLocks/>
            </p:cNvSpPr>
            <p:nvPr/>
          </p:nvSpPr>
          <p:spPr bwMode="auto">
            <a:xfrm>
              <a:off x="8962628" y="4468798"/>
              <a:ext cx="95150" cy="138590"/>
            </a:xfrm>
            <a:custGeom>
              <a:avLst/>
              <a:gdLst>
                <a:gd name="T0" fmla="*/ 0 w 46"/>
                <a:gd name="T1" fmla="*/ 0 h 67"/>
                <a:gd name="T2" fmla="*/ 46 w 46"/>
                <a:gd name="T3" fmla="*/ 51 h 67"/>
                <a:gd name="T4" fmla="*/ 13 w 46"/>
                <a:gd name="T5" fmla="*/ 67 h 67"/>
                <a:gd name="T6" fmla="*/ 0 w 46"/>
                <a:gd name="T7" fmla="*/ 0 h 67"/>
              </a:gdLst>
              <a:ahLst/>
              <a:cxnLst>
                <a:cxn ang="0">
                  <a:pos x="T0" y="T1"/>
                </a:cxn>
                <a:cxn ang="0">
                  <a:pos x="T2" y="T3"/>
                </a:cxn>
                <a:cxn ang="0">
                  <a:pos x="T4" y="T5"/>
                </a:cxn>
                <a:cxn ang="0">
                  <a:pos x="T6" y="T7"/>
                </a:cxn>
              </a:cxnLst>
              <a:rect l="0" t="0" r="r" b="b"/>
              <a:pathLst>
                <a:path w="46" h="67">
                  <a:moveTo>
                    <a:pt x="0" y="0"/>
                  </a:moveTo>
                  <a:lnTo>
                    <a:pt x="46" y="51"/>
                  </a:lnTo>
                  <a:lnTo>
                    <a:pt x="13" y="67"/>
                  </a:lnTo>
                  <a:lnTo>
                    <a:pt x="0" y="0"/>
                  </a:lnTo>
                  <a:close/>
                </a:path>
              </a:pathLst>
            </a:custGeom>
            <a:solidFill>
              <a:srgbClr val="FF8C00"/>
            </a:solidFill>
            <a:ln>
              <a:noFill/>
            </a:ln>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160" name="Freeform 159"/>
            <p:cNvSpPr>
              <a:spLocks/>
            </p:cNvSpPr>
            <p:nvPr/>
          </p:nvSpPr>
          <p:spPr bwMode="auto">
            <a:xfrm>
              <a:off x="8706133" y="4383991"/>
              <a:ext cx="364056" cy="372330"/>
            </a:xfrm>
            <a:custGeom>
              <a:avLst/>
              <a:gdLst>
                <a:gd name="T0" fmla="*/ 0 w 199"/>
                <a:gd name="T1" fmla="*/ 57 h 204"/>
                <a:gd name="T2" fmla="*/ 40 w 199"/>
                <a:gd name="T3" fmla="*/ 142 h 204"/>
                <a:gd name="T4" fmla="*/ 40 w 199"/>
                <a:gd name="T5" fmla="*/ 142 h 204"/>
                <a:gd name="T6" fmla="*/ 199 w 199"/>
                <a:gd name="T7" fmla="*/ 167 h 204"/>
                <a:gd name="T8" fmla="*/ 196 w 199"/>
                <a:gd name="T9" fmla="*/ 161 h 204"/>
                <a:gd name="T10" fmla="*/ 173 w 199"/>
                <a:gd name="T11" fmla="*/ 113 h 204"/>
                <a:gd name="T12" fmla="*/ 144 w 199"/>
                <a:gd name="T13" fmla="*/ 53 h 204"/>
                <a:gd name="T14" fmla="*/ 119 w 199"/>
                <a:gd name="T15" fmla="*/ 0 h 204"/>
                <a:gd name="T16" fmla="*/ 0 w 199"/>
                <a:gd name="T17" fmla="*/ 57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9" h="204">
                  <a:moveTo>
                    <a:pt x="0" y="57"/>
                  </a:moveTo>
                  <a:cubicBezTo>
                    <a:pt x="40" y="142"/>
                    <a:pt x="40" y="142"/>
                    <a:pt x="40" y="142"/>
                  </a:cubicBezTo>
                  <a:cubicBezTo>
                    <a:pt x="40" y="142"/>
                    <a:pt x="40" y="142"/>
                    <a:pt x="40" y="142"/>
                  </a:cubicBezTo>
                  <a:cubicBezTo>
                    <a:pt x="74" y="204"/>
                    <a:pt x="135" y="198"/>
                    <a:pt x="199" y="167"/>
                  </a:cubicBezTo>
                  <a:cubicBezTo>
                    <a:pt x="196" y="161"/>
                    <a:pt x="196" y="161"/>
                    <a:pt x="196" y="161"/>
                  </a:cubicBezTo>
                  <a:cubicBezTo>
                    <a:pt x="173" y="113"/>
                    <a:pt x="173" y="113"/>
                    <a:pt x="173" y="113"/>
                  </a:cubicBezTo>
                  <a:cubicBezTo>
                    <a:pt x="144" y="53"/>
                    <a:pt x="144" y="53"/>
                    <a:pt x="144" y="53"/>
                  </a:cubicBezTo>
                  <a:cubicBezTo>
                    <a:pt x="119" y="0"/>
                    <a:pt x="119" y="0"/>
                    <a:pt x="119" y="0"/>
                  </a:cubicBezTo>
                  <a:cubicBezTo>
                    <a:pt x="0" y="57"/>
                    <a:pt x="0" y="57"/>
                    <a:pt x="0" y="57"/>
                  </a:cubicBezTo>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161" name="Freeform 160"/>
            <p:cNvSpPr>
              <a:spLocks/>
            </p:cNvSpPr>
            <p:nvPr/>
          </p:nvSpPr>
          <p:spPr bwMode="auto">
            <a:xfrm>
              <a:off x="8908845" y="4516376"/>
              <a:ext cx="22755" cy="22755"/>
            </a:xfrm>
            <a:custGeom>
              <a:avLst/>
              <a:gdLst>
                <a:gd name="T0" fmla="*/ 11 w 12"/>
                <a:gd name="T1" fmla="*/ 3 h 12"/>
                <a:gd name="T2" fmla="*/ 9 w 12"/>
                <a:gd name="T3" fmla="*/ 10 h 12"/>
                <a:gd name="T4" fmla="*/ 2 w 12"/>
                <a:gd name="T5" fmla="*/ 8 h 12"/>
                <a:gd name="T6" fmla="*/ 4 w 12"/>
                <a:gd name="T7" fmla="*/ 1 h 12"/>
                <a:gd name="T8" fmla="*/ 11 w 12"/>
                <a:gd name="T9" fmla="*/ 3 h 12"/>
              </a:gdLst>
              <a:ahLst/>
              <a:cxnLst>
                <a:cxn ang="0">
                  <a:pos x="T0" y="T1"/>
                </a:cxn>
                <a:cxn ang="0">
                  <a:pos x="T2" y="T3"/>
                </a:cxn>
                <a:cxn ang="0">
                  <a:pos x="T4" y="T5"/>
                </a:cxn>
                <a:cxn ang="0">
                  <a:pos x="T6" y="T7"/>
                </a:cxn>
                <a:cxn ang="0">
                  <a:pos x="T8" y="T9"/>
                </a:cxn>
              </a:cxnLst>
              <a:rect l="0" t="0" r="r" b="b"/>
              <a:pathLst>
                <a:path w="12" h="12">
                  <a:moveTo>
                    <a:pt x="11" y="3"/>
                  </a:moveTo>
                  <a:cubicBezTo>
                    <a:pt x="12" y="6"/>
                    <a:pt x="11" y="9"/>
                    <a:pt x="9" y="10"/>
                  </a:cubicBezTo>
                  <a:cubicBezTo>
                    <a:pt x="6" y="12"/>
                    <a:pt x="3" y="11"/>
                    <a:pt x="2" y="8"/>
                  </a:cubicBezTo>
                  <a:cubicBezTo>
                    <a:pt x="0" y="5"/>
                    <a:pt x="1" y="2"/>
                    <a:pt x="4" y="1"/>
                  </a:cubicBezTo>
                  <a:cubicBezTo>
                    <a:pt x="7" y="0"/>
                    <a:pt x="10" y="1"/>
                    <a:pt x="11" y="3"/>
                  </a:cubicBezTo>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162" name="Freeform 161"/>
            <p:cNvSpPr>
              <a:spLocks/>
            </p:cNvSpPr>
            <p:nvPr/>
          </p:nvSpPr>
          <p:spPr bwMode="auto">
            <a:xfrm>
              <a:off x="8621324" y="4315731"/>
              <a:ext cx="308208" cy="370264"/>
            </a:xfrm>
            <a:custGeom>
              <a:avLst/>
              <a:gdLst>
                <a:gd name="T0" fmla="*/ 166 w 169"/>
                <a:gd name="T1" fmla="*/ 37 h 203"/>
                <a:gd name="T2" fmla="*/ 165 w 169"/>
                <a:gd name="T3" fmla="*/ 37 h 203"/>
                <a:gd name="T4" fmla="*/ 166 w 169"/>
                <a:gd name="T5" fmla="*/ 37 h 203"/>
                <a:gd name="T6" fmla="*/ 81 w 169"/>
                <a:gd name="T7" fmla="*/ 28 h 203"/>
                <a:gd name="T8" fmla="*/ 61 w 169"/>
                <a:gd name="T9" fmla="*/ 45 h 203"/>
                <a:gd name="T10" fmla="*/ 43 w 169"/>
                <a:gd name="T11" fmla="*/ 59 h 203"/>
                <a:gd name="T12" fmla="*/ 43 w 169"/>
                <a:gd name="T13" fmla="*/ 85 h 203"/>
                <a:gd name="T14" fmla="*/ 104 w 169"/>
                <a:gd name="T15" fmla="*/ 203 h 203"/>
                <a:gd name="T16" fmla="*/ 101 w 169"/>
                <a:gd name="T17" fmla="*/ 118 h 203"/>
                <a:gd name="T18" fmla="*/ 103 w 169"/>
                <a:gd name="T19" fmla="*/ 114 h 203"/>
                <a:gd name="T20" fmla="*/ 131 w 169"/>
                <a:gd name="T21" fmla="*/ 91 h 203"/>
                <a:gd name="T22" fmla="*/ 166 w 169"/>
                <a:gd name="T23" fmla="*/ 37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9" h="203">
                  <a:moveTo>
                    <a:pt x="166" y="37"/>
                  </a:moveTo>
                  <a:cubicBezTo>
                    <a:pt x="165" y="37"/>
                    <a:pt x="165" y="37"/>
                    <a:pt x="165" y="37"/>
                  </a:cubicBezTo>
                  <a:cubicBezTo>
                    <a:pt x="166" y="37"/>
                    <a:pt x="166" y="37"/>
                    <a:pt x="166" y="37"/>
                  </a:cubicBezTo>
                  <a:cubicBezTo>
                    <a:pt x="152" y="4"/>
                    <a:pt x="99" y="0"/>
                    <a:pt x="81" y="28"/>
                  </a:cubicBezTo>
                  <a:cubicBezTo>
                    <a:pt x="75" y="36"/>
                    <a:pt x="70" y="40"/>
                    <a:pt x="61" y="45"/>
                  </a:cubicBezTo>
                  <a:cubicBezTo>
                    <a:pt x="53" y="49"/>
                    <a:pt x="48" y="52"/>
                    <a:pt x="43" y="59"/>
                  </a:cubicBezTo>
                  <a:cubicBezTo>
                    <a:pt x="39" y="65"/>
                    <a:pt x="40" y="76"/>
                    <a:pt x="43" y="85"/>
                  </a:cubicBezTo>
                  <a:cubicBezTo>
                    <a:pt x="0" y="111"/>
                    <a:pt x="104" y="203"/>
                    <a:pt x="104" y="203"/>
                  </a:cubicBezTo>
                  <a:cubicBezTo>
                    <a:pt x="126" y="167"/>
                    <a:pt x="101" y="118"/>
                    <a:pt x="101" y="118"/>
                  </a:cubicBezTo>
                  <a:cubicBezTo>
                    <a:pt x="102" y="117"/>
                    <a:pt x="103" y="115"/>
                    <a:pt x="103" y="114"/>
                  </a:cubicBezTo>
                  <a:cubicBezTo>
                    <a:pt x="109" y="99"/>
                    <a:pt x="117" y="98"/>
                    <a:pt x="131" y="91"/>
                  </a:cubicBezTo>
                  <a:cubicBezTo>
                    <a:pt x="147" y="82"/>
                    <a:pt x="169" y="57"/>
                    <a:pt x="166" y="37"/>
                  </a:cubicBezTo>
                </a:path>
              </a:pathLst>
            </a:custGeom>
            <a:solidFill>
              <a:schemeClr val="tx2">
                <a:lumMod val="75000"/>
              </a:schemeClr>
            </a:solidFill>
            <a:ln>
              <a:noFill/>
            </a:ln>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163" name="Freeform 162"/>
            <p:cNvSpPr>
              <a:spLocks/>
            </p:cNvSpPr>
            <p:nvPr/>
          </p:nvSpPr>
          <p:spPr bwMode="auto">
            <a:xfrm>
              <a:off x="8768188" y="4530853"/>
              <a:ext cx="84808" cy="111700"/>
            </a:xfrm>
            <a:custGeom>
              <a:avLst/>
              <a:gdLst>
                <a:gd name="T0" fmla="*/ 21 w 46"/>
                <a:gd name="T1" fmla="*/ 0 h 61"/>
                <a:gd name="T2" fmla="*/ 7 w 46"/>
                <a:gd name="T3" fmla="*/ 40 h 61"/>
                <a:gd name="T4" fmla="*/ 46 w 46"/>
                <a:gd name="T5" fmla="*/ 53 h 61"/>
                <a:gd name="T6" fmla="*/ 21 w 46"/>
                <a:gd name="T7" fmla="*/ 0 h 61"/>
              </a:gdLst>
              <a:ahLst/>
              <a:cxnLst>
                <a:cxn ang="0">
                  <a:pos x="T0" y="T1"/>
                </a:cxn>
                <a:cxn ang="0">
                  <a:pos x="T2" y="T3"/>
                </a:cxn>
                <a:cxn ang="0">
                  <a:pos x="T4" y="T5"/>
                </a:cxn>
                <a:cxn ang="0">
                  <a:pos x="T6" y="T7"/>
                </a:cxn>
              </a:cxnLst>
              <a:rect l="0" t="0" r="r" b="b"/>
              <a:pathLst>
                <a:path w="46" h="61">
                  <a:moveTo>
                    <a:pt x="21" y="0"/>
                  </a:moveTo>
                  <a:cubicBezTo>
                    <a:pt x="6" y="7"/>
                    <a:pt x="0" y="25"/>
                    <a:pt x="7" y="40"/>
                  </a:cubicBezTo>
                  <a:cubicBezTo>
                    <a:pt x="14" y="54"/>
                    <a:pt x="32" y="61"/>
                    <a:pt x="46" y="53"/>
                  </a:cubicBezTo>
                  <a:cubicBezTo>
                    <a:pt x="21" y="0"/>
                    <a:pt x="21" y="0"/>
                    <a:pt x="21" y="0"/>
                  </a:cubicBezTo>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164" name="Freeform 163"/>
            <p:cNvSpPr>
              <a:spLocks/>
            </p:cNvSpPr>
            <p:nvPr/>
          </p:nvSpPr>
          <p:spPr bwMode="auto">
            <a:xfrm>
              <a:off x="8817830" y="4555676"/>
              <a:ext cx="22755" cy="49643"/>
            </a:xfrm>
            <a:custGeom>
              <a:avLst/>
              <a:gdLst>
                <a:gd name="T0" fmla="*/ 0 w 13"/>
                <a:gd name="T1" fmla="*/ 0 h 27"/>
                <a:gd name="T2" fmla="*/ 0 w 13"/>
                <a:gd name="T3" fmla="*/ 0 h 27"/>
                <a:gd name="T4" fmla="*/ 13 w 13"/>
                <a:gd name="T5" fmla="*/ 27 h 27"/>
                <a:gd name="T6" fmla="*/ 13 w 13"/>
                <a:gd name="T7" fmla="*/ 27 h 27"/>
                <a:gd name="T8" fmla="*/ 0 w 13"/>
                <a:gd name="T9" fmla="*/ 0 h 27"/>
              </a:gdLst>
              <a:ahLst/>
              <a:cxnLst>
                <a:cxn ang="0">
                  <a:pos x="T0" y="T1"/>
                </a:cxn>
                <a:cxn ang="0">
                  <a:pos x="T2" y="T3"/>
                </a:cxn>
                <a:cxn ang="0">
                  <a:pos x="T4" y="T5"/>
                </a:cxn>
                <a:cxn ang="0">
                  <a:pos x="T6" y="T7"/>
                </a:cxn>
                <a:cxn ang="0">
                  <a:pos x="T8" y="T9"/>
                </a:cxn>
              </a:cxnLst>
              <a:rect l="0" t="0" r="r" b="b"/>
              <a:pathLst>
                <a:path w="13" h="27">
                  <a:moveTo>
                    <a:pt x="0" y="0"/>
                  </a:moveTo>
                  <a:cubicBezTo>
                    <a:pt x="0" y="0"/>
                    <a:pt x="0" y="0"/>
                    <a:pt x="0" y="0"/>
                  </a:cubicBezTo>
                  <a:cubicBezTo>
                    <a:pt x="13" y="27"/>
                    <a:pt x="13" y="27"/>
                    <a:pt x="13" y="27"/>
                  </a:cubicBezTo>
                  <a:cubicBezTo>
                    <a:pt x="13" y="27"/>
                    <a:pt x="13" y="27"/>
                    <a:pt x="13" y="27"/>
                  </a:cubicBezTo>
                  <a:cubicBezTo>
                    <a:pt x="0" y="0"/>
                    <a:pt x="0" y="0"/>
                    <a:pt x="0" y="0"/>
                  </a:cubicBezTo>
                </a:path>
              </a:pathLst>
            </a:custGeom>
            <a:solidFill>
              <a:srgbClr val="D977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165" name="Freeform 164"/>
            <p:cNvSpPr>
              <a:spLocks/>
            </p:cNvSpPr>
            <p:nvPr/>
          </p:nvSpPr>
          <p:spPr bwMode="auto">
            <a:xfrm>
              <a:off x="8799215" y="4555676"/>
              <a:ext cx="41370" cy="51714"/>
            </a:xfrm>
            <a:custGeom>
              <a:avLst/>
              <a:gdLst>
                <a:gd name="T0" fmla="*/ 10 w 23"/>
                <a:gd name="T1" fmla="*/ 0 h 28"/>
                <a:gd name="T2" fmla="*/ 3 w 23"/>
                <a:gd name="T3" fmla="*/ 20 h 28"/>
                <a:gd name="T4" fmla="*/ 17 w 23"/>
                <a:gd name="T5" fmla="*/ 28 h 28"/>
                <a:gd name="T6" fmla="*/ 23 w 23"/>
                <a:gd name="T7" fmla="*/ 27 h 28"/>
                <a:gd name="T8" fmla="*/ 10 w 23"/>
                <a:gd name="T9" fmla="*/ 0 h 28"/>
              </a:gdLst>
              <a:ahLst/>
              <a:cxnLst>
                <a:cxn ang="0">
                  <a:pos x="T0" y="T1"/>
                </a:cxn>
                <a:cxn ang="0">
                  <a:pos x="T2" y="T3"/>
                </a:cxn>
                <a:cxn ang="0">
                  <a:pos x="T4" y="T5"/>
                </a:cxn>
                <a:cxn ang="0">
                  <a:pos x="T6" y="T7"/>
                </a:cxn>
                <a:cxn ang="0">
                  <a:pos x="T8" y="T9"/>
                </a:cxn>
              </a:cxnLst>
              <a:rect l="0" t="0" r="r" b="b"/>
              <a:pathLst>
                <a:path w="23" h="28">
                  <a:moveTo>
                    <a:pt x="10" y="0"/>
                  </a:moveTo>
                  <a:cubicBezTo>
                    <a:pt x="3" y="4"/>
                    <a:pt x="0" y="13"/>
                    <a:pt x="3" y="20"/>
                  </a:cubicBezTo>
                  <a:cubicBezTo>
                    <a:pt x="6" y="25"/>
                    <a:pt x="11" y="28"/>
                    <a:pt x="17" y="28"/>
                  </a:cubicBezTo>
                  <a:cubicBezTo>
                    <a:pt x="19" y="28"/>
                    <a:pt x="21" y="28"/>
                    <a:pt x="23" y="27"/>
                  </a:cubicBezTo>
                  <a:cubicBezTo>
                    <a:pt x="10" y="0"/>
                    <a:pt x="10" y="0"/>
                    <a:pt x="10" y="0"/>
                  </a:cubicBezTo>
                </a:path>
              </a:pathLst>
            </a:custGeom>
            <a:solidFill>
              <a:srgbClr val="D977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166" name="Freeform 165"/>
            <p:cNvSpPr>
              <a:spLocks/>
            </p:cNvSpPr>
            <p:nvPr/>
          </p:nvSpPr>
          <p:spPr bwMode="auto">
            <a:xfrm>
              <a:off x="9448726" y="4212304"/>
              <a:ext cx="103424" cy="107561"/>
            </a:xfrm>
            <a:custGeom>
              <a:avLst/>
              <a:gdLst>
                <a:gd name="T0" fmla="*/ 57 w 57"/>
                <a:gd name="T1" fmla="*/ 32 h 59"/>
                <a:gd name="T2" fmla="*/ 25 w 57"/>
                <a:gd name="T3" fmla="*/ 0 h 59"/>
                <a:gd name="T4" fmla="*/ 9 w 57"/>
                <a:gd name="T5" fmla="*/ 4 h 59"/>
                <a:gd name="T6" fmla="*/ 12 w 57"/>
                <a:gd name="T7" fmla="*/ 46 h 59"/>
                <a:gd name="T8" fmla="*/ 57 w 57"/>
                <a:gd name="T9" fmla="*/ 46 h 59"/>
                <a:gd name="T10" fmla="*/ 57 w 57"/>
                <a:gd name="T11" fmla="*/ 33 h 59"/>
                <a:gd name="T12" fmla="*/ 57 w 57"/>
                <a:gd name="T13" fmla="*/ 33 h 59"/>
                <a:gd name="T14" fmla="*/ 57 w 57"/>
                <a:gd name="T15" fmla="*/ 32 h 5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7" h="59">
                  <a:moveTo>
                    <a:pt x="57" y="32"/>
                  </a:moveTo>
                  <a:cubicBezTo>
                    <a:pt x="57" y="14"/>
                    <a:pt x="43" y="0"/>
                    <a:pt x="25" y="0"/>
                  </a:cubicBezTo>
                  <a:cubicBezTo>
                    <a:pt x="19" y="0"/>
                    <a:pt x="14" y="1"/>
                    <a:pt x="9" y="4"/>
                  </a:cubicBezTo>
                  <a:cubicBezTo>
                    <a:pt x="0" y="17"/>
                    <a:pt x="1" y="34"/>
                    <a:pt x="12" y="46"/>
                  </a:cubicBezTo>
                  <a:cubicBezTo>
                    <a:pt x="24" y="58"/>
                    <a:pt x="45" y="59"/>
                    <a:pt x="57" y="46"/>
                  </a:cubicBezTo>
                  <a:cubicBezTo>
                    <a:pt x="57" y="33"/>
                    <a:pt x="57" y="33"/>
                    <a:pt x="57" y="33"/>
                  </a:cubicBezTo>
                  <a:cubicBezTo>
                    <a:pt x="57" y="33"/>
                    <a:pt x="57" y="33"/>
                    <a:pt x="57" y="33"/>
                  </a:cubicBezTo>
                  <a:cubicBezTo>
                    <a:pt x="57" y="33"/>
                    <a:pt x="57" y="32"/>
                    <a:pt x="57" y="32"/>
                  </a:cubicBezTo>
                  <a:close/>
                </a:path>
              </a:pathLst>
            </a:custGeom>
            <a:solidFill>
              <a:srgbClr val="FFA83F"/>
            </a:solidFill>
            <a:ln>
              <a:noFill/>
            </a:ln>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Segoe UI"/>
                <a:ea typeface="+mn-ea"/>
                <a:cs typeface="+mn-cs"/>
              </a:endParaRPr>
            </a:p>
          </p:txBody>
        </p:sp>
        <p:cxnSp>
          <p:nvCxnSpPr>
            <p:cNvPr id="168" name="Straight Connector 167"/>
            <p:cNvCxnSpPr/>
            <p:nvPr/>
          </p:nvCxnSpPr>
          <p:spPr>
            <a:xfrm>
              <a:off x="9869019" y="3997816"/>
              <a:ext cx="922396" cy="0"/>
            </a:xfrm>
            <a:prstGeom prst="line">
              <a:avLst/>
            </a:prstGeom>
            <a:noFill/>
            <a:ln w="19050" cap="flat" cmpd="sng" algn="ctr">
              <a:solidFill>
                <a:srgbClr val="C00000"/>
              </a:solidFill>
              <a:prstDash val="solid"/>
            </a:ln>
            <a:effectLst/>
          </p:spPr>
        </p:cxnSp>
        <p:cxnSp>
          <p:nvCxnSpPr>
            <p:cNvPr id="169" name="Straight Connector 168"/>
            <p:cNvCxnSpPr/>
            <p:nvPr/>
          </p:nvCxnSpPr>
          <p:spPr>
            <a:xfrm>
              <a:off x="9869019" y="4262703"/>
              <a:ext cx="922396" cy="0"/>
            </a:xfrm>
            <a:prstGeom prst="line">
              <a:avLst/>
            </a:prstGeom>
            <a:noFill/>
            <a:ln w="19050" cap="flat" cmpd="sng" algn="ctr">
              <a:solidFill>
                <a:srgbClr val="C00000"/>
              </a:solidFill>
              <a:prstDash val="solid"/>
            </a:ln>
            <a:effectLst/>
          </p:spPr>
        </p:cxnSp>
        <p:cxnSp>
          <p:nvCxnSpPr>
            <p:cNvPr id="170" name="Straight Connector 169"/>
            <p:cNvCxnSpPr/>
            <p:nvPr/>
          </p:nvCxnSpPr>
          <p:spPr>
            <a:xfrm>
              <a:off x="9869019" y="4527590"/>
              <a:ext cx="922396" cy="0"/>
            </a:xfrm>
            <a:prstGeom prst="line">
              <a:avLst/>
            </a:prstGeom>
            <a:noFill/>
            <a:ln w="19050" cap="flat" cmpd="sng" algn="ctr">
              <a:solidFill>
                <a:srgbClr val="C00000"/>
              </a:solidFill>
              <a:prstDash val="solid"/>
            </a:ln>
            <a:effectLst/>
          </p:spPr>
        </p:cxnSp>
        <p:cxnSp>
          <p:nvCxnSpPr>
            <p:cNvPr id="171" name="Straight Connector 170"/>
            <p:cNvCxnSpPr/>
            <p:nvPr/>
          </p:nvCxnSpPr>
          <p:spPr>
            <a:xfrm>
              <a:off x="9869019" y="3732930"/>
              <a:ext cx="922396" cy="0"/>
            </a:xfrm>
            <a:prstGeom prst="line">
              <a:avLst/>
            </a:prstGeom>
            <a:noFill/>
            <a:ln w="19050" cap="flat" cmpd="sng" algn="ctr">
              <a:solidFill>
                <a:srgbClr val="C00000"/>
              </a:solidFill>
              <a:prstDash val="solid"/>
            </a:ln>
            <a:effectLst/>
          </p:spPr>
        </p:cxnSp>
        <p:grpSp>
          <p:nvGrpSpPr>
            <p:cNvPr id="172" name="Group 171"/>
            <p:cNvGrpSpPr/>
            <p:nvPr/>
          </p:nvGrpSpPr>
          <p:grpSpPr>
            <a:xfrm>
              <a:off x="9719478" y="2433118"/>
              <a:ext cx="641394" cy="641394"/>
              <a:chOff x="9123452" y="2463609"/>
              <a:chExt cx="652035" cy="652035"/>
            </a:xfrm>
          </p:grpSpPr>
          <p:sp>
            <p:nvSpPr>
              <p:cNvPr id="173" name="Oval 172"/>
              <p:cNvSpPr/>
              <p:nvPr/>
            </p:nvSpPr>
            <p:spPr bwMode="auto">
              <a:xfrm rot="662724">
                <a:off x="9123452" y="2463609"/>
                <a:ext cx="652035" cy="652035"/>
              </a:xfrm>
              <a:prstGeom prst="ellipse">
                <a:avLst/>
              </a:prstGeom>
              <a:solidFill>
                <a:srgbClr val="FFB900"/>
              </a:solidFill>
              <a:ln w="47625" cap="flat" cmpd="sng" algn="ctr">
                <a:solidFill>
                  <a:srgbClr val="000000">
                    <a:lumMod val="20000"/>
                    <a:lumOff val="80000"/>
                  </a:srgbClr>
                </a:solid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5417">
                        <a:srgbClr val="000000"/>
                      </a:gs>
                      <a:gs pos="100000">
                        <a:srgbClr val="000000"/>
                      </a:gs>
                    </a:gsLst>
                    <a:lin ang="5400000" scaled="0"/>
                  </a:gradFill>
                  <a:effectLst/>
                  <a:uLnTx/>
                  <a:uFillTx/>
                  <a:latin typeface="Segoe UI"/>
                  <a:ea typeface="+mn-ea"/>
                  <a:cs typeface="+mn-cs"/>
                </a:endParaRPr>
              </a:p>
            </p:txBody>
          </p:sp>
          <p:sp>
            <p:nvSpPr>
              <p:cNvPr id="174" name="Freeform 173"/>
              <p:cNvSpPr>
                <a:spLocks/>
              </p:cNvSpPr>
              <p:nvPr/>
            </p:nvSpPr>
            <p:spPr bwMode="auto">
              <a:xfrm>
                <a:off x="9232427" y="2627803"/>
                <a:ext cx="434085" cy="323647"/>
              </a:xfrm>
              <a:custGeom>
                <a:avLst/>
                <a:gdLst>
                  <a:gd name="connsiteX0" fmla="*/ 520248 w 655814"/>
                  <a:gd name="connsiteY0" fmla="*/ 327907 h 488964"/>
                  <a:gd name="connsiteX1" fmla="*/ 514455 w 655814"/>
                  <a:gd name="connsiteY1" fmla="*/ 328486 h 488964"/>
                  <a:gd name="connsiteX2" fmla="*/ 508661 w 655814"/>
                  <a:gd name="connsiteY2" fmla="*/ 329645 h 488964"/>
                  <a:gd name="connsiteX3" fmla="*/ 504026 w 655814"/>
                  <a:gd name="connsiteY3" fmla="*/ 333121 h 488964"/>
                  <a:gd name="connsiteX4" fmla="*/ 499971 w 655814"/>
                  <a:gd name="connsiteY4" fmla="*/ 336597 h 488964"/>
                  <a:gd name="connsiteX5" fmla="*/ 495916 w 655814"/>
                  <a:gd name="connsiteY5" fmla="*/ 340653 h 488964"/>
                  <a:gd name="connsiteX6" fmla="*/ 493598 w 655814"/>
                  <a:gd name="connsiteY6" fmla="*/ 345867 h 488964"/>
                  <a:gd name="connsiteX7" fmla="*/ 492440 w 655814"/>
                  <a:gd name="connsiteY7" fmla="*/ 351081 h 488964"/>
                  <a:gd name="connsiteX8" fmla="*/ 491281 w 655814"/>
                  <a:gd name="connsiteY8" fmla="*/ 356295 h 488964"/>
                  <a:gd name="connsiteX9" fmla="*/ 492440 w 655814"/>
                  <a:gd name="connsiteY9" fmla="*/ 362668 h 488964"/>
                  <a:gd name="connsiteX10" fmla="*/ 493598 w 655814"/>
                  <a:gd name="connsiteY10" fmla="*/ 367882 h 488964"/>
                  <a:gd name="connsiteX11" fmla="*/ 495916 w 655814"/>
                  <a:gd name="connsiteY11" fmla="*/ 372516 h 488964"/>
                  <a:gd name="connsiteX12" fmla="*/ 499971 w 655814"/>
                  <a:gd name="connsiteY12" fmla="*/ 376572 h 488964"/>
                  <a:gd name="connsiteX13" fmla="*/ 504026 w 655814"/>
                  <a:gd name="connsiteY13" fmla="*/ 380627 h 488964"/>
                  <a:gd name="connsiteX14" fmla="*/ 508661 w 655814"/>
                  <a:gd name="connsiteY14" fmla="*/ 382945 h 488964"/>
                  <a:gd name="connsiteX15" fmla="*/ 514455 w 655814"/>
                  <a:gd name="connsiteY15" fmla="*/ 384103 h 488964"/>
                  <a:gd name="connsiteX16" fmla="*/ 520248 w 655814"/>
                  <a:gd name="connsiteY16" fmla="*/ 385262 h 488964"/>
                  <a:gd name="connsiteX17" fmla="*/ 524883 w 655814"/>
                  <a:gd name="connsiteY17" fmla="*/ 384103 h 488964"/>
                  <a:gd name="connsiteX18" fmla="*/ 529517 w 655814"/>
                  <a:gd name="connsiteY18" fmla="*/ 383524 h 488964"/>
                  <a:gd name="connsiteX19" fmla="*/ 533573 w 655814"/>
                  <a:gd name="connsiteY19" fmla="*/ 381786 h 488964"/>
                  <a:gd name="connsiteX20" fmla="*/ 537628 w 655814"/>
                  <a:gd name="connsiteY20" fmla="*/ 378889 h 488964"/>
                  <a:gd name="connsiteX21" fmla="*/ 541104 w 655814"/>
                  <a:gd name="connsiteY21" fmla="*/ 375992 h 488964"/>
                  <a:gd name="connsiteX22" fmla="*/ 543422 w 655814"/>
                  <a:gd name="connsiteY22" fmla="*/ 372516 h 488964"/>
                  <a:gd name="connsiteX23" fmla="*/ 546318 w 655814"/>
                  <a:gd name="connsiteY23" fmla="*/ 368461 h 488964"/>
                  <a:gd name="connsiteX24" fmla="*/ 547477 w 655814"/>
                  <a:gd name="connsiteY24" fmla="*/ 363826 h 488964"/>
                  <a:gd name="connsiteX25" fmla="*/ 547477 w 655814"/>
                  <a:gd name="connsiteY25" fmla="*/ 362668 h 488964"/>
                  <a:gd name="connsiteX26" fmla="*/ 548056 w 655814"/>
                  <a:gd name="connsiteY26" fmla="*/ 360350 h 488964"/>
                  <a:gd name="connsiteX27" fmla="*/ 549215 w 655814"/>
                  <a:gd name="connsiteY27" fmla="*/ 357454 h 488964"/>
                  <a:gd name="connsiteX28" fmla="*/ 549215 w 655814"/>
                  <a:gd name="connsiteY28" fmla="*/ 356295 h 488964"/>
                  <a:gd name="connsiteX29" fmla="*/ 548056 w 655814"/>
                  <a:gd name="connsiteY29" fmla="*/ 351081 h 488964"/>
                  <a:gd name="connsiteX30" fmla="*/ 546898 w 655814"/>
                  <a:gd name="connsiteY30" fmla="*/ 345867 h 488964"/>
                  <a:gd name="connsiteX31" fmla="*/ 544001 w 655814"/>
                  <a:gd name="connsiteY31" fmla="*/ 340653 h 488964"/>
                  <a:gd name="connsiteX32" fmla="*/ 541104 w 655814"/>
                  <a:gd name="connsiteY32" fmla="*/ 336597 h 488964"/>
                  <a:gd name="connsiteX33" fmla="*/ 536470 w 655814"/>
                  <a:gd name="connsiteY33" fmla="*/ 333121 h 488964"/>
                  <a:gd name="connsiteX34" fmla="*/ 531835 w 655814"/>
                  <a:gd name="connsiteY34" fmla="*/ 329645 h 488964"/>
                  <a:gd name="connsiteX35" fmla="*/ 526041 w 655814"/>
                  <a:gd name="connsiteY35" fmla="*/ 328486 h 488964"/>
                  <a:gd name="connsiteX36" fmla="*/ 512137 w 655814"/>
                  <a:gd name="connsiteY36" fmla="*/ 221308 h 488964"/>
                  <a:gd name="connsiteX37" fmla="*/ 520248 w 655814"/>
                  <a:gd name="connsiteY37" fmla="*/ 249117 h 488964"/>
                  <a:gd name="connsiteX38" fmla="*/ 524303 w 655814"/>
                  <a:gd name="connsiteY38" fmla="*/ 249117 h 488964"/>
                  <a:gd name="connsiteX39" fmla="*/ 527779 w 655814"/>
                  <a:gd name="connsiteY39" fmla="*/ 249117 h 488964"/>
                  <a:gd name="connsiteX40" fmla="*/ 531835 w 655814"/>
                  <a:gd name="connsiteY40" fmla="*/ 249696 h 488964"/>
                  <a:gd name="connsiteX41" fmla="*/ 535890 w 655814"/>
                  <a:gd name="connsiteY41" fmla="*/ 249696 h 488964"/>
                  <a:gd name="connsiteX42" fmla="*/ 539366 w 655814"/>
                  <a:gd name="connsiteY42" fmla="*/ 250275 h 488964"/>
                  <a:gd name="connsiteX43" fmla="*/ 543422 w 655814"/>
                  <a:gd name="connsiteY43" fmla="*/ 250855 h 488964"/>
                  <a:gd name="connsiteX44" fmla="*/ 546898 w 655814"/>
                  <a:gd name="connsiteY44" fmla="*/ 252593 h 488964"/>
                  <a:gd name="connsiteX45" fmla="*/ 550953 w 655814"/>
                  <a:gd name="connsiteY45" fmla="*/ 253172 h 488964"/>
                  <a:gd name="connsiteX46" fmla="*/ 564278 w 655814"/>
                  <a:gd name="connsiteY46" fmla="*/ 229419 h 488964"/>
                  <a:gd name="connsiteX47" fmla="*/ 608887 w 655814"/>
                  <a:gd name="connsiteY47" fmla="*/ 254331 h 488964"/>
                  <a:gd name="connsiteX48" fmla="*/ 595562 w 655814"/>
                  <a:gd name="connsiteY48" fmla="*/ 278663 h 488964"/>
                  <a:gd name="connsiteX49" fmla="*/ 600777 w 655814"/>
                  <a:gd name="connsiteY49" fmla="*/ 283877 h 488964"/>
                  <a:gd name="connsiteX50" fmla="*/ 605991 w 655814"/>
                  <a:gd name="connsiteY50" fmla="*/ 289670 h 488964"/>
                  <a:gd name="connsiteX51" fmla="*/ 610625 w 655814"/>
                  <a:gd name="connsiteY51" fmla="*/ 296623 h 488964"/>
                  <a:gd name="connsiteX52" fmla="*/ 614681 w 655814"/>
                  <a:gd name="connsiteY52" fmla="*/ 302995 h 488964"/>
                  <a:gd name="connsiteX53" fmla="*/ 642489 w 655814"/>
                  <a:gd name="connsiteY53" fmla="*/ 296043 h 488964"/>
                  <a:gd name="connsiteX54" fmla="*/ 655814 w 655814"/>
                  <a:gd name="connsiteY54" fmla="*/ 345287 h 488964"/>
                  <a:gd name="connsiteX55" fmla="*/ 628585 w 655814"/>
                  <a:gd name="connsiteY55" fmla="*/ 352819 h 488964"/>
                  <a:gd name="connsiteX56" fmla="*/ 628585 w 655814"/>
                  <a:gd name="connsiteY56" fmla="*/ 355136 h 488964"/>
                  <a:gd name="connsiteX57" fmla="*/ 628585 w 655814"/>
                  <a:gd name="connsiteY57" fmla="*/ 358612 h 488964"/>
                  <a:gd name="connsiteX58" fmla="*/ 628006 w 655814"/>
                  <a:gd name="connsiteY58" fmla="*/ 361509 h 488964"/>
                  <a:gd name="connsiteX59" fmla="*/ 628006 w 655814"/>
                  <a:gd name="connsiteY59" fmla="*/ 363826 h 488964"/>
                  <a:gd name="connsiteX60" fmla="*/ 626847 w 655814"/>
                  <a:gd name="connsiteY60" fmla="*/ 368461 h 488964"/>
                  <a:gd name="connsiteX61" fmla="*/ 626268 w 655814"/>
                  <a:gd name="connsiteY61" fmla="*/ 373675 h 488964"/>
                  <a:gd name="connsiteX62" fmla="*/ 625109 w 655814"/>
                  <a:gd name="connsiteY62" fmla="*/ 378310 h 488964"/>
                  <a:gd name="connsiteX63" fmla="*/ 624530 w 655814"/>
                  <a:gd name="connsiteY63" fmla="*/ 383524 h 488964"/>
                  <a:gd name="connsiteX64" fmla="*/ 648862 w 655814"/>
                  <a:gd name="connsiteY64" fmla="*/ 397428 h 488964"/>
                  <a:gd name="connsiteX65" fmla="*/ 623950 w 655814"/>
                  <a:gd name="connsiteY65" fmla="*/ 442617 h 488964"/>
                  <a:gd name="connsiteX66" fmla="*/ 598459 w 655814"/>
                  <a:gd name="connsiteY66" fmla="*/ 428133 h 488964"/>
                  <a:gd name="connsiteX67" fmla="*/ 595562 w 655814"/>
                  <a:gd name="connsiteY67" fmla="*/ 431030 h 488964"/>
                  <a:gd name="connsiteX68" fmla="*/ 593245 w 655814"/>
                  <a:gd name="connsiteY68" fmla="*/ 433927 h 488964"/>
                  <a:gd name="connsiteX69" fmla="*/ 590348 w 655814"/>
                  <a:gd name="connsiteY69" fmla="*/ 436244 h 488964"/>
                  <a:gd name="connsiteX70" fmla="*/ 586872 w 655814"/>
                  <a:gd name="connsiteY70" fmla="*/ 438561 h 488964"/>
                  <a:gd name="connsiteX71" fmla="*/ 583976 w 655814"/>
                  <a:gd name="connsiteY71" fmla="*/ 440879 h 488964"/>
                  <a:gd name="connsiteX72" fmla="*/ 581079 w 655814"/>
                  <a:gd name="connsiteY72" fmla="*/ 443196 h 488964"/>
                  <a:gd name="connsiteX73" fmla="*/ 577603 w 655814"/>
                  <a:gd name="connsiteY73" fmla="*/ 444934 h 488964"/>
                  <a:gd name="connsiteX74" fmla="*/ 574127 w 655814"/>
                  <a:gd name="connsiteY74" fmla="*/ 447252 h 488964"/>
                  <a:gd name="connsiteX75" fmla="*/ 581658 w 655814"/>
                  <a:gd name="connsiteY75" fmla="*/ 475060 h 488964"/>
                  <a:gd name="connsiteX76" fmla="*/ 532414 w 655814"/>
                  <a:gd name="connsiteY76" fmla="*/ 488964 h 488964"/>
                  <a:gd name="connsiteX77" fmla="*/ 524303 w 655814"/>
                  <a:gd name="connsiteY77" fmla="*/ 461156 h 488964"/>
                  <a:gd name="connsiteX78" fmla="*/ 520248 w 655814"/>
                  <a:gd name="connsiteY78" fmla="*/ 461156 h 488964"/>
                  <a:gd name="connsiteX79" fmla="*/ 516193 w 655814"/>
                  <a:gd name="connsiteY79" fmla="*/ 461156 h 488964"/>
                  <a:gd name="connsiteX80" fmla="*/ 512137 w 655814"/>
                  <a:gd name="connsiteY80" fmla="*/ 460576 h 488964"/>
                  <a:gd name="connsiteX81" fmla="*/ 508661 w 655814"/>
                  <a:gd name="connsiteY81" fmla="*/ 459418 h 488964"/>
                  <a:gd name="connsiteX82" fmla="*/ 504606 w 655814"/>
                  <a:gd name="connsiteY82" fmla="*/ 459418 h 488964"/>
                  <a:gd name="connsiteX83" fmla="*/ 501130 w 655814"/>
                  <a:gd name="connsiteY83" fmla="*/ 458838 h 488964"/>
                  <a:gd name="connsiteX84" fmla="*/ 497654 w 655814"/>
                  <a:gd name="connsiteY84" fmla="*/ 457680 h 488964"/>
                  <a:gd name="connsiteX85" fmla="*/ 493598 w 655814"/>
                  <a:gd name="connsiteY85" fmla="*/ 457100 h 488964"/>
                  <a:gd name="connsiteX86" fmla="*/ 479694 w 655814"/>
                  <a:gd name="connsiteY86" fmla="*/ 480853 h 488964"/>
                  <a:gd name="connsiteX87" fmla="*/ 434505 w 655814"/>
                  <a:gd name="connsiteY87" fmla="*/ 455942 h 488964"/>
                  <a:gd name="connsiteX88" fmla="*/ 448989 w 655814"/>
                  <a:gd name="connsiteY88" fmla="*/ 431030 h 488964"/>
                  <a:gd name="connsiteX89" fmla="*/ 443195 w 655814"/>
                  <a:gd name="connsiteY89" fmla="*/ 425816 h 488964"/>
                  <a:gd name="connsiteX90" fmla="*/ 437981 w 655814"/>
                  <a:gd name="connsiteY90" fmla="*/ 419443 h 488964"/>
                  <a:gd name="connsiteX91" fmla="*/ 433347 w 655814"/>
                  <a:gd name="connsiteY91" fmla="*/ 413650 h 488964"/>
                  <a:gd name="connsiteX92" fmla="*/ 429291 w 655814"/>
                  <a:gd name="connsiteY92" fmla="*/ 407277 h 488964"/>
                  <a:gd name="connsiteX93" fmla="*/ 402062 w 655814"/>
                  <a:gd name="connsiteY93" fmla="*/ 414229 h 488964"/>
                  <a:gd name="connsiteX94" fmla="*/ 388158 w 655814"/>
                  <a:gd name="connsiteY94" fmla="*/ 364985 h 488964"/>
                  <a:gd name="connsiteX95" fmla="*/ 415966 w 655814"/>
                  <a:gd name="connsiteY95" fmla="*/ 356874 h 488964"/>
                  <a:gd name="connsiteX96" fmla="*/ 415966 w 655814"/>
                  <a:gd name="connsiteY96" fmla="*/ 349343 h 488964"/>
                  <a:gd name="connsiteX97" fmla="*/ 417125 w 655814"/>
                  <a:gd name="connsiteY97" fmla="*/ 341811 h 488964"/>
                  <a:gd name="connsiteX98" fmla="*/ 418284 w 655814"/>
                  <a:gd name="connsiteY98" fmla="*/ 333700 h 488964"/>
                  <a:gd name="connsiteX99" fmla="*/ 420022 w 655814"/>
                  <a:gd name="connsiteY99" fmla="*/ 326169 h 488964"/>
                  <a:gd name="connsiteX100" fmla="*/ 397427 w 655814"/>
                  <a:gd name="connsiteY100" fmla="*/ 314003 h 488964"/>
                  <a:gd name="connsiteX101" fmla="*/ 422919 w 655814"/>
                  <a:gd name="connsiteY101" fmla="*/ 268235 h 488964"/>
                  <a:gd name="connsiteX102" fmla="*/ 445513 w 655814"/>
                  <a:gd name="connsiteY102" fmla="*/ 281560 h 488964"/>
                  <a:gd name="connsiteX103" fmla="*/ 447830 w 655814"/>
                  <a:gd name="connsiteY103" fmla="*/ 279242 h 488964"/>
                  <a:gd name="connsiteX104" fmla="*/ 450727 w 655814"/>
                  <a:gd name="connsiteY104" fmla="*/ 276346 h 488964"/>
                  <a:gd name="connsiteX105" fmla="*/ 454203 w 655814"/>
                  <a:gd name="connsiteY105" fmla="*/ 274028 h 488964"/>
                  <a:gd name="connsiteX106" fmla="*/ 456520 w 655814"/>
                  <a:gd name="connsiteY106" fmla="*/ 271132 h 488964"/>
                  <a:gd name="connsiteX107" fmla="*/ 459996 w 655814"/>
                  <a:gd name="connsiteY107" fmla="*/ 269394 h 488964"/>
                  <a:gd name="connsiteX108" fmla="*/ 463472 w 655814"/>
                  <a:gd name="connsiteY108" fmla="*/ 267076 h 488964"/>
                  <a:gd name="connsiteX109" fmla="*/ 466949 w 655814"/>
                  <a:gd name="connsiteY109" fmla="*/ 265338 h 488964"/>
                  <a:gd name="connsiteX110" fmla="*/ 470425 w 655814"/>
                  <a:gd name="connsiteY110" fmla="*/ 263021 h 488964"/>
                  <a:gd name="connsiteX111" fmla="*/ 462314 w 655814"/>
                  <a:gd name="connsiteY111" fmla="*/ 235212 h 488964"/>
                  <a:gd name="connsiteX112" fmla="*/ 209142 w 655814"/>
                  <a:gd name="connsiteY112" fmla="*/ 107608 h 488964"/>
                  <a:gd name="connsiteX113" fmla="*/ 188286 w 655814"/>
                  <a:gd name="connsiteY113" fmla="*/ 109922 h 488964"/>
                  <a:gd name="connsiteX114" fmla="*/ 169747 w 655814"/>
                  <a:gd name="connsiteY114" fmla="*/ 115707 h 488964"/>
                  <a:gd name="connsiteX115" fmla="*/ 152367 w 655814"/>
                  <a:gd name="connsiteY115" fmla="*/ 124964 h 488964"/>
                  <a:gd name="connsiteX116" fmla="*/ 137304 w 655814"/>
                  <a:gd name="connsiteY116" fmla="*/ 137113 h 488964"/>
                  <a:gd name="connsiteX117" fmla="*/ 125717 w 655814"/>
                  <a:gd name="connsiteY117" fmla="*/ 151576 h 488964"/>
                  <a:gd name="connsiteX118" fmla="*/ 116448 w 655814"/>
                  <a:gd name="connsiteY118" fmla="*/ 168932 h 488964"/>
                  <a:gd name="connsiteX119" fmla="*/ 110075 w 655814"/>
                  <a:gd name="connsiteY119" fmla="*/ 187446 h 488964"/>
                  <a:gd name="connsiteX120" fmla="*/ 108337 w 655814"/>
                  <a:gd name="connsiteY120" fmla="*/ 207694 h 488964"/>
                  <a:gd name="connsiteX121" fmla="*/ 110075 w 655814"/>
                  <a:gd name="connsiteY121" fmla="*/ 227365 h 488964"/>
                  <a:gd name="connsiteX122" fmla="*/ 116448 w 655814"/>
                  <a:gd name="connsiteY122" fmla="*/ 247035 h 488964"/>
                  <a:gd name="connsiteX123" fmla="*/ 125717 w 655814"/>
                  <a:gd name="connsiteY123" fmla="*/ 263234 h 488964"/>
                  <a:gd name="connsiteX124" fmla="*/ 137304 w 655814"/>
                  <a:gd name="connsiteY124" fmla="*/ 278854 h 488964"/>
                  <a:gd name="connsiteX125" fmla="*/ 152367 w 655814"/>
                  <a:gd name="connsiteY125" fmla="*/ 290425 h 488964"/>
                  <a:gd name="connsiteX126" fmla="*/ 169747 w 655814"/>
                  <a:gd name="connsiteY126" fmla="*/ 300260 h 488964"/>
                  <a:gd name="connsiteX127" fmla="*/ 188286 w 655814"/>
                  <a:gd name="connsiteY127" fmla="*/ 306045 h 488964"/>
                  <a:gd name="connsiteX128" fmla="*/ 209142 w 655814"/>
                  <a:gd name="connsiteY128" fmla="*/ 307781 h 488964"/>
                  <a:gd name="connsiteX129" fmla="*/ 228840 w 655814"/>
                  <a:gd name="connsiteY129" fmla="*/ 306045 h 488964"/>
                  <a:gd name="connsiteX130" fmla="*/ 247958 w 655814"/>
                  <a:gd name="connsiteY130" fmla="*/ 300260 h 488964"/>
                  <a:gd name="connsiteX131" fmla="*/ 265338 w 655814"/>
                  <a:gd name="connsiteY131" fmla="*/ 290425 h 488964"/>
                  <a:gd name="connsiteX132" fmla="*/ 279822 w 655814"/>
                  <a:gd name="connsiteY132" fmla="*/ 278854 h 488964"/>
                  <a:gd name="connsiteX133" fmla="*/ 291988 w 655814"/>
                  <a:gd name="connsiteY133" fmla="*/ 263234 h 488964"/>
                  <a:gd name="connsiteX134" fmla="*/ 301257 w 655814"/>
                  <a:gd name="connsiteY134" fmla="*/ 247035 h 488964"/>
                  <a:gd name="connsiteX135" fmla="*/ 307051 w 655814"/>
                  <a:gd name="connsiteY135" fmla="*/ 227365 h 488964"/>
                  <a:gd name="connsiteX136" fmla="*/ 309368 w 655814"/>
                  <a:gd name="connsiteY136" fmla="*/ 207694 h 488964"/>
                  <a:gd name="connsiteX137" fmla="*/ 309368 w 655814"/>
                  <a:gd name="connsiteY137" fmla="*/ 207116 h 488964"/>
                  <a:gd name="connsiteX138" fmla="*/ 309368 w 655814"/>
                  <a:gd name="connsiteY138" fmla="*/ 205959 h 488964"/>
                  <a:gd name="connsiteX139" fmla="*/ 309368 w 655814"/>
                  <a:gd name="connsiteY139" fmla="*/ 205380 h 488964"/>
                  <a:gd name="connsiteX140" fmla="*/ 305892 w 655814"/>
                  <a:gd name="connsiteY140" fmla="*/ 185131 h 488964"/>
                  <a:gd name="connsiteX141" fmla="*/ 300098 w 655814"/>
                  <a:gd name="connsiteY141" fmla="*/ 166040 h 488964"/>
                  <a:gd name="connsiteX142" fmla="*/ 289670 w 655814"/>
                  <a:gd name="connsiteY142" fmla="*/ 149841 h 488964"/>
                  <a:gd name="connsiteX143" fmla="*/ 278084 w 655814"/>
                  <a:gd name="connsiteY143" fmla="*/ 135956 h 488964"/>
                  <a:gd name="connsiteX144" fmla="*/ 263021 w 655814"/>
                  <a:gd name="connsiteY144" fmla="*/ 123807 h 488964"/>
                  <a:gd name="connsiteX145" fmla="*/ 246220 w 655814"/>
                  <a:gd name="connsiteY145" fmla="*/ 115129 h 488964"/>
                  <a:gd name="connsiteX146" fmla="*/ 228260 w 655814"/>
                  <a:gd name="connsiteY146" fmla="*/ 109922 h 488964"/>
                  <a:gd name="connsiteX147" fmla="*/ 552395 w 655814"/>
                  <a:gd name="connsiteY147" fmla="*/ 94433 h 488964"/>
                  <a:gd name="connsiteX148" fmla="*/ 543676 w 655814"/>
                  <a:gd name="connsiteY148" fmla="*/ 96171 h 488964"/>
                  <a:gd name="connsiteX149" fmla="*/ 536120 w 655814"/>
                  <a:gd name="connsiteY149" fmla="*/ 98488 h 488964"/>
                  <a:gd name="connsiteX150" fmla="*/ 528563 w 655814"/>
                  <a:gd name="connsiteY150" fmla="*/ 102543 h 488964"/>
                  <a:gd name="connsiteX151" fmla="*/ 521588 w 655814"/>
                  <a:gd name="connsiteY151" fmla="*/ 107757 h 488964"/>
                  <a:gd name="connsiteX152" fmla="*/ 516357 w 655814"/>
                  <a:gd name="connsiteY152" fmla="*/ 114710 h 488964"/>
                  <a:gd name="connsiteX153" fmla="*/ 512869 w 655814"/>
                  <a:gd name="connsiteY153" fmla="*/ 122241 h 488964"/>
                  <a:gd name="connsiteX154" fmla="*/ 510544 w 655814"/>
                  <a:gd name="connsiteY154" fmla="*/ 130931 h 488964"/>
                  <a:gd name="connsiteX155" fmla="*/ 509963 w 655814"/>
                  <a:gd name="connsiteY155" fmla="*/ 139042 h 488964"/>
                  <a:gd name="connsiteX156" fmla="*/ 511125 w 655814"/>
                  <a:gd name="connsiteY156" fmla="*/ 147732 h 488964"/>
                  <a:gd name="connsiteX157" fmla="*/ 514032 w 655814"/>
                  <a:gd name="connsiteY157" fmla="*/ 156422 h 488964"/>
                  <a:gd name="connsiteX158" fmla="*/ 518100 w 655814"/>
                  <a:gd name="connsiteY158" fmla="*/ 163953 h 488964"/>
                  <a:gd name="connsiteX159" fmla="*/ 523913 w 655814"/>
                  <a:gd name="connsiteY159" fmla="*/ 170906 h 488964"/>
                  <a:gd name="connsiteX160" fmla="*/ 529726 w 655814"/>
                  <a:gd name="connsiteY160" fmla="*/ 176120 h 488964"/>
                  <a:gd name="connsiteX161" fmla="*/ 537863 w 655814"/>
                  <a:gd name="connsiteY161" fmla="*/ 179016 h 488964"/>
                  <a:gd name="connsiteX162" fmla="*/ 546001 w 655814"/>
                  <a:gd name="connsiteY162" fmla="*/ 181913 h 488964"/>
                  <a:gd name="connsiteX163" fmla="*/ 555301 w 655814"/>
                  <a:gd name="connsiteY163" fmla="*/ 182492 h 488964"/>
                  <a:gd name="connsiteX164" fmla="*/ 563439 w 655814"/>
                  <a:gd name="connsiteY164" fmla="*/ 181913 h 488964"/>
                  <a:gd name="connsiteX165" fmla="*/ 570996 w 655814"/>
                  <a:gd name="connsiteY165" fmla="*/ 179016 h 488964"/>
                  <a:gd name="connsiteX166" fmla="*/ 577971 w 655814"/>
                  <a:gd name="connsiteY166" fmla="*/ 176120 h 488964"/>
                  <a:gd name="connsiteX167" fmla="*/ 584365 w 655814"/>
                  <a:gd name="connsiteY167" fmla="*/ 170906 h 488964"/>
                  <a:gd name="connsiteX168" fmla="*/ 589596 w 655814"/>
                  <a:gd name="connsiteY168" fmla="*/ 165112 h 488964"/>
                  <a:gd name="connsiteX169" fmla="*/ 593665 w 655814"/>
                  <a:gd name="connsiteY169" fmla="*/ 158739 h 488964"/>
                  <a:gd name="connsiteX170" fmla="*/ 597153 w 655814"/>
                  <a:gd name="connsiteY170" fmla="*/ 150629 h 488964"/>
                  <a:gd name="connsiteX171" fmla="*/ 598315 w 655814"/>
                  <a:gd name="connsiteY171" fmla="*/ 142518 h 488964"/>
                  <a:gd name="connsiteX172" fmla="*/ 598315 w 655814"/>
                  <a:gd name="connsiteY172" fmla="*/ 141359 h 488964"/>
                  <a:gd name="connsiteX173" fmla="*/ 598896 w 655814"/>
                  <a:gd name="connsiteY173" fmla="*/ 140200 h 488964"/>
                  <a:gd name="connsiteX174" fmla="*/ 598896 w 655814"/>
                  <a:gd name="connsiteY174" fmla="*/ 138462 h 488964"/>
                  <a:gd name="connsiteX175" fmla="*/ 598896 w 655814"/>
                  <a:gd name="connsiteY175" fmla="*/ 137304 h 488964"/>
                  <a:gd name="connsiteX176" fmla="*/ 597734 w 655814"/>
                  <a:gd name="connsiteY176" fmla="*/ 128614 h 488964"/>
                  <a:gd name="connsiteX177" fmla="*/ 594827 w 655814"/>
                  <a:gd name="connsiteY177" fmla="*/ 120503 h 488964"/>
                  <a:gd name="connsiteX178" fmla="*/ 590177 w 655814"/>
                  <a:gd name="connsiteY178" fmla="*/ 113551 h 488964"/>
                  <a:gd name="connsiteX179" fmla="*/ 584946 w 655814"/>
                  <a:gd name="connsiteY179" fmla="*/ 106599 h 488964"/>
                  <a:gd name="connsiteX180" fmla="*/ 577971 w 655814"/>
                  <a:gd name="connsiteY180" fmla="*/ 101385 h 488964"/>
                  <a:gd name="connsiteX181" fmla="*/ 569833 w 655814"/>
                  <a:gd name="connsiteY181" fmla="*/ 97909 h 488964"/>
                  <a:gd name="connsiteX182" fmla="*/ 562277 w 655814"/>
                  <a:gd name="connsiteY182" fmla="*/ 95591 h 488964"/>
                  <a:gd name="connsiteX183" fmla="*/ 550070 w 655814"/>
                  <a:gd name="connsiteY183" fmla="*/ 50982 h 488964"/>
                  <a:gd name="connsiteX184" fmla="*/ 583783 w 655814"/>
                  <a:gd name="connsiteY184" fmla="*/ 56196 h 488964"/>
                  <a:gd name="connsiteX185" fmla="*/ 580877 w 655814"/>
                  <a:gd name="connsiteY185" fmla="*/ 74156 h 488964"/>
                  <a:gd name="connsiteX186" fmla="*/ 585527 w 655814"/>
                  <a:gd name="connsiteY186" fmla="*/ 75894 h 488964"/>
                  <a:gd name="connsiteX187" fmla="*/ 589596 w 655814"/>
                  <a:gd name="connsiteY187" fmla="*/ 78790 h 488964"/>
                  <a:gd name="connsiteX188" fmla="*/ 594246 w 655814"/>
                  <a:gd name="connsiteY188" fmla="*/ 81108 h 488964"/>
                  <a:gd name="connsiteX189" fmla="*/ 598315 w 655814"/>
                  <a:gd name="connsiteY189" fmla="*/ 84584 h 488964"/>
                  <a:gd name="connsiteX190" fmla="*/ 613428 w 655814"/>
                  <a:gd name="connsiteY190" fmla="*/ 73576 h 488964"/>
                  <a:gd name="connsiteX191" fmla="*/ 633772 w 655814"/>
                  <a:gd name="connsiteY191" fmla="*/ 100805 h 488964"/>
                  <a:gd name="connsiteX192" fmla="*/ 618078 w 655814"/>
                  <a:gd name="connsiteY192" fmla="*/ 111813 h 488964"/>
                  <a:gd name="connsiteX193" fmla="*/ 620403 w 655814"/>
                  <a:gd name="connsiteY193" fmla="*/ 116448 h 488964"/>
                  <a:gd name="connsiteX194" fmla="*/ 621566 w 655814"/>
                  <a:gd name="connsiteY194" fmla="*/ 121082 h 488964"/>
                  <a:gd name="connsiteX195" fmla="*/ 622147 w 655814"/>
                  <a:gd name="connsiteY195" fmla="*/ 126876 h 488964"/>
                  <a:gd name="connsiteX196" fmla="*/ 623310 w 655814"/>
                  <a:gd name="connsiteY196" fmla="*/ 131510 h 488964"/>
                  <a:gd name="connsiteX197" fmla="*/ 641910 w 655814"/>
                  <a:gd name="connsiteY197" fmla="*/ 133828 h 488964"/>
                  <a:gd name="connsiteX198" fmla="*/ 640166 w 655814"/>
                  <a:gd name="connsiteY198" fmla="*/ 142518 h 488964"/>
                  <a:gd name="connsiteX199" fmla="*/ 636679 w 655814"/>
                  <a:gd name="connsiteY199" fmla="*/ 167429 h 488964"/>
                  <a:gd name="connsiteX200" fmla="*/ 617497 w 655814"/>
                  <a:gd name="connsiteY200" fmla="*/ 164533 h 488964"/>
                  <a:gd name="connsiteX201" fmla="*/ 615753 w 655814"/>
                  <a:gd name="connsiteY201" fmla="*/ 169167 h 488964"/>
                  <a:gd name="connsiteX202" fmla="*/ 612847 w 655814"/>
                  <a:gd name="connsiteY202" fmla="*/ 173223 h 488964"/>
                  <a:gd name="connsiteX203" fmla="*/ 610522 w 655814"/>
                  <a:gd name="connsiteY203" fmla="*/ 177858 h 488964"/>
                  <a:gd name="connsiteX204" fmla="*/ 607034 w 655814"/>
                  <a:gd name="connsiteY204" fmla="*/ 181913 h 488964"/>
                  <a:gd name="connsiteX205" fmla="*/ 618078 w 655814"/>
                  <a:gd name="connsiteY205" fmla="*/ 197555 h 488964"/>
                  <a:gd name="connsiteX206" fmla="*/ 590759 w 655814"/>
                  <a:gd name="connsiteY206" fmla="*/ 217253 h 488964"/>
                  <a:gd name="connsiteX207" fmla="*/ 579715 w 655814"/>
                  <a:gd name="connsiteY207" fmla="*/ 202190 h 488964"/>
                  <a:gd name="connsiteX208" fmla="*/ 575064 w 655814"/>
                  <a:gd name="connsiteY208" fmla="*/ 203349 h 488964"/>
                  <a:gd name="connsiteX209" fmla="*/ 569833 w 655814"/>
                  <a:gd name="connsiteY209" fmla="*/ 204507 h 488964"/>
                  <a:gd name="connsiteX210" fmla="*/ 564602 w 655814"/>
                  <a:gd name="connsiteY210" fmla="*/ 205666 h 488964"/>
                  <a:gd name="connsiteX211" fmla="*/ 559952 w 655814"/>
                  <a:gd name="connsiteY211" fmla="*/ 206825 h 488964"/>
                  <a:gd name="connsiteX212" fmla="*/ 556464 w 655814"/>
                  <a:gd name="connsiteY212" fmla="*/ 224784 h 488964"/>
                  <a:gd name="connsiteX213" fmla="*/ 523332 w 655814"/>
                  <a:gd name="connsiteY213" fmla="*/ 218991 h 488964"/>
                  <a:gd name="connsiteX214" fmla="*/ 526819 w 655814"/>
                  <a:gd name="connsiteY214" fmla="*/ 201031 h 488964"/>
                  <a:gd name="connsiteX215" fmla="*/ 521588 w 655814"/>
                  <a:gd name="connsiteY215" fmla="*/ 199293 h 488964"/>
                  <a:gd name="connsiteX216" fmla="*/ 516938 w 655814"/>
                  <a:gd name="connsiteY216" fmla="*/ 196396 h 488964"/>
                  <a:gd name="connsiteX217" fmla="*/ 512869 w 655814"/>
                  <a:gd name="connsiteY217" fmla="*/ 194079 h 488964"/>
                  <a:gd name="connsiteX218" fmla="*/ 509381 w 655814"/>
                  <a:gd name="connsiteY218" fmla="*/ 190603 h 488964"/>
                  <a:gd name="connsiteX219" fmla="*/ 493687 w 655814"/>
                  <a:gd name="connsiteY219" fmla="*/ 202190 h 488964"/>
                  <a:gd name="connsiteX220" fmla="*/ 473343 w 655814"/>
                  <a:gd name="connsiteY220" fmla="*/ 174382 h 488964"/>
                  <a:gd name="connsiteX221" fmla="*/ 489037 w 655814"/>
                  <a:gd name="connsiteY221" fmla="*/ 163374 h 488964"/>
                  <a:gd name="connsiteX222" fmla="*/ 487293 w 655814"/>
                  <a:gd name="connsiteY222" fmla="*/ 158160 h 488964"/>
                  <a:gd name="connsiteX223" fmla="*/ 485550 w 655814"/>
                  <a:gd name="connsiteY223" fmla="*/ 153525 h 488964"/>
                  <a:gd name="connsiteX224" fmla="*/ 484968 w 655814"/>
                  <a:gd name="connsiteY224" fmla="*/ 147732 h 488964"/>
                  <a:gd name="connsiteX225" fmla="*/ 484387 w 655814"/>
                  <a:gd name="connsiteY225" fmla="*/ 143097 h 488964"/>
                  <a:gd name="connsiteX226" fmla="*/ 466949 w 655814"/>
                  <a:gd name="connsiteY226" fmla="*/ 140780 h 488964"/>
                  <a:gd name="connsiteX227" fmla="*/ 472180 w 655814"/>
                  <a:gd name="connsiteY227" fmla="*/ 107757 h 488964"/>
                  <a:gd name="connsiteX228" fmla="*/ 489618 w 655814"/>
                  <a:gd name="connsiteY228" fmla="*/ 110654 h 488964"/>
                  <a:gd name="connsiteX229" fmla="*/ 491943 w 655814"/>
                  <a:gd name="connsiteY229" fmla="*/ 106019 h 488964"/>
                  <a:gd name="connsiteX230" fmla="*/ 493687 w 655814"/>
                  <a:gd name="connsiteY230" fmla="*/ 101964 h 488964"/>
                  <a:gd name="connsiteX231" fmla="*/ 497175 w 655814"/>
                  <a:gd name="connsiteY231" fmla="*/ 97329 h 488964"/>
                  <a:gd name="connsiteX232" fmla="*/ 499500 w 655814"/>
                  <a:gd name="connsiteY232" fmla="*/ 93274 h 488964"/>
                  <a:gd name="connsiteX233" fmla="*/ 489037 w 655814"/>
                  <a:gd name="connsiteY233" fmla="*/ 78211 h 488964"/>
                  <a:gd name="connsiteX234" fmla="*/ 516357 w 655814"/>
                  <a:gd name="connsiteY234" fmla="*/ 57934 h 488964"/>
                  <a:gd name="connsiteX235" fmla="*/ 527401 w 655814"/>
                  <a:gd name="connsiteY235" fmla="*/ 73576 h 488964"/>
                  <a:gd name="connsiteX236" fmla="*/ 529726 w 655814"/>
                  <a:gd name="connsiteY236" fmla="*/ 72418 h 488964"/>
                  <a:gd name="connsiteX237" fmla="*/ 532632 w 655814"/>
                  <a:gd name="connsiteY237" fmla="*/ 71259 h 488964"/>
                  <a:gd name="connsiteX238" fmla="*/ 534376 w 655814"/>
                  <a:gd name="connsiteY238" fmla="*/ 70680 h 488964"/>
                  <a:gd name="connsiteX239" fmla="*/ 537282 w 655814"/>
                  <a:gd name="connsiteY239" fmla="*/ 70100 h 488964"/>
                  <a:gd name="connsiteX240" fmla="*/ 540188 w 655814"/>
                  <a:gd name="connsiteY240" fmla="*/ 70100 h 488964"/>
                  <a:gd name="connsiteX241" fmla="*/ 542514 w 655814"/>
                  <a:gd name="connsiteY241" fmla="*/ 69521 h 488964"/>
                  <a:gd name="connsiteX242" fmla="*/ 544839 w 655814"/>
                  <a:gd name="connsiteY242" fmla="*/ 68942 h 488964"/>
                  <a:gd name="connsiteX243" fmla="*/ 547164 w 655814"/>
                  <a:gd name="connsiteY243" fmla="*/ 68942 h 488964"/>
                  <a:gd name="connsiteX244" fmla="*/ 167430 w 655814"/>
                  <a:gd name="connsiteY244" fmla="*/ 0 h 488964"/>
                  <a:gd name="connsiteX245" fmla="*/ 249696 w 655814"/>
                  <a:gd name="connsiteY245" fmla="*/ 0 h 488964"/>
                  <a:gd name="connsiteX246" fmla="*/ 249696 w 655814"/>
                  <a:gd name="connsiteY246" fmla="*/ 45126 h 488964"/>
                  <a:gd name="connsiteX247" fmla="*/ 256069 w 655814"/>
                  <a:gd name="connsiteY247" fmla="*/ 47440 h 488964"/>
                  <a:gd name="connsiteX248" fmla="*/ 261862 w 655814"/>
                  <a:gd name="connsiteY248" fmla="*/ 49176 h 488964"/>
                  <a:gd name="connsiteX249" fmla="*/ 267655 w 655814"/>
                  <a:gd name="connsiteY249" fmla="*/ 51490 h 488964"/>
                  <a:gd name="connsiteX250" fmla="*/ 272869 w 655814"/>
                  <a:gd name="connsiteY250" fmla="*/ 53225 h 488964"/>
                  <a:gd name="connsiteX251" fmla="*/ 279242 w 655814"/>
                  <a:gd name="connsiteY251" fmla="*/ 56118 h 488964"/>
                  <a:gd name="connsiteX252" fmla="*/ 284456 w 655814"/>
                  <a:gd name="connsiteY252" fmla="*/ 58432 h 488964"/>
                  <a:gd name="connsiteX253" fmla="*/ 289670 w 655814"/>
                  <a:gd name="connsiteY253" fmla="*/ 61325 h 488964"/>
                  <a:gd name="connsiteX254" fmla="*/ 295464 w 655814"/>
                  <a:gd name="connsiteY254" fmla="*/ 64796 h 488964"/>
                  <a:gd name="connsiteX255" fmla="*/ 326748 w 655814"/>
                  <a:gd name="connsiteY255" fmla="*/ 32977 h 488964"/>
                  <a:gd name="connsiteX256" fmla="*/ 384103 w 655814"/>
                  <a:gd name="connsiteY256" fmla="*/ 91409 h 488964"/>
                  <a:gd name="connsiteX257" fmla="*/ 353398 w 655814"/>
                  <a:gd name="connsiteY257" fmla="*/ 121493 h 488964"/>
                  <a:gd name="connsiteX258" fmla="*/ 359191 w 655814"/>
                  <a:gd name="connsiteY258" fmla="*/ 132485 h 488964"/>
                  <a:gd name="connsiteX259" fmla="*/ 363826 w 655814"/>
                  <a:gd name="connsiteY259" fmla="*/ 142898 h 488964"/>
                  <a:gd name="connsiteX260" fmla="*/ 368461 w 655814"/>
                  <a:gd name="connsiteY260" fmla="*/ 155048 h 488964"/>
                  <a:gd name="connsiteX261" fmla="*/ 371937 w 655814"/>
                  <a:gd name="connsiteY261" fmla="*/ 167197 h 488964"/>
                  <a:gd name="connsiteX262" fmla="*/ 418284 w 655814"/>
                  <a:gd name="connsiteY262" fmla="*/ 167197 h 488964"/>
                  <a:gd name="connsiteX263" fmla="*/ 418284 w 655814"/>
                  <a:gd name="connsiteY263" fmla="*/ 205380 h 488964"/>
                  <a:gd name="connsiteX264" fmla="*/ 418284 w 655814"/>
                  <a:gd name="connsiteY264" fmla="*/ 248192 h 488964"/>
                  <a:gd name="connsiteX265" fmla="*/ 371937 w 655814"/>
                  <a:gd name="connsiteY265" fmla="*/ 248192 h 488964"/>
                  <a:gd name="connsiteX266" fmla="*/ 368461 w 655814"/>
                  <a:gd name="connsiteY266" fmla="*/ 260341 h 488964"/>
                  <a:gd name="connsiteX267" fmla="*/ 363826 w 655814"/>
                  <a:gd name="connsiteY267" fmla="*/ 271333 h 488964"/>
                  <a:gd name="connsiteX268" fmla="*/ 359191 w 655814"/>
                  <a:gd name="connsiteY268" fmla="*/ 282904 h 488964"/>
                  <a:gd name="connsiteX269" fmla="*/ 353398 w 655814"/>
                  <a:gd name="connsiteY269" fmla="*/ 293318 h 488964"/>
                  <a:gd name="connsiteX270" fmla="*/ 385262 w 655814"/>
                  <a:gd name="connsiteY270" fmla="*/ 325716 h 488964"/>
                  <a:gd name="connsiteX271" fmla="*/ 327907 w 655814"/>
                  <a:gd name="connsiteY271" fmla="*/ 383569 h 488964"/>
                  <a:gd name="connsiteX272" fmla="*/ 295464 w 655814"/>
                  <a:gd name="connsiteY272" fmla="*/ 351171 h 488964"/>
                  <a:gd name="connsiteX273" fmla="*/ 289670 w 655814"/>
                  <a:gd name="connsiteY273" fmla="*/ 354642 h 488964"/>
                  <a:gd name="connsiteX274" fmla="*/ 284456 w 655814"/>
                  <a:gd name="connsiteY274" fmla="*/ 356957 h 488964"/>
                  <a:gd name="connsiteX275" fmla="*/ 279242 w 655814"/>
                  <a:gd name="connsiteY275" fmla="*/ 359849 h 488964"/>
                  <a:gd name="connsiteX276" fmla="*/ 272869 w 655814"/>
                  <a:gd name="connsiteY276" fmla="*/ 362742 h 488964"/>
                  <a:gd name="connsiteX277" fmla="*/ 267655 w 655814"/>
                  <a:gd name="connsiteY277" fmla="*/ 364477 h 488964"/>
                  <a:gd name="connsiteX278" fmla="*/ 261862 w 655814"/>
                  <a:gd name="connsiteY278" fmla="*/ 366792 h 488964"/>
                  <a:gd name="connsiteX279" fmla="*/ 256069 w 655814"/>
                  <a:gd name="connsiteY279" fmla="*/ 368527 h 488964"/>
                  <a:gd name="connsiteX280" fmla="*/ 249696 w 655814"/>
                  <a:gd name="connsiteY280" fmla="*/ 369684 h 488964"/>
                  <a:gd name="connsiteX281" fmla="*/ 249696 w 655814"/>
                  <a:gd name="connsiteY281" fmla="*/ 415967 h 488964"/>
                  <a:gd name="connsiteX282" fmla="*/ 167430 w 655814"/>
                  <a:gd name="connsiteY282" fmla="*/ 415967 h 488964"/>
                  <a:gd name="connsiteX283" fmla="*/ 167430 w 655814"/>
                  <a:gd name="connsiteY283" fmla="*/ 369684 h 488964"/>
                  <a:gd name="connsiteX284" fmla="*/ 161636 w 655814"/>
                  <a:gd name="connsiteY284" fmla="*/ 368527 h 488964"/>
                  <a:gd name="connsiteX285" fmla="*/ 155843 w 655814"/>
                  <a:gd name="connsiteY285" fmla="*/ 366792 h 488964"/>
                  <a:gd name="connsiteX286" fmla="*/ 149470 w 655814"/>
                  <a:gd name="connsiteY286" fmla="*/ 364477 h 488964"/>
                  <a:gd name="connsiteX287" fmla="*/ 144256 w 655814"/>
                  <a:gd name="connsiteY287" fmla="*/ 362742 h 488964"/>
                  <a:gd name="connsiteX288" fmla="*/ 138463 w 655814"/>
                  <a:gd name="connsiteY288" fmla="*/ 359849 h 488964"/>
                  <a:gd name="connsiteX289" fmla="*/ 132669 w 655814"/>
                  <a:gd name="connsiteY289" fmla="*/ 356957 h 488964"/>
                  <a:gd name="connsiteX290" fmla="*/ 127455 w 655814"/>
                  <a:gd name="connsiteY290" fmla="*/ 354642 h 488964"/>
                  <a:gd name="connsiteX291" fmla="*/ 122241 w 655814"/>
                  <a:gd name="connsiteY291" fmla="*/ 351171 h 488964"/>
                  <a:gd name="connsiteX292" fmla="*/ 91536 w 655814"/>
                  <a:gd name="connsiteY292" fmla="*/ 382412 h 488964"/>
                  <a:gd name="connsiteX293" fmla="*/ 34181 w 655814"/>
                  <a:gd name="connsiteY293" fmla="*/ 324559 h 488964"/>
                  <a:gd name="connsiteX294" fmla="*/ 64886 w 655814"/>
                  <a:gd name="connsiteY294" fmla="*/ 293318 h 488964"/>
                  <a:gd name="connsiteX295" fmla="*/ 58514 w 655814"/>
                  <a:gd name="connsiteY295" fmla="*/ 282904 h 488964"/>
                  <a:gd name="connsiteX296" fmla="*/ 53879 w 655814"/>
                  <a:gd name="connsiteY296" fmla="*/ 271333 h 488964"/>
                  <a:gd name="connsiteX297" fmla="*/ 49244 w 655814"/>
                  <a:gd name="connsiteY297" fmla="*/ 260341 h 488964"/>
                  <a:gd name="connsiteX298" fmla="*/ 46348 w 655814"/>
                  <a:gd name="connsiteY298" fmla="*/ 248192 h 488964"/>
                  <a:gd name="connsiteX299" fmla="*/ 0 w 655814"/>
                  <a:gd name="connsiteY299" fmla="*/ 248192 h 488964"/>
                  <a:gd name="connsiteX300" fmla="*/ 0 w 655814"/>
                  <a:gd name="connsiteY300" fmla="*/ 167197 h 488964"/>
                  <a:gd name="connsiteX301" fmla="*/ 46348 w 655814"/>
                  <a:gd name="connsiteY301" fmla="*/ 167197 h 488964"/>
                  <a:gd name="connsiteX302" fmla="*/ 49244 w 655814"/>
                  <a:gd name="connsiteY302" fmla="*/ 155048 h 488964"/>
                  <a:gd name="connsiteX303" fmla="*/ 53879 w 655814"/>
                  <a:gd name="connsiteY303" fmla="*/ 142898 h 488964"/>
                  <a:gd name="connsiteX304" fmla="*/ 58514 w 655814"/>
                  <a:gd name="connsiteY304" fmla="*/ 132485 h 488964"/>
                  <a:gd name="connsiteX305" fmla="*/ 64886 w 655814"/>
                  <a:gd name="connsiteY305" fmla="*/ 121493 h 488964"/>
                  <a:gd name="connsiteX306" fmla="*/ 35340 w 655814"/>
                  <a:gd name="connsiteY306" fmla="*/ 92566 h 488964"/>
                  <a:gd name="connsiteX307" fmla="*/ 93274 w 655814"/>
                  <a:gd name="connsiteY307" fmla="*/ 34712 h 488964"/>
                  <a:gd name="connsiteX308" fmla="*/ 122241 w 655814"/>
                  <a:gd name="connsiteY308" fmla="*/ 64796 h 488964"/>
                  <a:gd name="connsiteX309" fmla="*/ 127455 w 655814"/>
                  <a:gd name="connsiteY309" fmla="*/ 61325 h 488964"/>
                  <a:gd name="connsiteX310" fmla="*/ 132669 w 655814"/>
                  <a:gd name="connsiteY310" fmla="*/ 58432 h 488964"/>
                  <a:gd name="connsiteX311" fmla="*/ 138463 w 655814"/>
                  <a:gd name="connsiteY311" fmla="*/ 56118 h 488964"/>
                  <a:gd name="connsiteX312" fmla="*/ 144256 w 655814"/>
                  <a:gd name="connsiteY312" fmla="*/ 53225 h 488964"/>
                  <a:gd name="connsiteX313" fmla="*/ 149470 w 655814"/>
                  <a:gd name="connsiteY313" fmla="*/ 51490 h 488964"/>
                  <a:gd name="connsiteX314" fmla="*/ 155843 w 655814"/>
                  <a:gd name="connsiteY314" fmla="*/ 49176 h 488964"/>
                  <a:gd name="connsiteX315" fmla="*/ 161636 w 655814"/>
                  <a:gd name="connsiteY315" fmla="*/ 47440 h 488964"/>
                  <a:gd name="connsiteX316" fmla="*/ 167430 w 655814"/>
                  <a:gd name="connsiteY316" fmla="*/ 45126 h 4889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Lst>
                <a:rect l="l" t="t" r="r" b="b"/>
                <a:pathLst>
                  <a:path w="655814" h="488964">
                    <a:moveTo>
                      <a:pt x="520248" y="327907"/>
                    </a:moveTo>
                    <a:lnTo>
                      <a:pt x="514455" y="328486"/>
                    </a:lnTo>
                    <a:lnTo>
                      <a:pt x="508661" y="329645"/>
                    </a:lnTo>
                    <a:lnTo>
                      <a:pt x="504026" y="333121"/>
                    </a:lnTo>
                    <a:lnTo>
                      <a:pt x="499971" y="336597"/>
                    </a:lnTo>
                    <a:lnTo>
                      <a:pt x="495916" y="340653"/>
                    </a:lnTo>
                    <a:lnTo>
                      <a:pt x="493598" y="345867"/>
                    </a:lnTo>
                    <a:lnTo>
                      <a:pt x="492440" y="351081"/>
                    </a:lnTo>
                    <a:lnTo>
                      <a:pt x="491281" y="356295"/>
                    </a:lnTo>
                    <a:lnTo>
                      <a:pt x="492440" y="362668"/>
                    </a:lnTo>
                    <a:lnTo>
                      <a:pt x="493598" y="367882"/>
                    </a:lnTo>
                    <a:lnTo>
                      <a:pt x="495916" y="372516"/>
                    </a:lnTo>
                    <a:lnTo>
                      <a:pt x="499971" y="376572"/>
                    </a:lnTo>
                    <a:lnTo>
                      <a:pt x="504026" y="380627"/>
                    </a:lnTo>
                    <a:lnTo>
                      <a:pt x="508661" y="382945"/>
                    </a:lnTo>
                    <a:lnTo>
                      <a:pt x="514455" y="384103"/>
                    </a:lnTo>
                    <a:lnTo>
                      <a:pt x="520248" y="385262"/>
                    </a:lnTo>
                    <a:lnTo>
                      <a:pt x="524883" y="384103"/>
                    </a:lnTo>
                    <a:lnTo>
                      <a:pt x="529517" y="383524"/>
                    </a:lnTo>
                    <a:lnTo>
                      <a:pt x="533573" y="381786"/>
                    </a:lnTo>
                    <a:lnTo>
                      <a:pt x="537628" y="378889"/>
                    </a:lnTo>
                    <a:lnTo>
                      <a:pt x="541104" y="375992"/>
                    </a:lnTo>
                    <a:lnTo>
                      <a:pt x="543422" y="372516"/>
                    </a:lnTo>
                    <a:lnTo>
                      <a:pt x="546318" y="368461"/>
                    </a:lnTo>
                    <a:lnTo>
                      <a:pt x="547477" y="363826"/>
                    </a:lnTo>
                    <a:lnTo>
                      <a:pt x="547477" y="362668"/>
                    </a:lnTo>
                    <a:lnTo>
                      <a:pt x="548056" y="360350"/>
                    </a:lnTo>
                    <a:lnTo>
                      <a:pt x="549215" y="357454"/>
                    </a:lnTo>
                    <a:lnTo>
                      <a:pt x="549215" y="356295"/>
                    </a:lnTo>
                    <a:lnTo>
                      <a:pt x="548056" y="351081"/>
                    </a:lnTo>
                    <a:lnTo>
                      <a:pt x="546898" y="345867"/>
                    </a:lnTo>
                    <a:lnTo>
                      <a:pt x="544001" y="340653"/>
                    </a:lnTo>
                    <a:lnTo>
                      <a:pt x="541104" y="336597"/>
                    </a:lnTo>
                    <a:lnTo>
                      <a:pt x="536470" y="333121"/>
                    </a:lnTo>
                    <a:lnTo>
                      <a:pt x="531835" y="329645"/>
                    </a:lnTo>
                    <a:lnTo>
                      <a:pt x="526041" y="328486"/>
                    </a:lnTo>
                    <a:close/>
                    <a:moveTo>
                      <a:pt x="512137" y="221308"/>
                    </a:moveTo>
                    <a:lnTo>
                      <a:pt x="520248" y="249117"/>
                    </a:lnTo>
                    <a:lnTo>
                      <a:pt x="524303" y="249117"/>
                    </a:lnTo>
                    <a:lnTo>
                      <a:pt x="527779" y="249117"/>
                    </a:lnTo>
                    <a:lnTo>
                      <a:pt x="531835" y="249696"/>
                    </a:lnTo>
                    <a:lnTo>
                      <a:pt x="535890" y="249696"/>
                    </a:lnTo>
                    <a:lnTo>
                      <a:pt x="539366" y="250275"/>
                    </a:lnTo>
                    <a:lnTo>
                      <a:pt x="543422" y="250855"/>
                    </a:lnTo>
                    <a:lnTo>
                      <a:pt x="546898" y="252593"/>
                    </a:lnTo>
                    <a:lnTo>
                      <a:pt x="550953" y="253172"/>
                    </a:lnTo>
                    <a:lnTo>
                      <a:pt x="564278" y="229419"/>
                    </a:lnTo>
                    <a:lnTo>
                      <a:pt x="608887" y="254331"/>
                    </a:lnTo>
                    <a:lnTo>
                      <a:pt x="595562" y="278663"/>
                    </a:lnTo>
                    <a:lnTo>
                      <a:pt x="600777" y="283877"/>
                    </a:lnTo>
                    <a:lnTo>
                      <a:pt x="605991" y="289670"/>
                    </a:lnTo>
                    <a:lnTo>
                      <a:pt x="610625" y="296623"/>
                    </a:lnTo>
                    <a:lnTo>
                      <a:pt x="614681" y="302995"/>
                    </a:lnTo>
                    <a:lnTo>
                      <a:pt x="642489" y="296043"/>
                    </a:lnTo>
                    <a:lnTo>
                      <a:pt x="655814" y="345287"/>
                    </a:lnTo>
                    <a:lnTo>
                      <a:pt x="628585" y="352819"/>
                    </a:lnTo>
                    <a:lnTo>
                      <a:pt x="628585" y="355136"/>
                    </a:lnTo>
                    <a:lnTo>
                      <a:pt x="628585" y="358612"/>
                    </a:lnTo>
                    <a:lnTo>
                      <a:pt x="628006" y="361509"/>
                    </a:lnTo>
                    <a:lnTo>
                      <a:pt x="628006" y="363826"/>
                    </a:lnTo>
                    <a:lnTo>
                      <a:pt x="626847" y="368461"/>
                    </a:lnTo>
                    <a:lnTo>
                      <a:pt x="626268" y="373675"/>
                    </a:lnTo>
                    <a:lnTo>
                      <a:pt x="625109" y="378310"/>
                    </a:lnTo>
                    <a:lnTo>
                      <a:pt x="624530" y="383524"/>
                    </a:lnTo>
                    <a:lnTo>
                      <a:pt x="648862" y="397428"/>
                    </a:lnTo>
                    <a:lnTo>
                      <a:pt x="623950" y="442617"/>
                    </a:lnTo>
                    <a:lnTo>
                      <a:pt x="598459" y="428133"/>
                    </a:lnTo>
                    <a:lnTo>
                      <a:pt x="595562" y="431030"/>
                    </a:lnTo>
                    <a:lnTo>
                      <a:pt x="593245" y="433927"/>
                    </a:lnTo>
                    <a:lnTo>
                      <a:pt x="590348" y="436244"/>
                    </a:lnTo>
                    <a:lnTo>
                      <a:pt x="586872" y="438561"/>
                    </a:lnTo>
                    <a:lnTo>
                      <a:pt x="583976" y="440879"/>
                    </a:lnTo>
                    <a:lnTo>
                      <a:pt x="581079" y="443196"/>
                    </a:lnTo>
                    <a:lnTo>
                      <a:pt x="577603" y="444934"/>
                    </a:lnTo>
                    <a:lnTo>
                      <a:pt x="574127" y="447252"/>
                    </a:lnTo>
                    <a:lnTo>
                      <a:pt x="581658" y="475060"/>
                    </a:lnTo>
                    <a:lnTo>
                      <a:pt x="532414" y="488964"/>
                    </a:lnTo>
                    <a:lnTo>
                      <a:pt x="524303" y="461156"/>
                    </a:lnTo>
                    <a:lnTo>
                      <a:pt x="520248" y="461156"/>
                    </a:lnTo>
                    <a:lnTo>
                      <a:pt x="516193" y="461156"/>
                    </a:lnTo>
                    <a:lnTo>
                      <a:pt x="512137" y="460576"/>
                    </a:lnTo>
                    <a:lnTo>
                      <a:pt x="508661" y="459418"/>
                    </a:lnTo>
                    <a:lnTo>
                      <a:pt x="504606" y="459418"/>
                    </a:lnTo>
                    <a:lnTo>
                      <a:pt x="501130" y="458838"/>
                    </a:lnTo>
                    <a:lnTo>
                      <a:pt x="497654" y="457680"/>
                    </a:lnTo>
                    <a:lnTo>
                      <a:pt x="493598" y="457100"/>
                    </a:lnTo>
                    <a:lnTo>
                      <a:pt x="479694" y="480853"/>
                    </a:lnTo>
                    <a:lnTo>
                      <a:pt x="434505" y="455942"/>
                    </a:lnTo>
                    <a:lnTo>
                      <a:pt x="448989" y="431030"/>
                    </a:lnTo>
                    <a:lnTo>
                      <a:pt x="443195" y="425816"/>
                    </a:lnTo>
                    <a:lnTo>
                      <a:pt x="437981" y="419443"/>
                    </a:lnTo>
                    <a:lnTo>
                      <a:pt x="433347" y="413650"/>
                    </a:lnTo>
                    <a:lnTo>
                      <a:pt x="429291" y="407277"/>
                    </a:lnTo>
                    <a:lnTo>
                      <a:pt x="402062" y="414229"/>
                    </a:lnTo>
                    <a:lnTo>
                      <a:pt x="388158" y="364985"/>
                    </a:lnTo>
                    <a:lnTo>
                      <a:pt x="415966" y="356874"/>
                    </a:lnTo>
                    <a:lnTo>
                      <a:pt x="415966" y="349343"/>
                    </a:lnTo>
                    <a:lnTo>
                      <a:pt x="417125" y="341811"/>
                    </a:lnTo>
                    <a:lnTo>
                      <a:pt x="418284" y="333700"/>
                    </a:lnTo>
                    <a:lnTo>
                      <a:pt x="420022" y="326169"/>
                    </a:lnTo>
                    <a:lnTo>
                      <a:pt x="397427" y="314003"/>
                    </a:lnTo>
                    <a:lnTo>
                      <a:pt x="422919" y="268235"/>
                    </a:lnTo>
                    <a:lnTo>
                      <a:pt x="445513" y="281560"/>
                    </a:lnTo>
                    <a:lnTo>
                      <a:pt x="447830" y="279242"/>
                    </a:lnTo>
                    <a:lnTo>
                      <a:pt x="450727" y="276346"/>
                    </a:lnTo>
                    <a:lnTo>
                      <a:pt x="454203" y="274028"/>
                    </a:lnTo>
                    <a:lnTo>
                      <a:pt x="456520" y="271132"/>
                    </a:lnTo>
                    <a:lnTo>
                      <a:pt x="459996" y="269394"/>
                    </a:lnTo>
                    <a:lnTo>
                      <a:pt x="463472" y="267076"/>
                    </a:lnTo>
                    <a:lnTo>
                      <a:pt x="466949" y="265338"/>
                    </a:lnTo>
                    <a:lnTo>
                      <a:pt x="470425" y="263021"/>
                    </a:lnTo>
                    <a:lnTo>
                      <a:pt x="462314" y="235212"/>
                    </a:lnTo>
                    <a:close/>
                    <a:moveTo>
                      <a:pt x="209142" y="107608"/>
                    </a:moveTo>
                    <a:lnTo>
                      <a:pt x="188286" y="109922"/>
                    </a:lnTo>
                    <a:lnTo>
                      <a:pt x="169747" y="115707"/>
                    </a:lnTo>
                    <a:lnTo>
                      <a:pt x="152367" y="124964"/>
                    </a:lnTo>
                    <a:lnTo>
                      <a:pt x="137304" y="137113"/>
                    </a:lnTo>
                    <a:lnTo>
                      <a:pt x="125717" y="151576"/>
                    </a:lnTo>
                    <a:lnTo>
                      <a:pt x="116448" y="168932"/>
                    </a:lnTo>
                    <a:lnTo>
                      <a:pt x="110075" y="187446"/>
                    </a:lnTo>
                    <a:lnTo>
                      <a:pt x="108337" y="207694"/>
                    </a:lnTo>
                    <a:lnTo>
                      <a:pt x="110075" y="227365"/>
                    </a:lnTo>
                    <a:lnTo>
                      <a:pt x="116448" y="247035"/>
                    </a:lnTo>
                    <a:lnTo>
                      <a:pt x="125717" y="263234"/>
                    </a:lnTo>
                    <a:lnTo>
                      <a:pt x="137304" y="278854"/>
                    </a:lnTo>
                    <a:lnTo>
                      <a:pt x="152367" y="290425"/>
                    </a:lnTo>
                    <a:lnTo>
                      <a:pt x="169747" y="300260"/>
                    </a:lnTo>
                    <a:lnTo>
                      <a:pt x="188286" y="306045"/>
                    </a:lnTo>
                    <a:lnTo>
                      <a:pt x="209142" y="307781"/>
                    </a:lnTo>
                    <a:lnTo>
                      <a:pt x="228840" y="306045"/>
                    </a:lnTo>
                    <a:lnTo>
                      <a:pt x="247958" y="300260"/>
                    </a:lnTo>
                    <a:lnTo>
                      <a:pt x="265338" y="290425"/>
                    </a:lnTo>
                    <a:lnTo>
                      <a:pt x="279822" y="278854"/>
                    </a:lnTo>
                    <a:lnTo>
                      <a:pt x="291988" y="263234"/>
                    </a:lnTo>
                    <a:lnTo>
                      <a:pt x="301257" y="247035"/>
                    </a:lnTo>
                    <a:lnTo>
                      <a:pt x="307051" y="227365"/>
                    </a:lnTo>
                    <a:lnTo>
                      <a:pt x="309368" y="207694"/>
                    </a:lnTo>
                    <a:lnTo>
                      <a:pt x="309368" y="207116"/>
                    </a:lnTo>
                    <a:lnTo>
                      <a:pt x="309368" y="205959"/>
                    </a:lnTo>
                    <a:lnTo>
                      <a:pt x="309368" y="205380"/>
                    </a:lnTo>
                    <a:lnTo>
                      <a:pt x="305892" y="185131"/>
                    </a:lnTo>
                    <a:lnTo>
                      <a:pt x="300098" y="166040"/>
                    </a:lnTo>
                    <a:lnTo>
                      <a:pt x="289670" y="149841"/>
                    </a:lnTo>
                    <a:lnTo>
                      <a:pt x="278084" y="135956"/>
                    </a:lnTo>
                    <a:lnTo>
                      <a:pt x="263021" y="123807"/>
                    </a:lnTo>
                    <a:lnTo>
                      <a:pt x="246220" y="115129"/>
                    </a:lnTo>
                    <a:lnTo>
                      <a:pt x="228260" y="109922"/>
                    </a:lnTo>
                    <a:close/>
                    <a:moveTo>
                      <a:pt x="552395" y="94433"/>
                    </a:moveTo>
                    <a:lnTo>
                      <a:pt x="543676" y="96171"/>
                    </a:lnTo>
                    <a:lnTo>
                      <a:pt x="536120" y="98488"/>
                    </a:lnTo>
                    <a:lnTo>
                      <a:pt x="528563" y="102543"/>
                    </a:lnTo>
                    <a:lnTo>
                      <a:pt x="521588" y="107757"/>
                    </a:lnTo>
                    <a:lnTo>
                      <a:pt x="516357" y="114710"/>
                    </a:lnTo>
                    <a:lnTo>
                      <a:pt x="512869" y="122241"/>
                    </a:lnTo>
                    <a:lnTo>
                      <a:pt x="510544" y="130931"/>
                    </a:lnTo>
                    <a:lnTo>
                      <a:pt x="509963" y="139042"/>
                    </a:lnTo>
                    <a:lnTo>
                      <a:pt x="511125" y="147732"/>
                    </a:lnTo>
                    <a:lnTo>
                      <a:pt x="514032" y="156422"/>
                    </a:lnTo>
                    <a:lnTo>
                      <a:pt x="518100" y="163953"/>
                    </a:lnTo>
                    <a:lnTo>
                      <a:pt x="523913" y="170906"/>
                    </a:lnTo>
                    <a:lnTo>
                      <a:pt x="529726" y="176120"/>
                    </a:lnTo>
                    <a:lnTo>
                      <a:pt x="537863" y="179016"/>
                    </a:lnTo>
                    <a:lnTo>
                      <a:pt x="546001" y="181913"/>
                    </a:lnTo>
                    <a:lnTo>
                      <a:pt x="555301" y="182492"/>
                    </a:lnTo>
                    <a:lnTo>
                      <a:pt x="563439" y="181913"/>
                    </a:lnTo>
                    <a:lnTo>
                      <a:pt x="570996" y="179016"/>
                    </a:lnTo>
                    <a:lnTo>
                      <a:pt x="577971" y="176120"/>
                    </a:lnTo>
                    <a:lnTo>
                      <a:pt x="584365" y="170906"/>
                    </a:lnTo>
                    <a:lnTo>
                      <a:pt x="589596" y="165112"/>
                    </a:lnTo>
                    <a:lnTo>
                      <a:pt x="593665" y="158739"/>
                    </a:lnTo>
                    <a:lnTo>
                      <a:pt x="597153" y="150629"/>
                    </a:lnTo>
                    <a:lnTo>
                      <a:pt x="598315" y="142518"/>
                    </a:lnTo>
                    <a:lnTo>
                      <a:pt x="598315" y="141359"/>
                    </a:lnTo>
                    <a:lnTo>
                      <a:pt x="598896" y="140200"/>
                    </a:lnTo>
                    <a:lnTo>
                      <a:pt x="598896" y="138462"/>
                    </a:lnTo>
                    <a:lnTo>
                      <a:pt x="598896" y="137304"/>
                    </a:lnTo>
                    <a:lnTo>
                      <a:pt x="597734" y="128614"/>
                    </a:lnTo>
                    <a:lnTo>
                      <a:pt x="594827" y="120503"/>
                    </a:lnTo>
                    <a:lnTo>
                      <a:pt x="590177" y="113551"/>
                    </a:lnTo>
                    <a:lnTo>
                      <a:pt x="584946" y="106599"/>
                    </a:lnTo>
                    <a:lnTo>
                      <a:pt x="577971" y="101385"/>
                    </a:lnTo>
                    <a:lnTo>
                      <a:pt x="569833" y="97909"/>
                    </a:lnTo>
                    <a:lnTo>
                      <a:pt x="562277" y="95591"/>
                    </a:lnTo>
                    <a:close/>
                    <a:moveTo>
                      <a:pt x="550070" y="50982"/>
                    </a:moveTo>
                    <a:lnTo>
                      <a:pt x="583783" y="56196"/>
                    </a:lnTo>
                    <a:lnTo>
                      <a:pt x="580877" y="74156"/>
                    </a:lnTo>
                    <a:lnTo>
                      <a:pt x="585527" y="75894"/>
                    </a:lnTo>
                    <a:lnTo>
                      <a:pt x="589596" y="78790"/>
                    </a:lnTo>
                    <a:lnTo>
                      <a:pt x="594246" y="81108"/>
                    </a:lnTo>
                    <a:lnTo>
                      <a:pt x="598315" y="84584"/>
                    </a:lnTo>
                    <a:lnTo>
                      <a:pt x="613428" y="73576"/>
                    </a:lnTo>
                    <a:lnTo>
                      <a:pt x="633772" y="100805"/>
                    </a:lnTo>
                    <a:lnTo>
                      <a:pt x="618078" y="111813"/>
                    </a:lnTo>
                    <a:lnTo>
                      <a:pt x="620403" y="116448"/>
                    </a:lnTo>
                    <a:lnTo>
                      <a:pt x="621566" y="121082"/>
                    </a:lnTo>
                    <a:lnTo>
                      <a:pt x="622147" y="126876"/>
                    </a:lnTo>
                    <a:lnTo>
                      <a:pt x="623310" y="131510"/>
                    </a:lnTo>
                    <a:lnTo>
                      <a:pt x="641910" y="133828"/>
                    </a:lnTo>
                    <a:lnTo>
                      <a:pt x="640166" y="142518"/>
                    </a:lnTo>
                    <a:lnTo>
                      <a:pt x="636679" y="167429"/>
                    </a:lnTo>
                    <a:lnTo>
                      <a:pt x="617497" y="164533"/>
                    </a:lnTo>
                    <a:lnTo>
                      <a:pt x="615753" y="169167"/>
                    </a:lnTo>
                    <a:lnTo>
                      <a:pt x="612847" y="173223"/>
                    </a:lnTo>
                    <a:lnTo>
                      <a:pt x="610522" y="177858"/>
                    </a:lnTo>
                    <a:lnTo>
                      <a:pt x="607034" y="181913"/>
                    </a:lnTo>
                    <a:lnTo>
                      <a:pt x="618078" y="197555"/>
                    </a:lnTo>
                    <a:lnTo>
                      <a:pt x="590759" y="217253"/>
                    </a:lnTo>
                    <a:lnTo>
                      <a:pt x="579715" y="202190"/>
                    </a:lnTo>
                    <a:lnTo>
                      <a:pt x="575064" y="203349"/>
                    </a:lnTo>
                    <a:lnTo>
                      <a:pt x="569833" y="204507"/>
                    </a:lnTo>
                    <a:lnTo>
                      <a:pt x="564602" y="205666"/>
                    </a:lnTo>
                    <a:lnTo>
                      <a:pt x="559952" y="206825"/>
                    </a:lnTo>
                    <a:lnTo>
                      <a:pt x="556464" y="224784"/>
                    </a:lnTo>
                    <a:lnTo>
                      <a:pt x="523332" y="218991"/>
                    </a:lnTo>
                    <a:lnTo>
                      <a:pt x="526819" y="201031"/>
                    </a:lnTo>
                    <a:lnTo>
                      <a:pt x="521588" y="199293"/>
                    </a:lnTo>
                    <a:lnTo>
                      <a:pt x="516938" y="196396"/>
                    </a:lnTo>
                    <a:lnTo>
                      <a:pt x="512869" y="194079"/>
                    </a:lnTo>
                    <a:lnTo>
                      <a:pt x="509381" y="190603"/>
                    </a:lnTo>
                    <a:lnTo>
                      <a:pt x="493687" y="202190"/>
                    </a:lnTo>
                    <a:lnTo>
                      <a:pt x="473343" y="174382"/>
                    </a:lnTo>
                    <a:lnTo>
                      <a:pt x="489037" y="163374"/>
                    </a:lnTo>
                    <a:lnTo>
                      <a:pt x="487293" y="158160"/>
                    </a:lnTo>
                    <a:lnTo>
                      <a:pt x="485550" y="153525"/>
                    </a:lnTo>
                    <a:lnTo>
                      <a:pt x="484968" y="147732"/>
                    </a:lnTo>
                    <a:lnTo>
                      <a:pt x="484387" y="143097"/>
                    </a:lnTo>
                    <a:lnTo>
                      <a:pt x="466949" y="140780"/>
                    </a:lnTo>
                    <a:lnTo>
                      <a:pt x="472180" y="107757"/>
                    </a:lnTo>
                    <a:lnTo>
                      <a:pt x="489618" y="110654"/>
                    </a:lnTo>
                    <a:lnTo>
                      <a:pt x="491943" y="106019"/>
                    </a:lnTo>
                    <a:lnTo>
                      <a:pt x="493687" y="101964"/>
                    </a:lnTo>
                    <a:lnTo>
                      <a:pt x="497175" y="97329"/>
                    </a:lnTo>
                    <a:lnTo>
                      <a:pt x="499500" y="93274"/>
                    </a:lnTo>
                    <a:lnTo>
                      <a:pt x="489037" y="78211"/>
                    </a:lnTo>
                    <a:lnTo>
                      <a:pt x="516357" y="57934"/>
                    </a:lnTo>
                    <a:lnTo>
                      <a:pt x="527401" y="73576"/>
                    </a:lnTo>
                    <a:lnTo>
                      <a:pt x="529726" y="72418"/>
                    </a:lnTo>
                    <a:lnTo>
                      <a:pt x="532632" y="71259"/>
                    </a:lnTo>
                    <a:lnTo>
                      <a:pt x="534376" y="70680"/>
                    </a:lnTo>
                    <a:lnTo>
                      <a:pt x="537282" y="70100"/>
                    </a:lnTo>
                    <a:lnTo>
                      <a:pt x="540188" y="70100"/>
                    </a:lnTo>
                    <a:lnTo>
                      <a:pt x="542514" y="69521"/>
                    </a:lnTo>
                    <a:lnTo>
                      <a:pt x="544839" y="68942"/>
                    </a:lnTo>
                    <a:lnTo>
                      <a:pt x="547164" y="68942"/>
                    </a:lnTo>
                    <a:close/>
                    <a:moveTo>
                      <a:pt x="167430" y="0"/>
                    </a:moveTo>
                    <a:lnTo>
                      <a:pt x="249696" y="0"/>
                    </a:lnTo>
                    <a:lnTo>
                      <a:pt x="249696" y="45126"/>
                    </a:lnTo>
                    <a:lnTo>
                      <a:pt x="256069" y="47440"/>
                    </a:lnTo>
                    <a:lnTo>
                      <a:pt x="261862" y="49176"/>
                    </a:lnTo>
                    <a:lnTo>
                      <a:pt x="267655" y="51490"/>
                    </a:lnTo>
                    <a:lnTo>
                      <a:pt x="272869" y="53225"/>
                    </a:lnTo>
                    <a:lnTo>
                      <a:pt x="279242" y="56118"/>
                    </a:lnTo>
                    <a:lnTo>
                      <a:pt x="284456" y="58432"/>
                    </a:lnTo>
                    <a:lnTo>
                      <a:pt x="289670" y="61325"/>
                    </a:lnTo>
                    <a:lnTo>
                      <a:pt x="295464" y="64796"/>
                    </a:lnTo>
                    <a:lnTo>
                      <a:pt x="326748" y="32977"/>
                    </a:lnTo>
                    <a:lnTo>
                      <a:pt x="384103" y="91409"/>
                    </a:lnTo>
                    <a:lnTo>
                      <a:pt x="353398" y="121493"/>
                    </a:lnTo>
                    <a:lnTo>
                      <a:pt x="359191" y="132485"/>
                    </a:lnTo>
                    <a:lnTo>
                      <a:pt x="363826" y="142898"/>
                    </a:lnTo>
                    <a:lnTo>
                      <a:pt x="368461" y="155048"/>
                    </a:lnTo>
                    <a:lnTo>
                      <a:pt x="371937" y="167197"/>
                    </a:lnTo>
                    <a:lnTo>
                      <a:pt x="418284" y="167197"/>
                    </a:lnTo>
                    <a:lnTo>
                      <a:pt x="418284" y="205380"/>
                    </a:lnTo>
                    <a:lnTo>
                      <a:pt x="418284" y="248192"/>
                    </a:lnTo>
                    <a:lnTo>
                      <a:pt x="371937" y="248192"/>
                    </a:lnTo>
                    <a:lnTo>
                      <a:pt x="368461" y="260341"/>
                    </a:lnTo>
                    <a:lnTo>
                      <a:pt x="363826" y="271333"/>
                    </a:lnTo>
                    <a:lnTo>
                      <a:pt x="359191" y="282904"/>
                    </a:lnTo>
                    <a:lnTo>
                      <a:pt x="353398" y="293318"/>
                    </a:lnTo>
                    <a:lnTo>
                      <a:pt x="385262" y="325716"/>
                    </a:lnTo>
                    <a:lnTo>
                      <a:pt x="327907" y="383569"/>
                    </a:lnTo>
                    <a:lnTo>
                      <a:pt x="295464" y="351171"/>
                    </a:lnTo>
                    <a:lnTo>
                      <a:pt x="289670" y="354642"/>
                    </a:lnTo>
                    <a:lnTo>
                      <a:pt x="284456" y="356957"/>
                    </a:lnTo>
                    <a:lnTo>
                      <a:pt x="279242" y="359849"/>
                    </a:lnTo>
                    <a:lnTo>
                      <a:pt x="272869" y="362742"/>
                    </a:lnTo>
                    <a:lnTo>
                      <a:pt x="267655" y="364477"/>
                    </a:lnTo>
                    <a:lnTo>
                      <a:pt x="261862" y="366792"/>
                    </a:lnTo>
                    <a:lnTo>
                      <a:pt x="256069" y="368527"/>
                    </a:lnTo>
                    <a:lnTo>
                      <a:pt x="249696" y="369684"/>
                    </a:lnTo>
                    <a:lnTo>
                      <a:pt x="249696" y="415967"/>
                    </a:lnTo>
                    <a:lnTo>
                      <a:pt x="167430" y="415967"/>
                    </a:lnTo>
                    <a:lnTo>
                      <a:pt x="167430" y="369684"/>
                    </a:lnTo>
                    <a:lnTo>
                      <a:pt x="161636" y="368527"/>
                    </a:lnTo>
                    <a:lnTo>
                      <a:pt x="155843" y="366792"/>
                    </a:lnTo>
                    <a:lnTo>
                      <a:pt x="149470" y="364477"/>
                    </a:lnTo>
                    <a:lnTo>
                      <a:pt x="144256" y="362742"/>
                    </a:lnTo>
                    <a:lnTo>
                      <a:pt x="138463" y="359849"/>
                    </a:lnTo>
                    <a:lnTo>
                      <a:pt x="132669" y="356957"/>
                    </a:lnTo>
                    <a:lnTo>
                      <a:pt x="127455" y="354642"/>
                    </a:lnTo>
                    <a:lnTo>
                      <a:pt x="122241" y="351171"/>
                    </a:lnTo>
                    <a:lnTo>
                      <a:pt x="91536" y="382412"/>
                    </a:lnTo>
                    <a:lnTo>
                      <a:pt x="34181" y="324559"/>
                    </a:lnTo>
                    <a:lnTo>
                      <a:pt x="64886" y="293318"/>
                    </a:lnTo>
                    <a:lnTo>
                      <a:pt x="58514" y="282904"/>
                    </a:lnTo>
                    <a:lnTo>
                      <a:pt x="53879" y="271333"/>
                    </a:lnTo>
                    <a:lnTo>
                      <a:pt x="49244" y="260341"/>
                    </a:lnTo>
                    <a:lnTo>
                      <a:pt x="46348" y="248192"/>
                    </a:lnTo>
                    <a:lnTo>
                      <a:pt x="0" y="248192"/>
                    </a:lnTo>
                    <a:lnTo>
                      <a:pt x="0" y="167197"/>
                    </a:lnTo>
                    <a:lnTo>
                      <a:pt x="46348" y="167197"/>
                    </a:lnTo>
                    <a:lnTo>
                      <a:pt x="49244" y="155048"/>
                    </a:lnTo>
                    <a:lnTo>
                      <a:pt x="53879" y="142898"/>
                    </a:lnTo>
                    <a:lnTo>
                      <a:pt x="58514" y="132485"/>
                    </a:lnTo>
                    <a:lnTo>
                      <a:pt x="64886" y="121493"/>
                    </a:lnTo>
                    <a:lnTo>
                      <a:pt x="35340" y="92566"/>
                    </a:lnTo>
                    <a:lnTo>
                      <a:pt x="93274" y="34712"/>
                    </a:lnTo>
                    <a:lnTo>
                      <a:pt x="122241" y="64796"/>
                    </a:lnTo>
                    <a:lnTo>
                      <a:pt x="127455" y="61325"/>
                    </a:lnTo>
                    <a:lnTo>
                      <a:pt x="132669" y="58432"/>
                    </a:lnTo>
                    <a:lnTo>
                      <a:pt x="138463" y="56118"/>
                    </a:lnTo>
                    <a:lnTo>
                      <a:pt x="144256" y="53225"/>
                    </a:lnTo>
                    <a:lnTo>
                      <a:pt x="149470" y="51490"/>
                    </a:lnTo>
                    <a:lnTo>
                      <a:pt x="155843" y="49176"/>
                    </a:lnTo>
                    <a:lnTo>
                      <a:pt x="161636" y="47440"/>
                    </a:lnTo>
                    <a:lnTo>
                      <a:pt x="167430" y="45126"/>
                    </a:lnTo>
                    <a:close/>
                  </a:path>
                </a:pathLst>
              </a:custGeom>
              <a:solidFill>
                <a:srgbClr val="FFFFFF"/>
              </a:solidFill>
              <a:ln>
                <a:noFill/>
              </a:ln>
              <a:extLst/>
            </p:spPr>
            <p:txBody>
              <a:bodyPr vert="horz" wrap="square" lIns="91440" tIns="45720" rIns="91440" bIns="45720" numCol="1" anchor="t" anchorCtr="0" compatLnSpc="1">
                <a:prstTxWarp prst="textNoShape">
                  <a:avLst/>
                </a:prstTxWarp>
                <a:no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Segoe UI"/>
                  <a:ea typeface="+mn-ea"/>
                  <a:cs typeface="+mn-cs"/>
                </a:endParaRPr>
              </a:p>
            </p:txBody>
          </p:sp>
        </p:grpSp>
        <p:grpSp>
          <p:nvGrpSpPr>
            <p:cNvPr id="175" name="Group 174"/>
            <p:cNvGrpSpPr/>
            <p:nvPr/>
          </p:nvGrpSpPr>
          <p:grpSpPr>
            <a:xfrm>
              <a:off x="9678237" y="2391974"/>
              <a:ext cx="713460" cy="713460"/>
              <a:chOff x="9123452" y="2463609"/>
              <a:chExt cx="652035" cy="652035"/>
            </a:xfrm>
          </p:grpSpPr>
          <p:sp>
            <p:nvSpPr>
              <p:cNvPr id="176" name="Oval 175"/>
              <p:cNvSpPr/>
              <p:nvPr/>
            </p:nvSpPr>
            <p:spPr bwMode="auto">
              <a:xfrm rot="662724">
                <a:off x="9123452" y="2463609"/>
                <a:ext cx="652035" cy="652035"/>
              </a:xfrm>
              <a:prstGeom prst="ellipse">
                <a:avLst/>
              </a:prstGeom>
              <a:solidFill>
                <a:srgbClr val="FFB900"/>
              </a:solidFill>
              <a:ln w="47625" cap="flat" cmpd="sng" algn="ctr">
                <a:solidFill>
                  <a:srgbClr val="000000">
                    <a:lumMod val="20000"/>
                    <a:lumOff val="80000"/>
                  </a:srgbClr>
                </a:solid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5417">
                        <a:srgbClr val="000000"/>
                      </a:gs>
                      <a:gs pos="100000">
                        <a:srgbClr val="000000"/>
                      </a:gs>
                    </a:gsLst>
                    <a:lin ang="5400000" scaled="0"/>
                  </a:gradFill>
                  <a:effectLst/>
                  <a:uLnTx/>
                  <a:uFillTx/>
                  <a:latin typeface="Segoe UI"/>
                  <a:ea typeface="+mn-ea"/>
                  <a:cs typeface="+mn-cs"/>
                </a:endParaRPr>
              </a:p>
            </p:txBody>
          </p:sp>
          <p:sp>
            <p:nvSpPr>
              <p:cNvPr id="177" name="Freeform 176"/>
              <p:cNvSpPr>
                <a:spLocks/>
              </p:cNvSpPr>
              <p:nvPr/>
            </p:nvSpPr>
            <p:spPr bwMode="auto">
              <a:xfrm>
                <a:off x="9232427" y="2627803"/>
                <a:ext cx="434085" cy="323647"/>
              </a:xfrm>
              <a:custGeom>
                <a:avLst/>
                <a:gdLst>
                  <a:gd name="connsiteX0" fmla="*/ 520248 w 655814"/>
                  <a:gd name="connsiteY0" fmla="*/ 327907 h 488964"/>
                  <a:gd name="connsiteX1" fmla="*/ 514455 w 655814"/>
                  <a:gd name="connsiteY1" fmla="*/ 328486 h 488964"/>
                  <a:gd name="connsiteX2" fmla="*/ 508661 w 655814"/>
                  <a:gd name="connsiteY2" fmla="*/ 329645 h 488964"/>
                  <a:gd name="connsiteX3" fmla="*/ 504026 w 655814"/>
                  <a:gd name="connsiteY3" fmla="*/ 333121 h 488964"/>
                  <a:gd name="connsiteX4" fmla="*/ 499971 w 655814"/>
                  <a:gd name="connsiteY4" fmla="*/ 336597 h 488964"/>
                  <a:gd name="connsiteX5" fmla="*/ 495916 w 655814"/>
                  <a:gd name="connsiteY5" fmla="*/ 340653 h 488964"/>
                  <a:gd name="connsiteX6" fmla="*/ 493598 w 655814"/>
                  <a:gd name="connsiteY6" fmla="*/ 345867 h 488964"/>
                  <a:gd name="connsiteX7" fmla="*/ 492440 w 655814"/>
                  <a:gd name="connsiteY7" fmla="*/ 351081 h 488964"/>
                  <a:gd name="connsiteX8" fmla="*/ 491281 w 655814"/>
                  <a:gd name="connsiteY8" fmla="*/ 356295 h 488964"/>
                  <a:gd name="connsiteX9" fmla="*/ 492440 w 655814"/>
                  <a:gd name="connsiteY9" fmla="*/ 362668 h 488964"/>
                  <a:gd name="connsiteX10" fmla="*/ 493598 w 655814"/>
                  <a:gd name="connsiteY10" fmla="*/ 367882 h 488964"/>
                  <a:gd name="connsiteX11" fmla="*/ 495916 w 655814"/>
                  <a:gd name="connsiteY11" fmla="*/ 372516 h 488964"/>
                  <a:gd name="connsiteX12" fmla="*/ 499971 w 655814"/>
                  <a:gd name="connsiteY12" fmla="*/ 376572 h 488964"/>
                  <a:gd name="connsiteX13" fmla="*/ 504026 w 655814"/>
                  <a:gd name="connsiteY13" fmla="*/ 380627 h 488964"/>
                  <a:gd name="connsiteX14" fmla="*/ 508661 w 655814"/>
                  <a:gd name="connsiteY14" fmla="*/ 382945 h 488964"/>
                  <a:gd name="connsiteX15" fmla="*/ 514455 w 655814"/>
                  <a:gd name="connsiteY15" fmla="*/ 384103 h 488964"/>
                  <a:gd name="connsiteX16" fmla="*/ 520248 w 655814"/>
                  <a:gd name="connsiteY16" fmla="*/ 385262 h 488964"/>
                  <a:gd name="connsiteX17" fmla="*/ 524883 w 655814"/>
                  <a:gd name="connsiteY17" fmla="*/ 384103 h 488964"/>
                  <a:gd name="connsiteX18" fmla="*/ 529517 w 655814"/>
                  <a:gd name="connsiteY18" fmla="*/ 383524 h 488964"/>
                  <a:gd name="connsiteX19" fmla="*/ 533573 w 655814"/>
                  <a:gd name="connsiteY19" fmla="*/ 381786 h 488964"/>
                  <a:gd name="connsiteX20" fmla="*/ 537628 w 655814"/>
                  <a:gd name="connsiteY20" fmla="*/ 378889 h 488964"/>
                  <a:gd name="connsiteX21" fmla="*/ 541104 w 655814"/>
                  <a:gd name="connsiteY21" fmla="*/ 375992 h 488964"/>
                  <a:gd name="connsiteX22" fmla="*/ 543422 w 655814"/>
                  <a:gd name="connsiteY22" fmla="*/ 372516 h 488964"/>
                  <a:gd name="connsiteX23" fmla="*/ 546318 w 655814"/>
                  <a:gd name="connsiteY23" fmla="*/ 368461 h 488964"/>
                  <a:gd name="connsiteX24" fmla="*/ 547477 w 655814"/>
                  <a:gd name="connsiteY24" fmla="*/ 363826 h 488964"/>
                  <a:gd name="connsiteX25" fmla="*/ 547477 w 655814"/>
                  <a:gd name="connsiteY25" fmla="*/ 362668 h 488964"/>
                  <a:gd name="connsiteX26" fmla="*/ 548056 w 655814"/>
                  <a:gd name="connsiteY26" fmla="*/ 360350 h 488964"/>
                  <a:gd name="connsiteX27" fmla="*/ 549215 w 655814"/>
                  <a:gd name="connsiteY27" fmla="*/ 357454 h 488964"/>
                  <a:gd name="connsiteX28" fmla="*/ 549215 w 655814"/>
                  <a:gd name="connsiteY28" fmla="*/ 356295 h 488964"/>
                  <a:gd name="connsiteX29" fmla="*/ 548056 w 655814"/>
                  <a:gd name="connsiteY29" fmla="*/ 351081 h 488964"/>
                  <a:gd name="connsiteX30" fmla="*/ 546898 w 655814"/>
                  <a:gd name="connsiteY30" fmla="*/ 345867 h 488964"/>
                  <a:gd name="connsiteX31" fmla="*/ 544001 w 655814"/>
                  <a:gd name="connsiteY31" fmla="*/ 340653 h 488964"/>
                  <a:gd name="connsiteX32" fmla="*/ 541104 w 655814"/>
                  <a:gd name="connsiteY32" fmla="*/ 336597 h 488964"/>
                  <a:gd name="connsiteX33" fmla="*/ 536470 w 655814"/>
                  <a:gd name="connsiteY33" fmla="*/ 333121 h 488964"/>
                  <a:gd name="connsiteX34" fmla="*/ 531835 w 655814"/>
                  <a:gd name="connsiteY34" fmla="*/ 329645 h 488964"/>
                  <a:gd name="connsiteX35" fmla="*/ 526041 w 655814"/>
                  <a:gd name="connsiteY35" fmla="*/ 328486 h 488964"/>
                  <a:gd name="connsiteX36" fmla="*/ 512137 w 655814"/>
                  <a:gd name="connsiteY36" fmla="*/ 221308 h 488964"/>
                  <a:gd name="connsiteX37" fmla="*/ 520248 w 655814"/>
                  <a:gd name="connsiteY37" fmla="*/ 249117 h 488964"/>
                  <a:gd name="connsiteX38" fmla="*/ 524303 w 655814"/>
                  <a:gd name="connsiteY38" fmla="*/ 249117 h 488964"/>
                  <a:gd name="connsiteX39" fmla="*/ 527779 w 655814"/>
                  <a:gd name="connsiteY39" fmla="*/ 249117 h 488964"/>
                  <a:gd name="connsiteX40" fmla="*/ 531835 w 655814"/>
                  <a:gd name="connsiteY40" fmla="*/ 249696 h 488964"/>
                  <a:gd name="connsiteX41" fmla="*/ 535890 w 655814"/>
                  <a:gd name="connsiteY41" fmla="*/ 249696 h 488964"/>
                  <a:gd name="connsiteX42" fmla="*/ 539366 w 655814"/>
                  <a:gd name="connsiteY42" fmla="*/ 250275 h 488964"/>
                  <a:gd name="connsiteX43" fmla="*/ 543422 w 655814"/>
                  <a:gd name="connsiteY43" fmla="*/ 250855 h 488964"/>
                  <a:gd name="connsiteX44" fmla="*/ 546898 w 655814"/>
                  <a:gd name="connsiteY44" fmla="*/ 252593 h 488964"/>
                  <a:gd name="connsiteX45" fmla="*/ 550953 w 655814"/>
                  <a:gd name="connsiteY45" fmla="*/ 253172 h 488964"/>
                  <a:gd name="connsiteX46" fmla="*/ 564278 w 655814"/>
                  <a:gd name="connsiteY46" fmla="*/ 229419 h 488964"/>
                  <a:gd name="connsiteX47" fmla="*/ 608887 w 655814"/>
                  <a:gd name="connsiteY47" fmla="*/ 254331 h 488964"/>
                  <a:gd name="connsiteX48" fmla="*/ 595562 w 655814"/>
                  <a:gd name="connsiteY48" fmla="*/ 278663 h 488964"/>
                  <a:gd name="connsiteX49" fmla="*/ 600777 w 655814"/>
                  <a:gd name="connsiteY49" fmla="*/ 283877 h 488964"/>
                  <a:gd name="connsiteX50" fmla="*/ 605991 w 655814"/>
                  <a:gd name="connsiteY50" fmla="*/ 289670 h 488964"/>
                  <a:gd name="connsiteX51" fmla="*/ 610625 w 655814"/>
                  <a:gd name="connsiteY51" fmla="*/ 296623 h 488964"/>
                  <a:gd name="connsiteX52" fmla="*/ 614681 w 655814"/>
                  <a:gd name="connsiteY52" fmla="*/ 302995 h 488964"/>
                  <a:gd name="connsiteX53" fmla="*/ 642489 w 655814"/>
                  <a:gd name="connsiteY53" fmla="*/ 296043 h 488964"/>
                  <a:gd name="connsiteX54" fmla="*/ 655814 w 655814"/>
                  <a:gd name="connsiteY54" fmla="*/ 345287 h 488964"/>
                  <a:gd name="connsiteX55" fmla="*/ 628585 w 655814"/>
                  <a:gd name="connsiteY55" fmla="*/ 352819 h 488964"/>
                  <a:gd name="connsiteX56" fmla="*/ 628585 w 655814"/>
                  <a:gd name="connsiteY56" fmla="*/ 355136 h 488964"/>
                  <a:gd name="connsiteX57" fmla="*/ 628585 w 655814"/>
                  <a:gd name="connsiteY57" fmla="*/ 358612 h 488964"/>
                  <a:gd name="connsiteX58" fmla="*/ 628006 w 655814"/>
                  <a:gd name="connsiteY58" fmla="*/ 361509 h 488964"/>
                  <a:gd name="connsiteX59" fmla="*/ 628006 w 655814"/>
                  <a:gd name="connsiteY59" fmla="*/ 363826 h 488964"/>
                  <a:gd name="connsiteX60" fmla="*/ 626847 w 655814"/>
                  <a:gd name="connsiteY60" fmla="*/ 368461 h 488964"/>
                  <a:gd name="connsiteX61" fmla="*/ 626268 w 655814"/>
                  <a:gd name="connsiteY61" fmla="*/ 373675 h 488964"/>
                  <a:gd name="connsiteX62" fmla="*/ 625109 w 655814"/>
                  <a:gd name="connsiteY62" fmla="*/ 378310 h 488964"/>
                  <a:gd name="connsiteX63" fmla="*/ 624530 w 655814"/>
                  <a:gd name="connsiteY63" fmla="*/ 383524 h 488964"/>
                  <a:gd name="connsiteX64" fmla="*/ 648862 w 655814"/>
                  <a:gd name="connsiteY64" fmla="*/ 397428 h 488964"/>
                  <a:gd name="connsiteX65" fmla="*/ 623950 w 655814"/>
                  <a:gd name="connsiteY65" fmla="*/ 442617 h 488964"/>
                  <a:gd name="connsiteX66" fmla="*/ 598459 w 655814"/>
                  <a:gd name="connsiteY66" fmla="*/ 428133 h 488964"/>
                  <a:gd name="connsiteX67" fmla="*/ 595562 w 655814"/>
                  <a:gd name="connsiteY67" fmla="*/ 431030 h 488964"/>
                  <a:gd name="connsiteX68" fmla="*/ 593245 w 655814"/>
                  <a:gd name="connsiteY68" fmla="*/ 433927 h 488964"/>
                  <a:gd name="connsiteX69" fmla="*/ 590348 w 655814"/>
                  <a:gd name="connsiteY69" fmla="*/ 436244 h 488964"/>
                  <a:gd name="connsiteX70" fmla="*/ 586872 w 655814"/>
                  <a:gd name="connsiteY70" fmla="*/ 438561 h 488964"/>
                  <a:gd name="connsiteX71" fmla="*/ 583976 w 655814"/>
                  <a:gd name="connsiteY71" fmla="*/ 440879 h 488964"/>
                  <a:gd name="connsiteX72" fmla="*/ 581079 w 655814"/>
                  <a:gd name="connsiteY72" fmla="*/ 443196 h 488964"/>
                  <a:gd name="connsiteX73" fmla="*/ 577603 w 655814"/>
                  <a:gd name="connsiteY73" fmla="*/ 444934 h 488964"/>
                  <a:gd name="connsiteX74" fmla="*/ 574127 w 655814"/>
                  <a:gd name="connsiteY74" fmla="*/ 447252 h 488964"/>
                  <a:gd name="connsiteX75" fmla="*/ 581658 w 655814"/>
                  <a:gd name="connsiteY75" fmla="*/ 475060 h 488964"/>
                  <a:gd name="connsiteX76" fmla="*/ 532414 w 655814"/>
                  <a:gd name="connsiteY76" fmla="*/ 488964 h 488964"/>
                  <a:gd name="connsiteX77" fmla="*/ 524303 w 655814"/>
                  <a:gd name="connsiteY77" fmla="*/ 461156 h 488964"/>
                  <a:gd name="connsiteX78" fmla="*/ 520248 w 655814"/>
                  <a:gd name="connsiteY78" fmla="*/ 461156 h 488964"/>
                  <a:gd name="connsiteX79" fmla="*/ 516193 w 655814"/>
                  <a:gd name="connsiteY79" fmla="*/ 461156 h 488964"/>
                  <a:gd name="connsiteX80" fmla="*/ 512137 w 655814"/>
                  <a:gd name="connsiteY80" fmla="*/ 460576 h 488964"/>
                  <a:gd name="connsiteX81" fmla="*/ 508661 w 655814"/>
                  <a:gd name="connsiteY81" fmla="*/ 459418 h 488964"/>
                  <a:gd name="connsiteX82" fmla="*/ 504606 w 655814"/>
                  <a:gd name="connsiteY82" fmla="*/ 459418 h 488964"/>
                  <a:gd name="connsiteX83" fmla="*/ 501130 w 655814"/>
                  <a:gd name="connsiteY83" fmla="*/ 458838 h 488964"/>
                  <a:gd name="connsiteX84" fmla="*/ 497654 w 655814"/>
                  <a:gd name="connsiteY84" fmla="*/ 457680 h 488964"/>
                  <a:gd name="connsiteX85" fmla="*/ 493598 w 655814"/>
                  <a:gd name="connsiteY85" fmla="*/ 457100 h 488964"/>
                  <a:gd name="connsiteX86" fmla="*/ 479694 w 655814"/>
                  <a:gd name="connsiteY86" fmla="*/ 480853 h 488964"/>
                  <a:gd name="connsiteX87" fmla="*/ 434505 w 655814"/>
                  <a:gd name="connsiteY87" fmla="*/ 455942 h 488964"/>
                  <a:gd name="connsiteX88" fmla="*/ 448989 w 655814"/>
                  <a:gd name="connsiteY88" fmla="*/ 431030 h 488964"/>
                  <a:gd name="connsiteX89" fmla="*/ 443195 w 655814"/>
                  <a:gd name="connsiteY89" fmla="*/ 425816 h 488964"/>
                  <a:gd name="connsiteX90" fmla="*/ 437981 w 655814"/>
                  <a:gd name="connsiteY90" fmla="*/ 419443 h 488964"/>
                  <a:gd name="connsiteX91" fmla="*/ 433347 w 655814"/>
                  <a:gd name="connsiteY91" fmla="*/ 413650 h 488964"/>
                  <a:gd name="connsiteX92" fmla="*/ 429291 w 655814"/>
                  <a:gd name="connsiteY92" fmla="*/ 407277 h 488964"/>
                  <a:gd name="connsiteX93" fmla="*/ 402062 w 655814"/>
                  <a:gd name="connsiteY93" fmla="*/ 414229 h 488964"/>
                  <a:gd name="connsiteX94" fmla="*/ 388158 w 655814"/>
                  <a:gd name="connsiteY94" fmla="*/ 364985 h 488964"/>
                  <a:gd name="connsiteX95" fmla="*/ 415966 w 655814"/>
                  <a:gd name="connsiteY95" fmla="*/ 356874 h 488964"/>
                  <a:gd name="connsiteX96" fmla="*/ 415966 w 655814"/>
                  <a:gd name="connsiteY96" fmla="*/ 349343 h 488964"/>
                  <a:gd name="connsiteX97" fmla="*/ 417125 w 655814"/>
                  <a:gd name="connsiteY97" fmla="*/ 341811 h 488964"/>
                  <a:gd name="connsiteX98" fmla="*/ 418284 w 655814"/>
                  <a:gd name="connsiteY98" fmla="*/ 333700 h 488964"/>
                  <a:gd name="connsiteX99" fmla="*/ 420022 w 655814"/>
                  <a:gd name="connsiteY99" fmla="*/ 326169 h 488964"/>
                  <a:gd name="connsiteX100" fmla="*/ 397427 w 655814"/>
                  <a:gd name="connsiteY100" fmla="*/ 314003 h 488964"/>
                  <a:gd name="connsiteX101" fmla="*/ 422919 w 655814"/>
                  <a:gd name="connsiteY101" fmla="*/ 268235 h 488964"/>
                  <a:gd name="connsiteX102" fmla="*/ 445513 w 655814"/>
                  <a:gd name="connsiteY102" fmla="*/ 281560 h 488964"/>
                  <a:gd name="connsiteX103" fmla="*/ 447830 w 655814"/>
                  <a:gd name="connsiteY103" fmla="*/ 279242 h 488964"/>
                  <a:gd name="connsiteX104" fmla="*/ 450727 w 655814"/>
                  <a:gd name="connsiteY104" fmla="*/ 276346 h 488964"/>
                  <a:gd name="connsiteX105" fmla="*/ 454203 w 655814"/>
                  <a:gd name="connsiteY105" fmla="*/ 274028 h 488964"/>
                  <a:gd name="connsiteX106" fmla="*/ 456520 w 655814"/>
                  <a:gd name="connsiteY106" fmla="*/ 271132 h 488964"/>
                  <a:gd name="connsiteX107" fmla="*/ 459996 w 655814"/>
                  <a:gd name="connsiteY107" fmla="*/ 269394 h 488964"/>
                  <a:gd name="connsiteX108" fmla="*/ 463472 w 655814"/>
                  <a:gd name="connsiteY108" fmla="*/ 267076 h 488964"/>
                  <a:gd name="connsiteX109" fmla="*/ 466949 w 655814"/>
                  <a:gd name="connsiteY109" fmla="*/ 265338 h 488964"/>
                  <a:gd name="connsiteX110" fmla="*/ 470425 w 655814"/>
                  <a:gd name="connsiteY110" fmla="*/ 263021 h 488964"/>
                  <a:gd name="connsiteX111" fmla="*/ 462314 w 655814"/>
                  <a:gd name="connsiteY111" fmla="*/ 235212 h 488964"/>
                  <a:gd name="connsiteX112" fmla="*/ 209142 w 655814"/>
                  <a:gd name="connsiteY112" fmla="*/ 107608 h 488964"/>
                  <a:gd name="connsiteX113" fmla="*/ 188286 w 655814"/>
                  <a:gd name="connsiteY113" fmla="*/ 109922 h 488964"/>
                  <a:gd name="connsiteX114" fmla="*/ 169747 w 655814"/>
                  <a:gd name="connsiteY114" fmla="*/ 115707 h 488964"/>
                  <a:gd name="connsiteX115" fmla="*/ 152367 w 655814"/>
                  <a:gd name="connsiteY115" fmla="*/ 124964 h 488964"/>
                  <a:gd name="connsiteX116" fmla="*/ 137304 w 655814"/>
                  <a:gd name="connsiteY116" fmla="*/ 137113 h 488964"/>
                  <a:gd name="connsiteX117" fmla="*/ 125717 w 655814"/>
                  <a:gd name="connsiteY117" fmla="*/ 151576 h 488964"/>
                  <a:gd name="connsiteX118" fmla="*/ 116448 w 655814"/>
                  <a:gd name="connsiteY118" fmla="*/ 168932 h 488964"/>
                  <a:gd name="connsiteX119" fmla="*/ 110075 w 655814"/>
                  <a:gd name="connsiteY119" fmla="*/ 187446 h 488964"/>
                  <a:gd name="connsiteX120" fmla="*/ 108337 w 655814"/>
                  <a:gd name="connsiteY120" fmla="*/ 207694 h 488964"/>
                  <a:gd name="connsiteX121" fmla="*/ 110075 w 655814"/>
                  <a:gd name="connsiteY121" fmla="*/ 227365 h 488964"/>
                  <a:gd name="connsiteX122" fmla="*/ 116448 w 655814"/>
                  <a:gd name="connsiteY122" fmla="*/ 247035 h 488964"/>
                  <a:gd name="connsiteX123" fmla="*/ 125717 w 655814"/>
                  <a:gd name="connsiteY123" fmla="*/ 263234 h 488964"/>
                  <a:gd name="connsiteX124" fmla="*/ 137304 w 655814"/>
                  <a:gd name="connsiteY124" fmla="*/ 278854 h 488964"/>
                  <a:gd name="connsiteX125" fmla="*/ 152367 w 655814"/>
                  <a:gd name="connsiteY125" fmla="*/ 290425 h 488964"/>
                  <a:gd name="connsiteX126" fmla="*/ 169747 w 655814"/>
                  <a:gd name="connsiteY126" fmla="*/ 300260 h 488964"/>
                  <a:gd name="connsiteX127" fmla="*/ 188286 w 655814"/>
                  <a:gd name="connsiteY127" fmla="*/ 306045 h 488964"/>
                  <a:gd name="connsiteX128" fmla="*/ 209142 w 655814"/>
                  <a:gd name="connsiteY128" fmla="*/ 307781 h 488964"/>
                  <a:gd name="connsiteX129" fmla="*/ 228840 w 655814"/>
                  <a:gd name="connsiteY129" fmla="*/ 306045 h 488964"/>
                  <a:gd name="connsiteX130" fmla="*/ 247958 w 655814"/>
                  <a:gd name="connsiteY130" fmla="*/ 300260 h 488964"/>
                  <a:gd name="connsiteX131" fmla="*/ 265338 w 655814"/>
                  <a:gd name="connsiteY131" fmla="*/ 290425 h 488964"/>
                  <a:gd name="connsiteX132" fmla="*/ 279822 w 655814"/>
                  <a:gd name="connsiteY132" fmla="*/ 278854 h 488964"/>
                  <a:gd name="connsiteX133" fmla="*/ 291988 w 655814"/>
                  <a:gd name="connsiteY133" fmla="*/ 263234 h 488964"/>
                  <a:gd name="connsiteX134" fmla="*/ 301257 w 655814"/>
                  <a:gd name="connsiteY134" fmla="*/ 247035 h 488964"/>
                  <a:gd name="connsiteX135" fmla="*/ 307051 w 655814"/>
                  <a:gd name="connsiteY135" fmla="*/ 227365 h 488964"/>
                  <a:gd name="connsiteX136" fmla="*/ 309368 w 655814"/>
                  <a:gd name="connsiteY136" fmla="*/ 207694 h 488964"/>
                  <a:gd name="connsiteX137" fmla="*/ 309368 w 655814"/>
                  <a:gd name="connsiteY137" fmla="*/ 207116 h 488964"/>
                  <a:gd name="connsiteX138" fmla="*/ 309368 w 655814"/>
                  <a:gd name="connsiteY138" fmla="*/ 205959 h 488964"/>
                  <a:gd name="connsiteX139" fmla="*/ 309368 w 655814"/>
                  <a:gd name="connsiteY139" fmla="*/ 205380 h 488964"/>
                  <a:gd name="connsiteX140" fmla="*/ 305892 w 655814"/>
                  <a:gd name="connsiteY140" fmla="*/ 185131 h 488964"/>
                  <a:gd name="connsiteX141" fmla="*/ 300098 w 655814"/>
                  <a:gd name="connsiteY141" fmla="*/ 166040 h 488964"/>
                  <a:gd name="connsiteX142" fmla="*/ 289670 w 655814"/>
                  <a:gd name="connsiteY142" fmla="*/ 149841 h 488964"/>
                  <a:gd name="connsiteX143" fmla="*/ 278084 w 655814"/>
                  <a:gd name="connsiteY143" fmla="*/ 135956 h 488964"/>
                  <a:gd name="connsiteX144" fmla="*/ 263021 w 655814"/>
                  <a:gd name="connsiteY144" fmla="*/ 123807 h 488964"/>
                  <a:gd name="connsiteX145" fmla="*/ 246220 w 655814"/>
                  <a:gd name="connsiteY145" fmla="*/ 115129 h 488964"/>
                  <a:gd name="connsiteX146" fmla="*/ 228260 w 655814"/>
                  <a:gd name="connsiteY146" fmla="*/ 109922 h 488964"/>
                  <a:gd name="connsiteX147" fmla="*/ 552395 w 655814"/>
                  <a:gd name="connsiteY147" fmla="*/ 94433 h 488964"/>
                  <a:gd name="connsiteX148" fmla="*/ 543676 w 655814"/>
                  <a:gd name="connsiteY148" fmla="*/ 96171 h 488964"/>
                  <a:gd name="connsiteX149" fmla="*/ 536120 w 655814"/>
                  <a:gd name="connsiteY149" fmla="*/ 98488 h 488964"/>
                  <a:gd name="connsiteX150" fmla="*/ 528563 w 655814"/>
                  <a:gd name="connsiteY150" fmla="*/ 102543 h 488964"/>
                  <a:gd name="connsiteX151" fmla="*/ 521588 w 655814"/>
                  <a:gd name="connsiteY151" fmla="*/ 107757 h 488964"/>
                  <a:gd name="connsiteX152" fmla="*/ 516357 w 655814"/>
                  <a:gd name="connsiteY152" fmla="*/ 114710 h 488964"/>
                  <a:gd name="connsiteX153" fmla="*/ 512869 w 655814"/>
                  <a:gd name="connsiteY153" fmla="*/ 122241 h 488964"/>
                  <a:gd name="connsiteX154" fmla="*/ 510544 w 655814"/>
                  <a:gd name="connsiteY154" fmla="*/ 130931 h 488964"/>
                  <a:gd name="connsiteX155" fmla="*/ 509963 w 655814"/>
                  <a:gd name="connsiteY155" fmla="*/ 139042 h 488964"/>
                  <a:gd name="connsiteX156" fmla="*/ 511125 w 655814"/>
                  <a:gd name="connsiteY156" fmla="*/ 147732 h 488964"/>
                  <a:gd name="connsiteX157" fmla="*/ 514032 w 655814"/>
                  <a:gd name="connsiteY157" fmla="*/ 156422 h 488964"/>
                  <a:gd name="connsiteX158" fmla="*/ 518100 w 655814"/>
                  <a:gd name="connsiteY158" fmla="*/ 163953 h 488964"/>
                  <a:gd name="connsiteX159" fmla="*/ 523913 w 655814"/>
                  <a:gd name="connsiteY159" fmla="*/ 170906 h 488964"/>
                  <a:gd name="connsiteX160" fmla="*/ 529726 w 655814"/>
                  <a:gd name="connsiteY160" fmla="*/ 176120 h 488964"/>
                  <a:gd name="connsiteX161" fmla="*/ 537863 w 655814"/>
                  <a:gd name="connsiteY161" fmla="*/ 179016 h 488964"/>
                  <a:gd name="connsiteX162" fmla="*/ 546001 w 655814"/>
                  <a:gd name="connsiteY162" fmla="*/ 181913 h 488964"/>
                  <a:gd name="connsiteX163" fmla="*/ 555301 w 655814"/>
                  <a:gd name="connsiteY163" fmla="*/ 182492 h 488964"/>
                  <a:gd name="connsiteX164" fmla="*/ 563439 w 655814"/>
                  <a:gd name="connsiteY164" fmla="*/ 181913 h 488964"/>
                  <a:gd name="connsiteX165" fmla="*/ 570996 w 655814"/>
                  <a:gd name="connsiteY165" fmla="*/ 179016 h 488964"/>
                  <a:gd name="connsiteX166" fmla="*/ 577971 w 655814"/>
                  <a:gd name="connsiteY166" fmla="*/ 176120 h 488964"/>
                  <a:gd name="connsiteX167" fmla="*/ 584365 w 655814"/>
                  <a:gd name="connsiteY167" fmla="*/ 170906 h 488964"/>
                  <a:gd name="connsiteX168" fmla="*/ 589596 w 655814"/>
                  <a:gd name="connsiteY168" fmla="*/ 165112 h 488964"/>
                  <a:gd name="connsiteX169" fmla="*/ 593665 w 655814"/>
                  <a:gd name="connsiteY169" fmla="*/ 158739 h 488964"/>
                  <a:gd name="connsiteX170" fmla="*/ 597153 w 655814"/>
                  <a:gd name="connsiteY170" fmla="*/ 150629 h 488964"/>
                  <a:gd name="connsiteX171" fmla="*/ 598315 w 655814"/>
                  <a:gd name="connsiteY171" fmla="*/ 142518 h 488964"/>
                  <a:gd name="connsiteX172" fmla="*/ 598315 w 655814"/>
                  <a:gd name="connsiteY172" fmla="*/ 141359 h 488964"/>
                  <a:gd name="connsiteX173" fmla="*/ 598896 w 655814"/>
                  <a:gd name="connsiteY173" fmla="*/ 140200 h 488964"/>
                  <a:gd name="connsiteX174" fmla="*/ 598896 w 655814"/>
                  <a:gd name="connsiteY174" fmla="*/ 138462 h 488964"/>
                  <a:gd name="connsiteX175" fmla="*/ 598896 w 655814"/>
                  <a:gd name="connsiteY175" fmla="*/ 137304 h 488964"/>
                  <a:gd name="connsiteX176" fmla="*/ 597734 w 655814"/>
                  <a:gd name="connsiteY176" fmla="*/ 128614 h 488964"/>
                  <a:gd name="connsiteX177" fmla="*/ 594827 w 655814"/>
                  <a:gd name="connsiteY177" fmla="*/ 120503 h 488964"/>
                  <a:gd name="connsiteX178" fmla="*/ 590177 w 655814"/>
                  <a:gd name="connsiteY178" fmla="*/ 113551 h 488964"/>
                  <a:gd name="connsiteX179" fmla="*/ 584946 w 655814"/>
                  <a:gd name="connsiteY179" fmla="*/ 106599 h 488964"/>
                  <a:gd name="connsiteX180" fmla="*/ 577971 w 655814"/>
                  <a:gd name="connsiteY180" fmla="*/ 101385 h 488964"/>
                  <a:gd name="connsiteX181" fmla="*/ 569833 w 655814"/>
                  <a:gd name="connsiteY181" fmla="*/ 97909 h 488964"/>
                  <a:gd name="connsiteX182" fmla="*/ 562277 w 655814"/>
                  <a:gd name="connsiteY182" fmla="*/ 95591 h 488964"/>
                  <a:gd name="connsiteX183" fmla="*/ 550070 w 655814"/>
                  <a:gd name="connsiteY183" fmla="*/ 50982 h 488964"/>
                  <a:gd name="connsiteX184" fmla="*/ 583783 w 655814"/>
                  <a:gd name="connsiteY184" fmla="*/ 56196 h 488964"/>
                  <a:gd name="connsiteX185" fmla="*/ 580877 w 655814"/>
                  <a:gd name="connsiteY185" fmla="*/ 74156 h 488964"/>
                  <a:gd name="connsiteX186" fmla="*/ 585527 w 655814"/>
                  <a:gd name="connsiteY186" fmla="*/ 75894 h 488964"/>
                  <a:gd name="connsiteX187" fmla="*/ 589596 w 655814"/>
                  <a:gd name="connsiteY187" fmla="*/ 78790 h 488964"/>
                  <a:gd name="connsiteX188" fmla="*/ 594246 w 655814"/>
                  <a:gd name="connsiteY188" fmla="*/ 81108 h 488964"/>
                  <a:gd name="connsiteX189" fmla="*/ 598315 w 655814"/>
                  <a:gd name="connsiteY189" fmla="*/ 84584 h 488964"/>
                  <a:gd name="connsiteX190" fmla="*/ 613428 w 655814"/>
                  <a:gd name="connsiteY190" fmla="*/ 73576 h 488964"/>
                  <a:gd name="connsiteX191" fmla="*/ 633772 w 655814"/>
                  <a:gd name="connsiteY191" fmla="*/ 100805 h 488964"/>
                  <a:gd name="connsiteX192" fmla="*/ 618078 w 655814"/>
                  <a:gd name="connsiteY192" fmla="*/ 111813 h 488964"/>
                  <a:gd name="connsiteX193" fmla="*/ 620403 w 655814"/>
                  <a:gd name="connsiteY193" fmla="*/ 116448 h 488964"/>
                  <a:gd name="connsiteX194" fmla="*/ 621566 w 655814"/>
                  <a:gd name="connsiteY194" fmla="*/ 121082 h 488964"/>
                  <a:gd name="connsiteX195" fmla="*/ 622147 w 655814"/>
                  <a:gd name="connsiteY195" fmla="*/ 126876 h 488964"/>
                  <a:gd name="connsiteX196" fmla="*/ 623310 w 655814"/>
                  <a:gd name="connsiteY196" fmla="*/ 131510 h 488964"/>
                  <a:gd name="connsiteX197" fmla="*/ 641910 w 655814"/>
                  <a:gd name="connsiteY197" fmla="*/ 133828 h 488964"/>
                  <a:gd name="connsiteX198" fmla="*/ 640166 w 655814"/>
                  <a:gd name="connsiteY198" fmla="*/ 142518 h 488964"/>
                  <a:gd name="connsiteX199" fmla="*/ 636679 w 655814"/>
                  <a:gd name="connsiteY199" fmla="*/ 167429 h 488964"/>
                  <a:gd name="connsiteX200" fmla="*/ 617497 w 655814"/>
                  <a:gd name="connsiteY200" fmla="*/ 164533 h 488964"/>
                  <a:gd name="connsiteX201" fmla="*/ 615753 w 655814"/>
                  <a:gd name="connsiteY201" fmla="*/ 169167 h 488964"/>
                  <a:gd name="connsiteX202" fmla="*/ 612847 w 655814"/>
                  <a:gd name="connsiteY202" fmla="*/ 173223 h 488964"/>
                  <a:gd name="connsiteX203" fmla="*/ 610522 w 655814"/>
                  <a:gd name="connsiteY203" fmla="*/ 177858 h 488964"/>
                  <a:gd name="connsiteX204" fmla="*/ 607034 w 655814"/>
                  <a:gd name="connsiteY204" fmla="*/ 181913 h 488964"/>
                  <a:gd name="connsiteX205" fmla="*/ 618078 w 655814"/>
                  <a:gd name="connsiteY205" fmla="*/ 197555 h 488964"/>
                  <a:gd name="connsiteX206" fmla="*/ 590759 w 655814"/>
                  <a:gd name="connsiteY206" fmla="*/ 217253 h 488964"/>
                  <a:gd name="connsiteX207" fmla="*/ 579715 w 655814"/>
                  <a:gd name="connsiteY207" fmla="*/ 202190 h 488964"/>
                  <a:gd name="connsiteX208" fmla="*/ 575064 w 655814"/>
                  <a:gd name="connsiteY208" fmla="*/ 203349 h 488964"/>
                  <a:gd name="connsiteX209" fmla="*/ 569833 w 655814"/>
                  <a:gd name="connsiteY209" fmla="*/ 204507 h 488964"/>
                  <a:gd name="connsiteX210" fmla="*/ 564602 w 655814"/>
                  <a:gd name="connsiteY210" fmla="*/ 205666 h 488964"/>
                  <a:gd name="connsiteX211" fmla="*/ 559952 w 655814"/>
                  <a:gd name="connsiteY211" fmla="*/ 206825 h 488964"/>
                  <a:gd name="connsiteX212" fmla="*/ 556464 w 655814"/>
                  <a:gd name="connsiteY212" fmla="*/ 224784 h 488964"/>
                  <a:gd name="connsiteX213" fmla="*/ 523332 w 655814"/>
                  <a:gd name="connsiteY213" fmla="*/ 218991 h 488964"/>
                  <a:gd name="connsiteX214" fmla="*/ 526819 w 655814"/>
                  <a:gd name="connsiteY214" fmla="*/ 201031 h 488964"/>
                  <a:gd name="connsiteX215" fmla="*/ 521588 w 655814"/>
                  <a:gd name="connsiteY215" fmla="*/ 199293 h 488964"/>
                  <a:gd name="connsiteX216" fmla="*/ 516938 w 655814"/>
                  <a:gd name="connsiteY216" fmla="*/ 196396 h 488964"/>
                  <a:gd name="connsiteX217" fmla="*/ 512869 w 655814"/>
                  <a:gd name="connsiteY217" fmla="*/ 194079 h 488964"/>
                  <a:gd name="connsiteX218" fmla="*/ 509381 w 655814"/>
                  <a:gd name="connsiteY218" fmla="*/ 190603 h 488964"/>
                  <a:gd name="connsiteX219" fmla="*/ 493687 w 655814"/>
                  <a:gd name="connsiteY219" fmla="*/ 202190 h 488964"/>
                  <a:gd name="connsiteX220" fmla="*/ 473343 w 655814"/>
                  <a:gd name="connsiteY220" fmla="*/ 174382 h 488964"/>
                  <a:gd name="connsiteX221" fmla="*/ 489037 w 655814"/>
                  <a:gd name="connsiteY221" fmla="*/ 163374 h 488964"/>
                  <a:gd name="connsiteX222" fmla="*/ 487293 w 655814"/>
                  <a:gd name="connsiteY222" fmla="*/ 158160 h 488964"/>
                  <a:gd name="connsiteX223" fmla="*/ 485550 w 655814"/>
                  <a:gd name="connsiteY223" fmla="*/ 153525 h 488964"/>
                  <a:gd name="connsiteX224" fmla="*/ 484968 w 655814"/>
                  <a:gd name="connsiteY224" fmla="*/ 147732 h 488964"/>
                  <a:gd name="connsiteX225" fmla="*/ 484387 w 655814"/>
                  <a:gd name="connsiteY225" fmla="*/ 143097 h 488964"/>
                  <a:gd name="connsiteX226" fmla="*/ 466949 w 655814"/>
                  <a:gd name="connsiteY226" fmla="*/ 140780 h 488964"/>
                  <a:gd name="connsiteX227" fmla="*/ 472180 w 655814"/>
                  <a:gd name="connsiteY227" fmla="*/ 107757 h 488964"/>
                  <a:gd name="connsiteX228" fmla="*/ 489618 w 655814"/>
                  <a:gd name="connsiteY228" fmla="*/ 110654 h 488964"/>
                  <a:gd name="connsiteX229" fmla="*/ 491943 w 655814"/>
                  <a:gd name="connsiteY229" fmla="*/ 106019 h 488964"/>
                  <a:gd name="connsiteX230" fmla="*/ 493687 w 655814"/>
                  <a:gd name="connsiteY230" fmla="*/ 101964 h 488964"/>
                  <a:gd name="connsiteX231" fmla="*/ 497175 w 655814"/>
                  <a:gd name="connsiteY231" fmla="*/ 97329 h 488964"/>
                  <a:gd name="connsiteX232" fmla="*/ 499500 w 655814"/>
                  <a:gd name="connsiteY232" fmla="*/ 93274 h 488964"/>
                  <a:gd name="connsiteX233" fmla="*/ 489037 w 655814"/>
                  <a:gd name="connsiteY233" fmla="*/ 78211 h 488964"/>
                  <a:gd name="connsiteX234" fmla="*/ 516357 w 655814"/>
                  <a:gd name="connsiteY234" fmla="*/ 57934 h 488964"/>
                  <a:gd name="connsiteX235" fmla="*/ 527401 w 655814"/>
                  <a:gd name="connsiteY235" fmla="*/ 73576 h 488964"/>
                  <a:gd name="connsiteX236" fmla="*/ 529726 w 655814"/>
                  <a:gd name="connsiteY236" fmla="*/ 72418 h 488964"/>
                  <a:gd name="connsiteX237" fmla="*/ 532632 w 655814"/>
                  <a:gd name="connsiteY237" fmla="*/ 71259 h 488964"/>
                  <a:gd name="connsiteX238" fmla="*/ 534376 w 655814"/>
                  <a:gd name="connsiteY238" fmla="*/ 70680 h 488964"/>
                  <a:gd name="connsiteX239" fmla="*/ 537282 w 655814"/>
                  <a:gd name="connsiteY239" fmla="*/ 70100 h 488964"/>
                  <a:gd name="connsiteX240" fmla="*/ 540188 w 655814"/>
                  <a:gd name="connsiteY240" fmla="*/ 70100 h 488964"/>
                  <a:gd name="connsiteX241" fmla="*/ 542514 w 655814"/>
                  <a:gd name="connsiteY241" fmla="*/ 69521 h 488964"/>
                  <a:gd name="connsiteX242" fmla="*/ 544839 w 655814"/>
                  <a:gd name="connsiteY242" fmla="*/ 68942 h 488964"/>
                  <a:gd name="connsiteX243" fmla="*/ 547164 w 655814"/>
                  <a:gd name="connsiteY243" fmla="*/ 68942 h 488964"/>
                  <a:gd name="connsiteX244" fmla="*/ 167430 w 655814"/>
                  <a:gd name="connsiteY244" fmla="*/ 0 h 488964"/>
                  <a:gd name="connsiteX245" fmla="*/ 249696 w 655814"/>
                  <a:gd name="connsiteY245" fmla="*/ 0 h 488964"/>
                  <a:gd name="connsiteX246" fmla="*/ 249696 w 655814"/>
                  <a:gd name="connsiteY246" fmla="*/ 45126 h 488964"/>
                  <a:gd name="connsiteX247" fmla="*/ 256069 w 655814"/>
                  <a:gd name="connsiteY247" fmla="*/ 47440 h 488964"/>
                  <a:gd name="connsiteX248" fmla="*/ 261862 w 655814"/>
                  <a:gd name="connsiteY248" fmla="*/ 49176 h 488964"/>
                  <a:gd name="connsiteX249" fmla="*/ 267655 w 655814"/>
                  <a:gd name="connsiteY249" fmla="*/ 51490 h 488964"/>
                  <a:gd name="connsiteX250" fmla="*/ 272869 w 655814"/>
                  <a:gd name="connsiteY250" fmla="*/ 53225 h 488964"/>
                  <a:gd name="connsiteX251" fmla="*/ 279242 w 655814"/>
                  <a:gd name="connsiteY251" fmla="*/ 56118 h 488964"/>
                  <a:gd name="connsiteX252" fmla="*/ 284456 w 655814"/>
                  <a:gd name="connsiteY252" fmla="*/ 58432 h 488964"/>
                  <a:gd name="connsiteX253" fmla="*/ 289670 w 655814"/>
                  <a:gd name="connsiteY253" fmla="*/ 61325 h 488964"/>
                  <a:gd name="connsiteX254" fmla="*/ 295464 w 655814"/>
                  <a:gd name="connsiteY254" fmla="*/ 64796 h 488964"/>
                  <a:gd name="connsiteX255" fmla="*/ 326748 w 655814"/>
                  <a:gd name="connsiteY255" fmla="*/ 32977 h 488964"/>
                  <a:gd name="connsiteX256" fmla="*/ 384103 w 655814"/>
                  <a:gd name="connsiteY256" fmla="*/ 91409 h 488964"/>
                  <a:gd name="connsiteX257" fmla="*/ 353398 w 655814"/>
                  <a:gd name="connsiteY257" fmla="*/ 121493 h 488964"/>
                  <a:gd name="connsiteX258" fmla="*/ 359191 w 655814"/>
                  <a:gd name="connsiteY258" fmla="*/ 132485 h 488964"/>
                  <a:gd name="connsiteX259" fmla="*/ 363826 w 655814"/>
                  <a:gd name="connsiteY259" fmla="*/ 142898 h 488964"/>
                  <a:gd name="connsiteX260" fmla="*/ 368461 w 655814"/>
                  <a:gd name="connsiteY260" fmla="*/ 155048 h 488964"/>
                  <a:gd name="connsiteX261" fmla="*/ 371937 w 655814"/>
                  <a:gd name="connsiteY261" fmla="*/ 167197 h 488964"/>
                  <a:gd name="connsiteX262" fmla="*/ 418284 w 655814"/>
                  <a:gd name="connsiteY262" fmla="*/ 167197 h 488964"/>
                  <a:gd name="connsiteX263" fmla="*/ 418284 w 655814"/>
                  <a:gd name="connsiteY263" fmla="*/ 205380 h 488964"/>
                  <a:gd name="connsiteX264" fmla="*/ 418284 w 655814"/>
                  <a:gd name="connsiteY264" fmla="*/ 248192 h 488964"/>
                  <a:gd name="connsiteX265" fmla="*/ 371937 w 655814"/>
                  <a:gd name="connsiteY265" fmla="*/ 248192 h 488964"/>
                  <a:gd name="connsiteX266" fmla="*/ 368461 w 655814"/>
                  <a:gd name="connsiteY266" fmla="*/ 260341 h 488964"/>
                  <a:gd name="connsiteX267" fmla="*/ 363826 w 655814"/>
                  <a:gd name="connsiteY267" fmla="*/ 271333 h 488964"/>
                  <a:gd name="connsiteX268" fmla="*/ 359191 w 655814"/>
                  <a:gd name="connsiteY268" fmla="*/ 282904 h 488964"/>
                  <a:gd name="connsiteX269" fmla="*/ 353398 w 655814"/>
                  <a:gd name="connsiteY269" fmla="*/ 293318 h 488964"/>
                  <a:gd name="connsiteX270" fmla="*/ 385262 w 655814"/>
                  <a:gd name="connsiteY270" fmla="*/ 325716 h 488964"/>
                  <a:gd name="connsiteX271" fmla="*/ 327907 w 655814"/>
                  <a:gd name="connsiteY271" fmla="*/ 383569 h 488964"/>
                  <a:gd name="connsiteX272" fmla="*/ 295464 w 655814"/>
                  <a:gd name="connsiteY272" fmla="*/ 351171 h 488964"/>
                  <a:gd name="connsiteX273" fmla="*/ 289670 w 655814"/>
                  <a:gd name="connsiteY273" fmla="*/ 354642 h 488964"/>
                  <a:gd name="connsiteX274" fmla="*/ 284456 w 655814"/>
                  <a:gd name="connsiteY274" fmla="*/ 356957 h 488964"/>
                  <a:gd name="connsiteX275" fmla="*/ 279242 w 655814"/>
                  <a:gd name="connsiteY275" fmla="*/ 359849 h 488964"/>
                  <a:gd name="connsiteX276" fmla="*/ 272869 w 655814"/>
                  <a:gd name="connsiteY276" fmla="*/ 362742 h 488964"/>
                  <a:gd name="connsiteX277" fmla="*/ 267655 w 655814"/>
                  <a:gd name="connsiteY277" fmla="*/ 364477 h 488964"/>
                  <a:gd name="connsiteX278" fmla="*/ 261862 w 655814"/>
                  <a:gd name="connsiteY278" fmla="*/ 366792 h 488964"/>
                  <a:gd name="connsiteX279" fmla="*/ 256069 w 655814"/>
                  <a:gd name="connsiteY279" fmla="*/ 368527 h 488964"/>
                  <a:gd name="connsiteX280" fmla="*/ 249696 w 655814"/>
                  <a:gd name="connsiteY280" fmla="*/ 369684 h 488964"/>
                  <a:gd name="connsiteX281" fmla="*/ 249696 w 655814"/>
                  <a:gd name="connsiteY281" fmla="*/ 415967 h 488964"/>
                  <a:gd name="connsiteX282" fmla="*/ 167430 w 655814"/>
                  <a:gd name="connsiteY282" fmla="*/ 415967 h 488964"/>
                  <a:gd name="connsiteX283" fmla="*/ 167430 w 655814"/>
                  <a:gd name="connsiteY283" fmla="*/ 369684 h 488964"/>
                  <a:gd name="connsiteX284" fmla="*/ 161636 w 655814"/>
                  <a:gd name="connsiteY284" fmla="*/ 368527 h 488964"/>
                  <a:gd name="connsiteX285" fmla="*/ 155843 w 655814"/>
                  <a:gd name="connsiteY285" fmla="*/ 366792 h 488964"/>
                  <a:gd name="connsiteX286" fmla="*/ 149470 w 655814"/>
                  <a:gd name="connsiteY286" fmla="*/ 364477 h 488964"/>
                  <a:gd name="connsiteX287" fmla="*/ 144256 w 655814"/>
                  <a:gd name="connsiteY287" fmla="*/ 362742 h 488964"/>
                  <a:gd name="connsiteX288" fmla="*/ 138463 w 655814"/>
                  <a:gd name="connsiteY288" fmla="*/ 359849 h 488964"/>
                  <a:gd name="connsiteX289" fmla="*/ 132669 w 655814"/>
                  <a:gd name="connsiteY289" fmla="*/ 356957 h 488964"/>
                  <a:gd name="connsiteX290" fmla="*/ 127455 w 655814"/>
                  <a:gd name="connsiteY290" fmla="*/ 354642 h 488964"/>
                  <a:gd name="connsiteX291" fmla="*/ 122241 w 655814"/>
                  <a:gd name="connsiteY291" fmla="*/ 351171 h 488964"/>
                  <a:gd name="connsiteX292" fmla="*/ 91536 w 655814"/>
                  <a:gd name="connsiteY292" fmla="*/ 382412 h 488964"/>
                  <a:gd name="connsiteX293" fmla="*/ 34181 w 655814"/>
                  <a:gd name="connsiteY293" fmla="*/ 324559 h 488964"/>
                  <a:gd name="connsiteX294" fmla="*/ 64886 w 655814"/>
                  <a:gd name="connsiteY294" fmla="*/ 293318 h 488964"/>
                  <a:gd name="connsiteX295" fmla="*/ 58514 w 655814"/>
                  <a:gd name="connsiteY295" fmla="*/ 282904 h 488964"/>
                  <a:gd name="connsiteX296" fmla="*/ 53879 w 655814"/>
                  <a:gd name="connsiteY296" fmla="*/ 271333 h 488964"/>
                  <a:gd name="connsiteX297" fmla="*/ 49244 w 655814"/>
                  <a:gd name="connsiteY297" fmla="*/ 260341 h 488964"/>
                  <a:gd name="connsiteX298" fmla="*/ 46348 w 655814"/>
                  <a:gd name="connsiteY298" fmla="*/ 248192 h 488964"/>
                  <a:gd name="connsiteX299" fmla="*/ 0 w 655814"/>
                  <a:gd name="connsiteY299" fmla="*/ 248192 h 488964"/>
                  <a:gd name="connsiteX300" fmla="*/ 0 w 655814"/>
                  <a:gd name="connsiteY300" fmla="*/ 167197 h 488964"/>
                  <a:gd name="connsiteX301" fmla="*/ 46348 w 655814"/>
                  <a:gd name="connsiteY301" fmla="*/ 167197 h 488964"/>
                  <a:gd name="connsiteX302" fmla="*/ 49244 w 655814"/>
                  <a:gd name="connsiteY302" fmla="*/ 155048 h 488964"/>
                  <a:gd name="connsiteX303" fmla="*/ 53879 w 655814"/>
                  <a:gd name="connsiteY303" fmla="*/ 142898 h 488964"/>
                  <a:gd name="connsiteX304" fmla="*/ 58514 w 655814"/>
                  <a:gd name="connsiteY304" fmla="*/ 132485 h 488964"/>
                  <a:gd name="connsiteX305" fmla="*/ 64886 w 655814"/>
                  <a:gd name="connsiteY305" fmla="*/ 121493 h 488964"/>
                  <a:gd name="connsiteX306" fmla="*/ 35340 w 655814"/>
                  <a:gd name="connsiteY306" fmla="*/ 92566 h 488964"/>
                  <a:gd name="connsiteX307" fmla="*/ 93274 w 655814"/>
                  <a:gd name="connsiteY307" fmla="*/ 34712 h 488964"/>
                  <a:gd name="connsiteX308" fmla="*/ 122241 w 655814"/>
                  <a:gd name="connsiteY308" fmla="*/ 64796 h 488964"/>
                  <a:gd name="connsiteX309" fmla="*/ 127455 w 655814"/>
                  <a:gd name="connsiteY309" fmla="*/ 61325 h 488964"/>
                  <a:gd name="connsiteX310" fmla="*/ 132669 w 655814"/>
                  <a:gd name="connsiteY310" fmla="*/ 58432 h 488964"/>
                  <a:gd name="connsiteX311" fmla="*/ 138463 w 655814"/>
                  <a:gd name="connsiteY311" fmla="*/ 56118 h 488964"/>
                  <a:gd name="connsiteX312" fmla="*/ 144256 w 655814"/>
                  <a:gd name="connsiteY312" fmla="*/ 53225 h 488964"/>
                  <a:gd name="connsiteX313" fmla="*/ 149470 w 655814"/>
                  <a:gd name="connsiteY313" fmla="*/ 51490 h 488964"/>
                  <a:gd name="connsiteX314" fmla="*/ 155843 w 655814"/>
                  <a:gd name="connsiteY314" fmla="*/ 49176 h 488964"/>
                  <a:gd name="connsiteX315" fmla="*/ 161636 w 655814"/>
                  <a:gd name="connsiteY315" fmla="*/ 47440 h 488964"/>
                  <a:gd name="connsiteX316" fmla="*/ 167430 w 655814"/>
                  <a:gd name="connsiteY316" fmla="*/ 45126 h 4889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Lst>
                <a:rect l="l" t="t" r="r" b="b"/>
                <a:pathLst>
                  <a:path w="655814" h="488964">
                    <a:moveTo>
                      <a:pt x="520248" y="327907"/>
                    </a:moveTo>
                    <a:lnTo>
                      <a:pt x="514455" y="328486"/>
                    </a:lnTo>
                    <a:lnTo>
                      <a:pt x="508661" y="329645"/>
                    </a:lnTo>
                    <a:lnTo>
                      <a:pt x="504026" y="333121"/>
                    </a:lnTo>
                    <a:lnTo>
                      <a:pt x="499971" y="336597"/>
                    </a:lnTo>
                    <a:lnTo>
                      <a:pt x="495916" y="340653"/>
                    </a:lnTo>
                    <a:lnTo>
                      <a:pt x="493598" y="345867"/>
                    </a:lnTo>
                    <a:lnTo>
                      <a:pt x="492440" y="351081"/>
                    </a:lnTo>
                    <a:lnTo>
                      <a:pt x="491281" y="356295"/>
                    </a:lnTo>
                    <a:lnTo>
                      <a:pt x="492440" y="362668"/>
                    </a:lnTo>
                    <a:lnTo>
                      <a:pt x="493598" y="367882"/>
                    </a:lnTo>
                    <a:lnTo>
                      <a:pt x="495916" y="372516"/>
                    </a:lnTo>
                    <a:lnTo>
                      <a:pt x="499971" y="376572"/>
                    </a:lnTo>
                    <a:lnTo>
                      <a:pt x="504026" y="380627"/>
                    </a:lnTo>
                    <a:lnTo>
                      <a:pt x="508661" y="382945"/>
                    </a:lnTo>
                    <a:lnTo>
                      <a:pt x="514455" y="384103"/>
                    </a:lnTo>
                    <a:lnTo>
                      <a:pt x="520248" y="385262"/>
                    </a:lnTo>
                    <a:lnTo>
                      <a:pt x="524883" y="384103"/>
                    </a:lnTo>
                    <a:lnTo>
                      <a:pt x="529517" y="383524"/>
                    </a:lnTo>
                    <a:lnTo>
                      <a:pt x="533573" y="381786"/>
                    </a:lnTo>
                    <a:lnTo>
                      <a:pt x="537628" y="378889"/>
                    </a:lnTo>
                    <a:lnTo>
                      <a:pt x="541104" y="375992"/>
                    </a:lnTo>
                    <a:lnTo>
                      <a:pt x="543422" y="372516"/>
                    </a:lnTo>
                    <a:lnTo>
                      <a:pt x="546318" y="368461"/>
                    </a:lnTo>
                    <a:lnTo>
                      <a:pt x="547477" y="363826"/>
                    </a:lnTo>
                    <a:lnTo>
                      <a:pt x="547477" y="362668"/>
                    </a:lnTo>
                    <a:lnTo>
                      <a:pt x="548056" y="360350"/>
                    </a:lnTo>
                    <a:lnTo>
                      <a:pt x="549215" y="357454"/>
                    </a:lnTo>
                    <a:lnTo>
                      <a:pt x="549215" y="356295"/>
                    </a:lnTo>
                    <a:lnTo>
                      <a:pt x="548056" y="351081"/>
                    </a:lnTo>
                    <a:lnTo>
                      <a:pt x="546898" y="345867"/>
                    </a:lnTo>
                    <a:lnTo>
                      <a:pt x="544001" y="340653"/>
                    </a:lnTo>
                    <a:lnTo>
                      <a:pt x="541104" y="336597"/>
                    </a:lnTo>
                    <a:lnTo>
                      <a:pt x="536470" y="333121"/>
                    </a:lnTo>
                    <a:lnTo>
                      <a:pt x="531835" y="329645"/>
                    </a:lnTo>
                    <a:lnTo>
                      <a:pt x="526041" y="328486"/>
                    </a:lnTo>
                    <a:close/>
                    <a:moveTo>
                      <a:pt x="512137" y="221308"/>
                    </a:moveTo>
                    <a:lnTo>
                      <a:pt x="520248" y="249117"/>
                    </a:lnTo>
                    <a:lnTo>
                      <a:pt x="524303" y="249117"/>
                    </a:lnTo>
                    <a:lnTo>
                      <a:pt x="527779" y="249117"/>
                    </a:lnTo>
                    <a:lnTo>
                      <a:pt x="531835" y="249696"/>
                    </a:lnTo>
                    <a:lnTo>
                      <a:pt x="535890" y="249696"/>
                    </a:lnTo>
                    <a:lnTo>
                      <a:pt x="539366" y="250275"/>
                    </a:lnTo>
                    <a:lnTo>
                      <a:pt x="543422" y="250855"/>
                    </a:lnTo>
                    <a:lnTo>
                      <a:pt x="546898" y="252593"/>
                    </a:lnTo>
                    <a:lnTo>
                      <a:pt x="550953" y="253172"/>
                    </a:lnTo>
                    <a:lnTo>
                      <a:pt x="564278" y="229419"/>
                    </a:lnTo>
                    <a:lnTo>
                      <a:pt x="608887" y="254331"/>
                    </a:lnTo>
                    <a:lnTo>
                      <a:pt x="595562" y="278663"/>
                    </a:lnTo>
                    <a:lnTo>
                      <a:pt x="600777" y="283877"/>
                    </a:lnTo>
                    <a:lnTo>
                      <a:pt x="605991" y="289670"/>
                    </a:lnTo>
                    <a:lnTo>
                      <a:pt x="610625" y="296623"/>
                    </a:lnTo>
                    <a:lnTo>
                      <a:pt x="614681" y="302995"/>
                    </a:lnTo>
                    <a:lnTo>
                      <a:pt x="642489" y="296043"/>
                    </a:lnTo>
                    <a:lnTo>
                      <a:pt x="655814" y="345287"/>
                    </a:lnTo>
                    <a:lnTo>
                      <a:pt x="628585" y="352819"/>
                    </a:lnTo>
                    <a:lnTo>
                      <a:pt x="628585" y="355136"/>
                    </a:lnTo>
                    <a:lnTo>
                      <a:pt x="628585" y="358612"/>
                    </a:lnTo>
                    <a:lnTo>
                      <a:pt x="628006" y="361509"/>
                    </a:lnTo>
                    <a:lnTo>
                      <a:pt x="628006" y="363826"/>
                    </a:lnTo>
                    <a:lnTo>
                      <a:pt x="626847" y="368461"/>
                    </a:lnTo>
                    <a:lnTo>
                      <a:pt x="626268" y="373675"/>
                    </a:lnTo>
                    <a:lnTo>
                      <a:pt x="625109" y="378310"/>
                    </a:lnTo>
                    <a:lnTo>
                      <a:pt x="624530" y="383524"/>
                    </a:lnTo>
                    <a:lnTo>
                      <a:pt x="648862" y="397428"/>
                    </a:lnTo>
                    <a:lnTo>
                      <a:pt x="623950" y="442617"/>
                    </a:lnTo>
                    <a:lnTo>
                      <a:pt x="598459" y="428133"/>
                    </a:lnTo>
                    <a:lnTo>
                      <a:pt x="595562" y="431030"/>
                    </a:lnTo>
                    <a:lnTo>
                      <a:pt x="593245" y="433927"/>
                    </a:lnTo>
                    <a:lnTo>
                      <a:pt x="590348" y="436244"/>
                    </a:lnTo>
                    <a:lnTo>
                      <a:pt x="586872" y="438561"/>
                    </a:lnTo>
                    <a:lnTo>
                      <a:pt x="583976" y="440879"/>
                    </a:lnTo>
                    <a:lnTo>
                      <a:pt x="581079" y="443196"/>
                    </a:lnTo>
                    <a:lnTo>
                      <a:pt x="577603" y="444934"/>
                    </a:lnTo>
                    <a:lnTo>
                      <a:pt x="574127" y="447252"/>
                    </a:lnTo>
                    <a:lnTo>
                      <a:pt x="581658" y="475060"/>
                    </a:lnTo>
                    <a:lnTo>
                      <a:pt x="532414" y="488964"/>
                    </a:lnTo>
                    <a:lnTo>
                      <a:pt x="524303" y="461156"/>
                    </a:lnTo>
                    <a:lnTo>
                      <a:pt x="520248" y="461156"/>
                    </a:lnTo>
                    <a:lnTo>
                      <a:pt x="516193" y="461156"/>
                    </a:lnTo>
                    <a:lnTo>
                      <a:pt x="512137" y="460576"/>
                    </a:lnTo>
                    <a:lnTo>
                      <a:pt x="508661" y="459418"/>
                    </a:lnTo>
                    <a:lnTo>
                      <a:pt x="504606" y="459418"/>
                    </a:lnTo>
                    <a:lnTo>
                      <a:pt x="501130" y="458838"/>
                    </a:lnTo>
                    <a:lnTo>
                      <a:pt x="497654" y="457680"/>
                    </a:lnTo>
                    <a:lnTo>
                      <a:pt x="493598" y="457100"/>
                    </a:lnTo>
                    <a:lnTo>
                      <a:pt x="479694" y="480853"/>
                    </a:lnTo>
                    <a:lnTo>
                      <a:pt x="434505" y="455942"/>
                    </a:lnTo>
                    <a:lnTo>
                      <a:pt x="448989" y="431030"/>
                    </a:lnTo>
                    <a:lnTo>
                      <a:pt x="443195" y="425816"/>
                    </a:lnTo>
                    <a:lnTo>
                      <a:pt x="437981" y="419443"/>
                    </a:lnTo>
                    <a:lnTo>
                      <a:pt x="433347" y="413650"/>
                    </a:lnTo>
                    <a:lnTo>
                      <a:pt x="429291" y="407277"/>
                    </a:lnTo>
                    <a:lnTo>
                      <a:pt x="402062" y="414229"/>
                    </a:lnTo>
                    <a:lnTo>
                      <a:pt x="388158" y="364985"/>
                    </a:lnTo>
                    <a:lnTo>
                      <a:pt x="415966" y="356874"/>
                    </a:lnTo>
                    <a:lnTo>
                      <a:pt x="415966" y="349343"/>
                    </a:lnTo>
                    <a:lnTo>
                      <a:pt x="417125" y="341811"/>
                    </a:lnTo>
                    <a:lnTo>
                      <a:pt x="418284" y="333700"/>
                    </a:lnTo>
                    <a:lnTo>
                      <a:pt x="420022" y="326169"/>
                    </a:lnTo>
                    <a:lnTo>
                      <a:pt x="397427" y="314003"/>
                    </a:lnTo>
                    <a:lnTo>
                      <a:pt x="422919" y="268235"/>
                    </a:lnTo>
                    <a:lnTo>
                      <a:pt x="445513" y="281560"/>
                    </a:lnTo>
                    <a:lnTo>
                      <a:pt x="447830" y="279242"/>
                    </a:lnTo>
                    <a:lnTo>
                      <a:pt x="450727" y="276346"/>
                    </a:lnTo>
                    <a:lnTo>
                      <a:pt x="454203" y="274028"/>
                    </a:lnTo>
                    <a:lnTo>
                      <a:pt x="456520" y="271132"/>
                    </a:lnTo>
                    <a:lnTo>
                      <a:pt x="459996" y="269394"/>
                    </a:lnTo>
                    <a:lnTo>
                      <a:pt x="463472" y="267076"/>
                    </a:lnTo>
                    <a:lnTo>
                      <a:pt x="466949" y="265338"/>
                    </a:lnTo>
                    <a:lnTo>
                      <a:pt x="470425" y="263021"/>
                    </a:lnTo>
                    <a:lnTo>
                      <a:pt x="462314" y="235212"/>
                    </a:lnTo>
                    <a:close/>
                    <a:moveTo>
                      <a:pt x="209142" y="107608"/>
                    </a:moveTo>
                    <a:lnTo>
                      <a:pt x="188286" y="109922"/>
                    </a:lnTo>
                    <a:lnTo>
                      <a:pt x="169747" y="115707"/>
                    </a:lnTo>
                    <a:lnTo>
                      <a:pt x="152367" y="124964"/>
                    </a:lnTo>
                    <a:lnTo>
                      <a:pt x="137304" y="137113"/>
                    </a:lnTo>
                    <a:lnTo>
                      <a:pt x="125717" y="151576"/>
                    </a:lnTo>
                    <a:lnTo>
                      <a:pt x="116448" y="168932"/>
                    </a:lnTo>
                    <a:lnTo>
                      <a:pt x="110075" y="187446"/>
                    </a:lnTo>
                    <a:lnTo>
                      <a:pt x="108337" y="207694"/>
                    </a:lnTo>
                    <a:lnTo>
                      <a:pt x="110075" y="227365"/>
                    </a:lnTo>
                    <a:lnTo>
                      <a:pt x="116448" y="247035"/>
                    </a:lnTo>
                    <a:lnTo>
                      <a:pt x="125717" y="263234"/>
                    </a:lnTo>
                    <a:lnTo>
                      <a:pt x="137304" y="278854"/>
                    </a:lnTo>
                    <a:lnTo>
                      <a:pt x="152367" y="290425"/>
                    </a:lnTo>
                    <a:lnTo>
                      <a:pt x="169747" y="300260"/>
                    </a:lnTo>
                    <a:lnTo>
                      <a:pt x="188286" y="306045"/>
                    </a:lnTo>
                    <a:lnTo>
                      <a:pt x="209142" y="307781"/>
                    </a:lnTo>
                    <a:lnTo>
                      <a:pt x="228840" y="306045"/>
                    </a:lnTo>
                    <a:lnTo>
                      <a:pt x="247958" y="300260"/>
                    </a:lnTo>
                    <a:lnTo>
                      <a:pt x="265338" y="290425"/>
                    </a:lnTo>
                    <a:lnTo>
                      <a:pt x="279822" y="278854"/>
                    </a:lnTo>
                    <a:lnTo>
                      <a:pt x="291988" y="263234"/>
                    </a:lnTo>
                    <a:lnTo>
                      <a:pt x="301257" y="247035"/>
                    </a:lnTo>
                    <a:lnTo>
                      <a:pt x="307051" y="227365"/>
                    </a:lnTo>
                    <a:lnTo>
                      <a:pt x="309368" y="207694"/>
                    </a:lnTo>
                    <a:lnTo>
                      <a:pt x="309368" y="207116"/>
                    </a:lnTo>
                    <a:lnTo>
                      <a:pt x="309368" y="205959"/>
                    </a:lnTo>
                    <a:lnTo>
                      <a:pt x="309368" y="205380"/>
                    </a:lnTo>
                    <a:lnTo>
                      <a:pt x="305892" y="185131"/>
                    </a:lnTo>
                    <a:lnTo>
                      <a:pt x="300098" y="166040"/>
                    </a:lnTo>
                    <a:lnTo>
                      <a:pt x="289670" y="149841"/>
                    </a:lnTo>
                    <a:lnTo>
                      <a:pt x="278084" y="135956"/>
                    </a:lnTo>
                    <a:lnTo>
                      <a:pt x="263021" y="123807"/>
                    </a:lnTo>
                    <a:lnTo>
                      <a:pt x="246220" y="115129"/>
                    </a:lnTo>
                    <a:lnTo>
                      <a:pt x="228260" y="109922"/>
                    </a:lnTo>
                    <a:close/>
                    <a:moveTo>
                      <a:pt x="552395" y="94433"/>
                    </a:moveTo>
                    <a:lnTo>
                      <a:pt x="543676" y="96171"/>
                    </a:lnTo>
                    <a:lnTo>
                      <a:pt x="536120" y="98488"/>
                    </a:lnTo>
                    <a:lnTo>
                      <a:pt x="528563" y="102543"/>
                    </a:lnTo>
                    <a:lnTo>
                      <a:pt x="521588" y="107757"/>
                    </a:lnTo>
                    <a:lnTo>
                      <a:pt x="516357" y="114710"/>
                    </a:lnTo>
                    <a:lnTo>
                      <a:pt x="512869" y="122241"/>
                    </a:lnTo>
                    <a:lnTo>
                      <a:pt x="510544" y="130931"/>
                    </a:lnTo>
                    <a:lnTo>
                      <a:pt x="509963" y="139042"/>
                    </a:lnTo>
                    <a:lnTo>
                      <a:pt x="511125" y="147732"/>
                    </a:lnTo>
                    <a:lnTo>
                      <a:pt x="514032" y="156422"/>
                    </a:lnTo>
                    <a:lnTo>
                      <a:pt x="518100" y="163953"/>
                    </a:lnTo>
                    <a:lnTo>
                      <a:pt x="523913" y="170906"/>
                    </a:lnTo>
                    <a:lnTo>
                      <a:pt x="529726" y="176120"/>
                    </a:lnTo>
                    <a:lnTo>
                      <a:pt x="537863" y="179016"/>
                    </a:lnTo>
                    <a:lnTo>
                      <a:pt x="546001" y="181913"/>
                    </a:lnTo>
                    <a:lnTo>
                      <a:pt x="555301" y="182492"/>
                    </a:lnTo>
                    <a:lnTo>
                      <a:pt x="563439" y="181913"/>
                    </a:lnTo>
                    <a:lnTo>
                      <a:pt x="570996" y="179016"/>
                    </a:lnTo>
                    <a:lnTo>
                      <a:pt x="577971" y="176120"/>
                    </a:lnTo>
                    <a:lnTo>
                      <a:pt x="584365" y="170906"/>
                    </a:lnTo>
                    <a:lnTo>
                      <a:pt x="589596" y="165112"/>
                    </a:lnTo>
                    <a:lnTo>
                      <a:pt x="593665" y="158739"/>
                    </a:lnTo>
                    <a:lnTo>
                      <a:pt x="597153" y="150629"/>
                    </a:lnTo>
                    <a:lnTo>
                      <a:pt x="598315" y="142518"/>
                    </a:lnTo>
                    <a:lnTo>
                      <a:pt x="598315" y="141359"/>
                    </a:lnTo>
                    <a:lnTo>
                      <a:pt x="598896" y="140200"/>
                    </a:lnTo>
                    <a:lnTo>
                      <a:pt x="598896" y="138462"/>
                    </a:lnTo>
                    <a:lnTo>
                      <a:pt x="598896" y="137304"/>
                    </a:lnTo>
                    <a:lnTo>
                      <a:pt x="597734" y="128614"/>
                    </a:lnTo>
                    <a:lnTo>
                      <a:pt x="594827" y="120503"/>
                    </a:lnTo>
                    <a:lnTo>
                      <a:pt x="590177" y="113551"/>
                    </a:lnTo>
                    <a:lnTo>
                      <a:pt x="584946" y="106599"/>
                    </a:lnTo>
                    <a:lnTo>
                      <a:pt x="577971" y="101385"/>
                    </a:lnTo>
                    <a:lnTo>
                      <a:pt x="569833" y="97909"/>
                    </a:lnTo>
                    <a:lnTo>
                      <a:pt x="562277" y="95591"/>
                    </a:lnTo>
                    <a:close/>
                    <a:moveTo>
                      <a:pt x="550070" y="50982"/>
                    </a:moveTo>
                    <a:lnTo>
                      <a:pt x="583783" y="56196"/>
                    </a:lnTo>
                    <a:lnTo>
                      <a:pt x="580877" y="74156"/>
                    </a:lnTo>
                    <a:lnTo>
                      <a:pt x="585527" y="75894"/>
                    </a:lnTo>
                    <a:lnTo>
                      <a:pt x="589596" y="78790"/>
                    </a:lnTo>
                    <a:lnTo>
                      <a:pt x="594246" y="81108"/>
                    </a:lnTo>
                    <a:lnTo>
                      <a:pt x="598315" y="84584"/>
                    </a:lnTo>
                    <a:lnTo>
                      <a:pt x="613428" y="73576"/>
                    </a:lnTo>
                    <a:lnTo>
                      <a:pt x="633772" y="100805"/>
                    </a:lnTo>
                    <a:lnTo>
                      <a:pt x="618078" y="111813"/>
                    </a:lnTo>
                    <a:lnTo>
                      <a:pt x="620403" y="116448"/>
                    </a:lnTo>
                    <a:lnTo>
                      <a:pt x="621566" y="121082"/>
                    </a:lnTo>
                    <a:lnTo>
                      <a:pt x="622147" y="126876"/>
                    </a:lnTo>
                    <a:lnTo>
                      <a:pt x="623310" y="131510"/>
                    </a:lnTo>
                    <a:lnTo>
                      <a:pt x="641910" y="133828"/>
                    </a:lnTo>
                    <a:lnTo>
                      <a:pt x="640166" y="142518"/>
                    </a:lnTo>
                    <a:lnTo>
                      <a:pt x="636679" y="167429"/>
                    </a:lnTo>
                    <a:lnTo>
                      <a:pt x="617497" y="164533"/>
                    </a:lnTo>
                    <a:lnTo>
                      <a:pt x="615753" y="169167"/>
                    </a:lnTo>
                    <a:lnTo>
                      <a:pt x="612847" y="173223"/>
                    </a:lnTo>
                    <a:lnTo>
                      <a:pt x="610522" y="177858"/>
                    </a:lnTo>
                    <a:lnTo>
                      <a:pt x="607034" y="181913"/>
                    </a:lnTo>
                    <a:lnTo>
                      <a:pt x="618078" y="197555"/>
                    </a:lnTo>
                    <a:lnTo>
                      <a:pt x="590759" y="217253"/>
                    </a:lnTo>
                    <a:lnTo>
                      <a:pt x="579715" y="202190"/>
                    </a:lnTo>
                    <a:lnTo>
                      <a:pt x="575064" y="203349"/>
                    </a:lnTo>
                    <a:lnTo>
                      <a:pt x="569833" y="204507"/>
                    </a:lnTo>
                    <a:lnTo>
                      <a:pt x="564602" y="205666"/>
                    </a:lnTo>
                    <a:lnTo>
                      <a:pt x="559952" y="206825"/>
                    </a:lnTo>
                    <a:lnTo>
                      <a:pt x="556464" y="224784"/>
                    </a:lnTo>
                    <a:lnTo>
                      <a:pt x="523332" y="218991"/>
                    </a:lnTo>
                    <a:lnTo>
                      <a:pt x="526819" y="201031"/>
                    </a:lnTo>
                    <a:lnTo>
                      <a:pt x="521588" y="199293"/>
                    </a:lnTo>
                    <a:lnTo>
                      <a:pt x="516938" y="196396"/>
                    </a:lnTo>
                    <a:lnTo>
                      <a:pt x="512869" y="194079"/>
                    </a:lnTo>
                    <a:lnTo>
                      <a:pt x="509381" y="190603"/>
                    </a:lnTo>
                    <a:lnTo>
                      <a:pt x="493687" y="202190"/>
                    </a:lnTo>
                    <a:lnTo>
                      <a:pt x="473343" y="174382"/>
                    </a:lnTo>
                    <a:lnTo>
                      <a:pt x="489037" y="163374"/>
                    </a:lnTo>
                    <a:lnTo>
                      <a:pt x="487293" y="158160"/>
                    </a:lnTo>
                    <a:lnTo>
                      <a:pt x="485550" y="153525"/>
                    </a:lnTo>
                    <a:lnTo>
                      <a:pt x="484968" y="147732"/>
                    </a:lnTo>
                    <a:lnTo>
                      <a:pt x="484387" y="143097"/>
                    </a:lnTo>
                    <a:lnTo>
                      <a:pt x="466949" y="140780"/>
                    </a:lnTo>
                    <a:lnTo>
                      <a:pt x="472180" y="107757"/>
                    </a:lnTo>
                    <a:lnTo>
                      <a:pt x="489618" y="110654"/>
                    </a:lnTo>
                    <a:lnTo>
                      <a:pt x="491943" y="106019"/>
                    </a:lnTo>
                    <a:lnTo>
                      <a:pt x="493687" y="101964"/>
                    </a:lnTo>
                    <a:lnTo>
                      <a:pt x="497175" y="97329"/>
                    </a:lnTo>
                    <a:lnTo>
                      <a:pt x="499500" y="93274"/>
                    </a:lnTo>
                    <a:lnTo>
                      <a:pt x="489037" y="78211"/>
                    </a:lnTo>
                    <a:lnTo>
                      <a:pt x="516357" y="57934"/>
                    </a:lnTo>
                    <a:lnTo>
                      <a:pt x="527401" y="73576"/>
                    </a:lnTo>
                    <a:lnTo>
                      <a:pt x="529726" y="72418"/>
                    </a:lnTo>
                    <a:lnTo>
                      <a:pt x="532632" y="71259"/>
                    </a:lnTo>
                    <a:lnTo>
                      <a:pt x="534376" y="70680"/>
                    </a:lnTo>
                    <a:lnTo>
                      <a:pt x="537282" y="70100"/>
                    </a:lnTo>
                    <a:lnTo>
                      <a:pt x="540188" y="70100"/>
                    </a:lnTo>
                    <a:lnTo>
                      <a:pt x="542514" y="69521"/>
                    </a:lnTo>
                    <a:lnTo>
                      <a:pt x="544839" y="68942"/>
                    </a:lnTo>
                    <a:lnTo>
                      <a:pt x="547164" y="68942"/>
                    </a:lnTo>
                    <a:close/>
                    <a:moveTo>
                      <a:pt x="167430" y="0"/>
                    </a:moveTo>
                    <a:lnTo>
                      <a:pt x="249696" y="0"/>
                    </a:lnTo>
                    <a:lnTo>
                      <a:pt x="249696" y="45126"/>
                    </a:lnTo>
                    <a:lnTo>
                      <a:pt x="256069" y="47440"/>
                    </a:lnTo>
                    <a:lnTo>
                      <a:pt x="261862" y="49176"/>
                    </a:lnTo>
                    <a:lnTo>
                      <a:pt x="267655" y="51490"/>
                    </a:lnTo>
                    <a:lnTo>
                      <a:pt x="272869" y="53225"/>
                    </a:lnTo>
                    <a:lnTo>
                      <a:pt x="279242" y="56118"/>
                    </a:lnTo>
                    <a:lnTo>
                      <a:pt x="284456" y="58432"/>
                    </a:lnTo>
                    <a:lnTo>
                      <a:pt x="289670" y="61325"/>
                    </a:lnTo>
                    <a:lnTo>
                      <a:pt x="295464" y="64796"/>
                    </a:lnTo>
                    <a:lnTo>
                      <a:pt x="326748" y="32977"/>
                    </a:lnTo>
                    <a:lnTo>
                      <a:pt x="384103" y="91409"/>
                    </a:lnTo>
                    <a:lnTo>
                      <a:pt x="353398" y="121493"/>
                    </a:lnTo>
                    <a:lnTo>
                      <a:pt x="359191" y="132485"/>
                    </a:lnTo>
                    <a:lnTo>
                      <a:pt x="363826" y="142898"/>
                    </a:lnTo>
                    <a:lnTo>
                      <a:pt x="368461" y="155048"/>
                    </a:lnTo>
                    <a:lnTo>
                      <a:pt x="371937" y="167197"/>
                    </a:lnTo>
                    <a:lnTo>
                      <a:pt x="418284" y="167197"/>
                    </a:lnTo>
                    <a:lnTo>
                      <a:pt x="418284" y="205380"/>
                    </a:lnTo>
                    <a:lnTo>
                      <a:pt x="418284" y="248192"/>
                    </a:lnTo>
                    <a:lnTo>
                      <a:pt x="371937" y="248192"/>
                    </a:lnTo>
                    <a:lnTo>
                      <a:pt x="368461" y="260341"/>
                    </a:lnTo>
                    <a:lnTo>
                      <a:pt x="363826" y="271333"/>
                    </a:lnTo>
                    <a:lnTo>
                      <a:pt x="359191" y="282904"/>
                    </a:lnTo>
                    <a:lnTo>
                      <a:pt x="353398" y="293318"/>
                    </a:lnTo>
                    <a:lnTo>
                      <a:pt x="385262" y="325716"/>
                    </a:lnTo>
                    <a:lnTo>
                      <a:pt x="327907" y="383569"/>
                    </a:lnTo>
                    <a:lnTo>
                      <a:pt x="295464" y="351171"/>
                    </a:lnTo>
                    <a:lnTo>
                      <a:pt x="289670" y="354642"/>
                    </a:lnTo>
                    <a:lnTo>
                      <a:pt x="284456" y="356957"/>
                    </a:lnTo>
                    <a:lnTo>
                      <a:pt x="279242" y="359849"/>
                    </a:lnTo>
                    <a:lnTo>
                      <a:pt x="272869" y="362742"/>
                    </a:lnTo>
                    <a:lnTo>
                      <a:pt x="267655" y="364477"/>
                    </a:lnTo>
                    <a:lnTo>
                      <a:pt x="261862" y="366792"/>
                    </a:lnTo>
                    <a:lnTo>
                      <a:pt x="256069" y="368527"/>
                    </a:lnTo>
                    <a:lnTo>
                      <a:pt x="249696" y="369684"/>
                    </a:lnTo>
                    <a:lnTo>
                      <a:pt x="249696" y="415967"/>
                    </a:lnTo>
                    <a:lnTo>
                      <a:pt x="167430" y="415967"/>
                    </a:lnTo>
                    <a:lnTo>
                      <a:pt x="167430" y="369684"/>
                    </a:lnTo>
                    <a:lnTo>
                      <a:pt x="161636" y="368527"/>
                    </a:lnTo>
                    <a:lnTo>
                      <a:pt x="155843" y="366792"/>
                    </a:lnTo>
                    <a:lnTo>
                      <a:pt x="149470" y="364477"/>
                    </a:lnTo>
                    <a:lnTo>
                      <a:pt x="144256" y="362742"/>
                    </a:lnTo>
                    <a:lnTo>
                      <a:pt x="138463" y="359849"/>
                    </a:lnTo>
                    <a:lnTo>
                      <a:pt x="132669" y="356957"/>
                    </a:lnTo>
                    <a:lnTo>
                      <a:pt x="127455" y="354642"/>
                    </a:lnTo>
                    <a:lnTo>
                      <a:pt x="122241" y="351171"/>
                    </a:lnTo>
                    <a:lnTo>
                      <a:pt x="91536" y="382412"/>
                    </a:lnTo>
                    <a:lnTo>
                      <a:pt x="34181" y="324559"/>
                    </a:lnTo>
                    <a:lnTo>
                      <a:pt x="64886" y="293318"/>
                    </a:lnTo>
                    <a:lnTo>
                      <a:pt x="58514" y="282904"/>
                    </a:lnTo>
                    <a:lnTo>
                      <a:pt x="53879" y="271333"/>
                    </a:lnTo>
                    <a:lnTo>
                      <a:pt x="49244" y="260341"/>
                    </a:lnTo>
                    <a:lnTo>
                      <a:pt x="46348" y="248192"/>
                    </a:lnTo>
                    <a:lnTo>
                      <a:pt x="0" y="248192"/>
                    </a:lnTo>
                    <a:lnTo>
                      <a:pt x="0" y="167197"/>
                    </a:lnTo>
                    <a:lnTo>
                      <a:pt x="46348" y="167197"/>
                    </a:lnTo>
                    <a:lnTo>
                      <a:pt x="49244" y="155048"/>
                    </a:lnTo>
                    <a:lnTo>
                      <a:pt x="53879" y="142898"/>
                    </a:lnTo>
                    <a:lnTo>
                      <a:pt x="58514" y="132485"/>
                    </a:lnTo>
                    <a:lnTo>
                      <a:pt x="64886" y="121493"/>
                    </a:lnTo>
                    <a:lnTo>
                      <a:pt x="35340" y="92566"/>
                    </a:lnTo>
                    <a:lnTo>
                      <a:pt x="93274" y="34712"/>
                    </a:lnTo>
                    <a:lnTo>
                      <a:pt x="122241" y="64796"/>
                    </a:lnTo>
                    <a:lnTo>
                      <a:pt x="127455" y="61325"/>
                    </a:lnTo>
                    <a:lnTo>
                      <a:pt x="132669" y="58432"/>
                    </a:lnTo>
                    <a:lnTo>
                      <a:pt x="138463" y="56118"/>
                    </a:lnTo>
                    <a:lnTo>
                      <a:pt x="144256" y="53225"/>
                    </a:lnTo>
                    <a:lnTo>
                      <a:pt x="149470" y="51490"/>
                    </a:lnTo>
                    <a:lnTo>
                      <a:pt x="155843" y="49176"/>
                    </a:lnTo>
                    <a:lnTo>
                      <a:pt x="161636" y="47440"/>
                    </a:lnTo>
                    <a:lnTo>
                      <a:pt x="167430" y="45126"/>
                    </a:lnTo>
                    <a:close/>
                  </a:path>
                </a:pathLst>
              </a:custGeom>
              <a:solidFill>
                <a:srgbClr val="FFFFFF"/>
              </a:solidFill>
              <a:ln>
                <a:noFill/>
              </a:ln>
              <a:extLst/>
            </p:spPr>
            <p:txBody>
              <a:bodyPr vert="horz" wrap="square" lIns="91440" tIns="45720" rIns="91440" bIns="45720" numCol="1" anchor="t" anchorCtr="0" compatLnSpc="1">
                <a:prstTxWarp prst="textNoShape">
                  <a:avLst/>
                </a:prstTxWarp>
                <a:no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Segoe UI"/>
                  <a:ea typeface="+mn-ea"/>
                  <a:cs typeface="+mn-cs"/>
                </a:endParaRPr>
              </a:p>
            </p:txBody>
          </p:sp>
        </p:grpSp>
        <p:grpSp>
          <p:nvGrpSpPr>
            <p:cNvPr id="216" name="Group 215"/>
            <p:cNvGrpSpPr/>
            <p:nvPr/>
          </p:nvGrpSpPr>
          <p:grpSpPr>
            <a:xfrm>
              <a:off x="11010490" y="4336494"/>
              <a:ext cx="746535" cy="2521506"/>
              <a:chOff x="11010490" y="4336494"/>
              <a:chExt cx="746535" cy="2521506"/>
            </a:xfrm>
          </p:grpSpPr>
          <p:sp>
            <p:nvSpPr>
              <p:cNvPr id="179" name="Freeform 178"/>
              <p:cNvSpPr>
                <a:spLocks/>
              </p:cNvSpPr>
              <p:nvPr/>
            </p:nvSpPr>
            <p:spPr bwMode="auto">
              <a:xfrm flipH="1">
                <a:off x="11111651" y="6722451"/>
                <a:ext cx="242776" cy="135549"/>
              </a:xfrm>
              <a:custGeom>
                <a:avLst/>
                <a:gdLst>
                  <a:gd name="T0" fmla="*/ 120 w 120"/>
                  <a:gd name="T1" fmla="*/ 51 h 67"/>
                  <a:gd name="T2" fmla="*/ 68 w 120"/>
                  <a:gd name="T3" fmla="*/ 0 h 67"/>
                  <a:gd name="T4" fmla="*/ 0 w 120"/>
                  <a:gd name="T5" fmla="*/ 0 h 67"/>
                  <a:gd name="T6" fmla="*/ 0 w 120"/>
                  <a:gd name="T7" fmla="*/ 67 h 67"/>
                  <a:gd name="T8" fmla="*/ 120 w 120"/>
                  <a:gd name="T9" fmla="*/ 67 h 67"/>
                  <a:gd name="T10" fmla="*/ 120 w 120"/>
                  <a:gd name="T11" fmla="*/ 51 h 67"/>
                </a:gdLst>
                <a:ahLst/>
                <a:cxnLst>
                  <a:cxn ang="0">
                    <a:pos x="T0" y="T1"/>
                  </a:cxn>
                  <a:cxn ang="0">
                    <a:pos x="T2" y="T3"/>
                  </a:cxn>
                  <a:cxn ang="0">
                    <a:pos x="T4" y="T5"/>
                  </a:cxn>
                  <a:cxn ang="0">
                    <a:pos x="T6" y="T7"/>
                  </a:cxn>
                  <a:cxn ang="0">
                    <a:pos x="T8" y="T9"/>
                  </a:cxn>
                  <a:cxn ang="0">
                    <a:pos x="T10" y="T11"/>
                  </a:cxn>
                </a:cxnLst>
                <a:rect l="0" t="0" r="r" b="b"/>
                <a:pathLst>
                  <a:path w="120" h="67">
                    <a:moveTo>
                      <a:pt x="120" y="51"/>
                    </a:moveTo>
                    <a:lnTo>
                      <a:pt x="68" y="0"/>
                    </a:lnTo>
                    <a:lnTo>
                      <a:pt x="0" y="0"/>
                    </a:lnTo>
                    <a:lnTo>
                      <a:pt x="0" y="67"/>
                    </a:lnTo>
                    <a:lnTo>
                      <a:pt x="120" y="67"/>
                    </a:lnTo>
                    <a:lnTo>
                      <a:pt x="120" y="51"/>
                    </a:lnTo>
                    <a:close/>
                  </a:path>
                </a:pathLst>
              </a:custGeom>
              <a:solidFill>
                <a:schemeClr val="accent2">
                  <a:lumMod val="60000"/>
                  <a:lumOff val="40000"/>
                </a:schemeClr>
              </a:solidFill>
              <a:ln>
                <a:noFill/>
              </a:ln>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180" name="Rectangle 179"/>
              <p:cNvSpPr>
                <a:spLocks noChangeArrowheads="1"/>
              </p:cNvSpPr>
              <p:nvPr/>
            </p:nvSpPr>
            <p:spPr bwMode="auto">
              <a:xfrm flipH="1">
                <a:off x="11218875" y="5838343"/>
                <a:ext cx="135549" cy="884105"/>
              </a:xfrm>
              <a:prstGeom prst="rect">
                <a:avLst/>
              </a:prstGeom>
              <a:solidFill>
                <a:srgbClr val="0A5BBA"/>
              </a:solidFill>
              <a:ln>
                <a:noFill/>
              </a:ln>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181" name="Rectangle 180"/>
              <p:cNvSpPr>
                <a:spLocks noChangeArrowheads="1"/>
              </p:cNvSpPr>
              <p:nvPr/>
            </p:nvSpPr>
            <p:spPr bwMode="auto">
              <a:xfrm flipH="1">
                <a:off x="11429281" y="5838343"/>
                <a:ext cx="135549" cy="884105"/>
              </a:xfrm>
              <a:prstGeom prst="rect">
                <a:avLst/>
              </a:prstGeom>
              <a:solidFill>
                <a:srgbClr val="0A5BBA"/>
              </a:solidFill>
              <a:ln>
                <a:noFill/>
              </a:ln>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182" name="Freeform 181"/>
              <p:cNvSpPr>
                <a:spLocks/>
              </p:cNvSpPr>
              <p:nvPr/>
            </p:nvSpPr>
            <p:spPr bwMode="auto">
              <a:xfrm flipH="1">
                <a:off x="11324077" y="6722451"/>
                <a:ext cx="240753" cy="135549"/>
              </a:xfrm>
              <a:custGeom>
                <a:avLst/>
                <a:gdLst>
                  <a:gd name="T0" fmla="*/ 119 w 119"/>
                  <a:gd name="T1" fmla="*/ 51 h 67"/>
                  <a:gd name="T2" fmla="*/ 68 w 119"/>
                  <a:gd name="T3" fmla="*/ 0 h 67"/>
                  <a:gd name="T4" fmla="*/ 0 w 119"/>
                  <a:gd name="T5" fmla="*/ 0 h 67"/>
                  <a:gd name="T6" fmla="*/ 0 w 119"/>
                  <a:gd name="T7" fmla="*/ 67 h 67"/>
                  <a:gd name="T8" fmla="*/ 119 w 119"/>
                  <a:gd name="T9" fmla="*/ 67 h 67"/>
                  <a:gd name="T10" fmla="*/ 119 w 119"/>
                  <a:gd name="T11" fmla="*/ 51 h 67"/>
                </a:gdLst>
                <a:ahLst/>
                <a:cxnLst>
                  <a:cxn ang="0">
                    <a:pos x="T0" y="T1"/>
                  </a:cxn>
                  <a:cxn ang="0">
                    <a:pos x="T2" y="T3"/>
                  </a:cxn>
                  <a:cxn ang="0">
                    <a:pos x="T4" y="T5"/>
                  </a:cxn>
                  <a:cxn ang="0">
                    <a:pos x="T6" y="T7"/>
                  </a:cxn>
                  <a:cxn ang="0">
                    <a:pos x="T8" y="T9"/>
                  </a:cxn>
                  <a:cxn ang="0">
                    <a:pos x="T10" y="T11"/>
                  </a:cxn>
                </a:cxnLst>
                <a:rect l="0" t="0" r="r" b="b"/>
                <a:pathLst>
                  <a:path w="119" h="67">
                    <a:moveTo>
                      <a:pt x="119" y="51"/>
                    </a:moveTo>
                    <a:lnTo>
                      <a:pt x="68" y="0"/>
                    </a:lnTo>
                    <a:lnTo>
                      <a:pt x="0" y="0"/>
                    </a:lnTo>
                    <a:lnTo>
                      <a:pt x="0" y="67"/>
                    </a:lnTo>
                    <a:lnTo>
                      <a:pt x="119" y="67"/>
                    </a:lnTo>
                    <a:lnTo>
                      <a:pt x="119" y="51"/>
                    </a:lnTo>
                    <a:close/>
                  </a:path>
                </a:pathLst>
              </a:custGeom>
              <a:solidFill>
                <a:schemeClr val="accent2">
                  <a:lumMod val="60000"/>
                  <a:lumOff val="40000"/>
                </a:schemeClr>
              </a:solidFill>
              <a:ln>
                <a:noFill/>
              </a:ln>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183" name="Rectangle 182"/>
              <p:cNvSpPr>
                <a:spLocks noChangeArrowheads="1"/>
              </p:cNvSpPr>
              <p:nvPr/>
            </p:nvSpPr>
            <p:spPr bwMode="auto">
              <a:xfrm flipH="1">
                <a:off x="11139974" y="4867245"/>
                <a:ext cx="495666" cy="1009538"/>
              </a:xfrm>
              <a:prstGeom prst="rect">
                <a:avLst/>
              </a:prstGeom>
              <a:solidFill>
                <a:srgbClr val="129038"/>
              </a:solidFill>
              <a:ln>
                <a:noFill/>
              </a:ln>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184" name="Rectangle 183"/>
              <p:cNvSpPr>
                <a:spLocks noChangeArrowheads="1"/>
              </p:cNvSpPr>
              <p:nvPr/>
            </p:nvSpPr>
            <p:spPr bwMode="auto">
              <a:xfrm flipH="1">
                <a:off x="11139974" y="4867245"/>
                <a:ext cx="495666" cy="10095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185" name="Freeform 184"/>
              <p:cNvSpPr>
                <a:spLocks noEditPoints="1"/>
              </p:cNvSpPr>
              <p:nvPr/>
            </p:nvSpPr>
            <p:spPr bwMode="auto">
              <a:xfrm flipH="1">
                <a:off x="11139974" y="5172738"/>
                <a:ext cx="495666" cy="704047"/>
              </a:xfrm>
              <a:custGeom>
                <a:avLst/>
                <a:gdLst>
                  <a:gd name="T0" fmla="*/ 278 w 278"/>
                  <a:gd name="T1" fmla="*/ 341 h 395"/>
                  <a:gd name="T2" fmla="*/ 0 w 278"/>
                  <a:gd name="T3" fmla="*/ 341 h 395"/>
                  <a:gd name="T4" fmla="*/ 0 w 278"/>
                  <a:gd name="T5" fmla="*/ 395 h 395"/>
                  <a:gd name="T6" fmla="*/ 278 w 278"/>
                  <a:gd name="T7" fmla="*/ 395 h 395"/>
                  <a:gd name="T8" fmla="*/ 278 w 278"/>
                  <a:gd name="T9" fmla="*/ 341 h 395"/>
                  <a:gd name="T10" fmla="*/ 22 w 278"/>
                  <a:gd name="T11" fmla="*/ 0 h 395"/>
                  <a:gd name="T12" fmla="*/ 0 w 278"/>
                  <a:gd name="T13" fmla="*/ 160 h 395"/>
                  <a:gd name="T14" fmla="*/ 0 w 278"/>
                  <a:gd name="T15" fmla="*/ 279 h 395"/>
                  <a:gd name="T16" fmla="*/ 278 w 278"/>
                  <a:gd name="T17" fmla="*/ 279 h 395"/>
                  <a:gd name="T18" fmla="*/ 278 w 278"/>
                  <a:gd name="T19" fmla="*/ 229 h 395"/>
                  <a:gd name="T20" fmla="*/ 22 w 278"/>
                  <a:gd name="T21" fmla="*/ 0 h 3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8" h="395">
                    <a:moveTo>
                      <a:pt x="278" y="341"/>
                    </a:moveTo>
                    <a:cubicBezTo>
                      <a:pt x="0" y="341"/>
                      <a:pt x="0" y="341"/>
                      <a:pt x="0" y="341"/>
                    </a:cubicBezTo>
                    <a:cubicBezTo>
                      <a:pt x="0" y="395"/>
                      <a:pt x="0" y="395"/>
                      <a:pt x="0" y="395"/>
                    </a:cubicBezTo>
                    <a:cubicBezTo>
                      <a:pt x="278" y="395"/>
                      <a:pt x="278" y="395"/>
                      <a:pt x="278" y="395"/>
                    </a:cubicBezTo>
                    <a:cubicBezTo>
                      <a:pt x="278" y="341"/>
                      <a:pt x="278" y="341"/>
                      <a:pt x="278" y="341"/>
                    </a:cubicBezTo>
                    <a:moveTo>
                      <a:pt x="22" y="0"/>
                    </a:moveTo>
                    <a:cubicBezTo>
                      <a:pt x="13" y="45"/>
                      <a:pt x="5" y="99"/>
                      <a:pt x="0" y="160"/>
                    </a:cubicBezTo>
                    <a:cubicBezTo>
                      <a:pt x="0" y="279"/>
                      <a:pt x="0" y="279"/>
                      <a:pt x="0" y="279"/>
                    </a:cubicBezTo>
                    <a:cubicBezTo>
                      <a:pt x="278" y="279"/>
                      <a:pt x="278" y="279"/>
                      <a:pt x="278" y="279"/>
                    </a:cubicBezTo>
                    <a:cubicBezTo>
                      <a:pt x="278" y="229"/>
                      <a:pt x="278" y="229"/>
                      <a:pt x="278" y="229"/>
                    </a:cubicBezTo>
                    <a:cubicBezTo>
                      <a:pt x="22" y="0"/>
                      <a:pt x="22" y="0"/>
                      <a:pt x="22" y="0"/>
                    </a:cubicBezTo>
                  </a:path>
                </a:pathLst>
              </a:custGeom>
              <a:solidFill>
                <a:srgbClr val="0C6126"/>
              </a:solidFill>
              <a:ln>
                <a:noFill/>
              </a:ln>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186" name="Freeform 185"/>
              <p:cNvSpPr>
                <a:spLocks/>
              </p:cNvSpPr>
              <p:nvPr/>
            </p:nvSpPr>
            <p:spPr bwMode="auto">
              <a:xfrm flipH="1">
                <a:off x="11267429" y="4709442"/>
                <a:ext cx="129480" cy="157803"/>
              </a:xfrm>
              <a:custGeom>
                <a:avLst/>
                <a:gdLst>
                  <a:gd name="T0" fmla="*/ 73 w 73"/>
                  <a:gd name="T1" fmla="*/ 8 h 88"/>
                  <a:gd name="T2" fmla="*/ 49 w 73"/>
                  <a:gd name="T3" fmla="*/ 0 h 88"/>
                  <a:gd name="T4" fmla="*/ 42 w 73"/>
                  <a:gd name="T5" fmla="*/ 19 h 88"/>
                  <a:gd name="T6" fmla="*/ 0 w 73"/>
                  <a:gd name="T7" fmla="*/ 8 h 88"/>
                  <a:gd name="T8" fmla="*/ 0 w 73"/>
                  <a:gd name="T9" fmla="*/ 88 h 88"/>
                  <a:gd name="T10" fmla="*/ 50 w 73"/>
                  <a:gd name="T11" fmla="*/ 88 h 88"/>
                  <a:gd name="T12" fmla="*/ 50 w 73"/>
                  <a:gd name="T13" fmla="*/ 49 h 88"/>
                  <a:gd name="T14" fmla="*/ 73 w 73"/>
                  <a:gd name="T15" fmla="*/ 8 h 8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3" h="88">
                    <a:moveTo>
                      <a:pt x="73" y="8"/>
                    </a:moveTo>
                    <a:cubicBezTo>
                      <a:pt x="49" y="0"/>
                      <a:pt x="49" y="0"/>
                      <a:pt x="49" y="0"/>
                    </a:cubicBezTo>
                    <a:cubicBezTo>
                      <a:pt x="42" y="19"/>
                      <a:pt x="42" y="19"/>
                      <a:pt x="42" y="19"/>
                    </a:cubicBezTo>
                    <a:cubicBezTo>
                      <a:pt x="0" y="8"/>
                      <a:pt x="0" y="8"/>
                      <a:pt x="0" y="8"/>
                    </a:cubicBezTo>
                    <a:cubicBezTo>
                      <a:pt x="0" y="88"/>
                      <a:pt x="0" y="88"/>
                      <a:pt x="0" y="88"/>
                    </a:cubicBezTo>
                    <a:cubicBezTo>
                      <a:pt x="50" y="88"/>
                      <a:pt x="50" y="88"/>
                      <a:pt x="50" y="88"/>
                    </a:cubicBezTo>
                    <a:cubicBezTo>
                      <a:pt x="50" y="49"/>
                      <a:pt x="50" y="49"/>
                      <a:pt x="50" y="49"/>
                    </a:cubicBezTo>
                    <a:cubicBezTo>
                      <a:pt x="51" y="36"/>
                      <a:pt x="55" y="14"/>
                      <a:pt x="73" y="8"/>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187" name="Freeform 186"/>
              <p:cNvSpPr>
                <a:spLocks/>
              </p:cNvSpPr>
              <p:nvPr/>
            </p:nvSpPr>
            <p:spPr bwMode="auto">
              <a:xfrm flipH="1">
                <a:off x="11194595" y="5051350"/>
                <a:ext cx="66764" cy="46533"/>
              </a:xfrm>
              <a:custGeom>
                <a:avLst/>
                <a:gdLst>
                  <a:gd name="T0" fmla="*/ 0 w 33"/>
                  <a:gd name="T1" fmla="*/ 23 h 23"/>
                  <a:gd name="T2" fmla="*/ 17 w 33"/>
                  <a:gd name="T3" fmla="*/ 0 h 23"/>
                  <a:gd name="T4" fmla="*/ 33 w 33"/>
                  <a:gd name="T5" fmla="*/ 23 h 23"/>
                  <a:gd name="T6" fmla="*/ 0 w 33"/>
                  <a:gd name="T7" fmla="*/ 23 h 23"/>
                </a:gdLst>
                <a:ahLst/>
                <a:cxnLst>
                  <a:cxn ang="0">
                    <a:pos x="T0" y="T1"/>
                  </a:cxn>
                  <a:cxn ang="0">
                    <a:pos x="T2" y="T3"/>
                  </a:cxn>
                  <a:cxn ang="0">
                    <a:pos x="T4" y="T5"/>
                  </a:cxn>
                  <a:cxn ang="0">
                    <a:pos x="T6" y="T7"/>
                  </a:cxn>
                </a:cxnLst>
                <a:rect l="0" t="0" r="r" b="b"/>
                <a:pathLst>
                  <a:path w="33" h="23">
                    <a:moveTo>
                      <a:pt x="0" y="23"/>
                    </a:moveTo>
                    <a:lnTo>
                      <a:pt x="17" y="0"/>
                    </a:lnTo>
                    <a:lnTo>
                      <a:pt x="33" y="23"/>
                    </a:lnTo>
                    <a:lnTo>
                      <a:pt x="0" y="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188" name="Freeform 187"/>
              <p:cNvSpPr>
                <a:spLocks/>
              </p:cNvSpPr>
              <p:nvPr/>
            </p:nvSpPr>
            <p:spPr bwMode="auto">
              <a:xfrm flipH="1">
                <a:off x="11160203" y="5051350"/>
                <a:ext cx="66764" cy="46533"/>
              </a:xfrm>
              <a:custGeom>
                <a:avLst/>
                <a:gdLst>
                  <a:gd name="T0" fmla="*/ 0 w 33"/>
                  <a:gd name="T1" fmla="*/ 23 h 23"/>
                  <a:gd name="T2" fmla="*/ 17 w 33"/>
                  <a:gd name="T3" fmla="*/ 0 h 23"/>
                  <a:gd name="T4" fmla="*/ 33 w 33"/>
                  <a:gd name="T5" fmla="*/ 23 h 23"/>
                  <a:gd name="T6" fmla="*/ 0 w 33"/>
                  <a:gd name="T7" fmla="*/ 23 h 23"/>
                </a:gdLst>
                <a:ahLst/>
                <a:cxnLst>
                  <a:cxn ang="0">
                    <a:pos x="T0" y="T1"/>
                  </a:cxn>
                  <a:cxn ang="0">
                    <a:pos x="T2" y="T3"/>
                  </a:cxn>
                  <a:cxn ang="0">
                    <a:pos x="T4" y="T5"/>
                  </a:cxn>
                  <a:cxn ang="0">
                    <a:pos x="T6" y="T7"/>
                  </a:cxn>
                </a:cxnLst>
                <a:rect l="0" t="0" r="r" b="b"/>
                <a:pathLst>
                  <a:path w="33" h="23">
                    <a:moveTo>
                      <a:pt x="0" y="23"/>
                    </a:moveTo>
                    <a:lnTo>
                      <a:pt x="17" y="0"/>
                    </a:lnTo>
                    <a:lnTo>
                      <a:pt x="33" y="23"/>
                    </a:lnTo>
                    <a:lnTo>
                      <a:pt x="0" y="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189" name="Freeform 188"/>
              <p:cNvSpPr>
                <a:spLocks/>
              </p:cNvSpPr>
              <p:nvPr/>
            </p:nvSpPr>
            <p:spPr bwMode="auto">
              <a:xfrm flipH="1">
                <a:off x="11297776" y="4865222"/>
                <a:ext cx="109249" cy="42486"/>
              </a:xfrm>
              <a:custGeom>
                <a:avLst/>
                <a:gdLst>
                  <a:gd name="T0" fmla="*/ 54 w 54"/>
                  <a:gd name="T1" fmla="*/ 0 h 21"/>
                  <a:gd name="T2" fmla="*/ 26 w 54"/>
                  <a:gd name="T3" fmla="*/ 21 h 21"/>
                  <a:gd name="T4" fmla="*/ 0 w 54"/>
                  <a:gd name="T5" fmla="*/ 0 h 21"/>
                  <a:gd name="T6" fmla="*/ 54 w 54"/>
                  <a:gd name="T7" fmla="*/ 0 h 21"/>
                </a:gdLst>
                <a:ahLst/>
                <a:cxnLst>
                  <a:cxn ang="0">
                    <a:pos x="T0" y="T1"/>
                  </a:cxn>
                  <a:cxn ang="0">
                    <a:pos x="T2" y="T3"/>
                  </a:cxn>
                  <a:cxn ang="0">
                    <a:pos x="T4" y="T5"/>
                  </a:cxn>
                  <a:cxn ang="0">
                    <a:pos x="T6" y="T7"/>
                  </a:cxn>
                </a:cxnLst>
                <a:rect l="0" t="0" r="r" b="b"/>
                <a:pathLst>
                  <a:path w="54" h="21">
                    <a:moveTo>
                      <a:pt x="54" y="0"/>
                    </a:moveTo>
                    <a:lnTo>
                      <a:pt x="26" y="21"/>
                    </a:lnTo>
                    <a:lnTo>
                      <a:pt x="0" y="0"/>
                    </a:lnTo>
                    <a:lnTo>
                      <a:pt x="54" y="0"/>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190" name="Freeform 189"/>
              <p:cNvSpPr>
                <a:spLocks/>
              </p:cNvSpPr>
              <p:nvPr/>
            </p:nvSpPr>
            <p:spPr bwMode="auto">
              <a:xfrm flipH="1">
                <a:off x="11297776" y="4865222"/>
                <a:ext cx="109249" cy="42486"/>
              </a:xfrm>
              <a:custGeom>
                <a:avLst/>
                <a:gdLst>
                  <a:gd name="T0" fmla="*/ 54 w 54"/>
                  <a:gd name="T1" fmla="*/ 0 h 21"/>
                  <a:gd name="T2" fmla="*/ 26 w 54"/>
                  <a:gd name="T3" fmla="*/ 21 h 21"/>
                  <a:gd name="T4" fmla="*/ 0 w 54"/>
                  <a:gd name="T5" fmla="*/ 0 h 21"/>
                  <a:gd name="T6" fmla="*/ 54 w 54"/>
                  <a:gd name="T7" fmla="*/ 0 h 21"/>
                </a:gdLst>
                <a:ahLst/>
                <a:cxnLst>
                  <a:cxn ang="0">
                    <a:pos x="T0" y="T1"/>
                  </a:cxn>
                  <a:cxn ang="0">
                    <a:pos x="T2" y="T3"/>
                  </a:cxn>
                  <a:cxn ang="0">
                    <a:pos x="T4" y="T5"/>
                  </a:cxn>
                  <a:cxn ang="0">
                    <a:pos x="T6" y="T7"/>
                  </a:cxn>
                </a:cxnLst>
                <a:rect l="0" t="0" r="r" b="b"/>
                <a:pathLst>
                  <a:path w="54" h="21">
                    <a:moveTo>
                      <a:pt x="54" y="0"/>
                    </a:moveTo>
                    <a:lnTo>
                      <a:pt x="26" y="21"/>
                    </a:lnTo>
                    <a:lnTo>
                      <a:pt x="0" y="0"/>
                    </a:lnTo>
                    <a:lnTo>
                      <a:pt x="5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191" name="Freeform 190"/>
              <p:cNvSpPr>
                <a:spLocks/>
              </p:cNvSpPr>
              <p:nvPr/>
            </p:nvSpPr>
            <p:spPr bwMode="auto">
              <a:xfrm flipH="1">
                <a:off x="11297776" y="4907709"/>
                <a:ext cx="109249" cy="404625"/>
              </a:xfrm>
              <a:custGeom>
                <a:avLst/>
                <a:gdLst>
                  <a:gd name="T0" fmla="*/ 54 w 54"/>
                  <a:gd name="T1" fmla="*/ 0 h 200"/>
                  <a:gd name="T2" fmla="*/ 26 w 54"/>
                  <a:gd name="T3" fmla="*/ 0 h 200"/>
                  <a:gd name="T4" fmla="*/ 0 w 54"/>
                  <a:gd name="T5" fmla="*/ 0 h 200"/>
                  <a:gd name="T6" fmla="*/ 28 w 54"/>
                  <a:gd name="T7" fmla="*/ 200 h 200"/>
                  <a:gd name="T8" fmla="*/ 54 w 54"/>
                  <a:gd name="T9" fmla="*/ 0 h 200"/>
                </a:gdLst>
                <a:ahLst/>
                <a:cxnLst>
                  <a:cxn ang="0">
                    <a:pos x="T0" y="T1"/>
                  </a:cxn>
                  <a:cxn ang="0">
                    <a:pos x="T2" y="T3"/>
                  </a:cxn>
                  <a:cxn ang="0">
                    <a:pos x="T4" y="T5"/>
                  </a:cxn>
                  <a:cxn ang="0">
                    <a:pos x="T6" y="T7"/>
                  </a:cxn>
                  <a:cxn ang="0">
                    <a:pos x="T8" y="T9"/>
                  </a:cxn>
                </a:cxnLst>
                <a:rect l="0" t="0" r="r" b="b"/>
                <a:pathLst>
                  <a:path w="54" h="200">
                    <a:moveTo>
                      <a:pt x="54" y="0"/>
                    </a:moveTo>
                    <a:lnTo>
                      <a:pt x="26" y="0"/>
                    </a:lnTo>
                    <a:lnTo>
                      <a:pt x="0" y="0"/>
                    </a:lnTo>
                    <a:lnTo>
                      <a:pt x="28" y="200"/>
                    </a:lnTo>
                    <a:lnTo>
                      <a:pt x="54" y="0"/>
                    </a:lnTo>
                    <a:close/>
                  </a:path>
                </a:pathLst>
              </a:custGeom>
              <a:solidFill>
                <a:srgbClr val="E5D8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192" name="Freeform 191"/>
              <p:cNvSpPr>
                <a:spLocks/>
              </p:cNvSpPr>
              <p:nvPr/>
            </p:nvSpPr>
            <p:spPr bwMode="auto">
              <a:xfrm flipH="1">
                <a:off x="11297776" y="4907709"/>
                <a:ext cx="109249" cy="404625"/>
              </a:xfrm>
              <a:custGeom>
                <a:avLst/>
                <a:gdLst>
                  <a:gd name="T0" fmla="*/ 54 w 54"/>
                  <a:gd name="T1" fmla="*/ 0 h 200"/>
                  <a:gd name="T2" fmla="*/ 26 w 54"/>
                  <a:gd name="T3" fmla="*/ 0 h 200"/>
                  <a:gd name="T4" fmla="*/ 0 w 54"/>
                  <a:gd name="T5" fmla="*/ 0 h 200"/>
                  <a:gd name="T6" fmla="*/ 28 w 54"/>
                  <a:gd name="T7" fmla="*/ 200 h 200"/>
                  <a:gd name="T8" fmla="*/ 54 w 54"/>
                  <a:gd name="T9" fmla="*/ 0 h 200"/>
                </a:gdLst>
                <a:ahLst/>
                <a:cxnLst>
                  <a:cxn ang="0">
                    <a:pos x="T0" y="T1"/>
                  </a:cxn>
                  <a:cxn ang="0">
                    <a:pos x="T2" y="T3"/>
                  </a:cxn>
                  <a:cxn ang="0">
                    <a:pos x="T4" y="T5"/>
                  </a:cxn>
                  <a:cxn ang="0">
                    <a:pos x="T6" y="T7"/>
                  </a:cxn>
                  <a:cxn ang="0">
                    <a:pos x="T8" y="T9"/>
                  </a:cxn>
                </a:cxnLst>
                <a:rect l="0" t="0" r="r" b="b"/>
                <a:pathLst>
                  <a:path w="54" h="200">
                    <a:moveTo>
                      <a:pt x="54" y="0"/>
                    </a:moveTo>
                    <a:lnTo>
                      <a:pt x="26" y="0"/>
                    </a:lnTo>
                    <a:lnTo>
                      <a:pt x="0" y="0"/>
                    </a:lnTo>
                    <a:lnTo>
                      <a:pt x="28" y="200"/>
                    </a:lnTo>
                    <a:lnTo>
                      <a:pt x="5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193" name="Freeform 192"/>
              <p:cNvSpPr>
                <a:spLocks/>
              </p:cNvSpPr>
              <p:nvPr/>
            </p:nvSpPr>
            <p:spPr bwMode="auto">
              <a:xfrm flipH="1">
                <a:off x="11326099" y="4907709"/>
                <a:ext cx="52601" cy="76879"/>
              </a:xfrm>
              <a:custGeom>
                <a:avLst/>
                <a:gdLst>
                  <a:gd name="T0" fmla="*/ 0 w 26"/>
                  <a:gd name="T1" fmla="*/ 24 h 38"/>
                  <a:gd name="T2" fmla="*/ 3 w 26"/>
                  <a:gd name="T3" fmla="*/ 38 h 38"/>
                  <a:gd name="T4" fmla="*/ 21 w 26"/>
                  <a:gd name="T5" fmla="*/ 38 h 38"/>
                  <a:gd name="T6" fmla="*/ 26 w 26"/>
                  <a:gd name="T7" fmla="*/ 18 h 38"/>
                  <a:gd name="T8" fmla="*/ 12 w 26"/>
                  <a:gd name="T9" fmla="*/ 0 h 38"/>
                  <a:gd name="T10" fmla="*/ 0 w 26"/>
                  <a:gd name="T11" fmla="*/ 24 h 38"/>
                </a:gdLst>
                <a:ahLst/>
                <a:cxnLst>
                  <a:cxn ang="0">
                    <a:pos x="T0" y="T1"/>
                  </a:cxn>
                  <a:cxn ang="0">
                    <a:pos x="T2" y="T3"/>
                  </a:cxn>
                  <a:cxn ang="0">
                    <a:pos x="T4" y="T5"/>
                  </a:cxn>
                  <a:cxn ang="0">
                    <a:pos x="T6" y="T7"/>
                  </a:cxn>
                  <a:cxn ang="0">
                    <a:pos x="T8" y="T9"/>
                  </a:cxn>
                  <a:cxn ang="0">
                    <a:pos x="T10" y="T11"/>
                  </a:cxn>
                </a:cxnLst>
                <a:rect l="0" t="0" r="r" b="b"/>
                <a:pathLst>
                  <a:path w="26" h="38">
                    <a:moveTo>
                      <a:pt x="0" y="24"/>
                    </a:moveTo>
                    <a:lnTo>
                      <a:pt x="3" y="38"/>
                    </a:lnTo>
                    <a:lnTo>
                      <a:pt x="21" y="38"/>
                    </a:lnTo>
                    <a:lnTo>
                      <a:pt x="26" y="18"/>
                    </a:lnTo>
                    <a:lnTo>
                      <a:pt x="12" y="0"/>
                    </a:lnTo>
                    <a:lnTo>
                      <a:pt x="0" y="24"/>
                    </a:lnTo>
                    <a:close/>
                  </a:path>
                </a:pathLst>
              </a:custGeom>
              <a:solidFill>
                <a:srgbClr val="15AEEF"/>
              </a:solidFill>
              <a:ln>
                <a:noFill/>
              </a:ln>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194" name="Freeform 193"/>
              <p:cNvSpPr>
                <a:spLocks/>
              </p:cNvSpPr>
              <p:nvPr/>
            </p:nvSpPr>
            <p:spPr bwMode="auto">
              <a:xfrm flipH="1">
                <a:off x="11320030" y="4984587"/>
                <a:ext cx="66764" cy="327747"/>
              </a:xfrm>
              <a:custGeom>
                <a:avLst/>
                <a:gdLst>
                  <a:gd name="T0" fmla="*/ 25 w 33"/>
                  <a:gd name="T1" fmla="*/ 0 h 162"/>
                  <a:gd name="T2" fmla="*/ 7 w 33"/>
                  <a:gd name="T3" fmla="*/ 0 h 162"/>
                  <a:gd name="T4" fmla="*/ 0 w 33"/>
                  <a:gd name="T5" fmla="*/ 40 h 162"/>
                  <a:gd name="T6" fmla="*/ 18 w 33"/>
                  <a:gd name="T7" fmla="*/ 162 h 162"/>
                  <a:gd name="T8" fmla="*/ 33 w 33"/>
                  <a:gd name="T9" fmla="*/ 47 h 162"/>
                  <a:gd name="T10" fmla="*/ 25 w 33"/>
                  <a:gd name="T11" fmla="*/ 0 h 162"/>
                </a:gdLst>
                <a:ahLst/>
                <a:cxnLst>
                  <a:cxn ang="0">
                    <a:pos x="T0" y="T1"/>
                  </a:cxn>
                  <a:cxn ang="0">
                    <a:pos x="T2" y="T3"/>
                  </a:cxn>
                  <a:cxn ang="0">
                    <a:pos x="T4" y="T5"/>
                  </a:cxn>
                  <a:cxn ang="0">
                    <a:pos x="T6" y="T7"/>
                  </a:cxn>
                  <a:cxn ang="0">
                    <a:pos x="T8" y="T9"/>
                  </a:cxn>
                  <a:cxn ang="0">
                    <a:pos x="T10" y="T11"/>
                  </a:cxn>
                </a:cxnLst>
                <a:rect l="0" t="0" r="r" b="b"/>
                <a:pathLst>
                  <a:path w="33" h="162">
                    <a:moveTo>
                      <a:pt x="25" y="0"/>
                    </a:moveTo>
                    <a:lnTo>
                      <a:pt x="7" y="0"/>
                    </a:lnTo>
                    <a:lnTo>
                      <a:pt x="0" y="40"/>
                    </a:lnTo>
                    <a:lnTo>
                      <a:pt x="18" y="162"/>
                    </a:lnTo>
                    <a:lnTo>
                      <a:pt x="33" y="47"/>
                    </a:lnTo>
                    <a:lnTo>
                      <a:pt x="25" y="0"/>
                    </a:lnTo>
                    <a:close/>
                  </a:path>
                </a:pathLst>
              </a:custGeom>
              <a:solidFill>
                <a:srgbClr val="15AEEF"/>
              </a:solidFill>
              <a:ln>
                <a:noFill/>
              </a:ln>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195" name="Freeform 194"/>
              <p:cNvSpPr>
                <a:spLocks/>
              </p:cNvSpPr>
              <p:nvPr/>
            </p:nvSpPr>
            <p:spPr bwMode="auto">
              <a:xfrm flipH="1">
                <a:off x="11352400" y="4865222"/>
                <a:ext cx="54625" cy="105202"/>
              </a:xfrm>
              <a:custGeom>
                <a:avLst/>
                <a:gdLst>
                  <a:gd name="T0" fmla="*/ 27 w 27"/>
                  <a:gd name="T1" fmla="*/ 21 h 52"/>
                  <a:gd name="T2" fmla="*/ 9 w 27"/>
                  <a:gd name="T3" fmla="*/ 52 h 52"/>
                  <a:gd name="T4" fmla="*/ 0 w 27"/>
                  <a:gd name="T5" fmla="*/ 21 h 52"/>
                  <a:gd name="T6" fmla="*/ 0 w 27"/>
                  <a:gd name="T7" fmla="*/ 0 h 52"/>
                  <a:gd name="T8" fmla="*/ 27 w 27"/>
                  <a:gd name="T9" fmla="*/ 21 h 52"/>
                </a:gdLst>
                <a:ahLst/>
                <a:cxnLst>
                  <a:cxn ang="0">
                    <a:pos x="T0" y="T1"/>
                  </a:cxn>
                  <a:cxn ang="0">
                    <a:pos x="T2" y="T3"/>
                  </a:cxn>
                  <a:cxn ang="0">
                    <a:pos x="T4" y="T5"/>
                  </a:cxn>
                  <a:cxn ang="0">
                    <a:pos x="T6" y="T7"/>
                  </a:cxn>
                  <a:cxn ang="0">
                    <a:pos x="T8" y="T9"/>
                  </a:cxn>
                </a:cxnLst>
                <a:rect l="0" t="0" r="r" b="b"/>
                <a:pathLst>
                  <a:path w="27" h="52">
                    <a:moveTo>
                      <a:pt x="27" y="21"/>
                    </a:moveTo>
                    <a:lnTo>
                      <a:pt x="9" y="52"/>
                    </a:lnTo>
                    <a:lnTo>
                      <a:pt x="0" y="21"/>
                    </a:lnTo>
                    <a:lnTo>
                      <a:pt x="0" y="0"/>
                    </a:lnTo>
                    <a:lnTo>
                      <a:pt x="27" y="2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196" name="Freeform 195"/>
              <p:cNvSpPr>
                <a:spLocks/>
              </p:cNvSpPr>
              <p:nvPr/>
            </p:nvSpPr>
            <p:spPr bwMode="auto">
              <a:xfrm flipH="1">
                <a:off x="11297776" y="4865222"/>
                <a:ext cx="56648" cy="105202"/>
              </a:xfrm>
              <a:custGeom>
                <a:avLst/>
                <a:gdLst>
                  <a:gd name="T0" fmla="*/ 0 w 28"/>
                  <a:gd name="T1" fmla="*/ 21 h 52"/>
                  <a:gd name="T2" fmla="*/ 20 w 28"/>
                  <a:gd name="T3" fmla="*/ 52 h 52"/>
                  <a:gd name="T4" fmla="*/ 28 w 28"/>
                  <a:gd name="T5" fmla="*/ 21 h 52"/>
                  <a:gd name="T6" fmla="*/ 28 w 28"/>
                  <a:gd name="T7" fmla="*/ 0 h 52"/>
                  <a:gd name="T8" fmla="*/ 0 w 28"/>
                  <a:gd name="T9" fmla="*/ 21 h 52"/>
                </a:gdLst>
                <a:ahLst/>
                <a:cxnLst>
                  <a:cxn ang="0">
                    <a:pos x="T0" y="T1"/>
                  </a:cxn>
                  <a:cxn ang="0">
                    <a:pos x="T2" y="T3"/>
                  </a:cxn>
                  <a:cxn ang="0">
                    <a:pos x="T4" y="T5"/>
                  </a:cxn>
                  <a:cxn ang="0">
                    <a:pos x="T6" y="T7"/>
                  </a:cxn>
                  <a:cxn ang="0">
                    <a:pos x="T8" y="T9"/>
                  </a:cxn>
                </a:cxnLst>
                <a:rect l="0" t="0" r="r" b="b"/>
                <a:pathLst>
                  <a:path w="28" h="52">
                    <a:moveTo>
                      <a:pt x="0" y="21"/>
                    </a:moveTo>
                    <a:lnTo>
                      <a:pt x="20" y="52"/>
                    </a:lnTo>
                    <a:lnTo>
                      <a:pt x="28" y="21"/>
                    </a:lnTo>
                    <a:lnTo>
                      <a:pt x="28" y="0"/>
                    </a:lnTo>
                    <a:lnTo>
                      <a:pt x="0" y="2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Segoe UI"/>
                  <a:ea typeface="+mn-ea"/>
                  <a:cs typeface="+mn-cs"/>
                </a:endParaRPr>
              </a:p>
            </p:txBody>
          </p:sp>
          <p:grpSp>
            <p:nvGrpSpPr>
              <p:cNvPr id="197" name="Group 196"/>
              <p:cNvGrpSpPr/>
              <p:nvPr/>
            </p:nvGrpSpPr>
            <p:grpSpPr>
              <a:xfrm rot="19962258">
                <a:off x="11122965" y="4336494"/>
                <a:ext cx="439018" cy="430926"/>
                <a:chOff x="8635531" y="2114924"/>
                <a:chExt cx="232692" cy="228403"/>
              </a:xfrm>
            </p:grpSpPr>
            <p:sp>
              <p:nvSpPr>
                <p:cNvPr id="204" name="Freeform 203"/>
                <p:cNvSpPr>
                  <a:spLocks/>
                </p:cNvSpPr>
                <p:nvPr/>
              </p:nvSpPr>
              <p:spPr bwMode="auto">
                <a:xfrm flipH="1">
                  <a:off x="8641965" y="2194275"/>
                  <a:ext cx="49326" cy="71845"/>
                </a:xfrm>
                <a:custGeom>
                  <a:avLst/>
                  <a:gdLst>
                    <a:gd name="T0" fmla="*/ 0 w 46"/>
                    <a:gd name="T1" fmla="*/ 0 h 67"/>
                    <a:gd name="T2" fmla="*/ 46 w 46"/>
                    <a:gd name="T3" fmla="*/ 51 h 67"/>
                    <a:gd name="T4" fmla="*/ 13 w 46"/>
                    <a:gd name="T5" fmla="*/ 67 h 67"/>
                    <a:gd name="T6" fmla="*/ 0 w 46"/>
                    <a:gd name="T7" fmla="*/ 0 h 67"/>
                  </a:gdLst>
                  <a:ahLst/>
                  <a:cxnLst>
                    <a:cxn ang="0">
                      <a:pos x="T0" y="T1"/>
                    </a:cxn>
                    <a:cxn ang="0">
                      <a:pos x="T2" y="T3"/>
                    </a:cxn>
                    <a:cxn ang="0">
                      <a:pos x="T4" y="T5"/>
                    </a:cxn>
                    <a:cxn ang="0">
                      <a:pos x="T6" y="T7"/>
                    </a:cxn>
                  </a:cxnLst>
                  <a:rect l="0" t="0" r="r" b="b"/>
                  <a:pathLst>
                    <a:path w="46" h="67">
                      <a:moveTo>
                        <a:pt x="0" y="0"/>
                      </a:moveTo>
                      <a:lnTo>
                        <a:pt x="46" y="51"/>
                      </a:lnTo>
                      <a:lnTo>
                        <a:pt x="13" y="67"/>
                      </a:lnTo>
                      <a:lnTo>
                        <a:pt x="0" y="0"/>
                      </a:lnTo>
                      <a:close/>
                    </a:path>
                  </a:pathLst>
                </a:custGeom>
                <a:solidFill>
                  <a:srgbClr val="9A8D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205" name="Freeform 204"/>
                <p:cNvSpPr>
                  <a:spLocks/>
                </p:cNvSpPr>
                <p:nvPr/>
              </p:nvSpPr>
              <p:spPr bwMode="auto">
                <a:xfrm flipH="1">
                  <a:off x="8707376" y="2218939"/>
                  <a:ext cx="11796" cy="11796"/>
                </a:xfrm>
                <a:custGeom>
                  <a:avLst/>
                  <a:gdLst>
                    <a:gd name="T0" fmla="*/ 11 w 12"/>
                    <a:gd name="T1" fmla="*/ 3 h 12"/>
                    <a:gd name="T2" fmla="*/ 9 w 12"/>
                    <a:gd name="T3" fmla="*/ 10 h 12"/>
                    <a:gd name="T4" fmla="*/ 2 w 12"/>
                    <a:gd name="T5" fmla="*/ 8 h 12"/>
                    <a:gd name="T6" fmla="*/ 4 w 12"/>
                    <a:gd name="T7" fmla="*/ 1 h 12"/>
                    <a:gd name="T8" fmla="*/ 11 w 12"/>
                    <a:gd name="T9" fmla="*/ 3 h 12"/>
                  </a:gdLst>
                  <a:ahLst/>
                  <a:cxnLst>
                    <a:cxn ang="0">
                      <a:pos x="T0" y="T1"/>
                    </a:cxn>
                    <a:cxn ang="0">
                      <a:pos x="T2" y="T3"/>
                    </a:cxn>
                    <a:cxn ang="0">
                      <a:pos x="T4" y="T5"/>
                    </a:cxn>
                    <a:cxn ang="0">
                      <a:pos x="T6" y="T7"/>
                    </a:cxn>
                    <a:cxn ang="0">
                      <a:pos x="T8" y="T9"/>
                    </a:cxn>
                  </a:cxnLst>
                  <a:rect l="0" t="0" r="r" b="b"/>
                  <a:pathLst>
                    <a:path w="12" h="12">
                      <a:moveTo>
                        <a:pt x="11" y="3"/>
                      </a:moveTo>
                      <a:cubicBezTo>
                        <a:pt x="12" y="6"/>
                        <a:pt x="11" y="9"/>
                        <a:pt x="9" y="10"/>
                      </a:cubicBezTo>
                      <a:cubicBezTo>
                        <a:pt x="6" y="12"/>
                        <a:pt x="3" y="11"/>
                        <a:pt x="2" y="8"/>
                      </a:cubicBezTo>
                      <a:cubicBezTo>
                        <a:pt x="0" y="5"/>
                        <a:pt x="1" y="2"/>
                        <a:pt x="4" y="1"/>
                      </a:cubicBezTo>
                      <a:cubicBezTo>
                        <a:pt x="7" y="0"/>
                        <a:pt x="10" y="1"/>
                        <a:pt x="11" y="3"/>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206" name="Freeform 205"/>
                <p:cNvSpPr>
                  <a:spLocks/>
                </p:cNvSpPr>
                <p:nvPr/>
              </p:nvSpPr>
              <p:spPr bwMode="auto">
                <a:xfrm flipH="1">
                  <a:off x="8641965" y="2194275"/>
                  <a:ext cx="49326" cy="71845"/>
                </a:xfrm>
                <a:custGeom>
                  <a:avLst/>
                  <a:gdLst>
                    <a:gd name="T0" fmla="*/ 0 w 46"/>
                    <a:gd name="T1" fmla="*/ 0 h 67"/>
                    <a:gd name="T2" fmla="*/ 46 w 46"/>
                    <a:gd name="T3" fmla="*/ 51 h 67"/>
                    <a:gd name="T4" fmla="*/ 13 w 46"/>
                    <a:gd name="T5" fmla="*/ 67 h 67"/>
                    <a:gd name="T6" fmla="*/ 0 w 46"/>
                    <a:gd name="T7" fmla="*/ 0 h 67"/>
                  </a:gdLst>
                  <a:ahLst/>
                  <a:cxnLst>
                    <a:cxn ang="0">
                      <a:pos x="T0" y="T1"/>
                    </a:cxn>
                    <a:cxn ang="0">
                      <a:pos x="T2" y="T3"/>
                    </a:cxn>
                    <a:cxn ang="0">
                      <a:pos x="T4" y="T5"/>
                    </a:cxn>
                    <a:cxn ang="0">
                      <a:pos x="T6" y="T7"/>
                    </a:cxn>
                  </a:cxnLst>
                  <a:rect l="0" t="0" r="r" b="b"/>
                  <a:pathLst>
                    <a:path w="46" h="67">
                      <a:moveTo>
                        <a:pt x="0" y="0"/>
                      </a:moveTo>
                      <a:lnTo>
                        <a:pt x="46" y="51"/>
                      </a:lnTo>
                      <a:lnTo>
                        <a:pt x="13" y="67"/>
                      </a:lnTo>
                      <a:lnTo>
                        <a:pt x="0" y="0"/>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207" name="Freeform 206"/>
                <p:cNvSpPr>
                  <a:spLocks/>
                </p:cNvSpPr>
                <p:nvPr/>
              </p:nvSpPr>
              <p:spPr bwMode="auto">
                <a:xfrm flipH="1">
                  <a:off x="8635531" y="2150311"/>
                  <a:ext cx="188727" cy="193016"/>
                </a:xfrm>
                <a:custGeom>
                  <a:avLst/>
                  <a:gdLst>
                    <a:gd name="T0" fmla="*/ 0 w 199"/>
                    <a:gd name="T1" fmla="*/ 57 h 204"/>
                    <a:gd name="T2" fmla="*/ 40 w 199"/>
                    <a:gd name="T3" fmla="*/ 142 h 204"/>
                    <a:gd name="T4" fmla="*/ 40 w 199"/>
                    <a:gd name="T5" fmla="*/ 142 h 204"/>
                    <a:gd name="T6" fmla="*/ 199 w 199"/>
                    <a:gd name="T7" fmla="*/ 167 h 204"/>
                    <a:gd name="T8" fmla="*/ 196 w 199"/>
                    <a:gd name="T9" fmla="*/ 161 h 204"/>
                    <a:gd name="T10" fmla="*/ 173 w 199"/>
                    <a:gd name="T11" fmla="*/ 113 h 204"/>
                    <a:gd name="T12" fmla="*/ 144 w 199"/>
                    <a:gd name="T13" fmla="*/ 53 h 204"/>
                    <a:gd name="T14" fmla="*/ 119 w 199"/>
                    <a:gd name="T15" fmla="*/ 0 h 204"/>
                    <a:gd name="T16" fmla="*/ 0 w 199"/>
                    <a:gd name="T17" fmla="*/ 57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9" h="204">
                      <a:moveTo>
                        <a:pt x="0" y="57"/>
                      </a:moveTo>
                      <a:cubicBezTo>
                        <a:pt x="40" y="142"/>
                        <a:pt x="40" y="142"/>
                        <a:pt x="40" y="142"/>
                      </a:cubicBezTo>
                      <a:cubicBezTo>
                        <a:pt x="40" y="142"/>
                        <a:pt x="40" y="142"/>
                        <a:pt x="40" y="142"/>
                      </a:cubicBezTo>
                      <a:cubicBezTo>
                        <a:pt x="74" y="204"/>
                        <a:pt x="135" y="198"/>
                        <a:pt x="199" y="167"/>
                      </a:cubicBezTo>
                      <a:cubicBezTo>
                        <a:pt x="196" y="161"/>
                        <a:pt x="196" y="161"/>
                        <a:pt x="196" y="161"/>
                      </a:cubicBezTo>
                      <a:cubicBezTo>
                        <a:pt x="173" y="113"/>
                        <a:pt x="173" y="113"/>
                        <a:pt x="173" y="113"/>
                      </a:cubicBezTo>
                      <a:cubicBezTo>
                        <a:pt x="144" y="53"/>
                        <a:pt x="144" y="53"/>
                        <a:pt x="144" y="53"/>
                      </a:cubicBezTo>
                      <a:cubicBezTo>
                        <a:pt x="119" y="0"/>
                        <a:pt x="119" y="0"/>
                        <a:pt x="119" y="0"/>
                      </a:cubicBezTo>
                      <a:cubicBezTo>
                        <a:pt x="0" y="57"/>
                        <a:pt x="0" y="57"/>
                        <a:pt x="0" y="57"/>
                      </a:cubicBezTo>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208" name="Freeform 207"/>
                <p:cNvSpPr>
                  <a:spLocks/>
                </p:cNvSpPr>
                <p:nvPr/>
              </p:nvSpPr>
              <p:spPr bwMode="auto">
                <a:xfrm flipH="1">
                  <a:off x="8707376" y="2218939"/>
                  <a:ext cx="11796" cy="11796"/>
                </a:xfrm>
                <a:custGeom>
                  <a:avLst/>
                  <a:gdLst>
                    <a:gd name="T0" fmla="*/ 11 w 12"/>
                    <a:gd name="T1" fmla="*/ 3 h 12"/>
                    <a:gd name="T2" fmla="*/ 9 w 12"/>
                    <a:gd name="T3" fmla="*/ 10 h 12"/>
                    <a:gd name="T4" fmla="*/ 2 w 12"/>
                    <a:gd name="T5" fmla="*/ 8 h 12"/>
                    <a:gd name="T6" fmla="*/ 4 w 12"/>
                    <a:gd name="T7" fmla="*/ 1 h 12"/>
                    <a:gd name="T8" fmla="*/ 11 w 12"/>
                    <a:gd name="T9" fmla="*/ 3 h 12"/>
                  </a:gdLst>
                  <a:ahLst/>
                  <a:cxnLst>
                    <a:cxn ang="0">
                      <a:pos x="T0" y="T1"/>
                    </a:cxn>
                    <a:cxn ang="0">
                      <a:pos x="T2" y="T3"/>
                    </a:cxn>
                    <a:cxn ang="0">
                      <a:pos x="T4" y="T5"/>
                    </a:cxn>
                    <a:cxn ang="0">
                      <a:pos x="T6" y="T7"/>
                    </a:cxn>
                    <a:cxn ang="0">
                      <a:pos x="T8" y="T9"/>
                    </a:cxn>
                  </a:cxnLst>
                  <a:rect l="0" t="0" r="r" b="b"/>
                  <a:pathLst>
                    <a:path w="12" h="12">
                      <a:moveTo>
                        <a:pt x="11" y="3"/>
                      </a:moveTo>
                      <a:cubicBezTo>
                        <a:pt x="12" y="6"/>
                        <a:pt x="11" y="9"/>
                        <a:pt x="9" y="10"/>
                      </a:cubicBezTo>
                      <a:cubicBezTo>
                        <a:pt x="6" y="12"/>
                        <a:pt x="3" y="11"/>
                        <a:pt x="2" y="8"/>
                      </a:cubicBezTo>
                      <a:cubicBezTo>
                        <a:pt x="0" y="5"/>
                        <a:pt x="1" y="2"/>
                        <a:pt x="4" y="1"/>
                      </a:cubicBezTo>
                      <a:cubicBezTo>
                        <a:pt x="7" y="0"/>
                        <a:pt x="10" y="1"/>
                        <a:pt x="11" y="3"/>
                      </a:cubicBezTo>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209" name="Freeform 208"/>
                <p:cNvSpPr>
                  <a:spLocks/>
                </p:cNvSpPr>
                <p:nvPr/>
              </p:nvSpPr>
              <p:spPr bwMode="auto">
                <a:xfrm flipH="1">
                  <a:off x="8708448" y="2114924"/>
                  <a:ext cx="159775" cy="191945"/>
                </a:xfrm>
                <a:custGeom>
                  <a:avLst/>
                  <a:gdLst>
                    <a:gd name="T0" fmla="*/ 166 w 169"/>
                    <a:gd name="T1" fmla="*/ 37 h 203"/>
                    <a:gd name="T2" fmla="*/ 165 w 169"/>
                    <a:gd name="T3" fmla="*/ 37 h 203"/>
                    <a:gd name="T4" fmla="*/ 166 w 169"/>
                    <a:gd name="T5" fmla="*/ 37 h 203"/>
                    <a:gd name="T6" fmla="*/ 81 w 169"/>
                    <a:gd name="T7" fmla="*/ 28 h 203"/>
                    <a:gd name="T8" fmla="*/ 61 w 169"/>
                    <a:gd name="T9" fmla="*/ 45 h 203"/>
                    <a:gd name="T10" fmla="*/ 43 w 169"/>
                    <a:gd name="T11" fmla="*/ 59 h 203"/>
                    <a:gd name="T12" fmla="*/ 43 w 169"/>
                    <a:gd name="T13" fmla="*/ 85 h 203"/>
                    <a:gd name="T14" fmla="*/ 104 w 169"/>
                    <a:gd name="T15" fmla="*/ 203 h 203"/>
                    <a:gd name="T16" fmla="*/ 101 w 169"/>
                    <a:gd name="T17" fmla="*/ 118 h 203"/>
                    <a:gd name="T18" fmla="*/ 103 w 169"/>
                    <a:gd name="T19" fmla="*/ 114 h 203"/>
                    <a:gd name="T20" fmla="*/ 131 w 169"/>
                    <a:gd name="T21" fmla="*/ 91 h 203"/>
                    <a:gd name="T22" fmla="*/ 166 w 169"/>
                    <a:gd name="T23" fmla="*/ 37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9" h="203">
                      <a:moveTo>
                        <a:pt x="166" y="37"/>
                      </a:moveTo>
                      <a:cubicBezTo>
                        <a:pt x="165" y="37"/>
                        <a:pt x="165" y="37"/>
                        <a:pt x="165" y="37"/>
                      </a:cubicBezTo>
                      <a:cubicBezTo>
                        <a:pt x="166" y="37"/>
                        <a:pt x="166" y="37"/>
                        <a:pt x="166" y="37"/>
                      </a:cubicBezTo>
                      <a:cubicBezTo>
                        <a:pt x="152" y="4"/>
                        <a:pt x="99" y="0"/>
                        <a:pt x="81" y="28"/>
                      </a:cubicBezTo>
                      <a:cubicBezTo>
                        <a:pt x="75" y="36"/>
                        <a:pt x="70" y="40"/>
                        <a:pt x="61" y="45"/>
                      </a:cubicBezTo>
                      <a:cubicBezTo>
                        <a:pt x="53" y="49"/>
                        <a:pt x="48" y="52"/>
                        <a:pt x="43" y="59"/>
                      </a:cubicBezTo>
                      <a:cubicBezTo>
                        <a:pt x="39" y="65"/>
                        <a:pt x="40" y="76"/>
                        <a:pt x="43" y="85"/>
                      </a:cubicBezTo>
                      <a:cubicBezTo>
                        <a:pt x="0" y="111"/>
                        <a:pt x="104" y="203"/>
                        <a:pt x="104" y="203"/>
                      </a:cubicBezTo>
                      <a:cubicBezTo>
                        <a:pt x="126" y="167"/>
                        <a:pt x="101" y="118"/>
                        <a:pt x="101" y="118"/>
                      </a:cubicBezTo>
                      <a:cubicBezTo>
                        <a:pt x="102" y="117"/>
                        <a:pt x="103" y="115"/>
                        <a:pt x="103" y="114"/>
                      </a:cubicBezTo>
                      <a:cubicBezTo>
                        <a:pt x="109" y="99"/>
                        <a:pt x="117" y="98"/>
                        <a:pt x="131" y="91"/>
                      </a:cubicBezTo>
                      <a:cubicBezTo>
                        <a:pt x="147" y="82"/>
                        <a:pt x="169" y="57"/>
                        <a:pt x="166" y="37"/>
                      </a:cubicBezTo>
                    </a:path>
                  </a:pathLst>
                </a:custGeom>
                <a:solidFill>
                  <a:schemeClr val="tx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210" name="Freeform 209"/>
                <p:cNvSpPr>
                  <a:spLocks/>
                </p:cNvSpPr>
                <p:nvPr/>
              </p:nvSpPr>
              <p:spPr bwMode="auto">
                <a:xfrm flipH="1">
                  <a:off x="8748124" y="2226444"/>
                  <a:ext cx="43965" cy="57905"/>
                </a:xfrm>
                <a:custGeom>
                  <a:avLst/>
                  <a:gdLst>
                    <a:gd name="T0" fmla="*/ 21 w 46"/>
                    <a:gd name="T1" fmla="*/ 0 h 61"/>
                    <a:gd name="T2" fmla="*/ 7 w 46"/>
                    <a:gd name="T3" fmla="*/ 40 h 61"/>
                    <a:gd name="T4" fmla="*/ 46 w 46"/>
                    <a:gd name="T5" fmla="*/ 53 h 61"/>
                    <a:gd name="T6" fmla="*/ 21 w 46"/>
                    <a:gd name="T7" fmla="*/ 0 h 61"/>
                  </a:gdLst>
                  <a:ahLst/>
                  <a:cxnLst>
                    <a:cxn ang="0">
                      <a:pos x="T0" y="T1"/>
                    </a:cxn>
                    <a:cxn ang="0">
                      <a:pos x="T2" y="T3"/>
                    </a:cxn>
                    <a:cxn ang="0">
                      <a:pos x="T4" y="T5"/>
                    </a:cxn>
                    <a:cxn ang="0">
                      <a:pos x="T6" y="T7"/>
                    </a:cxn>
                  </a:cxnLst>
                  <a:rect l="0" t="0" r="r" b="b"/>
                  <a:pathLst>
                    <a:path w="46" h="61">
                      <a:moveTo>
                        <a:pt x="21" y="0"/>
                      </a:moveTo>
                      <a:cubicBezTo>
                        <a:pt x="6" y="7"/>
                        <a:pt x="0" y="25"/>
                        <a:pt x="7" y="40"/>
                      </a:cubicBezTo>
                      <a:cubicBezTo>
                        <a:pt x="14" y="54"/>
                        <a:pt x="32" y="61"/>
                        <a:pt x="46" y="53"/>
                      </a:cubicBezTo>
                      <a:cubicBezTo>
                        <a:pt x="21" y="0"/>
                        <a:pt x="21" y="0"/>
                        <a:pt x="21" y="0"/>
                      </a:cubicBezTo>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211" name="Freeform 210"/>
                <p:cNvSpPr>
                  <a:spLocks/>
                </p:cNvSpPr>
                <p:nvPr/>
              </p:nvSpPr>
              <p:spPr bwMode="auto">
                <a:xfrm flipH="1">
                  <a:off x="8754558" y="2239312"/>
                  <a:ext cx="11796" cy="25735"/>
                </a:xfrm>
                <a:custGeom>
                  <a:avLst/>
                  <a:gdLst>
                    <a:gd name="T0" fmla="*/ 0 w 13"/>
                    <a:gd name="T1" fmla="*/ 0 h 27"/>
                    <a:gd name="T2" fmla="*/ 0 w 13"/>
                    <a:gd name="T3" fmla="*/ 0 h 27"/>
                    <a:gd name="T4" fmla="*/ 13 w 13"/>
                    <a:gd name="T5" fmla="*/ 27 h 27"/>
                    <a:gd name="T6" fmla="*/ 13 w 13"/>
                    <a:gd name="T7" fmla="*/ 27 h 27"/>
                    <a:gd name="T8" fmla="*/ 0 w 13"/>
                    <a:gd name="T9" fmla="*/ 0 h 27"/>
                  </a:gdLst>
                  <a:ahLst/>
                  <a:cxnLst>
                    <a:cxn ang="0">
                      <a:pos x="T0" y="T1"/>
                    </a:cxn>
                    <a:cxn ang="0">
                      <a:pos x="T2" y="T3"/>
                    </a:cxn>
                    <a:cxn ang="0">
                      <a:pos x="T4" y="T5"/>
                    </a:cxn>
                    <a:cxn ang="0">
                      <a:pos x="T6" y="T7"/>
                    </a:cxn>
                    <a:cxn ang="0">
                      <a:pos x="T8" y="T9"/>
                    </a:cxn>
                  </a:cxnLst>
                  <a:rect l="0" t="0" r="r" b="b"/>
                  <a:pathLst>
                    <a:path w="13" h="27">
                      <a:moveTo>
                        <a:pt x="0" y="0"/>
                      </a:moveTo>
                      <a:cubicBezTo>
                        <a:pt x="0" y="0"/>
                        <a:pt x="0" y="0"/>
                        <a:pt x="0" y="0"/>
                      </a:cubicBezTo>
                      <a:cubicBezTo>
                        <a:pt x="13" y="27"/>
                        <a:pt x="13" y="27"/>
                        <a:pt x="13" y="27"/>
                      </a:cubicBezTo>
                      <a:cubicBezTo>
                        <a:pt x="13" y="27"/>
                        <a:pt x="13" y="27"/>
                        <a:pt x="13" y="27"/>
                      </a:cubicBezTo>
                      <a:cubicBezTo>
                        <a:pt x="0" y="0"/>
                        <a:pt x="0" y="0"/>
                        <a:pt x="0" y="0"/>
                      </a:cubicBezTo>
                    </a:path>
                  </a:pathLst>
                </a:custGeom>
                <a:solidFill>
                  <a:srgbClr val="D977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212" name="Freeform 211"/>
                <p:cNvSpPr>
                  <a:spLocks/>
                </p:cNvSpPr>
                <p:nvPr/>
              </p:nvSpPr>
              <p:spPr bwMode="auto">
                <a:xfrm flipH="1">
                  <a:off x="8754558" y="2239312"/>
                  <a:ext cx="21446" cy="26808"/>
                </a:xfrm>
                <a:custGeom>
                  <a:avLst/>
                  <a:gdLst>
                    <a:gd name="T0" fmla="*/ 10 w 23"/>
                    <a:gd name="T1" fmla="*/ 0 h 28"/>
                    <a:gd name="T2" fmla="*/ 3 w 23"/>
                    <a:gd name="T3" fmla="*/ 20 h 28"/>
                    <a:gd name="T4" fmla="*/ 17 w 23"/>
                    <a:gd name="T5" fmla="*/ 28 h 28"/>
                    <a:gd name="T6" fmla="*/ 23 w 23"/>
                    <a:gd name="T7" fmla="*/ 27 h 28"/>
                    <a:gd name="T8" fmla="*/ 10 w 23"/>
                    <a:gd name="T9" fmla="*/ 0 h 28"/>
                  </a:gdLst>
                  <a:ahLst/>
                  <a:cxnLst>
                    <a:cxn ang="0">
                      <a:pos x="T0" y="T1"/>
                    </a:cxn>
                    <a:cxn ang="0">
                      <a:pos x="T2" y="T3"/>
                    </a:cxn>
                    <a:cxn ang="0">
                      <a:pos x="T4" y="T5"/>
                    </a:cxn>
                    <a:cxn ang="0">
                      <a:pos x="T6" y="T7"/>
                    </a:cxn>
                    <a:cxn ang="0">
                      <a:pos x="T8" y="T9"/>
                    </a:cxn>
                  </a:cxnLst>
                  <a:rect l="0" t="0" r="r" b="b"/>
                  <a:pathLst>
                    <a:path w="23" h="28">
                      <a:moveTo>
                        <a:pt x="10" y="0"/>
                      </a:moveTo>
                      <a:cubicBezTo>
                        <a:pt x="3" y="4"/>
                        <a:pt x="0" y="13"/>
                        <a:pt x="3" y="20"/>
                      </a:cubicBezTo>
                      <a:cubicBezTo>
                        <a:pt x="6" y="25"/>
                        <a:pt x="11" y="28"/>
                        <a:pt x="17" y="28"/>
                      </a:cubicBezTo>
                      <a:cubicBezTo>
                        <a:pt x="19" y="28"/>
                        <a:pt x="21" y="28"/>
                        <a:pt x="23" y="27"/>
                      </a:cubicBezTo>
                      <a:cubicBezTo>
                        <a:pt x="10" y="0"/>
                        <a:pt x="10" y="0"/>
                        <a:pt x="10" y="0"/>
                      </a:cubicBezTo>
                    </a:path>
                  </a:pathLst>
                </a:custGeom>
                <a:solidFill>
                  <a:srgbClr val="D977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Segoe UI"/>
                    <a:ea typeface="+mn-ea"/>
                    <a:cs typeface="+mn-cs"/>
                  </a:endParaRPr>
                </a:p>
              </p:txBody>
            </p:sp>
          </p:grpSp>
          <p:grpSp>
            <p:nvGrpSpPr>
              <p:cNvPr id="198" name="Group 197"/>
              <p:cNvGrpSpPr/>
              <p:nvPr/>
            </p:nvGrpSpPr>
            <p:grpSpPr>
              <a:xfrm>
                <a:off x="11532458" y="4869269"/>
                <a:ext cx="224567" cy="914573"/>
                <a:chOff x="8840343" y="2375496"/>
                <a:chExt cx="119027" cy="484750"/>
              </a:xfrm>
            </p:grpSpPr>
            <p:sp>
              <p:nvSpPr>
                <p:cNvPr id="202" name="Freeform 201"/>
                <p:cNvSpPr>
                  <a:spLocks/>
                </p:cNvSpPr>
                <p:nvPr/>
              </p:nvSpPr>
              <p:spPr bwMode="auto">
                <a:xfrm rot="12997974" flipH="1">
                  <a:off x="8902538" y="2804486"/>
                  <a:ext cx="53615" cy="55760"/>
                </a:xfrm>
                <a:custGeom>
                  <a:avLst/>
                  <a:gdLst>
                    <a:gd name="T0" fmla="*/ 57 w 57"/>
                    <a:gd name="T1" fmla="*/ 32 h 59"/>
                    <a:gd name="T2" fmla="*/ 25 w 57"/>
                    <a:gd name="T3" fmla="*/ 0 h 59"/>
                    <a:gd name="T4" fmla="*/ 9 w 57"/>
                    <a:gd name="T5" fmla="*/ 4 h 59"/>
                    <a:gd name="T6" fmla="*/ 12 w 57"/>
                    <a:gd name="T7" fmla="*/ 46 h 59"/>
                    <a:gd name="T8" fmla="*/ 57 w 57"/>
                    <a:gd name="T9" fmla="*/ 46 h 59"/>
                    <a:gd name="T10" fmla="*/ 57 w 57"/>
                    <a:gd name="T11" fmla="*/ 33 h 59"/>
                    <a:gd name="T12" fmla="*/ 57 w 57"/>
                    <a:gd name="T13" fmla="*/ 33 h 59"/>
                    <a:gd name="T14" fmla="*/ 57 w 57"/>
                    <a:gd name="T15" fmla="*/ 32 h 5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7" h="59">
                      <a:moveTo>
                        <a:pt x="57" y="32"/>
                      </a:moveTo>
                      <a:cubicBezTo>
                        <a:pt x="57" y="14"/>
                        <a:pt x="43" y="0"/>
                        <a:pt x="25" y="0"/>
                      </a:cubicBezTo>
                      <a:cubicBezTo>
                        <a:pt x="19" y="0"/>
                        <a:pt x="14" y="1"/>
                        <a:pt x="9" y="4"/>
                      </a:cubicBezTo>
                      <a:cubicBezTo>
                        <a:pt x="0" y="17"/>
                        <a:pt x="1" y="34"/>
                        <a:pt x="12" y="46"/>
                      </a:cubicBezTo>
                      <a:cubicBezTo>
                        <a:pt x="24" y="58"/>
                        <a:pt x="45" y="59"/>
                        <a:pt x="57" y="46"/>
                      </a:cubicBezTo>
                      <a:cubicBezTo>
                        <a:pt x="57" y="33"/>
                        <a:pt x="57" y="33"/>
                        <a:pt x="57" y="33"/>
                      </a:cubicBezTo>
                      <a:cubicBezTo>
                        <a:pt x="57" y="33"/>
                        <a:pt x="57" y="33"/>
                        <a:pt x="57" y="33"/>
                      </a:cubicBezTo>
                      <a:cubicBezTo>
                        <a:pt x="57" y="33"/>
                        <a:pt x="57" y="32"/>
                        <a:pt x="57" y="32"/>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203" name="Freeform 202"/>
                <p:cNvSpPr>
                  <a:spLocks/>
                </p:cNvSpPr>
                <p:nvPr/>
              </p:nvSpPr>
              <p:spPr bwMode="auto">
                <a:xfrm flipH="1">
                  <a:off x="8840343" y="2375496"/>
                  <a:ext cx="119027" cy="458950"/>
                </a:xfrm>
                <a:custGeom>
                  <a:avLst/>
                  <a:gdLst>
                    <a:gd name="T0" fmla="*/ 0 w 126"/>
                    <a:gd name="T1" fmla="*/ 485 h 485"/>
                    <a:gd name="T2" fmla="*/ 68 w 126"/>
                    <a:gd name="T3" fmla="*/ 0 h 485"/>
                    <a:gd name="T4" fmla="*/ 68 w 126"/>
                    <a:gd name="T5" fmla="*/ 0 h 485"/>
                    <a:gd name="T6" fmla="*/ 126 w 126"/>
                    <a:gd name="T7" fmla="*/ 21 h 485"/>
                    <a:gd name="T8" fmla="*/ 116 w 126"/>
                    <a:gd name="T9" fmla="*/ 53 h 485"/>
                    <a:gd name="T10" fmla="*/ 94 w 126"/>
                    <a:gd name="T11" fmla="*/ 146 h 485"/>
                    <a:gd name="T12" fmla="*/ 62 w 126"/>
                    <a:gd name="T13" fmla="*/ 485 h 485"/>
                    <a:gd name="T14" fmla="*/ 0 w 126"/>
                    <a:gd name="T15" fmla="*/ 485 h 4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6" h="485">
                      <a:moveTo>
                        <a:pt x="0" y="485"/>
                      </a:moveTo>
                      <a:cubicBezTo>
                        <a:pt x="0" y="193"/>
                        <a:pt x="67" y="2"/>
                        <a:pt x="68" y="0"/>
                      </a:cubicBezTo>
                      <a:cubicBezTo>
                        <a:pt x="68" y="0"/>
                        <a:pt x="68" y="0"/>
                        <a:pt x="68" y="0"/>
                      </a:cubicBezTo>
                      <a:cubicBezTo>
                        <a:pt x="126" y="21"/>
                        <a:pt x="126" y="21"/>
                        <a:pt x="126" y="21"/>
                      </a:cubicBezTo>
                      <a:cubicBezTo>
                        <a:pt x="126" y="21"/>
                        <a:pt x="122" y="31"/>
                        <a:pt x="116" y="53"/>
                      </a:cubicBezTo>
                      <a:cubicBezTo>
                        <a:pt x="110" y="74"/>
                        <a:pt x="102" y="106"/>
                        <a:pt x="94" y="146"/>
                      </a:cubicBezTo>
                      <a:cubicBezTo>
                        <a:pt x="78" y="227"/>
                        <a:pt x="62" y="344"/>
                        <a:pt x="62" y="485"/>
                      </a:cubicBezTo>
                      <a:cubicBezTo>
                        <a:pt x="0" y="485"/>
                        <a:pt x="0" y="485"/>
                        <a:pt x="0" y="485"/>
                      </a:cubicBezTo>
                    </a:path>
                  </a:pathLst>
                </a:custGeom>
                <a:solidFill>
                  <a:srgbClr val="1290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Segoe UI"/>
                    <a:ea typeface="+mn-ea"/>
                    <a:cs typeface="+mn-cs"/>
                  </a:endParaRPr>
                </a:p>
              </p:txBody>
            </p:sp>
          </p:grpSp>
          <p:grpSp>
            <p:nvGrpSpPr>
              <p:cNvPr id="199" name="Group 198"/>
              <p:cNvGrpSpPr/>
              <p:nvPr/>
            </p:nvGrpSpPr>
            <p:grpSpPr>
              <a:xfrm flipH="1">
                <a:off x="11010490" y="4872303"/>
                <a:ext cx="224567" cy="909051"/>
                <a:chOff x="8840343" y="2375496"/>
                <a:chExt cx="119027" cy="481823"/>
              </a:xfrm>
            </p:grpSpPr>
            <p:sp>
              <p:nvSpPr>
                <p:cNvPr id="200" name="Freeform 199"/>
                <p:cNvSpPr>
                  <a:spLocks/>
                </p:cNvSpPr>
                <p:nvPr/>
              </p:nvSpPr>
              <p:spPr bwMode="auto">
                <a:xfrm rot="12871490" flipH="1">
                  <a:off x="8901455" y="2801559"/>
                  <a:ext cx="53615" cy="55760"/>
                </a:xfrm>
                <a:custGeom>
                  <a:avLst/>
                  <a:gdLst>
                    <a:gd name="T0" fmla="*/ 57 w 57"/>
                    <a:gd name="T1" fmla="*/ 32 h 59"/>
                    <a:gd name="T2" fmla="*/ 25 w 57"/>
                    <a:gd name="T3" fmla="*/ 0 h 59"/>
                    <a:gd name="T4" fmla="*/ 9 w 57"/>
                    <a:gd name="T5" fmla="*/ 4 h 59"/>
                    <a:gd name="T6" fmla="*/ 12 w 57"/>
                    <a:gd name="T7" fmla="*/ 46 h 59"/>
                    <a:gd name="T8" fmla="*/ 57 w 57"/>
                    <a:gd name="T9" fmla="*/ 46 h 59"/>
                    <a:gd name="T10" fmla="*/ 57 w 57"/>
                    <a:gd name="T11" fmla="*/ 33 h 59"/>
                    <a:gd name="T12" fmla="*/ 57 w 57"/>
                    <a:gd name="T13" fmla="*/ 33 h 59"/>
                    <a:gd name="T14" fmla="*/ 57 w 57"/>
                    <a:gd name="T15" fmla="*/ 32 h 5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7" h="59">
                      <a:moveTo>
                        <a:pt x="57" y="32"/>
                      </a:moveTo>
                      <a:cubicBezTo>
                        <a:pt x="57" y="14"/>
                        <a:pt x="43" y="0"/>
                        <a:pt x="25" y="0"/>
                      </a:cubicBezTo>
                      <a:cubicBezTo>
                        <a:pt x="19" y="0"/>
                        <a:pt x="14" y="1"/>
                        <a:pt x="9" y="4"/>
                      </a:cubicBezTo>
                      <a:cubicBezTo>
                        <a:pt x="0" y="17"/>
                        <a:pt x="1" y="34"/>
                        <a:pt x="12" y="46"/>
                      </a:cubicBezTo>
                      <a:cubicBezTo>
                        <a:pt x="24" y="58"/>
                        <a:pt x="45" y="59"/>
                        <a:pt x="57" y="46"/>
                      </a:cubicBezTo>
                      <a:cubicBezTo>
                        <a:pt x="57" y="33"/>
                        <a:pt x="57" y="33"/>
                        <a:pt x="57" y="33"/>
                      </a:cubicBezTo>
                      <a:cubicBezTo>
                        <a:pt x="57" y="33"/>
                        <a:pt x="57" y="33"/>
                        <a:pt x="57" y="33"/>
                      </a:cubicBezTo>
                      <a:cubicBezTo>
                        <a:pt x="57" y="33"/>
                        <a:pt x="57" y="32"/>
                        <a:pt x="57" y="32"/>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201" name="Freeform 200"/>
                <p:cNvSpPr>
                  <a:spLocks/>
                </p:cNvSpPr>
                <p:nvPr/>
              </p:nvSpPr>
              <p:spPr bwMode="auto">
                <a:xfrm flipH="1">
                  <a:off x="8840343" y="2375496"/>
                  <a:ext cx="119027" cy="458950"/>
                </a:xfrm>
                <a:custGeom>
                  <a:avLst/>
                  <a:gdLst>
                    <a:gd name="T0" fmla="*/ 0 w 126"/>
                    <a:gd name="T1" fmla="*/ 485 h 485"/>
                    <a:gd name="T2" fmla="*/ 68 w 126"/>
                    <a:gd name="T3" fmla="*/ 0 h 485"/>
                    <a:gd name="T4" fmla="*/ 68 w 126"/>
                    <a:gd name="T5" fmla="*/ 0 h 485"/>
                    <a:gd name="T6" fmla="*/ 126 w 126"/>
                    <a:gd name="T7" fmla="*/ 21 h 485"/>
                    <a:gd name="T8" fmla="*/ 116 w 126"/>
                    <a:gd name="T9" fmla="*/ 53 h 485"/>
                    <a:gd name="T10" fmla="*/ 94 w 126"/>
                    <a:gd name="T11" fmla="*/ 146 h 485"/>
                    <a:gd name="T12" fmla="*/ 62 w 126"/>
                    <a:gd name="T13" fmla="*/ 485 h 485"/>
                    <a:gd name="T14" fmla="*/ 0 w 126"/>
                    <a:gd name="T15" fmla="*/ 485 h 4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6" h="485">
                      <a:moveTo>
                        <a:pt x="0" y="485"/>
                      </a:moveTo>
                      <a:cubicBezTo>
                        <a:pt x="0" y="193"/>
                        <a:pt x="67" y="2"/>
                        <a:pt x="68" y="0"/>
                      </a:cubicBezTo>
                      <a:cubicBezTo>
                        <a:pt x="68" y="0"/>
                        <a:pt x="68" y="0"/>
                        <a:pt x="68" y="0"/>
                      </a:cubicBezTo>
                      <a:cubicBezTo>
                        <a:pt x="126" y="21"/>
                        <a:pt x="126" y="21"/>
                        <a:pt x="126" y="21"/>
                      </a:cubicBezTo>
                      <a:cubicBezTo>
                        <a:pt x="126" y="21"/>
                        <a:pt x="122" y="31"/>
                        <a:pt x="116" y="53"/>
                      </a:cubicBezTo>
                      <a:cubicBezTo>
                        <a:pt x="110" y="74"/>
                        <a:pt x="102" y="106"/>
                        <a:pt x="94" y="146"/>
                      </a:cubicBezTo>
                      <a:cubicBezTo>
                        <a:pt x="78" y="227"/>
                        <a:pt x="62" y="344"/>
                        <a:pt x="62" y="485"/>
                      </a:cubicBezTo>
                      <a:cubicBezTo>
                        <a:pt x="0" y="485"/>
                        <a:pt x="0" y="485"/>
                        <a:pt x="0" y="485"/>
                      </a:cubicBezTo>
                    </a:path>
                  </a:pathLst>
                </a:custGeom>
                <a:solidFill>
                  <a:srgbClr val="1290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Segoe UI"/>
                    <a:ea typeface="+mn-ea"/>
                    <a:cs typeface="+mn-cs"/>
                  </a:endParaRPr>
                </a:p>
              </p:txBody>
            </p:sp>
          </p:grpSp>
        </p:grpSp>
        <p:sp>
          <p:nvSpPr>
            <p:cNvPr id="215" name="Rectangle 214"/>
            <p:cNvSpPr/>
            <p:nvPr/>
          </p:nvSpPr>
          <p:spPr bwMode="auto">
            <a:xfrm>
              <a:off x="10146582" y="4746046"/>
              <a:ext cx="209569" cy="2105670"/>
            </a:xfrm>
            <a:prstGeom prst="rect">
              <a:avLst/>
            </a:prstGeom>
            <a:solidFill>
              <a:schemeClr val="accent1">
                <a:lumMod val="25000"/>
                <a:lumOff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a:solidFill>
                  <a:schemeClr val="bg1"/>
                </a:solidFill>
                <a:latin typeface="+mj-lt"/>
                <a:ea typeface="Segoe UI" pitchFamily="34" charset="0"/>
                <a:cs typeface="Segoe UI" pitchFamily="34" charset="0"/>
              </a:endParaRPr>
            </a:p>
          </p:txBody>
        </p:sp>
      </p:grpSp>
    </p:spTree>
    <p:extLst>
      <p:ext uri="{BB962C8B-B14F-4D97-AF65-F5344CB8AC3E}">
        <p14:creationId xmlns:p14="http://schemas.microsoft.com/office/powerpoint/2010/main" val="313380621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Azure Data Lake Store: </a:t>
            </a:r>
            <a:r>
              <a:rPr lang="en-US" dirty="0">
                <a:solidFill>
                  <a:schemeClr val="accent2"/>
                </a:solidFill>
              </a:rPr>
              <a:t>no scale limits</a:t>
            </a:r>
          </a:p>
        </p:txBody>
      </p:sp>
      <p:sp>
        <p:nvSpPr>
          <p:cNvPr id="12" name="Rectangle 11"/>
          <p:cNvSpPr/>
          <p:nvPr/>
        </p:nvSpPr>
        <p:spPr bwMode="auto">
          <a:xfrm>
            <a:off x="0" y="1262063"/>
            <a:ext cx="12192000" cy="4214712"/>
          </a:xfrm>
          <a:prstGeom prst="rect">
            <a:avLst/>
          </a:prstGeom>
          <a:solidFill>
            <a:schemeClr val="bg1">
              <a:lumMod val="95000"/>
            </a:schemeClr>
          </a:solidFill>
          <a:ln w="3175">
            <a:solidFill>
              <a:schemeClr val="bg1">
                <a:lumMod val="9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48640" tIns="365760" rIns="91440" bIns="91440" numCol="1" spcCol="0" rtlCol="0" fromWordArt="0" anchor="t" anchorCtr="0" forceAA="0" compatLnSpc="1">
            <a:prstTxWarp prst="textNoShape">
              <a:avLst/>
            </a:prstTxWarp>
            <a:noAutofit/>
          </a:bodyPr>
          <a:lstStyle/>
          <a:p>
            <a:pPr marL="53965" lvl="1" defTabSz="931954" fontAlgn="base">
              <a:buClr>
                <a:srgbClr val="68217A">
                  <a:lumMod val="50000"/>
                </a:srgbClr>
              </a:buClr>
              <a:tabLst>
                <a:tab pos="658368" algn="l"/>
              </a:tabLst>
            </a:pPr>
            <a:r>
              <a:rPr lang="en-IN" sz="2400" dirty="0">
                <a:solidFill>
                  <a:schemeClr val="accent2"/>
                </a:solidFill>
                <a:latin typeface="+mj-lt"/>
                <a:ea typeface="Segoe UI" pitchFamily="34" charset="0"/>
                <a:cs typeface="Segoe UI" pitchFamily="34" charset="0"/>
              </a:rPr>
              <a:t>Azure Data Lake Store integrates with </a:t>
            </a:r>
            <a:br>
              <a:rPr lang="en-IN" sz="2400" dirty="0">
                <a:solidFill>
                  <a:schemeClr val="accent2"/>
                </a:solidFill>
                <a:latin typeface="+mj-lt"/>
                <a:ea typeface="Segoe UI" pitchFamily="34" charset="0"/>
                <a:cs typeface="Segoe UI" pitchFamily="34" charset="0"/>
              </a:rPr>
            </a:br>
            <a:r>
              <a:rPr lang="en-IN" sz="2400" dirty="0">
                <a:solidFill>
                  <a:schemeClr val="accent2"/>
                </a:solidFill>
                <a:latin typeface="+mj-lt"/>
                <a:ea typeface="Segoe UI" pitchFamily="34" charset="0"/>
                <a:cs typeface="Segoe UI" pitchFamily="34" charset="0"/>
              </a:rPr>
              <a:t>Azure Active Directory (AAD) for:</a:t>
            </a:r>
          </a:p>
          <a:p>
            <a:pPr marL="457200" indent="-346075" fontAlgn="base">
              <a:spcBef>
                <a:spcPts val="200"/>
              </a:spcBef>
              <a:spcAft>
                <a:spcPts val="300"/>
              </a:spcAft>
              <a:buClr>
                <a:srgbClr val="50B347"/>
              </a:buClr>
              <a:buSzPct val="100000"/>
              <a:buBlip>
                <a:blip r:embed="rId3"/>
              </a:buBlip>
              <a:tabLst>
                <a:tab pos="658368" algn="l"/>
              </a:tabLst>
            </a:pPr>
            <a:r>
              <a:rPr lang="en-GB" sz="2000" dirty="0">
                <a:solidFill>
                  <a:srgbClr val="505050"/>
                </a:solidFill>
                <a:latin typeface="Segoe UI Light" panose="020B0502040204020203" pitchFamily="34" charset="0"/>
                <a:ea typeface="Segoe UI" pitchFamily="34" charset="0"/>
                <a:cs typeface="Segoe UI Light" panose="020B0502040204020203" pitchFamily="34" charset="0"/>
              </a:rPr>
              <a:t>Amount of data stored</a:t>
            </a:r>
          </a:p>
          <a:p>
            <a:pPr marL="457200" indent="-346075" fontAlgn="base">
              <a:spcBef>
                <a:spcPts val="200"/>
              </a:spcBef>
              <a:spcAft>
                <a:spcPts val="300"/>
              </a:spcAft>
              <a:buClr>
                <a:srgbClr val="50B347"/>
              </a:buClr>
              <a:buSzPct val="100000"/>
              <a:buBlip>
                <a:blip r:embed="rId3"/>
              </a:buBlip>
              <a:tabLst>
                <a:tab pos="658368" algn="l"/>
              </a:tabLst>
            </a:pPr>
            <a:r>
              <a:rPr lang="en-GB" sz="2000" dirty="0">
                <a:solidFill>
                  <a:srgbClr val="505050"/>
                </a:solidFill>
                <a:latin typeface="Segoe UI Light" panose="020B0502040204020203" pitchFamily="34" charset="0"/>
                <a:ea typeface="Segoe UI" pitchFamily="34" charset="0"/>
                <a:cs typeface="Segoe UI Light" panose="020B0502040204020203" pitchFamily="34" charset="0"/>
              </a:rPr>
              <a:t>How long data can be stored</a:t>
            </a:r>
          </a:p>
          <a:p>
            <a:pPr marL="457200" indent="-346075" fontAlgn="base">
              <a:spcBef>
                <a:spcPts val="200"/>
              </a:spcBef>
              <a:spcAft>
                <a:spcPts val="300"/>
              </a:spcAft>
              <a:buClr>
                <a:srgbClr val="50B347"/>
              </a:buClr>
              <a:buSzPct val="100000"/>
              <a:buBlip>
                <a:blip r:embed="rId3"/>
              </a:buBlip>
              <a:tabLst>
                <a:tab pos="658368" algn="l"/>
              </a:tabLst>
            </a:pPr>
            <a:r>
              <a:rPr lang="en-GB" sz="2000" dirty="0">
                <a:solidFill>
                  <a:srgbClr val="505050"/>
                </a:solidFill>
                <a:latin typeface="Segoe UI Light" panose="020B0502040204020203" pitchFamily="34" charset="0"/>
                <a:ea typeface="Segoe UI" pitchFamily="34" charset="0"/>
                <a:cs typeface="Segoe UI Light" panose="020B0502040204020203" pitchFamily="34" charset="0"/>
              </a:rPr>
              <a:t>Number of files</a:t>
            </a:r>
          </a:p>
          <a:p>
            <a:pPr marL="457200" indent="-346075" fontAlgn="base">
              <a:spcBef>
                <a:spcPts val="200"/>
              </a:spcBef>
              <a:spcAft>
                <a:spcPts val="300"/>
              </a:spcAft>
              <a:buClr>
                <a:srgbClr val="50B347"/>
              </a:buClr>
              <a:buSzPct val="100000"/>
              <a:buBlip>
                <a:blip r:embed="rId3"/>
              </a:buBlip>
              <a:tabLst>
                <a:tab pos="658368" algn="l"/>
              </a:tabLst>
            </a:pPr>
            <a:r>
              <a:rPr lang="en-GB" sz="2000" dirty="0">
                <a:solidFill>
                  <a:srgbClr val="505050"/>
                </a:solidFill>
                <a:latin typeface="Segoe UI Light" panose="020B0502040204020203" pitchFamily="34" charset="0"/>
                <a:ea typeface="Segoe UI" pitchFamily="34" charset="0"/>
                <a:cs typeface="Segoe UI Light" panose="020B0502040204020203" pitchFamily="34" charset="0"/>
              </a:rPr>
              <a:t>Size of the individual files</a:t>
            </a:r>
          </a:p>
          <a:p>
            <a:pPr marL="457200" indent="-346075" fontAlgn="base">
              <a:spcBef>
                <a:spcPts val="200"/>
              </a:spcBef>
              <a:spcAft>
                <a:spcPts val="300"/>
              </a:spcAft>
              <a:buClr>
                <a:srgbClr val="50B347"/>
              </a:buClr>
              <a:buSzPct val="100000"/>
              <a:buBlip>
                <a:blip r:embed="rId3"/>
              </a:buBlip>
              <a:tabLst>
                <a:tab pos="658368" algn="l"/>
              </a:tabLst>
            </a:pPr>
            <a:r>
              <a:rPr lang="en-GB" sz="2000" dirty="0">
                <a:solidFill>
                  <a:srgbClr val="505050"/>
                </a:solidFill>
                <a:latin typeface="Segoe UI Light" panose="020B0502040204020203" pitchFamily="34" charset="0"/>
                <a:ea typeface="Segoe UI" pitchFamily="34" charset="0"/>
                <a:cs typeface="Segoe UI Light" panose="020B0502040204020203" pitchFamily="34" charset="0"/>
              </a:rPr>
              <a:t>Ingestion throughput</a:t>
            </a:r>
          </a:p>
        </p:txBody>
      </p:sp>
      <p:sp>
        <p:nvSpPr>
          <p:cNvPr id="5" name="Slide Number Placeholder 4"/>
          <p:cNvSpPr>
            <a:spLocks noGrp="1"/>
          </p:cNvSpPr>
          <p:nvPr>
            <p:ph type="sldNum" sz="quarter" idx="11"/>
          </p:nvPr>
        </p:nvSpPr>
        <p:spPr/>
        <p:txBody>
          <a:bodyPr/>
          <a:lstStyle/>
          <a:p>
            <a:pPr>
              <a:defRPr/>
            </a:pPr>
            <a:fld id="{F8A0AC42-AA1D-4944-8D96-660DE70C7E1B}" type="slidenum">
              <a:rPr lang="en-US" smtClean="0"/>
              <a:pPr>
                <a:defRPr/>
              </a:pPr>
              <a:t>11</a:t>
            </a:fld>
            <a:endParaRPr lang="en-US" dirty="0"/>
          </a:p>
        </p:txBody>
      </p:sp>
      <p:pic>
        <p:nvPicPr>
          <p:cNvPr id="2" name="Picture 1"/>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278234" y="2089176"/>
            <a:ext cx="3644216" cy="2858209"/>
          </a:xfrm>
          <a:prstGeom prst="rect">
            <a:avLst/>
          </a:prstGeom>
        </p:spPr>
      </p:pic>
      <p:sp>
        <p:nvSpPr>
          <p:cNvPr id="6" name="Rectangle 5"/>
          <p:cNvSpPr/>
          <p:nvPr/>
        </p:nvSpPr>
        <p:spPr>
          <a:xfrm>
            <a:off x="5527014" y="2133285"/>
            <a:ext cx="3398687" cy="1384995"/>
          </a:xfrm>
          <a:prstGeom prst="rect">
            <a:avLst/>
          </a:prstGeom>
        </p:spPr>
        <p:txBody>
          <a:bodyPr wrap="none">
            <a:spAutoFit/>
          </a:bodyPr>
          <a:lstStyle/>
          <a:p>
            <a:pPr marL="53965" lvl="1" defTabSz="931954" fontAlgn="base">
              <a:spcBef>
                <a:spcPts val="600"/>
              </a:spcBef>
              <a:spcAft>
                <a:spcPts val="600"/>
              </a:spcAft>
              <a:buClr>
                <a:srgbClr val="68217A">
                  <a:lumMod val="50000"/>
                </a:srgbClr>
              </a:buClr>
              <a:tabLst>
                <a:tab pos="658368" algn="l"/>
              </a:tabLst>
            </a:pPr>
            <a:r>
              <a:rPr lang="en-GB" sz="2800" dirty="0">
                <a:solidFill>
                  <a:schemeClr val="accent2"/>
                </a:solidFill>
                <a:latin typeface="Segoe UI Black" panose="020B0A02040204020203" pitchFamily="34" charset="0"/>
                <a:ea typeface="Segoe UI Black" panose="020B0A02040204020203" pitchFamily="34" charset="0"/>
                <a:cs typeface="Segoe UI Black" panose="020B0A02040204020203" pitchFamily="34" charset="0"/>
              </a:rPr>
              <a:t>Seamlessly scales </a:t>
            </a:r>
            <a:br>
              <a:rPr lang="en-GB" sz="2800" dirty="0">
                <a:solidFill>
                  <a:schemeClr val="accent2"/>
                </a:solidFill>
                <a:latin typeface="Segoe UI Black" panose="020B0A02040204020203" pitchFamily="34" charset="0"/>
                <a:ea typeface="Segoe UI Black" panose="020B0A02040204020203" pitchFamily="34" charset="0"/>
                <a:cs typeface="Segoe UI Black" panose="020B0A02040204020203" pitchFamily="34" charset="0"/>
              </a:rPr>
            </a:br>
            <a:r>
              <a:rPr lang="en-GB" sz="2800" dirty="0">
                <a:solidFill>
                  <a:schemeClr val="accent2"/>
                </a:solidFill>
                <a:latin typeface="Segoe UI Black" panose="020B0A02040204020203" pitchFamily="34" charset="0"/>
                <a:ea typeface="Segoe UI Black" panose="020B0A02040204020203" pitchFamily="34" charset="0"/>
                <a:cs typeface="Segoe UI Black" panose="020B0A02040204020203" pitchFamily="34" charset="0"/>
              </a:rPr>
              <a:t>from a few KBs </a:t>
            </a:r>
            <a:br>
              <a:rPr lang="en-GB" sz="2800" dirty="0">
                <a:solidFill>
                  <a:schemeClr val="accent2"/>
                </a:solidFill>
                <a:latin typeface="Segoe UI Black" panose="020B0A02040204020203" pitchFamily="34" charset="0"/>
                <a:ea typeface="Segoe UI Black" panose="020B0A02040204020203" pitchFamily="34" charset="0"/>
                <a:cs typeface="Segoe UI Black" panose="020B0A02040204020203" pitchFamily="34" charset="0"/>
              </a:rPr>
            </a:br>
            <a:r>
              <a:rPr lang="en-GB" sz="2800" dirty="0">
                <a:solidFill>
                  <a:schemeClr val="accent2"/>
                </a:solidFill>
                <a:latin typeface="Segoe UI Black" panose="020B0A02040204020203" pitchFamily="34" charset="0"/>
                <a:ea typeface="Segoe UI Black" panose="020B0A02040204020203" pitchFamily="34" charset="0"/>
                <a:cs typeface="Segoe UI Black" panose="020B0A02040204020203" pitchFamily="34" charset="0"/>
              </a:rPr>
              <a:t>to several PBs</a:t>
            </a:r>
          </a:p>
        </p:txBody>
      </p:sp>
    </p:spTree>
    <p:extLst>
      <p:ext uri="{BB962C8B-B14F-4D97-AF65-F5344CB8AC3E}">
        <p14:creationId xmlns:p14="http://schemas.microsoft.com/office/powerpoint/2010/main" val="3220509920"/>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500"/>
                                        <p:tgtEl>
                                          <p:spTgt spid="12"/>
                                        </p:tgtEl>
                                      </p:cBhvr>
                                    </p:animEffect>
                                  </p:childTnLst>
                                </p:cTn>
                              </p:par>
                              <p:par>
                                <p:cTn id="8" presetID="10" presetClass="entr" presetSubtype="0" fill="hold" nodeType="withEffect">
                                  <p:stCondLst>
                                    <p:cond delay="0"/>
                                  </p:stCondLst>
                                  <p:childTnLst>
                                    <p:set>
                                      <p:cBhvr>
                                        <p:cTn id="9" dur="1" fill="hold">
                                          <p:stCondLst>
                                            <p:cond delay="0"/>
                                          </p:stCondLst>
                                        </p:cTn>
                                        <p:tgtEl>
                                          <p:spTgt spid="12">
                                            <p:txEl>
                                              <p:pRg st="0" end="0"/>
                                            </p:txEl>
                                          </p:spTgt>
                                        </p:tgtEl>
                                        <p:attrNameLst>
                                          <p:attrName>style.visibility</p:attrName>
                                        </p:attrNameLst>
                                      </p:cBhvr>
                                      <p:to>
                                        <p:strVal val="visible"/>
                                      </p:to>
                                    </p:set>
                                    <p:animEffect transition="in" filter="fade">
                                      <p:cBhvr>
                                        <p:cTn id="10" dur="1000"/>
                                        <p:tgtEl>
                                          <p:spTgt spid="12">
                                            <p:txEl>
                                              <p:pRg st="0" end="0"/>
                                            </p:txEl>
                                          </p:spTgt>
                                        </p:tgtEl>
                                      </p:cBhvr>
                                    </p:animEffect>
                                  </p:childTnLst>
                                </p:cTn>
                              </p:par>
                            </p:childTnLst>
                          </p:cTn>
                        </p:par>
                        <p:par>
                          <p:cTn id="11" fill="hold">
                            <p:stCondLst>
                              <p:cond delay="1000"/>
                            </p:stCondLst>
                            <p:childTnLst>
                              <p:par>
                                <p:cTn id="12" presetID="22" presetClass="entr" presetSubtype="8" fill="hold" nodeType="afterEffect">
                                  <p:stCondLst>
                                    <p:cond delay="0"/>
                                  </p:stCondLst>
                                  <p:childTnLst>
                                    <p:set>
                                      <p:cBhvr>
                                        <p:cTn id="13" dur="1" fill="hold">
                                          <p:stCondLst>
                                            <p:cond delay="0"/>
                                          </p:stCondLst>
                                        </p:cTn>
                                        <p:tgtEl>
                                          <p:spTgt spid="12">
                                            <p:txEl>
                                              <p:pRg st="1" end="1"/>
                                            </p:txEl>
                                          </p:spTgt>
                                        </p:tgtEl>
                                        <p:attrNameLst>
                                          <p:attrName>style.visibility</p:attrName>
                                        </p:attrNameLst>
                                      </p:cBhvr>
                                      <p:to>
                                        <p:strVal val="visible"/>
                                      </p:to>
                                    </p:set>
                                    <p:animEffect transition="in" filter="wipe(left)">
                                      <p:cBhvr>
                                        <p:cTn id="14" dur="750"/>
                                        <p:tgtEl>
                                          <p:spTgt spid="12">
                                            <p:txEl>
                                              <p:pRg st="1" end="1"/>
                                            </p:txEl>
                                          </p:spTgt>
                                        </p:tgtEl>
                                      </p:cBhvr>
                                    </p:animEffect>
                                  </p:childTnLst>
                                </p:cTn>
                              </p:par>
                            </p:childTnLst>
                          </p:cTn>
                        </p:par>
                        <p:par>
                          <p:cTn id="15" fill="hold">
                            <p:stCondLst>
                              <p:cond delay="1750"/>
                            </p:stCondLst>
                            <p:childTnLst>
                              <p:par>
                                <p:cTn id="16" presetID="22" presetClass="entr" presetSubtype="8" fill="hold" nodeType="afterEffect">
                                  <p:stCondLst>
                                    <p:cond delay="0"/>
                                  </p:stCondLst>
                                  <p:childTnLst>
                                    <p:set>
                                      <p:cBhvr>
                                        <p:cTn id="17" dur="1" fill="hold">
                                          <p:stCondLst>
                                            <p:cond delay="0"/>
                                          </p:stCondLst>
                                        </p:cTn>
                                        <p:tgtEl>
                                          <p:spTgt spid="12">
                                            <p:txEl>
                                              <p:pRg st="2" end="2"/>
                                            </p:txEl>
                                          </p:spTgt>
                                        </p:tgtEl>
                                        <p:attrNameLst>
                                          <p:attrName>style.visibility</p:attrName>
                                        </p:attrNameLst>
                                      </p:cBhvr>
                                      <p:to>
                                        <p:strVal val="visible"/>
                                      </p:to>
                                    </p:set>
                                    <p:animEffect transition="in" filter="wipe(left)">
                                      <p:cBhvr>
                                        <p:cTn id="18" dur="750"/>
                                        <p:tgtEl>
                                          <p:spTgt spid="12">
                                            <p:txEl>
                                              <p:pRg st="2" end="2"/>
                                            </p:txEl>
                                          </p:spTgt>
                                        </p:tgtEl>
                                      </p:cBhvr>
                                    </p:animEffect>
                                  </p:childTnLst>
                                </p:cTn>
                              </p:par>
                            </p:childTnLst>
                          </p:cTn>
                        </p:par>
                        <p:par>
                          <p:cTn id="19" fill="hold">
                            <p:stCondLst>
                              <p:cond delay="2500"/>
                            </p:stCondLst>
                            <p:childTnLst>
                              <p:par>
                                <p:cTn id="20" presetID="22" presetClass="entr" presetSubtype="8" fill="hold" nodeType="afterEffect">
                                  <p:stCondLst>
                                    <p:cond delay="0"/>
                                  </p:stCondLst>
                                  <p:childTnLst>
                                    <p:set>
                                      <p:cBhvr>
                                        <p:cTn id="21" dur="1" fill="hold">
                                          <p:stCondLst>
                                            <p:cond delay="0"/>
                                          </p:stCondLst>
                                        </p:cTn>
                                        <p:tgtEl>
                                          <p:spTgt spid="12">
                                            <p:txEl>
                                              <p:pRg st="3" end="3"/>
                                            </p:txEl>
                                          </p:spTgt>
                                        </p:tgtEl>
                                        <p:attrNameLst>
                                          <p:attrName>style.visibility</p:attrName>
                                        </p:attrNameLst>
                                      </p:cBhvr>
                                      <p:to>
                                        <p:strVal val="visible"/>
                                      </p:to>
                                    </p:set>
                                    <p:animEffect transition="in" filter="wipe(left)">
                                      <p:cBhvr>
                                        <p:cTn id="22" dur="750"/>
                                        <p:tgtEl>
                                          <p:spTgt spid="12">
                                            <p:txEl>
                                              <p:pRg st="3" end="3"/>
                                            </p:txEl>
                                          </p:spTgt>
                                        </p:tgtEl>
                                      </p:cBhvr>
                                    </p:animEffect>
                                  </p:childTnLst>
                                </p:cTn>
                              </p:par>
                            </p:childTnLst>
                          </p:cTn>
                        </p:par>
                        <p:par>
                          <p:cTn id="23" fill="hold">
                            <p:stCondLst>
                              <p:cond delay="3250"/>
                            </p:stCondLst>
                            <p:childTnLst>
                              <p:par>
                                <p:cTn id="24" presetID="22" presetClass="entr" presetSubtype="8" fill="hold" nodeType="afterEffect">
                                  <p:stCondLst>
                                    <p:cond delay="0"/>
                                  </p:stCondLst>
                                  <p:childTnLst>
                                    <p:set>
                                      <p:cBhvr>
                                        <p:cTn id="25" dur="1" fill="hold">
                                          <p:stCondLst>
                                            <p:cond delay="0"/>
                                          </p:stCondLst>
                                        </p:cTn>
                                        <p:tgtEl>
                                          <p:spTgt spid="12">
                                            <p:txEl>
                                              <p:pRg st="4" end="4"/>
                                            </p:txEl>
                                          </p:spTgt>
                                        </p:tgtEl>
                                        <p:attrNameLst>
                                          <p:attrName>style.visibility</p:attrName>
                                        </p:attrNameLst>
                                      </p:cBhvr>
                                      <p:to>
                                        <p:strVal val="visible"/>
                                      </p:to>
                                    </p:set>
                                    <p:animEffect transition="in" filter="wipe(left)">
                                      <p:cBhvr>
                                        <p:cTn id="26" dur="750"/>
                                        <p:tgtEl>
                                          <p:spTgt spid="12">
                                            <p:txEl>
                                              <p:pRg st="4" end="4"/>
                                            </p:txEl>
                                          </p:spTgt>
                                        </p:tgtEl>
                                      </p:cBhvr>
                                    </p:animEffect>
                                  </p:childTnLst>
                                </p:cTn>
                              </p:par>
                            </p:childTnLst>
                          </p:cTn>
                        </p:par>
                        <p:par>
                          <p:cTn id="27" fill="hold">
                            <p:stCondLst>
                              <p:cond delay="4000"/>
                            </p:stCondLst>
                            <p:childTnLst>
                              <p:par>
                                <p:cTn id="28" presetID="22" presetClass="entr" presetSubtype="8" fill="hold" nodeType="afterEffect">
                                  <p:stCondLst>
                                    <p:cond delay="0"/>
                                  </p:stCondLst>
                                  <p:childTnLst>
                                    <p:set>
                                      <p:cBhvr>
                                        <p:cTn id="29" dur="1" fill="hold">
                                          <p:stCondLst>
                                            <p:cond delay="0"/>
                                          </p:stCondLst>
                                        </p:cTn>
                                        <p:tgtEl>
                                          <p:spTgt spid="12">
                                            <p:txEl>
                                              <p:pRg st="5" end="5"/>
                                            </p:txEl>
                                          </p:spTgt>
                                        </p:tgtEl>
                                        <p:attrNameLst>
                                          <p:attrName>style.visibility</p:attrName>
                                        </p:attrNameLst>
                                      </p:cBhvr>
                                      <p:to>
                                        <p:strVal val="visible"/>
                                      </p:to>
                                    </p:set>
                                    <p:animEffect transition="in" filter="wipe(left)">
                                      <p:cBhvr>
                                        <p:cTn id="30" dur="750"/>
                                        <p:tgtEl>
                                          <p:spTgt spid="12">
                                            <p:txEl>
                                              <p:pRg st="5" end="5"/>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ADL Store Unlimited Scale – How it works</a:t>
            </a:r>
          </a:p>
        </p:txBody>
      </p:sp>
      <p:sp>
        <p:nvSpPr>
          <p:cNvPr id="12" name="Rectangle 11"/>
          <p:cNvSpPr/>
          <p:nvPr/>
        </p:nvSpPr>
        <p:spPr bwMode="auto">
          <a:xfrm>
            <a:off x="0" y="1249764"/>
            <a:ext cx="12192000" cy="4612021"/>
          </a:xfrm>
          <a:prstGeom prst="rect">
            <a:avLst/>
          </a:prstGeom>
          <a:solidFill>
            <a:schemeClr val="bg1">
              <a:lumMod val="95000"/>
            </a:schemeClr>
          </a:solidFill>
          <a:ln w="3175">
            <a:solidFill>
              <a:schemeClr val="bg1">
                <a:lumMod val="9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457200" rIns="5760720" bIns="91440" numCol="1" spcCol="0" rtlCol="0" fromWordArt="0" anchor="t" anchorCtr="0" forceAA="0" compatLnSpc="1">
            <a:prstTxWarp prst="textNoShape">
              <a:avLst/>
            </a:prstTxWarp>
            <a:noAutofit/>
          </a:bodyPr>
          <a:lstStyle/>
          <a:p>
            <a:pPr marL="347472" indent="-292608" fontAlgn="base">
              <a:spcBef>
                <a:spcPts val="600"/>
              </a:spcBef>
              <a:spcAft>
                <a:spcPts val="600"/>
              </a:spcAft>
              <a:buClr>
                <a:srgbClr val="50B347"/>
              </a:buClr>
              <a:buSzPct val="100000"/>
              <a:buBlip>
                <a:blip r:embed="rId3"/>
              </a:buBlip>
              <a:tabLst>
                <a:tab pos="658368" algn="l"/>
              </a:tabLst>
            </a:pPr>
            <a:r>
              <a:rPr lang="en-GB" sz="2200" dirty="0">
                <a:solidFill>
                  <a:srgbClr val="505050"/>
                </a:solidFill>
                <a:ea typeface="Segoe UI" pitchFamily="34" charset="0"/>
                <a:cs typeface="Segoe UI" pitchFamily="34" charset="0"/>
              </a:rPr>
              <a:t>Each file in ADL Store is sliced into blocks</a:t>
            </a:r>
          </a:p>
          <a:p>
            <a:pPr marL="347472" indent="-292608" fontAlgn="base">
              <a:spcBef>
                <a:spcPts val="600"/>
              </a:spcBef>
              <a:spcAft>
                <a:spcPts val="600"/>
              </a:spcAft>
              <a:buClr>
                <a:srgbClr val="50B347"/>
              </a:buClr>
              <a:buSzPct val="100000"/>
              <a:buBlip>
                <a:blip r:embed="rId3"/>
              </a:buBlip>
              <a:tabLst>
                <a:tab pos="658368" algn="l"/>
              </a:tabLst>
            </a:pPr>
            <a:r>
              <a:rPr lang="en-GB" sz="2200" dirty="0">
                <a:solidFill>
                  <a:srgbClr val="505050"/>
                </a:solidFill>
                <a:ea typeface="Segoe UI" pitchFamily="34" charset="0"/>
                <a:cs typeface="Segoe UI" pitchFamily="34" charset="0"/>
              </a:rPr>
              <a:t>Blocks are distributed across multiple data nodes in the backend storage system</a:t>
            </a:r>
          </a:p>
          <a:p>
            <a:pPr marL="347472" indent="-292608" fontAlgn="base">
              <a:spcBef>
                <a:spcPts val="600"/>
              </a:spcBef>
              <a:spcAft>
                <a:spcPts val="600"/>
              </a:spcAft>
              <a:buClr>
                <a:srgbClr val="50B347"/>
              </a:buClr>
              <a:buSzPct val="100000"/>
              <a:buBlip>
                <a:blip r:embed="rId3"/>
              </a:buBlip>
              <a:tabLst>
                <a:tab pos="658368" algn="l"/>
              </a:tabLst>
            </a:pPr>
            <a:r>
              <a:rPr lang="en-GB" sz="2200" dirty="0">
                <a:solidFill>
                  <a:srgbClr val="505050"/>
                </a:solidFill>
                <a:ea typeface="Segoe UI" pitchFamily="34" charset="0"/>
                <a:cs typeface="Segoe UI" pitchFamily="34" charset="0"/>
              </a:rPr>
              <a:t>With sufficient number of backend storage data nodes, files of any size can be stored</a:t>
            </a:r>
          </a:p>
          <a:p>
            <a:pPr marL="347472" indent="-292608" fontAlgn="base">
              <a:spcBef>
                <a:spcPts val="600"/>
              </a:spcBef>
              <a:spcAft>
                <a:spcPts val="600"/>
              </a:spcAft>
              <a:buClr>
                <a:srgbClr val="50B347"/>
              </a:buClr>
              <a:buSzPct val="100000"/>
              <a:buBlip>
                <a:blip r:embed="rId3"/>
              </a:buBlip>
              <a:tabLst>
                <a:tab pos="658368" algn="l"/>
              </a:tabLst>
            </a:pPr>
            <a:r>
              <a:rPr lang="en-GB" sz="2200" dirty="0">
                <a:solidFill>
                  <a:srgbClr val="505050"/>
                </a:solidFill>
                <a:ea typeface="Segoe UI" pitchFamily="34" charset="0"/>
                <a:cs typeface="Segoe UI" pitchFamily="34" charset="0"/>
              </a:rPr>
              <a:t>Backend storage runs in the Azure cloud which has virtually unlimited resources</a:t>
            </a:r>
          </a:p>
          <a:p>
            <a:pPr marL="347472" indent="-292608" fontAlgn="base">
              <a:spcBef>
                <a:spcPts val="600"/>
              </a:spcBef>
              <a:spcAft>
                <a:spcPts val="600"/>
              </a:spcAft>
              <a:buClr>
                <a:srgbClr val="50B347"/>
              </a:buClr>
              <a:buSzPct val="100000"/>
              <a:buBlip>
                <a:blip r:embed="rId3"/>
              </a:buBlip>
              <a:tabLst>
                <a:tab pos="658368" algn="l"/>
              </a:tabLst>
            </a:pPr>
            <a:r>
              <a:rPr lang="en-GB" sz="2200" dirty="0">
                <a:solidFill>
                  <a:srgbClr val="505050"/>
                </a:solidFill>
                <a:ea typeface="Segoe UI" pitchFamily="34" charset="0"/>
                <a:cs typeface="Segoe UI" pitchFamily="34" charset="0"/>
              </a:rPr>
              <a:t>Metadata is stored about each file</a:t>
            </a:r>
            <a:br>
              <a:rPr lang="en-GB" sz="2200" dirty="0">
                <a:solidFill>
                  <a:srgbClr val="505050"/>
                </a:solidFill>
                <a:ea typeface="Segoe UI" pitchFamily="34" charset="0"/>
                <a:cs typeface="Segoe UI" pitchFamily="34" charset="0"/>
              </a:rPr>
            </a:br>
            <a:r>
              <a:rPr lang="en-GB" sz="2200" dirty="0">
                <a:solidFill>
                  <a:srgbClr val="505050"/>
                </a:solidFill>
                <a:ea typeface="Segoe UI" pitchFamily="34" charset="0"/>
                <a:cs typeface="Segoe UI" pitchFamily="34" charset="0"/>
              </a:rPr>
              <a:t>No limit to metadata either.</a:t>
            </a:r>
          </a:p>
        </p:txBody>
      </p:sp>
      <p:sp>
        <p:nvSpPr>
          <p:cNvPr id="4" name="Slide Number Placeholder 3"/>
          <p:cNvSpPr>
            <a:spLocks noGrp="1"/>
          </p:cNvSpPr>
          <p:nvPr>
            <p:ph type="sldNum" sz="quarter" idx="11"/>
          </p:nvPr>
        </p:nvSpPr>
        <p:spPr/>
        <p:txBody>
          <a:bodyPr/>
          <a:lstStyle/>
          <a:p>
            <a:pPr>
              <a:defRPr/>
            </a:pPr>
            <a:fld id="{F8A0AC42-AA1D-4944-8D96-660DE70C7E1B}" type="slidenum">
              <a:rPr lang="en-US" smtClean="0"/>
              <a:pPr>
                <a:defRPr/>
              </a:pPr>
              <a:t>12</a:t>
            </a:fld>
            <a:endParaRPr lang="en-US" dirty="0"/>
          </a:p>
        </p:txBody>
      </p:sp>
      <p:grpSp>
        <p:nvGrpSpPr>
          <p:cNvPr id="7" name="Group 6"/>
          <p:cNvGrpSpPr/>
          <p:nvPr/>
        </p:nvGrpSpPr>
        <p:grpSpPr>
          <a:xfrm>
            <a:off x="7176390" y="2251587"/>
            <a:ext cx="3539384" cy="1071716"/>
            <a:chOff x="7176390" y="2251587"/>
            <a:chExt cx="3539384" cy="1071716"/>
          </a:xfrm>
        </p:grpSpPr>
        <p:sp>
          <p:nvSpPr>
            <p:cNvPr id="69" name="Rectangle 68"/>
            <p:cNvSpPr/>
            <p:nvPr/>
          </p:nvSpPr>
          <p:spPr bwMode="auto">
            <a:xfrm>
              <a:off x="7176390" y="2251587"/>
              <a:ext cx="3539384" cy="1071716"/>
            </a:xfrm>
            <a:prstGeom prst="rect">
              <a:avLst/>
            </a:prstGeom>
            <a:solidFill>
              <a:schemeClr val="accent1"/>
            </a:solidFill>
            <a:ln w="3175" cap="flat" cmpd="sng" algn="ctr">
              <a:noFill/>
              <a:prstDash val="soli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algn="ctr">
                <a:lnSpc>
                  <a:spcPct val="90000"/>
                </a:lnSpc>
                <a:spcAft>
                  <a:spcPts val="600"/>
                </a:spcAft>
              </a:pPr>
              <a:r>
                <a:rPr lang="en-US" sz="1600" dirty="0">
                  <a:solidFill>
                    <a:schemeClr val="bg1"/>
                  </a:solidFill>
                </a:rPr>
                <a:t>Azure Data Lake Store file</a:t>
              </a:r>
            </a:p>
          </p:txBody>
        </p:sp>
        <p:sp>
          <p:nvSpPr>
            <p:cNvPr id="73" name="TextBox 72"/>
            <p:cNvSpPr txBox="1"/>
            <p:nvPr/>
          </p:nvSpPr>
          <p:spPr>
            <a:xfrm>
              <a:off x="9433326" y="2894176"/>
              <a:ext cx="94578" cy="153964"/>
            </a:xfrm>
            <a:prstGeom prst="rect">
              <a:avLst/>
            </a:prstGeom>
            <a:noFill/>
            <a:ln>
              <a:noFill/>
            </a:ln>
          </p:spPr>
          <p:txBody>
            <a:bodyPr wrap="none" lIns="0" tIns="0" rIns="0" bIns="0" rtlCol="0">
              <a:noAutofit/>
            </a:bodyPr>
            <a:lstStyle/>
            <a:p>
              <a:pPr marL="0" marR="0" lvl="0" indent="0" defTabSz="932742" eaLnBrk="1" fontAlgn="auto" latinLnBrk="0" hangingPunct="1">
                <a:lnSpc>
                  <a:spcPct val="90000"/>
                </a:lnSpc>
                <a:spcBef>
                  <a:spcPts val="0"/>
                </a:spcBef>
                <a:spcAft>
                  <a:spcPts val="600"/>
                </a:spcAft>
                <a:buClrTx/>
                <a:buSzTx/>
                <a:buFontTx/>
                <a:buNone/>
                <a:tabLst/>
                <a:defRPr/>
              </a:pPr>
              <a:r>
                <a:rPr kumimoji="0" lang="en-US" sz="1000" b="0" i="0" u="none" strike="noStrike" kern="0" cap="none" spc="0" normalizeH="0" baseline="0" noProof="0" dirty="0">
                  <a:ln>
                    <a:noFill/>
                  </a:ln>
                  <a:solidFill>
                    <a:srgbClr val="FFFFFF"/>
                  </a:solidFill>
                  <a:effectLst/>
                  <a:uLnTx/>
                  <a:uFillTx/>
                </a:rPr>
                <a:t>…</a:t>
              </a:r>
            </a:p>
          </p:txBody>
        </p:sp>
        <p:grpSp>
          <p:nvGrpSpPr>
            <p:cNvPr id="6" name="Group 5"/>
            <p:cNvGrpSpPr/>
            <p:nvPr/>
          </p:nvGrpSpPr>
          <p:grpSpPr>
            <a:xfrm>
              <a:off x="7323223" y="2668529"/>
              <a:ext cx="813348" cy="585287"/>
              <a:chOff x="7230343" y="2865889"/>
              <a:chExt cx="565425" cy="406881"/>
            </a:xfrm>
          </p:grpSpPr>
          <p:pic>
            <p:nvPicPr>
              <p:cNvPr id="44" name="Picture 2" descr="\\MAGNUM\Projects\Microsoft\Cloud Power FY12\Design\ICONS_PNG\Server.png"/>
              <p:cNvPicPr>
                <a:picLocks noChangeAspect="1" noChangeArrowheads="1"/>
              </p:cNvPicPr>
              <p:nvPr/>
            </p:nvPicPr>
            <p:blipFill rotWithShape="1">
              <a:blip r:embed="rId4" cstate="print">
                <a:lum bright="100000"/>
              </a:blip>
              <a:srcRect l="19080" t="53857" r="18421" b="10243"/>
              <a:stretch/>
            </p:blipFill>
            <p:spPr bwMode="auto">
              <a:xfrm>
                <a:off x="7230343" y="2947987"/>
                <a:ext cx="565425" cy="324783"/>
              </a:xfrm>
              <a:prstGeom prst="rect">
                <a:avLst/>
              </a:prstGeom>
              <a:noFill/>
            </p:spPr>
          </p:pic>
          <p:sp>
            <p:nvSpPr>
              <p:cNvPr id="2" name="Rectangle 1"/>
              <p:cNvSpPr/>
              <p:nvPr/>
            </p:nvSpPr>
            <p:spPr>
              <a:xfrm>
                <a:off x="7261486" y="3017337"/>
                <a:ext cx="425309" cy="137348"/>
              </a:xfrm>
              <a:prstGeom prst="rect">
                <a:avLst/>
              </a:prstGeom>
              <a:solidFill>
                <a:schemeClr val="bg1"/>
              </a:solidFill>
            </p:spPr>
            <p:txBody>
              <a:bodyPr wrap="square" lIns="0" tIns="0" rIns="0" bIns="0">
                <a:noAutofit/>
              </a:bodyPr>
              <a:lstStyle/>
              <a:p>
                <a:pPr lvl="0" algn="ctr" defTabSz="932742">
                  <a:lnSpc>
                    <a:spcPct val="90000"/>
                  </a:lnSpc>
                  <a:spcAft>
                    <a:spcPts val="600"/>
                  </a:spcAft>
                  <a:defRPr/>
                </a:pPr>
                <a:r>
                  <a:rPr lang="en-US" sz="900" kern="0" dirty="0">
                    <a:solidFill>
                      <a:schemeClr val="tx2"/>
                    </a:solidFill>
                    <a:ea typeface="Arial Unicode MS" panose="020B0604020202020204" pitchFamily="34" charset="-128"/>
                    <a:cs typeface="Arial Unicode MS" panose="020B0604020202020204" pitchFamily="34" charset="-128"/>
                  </a:rPr>
                  <a:t>Block 1 </a:t>
                </a:r>
              </a:p>
            </p:txBody>
          </p:sp>
          <p:pic>
            <p:nvPicPr>
              <p:cNvPr id="78" name="Picture 2" descr="\\MAGNUM\Projects\Microsoft\Cloud Power FY12\Design\ICONS_PNG\Server.png"/>
              <p:cNvPicPr>
                <a:picLocks noChangeArrowheads="1"/>
              </p:cNvPicPr>
              <p:nvPr/>
            </p:nvPicPr>
            <p:blipFill rotWithShape="1">
              <a:blip r:embed="rId4" cstate="print">
                <a:lum bright="100000"/>
              </a:blip>
              <a:srcRect l="19080" t="11111" r="18421" b="73453"/>
              <a:stretch/>
            </p:blipFill>
            <p:spPr bwMode="auto">
              <a:xfrm>
                <a:off x="7235105" y="2865889"/>
                <a:ext cx="557784" cy="135502"/>
              </a:xfrm>
              <a:prstGeom prst="rect">
                <a:avLst/>
              </a:prstGeom>
              <a:noFill/>
            </p:spPr>
          </p:pic>
        </p:grpSp>
        <p:grpSp>
          <p:nvGrpSpPr>
            <p:cNvPr id="79" name="Group 78"/>
            <p:cNvGrpSpPr/>
            <p:nvPr/>
          </p:nvGrpSpPr>
          <p:grpSpPr>
            <a:xfrm>
              <a:off x="8368499" y="2668529"/>
              <a:ext cx="813348" cy="585287"/>
              <a:chOff x="7230343" y="2865889"/>
              <a:chExt cx="565425" cy="406881"/>
            </a:xfrm>
          </p:grpSpPr>
          <p:pic>
            <p:nvPicPr>
              <p:cNvPr id="81" name="Picture 2" descr="\\MAGNUM\Projects\Microsoft\Cloud Power FY12\Design\ICONS_PNG\Server.png"/>
              <p:cNvPicPr>
                <a:picLocks noChangeAspect="1" noChangeArrowheads="1"/>
              </p:cNvPicPr>
              <p:nvPr/>
            </p:nvPicPr>
            <p:blipFill rotWithShape="1">
              <a:blip r:embed="rId4" cstate="print">
                <a:lum bright="100000"/>
              </a:blip>
              <a:srcRect l="19080" t="53857" r="18421" b="10243"/>
              <a:stretch/>
            </p:blipFill>
            <p:spPr bwMode="auto">
              <a:xfrm>
                <a:off x="7230343" y="2947987"/>
                <a:ext cx="565425" cy="324783"/>
              </a:xfrm>
              <a:prstGeom prst="rect">
                <a:avLst/>
              </a:prstGeom>
              <a:noFill/>
            </p:spPr>
          </p:pic>
          <p:sp>
            <p:nvSpPr>
              <p:cNvPr id="82" name="Rectangle 81"/>
              <p:cNvSpPr/>
              <p:nvPr/>
            </p:nvSpPr>
            <p:spPr>
              <a:xfrm>
                <a:off x="7261486" y="3017338"/>
                <a:ext cx="425309" cy="137348"/>
              </a:xfrm>
              <a:prstGeom prst="rect">
                <a:avLst/>
              </a:prstGeom>
              <a:solidFill>
                <a:schemeClr val="bg1"/>
              </a:solidFill>
            </p:spPr>
            <p:txBody>
              <a:bodyPr wrap="square" lIns="0" tIns="0" rIns="0" bIns="0">
                <a:noAutofit/>
              </a:bodyPr>
              <a:lstStyle/>
              <a:p>
                <a:pPr lvl="0" algn="ctr" defTabSz="932742">
                  <a:lnSpc>
                    <a:spcPct val="90000"/>
                  </a:lnSpc>
                  <a:spcAft>
                    <a:spcPts val="600"/>
                  </a:spcAft>
                  <a:defRPr/>
                </a:pPr>
                <a:r>
                  <a:rPr lang="en-US" sz="900" kern="0" dirty="0">
                    <a:solidFill>
                      <a:schemeClr val="tx2"/>
                    </a:solidFill>
                    <a:ea typeface="Arial Unicode MS" panose="020B0604020202020204" pitchFamily="34" charset="-128"/>
                    <a:cs typeface="Arial Unicode MS" panose="020B0604020202020204" pitchFamily="34" charset="-128"/>
                  </a:rPr>
                  <a:t>Block 2 </a:t>
                </a:r>
              </a:p>
            </p:txBody>
          </p:sp>
          <p:pic>
            <p:nvPicPr>
              <p:cNvPr id="83" name="Picture 2" descr="\\MAGNUM\Projects\Microsoft\Cloud Power FY12\Design\ICONS_PNG\Server.png"/>
              <p:cNvPicPr>
                <a:picLocks noChangeArrowheads="1"/>
              </p:cNvPicPr>
              <p:nvPr/>
            </p:nvPicPr>
            <p:blipFill rotWithShape="1">
              <a:blip r:embed="rId4" cstate="print">
                <a:lum bright="100000"/>
              </a:blip>
              <a:srcRect l="19080" t="11111" r="18421" b="73453"/>
              <a:stretch/>
            </p:blipFill>
            <p:spPr bwMode="auto">
              <a:xfrm>
                <a:off x="7235107" y="2865889"/>
                <a:ext cx="557784" cy="135502"/>
              </a:xfrm>
              <a:prstGeom prst="rect">
                <a:avLst/>
              </a:prstGeom>
              <a:noFill/>
            </p:spPr>
          </p:pic>
        </p:grpSp>
        <p:grpSp>
          <p:nvGrpSpPr>
            <p:cNvPr id="84" name="Group 83"/>
            <p:cNvGrpSpPr/>
            <p:nvPr/>
          </p:nvGrpSpPr>
          <p:grpSpPr>
            <a:xfrm>
              <a:off x="9715165" y="2668529"/>
              <a:ext cx="813348" cy="585287"/>
              <a:chOff x="7230343" y="2865889"/>
              <a:chExt cx="565425" cy="406881"/>
            </a:xfrm>
          </p:grpSpPr>
          <p:pic>
            <p:nvPicPr>
              <p:cNvPr id="85" name="Picture 2" descr="\\MAGNUM\Projects\Microsoft\Cloud Power FY12\Design\ICONS_PNG\Server.png"/>
              <p:cNvPicPr>
                <a:picLocks noChangeAspect="1" noChangeArrowheads="1"/>
              </p:cNvPicPr>
              <p:nvPr/>
            </p:nvPicPr>
            <p:blipFill rotWithShape="1">
              <a:blip r:embed="rId4" cstate="print">
                <a:lum bright="100000"/>
              </a:blip>
              <a:srcRect l="19080" t="53857" r="18421" b="10243"/>
              <a:stretch/>
            </p:blipFill>
            <p:spPr bwMode="auto">
              <a:xfrm>
                <a:off x="7230343" y="2947987"/>
                <a:ext cx="565425" cy="324783"/>
              </a:xfrm>
              <a:prstGeom prst="rect">
                <a:avLst/>
              </a:prstGeom>
              <a:noFill/>
            </p:spPr>
          </p:pic>
          <p:sp>
            <p:nvSpPr>
              <p:cNvPr id="90" name="Rectangle 89"/>
              <p:cNvSpPr/>
              <p:nvPr/>
            </p:nvSpPr>
            <p:spPr>
              <a:xfrm>
                <a:off x="7261486" y="3017338"/>
                <a:ext cx="425309" cy="137348"/>
              </a:xfrm>
              <a:prstGeom prst="rect">
                <a:avLst/>
              </a:prstGeom>
              <a:solidFill>
                <a:schemeClr val="bg1"/>
              </a:solidFill>
            </p:spPr>
            <p:txBody>
              <a:bodyPr wrap="square" lIns="0" tIns="0" rIns="0" bIns="0">
                <a:noAutofit/>
              </a:bodyPr>
              <a:lstStyle/>
              <a:p>
                <a:pPr lvl="0" algn="ctr" defTabSz="932742">
                  <a:lnSpc>
                    <a:spcPct val="90000"/>
                  </a:lnSpc>
                  <a:spcAft>
                    <a:spcPts val="600"/>
                  </a:spcAft>
                  <a:defRPr/>
                </a:pPr>
                <a:r>
                  <a:rPr lang="en-US" sz="900" kern="0" dirty="0">
                    <a:solidFill>
                      <a:schemeClr val="tx2"/>
                    </a:solidFill>
                    <a:ea typeface="Arial Unicode MS" panose="020B0604020202020204" pitchFamily="34" charset="-128"/>
                    <a:cs typeface="Arial Unicode MS" panose="020B0604020202020204" pitchFamily="34" charset="-128"/>
                  </a:rPr>
                  <a:t>Block 2 </a:t>
                </a:r>
              </a:p>
            </p:txBody>
          </p:sp>
          <p:pic>
            <p:nvPicPr>
              <p:cNvPr id="91" name="Picture 2" descr="\\MAGNUM\Projects\Microsoft\Cloud Power FY12\Design\ICONS_PNG\Server.png"/>
              <p:cNvPicPr>
                <a:picLocks noChangeArrowheads="1"/>
              </p:cNvPicPr>
              <p:nvPr/>
            </p:nvPicPr>
            <p:blipFill rotWithShape="1">
              <a:blip r:embed="rId4" cstate="print">
                <a:lum bright="100000"/>
              </a:blip>
              <a:srcRect l="19080" t="11111" r="18421" b="73453"/>
              <a:stretch/>
            </p:blipFill>
            <p:spPr bwMode="auto">
              <a:xfrm>
                <a:off x="7235105" y="2865889"/>
                <a:ext cx="557784" cy="135502"/>
              </a:xfrm>
              <a:prstGeom prst="rect">
                <a:avLst/>
              </a:prstGeom>
              <a:noFill/>
            </p:spPr>
          </p:pic>
        </p:grpSp>
      </p:grpSp>
      <p:grpSp>
        <p:nvGrpSpPr>
          <p:cNvPr id="9" name="Group 8"/>
          <p:cNvGrpSpPr/>
          <p:nvPr/>
        </p:nvGrpSpPr>
        <p:grpSpPr>
          <a:xfrm>
            <a:off x="6243858" y="3755923"/>
            <a:ext cx="5404449" cy="1605912"/>
            <a:chOff x="6243858" y="3755923"/>
            <a:chExt cx="5404449" cy="1605912"/>
          </a:xfrm>
        </p:grpSpPr>
        <p:sp>
          <p:nvSpPr>
            <p:cNvPr id="19" name="Rectangle 18"/>
            <p:cNvSpPr/>
            <p:nvPr/>
          </p:nvSpPr>
          <p:spPr bwMode="auto">
            <a:xfrm>
              <a:off x="6243858" y="3755923"/>
              <a:ext cx="5404449" cy="1605912"/>
            </a:xfrm>
            <a:prstGeom prst="rect">
              <a:avLst/>
            </a:prstGeom>
            <a:solidFill>
              <a:schemeClr val="bg1">
                <a:lumMod val="95000"/>
              </a:schemeClr>
            </a:solidFill>
            <a:ln w="3175" cap="flat" cmpd="sng" algn="ctr">
              <a:noFill/>
              <a:prstDash val="solid"/>
              <a:headEnd type="none" w="med" len="med"/>
              <a:tailEnd type="none" w="med" len="med"/>
            </a:ln>
            <a:effectLst/>
          </p:spPr>
          <p:txBody>
            <a:bodyPr vert="horz" wrap="square" lIns="0" tIns="46637" rIns="0" bIns="46637" numCol="1" rtlCol="0" anchor="b" anchorCtr="0" compatLnSpc="1">
              <a:prstTxWarp prst="textNoShape">
                <a:avLst/>
              </a:prstTxWarp>
              <a:noAutofit/>
            </a:bodyPr>
            <a:lstStyle/>
            <a:p>
              <a:pPr lvl="0" algn="ctr" defTabSz="932472" fontAlgn="base">
                <a:spcBef>
                  <a:spcPct val="0"/>
                </a:spcBef>
                <a:spcAft>
                  <a:spcPct val="0"/>
                </a:spcAft>
                <a:defRPr/>
              </a:pPr>
              <a:r>
                <a:rPr lang="en-US" sz="1200" kern="0" dirty="0">
                  <a:solidFill>
                    <a:schemeClr val="tx2"/>
                  </a:solidFill>
                </a:rPr>
                <a:t>Backend Storage</a:t>
              </a:r>
            </a:p>
          </p:txBody>
        </p:sp>
        <p:sp>
          <p:nvSpPr>
            <p:cNvPr id="21" name="Rectangle 20"/>
            <p:cNvSpPr/>
            <p:nvPr/>
          </p:nvSpPr>
          <p:spPr bwMode="auto">
            <a:xfrm>
              <a:off x="6335951" y="3874409"/>
              <a:ext cx="831416" cy="1123171"/>
            </a:xfrm>
            <a:prstGeom prst="rect">
              <a:avLst/>
            </a:prstGeom>
            <a:solidFill>
              <a:schemeClr val="accent1"/>
            </a:solidFill>
            <a:ln w="3175" cap="flat" cmpd="sng" algn="ctr">
              <a:noFill/>
              <a:prstDash val="solid"/>
              <a:headEnd type="none" w="med" len="med"/>
              <a:tailEnd type="none" w="med" len="med"/>
            </a:ln>
            <a:effectLst/>
          </p:spPr>
          <p:txBody>
            <a:bodyPr vert="horz" wrap="square" lIns="91440" tIns="45720" rIns="91440" bIns="45720" numCol="1" rtlCol="0" anchor="b" anchorCtr="0" compatLnSpc="1">
              <a:prstTxWarp prst="textNoShape">
                <a:avLst/>
              </a:prstTxWarp>
              <a:noAutofit/>
            </a:bodyPr>
            <a:lstStyle/>
            <a:p>
              <a:pPr lvl="0" algn="ctr" defTabSz="932742">
                <a:lnSpc>
                  <a:spcPct val="90000"/>
                </a:lnSpc>
                <a:spcAft>
                  <a:spcPts val="600"/>
                </a:spcAft>
                <a:defRPr/>
              </a:pPr>
              <a:r>
                <a:rPr lang="en-US" sz="800" kern="0" dirty="0">
                  <a:solidFill>
                    <a:schemeClr val="bg1"/>
                  </a:solidFill>
                </a:rPr>
                <a:t>Data node</a:t>
              </a:r>
            </a:p>
          </p:txBody>
        </p:sp>
        <p:sp>
          <p:nvSpPr>
            <p:cNvPr id="23" name="Rectangle 22"/>
            <p:cNvSpPr/>
            <p:nvPr/>
          </p:nvSpPr>
          <p:spPr bwMode="auto">
            <a:xfrm>
              <a:off x="8076982" y="3869995"/>
              <a:ext cx="831416" cy="1127584"/>
            </a:xfrm>
            <a:prstGeom prst="rect">
              <a:avLst/>
            </a:prstGeom>
            <a:solidFill>
              <a:schemeClr val="accent1"/>
            </a:solidFill>
            <a:ln w="3175" cap="flat" cmpd="sng" algn="ctr">
              <a:noFill/>
              <a:prstDash val="solid"/>
              <a:headEnd type="none" w="med" len="med"/>
              <a:tailEnd type="none" w="med" len="med"/>
            </a:ln>
            <a:effectLst/>
          </p:spPr>
          <p:txBody>
            <a:bodyPr vert="horz" wrap="square" lIns="91440" tIns="45720" rIns="91440" bIns="45720" numCol="1" rtlCol="0" anchor="b" anchorCtr="0" compatLnSpc="1">
              <a:prstTxWarp prst="textNoShape">
                <a:avLst/>
              </a:prstTxWarp>
              <a:noAutofit/>
            </a:bodyPr>
            <a:lstStyle/>
            <a:p>
              <a:pPr lvl="0" algn="ctr" defTabSz="932742">
                <a:lnSpc>
                  <a:spcPct val="90000"/>
                </a:lnSpc>
                <a:spcAft>
                  <a:spcPts val="600"/>
                </a:spcAft>
                <a:defRPr/>
              </a:pPr>
              <a:r>
                <a:rPr lang="en-US" sz="800" kern="0" dirty="0">
                  <a:solidFill>
                    <a:schemeClr val="bg1"/>
                  </a:solidFill>
                </a:rPr>
                <a:t>Data node</a:t>
              </a:r>
            </a:p>
          </p:txBody>
        </p:sp>
        <p:sp>
          <p:nvSpPr>
            <p:cNvPr id="25" name="Rectangle 24"/>
            <p:cNvSpPr/>
            <p:nvPr/>
          </p:nvSpPr>
          <p:spPr bwMode="auto">
            <a:xfrm>
              <a:off x="8983769" y="3869995"/>
              <a:ext cx="831416" cy="1127583"/>
            </a:xfrm>
            <a:prstGeom prst="rect">
              <a:avLst/>
            </a:prstGeom>
            <a:solidFill>
              <a:schemeClr val="accent1"/>
            </a:solidFill>
            <a:ln w="3175" cap="flat" cmpd="sng" algn="ctr">
              <a:noFill/>
              <a:prstDash val="solid"/>
              <a:headEnd type="none" w="med" len="med"/>
              <a:tailEnd type="none" w="med" len="med"/>
            </a:ln>
            <a:effectLst/>
          </p:spPr>
          <p:txBody>
            <a:bodyPr vert="horz" wrap="square" lIns="91440" tIns="45720" rIns="91440" bIns="45720" numCol="1" rtlCol="0" anchor="b" anchorCtr="0" compatLnSpc="1">
              <a:prstTxWarp prst="textNoShape">
                <a:avLst/>
              </a:prstTxWarp>
              <a:noAutofit/>
            </a:bodyPr>
            <a:lstStyle/>
            <a:p>
              <a:pPr lvl="0" algn="ctr" defTabSz="932742">
                <a:lnSpc>
                  <a:spcPct val="90000"/>
                </a:lnSpc>
                <a:spcAft>
                  <a:spcPts val="600"/>
                </a:spcAft>
                <a:defRPr/>
              </a:pPr>
              <a:r>
                <a:rPr lang="en-US" sz="800" kern="0" dirty="0">
                  <a:solidFill>
                    <a:schemeClr val="bg1"/>
                  </a:solidFill>
                </a:rPr>
                <a:t>Data node</a:t>
              </a:r>
            </a:p>
          </p:txBody>
        </p:sp>
        <p:sp>
          <p:nvSpPr>
            <p:cNvPr id="27" name="Rectangle 26"/>
            <p:cNvSpPr/>
            <p:nvPr/>
          </p:nvSpPr>
          <p:spPr bwMode="auto">
            <a:xfrm>
              <a:off x="9854284" y="3869995"/>
              <a:ext cx="831416" cy="1127581"/>
            </a:xfrm>
            <a:prstGeom prst="rect">
              <a:avLst/>
            </a:prstGeom>
            <a:solidFill>
              <a:schemeClr val="accent1"/>
            </a:solidFill>
            <a:ln w="3175" cap="flat" cmpd="sng" algn="ctr">
              <a:noFill/>
              <a:prstDash val="solid"/>
              <a:headEnd type="none" w="med" len="med"/>
              <a:tailEnd type="none" w="med" len="med"/>
            </a:ln>
            <a:effectLst/>
          </p:spPr>
          <p:txBody>
            <a:bodyPr vert="horz" wrap="square" lIns="91440" tIns="45720" rIns="91440" bIns="45720" numCol="1" rtlCol="0" anchor="b" anchorCtr="0" compatLnSpc="1">
              <a:prstTxWarp prst="textNoShape">
                <a:avLst/>
              </a:prstTxWarp>
              <a:noAutofit/>
            </a:bodyPr>
            <a:lstStyle/>
            <a:p>
              <a:pPr lvl="0" algn="ctr" defTabSz="932742">
                <a:lnSpc>
                  <a:spcPct val="90000"/>
                </a:lnSpc>
                <a:spcAft>
                  <a:spcPts val="600"/>
                </a:spcAft>
                <a:defRPr/>
              </a:pPr>
              <a:r>
                <a:rPr lang="en-US" sz="800" kern="0" dirty="0">
                  <a:solidFill>
                    <a:schemeClr val="bg1"/>
                  </a:solidFill>
                </a:rPr>
                <a:t>Data node</a:t>
              </a:r>
            </a:p>
          </p:txBody>
        </p:sp>
        <p:sp>
          <p:nvSpPr>
            <p:cNvPr id="29" name="Rectangle 28"/>
            <p:cNvSpPr/>
            <p:nvPr/>
          </p:nvSpPr>
          <p:spPr bwMode="auto">
            <a:xfrm>
              <a:off x="10714365" y="3869995"/>
              <a:ext cx="831416" cy="1127581"/>
            </a:xfrm>
            <a:prstGeom prst="rect">
              <a:avLst/>
            </a:prstGeom>
            <a:solidFill>
              <a:schemeClr val="accent1"/>
            </a:solidFill>
            <a:ln w="3175" cap="flat" cmpd="sng" algn="ctr">
              <a:noFill/>
              <a:prstDash val="solid"/>
              <a:headEnd type="none" w="med" len="med"/>
              <a:tailEnd type="none" w="med" len="med"/>
            </a:ln>
            <a:effectLst/>
          </p:spPr>
          <p:txBody>
            <a:bodyPr vert="horz" wrap="square" lIns="91440" tIns="45720" rIns="91440" bIns="45720" numCol="1" rtlCol="0" anchor="b" anchorCtr="0" compatLnSpc="1">
              <a:prstTxWarp prst="textNoShape">
                <a:avLst/>
              </a:prstTxWarp>
              <a:noAutofit/>
            </a:bodyPr>
            <a:lstStyle/>
            <a:p>
              <a:pPr lvl="0" algn="ctr" defTabSz="932742">
                <a:lnSpc>
                  <a:spcPct val="90000"/>
                </a:lnSpc>
                <a:spcAft>
                  <a:spcPts val="600"/>
                </a:spcAft>
                <a:defRPr/>
              </a:pPr>
              <a:r>
                <a:rPr lang="en-US" sz="800" kern="0" dirty="0">
                  <a:solidFill>
                    <a:schemeClr val="bg1"/>
                  </a:solidFill>
                </a:rPr>
                <a:t>Data node</a:t>
              </a:r>
            </a:p>
          </p:txBody>
        </p:sp>
        <p:sp>
          <p:nvSpPr>
            <p:cNvPr id="31" name="Rectangle 30"/>
            <p:cNvSpPr/>
            <p:nvPr/>
          </p:nvSpPr>
          <p:spPr bwMode="auto">
            <a:xfrm>
              <a:off x="7206466" y="3869995"/>
              <a:ext cx="831416" cy="1127585"/>
            </a:xfrm>
            <a:prstGeom prst="rect">
              <a:avLst/>
            </a:prstGeom>
            <a:solidFill>
              <a:schemeClr val="accent1"/>
            </a:solidFill>
            <a:ln w="3175" cap="flat" cmpd="sng" algn="ctr">
              <a:noFill/>
              <a:prstDash val="solid"/>
              <a:headEnd type="none" w="med" len="med"/>
              <a:tailEnd type="none" w="med" len="med"/>
            </a:ln>
            <a:effectLst/>
          </p:spPr>
          <p:txBody>
            <a:bodyPr vert="horz" wrap="square" lIns="91440" tIns="45720" rIns="91440" bIns="45720" numCol="1" rtlCol="0" anchor="b" anchorCtr="0" compatLnSpc="1">
              <a:prstTxWarp prst="textNoShape">
                <a:avLst/>
              </a:prstTxWarp>
              <a:noAutofit/>
            </a:bodyPr>
            <a:lstStyle/>
            <a:p>
              <a:pPr lvl="0" algn="ctr" defTabSz="932742">
                <a:lnSpc>
                  <a:spcPct val="90000"/>
                </a:lnSpc>
                <a:spcAft>
                  <a:spcPts val="600"/>
                </a:spcAft>
                <a:defRPr/>
              </a:pPr>
              <a:r>
                <a:rPr lang="en-US" sz="800" kern="0" dirty="0">
                  <a:solidFill>
                    <a:schemeClr val="bg1"/>
                  </a:solidFill>
                </a:rPr>
                <a:t>Data node</a:t>
              </a:r>
            </a:p>
          </p:txBody>
        </p:sp>
        <p:grpSp>
          <p:nvGrpSpPr>
            <p:cNvPr id="68" name="Group 67"/>
            <p:cNvGrpSpPr/>
            <p:nvPr/>
          </p:nvGrpSpPr>
          <p:grpSpPr>
            <a:xfrm>
              <a:off x="6468946" y="4012744"/>
              <a:ext cx="565425" cy="711494"/>
              <a:chOff x="7196823" y="2632752"/>
              <a:chExt cx="565425" cy="711494"/>
            </a:xfrm>
          </p:grpSpPr>
          <p:pic>
            <p:nvPicPr>
              <p:cNvPr id="74" name="Picture 2" descr="\\MAGNUM\Projects\Microsoft\Cloud Power FY12\Design\ICONS_PNG\Server.png"/>
              <p:cNvPicPr>
                <a:picLocks noChangeAspect="1" noChangeArrowheads="1"/>
              </p:cNvPicPr>
              <p:nvPr/>
            </p:nvPicPr>
            <p:blipFill rotWithShape="1">
              <a:blip r:embed="rId4" cstate="print">
                <a:lum bright="100000"/>
              </a:blip>
              <a:srcRect l="19080" t="11111" r="18421" b="10243"/>
              <a:stretch/>
            </p:blipFill>
            <p:spPr bwMode="auto">
              <a:xfrm>
                <a:off x="7196823" y="2632752"/>
                <a:ext cx="565425" cy="711494"/>
              </a:xfrm>
              <a:prstGeom prst="rect">
                <a:avLst/>
              </a:prstGeom>
              <a:noFill/>
            </p:spPr>
          </p:pic>
          <p:sp>
            <p:nvSpPr>
              <p:cNvPr id="76" name="Rectangle 75"/>
              <p:cNvSpPr/>
              <p:nvPr/>
            </p:nvSpPr>
            <p:spPr>
              <a:xfrm>
                <a:off x="7280415" y="3097550"/>
                <a:ext cx="295938" cy="124650"/>
              </a:xfrm>
              <a:prstGeom prst="rect">
                <a:avLst/>
              </a:prstGeom>
              <a:solidFill>
                <a:schemeClr val="bg1"/>
              </a:solidFill>
            </p:spPr>
            <p:txBody>
              <a:bodyPr wrap="square" lIns="0" tIns="0" rIns="0" bIns="0">
                <a:spAutoFit/>
              </a:bodyPr>
              <a:lstStyle/>
              <a:p>
                <a:pPr lvl="0" algn="ctr" defTabSz="932742">
                  <a:lnSpc>
                    <a:spcPct val="90000"/>
                  </a:lnSpc>
                  <a:spcAft>
                    <a:spcPts val="600"/>
                  </a:spcAft>
                  <a:defRPr/>
                </a:pPr>
                <a:r>
                  <a:rPr lang="en-US" sz="900" kern="0" dirty="0">
                    <a:solidFill>
                      <a:schemeClr val="tx2"/>
                    </a:solidFill>
                    <a:ea typeface="Arial Unicode MS" panose="020B0604020202020204" pitchFamily="34" charset="-128"/>
                    <a:cs typeface="Arial Unicode MS" panose="020B0604020202020204" pitchFamily="34" charset="-128"/>
                  </a:rPr>
                  <a:t>Block </a:t>
                </a:r>
              </a:p>
            </p:txBody>
          </p:sp>
        </p:grpSp>
        <p:grpSp>
          <p:nvGrpSpPr>
            <p:cNvPr id="93" name="Group 92"/>
            <p:cNvGrpSpPr/>
            <p:nvPr/>
          </p:nvGrpSpPr>
          <p:grpSpPr>
            <a:xfrm>
              <a:off x="7339461" y="4012744"/>
              <a:ext cx="565425" cy="711494"/>
              <a:chOff x="7196823" y="2632752"/>
              <a:chExt cx="565425" cy="711494"/>
            </a:xfrm>
          </p:grpSpPr>
          <p:pic>
            <p:nvPicPr>
              <p:cNvPr id="94" name="Picture 2" descr="\\MAGNUM\Projects\Microsoft\Cloud Power FY12\Design\ICONS_PNG\Server.png"/>
              <p:cNvPicPr>
                <a:picLocks noChangeAspect="1" noChangeArrowheads="1"/>
              </p:cNvPicPr>
              <p:nvPr/>
            </p:nvPicPr>
            <p:blipFill rotWithShape="1">
              <a:blip r:embed="rId4" cstate="print">
                <a:lum bright="100000"/>
              </a:blip>
              <a:srcRect l="19080" t="11111" r="18421" b="10243"/>
              <a:stretch/>
            </p:blipFill>
            <p:spPr bwMode="auto">
              <a:xfrm>
                <a:off x="7196823" y="2632752"/>
                <a:ext cx="565425" cy="711494"/>
              </a:xfrm>
              <a:prstGeom prst="rect">
                <a:avLst/>
              </a:prstGeom>
              <a:noFill/>
            </p:spPr>
          </p:pic>
          <p:sp>
            <p:nvSpPr>
              <p:cNvPr id="95" name="Rectangle 94"/>
              <p:cNvSpPr/>
              <p:nvPr/>
            </p:nvSpPr>
            <p:spPr>
              <a:xfrm>
                <a:off x="7280415" y="3097550"/>
                <a:ext cx="295938" cy="124650"/>
              </a:xfrm>
              <a:prstGeom prst="rect">
                <a:avLst/>
              </a:prstGeom>
              <a:solidFill>
                <a:schemeClr val="bg1"/>
              </a:solidFill>
            </p:spPr>
            <p:txBody>
              <a:bodyPr wrap="square" lIns="0" tIns="0" rIns="0" bIns="0">
                <a:spAutoFit/>
              </a:bodyPr>
              <a:lstStyle/>
              <a:p>
                <a:pPr lvl="0" algn="ctr" defTabSz="932742">
                  <a:lnSpc>
                    <a:spcPct val="90000"/>
                  </a:lnSpc>
                  <a:spcAft>
                    <a:spcPts val="600"/>
                  </a:spcAft>
                  <a:defRPr/>
                </a:pPr>
                <a:r>
                  <a:rPr lang="en-US" sz="900" kern="0" dirty="0">
                    <a:solidFill>
                      <a:schemeClr val="tx2"/>
                    </a:solidFill>
                    <a:ea typeface="Arial Unicode MS" panose="020B0604020202020204" pitchFamily="34" charset="-128"/>
                    <a:cs typeface="Arial Unicode MS" panose="020B0604020202020204" pitchFamily="34" charset="-128"/>
                  </a:rPr>
                  <a:t>Block </a:t>
                </a:r>
              </a:p>
            </p:txBody>
          </p:sp>
        </p:grpSp>
        <p:grpSp>
          <p:nvGrpSpPr>
            <p:cNvPr id="96" name="Group 95"/>
            <p:cNvGrpSpPr/>
            <p:nvPr/>
          </p:nvGrpSpPr>
          <p:grpSpPr>
            <a:xfrm>
              <a:off x="8204759" y="4012744"/>
              <a:ext cx="565425" cy="711494"/>
              <a:chOff x="7196823" y="2632752"/>
              <a:chExt cx="565425" cy="711494"/>
            </a:xfrm>
          </p:grpSpPr>
          <p:pic>
            <p:nvPicPr>
              <p:cNvPr id="97" name="Picture 2" descr="\\MAGNUM\Projects\Microsoft\Cloud Power FY12\Design\ICONS_PNG\Server.png"/>
              <p:cNvPicPr>
                <a:picLocks noChangeAspect="1" noChangeArrowheads="1"/>
              </p:cNvPicPr>
              <p:nvPr/>
            </p:nvPicPr>
            <p:blipFill rotWithShape="1">
              <a:blip r:embed="rId4" cstate="print">
                <a:lum bright="100000"/>
              </a:blip>
              <a:srcRect l="19080" t="11111" r="18421" b="10243"/>
              <a:stretch/>
            </p:blipFill>
            <p:spPr bwMode="auto">
              <a:xfrm>
                <a:off x="7196823" y="2632752"/>
                <a:ext cx="565425" cy="711494"/>
              </a:xfrm>
              <a:prstGeom prst="rect">
                <a:avLst/>
              </a:prstGeom>
              <a:noFill/>
            </p:spPr>
          </p:pic>
          <p:sp>
            <p:nvSpPr>
              <p:cNvPr id="98" name="Rectangle 97"/>
              <p:cNvSpPr/>
              <p:nvPr/>
            </p:nvSpPr>
            <p:spPr>
              <a:xfrm>
                <a:off x="7280415" y="3097550"/>
                <a:ext cx="295938" cy="124650"/>
              </a:xfrm>
              <a:prstGeom prst="rect">
                <a:avLst/>
              </a:prstGeom>
              <a:solidFill>
                <a:schemeClr val="bg1"/>
              </a:solidFill>
            </p:spPr>
            <p:txBody>
              <a:bodyPr wrap="square" lIns="0" tIns="0" rIns="0" bIns="0">
                <a:spAutoFit/>
              </a:bodyPr>
              <a:lstStyle/>
              <a:p>
                <a:pPr lvl="0" algn="ctr" defTabSz="932742">
                  <a:lnSpc>
                    <a:spcPct val="90000"/>
                  </a:lnSpc>
                  <a:spcAft>
                    <a:spcPts val="600"/>
                  </a:spcAft>
                  <a:defRPr/>
                </a:pPr>
                <a:r>
                  <a:rPr lang="en-US" sz="900" kern="0" dirty="0">
                    <a:solidFill>
                      <a:schemeClr val="tx2"/>
                    </a:solidFill>
                    <a:ea typeface="Arial Unicode MS" panose="020B0604020202020204" pitchFamily="34" charset="-128"/>
                    <a:cs typeface="Arial Unicode MS" panose="020B0604020202020204" pitchFamily="34" charset="-128"/>
                  </a:rPr>
                  <a:t>Block </a:t>
                </a:r>
              </a:p>
            </p:txBody>
          </p:sp>
        </p:grpSp>
        <p:grpSp>
          <p:nvGrpSpPr>
            <p:cNvPr id="99" name="Group 98"/>
            <p:cNvGrpSpPr/>
            <p:nvPr/>
          </p:nvGrpSpPr>
          <p:grpSpPr>
            <a:xfrm>
              <a:off x="9116764" y="4012744"/>
              <a:ext cx="565425" cy="711494"/>
              <a:chOff x="7196823" y="2632752"/>
              <a:chExt cx="565425" cy="711494"/>
            </a:xfrm>
          </p:grpSpPr>
          <p:pic>
            <p:nvPicPr>
              <p:cNvPr id="100" name="Picture 2" descr="\\MAGNUM\Projects\Microsoft\Cloud Power FY12\Design\ICONS_PNG\Server.png"/>
              <p:cNvPicPr>
                <a:picLocks noChangeAspect="1" noChangeArrowheads="1"/>
              </p:cNvPicPr>
              <p:nvPr/>
            </p:nvPicPr>
            <p:blipFill rotWithShape="1">
              <a:blip r:embed="rId4" cstate="print">
                <a:lum bright="100000"/>
              </a:blip>
              <a:srcRect l="19080" t="11111" r="18421" b="10243"/>
              <a:stretch/>
            </p:blipFill>
            <p:spPr bwMode="auto">
              <a:xfrm>
                <a:off x="7196823" y="2632752"/>
                <a:ext cx="565425" cy="711494"/>
              </a:xfrm>
              <a:prstGeom prst="rect">
                <a:avLst/>
              </a:prstGeom>
              <a:noFill/>
            </p:spPr>
          </p:pic>
          <p:sp>
            <p:nvSpPr>
              <p:cNvPr id="101" name="Rectangle 100"/>
              <p:cNvSpPr/>
              <p:nvPr/>
            </p:nvSpPr>
            <p:spPr>
              <a:xfrm>
                <a:off x="7280415" y="3097550"/>
                <a:ext cx="295938" cy="124650"/>
              </a:xfrm>
              <a:prstGeom prst="rect">
                <a:avLst/>
              </a:prstGeom>
              <a:solidFill>
                <a:schemeClr val="bg1"/>
              </a:solidFill>
            </p:spPr>
            <p:txBody>
              <a:bodyPr wrap="square" lIns="0" tIns="0" rIns="0" bIns="0">
                <a:spAutoFit/>
              </a:bodyPr>
              <a:lstStyle/>
              <a:p>
                <a:pPr lvl="0" algn="ctr" defTabSz="932742">
                  <a:lnSpc>
                    <a:spcPct val="90000"/>
                  </a:lnSpc>
                  <a:spcAft>
                    <a:spcPts val="600"/>
                  </a:spcAft>
                  <a:defRPr/>
                </a:pPr>
                <a:r>
                  <a:rPr lang="en-US" sz="900" kern="0" dirty="0">
                    <a:solidFill>
                      <a:schemeClr val="tx2"/>
                    </a:solidFill>
                    <a:ea typeface="Arial Unicode MS" panose="020B0604020202020204" pitchFamily="34" charset="-128"/>
                    <a:cs typeface="Arial Unicode MS" panose="020B0604020202020204" pitchFamily="34" charset="-128"/>
                  </a:rPr>
                  <a:t>Block </a:t>
                </a:r>
              </a:p>
            </p:txBody>
          </p:sp>
        </p:grpSp>
        <p:grpSp>
          <p:nvGrpSpPr>
            <p:cNvPr id="102" name="Group 101"/>
            <p:cNvGrpSpPr/>
            <p:nvPr/>
          </p:nvGrpSpPr>
          <p:grpSpPr>
            <a:xfrm>
              <a:off x="9982062" y="4012744"/>
              <a:ext cx="565425" cy="711494"/>
              <a:chOff x="7196823" y="2632752"/>
              <a:chExt cx="565425" cy="711494"/>
            </a:xfrm>
          </p:grpSpPr>
          <p:pic>
            <p:nvPicPr>
              <p:cNvPr id="103" name="Picture 2" descr="\\MAGNUM\Projects\Microsoft\Cloud Power FY12\Design\ICONS_PNG\Server.png"/>
              <p:cNvPicPr>
                <a:picLocks noChangeAspect="1" noChangeArrowheads="1"/>
              </p:cNvPicPr>
              <p:nvPr/>
            </p:nvPicPr>
            <p:blipFill rotWithShape="1">
              <a:blip r:embed="rId4" cstate="print">
                <a:lum bright="100000"/>
              </a:blip>
              <a:srcRect l="19080" t="11111" r="18421" b="10243"/>
              <a:stretch/>
            </p:blipFill>
            <p:spPr bwMode="auto">
              <a:xfrm>
                <a:off x="7196823" y="2632752"/>
                <a:ext cx="565425" cy="711494"/>
              </a:xfrm>
              <a:prstGeom prst="rect">
                <a:avLst/>
              </a:prstGeom>
              <a:noFill/>
            </p:spPr>
          </p:pic>
          <p:sp>
            <p:nvSpPr>
              <p:cNvPr id="104" name="Rectangle 103"/>
              <p:cNvSpPr/>
              <p:nvPr/>
            </p:nvSpPr>
            <p:spPr>
              <a:xfrm>
                <a:off x="7280415" y="3097550"/>
                <a:ext cx="295938" cy="124650"/>
              </a:xfrm>
              <a:prstGeom prst="rect">
                <a:avLst/>
              </a:prstGeom>
              <a:solidFill>
                <a:schemeClr val="bg1"/>
              </a:solidFill>
            </p:spPr>
            <p:txBody>
              <a:bodyPr wrap="square" lIns="0" tIns="0" rIns="0" bIns="0">
                <a:spAutoFit/>
              </a:bodyPr>
              <a:lstStyle/>
              <a:p>
                <a:pPr lvl="0" algn="ctr" defTabSz="932742">
                  <a:lnSpc>
                    <a:spcPct val="90000"/>
                  </a:lnSpc>
                  <a:spcAft>
                    <a:spcPts val="600"/>
                  </a:spcAft>
                  <a:defRPr/>
                </a:pPr>
                <a:r>
                  <a:rPr lang="en-US" sz="900" kern="0" dirty="0">
                    <a:solidFill>
                      <a:schemeClr val="tx2"/>
                    </a:solidFill>
                    <a:ea typeface="Arial Unicode MS" panose="020B0604020202020204" pitchFamily="34" charset="-128"/>
                    <a:cs typeface="Arial Unicode MS" panose="020B0604020202020204" pitchFamily="34" charset="-128"/>
                  </a:rPr>
                  <a:t>Block </a:t>
                </a:r>
              </a:p>
            </p:txBody>
          </p:sp>
        </p:grpSp>
        <p:grpSp>
          <p:nvGrpSpPr>
            <p:cNvPr id="105" name="Group 104"/>
            <p:cNvGrpSpPr/>
            <p:nvPr/>
          </p:nvGrpSpPr>
          <p:grpSpPr>
            <a:xfrm>
              <a:off x="10837855" y="4012744"/>
              <a:ext cx="565425" cy="711494"/>
              <a:chOff x="7196823" y="2632752"/>
              <a:chExt cx="565425" cy="711494"/>
            </a:xfrm>
          </p:grpSpPr>
          <p:pic>
            <p:nvPicPr>
              <p:cNvPr id="106" name="Picture 2" descr="\\MAGNUM\Projects\Microsoft\Cloud Power FY12\Design\ICONS_PNG\Server.png"/>
              <p:cNvPicPr>
                <a:picLocks noChangeAspect="1" noChangeArrowheads="1"/>
              </p:cNvPicPr>
              <p:nvPr/>
            </p:nvPicPr>
            <p:blipFill rotWithShape="1">
              <a:blip r:embed="rId4" cstate="print">
                <a:lum bright="100000"/>
              </a:blip>
              <a:srcRect l="19080" t="11111" r="18421" b="10243"/>
              <a:stretch/>
            </p:blipFill>
            <p:spPr bwMode="auto">
              <a:xfrm>
                <a:off x="7196823" y="2632752"/>
                <a:ext cx="565425" cy="711494"/>
              </a:xfrm>
              <a:prstGeom prst="rect">
                <a:avLst/>
              </a:prstGeom>
              <a:noFill/>
            </p:spPr>
          </p:pic>
          <p:sp>
            <p:nvSpPr>
              <p:cNvPr id="107" name="Rectangle 106"/>
              <p:cNvSpPr/>
              <p:nvPr/>
            </p:nvSpPr>
            <p:spPr>
              <a:xfrm>
                <a:off x="7280415" y="3097550"/>
                <a:ext cx="295938" cy="124650"/>
              </a:xfrm>
              <a:prstGeom prst="rect">
                <a:avLst/>
              </a:prstGeom>
              <a:solidFill>
                <a:schemeClr val="bg1"/>
              </a:solidFill>
            </p:spPr>
            <p:txBody>
              <a:bodyPr wrap="square" lIns="0" tIns="0" rIns="0" bIns="0">
                <a:spAutoFit/>
              </a:bodyPr>
              <a:lstStyle/>
              <a:p>
                <a:pPr lvl="0" algn="ctr" defTabSz="932742">
                  <a:lnSpc>
                    <a:spcPct val="90000"/>
                  </a:lnSpc>
                  <a:spcAft>
                    <a:spcPts val="600"/>
                  </a:spcAft>
                  <a:defRPr/>
                </a:pPr>
                <a:r>
                  <a:rPr lang="en-US" sz="900" kern="0" dirty="0">
                    <a:solidFill>
                      <a:schemeClr val="tx2"/>
                    </a:solidFill>
                    <a:ea typeface="Arial Unicode MS" panose="020B0604020202020204" pitchFamily="34" charset="-128"/>
                    <a:cs typeface="Arial Unicode MS" panose="020B0604020202020204" pitchFamily="34" charset="-128"/>
                  </a:rPr>
                  <a:t>Block </a:t>
                </a:r>
              </a:p>
            </p:txBody>
          </p:sp>
        </p:grpSp>
      </p:grpSp>
      <p:grpSp>
        <p:nvGrpSpPr>
          <p:cNvPr id="10" name="Group 9"/>
          <p:cNvGrpSpPr/>
          <p:nvPr/>
        </p:nvGrpSpPr>
        <p:grpSpPr>
          <a:xfrm>
            <a:off x="6751659" y="3323303"/>
            <a:ext cx="4378414" cy="551106"/>
            <a:chOff x="6751659" y="3323303"/>
            <a:chExt cx="4378414" cy="551106"/>
          </a:xfrm>
        </p:grpSpPr>
        <p:cxnSp>
          <p:nvCxnSpPr>
            <p:cNvPr id="80" name="Straight Arrow Connector 79"/>
            <p:cNvCxnSpPr>
              <a:endCxn id="31" idx="0"/>
            </p:cNvCxnSpPr>
            <p:nvPr/>
          </p:nvCxnSpPr>
          <p:spPr>
            <a:xfrm>
              <a:off x="7622174" y="3581400"/>
              <a:ext cx="0" cy="288595"/>
            </a:xfrm>
            <a:prstGeom prst="straightConnector1">
              <a:avLst/>
            </a:prstGeom>
            <a:ln>
              <a:solidFill>
                <a:schemeClr val="bg1">
                  <a:lumMod val="50000"/>
                </a:schemeClr>
              </a:solidFill>
              <a:headEnd type="none" w="lg" len="med"/>
              <a:tailEnd type="triangle" w="lg" len="med"/>
            </a:ln>
          </p:spPr>
          <p:style>
            <a:lnRef idx="1">
              <a:schemeClr val="accent1"/>
            </a:lnRef>
            <a:fillRef idx="0">
              <a:schemeClr val="accent1"/>
            </a:fillRef>
            <a:effectRef idx="0">
              <a:schemeClr val="accent1"/>
            </a:effectRef>
            <a:fontRef idx="minor">
              <a:schemeClr val="tx1"/>
            </a:fontRef>
          </p:style>
        </p:cxnSp>
        <p:cxnSp>
          <p:nvCxnSpPr>
            <p:cNvPr id="87" name="Straight Arrow Connector 86"/>
            <p:cNvCxnSpPr/>
            <p:nvPr/>
          </p:nvCxnSpPr>
          <p:spPr>
            <a:xfrm>
              <a:off x="8492690" y="3581400"/>
              <a:ext cx="0" cy="288595"/>
            </a:xfrm>
            <a:prstGeom prst="straightConnector1">
              <a:avLst/>
            </a:prstGeom>
            <a:ln>
              <a:solidFill>
                <a:schemeClr val="bg1">
                  <a:lumMod val="50000"/>
                </a:schemeClr>
              </a:solidFill>
              <a:headEnd type="none" w="lg" len="med"/>
              <a:tailEnd type="triangle" w="lg" len="med"/>
            </a:ln>
          </p:spPr>
          <p:style>
            <a:lnRef idx="1">
              <a:schemeClr val="accent1"/>
            </a:lnRef>
            <a:fillRef idx="0">
              <a:schemeClr val="accent1"/>
            </a:fillRef>
            <a:effectRef idx="0">
              <a:schemeClr val="accent1"/>
            </a:effectRef>
            <a:fontRef idx="minor">
              <a:schemeClr val="tx1"/>
            </a:fontRef>
          </p:style>
        </p:cxnSp>
        <p:cxnSp>
          <p:nvCxnSpPr>
            <p:cNvPr id="88" name="Straight Arrow Connector 87"/>
            <p:cNvCxnSpPr/>
            <p:nvPr/>
          </p:nvCxnSpPr>
          <p:spPr>
            <a:xfrm>
              <a:off x="9399477" y="3581400"/>
              <a:ext cx="0" cy="288595"/>
            </a:xfrm>
            <a:prstGeom prst="straightConnector1">
              <a:avLst/>
            </a:prstGeom>
            <a:ln>
              <a:solidFill>
                <a:schemeClr val="bg1">
                  <a:lumMod val="50000"/>
                </a:schemeClr>
              </a:solidFill>
              <a:headEnd type="none" w="lg" len="med"/>
              <a:tailEnd type="triangle" w="lg" len="med"/>
            </a:ln>
          </p:spPr>
          <p:style>
            <a:lnRef idx="1">
              <a:schemeClr val="accent1"/>
            </a:lnRef>
            <a:fillRef idx="0">
              <a:schemeClr val="accent1"/>
            </a:fillRef>
            <a:effectRef idx="0">
              <a:schemeClr val="accent1"/>
            </a:effectRef>
            <a:fontRef idx="minor">
              <a:schemeClr val="tx1"/>
            </a:fontRef>
          </p:style>
        </p:cxnSp>
        <p:cxnSp>
          <p:nvCxnSpPr>
            <p:cNvPr id="89" name="Straight Arrow Connector 88"/>
            <p:cNvCxnSpPr/>
            <p:nvPr/>
          </p:nvCxnSpPr>
          <p:spPr>
            <a:xfrm>
              <a:off x="10269992" y="3581400"/>
              <a:ext cx="0" cy="288595"/>
            </a:xfrm>
            <a:prstGeom prst="straightConnector1">
              <a:avLst/>
            </a:prstGeom>
            <a:ln>
              <a:solidFill>
                <a:schemeClr val="bg1">
                  <a:lumMod val="50000"/>
                </a:schemeClr>
              </a:solidFill>
              <a:headEnd type="none" w="lg" len="med"/>
              <a:tailEnd type="triangle" w="lg" len="med"/>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flipH="1">
              <a:off x="8943975" y="3323303"/>
              <a:ext cx="2107" cy="258097"/>
            </a:xfrm>
            <a:prstGeom prst="line">
              <a:avLst/>
            </a:prstGeom>
            <a:ln>
              <a:solidFill>
                <a:schemeClr val="bg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7" name="Elbow Connector 76"/>
            <p:cNvCxnSpPr>
              <a:stCxn id="21" idx="0"/>
              <a:endCxn id="29" idx="0"/>
            </p:cNvCxnSpPr>
            <p:nvPr/>
          </p:nvCxnSpPr>
          <p:spPr>
            <a:xfrm rot="5400000" flipH="1" flipV="1">
              <a:off x="8938659" y="1682995"/>
              <a:ext cx="4414" cy="4378414"/>
            </a:xfrm>
            <a:prstGeom prst="bentConnector3">
              <a:avLst>
                <a:gd name="adj1" fmla="val 6573720"/>
              </a:avLst>
            </a:prstGeom>
            <a:ln>
              <a:solidFill>
                <a:schemeClr val="bg1">
                  <a:lumMod val="50000"/>
                </a:schemeClr>
              </a:solidFill>
              <a:headEnd type="triangle" w="lg" len="med"/>
              <a:tailEnd type="triangle" w="lg" len="me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508949220"/>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2000"/>
                            </p:stCondLst>
                            <p:childTnLst>
                              <p:par>
                                <p:cTn id="5" presetID="10" presetClass="entr" presetSubtype="0" fill="hold" grpId="0" nodeType="after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500"/>
                                        <p:tgtEl>
                                          <p:spTgt spid="12"/>
                                        </p:tgtEl>
                                      </p:cBhvr>
                                    </p:animEffect>
                                  </p:childTnLst>
                                </p:cTn>
                              </p:par>
                            </p:childTnLst>
                          </p:cTn>
                        </p:par>
                        <p:par>
                          <p:cTn id="8" fill="hold">
                            <p:stCondLst>
                              <p:cond delay="2500"/>
                            </p:stCondLst>
                            <p:childTnLst>
                              <p:par>
                                <p:cTn id="9" presetID="22" presetClass="entr" presetSubtype="8" fill="hold" nodeType="afterEffect">
                                  <p:stCondLst>
                                    <p:cond delay="0"/>
                                  </p:stCondLst>
                                  <p:childTnLst>
                                    <p:set>
                                      <p:cBhvr>
                                        <p:cTn id="10" dur="1" fill="hold">
                                          <p:stCondLst>
                                            <p:cond delay="0"/>
                                          </p:stCondLst>
                                        </p:cTn>
                                        <p:tgtEl>
                                          <p:spTgt spid="12">
                                            <p:txEl>
                                              <p:pRg st="0" end="0"/>
                                            </p:txEl>
                                          </p:spTgt>
                                        </p:tgtEl>
                                        <p:attrNameLst>
                                          <p:attrName>style.visibility</p:attrName>
                                        </p:attrNameLst>
                                      </p:cBhvr>
                                      <p:to>
                                        <p:strVal val="visible"/>
                                      </p:to>
                                    </p:set>
                                    <p:animEffect transition="in" filter="wipe(left)">
                                      <p:cBhvr>
                                        <p:cTn id="11" dur="1000"/>
                                        <p:tgtEl>
                                          <p:spTgt spid="12">
                                            <p:txEl>
                                              <p:pRg st="0" end="0"/>
                                            </p:txEl>
                                          </p:spTgt>
                                        </p:tgtEl>
                                      </p:cBhvr>
                                    </p:animEffect>
                                  </p:childTnLst>
                                </p:cTn>
                              </p:par>
                            </p:childTnLst>
                          </p:cTn>
                        </p:par>
                        <p:par>
                          <p:cTn id="12" fill="hold">
                            <p:stCondLst>
                              <p:cond delay="3500"/>
                            </p:stCondLst>
                            <p:childTnLst>
                              <p:par>
                                <p:cTn id="13" presetID="22" presetClass="entr" presetSubtype="8" fill="hold" nodeType="afterEffect">
                                  <p:stCondLst>
                                    <p:cond delay="0"/>
                                  </p:stCondLst>
                                  <p:childTnLst>
                                    <p:set>
                                      <p:cBhvr>
                                        <p:cTn id="14" dur="1" fill="hold">
                                          <p:stCondLst>
                                            <p:cond delay="0"/>
                                          </p:stCondLst>
                                        </p:cTn>
                                        <p:tgtEl>
                                          <p:spTgt spid="12">
                                            <p:txEl>
                                              <p:pRg st="1" end="1"/>
                                            </p:txEl>
                                          </p:spTgt>
                                        </p:tgtEl>
                                        <p:attrNameLst>
                                          <p:attrName>style.visibility</p:attrName>
                                        </p:attrNameLst>
                                      </p:cBhvr>
                                      <p:to>
                                        <p:strVal val="visible"/>
                                      </p:to>
                                    </p:set>
                                    <p:animEffect transition="in" filter="wipe(left)">
                                      <p:cBhvr>
                                        <p:cTn id="15" dur="1000"/>
                                        <p:tgtEl>
                                          <p:spTgt spid="12">
                                            <p:txEl>
                                              <p:pRg st="1" end="1"/>
                                            </p:txEl>
                                          </p:spTgt>
                                        </p:tgtEl>
                                      </p:cBhvr>
                                    </p:animEffect>
                                  </p:childTnLst>
                                </p:cTn>
                              </p:par>
                            </p:childTnLst>
                          </p:cTn>
                        </p:par>
                        <p:par>
                          <p:cTn id="16" fill="hold">
                            <p:stCondLst>
                              <p:cond delay="4500"/>
                            </p:stCondLst>
                            <p:childTnLst>
                              <p:par>
                                <p:cTn id="17" presetID="22" presetClass="entr" presetSubtype="8" fill="hold" nodeType="afterEffect">
                                  <p:stCondLst>
                                    <p:cond delay="0"/>
                                  </p:stCondLst>
                                  <p:childTnLst>
                                    <p:set>
                                      <p:cBhvr>
                                        <p:cTn id="18" dur="1" fill="hold">
                                          <p:stCondLst>
                                            <p:cond delay="0"/>
                                          </p:stCondLst>
                                        </p:cTn>
                                        <p:tgtEl>
                                          <p:spTgt spid="12">
                                            <p:txEl>
                                              <p:pRg st="2" end="2"/>
                                            </p:txEl>
                                          </p:spTgt>
                                        </p:tgtEl>
                                        <p:attrNameLst>
                                          <p:attrName>style.visibility</p:attrName>
                                        </p:attrNameLst>
                                      </p:cBhvr>
                                      <p:to>
                                        <p:strVal val="visible"/>
                                      </p:to>
                                    </p:set>
                                    <p:animEffect transition="in" filter="wipe(left)">
                                      <p:cBhvr>
                                        <p:cTn id="19" dur="1000"/>
                                        <p:tgtEl>
                                          <p:spTgt spid="12">
                                            <p:txEl>
                                              <p:pRg st="2" end="2"/>
                                            </p:txEl>
                                          </p:spTgt>
                                        </p:tgtEl>
                                      </p:cBhvr>
                                    </p:animEffect>
                                  </p:childTnLst>
                                </p:cTn>
                              </p:par>
                            </p:childTnLst>
                          </p:cTn>
                        </p:par>
                        <p:par>
                          <p:cTn id="20" fill="hold">
                            <p:stCondLst>
                              <p:cond delay="5500"/>
                            </p:stCondLst>
                            <p:childTnLst>
                              <p:par>
                                <p:cTn id="21" presetID="22" presetClass="entr" presetSubtype="8" fill="hold" nodeType="afterEffect">
                                  <p:stCondLst>
                                    <p:cond delay="0"/>
                                  </p:stCondLst>
                                  <p:childTnLst>
                                    <p:set>
                                      <p:cBhvr>
                                        <p:cTn id="22" dur="1" fill="hold">
                                          <p:stCondLst>
                                            <p:cond delay="0"/>
                                          </p:stCondLst>
                                        </p:cTn>
                                        <p:tgtEl>
                                          <p:spTgt spid="12">
                                            <p:txEl>
                                              <p:pRg st="3" end="3"/>
                                            </p:txEl>
                                          </p:spTgt>
                                        </p:tgtEl>
                                        <p:attrNameLst>
                                          <p:attrName>style.visibility</p:attrName>
                                        </p:attrNameLst>
                                      </p:cBhvr>
                                      <p:to>
                                        <p:strVal val="visible"/>
                                      </p:to>
                                    </p:set>
                                    <p:animEffect transition="in" filter="wipe(left)">
                                      <p:cBhvr>
                                        <p:cTn id="23" dur="1000"/>
                                        <p:tgtEl>
                                          <p:spTgt spid="12">
                                            <p:txEl>
                                              <p:pRg st="3" end="3"/>
                                            </p:txEl>
                                          </p:spTgt>
                                        </p:tgtEl>
                                      </p:cBhvr>
                                    </p:animEffect>
                                  </p:childTnLst>
                                </p:cTn>
                              </p:par>
                            </p:childTnLst>
                          </p:cTn>
                        </p:par>
                        <p:par>
                          <p:cTn id="24" fill="hold">
                            <p:stCondLst>
                              <p:cond delay="6500"/>
                            </p:stCondLst>
                            <p:childTnLst>
                              <p:par>
                                <p:cTn id="25" presetID="22" presetClass="entr" presetSubtype="8" fill="hold" nodeType="afterEffect">
                                  <p:stCondLst>
                                    <p:cond delay="0"/>
                                  </p:stCondLst>
                                  <p:childTnLst>
                                    <p:set>
                                      <p:cBhvr>
                                        <p:cTn id="26" dur="1" fill="hold">
                                          <p:stCondLst>
                                            <p:cond delay="0"/>
                                          </p:stCondLst>
                                        </p:cTn>
                                        <p:tgtEl>
                                          <p:spTgt spid="12">
                                            <p:txEl>
                                              <p:pRg st="4" end="4"/>
                                            </p:txEl>
                                          </p:spTgt>
                                        </p:tgtEl>
                                        <p:attrNameLst>
                                          <p:attrName>style.visibility</p:attrName>
                                        </p:attrNameLst>
                                      </p:cBhvr>
                                      <p:to>
                                        <p:strVal val="visible"/>
                                      </p:to>
                                    </p:set>
                                    <p:animEffect transition="in" filter="wipe(left)">
                                      <p:cBhvr>
                                        <p:cTn id="27" dur="1000"/>
                                        <p:tgtEl>
                                          <p:spTgt spid="12">
                                            <p:txEl>
                                              <p:pRg st="4" end="4"/>
                                            </p:txEl>
                                          </p:spTgt>
                                        </p:tgtEl>
                                      </p:cBhvr>
                                    </p:animEffect>
                                  </p:childTnLst>
                                </p:cTn>
                              </p:par>
                            </p:childTnLst>
                          </p:cTn>
                        </p:par>
                        <p:par>
                          <p:cTn id="28" fill="hold">
                            <p:stCondLst>
                              <p:cond delay="7500"/>
                            </p:stCondLst>
                            <p:childTnLst>
                              <p:par>
                                <p:cTn id="29" presetID="10" presetClass="entr" presetSubtype="0" fill="hold" nodeType="afterEffect">
                                  <p:stCondLst>
                                    <p:cond delay="0"/>
                                  </p:stCondLst>
                                  <p:childTnLst>
                                    <p:set>
                                      <p:cBhvr>
                                        <p:cTn id="30" dur="1" fill="hold">
                                          <p:stCondLst>
                                            <p:cond delay="0"/>
                                          </p:stCondLst>
                                        </p:cTn>
                                        <p:tgtEl>
                                          <p:spTgt spid="7"/>
                                        </p:tgtEl>
                                        <p:attrNameLst>
                                          <p:attrName>style.visibility</p:attrName>
                                        </p:attrNameLst>
                                      </p:cBhvr>
                                      <p:to>
                                        <p:strVal val="visible"/>
                                      </p:to>
                                    </p:set>
                                    <p:animEffect transition="in" filter="fade">
                                      <p:cBhvr>
                                        <p:cTn id="31" dur="500"/>
                                        <p:tgtEl>
                                          <p:spTgt spid="7"/>
                                        </p:tgtEl>
                                      </p:cBhvr>
                                    </p:animEffect>
                                  </p:childTnLst>
                                </p:cTn>
                              </p:par>
                            </p:childTnLst>
                          </p:cTn>
                        </p:par>
                        <p:par>
                          <p:cTn id="32" fill="hold">
                            <p:stCondLst>
                              <p:cond delay="8000"/>
                            </p:stCondLst>
                            <p:childTnLst>
                              <p:par>
                                <p:cTn id="33" presetID="22" presetClass="entr" presetSubtype="1" fill="hold" nodeType="afterEffect">
                                  <p:stCondLst>
                                    <p:cond delay="0"/>
                                  </p:stCondLst>
                                  <p:childTnLst>
                                    <p:set>
                                      <p:cBhvr>
                                        <p:cTn id="34" dur="1" fill="hold">
                                          <p:stCondLst>
                                            <p:cond delay="0"/>
                                          </p:stCondLst>
                                        </p:cTn>
                                        <p:tgtEl>
                                          <p:spTgt spid="10"/>
                                        </p:tgtEl>
                                        <p:attrNameLst>
                                          <p:attrName>style.visibility</p:attrName>
                                        </p:attrNameLst>
                                      </p:cBhvr>
                                      <p:to>
                                        <p:strVal val="visible"/>
                                      </p:to>
                                    </p:set>
                                    <p:animEffect transition="in" filter="wipe(up)">
                                      <p:cBhvr>
                                        <p:cTn id="35" dur="500"/>
                                        <p:tgtEl>
                                          <p:spTgt spid="10"/>
                                        </p:tgtEl>
                                      </p:cBhvr>
                                    </p:animEffect>
                                  </p:childTnLst>
                                </p:cTn>
                              </p:par>
                            </p:childTnLst>
                          </p:cTn>
                        </p:par>
                        <p:par>
                          <p:cTn id="36" fill="hold">
                            <p:stCondLst>
                              <p:cond delay="8500"/>
                            </p:stCondLst>
                            <p:childTnLst>
                              <p:par>
                                <p:cTn id="37" presetID="10" presetClass="entr" presetSubtype="0" fill="hold" nodeType="afterEffect">
                                  <p:stCondLst>
                                    <p:cond delay="0"/>
                                  </p:stCondLst>
                                  <p:childTnLst>
                                    <p:set>
                                      <p:cBhvr>
                                        <p:cTn id="38" dur="1" fill="hold">
                                          <p:stCondLst>
                                            <p:cond delay="0"/>
                                          </p:stCondLst>
                                        </p:cTn>
                                        <p:tgtEl>
                                          <p:spTgt spid="9"/>
                                        </p:tgtEl>
                                        <p:attrNameLst>
                                          <p:attrName>style.visibility</p:attrName>
                                        </p:attrNameLst>
                                      </p:cBhvr>
                                      <p:to>
                                        <p:strVal val="visible"/>
                                      </p:to>
                                    </p:set>
                                    <p:animEffect transition="in" filter="fade">
                                      <p:cBhvr>
                                        <p:cTn id="39"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ADL Store offers massive throughput</a:t>
            </a:r>
          </a:p>
        </p:txBody>
      </p:sp>
      <p:sp>
        <p:nvSpPr>
          <p:cNvPr id="12" name="Rectangle 11"/>
          <p:cNvSpPr/>
          <p:nvPr/>
        </p:nvSpPr>
        <p:spPr bwMode="auto">
          <a:xfrm>
            <a:off x="0" y="1282063"/>
            <a:ext cx="12192000" cy="4858855"/>
          </a:xfrm>
          <a:prstGeom prst="rect">
            <a:avLst/>
          </a:prstGeom>
          <a:solidFill>
            <a:schemeClr val="bg1">
              <a:lumMod val="95000"/>
            </a:schemeClr>
          </a:solidFill>
          <a:ln w="3175">
            <a:solidFill>
              <a:schemeClr val="bg1">
                <a:lumMod val="9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457200" rIns="5760720" bIns="91440" numCol="1" spcCol="0" rtlCol="0" fromWordArt="0" anchor="t" anchorCtr="0" forceAA="0" compatLnSpc="1">
            <a:prstTxWarp prst="textNoShape">
              <a:avLst/>
            </a:prstTxWarp>
            <a:noAutofit/>
          </a:bodyPr>
          <a:lstStyle/>
          <a:p>
            <a:pPr marL="347472" indent="-292608" fontAlgn="base">
              <a:spcBef>
                <a:spcPts val="600"/>
              </a:spcBef>
              <a:spcAft>
                <a:spcPts val="600"/>
              </a:spcAft>
              <a:buClr>
                <a:srgbClr val="50B347"/>
              </a:buClr>
              <a:buSzPct val="100000"/>
              <a:buBlip>
                <a:blip r:embed="rId3"/>
              </a:buBlip>
              <a:tabLst>
                <a:tab pos="658368" algn="l"/>
              </a:tabLst>
            </a:pPr>
            <a:endParaRPr lang="en-GB" sz="2200" dirty="0">
              <a:solidFill>
                <a:srgbClr val="505050"/>
              </a:solidFill>
              <a:ea typeface="Segoe UI" pitchFamily="34" charset="0"/>
              <a:cs typeface="Segoe UI" pitchFamily="34" charset="0"/>
            </a:endParaRPr>
          </a:p>
          <a:p>
            <a:pPr marL="347472" indent="-292608" fontAlgn="base">
              <a:spcBef>
                <a:spcPts val="600"/>
              </a:spcBef>
              <a:spcAft>
                <a:spcPts val="600"/>
              </a:spcAft>
              <a:buClr>
                <a:srgbClr val="50B347"/>
              </a:buClr>
              <a:buSzPct val="100000"/>
              <a:buBlip>
                <a:blip r:embed="rId3"/>
              </a:buBlip>
              <a:tabLst>
                <a:tab pos="658368" algn="l"/>
              </a:tabLst>
            </a:pPr>
            <a:r>
              <a:rPr lang="en-GB" sz="2200" dirty="0">
                <a:solidFill>
                  <a:srgbClr val="505050"/>
                </a:solidFill>
                <a:ea typeface="Segoe UI" pitchFamily="34" charset="0"/>
                <a:cs typeface="Segoe UI" pitchFamily="34" charset="0"/>
              </a:rPr>
              <a:t>Through read parallelism ADL Store provides massive throughput</a:t>
            </a:r>
          </a:p>
          <a:p>
            <a:pPr marL="347472" indent="-292608" fontAlgn="base">
              <a:spcBef>
                <a:spcPts val="600"/>
              </a:spcBef>
              <a:spcAft>
                <a:spcPts val="600"/>
              </a:spcAft>
              <a:buClr>
                <a:srgbClr val="50B347"/>
              </a:buClr>
              <a:buSzPct val="100000"/>
              <a:buBlip>
                <a:blip r:embed="rId3"/>
              </a:buBlip>
              <a:tabLst>
                <a:tab pos="658368" algn="l"/>
              </a:tabLst>
            </a:pPr>
            <a:r>
              <a:rPr lang="en-GB" sz="2200" dirty="0">
                <a:solidFill>
                  <a:srgbClr val="505050"/>
                </a:solidFill>
                <a:ea typeface="Segoe UI" pitchFamily="34" charset="0"/>
                <a:cs typeface="Segoe UI" pitchFamily="34" charset="0"/>
              </a:rPr>
              <a:t>Each read operation on a ADL Store file results in multiple read operations executed in parallel against the backend storage data nodes</a:t>
            </a:r>
          </a:p>
          <a:p>
            <a:pPr marL="54864" fontAlgn="base">
              <a:spcBef>
                <a:spcPts val="600"/>
              </a:spcBef>
              <a:spcAft>
                <a:spcPts val="600"/>
              </a:spcAft>
              <a:buClr>
                <a:srgbClr val="50B347"/>
              </a:buClr>
              <a:buSzPct val="100000"/>
              <a:tabLst>
                <a:tab pos="658368" algn="l"/>
              </a:tabLst>
            </a:pPr>
            <a:endParaRPr lang="en-GB" sz="2200" dirty="0">
              <a:solidFill>
                <a:srgbClr val="505050"/>
              </a:solidFill>
              <a:ea typeface="Segoe UI" pitchFamily="34" charset="0"/>
              <a:cs typeface="Segoe UI" pitchFamily="34" charset="0"/>
            </a:endParaRPr>
          </a:p>
        </p:txBody>
      </p:sp>
      <p:cxnSp>
        <p:nvCxnSpPr>
          <p:cNvPr id="52" name="Straight Connector 51"/>
          <p:cNvCxnSpPr>
            <a:endCxn id="69" idx="0"/>
          </p:cNvCxnSpPr>
          <p:nvPr/>
        </p:nvCxnSpPr>
        <p:spPr>
          <a:xfrm>
            <a:off x="8946082" y="1879391"/>
            <a:ext cx="0" cy="372196"/>
          </a:xfrm>
          <a:prstGeom prst="line">
            <a:avLst/>
          </a:prstGeom>
          <a:ln w="19050">
            <a:solidFill>
              <a:schemeClr val="bg1">
                <a:lumMod val="50000"/>
              </a:schemeClr>
            </a:solidFill>
            <a:headEnd type="none"/>
            <a:tailEnd type="triangle" w="lg" len="med"/>
          </a:ln>
        </p:spPr>
        <p:style>
          <a:lnRef idx="3">
            <a:schemeClr val="dk1"/>
          </a:lnRef>
          <a:fillRef idx="0">
            <a:schemeClr val="dk1"/>
          </a:fillRef>
          <a:effectRef idx="2">
            <a:schemeClr val="dk1"/>
          </a:effectRef>
          <a:fontRef idx="minor">
            <a:schemeClr val="tx1"/>
          </a:fontRef>
        </p:style>
      </p:cxnSp>
      <p:sp>
        <p:nvSpPr>
          <p:cNvPr id="68" name="TextBox 67"/>
          <p:cNvSpPr txBox="1"/>
          <p:nvPr/>
        </p:nvSpPr>
        <p:spPr>
          <a:xfrm>
            <a:off x="7984417" y="1527491"/>
            <a:ext cx="1923330" cy="276999"/>
          </a:xfrm>
          <a:prstGeom prst="rect">
            <a:avLst/>
          </a:prstGeom>
          <a:noFill/>
        </p:spPr>
        <p:txBody>
          <a:bodyPr wrap="square" lIns="0" tIns="0" rIns="0" bIns="0" rtlCol="0">
            <a:spAutoFit/>
          </a:bodyPr>
          <a:lstStyle/>
          <a:p>
            <a:pPr>
              <a:lnSpc>
                <a:spcPct val="90000"/>
              </a:lnSpc>
              <a:spcAft>
                <a:spcPts val="600"/>
              </a:spcAft>
            </a:pPr>
            <a:r>
              <a:rPr lang="en-US" sz="2000" dirty="0">
                <a:solidFill>
                  <a:schemeClr val="tx2"/>
                </a:solidFill>
              </a:rPr>
              <a:t>Read operation</a:t>
            </a:r>
          </a:p>
        </p:txBody>
      </p:sp>
      <p:sp>
        <p:nvSpPr>
          <p:cNvPr id="5" name="Slide Number Placeholder 4"/>
          <p:cNvSpPr>
            <a:spLocks noGrp="1"/>
          </p:cNvSpPr>
          <p:nvPr>
            <p:ph type="sldNum" sz="quarter" idx="11"/>
          </p:nvPr>
        </p:nvSpPr>
        <p:spPr/>
        <p:txBody>
          <a:bodyPr/>
          <a:lstStyle/>
          <a:p>
            <a:pPr>
              <a:defRPr/>
            </a:pPr>
            <a:fld id="{F8A0AC42-AA1D-4944-8D96-660DE70C7E1B}" type="slidenum">
              <a:rPr lang="en-US" smtClean="0"/>
              <a:pPr>
                <a:defRPr/>
              </a:pPr>
              <a:t>13</a:t>
            </a:fld>
            <a:endParaRPr lang="en-US" dirty="0"/>
          </a:p>
        </p:txBody>
      </p:sp>
      <p:grpSp>
        <p:nvGrpSpPr>
          <p:cNvPr id="74" name="Group 73"/>
          <p:cNvGrpSpPr/>
          <p:nvPr/>
        </p:nvGrpSpPr>
        <p:grpSpPr>
          <a:xfrm>
            <a:off x="7176390" y="2251587"/>
            <a:ext cx="3539384" cy="1071716"/>
            <a:chOff x="7176390" y="2251587"/>
            <a:chExt cx="3539384" cy="1071716"/>
          </a:xfrm>
        </p:grpSpPr>
        <p:sp>
          <p:nvSpPr>
            <p:cNvPr id="76" name="Rectangle 75"/>
            <p:cNvSpPr/>
            <p:nvPr/>
          </p:nvSpPr>
          <p:spPr bwMode="auto">
            <a:xfrm>
              <a:off x="7176390" y="2251587"/>
              <a:ext cx="3539384" cy="1071716"/>
            </a:xfrm>
            <a:prstGeom prst="rect">
              <a:avLst/>
            </a:prstGeom>
            <a:solidFill>
              <a:schemeClr val="accent1"/>
            </a:solidFill>
            <a:ln w="3175" cap="flat" cmpd="sng" algn="ctr">
              <a:noFill/>
              <a:prstDash val="soli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algn="ctr">
                <a:lnSpc>
                  <a:spcPct val="90000"/>
                </a:lnSpc>
                <a:spcAft>
                  <a:spcPts val="600"/>
                </a:spcAft>
              </a:pPr>
              <a:r>
                <a:rPr lang="en-US" sz="1600" dirty="0">
                  <a:solidFill>
                    <a:schemeClr val="bg1"/>
                  </a:solidFill>
                </a:rPr>
                <a:t>Azure Data Lake Store file</a:t>
              </a:r>
            </a:p>
          </p:txBody>
        </p:sp>
        <p:sp>
          <p:nvSpPr>
            <p:cNvPr id="78" name="TextBox 77"/>
            <p:cNvSpPr txBox="1"/>
            <p:nvPr/>
          </p:nvSpPr>
          <p:spPr>
            <a:xfrm>
              <a:off x="9433326" y="2894176"/>
              <a:ext cx="94578" cy="153964"/>
            </a:xfrm>
            <a:prstGeom prst="rect">
              <a:avLst/>
            </a:prstGeom>
            <a:noFill/>
            <a:ln>
              <a:noFill/>
            </a:ln>
          </p:spPr>
          <p:txBody>
            <a:bodyPr wrap="none" lIns="0" tIns="0" rIns="0" bIns="0" rtlCol="0">
              <a:noAutofit/>
            </a:bodyPr>
            <a:lstStyle/>
            <a:p>
              <a:pPr marL="0" marR="0" lvl="0" indent="0" defTabSz="932742" eaLnBrk="1" fontAlgn="auto" latinLnBrk="0" hangingPunct="1">
                <a:lnSpc>
                  <a:spcPct val="90000"/>
                </a:lnSpc>
                <a:spcBef>
                  <a:spcPts val="0"/>
                </a:spcBef>
                <a:spcAft>
                  <a:spcPts val="600"/>
                </a:spcAft>
                <a:buClrTx/>
                <a:buSzTx/>
                <a:buFontTx/>
                <a:buNone/>
                <a:tabLst/>
                <a:defRPr/>
              </a:pPr>
              <a:r>
                <a:rPr kumimoji="0" lang="en-US" sz="1000" b="0" i="0" u="none" strike="noStrike" kern="0" cap="none" spc="0" normalizeH="0" baseline="0" noProof="0" dirty="0">
                  <a:ln>
                    <a:noFill/>
                  </a:ln>
                  <a:solidFill>
                    <a:srgbClr val="FFFFFF"/>
                  </a:solidFill>
                  <a:effectLst/>
                  <a:uLnTx/>
                  <a:uFillTx/>
                </a:rPr>
                <a:t>…</a:t>
              </a:r>
            </a:p>
          </p:txBody>
        </p:sp>
        <p:grpSp>
          <p:nvGrpSpPr>
            <p:cNvPr id="79" name="Group 78"/>
            <p:cNvGrpSpPr/>
            <p:nvPr/>
          </p:nvGrpSpPr>
          <p:grpSpPr>
            <a:xfrm>
              <a:off x="7323223" y="2668529"/>
              <a:ext cx="813348" cy="585287"/>
              <a:chOff x="7230343" y="2865889"/>
              <a:chExt cx="565425" cy="406881"/>
            </a:xfrm>
          </p:grpSpPr>
          <p:pic>
            <p:nvPicPr>
              <p:cNvPr id="93" name="Picture 2" descr="\\MAGNUM\Projects\Microsoft\Cloud Power FY12\Design\ICONS_PNG\Server.png"/>
              <p:cNvPicPr>
                <a:picLocks noChangeAspect="1" noChangeArrowheads="1"/>
              </p:cNvPicPr>
              <p:nvPr/>
            </p:nvPicPr>
            <p:blipFill rotWithShape="1">
              <a:blip r:embed="rId4" cstate="print">
                <a:lum bright="100000"/>
              </a:blip>
              <a:srcRect l="19080" t="53857" r="18421" b="10243"/>
              <a:stretch/>
            </p:blipFill>
            <p:spPr bwMode="auto">
              <a:xfrm>
                <a:off x="7230343" y="2947987"/>
                <a:ext cx="565425" cy="324783"/>
              </a:xfrm>
              <a:prstGeom prst="rect">
                <a:avLst/>
              </a:prstGeom>
              <a:noFill/>
            </p:spPr>
          </p:pic>
          <p:sp>
            <p:nvSpPr>
              <p:cNvPr id="94" name="Rectangle 93"/>
              <p:cNvSpPr/>
              <p:nvPr/>
            </p:nvSpPr>
            <p:spPr>
              <a:xfrm>
                <a:off x="7261486" y="3017337"/>
                <a:ext cx="425309" cy="137348"/>
              </a:xfrm>
              <a:prstGeom prst="rect">
                <a:avLst/>
              </a:prstGeom>
              <a:solidFill>
                <a:schemeClr val="bg1"/>
              </a:solidFill>
            </p:spPr>
            <p:txBody>
              <a:bodyPr wrap="square" lIns="0" tIns="0" rIns="0" bIns="0">
                <a:noAutofit/>
              </a:bodyPr>
              <a:lstStyle/>
              <a:p>
                <a:pPr lvl="0" algn="ctr" defTabSz="932742">
                  <a:lnSpc>
                    <a:spcPct val="90000"/>
                  </a:lnSpc>
                  <a:spcAft>
                    <a:spcPts val="600"/>
                  </a:spcAft>
                  <a:defRPr/>
                </a:pPr>
                <a:r>
                  <a:rPr lang="en-US" sz="900" kern="0" dirty="0">
                    <a:solidFill>
                      <a:schemeClr val="tx2"/>
                    </a:solidFill>
                    <a:ea typeface="Arial Unicode MS" panose="020B0604020202020204" pitchFamily="34" charset="-128"/>
                    <a:cs typeface="Arial Unicode MS" panose="020B0604020202020204" pitchFamily="34" charset="-128"/>
                  </a:rPr>
                  <a:t>Block 1 </a:t>
                </a:r>
              </a:p>
            </p:txBody>
          </p:sp>
          <p:pic>
            <p:nvPicPr>
              <p:cNvPr id="95" name="Picture 2" descr="\\MAGNUM\Projects\Microsoft\Cloud Power FY12\Design\ICONS_PNG\Server.png"/>
              <p:cNvPicPr>
                <a:picLocks noChangeArrowheads="1"/>
              </p:cNvPicPr>
              <p:nvPr/>
            </p:nvPicPr>
            <p:blipFill rotWithShape="1">
              <a:blip r:embed="rId4" cstate="print">
                <a:lum bright="100000"/>
              </a:blip>
              <a:srcRect l="19080" t="11111" r="18421" b="73453"/>
              <a:stretch/>
            </p:blipFill>
            <p:spPr bwMode="auto">
              <a:xfrm>
                <a:off x="7235105" y="2865889"/>
                <a:ext cx="557784" cy="135502"/>
              </a:xfrm>
              <a:prstGeom prst="rect">
                <a:avLst/>
              </a:prstGeom>
              <a:noFill/>
            </p:spPr>
          </p:pic>
        </p:grpSp>
        <p:grpSp>
          <p:nvGrpSpPr>
            <p:cNvPr id="81" name="Group 80"/>
            <p:cNvGrpSpPr/>
            <p:nvPr/>
          </p:nvGrpSpPr>
          <p:grpSpPr>
            <a:xfrm>
              <a:off x="8368499" y="2668529"/>
              <a:ext cx="813348" cy="585287"/>
              <a:chOff x="7230343" y="2865889"/>
              <a:chExt cx="565425" cy="406881"/>
            </a:xfrm>
          </p:grpSpPr>
          <p:pic>
            <p:nvPicPr>
              <p:cNvPr id="86" name="Picture 2" descr="\\MAGNUM\Projects\Microsoft\Cloud Power FY12\Design\ICONS_PNG\Server.png"/>
              <p:cNvPicPr>
                <a:picLocks noChangeAspect="1" noChangeArrowheads="1"/>
              </p:cNvPicPr>
              <p:nvPr/>
            </p:nvPicPr>
            <p:blipFill rotWithShape="1">
              <a:blip r:embed="rId4" cstate="print">
                <a:lum bright="100000"/>
              </a:blip>
              <a:srcRect l="19080" t="53857" r="18421" b="10243"/>
              <a:stretch/>
            </p:blipFill>
            <p:spPr bwMode="auto">
              <a:xfrm>
                <a:off x="7230343" y="2947987"/>
                <a:ext cx="565425" cy="324783"/>
              </a:xfrm>
              <a:prstGeom prst="rect">
                <a:avLst/>
              </a:prstGeom>
              <a:noFill/>
            </p:spPr>
          </p:pic>
          <p:sp>
            <p:nvSpPr>
              <p:cNvPr id="90" name="Rectangle 89"/>
              <p:cNvSpPr/>
              <p:nvPr/>
            </p:nvSpPr>
            <p:spPr>
              <a:xfrm>
                <a:off x="7261486" y="3017338"/>
                <a:ext cx="425309" cy="137348"/>
              </a:xfrm>
              <a:prstGeom prst="rect">
                <a:avLst/>
              </a:prstGeom>
              <a:solidFill>
                <a:schemeClr val="bg1"/>
              </a:solidFill>
            </p:spPr>
            <p:txBody>
              <a:bodyPr wrap="square" lIns="0" tIns="0" rIns="0" bIns="0">
                <a:noAutofit/>
              </a:bodyPr>
              <a:lstStyle/>
              <a:p>
                <a:pPr lvl="0" algn="ctr" defTabSz="932742">
                  <a:lnSpc>
                    <a:spcPct val="90000"/>
                  </a:lnSpc>
                  <a:spcAft>
                    <a:spcPts val="600"/>
                  </a:spcAft>
                  <a:defRPr/>
                </a:pPr>
                <a:r>
                  <a:rPr lang="en-US" sz="900" kern="0" dirty="0">
                    <a:solidFill>
                      <a:schemeClr val="tx2"/>
                    </a:solidFill>
                    <a:ea typeface="Arial Unicode MS" panose="020B0604020202020204" pitchFamily="34" charset="-128"/>
                    <a:cs typeface="Arial Unicode MS" panose="020B0604020202020204" pitchFamily="34" charset="-128"/>
                  </a:rPr>
                  <a:t>Block 2 </a:t>
                </a:r>
              </a:p>
            </p:txBody>
          </p:sp>
          <p:pic>
            <p:nvPicPr>
              <p:cNvPr id="91" name="Picture 2" descr="\\MAGNUM\Projects\Microsoft\Cloud Power FY12\Design\ICONS_PNG\Server.png"/>
              <p:cNvPicPr>
                <a:picLocks noChangeArrowheads="1"/>
              </p:cNvPicPr>
              <p:nvPr/>
            </p:nvPicPr>
            <p:blipFill rotWithShape="1">
              <a:blip r:embed="rId4" cstate="print">
                <a:lum bright="100000"/>
              </a:blip>
              <a:srcRect l="19080" t="11111" r="18421" b="73453"/>
              <a:stretch/>
            </p:blipFill>
            <p:spPr bwMode="auto">
              <a:xfrm>
                <a:off x="7235107" y="2865889"/>
                <a:ext cx="557784" cy="135502"/>
              </a:xfrm>
              <a:prstGeom prst="rect">
                <a:avLst/>
              </a:prstGeom>
              <a:noFill/>
            </p:spPr>
          </p:pic>
        </p:grpSp>
        <p:grpSp>
          <p:nvGrpSpPr>
            <p:cNvPr id="82" name="Group 81"/>
            <p:cNvGrpSpPr/>
            <p:nvPr/>
          </p:nvGrpSpPr>
          <p:grpSpPr>
            <a:xfrm>
              <a:off x="9715165" y="2668529"/>
              <a:ext cx="813348" cy="585287"/>
              <a:chOff x="7230343" y="2865889"/>
              <a:chExt cx="565425" cy="406881"/>
            </a:xfrm>
          </p:grpSpPr>
          <p:pic>
            <p:nvPicPr>
              <p:cNvPr id="83" name="Picture 2" descr="\\MAGNUM\Projects\Microsoft\Cloud Power FY12\Design\ICONS_PNG\Server.png"/>
              <p:cNvPicPr>
                <a:picLocks noChangeAspect="1" noChangeArrowheads="1"/>
              </p:cNvPicPr>
              <p:nvPr/>
            </p:nvPicPr>
            <p:blipFill rotWithShape="1">
              <a:blip r:embed="rId4" cstate="print">
                <a:lum bright="100000"/>
              </a:blip>
              <a:srcRect l="19080" t="53857" r="18421" b="10243"/>
              <a:stretch/>
            </p:blipFill>
            <p:spPr bwMode="auto">
              <a:xfrm>
                <a:off x="7230343" y="2947987"/>
                <a:ext cx="565425" cy="324783"/>
              </a:xfrm>
              <a:prstGeom prst="rect">
                <a:avLst/>
              </a:prstGeom>
              <a:noFill/>
            </p:spPr>
          </p:pic>
          <p:sp>
            <p:nvSpPr>
              <p:cNvPr id="84" name="Rectangle 83"/>
              <p:cNvSpPr/>
              <p:nvPr/>
            </p:nvSpPr>
            <p:spPr>
              <a:xfrm>
                <a:off x="7261486" y="3017338"/>
                <a:ext cx="425309" cy="137348"/>
              </a:xfrm>
              <a:prstGeom prst="rect">
                <a:avLst/>
              </a:prstGeom>
              <a:solidFill>
                <a:schemeClr val="bg1"/>
              </a:solidFill>
            </p:spPr>
            <p:txBody>
              <a:bodyPr wrap="square" lIns="0" tIns="0" rIns="0" bIns="0">
                <a:noAutofit/>
              </a:bodyPr>
              <a:lstStyle/>
              <a:p>
                <a:pPr lvl="0" algn="ctr" defTabSz="932742">
                  <a:lnSpc>
                    <a:spcPct val="90000"/>
                  </a:lnSpc>
                  <a:spcAft>
                    <a:spcPts val="600"/>
                  </a:spcAft>
                  <a:defRPr/>
                </a:pPr>
                <a:r>
                  <a:rPr lang="en-US" sz="900" kern="0" dirty="0">
                    <a:solidFill>
                      <a:schemeClr val="tx2"/>
                    </a:solidFill>
                    <a:ea typeface="Arial Unicode MS" panose="020B0604020202020204" pitchFamily="34" charset="-128"/>
                    <a:cs typeface="Arial Unicode MS" panose="020B0604020202020204" pitchFamily="34" charset="-128"/>
                  </a:rPr>
                  <a:t>Block 2 </a:t>
                </a:r>
              </a:p>
            </p:txBody>
          </p:sp>
          <p:pic>
            <p:nvPicPr>
              <p:cNvPr id="85" name="Picture 2" descr="\\MAGNUM\Projects\Microsoft\Cloud Power FY12\Design\ICONS_PNG\Server.png"/>
              <p:cNvPicPr>
                <a:picLocks noChangeArrowheads="1"/>
              </p:cNvPicPr>
              <p:nvPr/>
            </p:nvPicPr>
            <p:blipFill rotWithShape="1">
              <a:blip r:embed="rId4" cstate="print">
                <a:lum bright="100000"/>
              </a:blip>
              <a:srcRect l="19080" t="11111" r="18421" b="73453"/>
              <a:stretch/>
            </p:blipFill>
            <p:spPr bwMode="auto">
              <a:xfrm>
                <a:off x="7235105" y="2865889"/>
                <a:ext cx="557784" cy="135502"/>
              </a:xfrm>
              <a:prstGeom prst="rect">
                <a:avLst/>
              </a:prstGeom>
              <a:noFill/>
            </p:spPr>
          </p:pic>
        </p:grpSp>
      </p:grpSp>
      <p:grpSp>
        <p:nvGrpSpPr>
          <p:cNvPr id="96" name="Group 95"/>
          <p:cNvGrpSpPr/>
          <p:nvPr/>
        </p:nvGrpSpPr>
        <p:grpSpPr>
          <a:xfrm>
            <a:off x="6243858" y="3755923"/>
            <a:ext cx="5404449" cy="1605912"/>
            <a:chOff x="6243858" y="3755923"/>
            <a:chExt cx="5404449" cy="1605912"/>
          </a:xfrm>
        </p:grpSpPr>
        <p:sp>
          <p:nvSpPr>
            <p:cNvPr id="97" name="Rectangle 96"/>
            <p:cNvSpPr/>
            <p:nvPr/>
          </p:nvSpPr>
          <p:spPr bwMode="auto">
            <a:xfrm>
              <a:off x="6243858" y="3755923"/>
              <a:ext cx="5404449" cy="1605912"/>
            </a:xfrm>
            <a:prstGeom prst="rect">
              <a:avLst/>
            </a:prstGeom>
            <a:solidFill>
              <a:schemeClr val="bg1">
                <a:lumMod val="95000"/>
              </a:schemeClr>
            </a:solidFill>
            <a:ln w="3175" cap="flat" cmpd="sng" algn="ctr">
              <a:noFill/>
              <a:prstDash val="solid"/>
              <a:headEnd type="none" w="med" len="med"/>
              <a:tailEnd type="none" w="med" len="med"/>
            </a:ln>
            <a:effectLst/>
          </p:spPr>
          <p:txBody>
            <a:bodyPr vert="horz" wrap="square" lIns="0" tIns="46637" rIns="0" bIns="46637" numCol="1" rtlCol="0" anchor="b" anchorCtr="0" compatLnSpc="1">
              <a:prstTxWarp prst="textNoShape">
                <a:avLst/>
              </a:prstTxWarp>
              <a:noAutofit/>
            </a:bodyPr>
            <a:lstStyle/>
            <a:p>
              <a:pPr lvl="0" algn="ctr" defTabSz="932472" fontAlgn="base">
                <a:spcBef>
                  <a:spcPct val="0"/>
                </a:spcBef>
                <a:spcAft>
                  <a:spcPct val="0"/>
                </a:spcAft>
                <a:defRPr/>
              </a:pPr>
              <a:r>
                <a:rPr lang="en-US" sz="1200" kern="0" dirty="0">
                  <a:solidFill>
                    <a:schemeClr val="tx2"/>
                  </a:solidFill>
                </a:rPr>
                <a:t>Backend storage</a:t>
              </a:r>
            </a:p>
          </p:txBody>
        </p:sp>
        <p:sp>
          <p:nvSpPr>
            <p:cNvPr id="98" name="Rectangle 97"/>
            <p:cNvSpPr/>
            <p:nvPr/>
          </p:nvSpPr>
          <p:spPr bwMode="auto">
            <a:xfrm>
              <a:off x="6335951" y="3874409"/>
              <a:ext cx="831416" cy="1123171"/>
            </a:xfrm>
            <a:prstGeom prst="rect">
              <a:avLst/>
            </a:prstGeom>
            <a:solidFill>
              <a:schemeClr val="accent1"/>
            </a:solidFill>
            <a:ln w="3175" cap="flat" cmpd="sng" algn="ctr">
              <a:noFill/>
              <a:prstDash val="solid"/>
              <a:headEnd type="none" w="med" len="med"/>
              <a:tailEnd type="none" w="med" len="med"/>
            </a:ln>
            <a:effectLst/>
          </p:spPr>
          <p:txBody>
            <a:bodyPr vert="horz" wrap="square" lIns="91440" tIns="45720" rIns="91440" bIns="45720" numCol="1" rtlCol="0" anchor="b" anchorCtr="0" compatLnSpc="1">
              <a:prstTxWarp prst="textNoShape">
                <a:avLst/>
              </a:prstTxWarp>
              <a:noAutofit/>
            </a:bodyPr>
            <a:lstStyle/>
            <a:p>
              <a:pPr lvl="0" algn="ctr" defTabSz="932742">
                <a:lnSpc>
                  <a:spcPct val="90000"/>
                </a:lnSpc>
                <a:spcAft>
                  <a:spcPts val="600"/>
                </a:spcAft>
                <a:defRPr/>
              </a:pPr>
              <a:r>
                <a:rPr lang="en-US" sz="800" kern="0" dirty="0">
                  <a:solidFill>
                    <a:schemeClr val="bg1"/>
                  </a:solidFill>
                </a:rPr>
                <a:t>Data node</a:t>
              </a:r>
            </a:p>
          </p:txBody>
        </p:sp>
        <p:sp>
          <p:nvSpPr>
            <p:cNvPr id="99" name="Rectangle 98"/>
            <p:cNvSpPr/>
            <p:nvPr/>
          </p:nvSpPr>
          <p:spPr bwMode="auto">
            <a:xfrm>
              <a:off x="8076982" y="3869995"/>
              <a:ext cx="831416" cy="1127584"/>
            </a:xfrm>
            <a:prstGeom prst="rect">
              <a:avLst/>
            </a:prstGeom>
            <a:solidFill>
              <a:schemeClr val="accent1"/>
            </a:solidFill>
            <a:ln w="3175" cap="flat" cmpd="sng" algn="ctr">
              <a:noFill/>
              <a:prstDash val="solid"/>
              <a:headEnd type="none" w="med" len="med"/>
              <a:tailEnd type="none" w="med" len="med"/>
            </a:ln>
            <a:effectLst/>
          </p:spPr>
          <p:txBody>
            <a:bodyPr vert="horz" wrap="square" lIns="91440" tIns="45720" rIns="91440" bIns="45720" numCol="1" rtlCol="0" anchor="b" anchorCtr="0" compatLnSpc="1">
              <a:prstTxWarp prst="textNoShape">
                <a:avLst/>
              </a:prstTxWarp>
              <a:noAutofit/>
            </a:bodyPr>
            <a:lstStyle/>
            <a:p>
              <a:pPr lvl="0" algn="ctr" defTabSz="932742">
                <a:lnSpc>
                  <a:spcPct val="90000"/>
                </a:lnSpc>
                <a:spcAft>
                  <a:spcPts val="600"/>
                </a:spcAft>
                <a:defRPr/>
              </a:pPr>
              <a:r>
                <a:rPr lang="en-US" sz="800" kern="0" dirty="0">
                  <a:solidFill>
                    <a:schemeClr val="bg1"/>
                  </a:solidFill>
                </a:rPr>
                <a:t>Data node</a:t>
              </a:r>
            </a:p>
          </p:txBody>
        </p:sp>
        <p:sp>
          <p:nvSpPr>
            <p:cNvPr id="100" name="Rectangle 99"/>
            <p:cNvSpPr/>
            <p:nvPr/>
          </p:nvSpPr>
          <p:spPr bwMode="auto">
            <a:xfrm>
              <a:off x="8983769" y="3869995"/>
              <a:ext cx="831416" cy="1127583"/>
            </a:xfrm>
            <a:prstGeom prst="rect">
              <a:avLst/>
            </a:prstGeom>
            <a:solidFill>
              <a:schemeClr val="accent1"/>
            </a:solidFill>
            <a:ln w="3175" cap="flat" cmpd="sng" algn="ctr">
              <a:noFill/>
              <a:prstDash val="solid"/>
              <a:headEnd type="none" w="med" len="med"/>
              <a:tailEnd type="none" w="med" len="med"/>
            </a:ln>
            <a:effectLst/>
          </p:spPr>
          <p:txBody>
            <a:bodyPr vert="horz" wrap="square" lIns="91440" tIns="45720" rIns="91440" bIns="45720" numCol="1" rtlCol="0" anchor="b" anchorCtr="0" compatLnSpc="1">
              <a:prstTxWarp prst="textNoShape">
                <a:avLst/>
              </a:prstTxWarp>
              <a:noAutofit/>
            </a:bodyPr>
            <a:lstStyle/>
            <a:p>
              <a:pPr lvl="0" algn="ctr" defTabSz="932742">
                <a:lnSpc>
                  <a:spcPct val="90000"/>
                </a:lnSpc>
                <a:spcAft>
                  <a:spcPts val="600"/>
                </a:spcAft>
                <a:defRPr/>
              </a:pPr>
              <a:r>
                <a:rPr lang="en-US" sz="800" kern="0" dirty="0">
                  <a:solidFill>
                    <a:schemeClr val="bg1"/>
                  </a:solidFill>
                </a:rPr>
                <a:t>Data node</a:t>
              </a:r>
            </a:p>
          </p:txBody>
        </p:sp>
        <p:sp>
          <p:nvSpPr>
            <p:cNvPr id="101" name="Rectangle 100"/>
            <p:cNvSpPr/>
            <p:nvPr/>
          </p:nvSpPr>
          <p:spPr bwMode="auto">
            <a:xfrm>
              <a:off x="9854284" y="3869995"/>
              <a:ext cx="831416" cy="1127581"/>
            </a:xfrm>
            <a:prstGeom prst="rect">
              <a:avLst/>
            </a:prstGeom>
            <a:solidFill>
              <a:schemeClr val="accent1"/>
            </a:solidFill>
            <a:ln w="3175" cap="flat" cmpd="sng" algn="ctr">
              <a:noFill/>
              <a:prstDash val="solid"/>
              <a:headEnd type="none" w="med" len="med"/>
              <a:tailEnd type="none" w="med" len="med"/>
            </a:ln>
            <a:effectLst/>
          </p:spPr>
          <p:txBody>
            <a:bodyPr vert="horz" wrap="square" lIns="91440" tIns="45720" rIns="91440" bIns="45720" numCol="1" rtlCol="0" anchor="b" anchorCtr="0" compatLnSpc="1">
              <a:prstTxWarp prst="textNoShape">
                <a:avLst/>
              </a:prstTxWarp>
              <a:noAutofit/>
            </a:bodyPr>
            <a:lstStyle/>
            <a:p>
              <a:pPr lvl="0" algn="ctr" defTabSz="932742">
                <a:lnSpc>
                  <a:spcPct val="90000"/>
                </a:lnSpc>
                <a:spcAft>
                  <a:spcPts val="600"/>
                </a:spcAft>
                <a:defRPr/>
              </a:pPr>
              <a:r>
                <a:rPr lang="en-US" sz="800" kern="0" dirty="0">
                  <a:solidFill>
                    <a:schemeClr val="bg1"/>
                  </a:solidFill>
                </a:rPr>
                <a:t>Data node</a:t>
              </a:r>
            </a:p>
          </p:txBody>
        </p:sp>
        <p:sp>
          <p:nvSpPr>
            <p:cNvPr id="102" name="Rectangle 101"/>
            <p:cNvSpPr/>
            <p:nvPr/>
          </p:nvSpPr>
          <p:spPr bwMode="auto">
            <a:xfrm>
              <a:off x="10714365" y="3869995"/>
              <a:ext cx="831416" cy="1127581"/>
            </a:xfrm>
            <a:prstGeom prst="rect">
              <a:avLst/>
            </a:prstGeom>
            <a:solidFill>
              <a:schemeClr val="accent1"/>
            </a:solidFill>
            <a:ln w="3175" cap="flat" cmpd="sng" algn="ctr">
              <a:noFill/>
              <a:prstDash val="solid"/>
              <a:headEnd type="none" w="med" len="med"/>
              <a:tailEnd type="none" w="med" len="med"/>
            </a:ln>
            <a:effectLst/>
          </p:spPr>
          <p:txBody>
            <a:bodyPr vert="horz" wrap="square" lIns="91440" tIns="45720" rIns="91440" bIns="45720" numCol="1" rtlCol="0" anchor="b" anchorCtr="0" compatLnSpc="1">
              <a:prstTxWarp prst="textNoShape">
                <a:avLst/>
              </a:prstTxWarp>
              <a:noAutofit/>
            </a:bodyPr>
            <a:lstStyle/>
            <a:p>
              <a:pPr lvl="0" algn="ctr" defTabSz="932742">
                <a:lnSpc>
                  <a:spcPct val="90000"/>
                </a:lnSpc>
                <a:spcAft>
                  <a:spcPts val="600"/>
                </a:spcAft>
                <a:defRPr/>
              </a:pPr>
              <a:r>
                <a:rPr lang="en-US" sz="800" kern="0" dirty="0">
                  <a:solidFill>
                    <a:schemeClr val="bg1"/>
                  </a:solidFill>
                </a:rPr>
                <a:t>Data node</a:t>
              </a:r>
            </a:p>
          </p:txBody>
        </p:sp>
        <p:sp>
          <p:nvSpPr>
            <p:cNvPr id="103" name="Rectangle 102"/>
            <p:cNvSpPr/>
            <p:nvPr/>
          </p:nvSpPr>
          <p:spPr bwMode="auto">
            <a:xfrm>
              <a:off x="7206466" y="3869995"/>
              <a:ext cx="831416" cy="1127585"/>
            </a:xfrm>
            <a:prstGeom prst="rect">
              <a:avLst/>
            </a:prstGeom>
            <a:solidFill>
              <a:schemeClr val="accent1"/>
            </a:solidFill>
            <a:ln w="3175" cap="flat" cmpd="sng" algn="ctr">
              <a:noFill/>
              <a:prstDash val="solid"/>
              <a:headEnd type="none" w="med" len="med"/>
              <a:tailEnd type="none" w="med" len="med"/>
            </a:ln>
            <a:effectLst/>
          </p:spPr>
          <p:txBody>
            <a:bodyPr vert="horz" wrap="square" lIns="91440" tIns="45720" rIns="91440" bIns="45720" numCol="1" rtlCol="0" anchor="b" anchorCtr="0" compatLnSpc="1">
              <a:prstTxWarp prst="textNoShape">
                <a:avLst/>
              </a:prstTxWarp>
              <a:noAutofit/>
            </a:bodyPr>
            <a:lstStyle/>
            <a:p>
              <a:pPr lvl="0" algn="ctr" defTabSz="932742">
                <a:lnSpc>
                  <a:spcPct val="90000"/>
                </a:lnSpc>
                <a:spcAft>
                  <a:spcPts val="600"/>
                </a:spcAft>
                <a:defRPr/>
              </a:pPr>
              <a:r>
                <a:rPr lang="en-US" sz="800" kern="0" dirty="0">
                  <a:solidFill>
                    <a:schemeClr val="bg1"/>
                  </a:solidFill>
                </a:rPr>
                <a:t>Data node</a:t>
              </a:r>
            </a:p>
          </p:txBody>
        </p:sp>
        <p:grpSp>
          <p:nvGrpSpPr>
            <p:cNvPr id="104" name="Group 103"/>
            <p:cNvGrpSpPr/>
            <p:nvPr/>
          </p:nvGrpSpPr>
          <p:grpSpPr>
            <a:xfrm>
              <a:off x="6468946" y="4012744"/>
              <a:ext cx="565425" cy="711494"/>
              <a:chOff x="7196823" y="2632752"/>
              <a:chExt cx="565425" cy="711494"/>
            </a:xfrm>
          </p:grpSpPr>
          <p:pic>
            <p:nvPicPr>
              <p:cNvPr id="120" name="Picture 2" descr="\\MAGNUM\Projects\Microsoft\Cloud Power FY12\Design\ICONS_PNG\Server.png"/>
              <p:cNvPicPr>
                <a:picLocks noChangeAspect="1" noChangeArrowheads="1"/>
              </p:cNvPicPr>
              <p:nvPr/>
            </p:nvPicPr>
            <p:blipFill rotWithShape="1">
              <a:blip r:embed="rId4" cstate="print">
                <a:lum bright="100000"/>
              </a:blip>
              <a:srcRect l="19080" t="11111" r="18421" b="10243"/>
              <a:stretch/>
            </p:blipFill>
            <p:spPr bwMode="auto">
              <a:xfrm>
                <a:off x="7196823" y="2632752"/>
                <a:ext cx="565425" cy="711494"/>
              </a:xfrm>
              <a:prstGeom prst="rect">
                <a:avLst/>
              </a:prstGeom>
              <a:noFill/>
            </p:spPr>
          </p:pic>
          <p:sp>
            <p:nvSpPr>
              <p:cNvPr id="121" name="Rectangle 120"/>
              <p:cNvSpPr/>
              <p:nvPr/>
            </p:nvSpPr>
            <p:spPr>
              <a:xfrm>
                <a:off x="7280415" y="3097550"/>
                <a:ext cx="295938" cy="124650"/>
              </a:xfrm>
              <a:prstGeom prst="rect">
                <a:avLst/>
              </a:prstGeom>
              <a:solidFill>
                <a:schemeClr val="bg1"/>
              </a:solidFill>
            </p:spPr>
            <p:txBody>
              <a:bodyPr wrap="square" lIns="0" tIns="0" rIns="0" bIns="0">
                <a:spAutoFit/>
              </a:bodyPr>
              <a:lstStyle/>
              <a:p>
                <a:pPr lvl="0" algn="ctr" defTabSz="932742">
                  <a:lnSpc>
                    <a:spcPct val="90000"/>
                  </a:lnSpc>
                  <a:spcAft>
                    <a:spcPts val="600"/>
                  </a:spcAft>
                  <a:defRPr/>
                </a:pPr>
                <a:r>
                  <a:rPr lang="en-US" sz="900" kern="0" dirty="0">
                    <a:solidFill>
                      <a:schemeClr val="tx2"/>
                    </a:solidFill>
                    <a:ea typeface="Arial Unicode MS" panose="020B0604020202020204" pitchFamily="34" charset="-128"/>
                    <a:cs typeface="Arial Unicode MS" panose="020B0604020202020204" pitchFamily="34" charset="-128"/>
                  </a:rPr>
                  <a:t>Block </a:t>
                </a:r>
              </a:p>
            </p:txBody>
          </p:sp>
        </p:grpSp>
        <p:grpSp>
          <p:nvGrpSpPr>
            <p:cNvPr id="105" name="Group 104"/>
            <p:cNvGrpSpPr/>
            <p:nvPr/>
          </p:nvGrpSpPr>
          <p:grpSpPr>
            <a:xfrm>
              <a:off x="7339461" y="4012744"/>
              <a:ext cx="565425" cy="711494"/>
              <a:chOff x="7196823" y="2632752"/>
              <a:chExt cx="565425" cy="711494"/>
            </a:xfrm>
          </p:grpSpPr>
          <p:pic>
            <p:nvPicPr>
              <p:cNvPr id="118" name="Picture 2" descr="\\MAGNUM\Projects\Microsoft\Cloud Power FY12\Design\ICONS_PNG\Server.png"/>
              <p:cNvPicPr>
                <a:picLocks noChangeAspect="1" noChangeArrowheads="1"/>
              </p:cNvPicPr>
              <p:nvPr/>
            </p:nvPicPr>
            <p:blipFill rotWithShape="1">
              <a:blip r:embed="rId4" cstate="print">
                <a:lum bright="100000"/>
              </a:blip>
              <a:srcRect l="19080" t="11111" r="18421" b="10243"/>
              <a:stretch/>
            </p:blipFill>
            <p:spPr bwMode="auto">
              <a:xfrm>
                <a:off x="7196823" y="2632752"/>
                <a:ext cx="565425" cy="711494"/>
              </a:xfrm>
              <a:prstGeom prst="rect">
                <a:avLst/>
              </a:prstGeom>
              <a:noFill/>
            </p:spPr>
          </p:pic>
          <p:sp>
            <p:nvSpPr>
              <p:cNvPr id="119" name="Rectangle 118"/>
              <p:cNvSpPr/>
              <p:nvPr/>
            </p:nvSpPr>
            <p:spPr>
              <a:xfrm>
                <a:off x="7280415" y="3097550"/>
                <a:ext cx="295938" cy="124650"/>
              </a:xfrm>
              <a:prstGeom prst="rect">
                <a:avLst/>
              </a:prstGeom>
              <a:solidFill>
                <a:schemeClr val="bg1"/>
              </a:solidFill>
            </p:spPr>
            <p:txBody>
              <a:bodyPr wrap="square" lIns="0" tIns="0" rIns="0" bIns="0">
                <a:spAutoFit/>
              </a:bodyPr>
              <a:lstStyle/>
              <a:p>
                <a:pPr lvl="0" algn="ctr" defTabSz="932742">
                  <a:lnSpc>
                    <a:spcPct val="90000"/>
                  </a:lnSpc>
                  <a:spcAft>
                    <a:spcPts val="600"/>
                  </a:spcAft>
                  <a:defRPr/>
                </a:pPr>
                <a:r>
                  <a:rPr lang="en-US" sz="900" kern="0" dirty="0">
                    <a:solidFill>
                      <a:schemeClr val="tx2"/>
                    </a:solidFill>
                    <a:ea typeface="Arial Unicode MS" panose="020B0604020202020204" pitchFamily="34" charset="-128"/>
                    <a:cs typeface="Arial Unicode MS" panose="020B0604020202020204" pitchFamily="34" charset="-128"/>
                  </a:rPr>
                  <a:t>Block </a:t>
                </a:r>
              </a:p>
            </p:txBody>
          </p:sp>
        </p:grpSp>
        <p:grpSp>
          <p:nvGrpSpPr>
            <p:cNvPr id="106" name="Group 105"/>
            <p:cNvGrpSpPr/>
            <p:nvPr/>
          </p:nvGrpSpPr>
          <p:grpSpPr>
            <a:xfrm>
              <a:off x="8204759" y="4012744"/>
              <a:ext cx="565425" cy="711494"/>
              <a:chOff x="7196823" y="2632752"/>
              <a:chExt cx="565425" cy="711494"/>
            </a:xfrm>
          </p:grpSpPr>
          <p:pic>
            <p:nvPicPr>
              <p:cNvPr id="116" name="Picture 2" descr="\\MAGNUM\Projects\Microsoft\Cloud Power FY12\Design\ICONS_PNG\Server.png"/>
              <p:cNvPicPr>
                <a:picLocks noChangeAspect="1" noChangeArrowheads="1"/>
              </p:cNvPicPr>
              <p:nvPr/>
            </p:nvPicPr>
            <p:blipFill rotWithShape="1">
              <a:blip r:embed="rId4" cstate="print">
                <a:lum bright="100000"/>
              </a:blip>
              <a:srcRect l="19080" t="11111" r="18421" b="10243"/>
              <a:stretch/>
            </p:blipFill>
            <p:spPr bwMode="auto">
              <a:xfrm>
                <a:off x="7196823" y="2632752"/>
                <a:ext cx="565425" cy="711494"/>
              </a:xfrm>
              <a:prstGeom prst="rect">
                <a:avLst/>
              </a:prstGeom>
              <a:noFill/>
            </p:spPr>
          </p:pic>
          <p:sp>
            <p:nvSpPr>
              <p:cNvPr id="117" name="Rectangle 116"/>
              <p:cNvSpPr/>
              <p:nvPr/>
            </p:nvSpPr>
            <p:spPr>
              <a:xfrm>
                <a:off x="7280415" y="3097550"/>
                <a:ext cx="295938" cy="124650"/>
              </a:xfrm>
              <a:prstGeom prst="rect">
                <a:avLst/>
              </a:prstGeom>
              <a:solidFill>
                <a:schemeClr val="bg1"/>
              </a:solidFill>
            </p:spPr>
            <p:txBody>
              <a:bodyPr wrap="square" lIns="0" tIns="0" rIns="0" bIns="0">
                <a:spAutoFit/>
              </a:bodyPr>
              <a:lstStyle/>
              <a:p>
                <a:pPr lvl="0" algn="ctr" defTabSz="932742">
                  <a:lnSpc>
                    <a:spcPct val="90000"/>
                  </a:lnSpc>
                  <a:spcAft>
                    <a:spcPts val="600"/>
                  </a:spcAft>
                  <a:defRPr/>
                </a:pPr>
                <a:r>
                  <a:rPr lang="en-US" sz="900" kern="0" dirty="0">
                    <a:solidFill>
                      <a:schemeClr val="tx2"/>
                    </a:solidFill>
                    <a:ea typeface="Arial Unicode MS" panose="020B0604020202020204" pitchFamily="34" charset="-128"/>
                    <a:cs typeface="Arial Unicode MS" panose="020B0604020202020204" pitchFamily="34" charset="-128"/>
                  </a:rPr>
                  <a:t>Block </a:t>
                </a:r>
              </a:p>
            </p:txBody>
          </p:sp>
        </p:grpSp>
        <p:grpSp>
          <p:nvGrpSpPr>
            <p:cNvPr id="107" name="Group 106"/>
            <p:cNvGrpSpPr/>
            <p:nvPr/>
          </p:nvGrpSpPr>
          <p:grpSpPr>
            <a:xfrm>
              <a:off x="9116764" y="4012744"/>
              <a:ext cx="565425" cy="711494"/>
              <a:chOff x="7196823" y="2632752"/>
              <a:chExt cx="565425" cy="711494"/>
            </a:xfrm>
          </p:grpSpPr>
          <p:pic>
            <p:nvPicPr>
              <p:cNvPr id="114" name="Picture 2" descr="\\MAGNUM\Projects\Microsoft\Cloud Power FY12\Design\ICONS_PNG\Server.png"/>
              <p:cNvPicPr>
                <a:picLocks noChangeAspect="1" noChangeArrowheads="1"/>
              </p:cNvPicPr>
              <p:nvPr/>
            </p:nvPicPr>
            <p:blipFill rotWithShape="1">
              <a:blip r:embed="rId4" cstate="print">
                <a:lum bright="100000"/>
              </a:blip>
              <a:srcRect l="19080" t="11111" r="18421" b="10243"/>
              <a:stretch/>
            </p:blipFill>
            <p:spPr bwMode="auto">
              <a:xfrm>
                <a:off x="7196823" y="2632752"/>
                <a:ext cx="565425" cy="711494"/>
              </a:xfrm>
              <a:prstGeom prst="rect">
                <a:avLst/>
              </a:prstGeom>
              <a:noFill/>
            </p:spPr>
          </p:pic>
          <p:sp>
            <p:nvSpPr>
              <p:cNvPr id="115" name="Rectangle 114"/>
              <p:cNvSpPr/>
              <p:nvPr/>
            </p:nvSpPr>
            <p:spPr>
              <a:xfrm>
                <a:off x="7280415" y="3097550"/>
                <a:ext cx="295938" cy="124650"/>
              </a:xfrm>
              <a:prstGeom prst="rect">
                <a:avLst/>
              </a:prstGeom>
              <a:solidFill>
                <a:schemeClr val="bg1"/>
              </a:solidFill>
            </p:spPr>
            <p:txBody>
              <a:bodyPr wrap="square" lIns="0" tIns="0" rIns="0" bIns="0">
                <a:spAutoFit/>
              </a:bodyPr>
              <a:lstStyle/>
              <a:p>
                <a:pPr lvl="0" algn="ctr" defTabSz="932742">
                  <a:lnSpc>
                    <a:spcPct val="90000"/>
                  </a:lnSpc>
                  <a:spcAft>
                    <a:spcPts val="600"/>
                  </a:spcAft>
                  <a:defRPr/>
                </a:pPr>
                <a:r>
                  <a:rPr lang="en-US" sz="900" kern="0" dirty="0">
                    <a:solidFill>
                      <a:schemeClr val="tx2"/>
                    </a:solidFill>
                    <a:ea typeface="Arial Unicode MS" panose="020B0604020202020204" pitchFamily="34" charset="-128"/>
                    <a:cs typeface="Arial Unicode MS" panose="020B0604020202020204" pitchFamily="34" charset="-128"/>
                  </a:rPr>
                  <a:t>Block </a:t>
                </a:r>
              </a:p>
            </p:txBody>
          </p:sp>
        </p:grpSp>
        <p:grpSp>
          <p:nvGrpSpPr>
            <p:cNvPr id="108" name="Group 107"/>
            <p:cNvGrpSpPr/>
            <p:nvPr/>
          </p:nvGrpSpPr>
          <p:grpSpPr>
            <a:xfrm>
              <a:off x="9982062" y="4012744"/>
              <a:ext cx="565425" cy="711494"/>
              <a:chOff x="7196823" y="2632752"/>
              <a:chExt cx="565425" cy="711494"/>
            </a:xfrm>
          </p:grpSpPr>
          <p:pic>
            <p:nvPicPr>
              <p:cNvPr id="112" name="Picture 2" descr="\\MAGNUM\Projects\Microsoft\Cloud Power FY12\Design\ICONS_PNG\Server.png"/>
              <p:cNvPicPr>
                <a:picLocks noChangeAspect="1" noChangeArrowheads="1"/>
              </p:cNvPicPr>
              <p:nvPr/>
            </p:nvPicPr>
            <p:blipFill rotWithShape="1">
              <a:blip r:embed="rId4" cstate="print">
                <a:lum bright="100000"/>
              </a:blip>
              <a:srcRect l="19080" t="11111" r="18421" b="10243"/>
              <a:stretch/>
            </p:blipFill>
            <p:spPr bwMode="auto">
              <a:xfrm>
                <a:off x="7196823" y="2632752"/>
                <a:ext cx="565425" cy="711494"/>
              </a:xfrm>
              <a:prstGeom prst="rect">
                <a:avLst/>
              </a:prstGeom>
              <a:noFill/>
            </p:spPr>
          </p:pic>
          <p:sp>
            <p:nvSpPr>
              <p:cNvPr id="113" name="Rectangle 112"/>
              <p:cNvSpPr/>
              <p:nvPr/>
            </p:nvSpPr>
            <p:spPr>
              <a:xfrm>
                <a:off x="7280415" y="3097550"/>
                <a:ext cx="295938" cy="124650"/>
              </a:xfrm>
              <a:prstGeom prst="rect">
                <a:avLst/>
              </a:prstGeom>
              <a:solidFill>
                <a:schemeClr val="bg1"/>
              </a:solidFill>
            </p:spPr>
            <p:txBody>
              <a:bodyPr wrap="square" lIns="0" tIns="0" rIns="0" bIns="0">
                <a:spAutoFit/>
              </a:bodyPr>
              <a:lstStyle/>
              <a:p>
                <a:pPr lvl="0" algn="ctr" defTabSz="932742">
                  <a:lnSpc>
                    <a:spcPct val="90000"/>
                  </a:lnSpc>
                  <a:spcAft>
                    <a:spcPts val="600"/>
                  </a:spcAft>
                  <a:defRPr/>
                </a:pPr>
                <a:r>
                  <a:rPr lang="en-US" sz="900" kern="0" dirty="0">
                    <a:solidFill>
                      <a:schemeClr val="tx2"/>
                    </a:solidFill>
                    <a:ea typeface="Arial Unicode MS" panose="020B0604020202020204" pitchFamily="34" charset="-128"/>
                    <a:cs typeface="Arial Unicode MS" panose="020B0604020202020204" pitchFamily="34" charset="-128"/>
                  </a:rPr>
                  <a:t>Block </a:t>
                </a:r>
              </a:p>
            </p:txBody>
          </p:sp>
        </p:grpSp>
        <p:grpSp>
          <p:nvGrpSpPr>
            <p:cNvPr id="109" name="Group 108"/>
            <p:cNvGrpSpPr/>
            <p:nvPr/>
          </p:nvGrpSpPr>
          <p:grpSpPr>
            <a:xfrm>
              <a:off x="10837855" y="4012744"/>
              <a:ext cx="565425" cy="711494"/>
              <a:chOff x="7196823" y="2632752"/>
              <a:chExt cx="565425" cy="711494"/>
            </a:xfrm>
          </p:grpSpPr>
          <p:pic>
            <p:nvPicPr>
              <p:cNvPr id="110" name="Picture 2" descr="\\MAGNUM\Projects\Microsoft\Cloud Power FY12\Design\ICONS_PNG\Server.png"/>
              <p:cNvPicPr>
                <a:picLocks noChangeAspect="1" noChangeArrowheads="1"/>
              </p:cNvPicPr>
              <p:nvPr/>
            </p:nvPicPr>
            <p:blipFill rotWithShape="1">
              <a:blip r:embed="rId4" cstate="print">
                <a:lum bright="100000"/>
              </a:blip>
              <a:srcRect l="19080" t="11111" r="18421" b="10243"/>
              <a:stretch/>
            </p:blipFill>
            <p:spPr bwMode="auto">
              <a:xfrm>
                <a:off x="7196823" y="2632752"/>
                <a:ext cx="565425" cy="711494"/>
              </a:xfrm>
              <a:prstGeom prst="rect">
                <a:avLst/>
              </a:prstGeom>
              <a:noFill/>
            </p:spPr>
          </p:pic>
          <p:sp>
            <p:nvSpPr>
              <p:cNvPr id="111" name="Rectangle 110"/>
              <p:cNvSpPr/>
              <p:nvPr/>
            </p:nvSpPr>
            <p:spPr>
              <a:xfrm>
                <a:off x="7280415" y="3097550"/>
                <a:ext cx="295938" cy="124650"/>
              </a:xfrm>
              <a:prstGeom prst="rect">
                <a:avLst/>
              </a:prstGeom>
              <a:solidFill>
                <a:schemeClr val="bg1"/>
              </a:solidFill>
            </p:spPr>
            <p:txBody>
              <a:bodyPr wrap="square" lIns="0" tIns="0" rIns="0" bIns="0">
                <a:spAutoFit/>
              </a:bodyPr>
              <a:lstStyle/>
              <a:p>
                <a:pPr lvl="0" algn="ctr" defTabSz="932742">
                  <a:lnSpc>
                    <a:spcPct val="90000"/>
                  </a:lnSpc>
                  <a:spcAft>
                    <a:spcPts val="600"/>
                  </a:spcAft>
                  <a:defRPr/>
                </a:pPr>
                <a:r>
                  <a:rPr lang="en-US" sz="900" kern="0" dirty="0">
                    <a:solidFill>
                      <a:schemeClr val="tx2"/>
                    </a:solidFill>
                    <a:ea typeface="Arial Unicode MS" panose="020B0604020202020204" pitchFamily="34" charset="-128"/>
                    <a:cs typeface="Arial Unicode MS" panose="020B0604020202020204" pitchFamily="34" charset="-128"/>
                  </a:rPr>
                  <a:t>Block </a:t>
                </a:r>
              </a:p>
            </p:txBody>
          </p:sp>
        </p:grpSp>
      </p:grpSp>
      <p:grpSp>
        <p:nvGrpSpPr>
          <p:cNvPr id="122" name="Group 121"/>
          <p:cNvGrpSpPr/>
          <p:nvPr/>
        </p:nvGrpSpPr>
        <p:grpSpPr>
          <a:xfrm>
            <a:off x="6751659" y="3323303"/>
            <a:ext cx="4378414" cy="551106"/>
            <a:chOff x="6751659" y="3323303"/>
            <a:chExt cx="4378414" cy="551106"/>
          </a:xfrm>
        </p:grpSpPr>
        <p:cxnSp>
          <p:nvCxnSpPr>
            <p:cNvPr id="123" name="Straight Arrow Connector 122"/>
            <p:cNvCxnSpPr>
              <a:endCxn id="103" idx="0"/>
            </p:cNvCxnSpPr>
            <p:nvPr/>
          </p:nvCxnSpPr>
          <p:spPr>
            <a:xfrm>
              <a:off x="7622174" y="3581400"/>
              <a:ext cx="0" cy="288595"/>
            </a:xfrm>
            <a:prstGeom prst="straightConnector1">
              <a:avLst/>
            </a:prstGeom>
            <a:ln>
              <a:solidFill>
                <a:schemeClr val="bg1">
                  <a:lumMod val="50000"/>
                </a:schemeClr>
              </a:solidFill>
              <a:headEnd type="none" w="lg" len="med"/>
              <a:tailEnd type="triangle" w="lg" len="med"/>
            </a:ln>
          </p:spPr>
          <p:style>
            <a:lnRef idx="1">
              <a:schemeClr val="accent1"/>
            </a:lnRef>
            <a:fillRef idx="0">
              <a:schemeClr val="accent1"/>
            </a:fillRef>
            <a:effectRef idx="0">
              <a:schemeClr val="accent1"/>
            </a:effectRef>
            <a:fontRef idx="minor">
              <a:schemeClr val="tx1"/>
            </a:fontRef>
          </p:style>
        </p:cxnSp>
        <p:cxnSp>
          <p:nvCxnSpPr>
            <p:cNvPr id="124" name="Straight Arrow Connector 123"/>
            <p:cNvCxnSpPr/>
            <p:nvPr/>
          </p:nvCxnSpPr>
          <p:spPr>
            <a:xfrm>
              <a:off x="8492690" y="3581400"/>
              <a:ext cx="0" cy="288595"/>
            </a:xfrm>
            <a:prstGeom prst="straightConnector1">
              <a:avLst/>
            </a:prstGeom>
            <a:ln>
              <a:solidFill>
                <a:schemeClr val="bg1">
                  <a:lumMod val="50000"/>
                </a:schemeClr>
              </a:solidFill>
              <a:headEnd type="none" w="lg" len="med"/>
              <a:tailEnd type="triangle" w="lg" len="med"/>
            </a:ln>
          </p:spPr>
          <p:style>
            <a:lnRef idx="1">
              <a:schemeClr val="accent1"/>
            </a:lnRef>
            <a:fillRef idx="0">
              <a:schemeClr val="accent1"/>
            </a:fillRef>
            <a:effectRef idx="0">
              <a:schemeClr val="accent1"/>
            </a:effectRef>
            <a:fontRef idx="minor">
              <a:schemeClr val="tx1"/>
            </a:fontRef>
          </p:style>
        </p:cxnSp>
        <p:cxnSp>
          <p:nvCxnSpPr>
            <p:cNvPr id="125" name="Straight Arrow Connector 124"/>
            <p:cNvCxnSpPr/>
            <p:nvPr/>
          </p:nvCxnSpPr>
          <p:spPr>
            <a:xfrm>
              <a:off x="9399477" y="3581400"/>
              <a:ext cx="0" cy="288595"/>
            </a:xfrm>
            <a:prstGeom prst="straightConnector1">
              <a:avLst/>
            </a:prstGeom>
            <a:ln>
              <a:solidFill>
                <a:schemeClr val="bg1">
                  <a:lumMod val="50000"/>
                </a:schemeClr>
              </a:solidFill>
              <a:headEnd type="none" w="lg" len="med"/>
              <a:tailEnd type="triangle" w="lg" len="med"/>
            </a:ln>
          </p:spPr>
          <p:style>
            <a:lnRef idx="1">
              <a:schemeClr val="accent1"/>
            </a:lnRef>
            <a:fillRef idx="0">
              <a:schemeClr val="accent1"/>
            </a:fillRef>
            <a:effectRef idx="0">
              <a:schemeClr val="accent1"/>
            </a:effectRef>
            <a:fontRef idx="minor">
              <a:schemeClr val="tx1"/>
            </a:fontRef>
          </p:style>
        </p:cxnSp>
        <p:cxnSp>
          <p:nvCxnSpPr>
            <p:cNvPr id="126" name="Straight Arrow Connector 125"/>
            <p:cNvCxnSpPr/>
            <p:nvPr/>
          </p:nvCxnSpPr>
          <p:spPr>
            <a:xfrm>
              <a:off x="10269992" y="3581400"/>
              <a:ext cx="0" cy="288595"/>
            </a:xfrm>
            <a:prstGeom prst="straightConnector1">
              <a:avLst/>
            </a:prstGeom>
            <a:ln>
              <a:solidFill>
                <a:schemeClr val="bg1">
                  <a:lumMod val="50000"/>
                </a:schemeClr>
              </a:solidFill>
              <a:headEnd type="none" w="lg" len="med"/>
              <a:tailEnd type="triangle" w="lg" len="med"/>
            </a:ln>
          </p:spPr>
          <p:style>
            <a:lnRef idx="1">
              <a:schemeClr val="accent1"/>
            </a:lnRef>
            <a:fillRef idx="0">
              <a:schemeClr val="accent1"/>
            </a:fillRef>
            <a:effectRef idx="0">
              <a:schemeClr val="accent1"/>
            </a:effectRef>
            <a:fontRef idx="minor">
              <a:schemeClr val="tx1"/>
            </a:fontRef>
          </p:style>
        </p:cxnSp>
        <p:cxnSp>
          <p:nvCxnSpPr>
            <p:cNvPr id="127" name="Straight Connector 126"/>
            <p:cNvCxnSpPr/>
            <p:nvPr/>
          </p:nvCxnSpPr>
          <p:spPr>
            <a:xfrm flipH="1">
              <a:off x="8943975" y="3323303"/>
              <a:ext cx="2107" cy="258097"/>
            </a:xfrm>
            <a:prstGeom prst="line">
              <a:avLst/>
            </a:prstGeom>
            <a:ln>
              <a:solidFill>
                <a:schemeClr val="bg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8" name="Elbow Connector 127"/>
            <p:cNvCxnSpPr>
              <a:stCxn id="98" idx="0"/>
              <a:endCxn id="102" idx="0"/>
            </p:cNvCxnSpPr>
            <p:nvPr/>
          </p:nvCxnSpPr>
          <p:spPr>
            <a:xfrm rot="5400000" flipH="1" flipV="1">
              <a:off x="8938659" y="1682995"/>
              <a:ext cx="4414" cy="4378414"/>
            </a:xfrm>
            <a:prstGeom prst="bentConnector3">
              <a:avLst>
                <a:gd name="adj1" fmla="val 6573720"/>
              </a:avLst>
            </a:prstGeom>
            <a:ln>
              <a:solidFill>
                <a:schemeClr val="bg1">
                  <a:lumMod val="50000"/>
                </a:schemeClr>
              </a:solidFill>
              <a:headEnd type="triangle" w="lg" len="med"/>
              <a:tailEnd type="triangle" w="lg" len="me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138163138"/>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2750"/>
                            </p:stCondLst>
                            <p:childTnLst>
                              <p:par>
                                <p:cTn id="5" presetID="10" presetClass="entr" presetSubtype="0" fill="hold" grpId="0" nodeType="after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500"/>
                                        <p:tgtEl>
                                          <p:spTgt spid="12"/>
                                        </p:tgtEl>
                                      </p:cBhvr>
                                    </p:animEffect>
                                  </p:childTnLst>
                                </p:cTn>
                              </p:par>
                            </p:childTnLst>
                          </p:cTn>
                        </p:par>
                        <p:par>
                          <p:cTn id="8" fill="hold">
                            <p:stCondLst>
                              <p:cond delay="3250"/>
                            </p:stCondLst>
                            <p:childTnLst>
                              <p:par>
                                <p:cTn id="9" presetID="22" presetClass="entr" presetSubtype="8" fill="hold" nodeType="afterEffect">
                                  <p:stCondLst>
                                    <p:cond delay="0"/>
                                  </p:stCondLst>
                                  <p:childTnLst>
                                    <p:set>
                                      <p:cBhvr>
                                        <p:cTn id="10" dur="1" fill="hold">
                                          <p:stCondLst>
                                            <p:cond delay="0"/>
                                          </p:stCondLst>
                                        </p:cTn>
                                        <p:tgtEl>
                                          <p:spTgt spid="12">
                                            <p:txEl>
                                              <p:pRg st="1" end="1"/>
                                            </p:txEl>
                                          </p:spTgt>
                                        </p:tgtEl>
                                        <p:attrNameLst>
                                          <p:attrName>style.visibility</p:attrName>
                                        </p:attrNameLst>
                                      </p:cBhvr>
                                      <p:to>
                                        <p:strVal val="visible"/>
                                      </p:to>
                                    </p:set>
                                    <p:animEffect transition="in" filter="wipe(left)">
                                      <p:cBhvr>
                                        <p:cTn id="11" dur="1000"/>
                                        <p:tgtEl>
                                          <p:spTgt spid="12">
                                            <p:txEl>
                                              <p:pRg st="1" end="1"/>
                                            </p:txEl>
                                          </p:spTgt>
                                        </p:tgtEl>
                                      </p:cBhvr>
                                    </p:animEffect>
                                  </p:childTnLst>
                                </p:cTn>
                              </p:par>
                            </p:childTnLst>
                          </p:cTn>
                        </p:par>
                        <p:par>
                          <p:cTn id="12" fill="hold">
                            <p:stCondLst>
                              <p:cond delay="4250"/>
                            </p:stCondLst>
                            <p:childTnLst>
                              <p:par>
                                <p:cTn id="13" presetID="22" presetClass="entr" presetSubtype="8" fill="hold" nodeType="afterEffect">
                                  <p:stCondLst>
                                    <p:cond delay="0"/>
                                  </p:stCondLst>
                                  <p:childTnLst>
                                    <p:set>
                                      <p:cBhvr>
                                        <p:cTn id="14" dur="1" fill="hold">
                                          <p:stCondLst>
                                            <p:cond delay="0"/>
                                          </p:stCondLst>
                                        </p:cTn>
                                        <p:tgtEl>
                                          <p:spTgt spid="12">
                                            <p:txEl>
                                              <p:pRg st="2" end="2"/>
                                            </p:txEl>
                                          </p:spTgt>
                                        </p:tgtEl>
                                        <p:attrNameLst>
                                          <p:attrName>style.visibility</p:attrName>
                                        </p:attrNameLst>
                                      </p:cBhvr>
                                      <p:to>
                                        <p:strVal val="visible"/>
                                      </p:to>
                                    </p:set>
                                    <p:animEffect transition="in" filter="wipe(left)">
                                      <p:cBhvr>
                                        <p:cTn id="15" dur="1250"/>
                                        <p:tgtEl>
                                          <p:spTgt spid="12">
                                            <p:txEl>
                                              <p:pRg st="2" end="2"/>
                                            </p:txEl>
                                          </p:spTgt>
                                        </p:tgtEl>
                                      </p:cBhvr>
                                    </p:animEffect>
                                  </p:childTnLst>
                                </p:cTn>
                              </p:par>
                            </p:childTnLst>
                          </p:cTn>
                        </p:par>
                        <p:par>
                          <p:cTn id="16" fill="hold">
                            <p:stCondLst>
                              <p:cond delay="5500"/>
                            </p:stCondLst>
                            <p:childTnLst>
                              <p:par>
                                <p:cTn id="17" presetID="10" presetClass="entr" presetSubtype="0" fill="hold" grpId="0" nodeType="afterEffect">
                                  <p:stCondLst>
                                    <p:cond delay="0"/>
                                  </p:stCondLst>
                                  <p:childTnLst>
                                    <p:set>
                                      <p:cBhvr>
                                        <p:cTn id="18" dur="1" fill="hold">
                                          <p:stCondLst>
                                            <p:cond delay="0"/>
                                          </p:stCondLst>
                                        </p:cTn>
                                        <p:tgtEl>
                                          <p:spTgt spid="68"/>
                                        </p:tgtEl>
                                        <p:attrNameLst>
                                          <p:attrName>style.visibility</p:attrName>
                                        </p:attrNameLst>
                                      </p:cBhvr>
                                      <p:to>
                                        <p:strVal val="visible"/>
                                      </p:to>
                                    </p:set>
                                    <p:animEffect transition="in" filter="fade">
                                      <p:cBhvr>
                                        <p:cTn id="19" dur="500"/>
                                        <p:tgtEl>
                                          <p:spTgt spid="68"/>
                                        </p:tgtEl>
                                      </p:cBhvr>
                                    </p:animEffect>
                                  </p:childTnLst>
                                </p:cTn>
                              </p:par>
                            </p:childTnLst>
                          </p:cTn>
                        </p:par>
                        <p:par>
                          <p:cTn id="20" fill="hold">
                            <p:stCondLst>
                              <p:cond delay="6000"/>
                            </p:stCondLst>
                            <p:childTnLst>
                              <p:par>
                                <p:cTn id="21" presetID="22" presetClass="entr" presetSubtype="1" fill="hold" nodeType="afterEffect">
                                  <p:stCondLst>
                                    <p:cond delay="0"/>
                                  </p:stCondLst>
                                  <p:childTnLst>
                                    <p:set>
                                      <p:cBhvr>
                                        <p:cTn id="22" dur="1" fill="hold">
                                          <p:stCondLst>
                                            <p:cond delay="0"/>
                                          </p:stCondLst>
                                        </p:cTn>
                                        <p:tgtEl>
                                          <p:spTgt spid="52"/>
                                        </p:tgtEl>
                                        <p:attrNameLst>
                                          <p:attrName>style.visibility</p:attrName>
                                        </p:attrNameLst>
                                      </p:cBhvr>
                                      <p:to>
                                        <p:strVal val="visible"/>
                                      </p:to>
                                    </p:set>
                                    <p:animEffect transition="in" filter="wipe(up)">
                                      <p:cBhvr>
                                        <p:cTn id="23" dur="250"/>
                                        <p:tgtEl>
                                          <p:spTgt spid="52"/>
                                        </p:tgtEl>
                                      </p:cBhvr>
                                    </p:animEffect>
                                  </p:childTnLst>
                                </p:cTn>
                              </p:par>
                            </p:childTnLst>
                          </p:cTn>
                        </p:par>
                        <p:par>
                          <p:cTn id="24" fill="hold">
                            <p:stCondLst>
                              <p:cond delay="6250"/>
                            </p:stCondLst>
                            <p:childTnLst>
                              <p:par>
                                <p:cTn id="25" presetID="10" presetClass="entr" presetSubtype="0" fill="hold" nodeType="afterEffect">
                                  <p:stCondLst>
                                    <p:cond delay="0"/>
                                  </p:stCondLst>
                                  <p:childTnLst>
                                    <p:set>
                                      <p:cBhvr>
                                        <p:cTn id="26" dur="1" fill="hold">
                                          <p:stCondLst>
                                            <p:cond delay="0"/>
                                          </p:stCondLst>
                                        </p:cTn>
                                        <p:tgtEl>
                                          <p:spTgt spid="74"/>
                                        </p:tgtEl>
                                        <p:attrNameLst>
                                          <p:attrName>style.visibility</p:attrName>
                                        </p:attrNameLst>
                                      </p:cBhvr>
                                      <p:to>
                                        <p:strVal val="visible"/>
                                      </p:to>
                                    </p:set>
                                    <p:animEffect transition="in" filter="fade">
                                      <p:cBhvr>
                                        <p:cTn id="27" dur="500"/>
                                        <p:tgtEl>
                                          <p:spTgt spid="74"/>
                                        </p:tgtEl>
                                      </p:cBhvr>
                                    </p:animEffect>
                                  </p:childTnLst>
                                </p:cTn>
                              </p:par>
                            </p:childTnLst>
                          </p:cTn>
                        </p:par>
                        <p:par>
                          <p:cTn id="28" fill="hold">
                            <p:stCondLst>
                              <p:cond delay="6750"/>
                            </p:stCondLst>
                            <p:childTnLst>
                              <p:par>
                                <p:cTn id="29" presetID="22" presetClass="entr" presetSubtype="1" fill="hold" nodeType="afterEffect">
                                  <p:stCondLst>
                                    <p:cond delay="0"/>
                                  </p:stCondLst>
                                  <p:childTnLst>
                                    <p:set>
                                      <p:cBhvr>
                                        <p:cTn id="30" dur="1" fill="hold">
                                          <p:stCondLst>
                                            <p:cond delay="0"/>
                                          </p:stCondLst>
                                        </p:cTn>
                                        <p:tgtEl>
                                          <p:spTgt spid="122"/>
                                        </p:tgtEl>
                                        <p:attrNameLst>
                                          <p:attrName>style.visibility</p:attrName>
                                        </p:attrNameLst>
                                      </p:cBhvr>
                                      <p:to>
                                        <p:strVal val="visible"/>
                                      </p:to>
                                    </p:set>
                                    <p:animEffect transition="in" filter="wipe(up)">
                                      <p:cBhvr>
                                        <p:cTn id="31" dur="500"/>
                                        <p:tgtEl>
                                          <p:spTgt spid="122"/>
                                        </p:tgtEl>
                                      </p:cBhvr>
                                    </p:animEffect>
                                  </p:childTnLst>
                                </p:cTn>
                              </p:par>
                            </p:childTnLst>
                          </p:cTn>
                        </p:par>
                        <p:par>
                          <p:cTn id="32" fill="hold">
                            <p:stCondLst>
                              <p:cond delay="7250"/>
                            </p:stCondLst>
                            <p:childTnLst>
                              <p:par>
                                <p:cTn id="33" presetID="10" presetClass="entr" presetSubtype="0" fill="hold" nodeType="afterEffect">
                                  <p:stCondLst>
                                    <p:cond delay="0"/>
                                  </p:stCondLst>
                                  <p:childTnLst>
                                    <p:set>
                                      <p:cBhvr>
                                        <p:cTn id="34" dur="1" fill="hold">
                                          <p:stCondLst>
                                            <p:cond delay="0"/>
                                          </p:stCondLst>
                                        </p:cTn>
                                        <p:tgtEl>
                                          <p:spTgt spid="96"/>
                                        </p:tgtEl>
                                        <p:attrNameLst>
                                          <p:attrName>style.visibility</p:attrName>
                                        </p:attrNameLst>
                                      </p:cBhvr>
                                      <p:to>
                                        <p:strVal val="visible"/>
                                      </p:to>
                                    </p:set>
                                    <p:animEffect transition="in" filter="fade">
                                      <p:cBhvr>
                                        <p:cTn id="35" dur="500"/>
                                        <p:tgtEl>
                                          <p:spTgt spid="9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68" grpId="0"/>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ADL Store: high availability and reliability</a:t>
            </a:r>
          </a:p>
        </p:txBody>
      </p:sp>
      <p:sp>
        <p:nvSpPr>
          <p:cNvPr id="12" name="Rectangle 11"/>
          <p:cNvSpPr/>
          <p:nvPr/>
        </p:nvSpPr>
        <p:spPr bwMode="auto">
          <a:xfrm>
            <a:off x="0" y="1262063"/>
            <a:ext cx="12192000" cy="4907731"/>
          </a:xfrm>
          <a:prstGeom prst="rect">
            <a:avLst/>
          </a:prstGeom>
          <a:solidFill>
            <a:schemeClr val="bg1">
              <a:lumMod val="95000"/>
            </a:schemeClr>
          </a:solidFill>
          <a:ln w="3175">
            <a:solidFill>
              <a:schemeClr val="bg1">
                <a:lumMod val="9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457200" rIns="5760720" bIns="91440" numCol="1" spcCol="0" rtlCol="0" fromWordArt="0" anchor="t" anchorCtr="0" forceAA="0" compatLnSpc="1">
            <a:prstTxWarp prst="textNoShape">
              <a:avLst/>
            </a:prstTxWarp>
            <a:noAutofit/>
          </a:bodyPr>
          <a:lstStyle/>
          <a:p>
            <a:pPr marL="347472" indent="-292608" fontAlgn="base">
              <a:spcBef>
                <a:spcPts val="600"/>
              </a:spcBef>
              <a:spcAft>
                <a:spcPts val="600"/>
              </a:spcAft>
              <a:buClr>
                <a:srgbClr val="50B347"/>
              </a:buClr>
              <a:buSzPct val="100000"/>
              <a:buBlip>
                <a:blip r:embed="rId3"/>
              </a:buBlip>
              <a:tabLst>
                <a:tab pos="658368" algn="l"/>
              </a:tabLst>
            </a:pPr>
            <a:r>
              <a:rPr lang="en-GB" sz="2200" dirty="0">
                <a:solidFill>
                  <a:srgbClr val="505050"/>
                </a:solidFill>
                <a:ea typeface="Segoe UI" pitchFamily="34" charset="0"/>
                <a:cs typeface="Segoe UI" pitchFamily="34" charset="0"/>
              </a:rPr>
              <a:t>Azure maintains 3 replicas of each data object per region across three fault and upgrade domains</a:t>
            </a:r>
          </a:p>
          <a:p>
            <a:pPr marL="347472" indent="-292608" fontAlgn="base">
              <a:spcBef>
                <a:spcPts val="600"/>
              </a:spcBef>
              <a:spcAft>
                <a:spcPts val="600"/>
              </a:spcAft>
              <a:buClr>
                <a:srgbClr val="50B347"/>
              </a:buClr>
              <a:buSzPct val="100000"/>
              <a:buBlip>
                <a:blip r:embed="rId3"/>
              </a:buBlip>
              <a:tabLst>
                <a:tab pos="658368" algn="l"/>
              </a:tabLst>
            </a:pPr>
            <a:r>
              <a:rPr lang="en-GB" sz="2200" dirty="0">
                <a:solidFill>
                  <a:srgbClr val="505050"/>
                </a:solidFill>
                <a:ea typeface="Segoe UI" pitchFamily="34" charset="0"/>
                <a:cs typeface="Segoe UI" pitchFamily="34" charset="0"/>
              </a:rPr>
              <a:t>Each create or append operation on a replica is replicated to other two</a:t>
            </a:r>
          </a:p>
          <a:p>
            <a:pPr marL="347472" indent="-292608" fontAlgn="base">
              <a:spcBef>
                <a:spcPts val="600"/>
              </a:spcBef>
              <a:spcAft>
                <a:spcPts val="600"/>
              </a:spcAft>
              <a:buClr>
                <a:srgbClr val="50B347"/>
              </a:buClr>
              <a:buSzPct val="100000"/>
              <a:buBlip>
                <a:blip r:embed="rId3"/>
              </a:buBlip>
              <a:tabLst>
                <a:tab pos="658368" algn="l"/>
              </a:tabLst>
            </a:pPr>
            <a:r>
              <a:rPr lang="en-GB" sz="2200" dirty="0">
                <a:solidFill>
                  <a:srgbClr val="505050"/>
                </a:solidFill>
                <a:ea typeface="Segoe UI" pitchFamily="34" charset="0"/>
                <a:cs typeface="Segoe UI" pitchFamily="34" charset="0"/>
              </a:rPr>
              <a:t>Writes are committed to application only after all replicas are successfully updated</a:t>
            </a:r>
          </a:p>
          <a:p>
            <a:pPr marL="347472" indent="-292608" fontAlgn="base">
              <a:spcBef>
                <a:spcPts val="600"/>
              </a:spcBef>
              <a:spcAft>
                <a:spcPts val="600"/>
              </a:spcAft>
              <a:buClr>
                <a:srgbClr val="50B347"/>
              </a:buClr>
              <a:buSzPct val="100000"/>
              <a:buBlip>
                <a:blip r:embed="rId3"/>
              </a:buBlip>
              <a:tabLst>
                <a:tab pos="658368" algn="l"/>
              </a:tabLst>
            </a:pPr>
            <a:r>
              <a:rPr lang="en-GB" sz="2200" dirty="0">
                <a:solidFill>
                  <a:srgbClr val="505050"/>
                </a:solidFill>
                <a:ea typeface="Segoe UI" pitchFamily="34" charset="0"/>
                <a:cs typeface="Segoe UI" pitchFamily="34" charset="0"/>
              </a:rPr>
              <a:t>Read operations can go against</a:t>
            </a:r>
            <a:br>
              <a:rPr lang="en-GB" sz="2200" dirty="0">
                <a:solidFill>
                  <a:srgbClr val="505050"/>
                </a:solidFill>
                <a:ea typeface="Segoe UI" pitchFamily="34" charset="0"/>
                <a:cs typeface="Segoe UI" pitchFamily="34" charset="0"/>
              </a:rPr>
            </a:br>
            <a:r>
              <a:rPr lang="en-GB" sz="2200" dirty="0">
                <a:solidFill>
                  <a:srgbClr val="505050"/>
                </a:solidFill>
                <a:ea typeface="Segoe UI" pitchFamily="34" charset="0"/>
                <a:cs typeface="Segoe UI" pitchFamily="34" charset="0"/>
              </a:rPr>
              <a:t>any replica</a:t>
            </a:r>
          </a:p>
        </p:txBody>
      </p:sp>
      <p:grpSp>
        <p:nvGrpSpPr>
          <p:cNvPr id="4" name="Group 3"/>
          <p:cNvGrpSpPr/>
          <p:nvPr/>
        </p:nvGrpSpPr>
        <p:grpSpPr>
          <a:xfrm>
            <a:off x="6300564" y="1358315"/>
            <a:ext cx="5621886" cy="4715225"/>
            <a:chOff x="6135139" y="1262063"/>
            <a:chExt cx="5621886" cy="4715225"/>
          </a:xfrm>
        </p:grpSpPr>
        <p:sp>
          <p:nvSpPr>
            <p:cNvPr id="196" name="Rectangle 195"/>
            <p:cNvSpPr/>
            <p:nvPr/>
          </p:nvSpPr>
          <p:spPr bwMode="auto">
            <a:xfrm>
              <a:off x="6135139" y="1262063"/>
              <a:ext cx="5621886" cy="4715225"/>
            </a:xfrm>
            <a:prstGeom prst="rect">
              <a:avLst/>
            </a:prstGeom>
            <a:no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91440" rIns="137160" bIns="91440" numCol="1" spcCol="0" rtlCol="0" fromWordArt="0" anchor="b" anchorCtr="0" forceAA="0" compatLnSpc="1">
              <a:prstTxWarp prst="textNoShape">
                <a:avLst/>
              </a:prstTxWarp>
              <a:noAutofit/>
            </a:bodyPr>
            <a:lstStyle/>
            <a:p>
              <a:pPr marL="53965" lvl="1" algn="ctr" defTabSz="931954" fontAlgn="base">
                <a:spcBef>
                  <a:spcPts val="600"/>
                </a:spcBef>
                <a:spcAft>
                  <a:spcPts val="600"/>
                </a:spcAft>
                <a:buClr>
                  <a:srgbClr val="68217A">
                    <a:lumMod val="50000"/>
                  </a:srgbClr>
                </a:buClr>
                <a:tabLst>
                  <a:tab pos="658368" algn="l"/>
                </a:tabLst>
              </a:pPr>
              <a:r>
                <a:rPr lang="en-GB" sz="2200" dirty="0">
                  <a:solidFill>
                    <a:schemeClr val="tx2"/>
                  </a:solidFill>
                  <a:ea typeface="Segoe UI" pitchFamily="34" charset="0"/>
                  <a:cs typeface="Segoe UI" pitchFamily="34" charset="0"/>
                </a:rPr>
                <a:t>Data is never lost or unavailable</a:t>
              </a:r>
              <a:br>
                <a:rPr lang="en-GB" sz="2200" dirty="0">
                  <a:solidFill>
                    <a:schemeClr val="tx2"/>
                  </a:solidFill>
                  <a:ea typeface="Segoe UI" pitchFamily="34" charset="0"/>
                  <a:cs typeface="Segoe UI" pitchFamily="34" charset="0"/>
                </a:rPr>
              </a:br>
              <a:r>
                <a:rPr lang="en-GB" sz="2200" dirty="0">
                  <a:solidFill>
                    <a:schemeClr val="tx2"/>
                  </a:solidFill>
                  <a:ea typeface="Segoe UI" pitchFamily="34" charset="0"/>
                  <a:cs typeface="Segoe UI" pitchFamily="34" charset="0"/>
                </a:rPr>
                <a:t>even under failures</a:t>
              </a:r>
            </a:p>
          </p:txBody>
        </p:sp>
        <p:sp>
          <p:nvSpPr>
            <p:cNvPr id="97" name="Rectangle 96"/>
            <p:cNvSpPr/>
            <p:nvPr/>
          </p:nvSpPr>
          <p:spPr bwMode="auto">
            <a:xfrm>
              <a:off x="6448926" y="1362290"/>
              <a:ext cx="5205970" cy="3710224"/>
            </a:xfrm>
            <a:prstGeom prst="rect">
              <a:avLst/>
            </a:prstGeom>
            <a:solidFill>
              <a:srgbClr val="009E4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a:solidFill>
                  <a:schemeClr val="bg1"/>
                </a:solidFill>
                <a:latin typeface="+mj-lt"/>
                <a:ea typeface="Segoe UI" pitchFamily="34" charset="0"/>
                <a:cs typeface="Segoe UI" pitchFamily="34" charset="0"/>
              </a:endParaRPr>
            </a:p>
          </p:txBody>
        </p:sp>
        <p:sp>
          <p:nvSpPr>
            <p:cNvPr id="98" name="TextBox 97"/>
            <p:cNvSpPr txBox="1"/>
            <p:nvPr/>
          </p:nvSpPr>
          <p:spPr>
            <a:xfrm>
              <a:off x="8229158" y="1893822"/>
              <a:ext cx="1454270" cy="574842"/>
            </a:xfrm>
            <a:prstGeom prst="roundRect">
              <a:avLst/>
            </a:prstGeom>
            <a:solidFill>
              <a:schemeClr val="bg1"/>
            </a:solidFill>
            <a:ln>
              <a:solidFill>
                <a:schemeClr val="bg1"/>
              </a:solidFill>
            </a:ln>
          </p:spPr>
          <p:txBody>
            <a:bodyPr wrap="none" lIns="91440" tIns="45720" rIns="91440" bIns="45720" rtlCol="0" anchor="ctr">
              <a:noAutofit/>
            </a:bodyPr>
            <a:lstStyle/>
            <a:p>
              <a:pPr algn="ctr">
                <a:lnSpc>
                  <a:spcPct val="90000"/>
                </a:lnSpc>
                <a:spcAft>
                  <a:spcPts val="600"/>
                </a:spcAft>
              </a:pPr>
              <a:r>
                <a:rPr lang="en-US" sz="2000" dirty="0">
                  <a:solidFill>
                    <a:schemeClr val="tx1">
                      <a:lumMod val="75000"/>
                      <a:lumOff val="25000"/>
                    </a:schemeClr>
                  </a:solidFill>
                </a:rPr>
                <a:t>Replica 1</a:t>
              </a:r>
            </a:p>
          </p:txBody>
        </p:sp>
        <p:sp>
          <p:nvSpPr>
            <p:cNvPr id="99" name="TextBox 98"/>
            <p:cNvSpPr txBox="1"/>
            <p:nvPr/>
          </p:nvSpPr>
          <p:spPr>
            <a:xfrm>
              <a:off x="6711205" y="4190875"/>
              <a:ext cx="1419198" cy="589334"/>
            </a:xfrm>
            <a:prstGeom prst="roundRect">
              <a:avLst/>
            </a:prstGeom>
            <a:solidFill>
              <a:schemeClr val="bg1"/>
            </a:solidFill>
          </p:spPr>
          <p:txBody>
            <a:bodyPr wrap="none" lIns="91440" tIns="45720" rIns="91440" bIns="45720" rtlCol="0" anchor="ctr">
              <a:noAutofit/>
            </a:bodyPr>
            <a:lstStyle/>
            <a:p>
              <a:pPr algn="ctr">
                <a:lnSpc>
                  <a:spcPct val="90000"/>
                </a:lnSpc>
                <a:spcAft>
                  <a:spcPts val="600"/>
                </a:spcAft>
              </a:pPr>
              <a:r>
                <a:rPr lang="en-US" sz="2000" dirty="0">
                  <a:solidFill>
                    <a:schemeClr val="tx1">
                      <a:lumMod val="75000"/>
                      <a:lumOff val="25000"/>
                    </a:schemeClr>
                  </a:solidFill>
                </a:rPr>
                <a:t>Replica 2</a:t>
              </a:r>
            </a:p>
          </p:txBody>
        </p:sp>
        <p:sp>
          <p:nvSpPr>
            <p:cNvPr id="103" name="TextBox 102"/>
            <p:cNvSpPr txBox="1"/>
            <p:nvPr/>
          </p:nvSpPr>
          <p:spPr>
            <a:xfrm>
              <a:off x="9971274" y="4190876"/>
              <a:ext cx="1314582" cy="589333"/>
            </a:xfrm>
            <a:prstGeom prst="roundRect">
              <a:avLst/>
            </a:prstGeom>
            <a:solidFill>
              <a:schemeClr val="bg1"/>
            </a:solidFill>
          </p:spPr>
          <p:txBody>
            <a:bodyPr wrap="none" lIns="91440" tIns="45720" rIns="91440" bIns="45720" rtlCol="0" anchor="ctr">
              <a:noAutofit/>
            </a:bodyPr>
            <a:lstStyle/>
            <a:p>
              <a:pPr algn="ctr">
                <a:lnSpc>
                  <a:spcPct val="90000"/>
                </a:lnSpc>
                <a:spcAft>
                  <a:spcPts val="600"/>
                </a:spcAft>
              </a:pPr>
              <a:r>
                <a:rPr lang="en-US" sz="2000" dirty="0">
                  <a:solidFill>
                    <a:schemeClr val="tx1">
                      <a:lumMod val="75000"/>
                      <a:lumOff val="25000"/>
                    </a:schemeClr>
                  </a:solidFill>
                </a:rPr>
                <a:t>Replica 3</a:t>
              </a:r>
            </a:p>
          </p:txBody>
        </p:sp>
        <p:sp>
          <p:nvSpPr>
            <p:cNvPr id="104" name="TextBox 103"/>
            <p:cNvSpPr txBox="1"/>
            <p:nvPr/>
          </p:nvSpPr>
          <p:spPr>
            <a:xfrm>
              <a:off x="10127102" y="2420128"/>
              <a:ext cx="1430905" cy="498598"/>
            </a:xfrm>
            <a:prstGeom prst="rect">
              <a:avLst/>
            </a:prstGeom>
            <a:noFill/>
          </p:spPr>
          <p:txBody>
            <a:bodyPr wrap="none" lIns="0" tIns="0" rIns="0" bIns="0" rtlCol="0" anchor="ctr">
              <a:spAutoFit/>
            </a:bodyPr>
            <a:lstStyle/>
            <a:p>
              <a:pPr algn="ctr">
                <a:lnSpc>
                  <a:spcPct val="90000"/>
                </a:lnSpc>
                <a:spcAft>
                  <a:spcPts val="600"/>
                </a:spcAft>
              </a:pPr>
              <a:r>
                <a:rPr lang="en-US" dirty="0">
                  <a:solidFill>
                    <a:schemeClr val="bg1"/>
                  </a:solidFill>
                </a:rPr>
                <a:t>Fault/upgrade</a:t>
              </a:r>
              <a:br>
                <a:rPr lang="en-US" dirty="0">
                  <a:solidFill>
                    <a:schemeClr val="bg1"/>
                  </a:solidFill>
                </a:rPr>
              </a:br>
              <a:r>
                <a:rPr lang="en-US" dirty="0">
                  <a:solidFill>
                    <a:schemeClr val="bg1"/>
                  </a:solidFill>
                </a:rPr>
                <a:t>domains</a:t>
              </a:r>
            </a:p>
          </p:txBody>
        </p:sp>
        <p:cxnSp>
          <p:nvCxnSpPr>
            <p:cNvPr id="105" name="Straight Arrow Connector 104"/>
            <p:cNvCxnSpPr/>
            <p:nvPr/>
          </p:nvCxnSpPr>
          <p:spPr>
            <a:xfrm flipH="1" flipV="1">
              <a:off x="10569422" y="1988834"/>
              <a:ext cx="273132" cy="398115"/>
            </a:xfrm>
            <a:prstGeom prst="straightConnector1">
              <a:avLst/>
            </a:prstGeom>
            <a:ln w="28575">
              <a:solidFill>
                <a:schemeClr val="bg1"/>
              </a:solidFill>
              <a:headEnd type="none"/>
              <a:tailEnd type="triangle" w="lg" len="med"/>
            </a:ln>
          </p:spPr>
          <p:style>
            <a:lnRef idx="1">
              <a:schemeClr val="accent1"/>
            </a:lnRef>
            <a:fillRef idx="0">
              <a:schemeClr val="accent1"/>
            </a:fillRef>
            <a:effectRef idx="0">
              <a:schemeClr val="accent1"/>
            </a:effectRef>
            <a:fontRef idx="minor">
              <a:schemeClr val="tx1"/>
            </a:fontRef>
          </p:style>
        </p:cxnSp>
        <p:cxnSp>
          <p:nvCxnSpPr>
            <p:cNvPr id="106" name="Straight Arrow Connector 105"/>
            <p:cNvCxnSpPr/>
            <p:nvPr/>
          </p:nvCxnSpPr>
          <p:spPr>
            <a:xfrm flipH="1">
              <a:off x="10604665" y="2933205"/>
              <a:ext cx="273132" cy="368135"/>
            </a:xfrm>
            <a:prstGeom prst="straightConnector1">
              <a:avLst/>
            </a:prstGeom>
            <a:ln w="28575">
              <a:solidFill>
                <a:schemeClr val="bg1"/>
              </a:solidFill>
              <a:headEnd type="none" w="lg" len="med"/>
              <a:tailEnd type="triangle" w="lg" len="med"/>
            </a:ln>
          </p:spPr>
          <p:style>
            <a:lnRef idx="1">
              <a:schemeClr val="accent1"/>
            </a:lnRef>
            <a:fillRef idx="0">
              <a:schemeClr val="accent1"/>
            </a:fillRef>
            <a:effectRef idx="0">
              <a:schemeClr val="accent1"/>
            </a:effectRef>
            <a:fontRef idx="minor">
              <a:schemeClr val="tx1"/>
            </a:fontRef>
          </p:style>
        </p:cxnSp>
        <p:grpSp>
          <p:nvGrpSpPr>
            <p:cNvPr id="11" name="Group 10"/>
            <p:cNvGrpSpPr/>
            <p:nvPr/>
          </p:nvGrpSpPr>
          <p:grpSpPr>
            <a:xfrm>
              <a:off x="8236807" y="1362290"/>
              <a:ext cx="710758" cy="531532"/>
              <a:chOff x="8236807" y="1362290"/>
              <a:chExt cx="710758" cy="531532"/>
            </a:xfrm>
          </p:grpSpPr>
          <p:cxnSp>
            <p:nvCxnSpPr>
              <p:cNvPr id="117" name="Straight Arrow Connector 116"/>
              <p:cNvCxnSpPr/>
              <p:nvPr/>
            </p:nvCxnSpPr>
            <p:spPr>
              <a:xfrm>
                <a:off x="8947565" y="1362290"/>
                <a:ext cx="0" cy="531532"/>
              </a:xfrm>
              <a:prstGeom prst="straightConnector1">
                <a:avLst/>
              </a:prstGeom>
              <a:ln w="28575">
                <a:solidFill>
                  <a:schemeClr val="bg1"/>
                </a:solidFill>
                <a:headEnd type="none" w="lg" len="med"/>
                <a:tailEnd type="triangle" w="lg" len="med"/>
              </a:ln>
            </p:spPr>
            <p:style>
              <a:lnRef idx="1">
                <a:schemeClr val="accent1"/>
              </a:lnRef>
              <a:fillRef idx="0">
                <a:schemeClr val="accent1"/>
              </a:fillRef>
              <a:effectRef idx="0">
                <a:schemeClr val="accent1"/>
              </a:effectRef>
              <a:fontRef idx="minor">
                <a:schemeClr val="tx1"/>
              </a:fontRef>
            </p:style>
          </p:cxnSp>
          <p:sp>
            <p:nvSpPr>
              <p:cNvPr id="118" name="TextBox 117"/>
              <p:cNvSpPr txBox="1"/>
              <p:nvPr/>
            </p:nvSpPr>
            <p:spPr>
              <a:xfrm>
                <a:off x="8236807" y="1566707"/>
                <a:ext cx="610360" cy="276999"/>
              </a:xfrm>
              <a:prstGeom prst="rect">
                <a:avLst/>
              </a:prstGeom>
              <a:noFill/>
            </p:spPr>
            <p:txBody>
              <a:bodyPr wrap="none" lIns="0" tIns="0" rIns="0" bIns="0" rtlCol="0">
                <a:spAutoFit/>
              </a:bodyPr>
              <a:lstStyle/>
              <a:p>
                <a:pPr>
                  <a:lnSpc>
                    <a:spcPct val="90000"/>
                  </a:lnSpc>
                  <a:spcAft>
                    <a:spcPts val="600"/>
                  </a:spcAft>
                </a:pPr>
                <a:r>
                  <a:rPr lang="en-US" sz="2000" dirty="0">
                    <a:solidFill>
                      <a:schemeClr val="bg1"/>
                    </a:solidFill>
                  </a:rPr>
                  <a:t>Write</a:t>
                </a:r>
              </a:p>
            </p:txBody>
          </p:sp>
        </p:grpSp>
        <p:grpSp>
          <p:nvGrpSpPr>
            <p:cNvPr id="10" name="Group 9"/>
            <p:cNvGrpSpPr/>
            <p:nvPr/>
          </p:nvGrpSpPr>
          <p:grpSpPr>
            <a:xfrm>
              <a:off x="7420804" y="2468664"/>
              <a:ext cx="3207761" cy="1722212"/>
              <a:chOff x="7420804" y="2468664"/>
              <a:chExt cx="3207761" cy="1722212"/>
            </a:xfrm>
          </p:grpSpPr>
          <p:cxnSp>
            <p:nvCxnSpPr>
              <p:cNvPr id="113" name="Straight Arrow Connector 112"/>
              <p:cNvCxnSpPr>
                <a:stCxn id="98" idx="2"/>
                <a:endCxn id="103" idx="0"/>
              </p:cNvCxnSpPr>
              <p:nvPr/>
            </p:nvCxnSpPr>
            <p:spPr>
              <a:xfrm>
                <a:off x="8956293" y="2468664"/>
                <a:ext cx="1672272" cy="1722212"/>
              </a:xfrm>
              <a:prstGeom prst="straightConnector1">
                <a:avLst/>
              </a:prstGeom>
              <a:ln w="28575">
                <a:solidFill>
                  <a:schemeClr val="bg1"/>
                </a:solidFill>
                <a:prstDash val="dash"/>
                <a:headEnd type="none" w="lg" len="med"/>
                <a:tailEnd type="triangle" w="lg" len="med"/>
              </a:ln>
            </p:spPr>
            <p:style>
              <a:lnRef idx="1">
                <a:schemeClr val="accent1"/>
              </a:lnRef>
              <a:fillRef idx="0">
                <a:schemeClr val="accent1"/>
              </a:fillRef>
              <a:effectRef idx="0">
                <a:schemeClr val="accent1"/>
              </a:effectRef>
              <a:fontRef idx="minor">
                <a:schemeClr val="tx1"/>
              </a:fontRef>
            </p:style>
          </p:cxnSp>
          <p:cxnSp>
            <p:nvCxnSpPr>
              <p:cNvPr id="114" name="Straight Arrow Connector 113"/>
              <p:cNvCxnSpPr>
                <a:stCxn id="98" idx="2"/>
                <a:endCxn id="99" idx="0"/>
              </p:cNvCxnSpPr>
              <p:nvPr/>
            </p:nvCxnSpPr>
            <p:spPr>
              <a:xfrm flipH="1">
                <a:off x="7420804" y="2468664"/>
                <a:ext cx="1535489" cy="1722211"/>
              </a:xfrm>
              <a:prstGeom prst="straightConnector1">
                <a:avLst/>
              </a:prstGeom>
              <a:ln w="28575">
                <a:solidFill>
                  <a:schemeClr val="bg1"/>
                </a:solidFill>
                <a:prstDash val="dash"/>
                <a:headEnd type="none" w="lg" len="med"/>
                <a:tailEnd type="triangle" w="lg" len="med"/>
              </a:ln>
            </p:spPr>
            <p:style>
              <a:lnRef idx="1">
                <a:schemeClr val="accent1"/>
              </a:lnRef>
              <a:fillRef idx="0">
                <a:schemeClr val="accent1"/>
              </a:fillRef>
              <a:effectRef idx="0">
                <a:schemeClr val="accent1"/>
              </a:effectRef>
              <a:fontRef idx="minor">
                <a:schemeClr val="tx1"/>
              </a:fontRef>
            </p:style>
          </p:cxnSp>
          <p:sp>
            <p:nvSpPr>
              <p:cNvPr id="115" name="TextBox 114"/>
              <p:cNvSpPr txBox="1"/>
              <p:nvPr/>
            </p:nvSpPr>
            <p:spPr>
              <a:xfrm rot="18703293">
                <a:off x="7679701" y="3278778"/>
                <a:ext cx="1251240" cy="276999"/>
              </a:xfrm>
              <a:prstGeom prst="rect">
                <a:avLst/>
              </a:prstGeom>
              <a:noFill/>
            </p:spPr>
            <p:txBody>
              <a:bodyPr wrap="none" lIns="0" tIns="0" rIns="0" bIns="0" rtlCol="0" anchor="ctr">
                <a:spAutoFit/>
              </a:bodyPr>
              <a:lstStyle/>
              <a:p>
                <a:pPr algn="ctr">
                  <a:lnSpc>
                    <a:spcPct val="90000"/>
                  </a:lnSpc>
                  <a:spcAft>
                    <a:spcPts val="600"/>
                  </a:spcAft>
                </a:pPr>
                <a:r>
                  <a:rPr lang="en-US" sz="2000" dirty="0">
                    <a:solidFill>
                      <a:schemeClr val="bg1"/>
                    </a:solidFill>
                  </a:rPr>
                  <a:t>Replication</a:t>
                </a:r>
              </a:p>
            </p:txBody>
          </p:sp>
          <p:sp>
            <p:nvSpPr>
              <p:cNvPr id="116" name="TextBox 115"/>
              <p:cNvSpPr txBox="1"/>
              <p:nvPr/>
            </p:nvSpPr>
            <p:spPr>
              <a:xfrm rot="2712522">
                <a:off x="9101758" y="3338318"/>
                <a:ext cx="1251240" cy="276999"/>
              </a:xfrm>
              <a:prstGeom prst="rect">
                <a:avLst/>
              </a:prstGeom>
              <a:noFill/>
            </p:spPr>
            <p:txBody>
              <a:bodyPr wrap="none" lIns="0" tIns="0" rIns="0" bIns="0" rtlCol="0" anchor="ctr">
                <a:spAutoFit/>
              </a:bodyPr>
              <a:lstStyle/>
              <a:p>
                <a:pPr algn="ctr">
                  <a:lnSpc>
                    <a:spcPct val="90000"/>
                  </a:lnSpc>
                  <a:spcAft>
                    <a:spcPts val="600"/>
                  </a:spcAft>
                </a:pPr>
                <a:r>
                  <a:rPr lang="en-US" sz="2000" dirty="0">
                    <a:solidFill>
                      <a:schemeClr val="bg1"/>
                    </a:solidFill>
                  </a:rPr>
                  <a:t>Replication</a:t>
                </a:r>
              </a:p>
            </p:txBody>
          </p:sp>
        </p:grpSp>
        <p:grpSp>
          <p:nvGrpSpPr>
            <p:cNvPr id="13" name="Group 12"/>
            <p:cNvGrpSpPr/>
            <p:nvPr/>
          </p:nvGrpSpPr>
          <p:grpSpPr>
            <a:xfrm>
              <a:off x="9110497" y="1376836"/>
              <a:ext cx="984059" cy="531532"/>
              <a:chOff x="9110497" y="1376836"/>
              <a:chExt cx="984059" cy="531532"/>
            </a:xfrm>
          </p:grpSpPr>
          <p:cxnSp>
            <p:nvCxnSpPr>
              <p:cNvPr id="111" name="Straight Arrow Connector 110"/>
              <p:cNvCxnSpPr/>
              <p:nvPr/>
            </p:nvCxnSpPr>
            <p:spPr>
              <a:xfrm flipV="1">
                <a:off x="9110497" y="1376836"/>
                <a:ext cx="0" cy="531532"/>
              </a:xfrm>
              <a:prstGeom prst="straightConnector1">
                <a:avLst/>
              </a:prstGeom>
              <a:ln w="28575">
                <a:solidFill>
                  <a:schemeClr val="bg1"/>
                </a:solidFill>
                <a:headEnd type="none"/>
                <a:tailEnd type="triangle" w="lg" len="med"/>
              </a:ln>
            </p:spPr>
            <p:style>
              <a:lnRef idx="1">
                <a:schemeClr val="accent1"/>
              </a:lnRef>
              <a:fillRef idx="0">
                <a:schemeClr val="accent1"/>
              </a:fillRef>
              <a:effectRef idx="0">
                <a:schemeClr val="accent1"/>
              </a:effectRef>
              <a:fontRef idx="minor">
                <a:schemeClr val="tx1"/>
              </a:fontRef>
            </p:style>
          </p:cxnSp>
          <p:sp>
            <p:nvSpPr>
              <p:cNvPr id="112" name="TextBox 111"/>
              <p:cNvSpPr txBox="1"/>
              <p:nvPr/>
            </p:nvSpPr>
            <p:spPr>
              <a:xfrm>
                <a:off x="9193668" y="1566707"/>
                <a:ext cx="900888" cy="276999"/>
              </a:xfrm>
              <a:prstGeom prst="rect">
                <a:avLst/>
              </a:prstGeom>
              <a:noFill/>
            </p:spPr>
            <p:txBody>
              <a:bodyPr wrap="none" lIns="0" tIns="0" rIns="0" bIns="0" rtlCol="0">
                <a:spAutoFit/>
              </a:bodyPr>
              <a:lstStyle/>
              <a:p>
                <a:pPr>
                  <a:lnSpc>
                    <a:spcPct val="90000"/>
                  </a:lnSpc>
                  <a:spcAft>
                    <a:spcPts val="600"/>
                  </a:spcAft>
                </a:pPr>
                <a:r>
                  <a:rPr lang="en-US" sz="2000" dirty="0">
                    <a:solidFill>
                      <a:schemeClr val="bg1"/>
                    </a:solidFill>
                  </a:rPr>
                  <a:t>Commit</a:t>
                </a:r>
              </a:p>
            </p:txBody>
          </p:sp>
        </p:grpSp>
      </p:grpSp>
      <p:sp>
        <p:nvSpPr>
          <p:cNvPr id="5" name="Slide Number Placeholder 4"/>
          <p:cNvSpPr>
            <a:spLocks noGrp="1"/>
          </p:cNvSpPr>
          <p:nvPr>
            <p:ph type="sldNum" sz="quarter" idx="11"/>
          </p:nvPr>
        </p:nvSpPr>
        <p:spPr/>
        <p:txBody>
          <a:bodyPr/>
          <a:lstStyle/>
          <a:p>
            <a:pPr>
              <a:defRPr/>
            </a:pPr>
            <a:fld id="{F8A0AC42-AA1D-4944-8D96-660DE70C7E1B}" type="slidenum">
              <a:rPr lang="en-US" smtClean="0"/>
              <a:pPr>
                <a:defRPr/>
              </a:pPr>
              <a:t>14</a:t>
            </a:fld>
            <a:endParaRPr lang="en-US" dirty="0"/>
          </a:p>
        </p:txBody>
      </p:sp>
    </p:spTree>
    <p:extLst>
      <p:ext uri="{BB962C8B-B14F-4D97-AF65-F5344CB8AC3E}">
        <p14:creationId xmlns:p14="http://schemas.microsoft.com/office/powerpoint/2010/main" val="1446487660"/>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afterEffect">
                                  <p:stCondLst>
                                    <p:cond delay="0"/>
                                  </p:stCondLst>
                                  <p:childTnLst>
                                    <p:set>
                                      <p:cBhvr>
                                        <p:cTn id="6" dur="1" fill="hold">
                                          <p:stCondLst>
                                            <p:cond delay="0"/>
                                          </p:stCondLst>
                                        </p:cTn>
                                        <p:tgtEl>
                                          <p:spTgt spid="12">
                                            <p:txEl>
                                              <p:pRg st="0" end="0"/>
                                            </p:txEl>
                                          </p:spTgt>
                                        </p:tgtEl>
                                        <p:attrNameLst>
                                          <p:attrName>style.visibility</p:attrName>
                                        </p:attrNameLst>
                                      </p:cBhvr>
                                      <p:to>
                                        <p:strVal val="visible"/>
                                      </p:to>
                                    </p:set>
                                    <p:animEffect transition="in" filter="wipe(left)">
                                      <p:cBhvr>
                                        <p:cTn id="7" dur="1250"/>
                                        <p:tgtEl>
                                          <p:spTgt spid="12">
                                            <p:txEl>
                                              <p:pRg st="0" end="0"/>
                                            </p:txEl>
                                          </p:spTgt>
                                        </p:tgtEl>
                                      </p:cBhvr>
                                    </p:animEffect>
                                  </p:childTnLst>
                                </p:cTn>
                              </p:par>
                            </p:childTnLst>
                          </p:cTn>
                        </p:par>
                        <p:par>
                          <p:cTn id="8" fill="hold">
                            <p:stCondLst>
                              <p:cond delay="1250"/>
                            </p:stCondLst>
                            <p:childTnLst>
                              <p:par>
                                <p:cTn id="9" presetID="22" presetClass="entr" presetSubtype="8" fill="hold" nodeType="afterEffect">
                                  <p:stCondLst>
                                    <p:cond delay="0"/>
                                  </p:stCondLst>
                                  <p:childTnLst>
                                    <p:set>
                                      <p:cBhvr>
                                        <p:cTn id="10" dur="1" fill="hold">
                                          <p:stCondLst>
                                            <p:cond delay="0"/>
                                          </p:stCondLst>
                                        </p:cTn>
                                        <p:tgtEl>
                                          <p:spTgt spid="12">
                                            <p:txEl>
                                              <p:pRg st="1" end="1"/>
                                            </p:txEl>
                                          </p:spTgt>
                                        </p:tgtEl>
                                        <p:attrNameLst>
                                          <p:attrName>style.visibility</p:attrName>
                                        </p:attrNameLst>
                                      </p:cBhvr>
                                      <p:to>
                                        <p:strVal val="visible"/>
                                      </p:to>
                                    </p:set>
                                    <p:animEffect transition="in" filter="wipe(left)">
                                      <p:cBhvr>
                                        <p:cTn id="11" dur="1000"/>
                                        <p:tgtEl>
                                          <p:spTgt spid="12">
                                            <p:txEl>
                                              <p:pRg st="1" end="1"/>
                                            </p:txEl>
                                          </p:spTgt>
                                        </p:tgtEl>
                                      </p:cBhvr>
                                    </p:animEffect>
                                  </p:childTnLst>
                                </p:cTn>
                              </p:par>
                            </p:childTnLst>
                          </p:cTn>
                        </p:par>
                        <p:par>
                          <p:cTn id="12" fill="hold">
                            <p:stCondLst>
                              <p:cond delay="2250"/>
                            </p:stCondLst>
                            <p:childTnLst>
                              <p:par>
                                <p:cTn id="13" presetID="22" presetClass="entr" presetSubtype="8" fill="hold" nodeType="afterEffect">
                                  <p:stCondLst>
                                    <p:cond delay="0"/>
                                  </p:stCondLst>
                                  <p:childTnLst>
                                    <p:set>
                                      <p:cBhvr>
                                        <p:cTn id="14" dur="1" fill="hold">
                                          <p:stCondLst>
                                            <p:cond delay="0"/>
                                          </p:stCondLst>
                                        </p:cTn>
                                        <p:tgtEl>
                                          <p:spTgt spid="12">
                                            <p:txEl>
                                              <p:pRg st="2" end="2"/>
                                            </p:txEl>
                                          </p:spTgt>
                                        </p:tgtEl>
                                        <p:attrNameLst>
                                          <p:attrName>style.visibility</p:attrName>
                                        </p:attrNameLst>
                                      </p:cBhvr>
                                      <p:to>
                                        <p:strVal val="visible"/>
                                      </p:to>
                                    </p:set>
                                    <p:animEffect transition="in" filter="wipe(left)">
                                      <p:cBhvr>
                                        <p:cTn id="15" dur="1000"/>
                                        <p:tgtEl>
                                          <p:spTgt spid="12">
                                            <p:txEl>
                                              <p:pRg st="2" end="2"/>
                                            </p:txEl>
                                          </p:spTgt>
                                        </p:tgtEl>
                                      </p:cBhvr>
                                    </p:animEffect>
                                  </p:childTnLst>
                                </p:cTn>
                              </p:par>
                            </p:childTnLst>
                          </p:cTn>
                        </p:par>
                        <p:par>
                          <p:cTn id="16" fill="hold">
                            <p:stCondLst>
                              <p:cond delay="3250"/>
                            </p:stCondLst>
                            <p:childTnLst>
                              <p:par>
                                <p:cTn id="17" presetID="22" presetClass="entr" presetSubtype="8" fill="hold" nodeType="afterEffect">
                                  <p:stCondLst>
                                    <p:cond delay="0"/>
                                  </p:stCondLst>
                                  <p:childTnLst>
                                    <p:set>
                                      <p:cBhvr>
                                        <p:cTn id="18" dur="1" fill="hold">
                                          <p:stCondLst>
                                            <p:cond delay="0"/>
                                          </p:stCondLst>
                                        </p:cTn>
                                        <p:tgtEl>
                                          <p:spTgt spid="12">
                                            <p:txEl>
                                              <p:pRg st="3" end="3"/>
                                            </p:txEl>
                                          </p:spTgt>
                                        </p:tgtEl>
                                        <p:attrNameLst>
                                          <p:attrName>style.visibility</p:attrName>
                                        </p:attrNameLst>
                                      </p:cBhvr>
                                      <p:to>
                                        <p:strVal val="visible"/>
                                      </p:to>
                                    </p:set>
                                    <p:animEffect transition="in" filter="wipe(left)">
                                      <p:cBhvr>
                                        <p:cTn id="19" dur="750"/>
                                        <p:tgtEl>
                                          <p:spTgt spid="12">
                                            <p:txEl>
                                              <p:pRg st="3" end="3"/>
                                            </p:txEl>
                                          </p:spTgt>
                                        </p:tgtEl>
                                      </p:cBhvr>
                                    </p:animEffect>
                                  </p:childTnLst>
                                </p:cTn>
                              </p:par>
                            </p:childTnLst>
                          </p:cTn>
                        </p:par>
                        <p:par>
                          <p:cTn id="20" fill="hold">
                            <p:stCondLst>
                              <p:cond delay="4000"/>
                            </p:stCondLst>
                            <p:childTnLst>
                              <p:par>
                                <p:cTn id="21" presetID="10" presetClass="entr" presetSubtype="0" fill="hold" nodeType="afterEffect">
                                  <p:stCondLst>
                                    <p:cond delay="0"/>
                                  </p:stCondLst>
                                  <p:childTnLst>
                                    <p:set>
                                      <p:cBhvr>
                                        <p:cTn id="22" dur="1" fill="hold">
                                          <p:stCondLst>
                                            <p:cond delay="0"/>
                                          </p:stCondLst>
                                        </p:cTn>
                                        <p:tgtEl>
                                          <p:spTgt spid="4"/>
                                        </p:tgtEl>
                                        <p:attrNameLst>
                                          <p:attrName>style.visibility</p:attrName>
                                        </p:attrNameLst>
                                      </p:cBhvr>
                                      <p:to>
                                        <p:strVal val="visible"/>
                                      </p:to>
                                    </p:set>
                                    <p:animEffect transition="in" filter="fade">
                                      <p:cBhvr>
                                        <p:cTn id="23"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bwMode="auto">
          <a:xfrm>
            <a:off x="5054885" y="0"/>
            <a:ext cx="7137115"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defTabSz="932472" eaLnBrk="1" fontAlgn="base" latinLnBrk="0" hangingPunct="1">
              <a:lnSpc>
                <a:spcPct val="90000"/>
              </a:lnSpc>
              <a:spcBef>
                <a:spcPct val="0"/>
              </a:spcBef>
              <a:spcAft>
                <a:spcPct val="0"/>
              </a:spcAft>
              <a:buClrTx/>
              <a:buSzTx/>
              <a:buFontTx/>
              <a:buNone/>
              <a:tabLst/>
              <a:defRPr/>
            </a:pPr>
            <a:endParaRPr kumimoji="0" lang="en-US" sz="6000" b="0" i="0" u="none" strike="noStrike" kern="0" cap="none" spc="0" normalizeH="0" baseline="0" noProof="0" dirty="0">
              <a:ln>
                <a:noFill/>
              </a:ln>
              <a:solidFill>
                <a:schemeClr val="bg1"/>
              </a:solidFill>
              <a:effectLst/>
              <a:uLnTx/>
              <a:uFillTx/>
              <a:latin typeface="+mj-lt"/>
              <a:ea typeface="Segoe UI" pitchFamily="34" charset="0"/>
              <a:cs typeface="Segoe UI" pitchFamily="34" charset="0"/>
            </a:endParaRPr>
          </a:p>
        </p:txBody>
      </p:sp>
      <p:graphicFrame>
        <p:nvGraphicFramePr>
          <p:cNvPr id="2" name="Object 1"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1448" name="think-cell Slide" r:id="rId5" imgW="377" imgH="377" progId="TCLayout.ActiveDocument.1">
                  <p:embed/>
                </p:oleObj>
              </mc:Choice>
              <mc:Fallback>
                <p:oleObj name="think-cell Slide" r:id="rId5" imgW="377" imgH="377"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 name="TextBox 2"/>
          <p:cNvSpPr txBox="1"/>
          <p:nvPr/>
        </p:nvSpPr>
        <p:spPr>
          <a:xfrm>
            <a:off x="143279" y="2407922"/>
            <a:ext cx="4911606" cy="4038029"/>
          </a:xfrm>
          <a:prstGeom prst="rect">
            <a:avLst/>
          </a:prstGeom>
          <a:noFill/>
        </p:spPr>
        <p:txBody>
          <a:bodyPr wrap="square" lIns="182880" tIns="146304" rIns="182880" bIns="146304" rtlCol="0">
            <a:spAutoFit/>
          </a:body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US" sz="4800" b="0" i="0" u="none" strike="noStrike" kern="0" cap="none" spc="0" normalizeH="0" baseline="0" noProof="0" dirty="0">
                <a:ln>
                  <a:noFill/>
                </a:ln>
                <a:solidFill>
                  <a:schemeClr val="bg1"/>
                </a:solidFill>
                <a:effectLst/>
                <a:uLnTx/>
                <a:uFillTx/>
                <a:latin typeface="+mj-lt"/>
                <a:ea typeface="Segoe UI" pitchFamily="34" charset="0"/>
                <a:cs typeface="Segoe UI" pitchFamily="34" charset="0"/>
              </a:rPr>
              <a:t>The building blocks</a:t>
            </a:r>
            <a:endParaRPr kumimoji="0" lang="en-US" sz="4800" b="0" i="1" u="none" strike="noStrike" kern="0" cap="none" spc="0" normalizeH="0" baseline="0" noProof="0" dirty="0">
              <a:ln>
                <a:noFill/>
              </a:ln>
              <a:solidFill>
                <a:schemeClr val="bg1"/>
              </a:solidFill>
              <a:effectLst/>
              <a:uLnTx/>
              <a:uFillTx/>
              <a:latin typeface="+mj-lt"/>
              <a:ea typeface="Segoe UI" pitchFamily="34" charset="0"/>
              <a:cs typeface="Segoe UI" pitchFamily="34" charset="0"/>
            </a:endParaRPr>
          </a:p>
          <a:p>
            <a:pPr marL="0" marR="0" lvl="0" indent="0" defTabSz="914400" eaLnBrk="1" fontAlgn="auto" latinLnBrk="0" hangingPunct="1">
              <a:lnSpc>
                <a:spcPct val="90000"/>
              </a:lnSpc>
              <a:spcBef>
                <a:spcPts val="1200"/>
              </a:spcBef>
              <a:spcAft>
                <a:spcPts val="600"/>
              </a:spcAft>
              <a:buClrTx/>
              <a:buSzTx/>
              <a:buFontTx/>
              <a:buNone/>
              <a:tabLst/>
              <a:defRPr/>
            </a:pPr>
            <a:r>
              <a:rPr kumimoji="0" lang="en-US" sz="3600" b="0" i="0" u="none" strike="noStrike" kern="0" cap="none" spc="0" normalizeH="0" baseline="0" noProof="0" dirty="0">
                <a:ln>
                  <a:noFill/>
                </a:ln>
                <a:solidFill>
                  <a:schemeClr val="accent1"/>
                </a:solidFill>
                <a:effectLst/>
                <a:uLnTx/>
                <a:uFillTx/>
                <a:latin typeface="+mj-lt"/>
                <a:ea typeface="Segoe UI" pitchFamily="34" charset="0"/>
                <a:cs typeface="Segoe UI" pitchFamily="34" charset="0"/>
              </a:rPr>
              <a:t>Ingestion, processing, egress, visualization, and orchestration tools</a:t>
            </a:r>
          </a:p>
          <a:p>
            <a:pPr marL="0" marR="0" lvl="0" indent="0" defTabSz="914400" eaLnBrk="1" fontAlgn="auto" latinLnBrk="0" hangingPunct="1">
              <a:lnSpc>
                <a:spcPct val="90000"/>
              </a:lnSpc>
              <a:spcBef>
                <a:spcPts val="0"/>
              </a:spcBef>
              <a:spcAft>
                <a:spcPts val="600"/>
              </a:spcAft>
              <a:buClrTx/>
              <a:buSzTx/>
              <a:buFontTx/>
              <a:buNone/>
              <a:tabLst/>
              <a:defRPr/>
            </a:pPr>
            <a:endParaRPr kumimoji="0" lang="en-US" sz="4400" b="0" i="0" u="none" strike="noStrike" kern="0" cap="none" spc="0" normalizeH="0" baseline="0" noProof="0" dirty="0">
              <a:ln>
                <a:noFill/>
              </a:ln>
              <a:solidFill>
                <a:schemeClr val="accent2"/>
              </a:solidFill>
              <a:effectLst/>
              <a:uLnTx/>
              <a:uFillTx/>
              <a:latin typeface="+mj-lt"/>
              <a:ea typeface="Segoe UI" pitchFamily="34" charset="0"/>
              <a:cs typeface="Segoe UI" pitchFamily="34" charset="0"/>
            </a:endParaRPr>
          </a:p>
        </p:txBody>
      </p:sp>
      <p:grpSp>
        <p:nvGrpSpPr>
          <p:cNvPr id="302" name="Group 301"/>
          <p:cNvGrpSpPr/>
          <p:nvPr/>
        </p:nvGrpSpPr>
        <p:grpSpPr>
          <a:xfrm>
            <a:off x="6401414" y="1736818"/>
            <a:ext cx="4461511" cy="5121182"/>
            <a:chOff x="6401414" y="1736818"/>
            <a:chExt cx="4461511" cy="5121182"/>
          </a:xfrm>
        </p:grpSpPr>
        <p:grpSp>
          <p:nvGrpSpPr>
            <p:cNvPr id="13" name="Group 12"/>
            <p:cNvGrpSpPr/>
            <p:nvPr/>
          </p:nvGrpSpPr>
          <p:grpSpPr>
            <a:xfrm>
              <a:off x="9555551" y="5623560"/>
              <a:ext cx="1307374" cy="1234440"/>
              <a:chOff x="10145487" y="5623560"/>
              <a:chExt cx="1307374" cy="1234440"/>
            </a:xfrm>
          </p:grpSpPr>
          <p:sp>
            <p:nvSpPr>
              <p:cNvPr id="11" name="Freeform: Shape 10"/>
              <p:cNvSpPr/>
              <p:nvPr/>
            </p:nvSpPr>
            <p:spPr bwMode="auto">
              <a:xfrm>
                <a:off x="10145487" y="5623560"/>
                <a:ext cx="1147711" cy="1234440"/>
              </a:xfrm>
              <a:custGeom>
                <a:avLst/>
                <a:gdLst>
                  <a:gd name="connsiteX0" fmla="*/ 0 w 1147711"/>
                  <a:gd name="connsiteY0" fmla="*/ 0 h 1234440"/>
                  <a:gd name="connsiteX1" fmla="*/ 1147711 w 1147711"/>
                  <a:gd name="connsiteY1" fmla="*/ 0 h 1234440"/>
                  <a:gd name="connsiteX2" fmla="*/ 125441 w 1147711"/>
                  <a:gd name="connsiteY2" fmla="*/ 1234440 h 1234440"/>
                  <a:gd name="connsiteX3" fmla="*/ 0 w 1147711"/>
                  <a:gd name="connsiteY3" fmla="*/ 1234440 h 1234440"/>
                  <a:gd name="connsiteX4" fmla="*/ 0 w 1147711"/>
                  <a:gd name="connsiteY4" fmla="*/ 0 h 12344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47711" h="1234440">
                    <a:moveTo>
                      <a:pt x="0" y="0"/>
                    </a:moveTo>
                    <a:lnTo>
                      <a:pt x="1147711" y="0"/>
                    </a:lnTo>
                    <a:lnTo>
                      <a:pt x="125441" y="1234440"/>
                    </a:lnTo>
                    <a:lnTo>
                      <a:pt x="0" y="1234440"/>
                    </a:lnTo>
                    <a:lnTo>
                      <a:pt x="0" y="0"/>
                    </a:lnTo>
                    <a:close/>
                  </a:path>
                </a:pathLst>
              </a:custGeom>
              <a:solidFill>
                <a:srgbClr val="FDB81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000" b="1" i="0" u="none" strike="noStrike" kern="0" cap="none" spc="0" normalizeH="0" baseline="0" noProof="0" dirty="0">
                  <a:ln>
                    <a:noFill/>
                  </a:ln>
                  <a:solidFill>
                    <a:schemeClr val="bg1"/>
                  </a:solidFill>
                  <a:effectLst/>
                  <a:uLnTx/>
                  <a:uFillTx/>
                  <a:latin typeface="+mj-lt"/>
                  <a:ea typeface="Segoe UI" pitchFamily="34" charset="0"/>
                  <a:cs typeface="Segoe UI" pitchFamily="34" charset="0"/>
                </a:endParaRPr>
              </a:p>
            </p:txBody>
          </p:sp>
          <p:sp>
            <p:nvSpPr>
              <p:cNvPr id="9" name="Freeform: Shape 8"/>
              <p:cNvSpPr/>
              <p:nvPr/>
            </p:nvSpPr>
            <p:spPr bwMode="auto">
              <a:xfrm>
                <a:off x="10258228" y="5623560"/>
                <a:ext cx="1194633" cy="1234440"/>
              </a:xfrm>
              <a:custGeom>
                <a:avLst/>
                <a:gdLst>
                  <a:gd name="connsiteX0" fmla="*/ 1022270 w 1194633"/>
                  <a:gd name="connsiteY0" fmla="*/ 0 h 1234440"/>
                  <a:gd name="connsiteX1" fmla="*/ 1194633 w 1194633"/>
                  <a:gd name="connsiteY1" fmla="*/ 0 h 1234440"/>
                  <a:gd name="connsiteX2" fmla="*/ 1194633 w 1194633"/>
                  <a:gd name="connsiteY2" fmla="*/ 1234440 h 1234440"/>
                  <a:gd name="connsiteX3" fmla="*/ 0 w 1194633"/>
                  <a:gd name="connsiteY3" fmla="*/ 1234440 h 1234440"/>
                  <a:gd name="connsiteX4" fmla="*/ 1022270 w 1194633"/>
                  <a:gd name="connsiteY4" fmla="*/ 0 h 12344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4633" h="1234440">
                    <a:moveTo>
                      <a:pt x="1022270" y="0"/>
                    </a:moveTo>
                    <a:lnTo>
                      <a:pt x="1194633" y="0"/>
                    </a:lnTo>
                    <a:lnTo>
                      <a:pt x="1194633" y="1234440"/>
                    </a:lnTo>
                    <a:lnTo>
                      <a:pt x="0" y="1234440"/>
                    </a:lnTo>
                    <a:lnTo>
                      <a:pt x="1022270" y="0"/>
                    </a:lnTo>
                    <a:close/>
                  </a:path>
                </a:pathLst>
              </a:custGeom>
              <a:solidFill>
                <a:srgbClr val="F68C1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000" b="1" i="0" u="none" strike="noStrike" kern="0" cap="none" spc="0" normalizeH="0" baseline="0" noProof="0" dirty="0">
                  <a:ln>
                    <a:noFill/>
                  </a:ln>
                  <a:solidFill>
                    <a:schemeClr val="bg1"/>
                  </a:solidFill>
                  <a:effectLst/>
                  <a:uLnTx/>
                  <a:uFillTx/>
                  <a:latin typeface="+mj-lt"/>
                  <a:ea typeface="Segoe UI" pitchFamily="34" charset="0"/>
                  <a:cs typeface="Segoe UI" pitchFamily="34" charset="0"/>
                </a:endParaRPr>
              </a:p>
            </p:txBody>
          </p:sp>
        </p:grpSp>
        <p:grpSp>
          <p:nvGrpSpPr>
            <p:cNvPr id="17" name="Group 16"/>
            <p:cNvGrpSpPr/>
            <p:nvPr/>
          </p:nvGrpSpPr>
          <p:grpSpPr>
            <a:xfrm>
              <a:off x="9555551" y="4391660"/>
              <a:ext cx="1307374" cy="1234440"/>
              <a:chOff x="10145487" y="5623560"/>
              <a:chExt cx="1307374" cy="1234440"/>
            </a:xfrm>
          </p:grpSpPr>
          <p:sp>
            <p:nvSpPr>
              <p:cNvPr id="18" name="Freeform: Shape 17"/>
              <p:cNvSpPr/>
              <p:nvPr/>
            </p:nvSpPr>
            <p:spPr bwMode="auto">
              <a:xfrm>
                <a:off x="10145487" y="5623560"/>
                <a:ext cx="1147711" cy="1234440"/>
              </a:xfrm>
              <a:custGeom>
                <a:avLst/>
                <a:gdLst>
                  <a:gd name="connsiteX0" fmla="*/ 0 w 1147711"/>
                  <a:gd name="connsiteY0" fmla="*/ 0 h 1234440"/>
                  <a:gd name="connsiteX1" fmla="*/ 1147711 w 1147711"/>
                  <a:gd name="connsiteY1" fmla="*/ 0 h 1234440"/>
                  <a:gd name="connsiteX2" fmla="*/ 125441 w 1147711"/>
                  <a:gd name="connsiteY2" fmla="*/ 1234440 h 1234440"/>
                  <a:gd name="connsiteX3" fmla="*/ 0 w 1147711"/>
                  <a:gd name="connsiteY3" fmla="*/ 1234440 h 1234440"/>
                  <a:gd name="connsiteX4" fmla="*/ 0 w 1147711"/>
                  <a:gd name="connsiteY4" fmla="*/ 0 h 12344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47711" h="1234440">
                    <a:moveTo>
                      <a:pt x="0" y="0"/>
                    </a:moveTo>
                    <a:lnTo>
                      <a:pt x="1147711" y="0"/>
                    </a:lnTo>
                    <a:lnTo>
                      <a:pt x="125441" y="1234440"/>
                    </a:lnTo>
                    <a:lnTo>
                      <a:pt x="0" y="1234440"/>
                    </a:lnTo>
                    <a:lnTo>
                      <a:pt x="0" y="0"/>
                    </a:lnTo>
                    <a:close/>
                  </a:path>
                </a:pathLst>
              </a:custGeom>
              <a:solidFill>
                <a:srgbClr val="FDB81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000" b="1" i="0" u="none" strike="noStrike" kern="0" cap="none" spc="0" normalizeH="0" baseline="0" noProof="0" dirty="0">
                  <a:ln>
                    <a:noFill/>
                  </a:ln>
                  <a:solidFill>
                    <a:schemeClr val="bg1"/>
                  </a:solidFill>
                  <a:effectLst/>
                  <a:uLnTx/>
                  <a:uFillTx/>
                  <a:latin typeface="+mj-lt"/>
                  <a:ea typeface="Segoe UI" pitchFamily="34" charset="0"/>
                  <a:cs typeface="Segoe UI" pitchFamily="34" charset="0"/>
                </a:endParaRPr>
              </a:p>
            </p:txBody>
          </p:sp>
          <p:sp>
            <p:nvSpPr>
              <p:cNvPr id="19" name="Freeform: Shape 18"/>
              <p:cNvSpPr/>
              <p:nvPr/>
            </p:nvSpPr>
            <p:spPr bwMode="auto">
              <a:xfrm>
                <a:off x="10258228" y="5623560"/>
                <a:ext cx="1194633" cy="1234440"/>
              </a:xfrm>
              <a:custGeom>
                <a:avLst/>
                <a:gdLst>
                  <a:gd name="connsiteX0" fmla="*/ 1022270 w 1194633"/>
                  <a:gd name="connsiteY0" fmla="*/ 0 h 1234440"/>
                  <a:gd name="connsiteX1" fmla="*/ 1194633 w 1194633"/>
                  <a:gd name="connsiteY1" fmla="*/ 0 h 1234440"/>
                  <a:gd name="connsiteX2" fmla="*/ 1194633 w 1194633"/>
                  <a:gd name="connsiteY2" fmla="*/ 1234440 h 1234440"/>
                  <a:gd name="connsiteX3" fmla="*/ 0 w 1194633"/>
                  <a:gd name="connsiteY3" fmla="*/ 1234440 h 1234440"/>
                  <a:gd name="connsiteX4" fmla="*/ 1022270 w 1194633"/>
                  <a:gd name="connsiteY4" fmla="*/ 0 h 12344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4633" h="1234440">
                    <a:moveTo>
                      <a:pt x="1022270" y="0"/>
                    </a:moveTo>
                    <a:lnTo>
                      <a:pt x="1194633" y="0"/>
                    </a:lnTo>
                    <a:lnTo>
                      <a:pt x="1194633" y="1234440"/>
                    </a:lnTo>
                    <a:lnTo>
                      <a:pt x="0" y="1234440"/>
                    </a:lnTo>
                    <a:lnTo>
                      <a:pt x="1022270" y="0"/>
                    </a:lnTo>
                    <a:close/>
                  </a:path>
                </a:pathLst>
              </a:custGeom>
              <a:solidFill>
                <a:srgbClr val="F68C1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000" b="1" i="0" u="none" strike="noStrike" kern="0" cap="none" spc="0" normalizeH="0" baseline="0" noProof="0" dirty="0">
                  <a:ln>
                    <a:noFill/>
                  </a:ln>
                  <a:solidFill>
                    <a:schemeClr val="bg1"/>
                  </a:solidFill>
                  <a:effectLst/>
                  <a:uLnTx/>
                  <a:uFillTx/>
                  <a:latin typeface="+mj-lt"/>
                  <a:ea typeface="Segoe UI" pitchFamily="34" charset="0"/>
                  <a:cs typeface="Segoe UI" pitchFamily="34" charset="0"/>
                </a:endParaRPr>
              </a:p>
            </p:txBody>
          </p:sp>
        </p:grpSp>
        <p:grpSp>
          <p:nvGrpSpPr>
            <p:cNvPr id="20" name="Group 19"/>
            <p:cNvGrpSpPr/>
            <p:nvPr/>
          </p:nvGrpSpPr>
          <p:grpSpPr>
            <a:xfrm>
              <a:off x="9555551" y="3159760"/>
              <a:ext cx="1307374" cy="1234440"/>
              <a:chOff x="10145487" y="5623560"/>
              <a:chExt cx="1307374" cy="1234440"/>
            </a:xfrm>
          </p:grpSpPr>
          <p:sp>
            <p:nvSpPr>
              <p:cNvPr id="21" name="Freeform: Shape 20"/>
              <p:cNvSpPr/>
              <p:nvPr/>
            </p:nvSpPr>
            <p:spPr bwMode="auto">
              <a:xfrm>
                <a:off x="10145487" y="5623560"/>
                <a:ext cx="1147711" cy="1234440"/>
              </a:xfrm>
              <a:custGeom>
                <a:avLst/>
                <a:gdLst>
                  <a:gd name="connsiteX0" fmla="*/ 0 w 1147711"/>
                  <a:gd name="connsiteY0" fmla="*/ 0 h 1234440"/>
                  <a:gd name="connsiteX1" fmla="*/ 1147711 w 1147711"/>
                  <a:gd name="connsiteY1" fmla="*/ 0 h 1234440"/>
                  <a:gd name="connsiteX2" fmla="*/ 125441 w 1147711"/>
                  <a:gd name="connsiteY2" fmla="*/ 1234440 h 1234440"/>
                  <a:gd name="connsiteX3" fmla="*/ 0 w 1147711"/>
                  <a:gd name="connsiteY3" fmla="*/ 1234440 h 1234440"/>
                  <a:gd name="connsiteX4" fmla="*/ 0 w 1147711"/>
                  <a:gd name="connsiteY4" fmla="*/ 0 h 12344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47711" h="1234440">
                    <a:moveTo>
                      <a:pt x="0" y="0"/>
                    </a:moveTo>
                    <a:lnTo>
                      <a:pt x="1147711" y="0"/>
                    </a:lnTo>
                    <a:lnTo>
                      <a:pt x="125441" y="1234440"/>
                    </a:lnTo>
                    <a:lnTo>
                      <a:pt x="0" y="1234440"/>
                    </a:lnTo>
                    <a:lnTo>
                      <a:pt x="0" y="0"/>
                    </a:lnTo>
                    <a:close/>
                  </a:path>
                </a:pathLst>
              </a:custGeom>
              <a:solidFill>
                <a:srgbClr val="FDB81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000" b="1" i="0" u="none" strike="noStrike" kern="0" cap="none" spc="0" normalizeH="0" baseline="0" noProof="0" dirty="0">
                  <a:ln>
                    <a:noFill/>
                  </a:ln>
                  <a:solidFill>
                    <a:schemeClr val="bg1"/>
                  </a:solidFill>
                  <a:effectLst/>
                  <a:uLnTx/>
                  <a:uFillTx/>
                  <a:latin typeface="+mj-lt"/>
                  <a:ea typeface="Segoe UI" pitchFamily="34" charset="0"/>
                  <a:cs typeface="Segoe UI" pitchFamily="34" charset="0"/>
                </a:endParaRPr>
              </a:p>
            </p:txBody>
          </p:sp>
          <p:sp>
            <p:nvSpPr>
              <p:cNvPr id="22" name="Freeform: Shape 21"/>
              <p:cNvSpPr/>
              <p:nvPr/>
            </p:nvSpPr>
            <p:spPr bwMode="auto">
              <a:xfrm>
                <a:off x="10258228" y="5623560"/>
                <a:ext cx="1194633" cy="1234440"/>
              </a:xfrm>
              <a:custGeom>
                <a:avLst/>
                <a:gdLst>
                  <a:gd name="connsiteX0" fmla="*/ 1022270 w 1194633"/>
                  <a:gd name="connsiteY0" fmla="*/ 0 h 1234440"/>
                  <a:gd name="connsiteX1" fmla="*/ 1194633 w 1194633"/>
                  <a:gd name="connsiteY1" fmla="*/ 0 h 1234440"/>
                  <a:gd name="connsiteX2" fmla="*/ 1194633 w 1194633"/>
                  <a:gd name="connsiteY2" fmla="*/ 1234440 h 1234440"/>
                  <a:gd name="connsiteX3" fmla="*/ 0 w 1194633"/>
                  <a:gd name="connsiteY3" fmla="*/ 1234440 h 1234440"/>
                  <a:gd name="connsiteX4" fmla="*/ 1022270 w 1194633"/>
                  <a:gd name="connsiteY4" fmla="*/ 0 h 12344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4633" h="1234440">
                    <a:moveTo>
                      <a:pt x="1022270" y="0"/>
                    </a:moveTo>
                    <a:lnTo>
                      <a:pt x="1194633" y="0"/>
                    </a:lnTo>
                    <a:lnTo>
                      <a:pt x="1194633" y="1234440"/>
                    </a:lnTo>
                    <a:lnTo>
                      <a:pt x="0" y="1234440"/>
                    </a:lnTo>
                    <a:lnTo>
                      <a:pt x="1022270" y="0"/>
                    </a:lnTo>
                    <a:close/>
                  </a:path>
                </a:pathLst>
              </a:custGeom>
              <a:solidFill>
                <a:srgbClr val="F68C1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000" b="1" i="0" u="none" strike="noStrike" kern="0" cap="none" spc="0" normalizeH="0" baseline="0" noProof="0" dirty="0">
                  <a:ln>
                    <a:noFill/>
                  </a:ln>
                  <a:solidFill>
                    <a:schemeClr val="bg1"/>
                  </a:solidFill>
                  <a:effectLst/>
                  <a:uLnTx/>
                  <a:uFillTx/>
                  <a:latin typeface="+mj-lt"/>
                  <a:ea typeface="Segoe UI" pitchFamily="34" charset="0"/>
                  <a:cs typeface="Segoe UI" pitchFamily="34" charset="0"/>
                </a:endParaRPr>
              </a:p>
            </p:txBody>
          </p:sp>
        </p:grpSp>
        <p:grpSp>
          <p:nvGrpSpPr>
            <p:cNvPr id="23" name="Group 22"/>
            <p:cNvGrpSpPr/>
            <p:nvPr/>
          </p:nvGrpSpPr>
          <p:grpSpPr>
            <a:xfrm>
              <a:off x="8196651" y="5623560"/>
              <a:ext cx="1307374" cy="1234440"/>
              <a:chOff x="10145487" y="5623560"/>
              <a:chExt cx="1307374" cy="1234440"/>
            </a:xfrm>
          </p:grpSpPr>
          <p:sp>
            <p:nvSpPr>
              <p:cNvPr id="24" name="Freeform: Shape 23"/>
              <p:cNvSpPr/>
              <p:nvPr/>
            </p:nvSpPr>
            <p:spPr bwMode="auto">
              <a:xfrm>
                <a:off x="10145487" y="5623560"/>
                <a:ext cx="1147711" cy="1234440"/>
              </a:xfrm>
              <a:custGeom>
                <a:avLst/>
                <a:gdLst>
                  <a:gd name="connsiteX0" fmla="*/ 0 w 1147711"/>
                  <a:gd name="connsiteY0" fmla="*/ 0 h 1234440"/>
                  <a:gd name="connsiteX1" fmla="*/ 1147711 w 1147711"/>
                  <a:gd name="connsiteY1" fmla="*/ 0 h 1234440"/>
                  <a:gd name="connsiteX2" fmla="*/ 125441 w 1147711"/>
                  <a:gd name="connsiteY2" fmla="*/ 1234440 h 1234440"/>
                  <a:gd name="connsiteX3" fmla="*/ 0 w 1147711"/>
                  <a:gd name="connsiteY3" fmla="*/ 1234440 h 1234440"/>
                  <a:gd name="connsiteX4" fmla="*/ 0 w 1147711"/>
                  <a:gd name="connsiteY4" fmla="*/ 0 h 12344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47711" h="1234440">
                    <a:moveTo>
                      <a:pt x="0" y="0"/>
                    </a:moveTo>
                    <a:lnTo>
                      <a:pt x="1147711" y="0"/>
                    </a:lnTo>
                    <a:lnTo>
                      <a:pt x="125441" y="1234440"/>
                    </a:lnTo>
                    <a:lnTo>
                      <a:pt x="0" y="1234440"/>
                    </a:lnTo>
                    <a:lnTo>
                      <a:pt x="0" y="0"/>
                    </a:lnTo>
                    <a:close/>
                  </a:path>
                </a:pathLst>
              </a:custGeom>
              <a:solidFill>
                <a:srgbClr val="FDB81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000" b="1" i="0" u="none" strike="noStrike" kern="0" cap="none" spc="0" normalizeH="0" baseline="0" noProof="0" dirty="0">
                  <a:ln>
                    <a:noFill/>
                  </a:ln>
                  <a:solidFill>
                    <a:schemeClr val="bg1"/>
                  </a:solidFill>
                  <a:effectLst/>
                  <a:uLnTx/>
                  <a:uFillTx/>
                  <a:latin typeface="+mj-lt"/>
                  <a:ea typeface="Segoe UI" pitchFamily="34" charset="0"/>
                  <a:cs typeface="Segoe UI" pitchFamily="34" charset="0"/>
                </a:endParaRPr>
              </a:p>
            </p:txBody>
          </p:sp>
          <p:sp>
            <p:nvSpPr>
              <p:cNvPr id="25" name="Freeform: Shape 24"/>
              <p:cNvSpPr/>
              <p:nvPr/>
            </p:nvSpPr>
            <p:spPr bwMode="auto">
              <a:xfrm>
                <a:off x="10258228" y="5623560"/>
                <a:ext cx="1194633" cy="1234440"/>
              </a:xfrm>
              <a:custGeom>
                <a:avLst/>
                <a:gdLst>
                  <a:gd name="connsiteX0" fmla="*/ 1022270 w 1194633"/>
                  <a:gd name="connsiteY0" fmla="*/ 0 h 1234440"/>
                  <a:gd name="connsiteX1" fmla="*/ 1194633 w 1194633"/>
                  <a:gd name="connsiteY1" fmla="*/ 0 h 1234440"/>
                  <a:gd name="connsiteX2" fmla="*/ 1194633 w 1194633"/>
                  <a:gd name="connsiteY2" fmla="*/ 1234440 h 1234440"/>
                  <a:gd name="connsiteX3" fmla="*/ 0 w 1194633"/>
                  <a:gd name="connsiteY3" fmla="*/ 1234440 h 1234440"/>
                  <a:gd name="connsiteX4" fmla="*/ 1022270 w 1194633"/>
                  <a:gd name="connsiteY4" fmla="*/ 0 h 12344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4633" h="1234440">
                    <a:moveTo>
                      <a:pt x="1022270" y="0"/>
                    </a:moveTo>
                    <a:lnTo>
                      <a:pt x="1194633" y="0"/>
                    </a:lnTo>
                    <a:lnTo>
                      <a:pt x="1194633" y="1234440"/>
                    </a:lnTo>
                    <a:lnTo>
                      <a:pt x="0" y="1234440"/>
                    </a:lnTo>
                    <a:lnTo>
                      <a:pt x="1022270" y="0"/>
                    </a:lnTo>
                    <a:close/>
                  </a:path>
                </a:pathLst>
              </a:custGeom>
              <a:solidFill>
                <a:srgbClr val="F68C1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000" b="1" i="0" u="none" strike="noStrike" kern="0" cap="none" spc="0" normalizeH="0" baseline="0" noProof="0" dirty="0">
                  <a:ln>
                    <a:noFill/>
                  </a:ln>
                  <a:solidFill>
                    <a:schemeClr val="bg1"/>
                  </a:solidFill>
                  <a:effectLst/>
                  <a:uLnTx/>
                  <a:uFillTx/>
                  <a:latin typeface="+mj-lt"/>
                  <a:ea typeface="Segoe UI" pitchFamily="34" charset="0"/>
                  <a:cs typeface="Segoe UI" pitchFamily="34" charset="0"/>
                </a:endParaRPr>
              </a:p>
            </p:txBody>
          </p:sp>
        </p:grpSp>
        <p:grpSp>
          <p:nvGrpSpPr>
            <p:cNvPr id="26" name="Group 25"/>
            <p:cNvGrpSpPr/>
            <p:nvPr/>
          </p:nvGrpSpPr>
          <p:grpSpPr>
            <a:xfrm>
              <a:off x="8196651" y="4391660"/>
              <a:ext cx="1307374" cy="1234440"/>
              <a:chOff x="10145487" y="5623560"/>
              <a:chExt cx="1307374" cy="1234440"/>
            </a:xfrm>
          </p:grpSpPr>
          <p:sp>
            <p:nvSpPr>
              <p:cNvPr id="27" name="Freeform: Shape 26"/>
              <p:cNvSpPr/>
              <p:nvPr/>
            </p:nvSpPr>
            <p:spPr bwMode="auto">
              <a:xfrm>
                <a:off x="10145487" y="5623560"/>
                <a:ext cx="1147711" cy="1234440"/>
              </a:xfrm>
              <a:custGeom>
                <a:avLst/>
                <a:gdLst>
                  <a:gd name="connsiteX0" fmla="*/ 0 w 1147711"/>
                  <a:gd name="connsiteY0" fmla="*/ 0 h 1234440"/>
                  <a:gd name="connsiteX1" fmla="*/ 1147711 w 1147711"/>
                  <a:gd name="connsiteY1" fmla="*/ 0 h 1234440"/>
                  <a:gd name="connsiteX2" fmla="*/ 125441 w 1147711"/>
                  <a:gd name="connsiteY2" fmla="*/ 1234440 h 1234440"/>
                  <a:gd name="connsiteX3" fmla="*/ 0 w 1147711"/>
                  <a:gd name="connsiteY3" fmla="*/ 1234440 h 1234440"/>
                  <a:gd name="connsiteX4" fmla="*/ 0 w 1147711"/>
                  <a:gd name="connsiteY4" fmla="*/ 0 h 12344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47711" h="1234440">
                    <a:moveTo>
                      <a:pt x="0" y="0"/>
                    </a:moveTo>
                    <a:lnTo>
                      <a:pt x="1147711" y="0"/>
                    </a:lnTo>
                    <a:lnTo>
                      <a:pt x="125441" y="1234440"/>
                    </a:lnTo>
                    <a:lnTo>
                      <a:pt x="0" y="1234440"/>
                    </a:lnTo>
                    <a:lnTo>
                      <a:pt x="0" y="0"/>
                    </a:lnTo>
                    <a:close/>
                  </a:path>
                </a:pathLst>
              </a:custGeom>
              <a:solidFill>
                <a:srgbClr val="FDB81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000" b="1" i="0" u="none" strike="noStrike" kern="0" cap="none" spc="0" normalizeH="0" baseline="0" noProof="0" dirty="0">
                  <a:ln>
                    <a:noFill/>
                  </a:ln>
                  <a:solidFill>
                    <a:schemeClr val="bg1"/>
                  </a:solidFill>
                  <a:effectLst/>
                  <a:uLnTx/>
                  <a:uFillTx/>
                  <a:latin typeface="+mj-lt"/>
                  <a:ea typeface="Segoe UI" pitchFamily="34" charset="0"/>
                  <a:cs typeface="Segoe UI" pitchFamily="34" charset="0"/>
                </a:endParaRPr>
              </a:p>
            </p:txBody>
          </p:sp>
          <p:sp>
            <p:nvSpPr>
              <p:cNvPr id="28" name="Freeform: Shape 27"/>
              <p:cNvSpPr/>
              <p:nvPr/>
            </p:nvSpPr>
            <p:spPr bwMode="auto">
              <a:xfrm>
                <a:off x="10258228" y="5623560"/>
                <a:ext cx="1194633" cy="1234440"/>
              </a:xfrm>
              <a:custGeom>
                <a:avLst/>
                <a:gdLst>
                  <a:gd name="connsiteX0" fmla="*/ 1022270 w 1194633"/>
                  <a:gd name="connsiteY0" fmla="*/ 0 h 1234440"/>
                  <a:gd name="connsiteX1" fmla="*/ 1194633 w 1194633"/>
                  <a:gd name="connsiteY1" fmla="*/ 0 h 1234440"/>
                  <a:gd name="connsiteX2" fmla="*/ 1194633 w 1194633"/>
                  <a:gd name="connsiteY2" fmla="*/ 1234440 h 1234440"/>
                  <a:gd name="connsiteX3" fmla="*/ 0 w 1194633"/>
                  <a:gd name="connsiteY3" fmla="*/ 1234440 h 1234440"/>
                  <a:gd name="connsiteX4" fmla="*/ 1022270 w 1194633"/>
                  <a:gd name="connsiteY4" fmla="*/ 0 h 12344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4633" h="1234440">
                    <a:moveTo>
                      <a:pt x="1022270" y="0"/>
                    </a:moveTo>
                    <a:lnTo>
                      <a:pt x="1194633" y="0"/>
                    </a:lnTo>
                    <a:lnTo>
                      <a:pt x="1194633" y="1234440"/>
                    </a:lnTo>
                    <a:lnTo>
                      <a:pt x="0" y="1234440"/>
                    </a:lnTo>
                    <a:lnTo>
                      <a:pt x="1022270" y="0"/>
                    </a:lnTo>
                    <a:close/>
                  </a:path>
                </a:pathLst>
              </a:custGeom>
              <a:solidFill>
                <a:srgbClr val="F68C1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000" b="1" i="0" u="none" strike="noStrike" kern="0" cap="none" spc="0" normalizeH="0" baseline="0" noProof="0" dirty="0">
                  <a:ln>
                    <a:noFill/>
                  </a:ln>
                  <a:solidFill>
                    <a:schemeClr val="bg1"/>
                  </a:solidFill>
                  <a:effectLst/>
                  <a:uLnTx/>
                  <a:uFillTx/>
                  <a:latin typeface="+mj-lt"/>
                  <a:ea typeface="Segoe UI" pitchFamily="34" charset="0"/>
                  <a:cs typeface="Segoe UI" pitchFamily="34" charset="0"/>
                </a:endParaRPr>
              </a:p>
            </p:txBody>
          </p:sp>
        </p:grpSp>
        <p:grpSp>
          <p:nvGrpSpPr>
            <p:cNvPr id="29" name="Group 28"/>
            <p:cNvGrpSpPr/>
            <p:nvPr/>
          </p:nvGrpSpPr>
          <p:grpSpPr>
            <a:xfrm>
              <a:off x="8196651" y="3159760"/>
              <a:ext cx="1307374" cy="1234440"/>
              <a:chOff x="10145487" y="5623560"/>
              <a:chExt cx="1307374" cy="1234440"/>
            </a:xfrm>
          </p:grpSpPr>
          <p:sp>
            <p:nvSpPr>
              <p:cNvPr id="30" name="Freeform: Shape 29"/>
              <p:cNvSpPr/>
              <p:nvPr/>
            </p:nvSpPr>
            <p:spPr bwMode="auto">
              <a:xfrm>
                <a:off x="10145487" y="5623560"/>
                <a:ext cx="1147711" cy="1234440"/>
              </a:xfrm>
              <a:custGeom>
                <a:avLst/>
                <a:gdLst>
                  <a:gd name="connsiteX0" fmla="*/ 0 w 1147711"/>
                  <a:gd name="connsiteY0" fmla="*/ 0 h 1234440"/>
                  <a:gd name="connsiteX1" fmla="*/ 1147711 w 1147711"/>
                  <a:gd name="connsiteY1" fmla="*/ 0 h 1234440"/>
                  <a:gd name="connsiteX2" fmla="*/ 125441 w 1147711"/>
                  <a:gd name="connsiteY2" fmla="*/ 1234440 h 1234440"/>
                  <a:gd name="connsiteX3" fmla="*/ 0 w 1147711"/>
                  <a:gd name="connsiteY3" fmla="*/ 1234440 h 1234440"/>
                  <a:gd name="connsiteX4" fmla="*/ 0 w 1147711"/>
                  <a:gd name="connsiteY4" fmla="*/ 0 h 12344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47711" h="1234440">
                    <a:moveTo>
                      <a:pt x="0" y="0"/>
                    </a:moveTo>
                    <a:lnTo>
                      <a:pt x="1147711" y="0"/>
                    </a:lnTo>
                    <a:lnTo>
                      <a:pt x="125441" y="1234440"/>
                    </a:lnTo>
                    <a:lnTo>
                      <a:pt x="0" y="1234440"/>
                    </a:lnTo>
                    <a:lnTo>
                      <a:pt x="0" y="0"/>
                    </a:lnTo>
                    <a:close/>
                  </a:path>
                </a:pathLst>
              </a:custGeom>
              <a:solidFill>
                <a:srgbClr val="FDB81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000" b="1" i="0" u="none" strike="noStrike" kern="0" cap="none" spc="0" normalizeH="0" baseline="0" noProof="0" dirty="0">
                  <a:ln>
                    <a:noFill/>
                  </a:ln>
                  <a:solidFill>
                    <a:schemeClr val="bg1"/>
                  </a:solidFill>
                  <a:effectLst/>
                  <a:uLnTx/>
                  <a:uFillTx/>
                  <a:latin typeface="+mj-lt"/>
                  <a:ea typeface="Segoe UI" pitchFamily="34" charset="0"/>
                  <a:cs typeface="Segoe UI" pitchFamily="34" charset="0"/>
                </a:endParaRPr>
              </a:p>
            </p:txBody>
          </p:sp>
          <p:sp>
            <p:nvSpPr>
              <p:cNvPr id="31" name="Freeform: Shape 30"/>
              <p:cNvSpPr/>
              <p:nvPr/>
            </p:nvSpPr>
            <p:spPr bwMode="auto">
              <a:xfrm>
                <a:off x="10258228" y="5623560"/>
                <a:ext cx="1194633" cy="1234440"/>
              </a:xfrm>
              <a:custGeom>
                <a:avLst/>
                <a:gdLst>
                  <a:gd name="connsiteX0" fmla="*/ 1022270 w 1194633"/>
                  <a:gd name="connsiteY0" fmla="*/ 0 h 1234440"/>
                  <a:gd name="connsiteX1" fmla="*/ 1194633 w 1194633"/>
                  <a:gd name="connsiteY1" fmla="*/ 0 h 1234440"/>
                  <a:gd name="connsiteX2" fmla="*/ 1194633 w 1194633"/>
                  <a:gd name="connsiteY2" fmla="*/ 1234440 h 1234440"/>
                  <a:gd name="connsiteX3" fmla="*/ 0 w 1194633"/>
                  <a:gd name="connsiteY3" fmla="*/ 1234440 h 1234440"/>
                  <a:gd name="connsiteX4" fmla="*/ 1022270 w 1194633"/>
                  <a:gd name="connsiteY4" fmla="*/ 0 h 12344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4633" h="1234440">
                    <a:moveTo>
                      <a:pt x="1022270" y="0"/>
                    </a:moveTo>
                    <a:lnTo>
                      <a:pt x="1194633" y="0"/>
                    </a:lnTo>
                    <a:lnTo>
                      <a:pt x="1194633" y="1234440"/>
                    </a:lnTo>
                    <a:lnTo>
                      <a:pt x="0" y="1234440"/>
                    </a:lnTo>
                    <a:lnTo>
                      <a:pt x="1022270" y="0"/>
                    </a:lnTo>
                    <a:close/>
                  </a:path>
                </a:pathLst>
              </a:custGeom>
              <a:solidFill>
                <a:srgbClr val="F68C1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000" b="1" i="0" u="none" strike="noStrike" kern="0" cap="none" spc="0" normalizeH="0" baseline="0" noProof="0" dirty="0">
                  <a:ln>
                    <a:noFill/>
                  </a:ln>
                  <a:solidFill>
                    <a:schemeClr val="bg1"/>
                  </a:solidFill>
                  <a:effectLst/>
                  <a:uLnTx/>
                  <a:uFillTx/>
                  <a:latin typeface="+mj-lt"/>
                  <a:ea typeface="Segoe UI" pitchFamily="34" charset="0"/>
                  <a:cs typeface="Segoe UI" pitchFamily="34" charset="0"/>
                </a:endParaRPr>
              </a:p>
            </p:txBody>
          </p:sp>
        </p:grpSp>
        <p:grpSp>
          <p:nvGrpSpPr>
            <p:cNvPr id="38" name="Group 37"/>
            <p:cNvGrpSpPr/>
            <p:nvPr/>
          </p:nvGrpSpPr>
          <p:grpSpPr>
            <a:xfrm>
              <a:off x="9555551" y="1940560"/>
              <a:ext cx="1307374" cy="1234440"/>
              <a:chOff x="10145487" y="5623560"/>
              <a:chExt cx="1307374" cy="1234440"/>
            </a:xfrm>
          </p:grpSpPr>
          <p:sp>
            <p:nvSpPr>
              <p:cNvPr id="39" name="Freeform: Shape 38"/>
              <p:cNvSpPr/>
              <p:nvPr/>
            </p:nvSpPr>
            <p:spPr bwMode="auto">
              <a:xfrm>
                <a:off x="10145487" y="5623560"/>
                <a:ext cx="1147711" cy="1234440"/>
              </a:xfrm>
              <a:custGeom>
                <a:avLst/>
                <a:gdLst>
                  <a:gd name="connsiteX0" fmla="*/ 0 w 1147711"/>
                  <a:gd name="connsiteY0" fmla="*/ 0 h 1234440"/>
                  <a:gd name="connsiteX1" fmla="*/ 1147711 w 1147711"/>
                  <a:gd name="connsiteY1" fmla="*/ 0 h 1234440"/>
                  <a:gd name="connsiteX2" fmla="*/ 125441 w 1147711"/>
                  <a:gd name="connsiteY2" fmla="*/ 1234440 h 1234440"/>
                  <a:gd name="connsiteX3" fmla="*/ 0 w 1147711"/>
                  <a:gd name="connsiteY3" fmla="*/ 1234440 h 1234440"/>
                  <a:gd name="connsiteX4" fmla="*/ 0 w 1147711"/>
                  <a:gd name="connsiteY4" fmla="*/ 0 h 12344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47711" h="1234440">
                    <a:moveTo>
                      <a:pt x="0" y="0"/>
                    </a:moveTo>
                    <a:lnTo>
                      <a:pt x="1147711" y="0"/>
                    </a:lnTo>
                    <a:lnTo>
                      <a:pt x="125441" y="1234440"/>
                    </a:lnTo>
                    <a:lnTo>
                      <a:pt x="0" y="1234440"/>
                    </a:lnTo>
                    <a:lnTo>
                      <a:pt x="0" y="0"/>
                    </a:lnTo>
                    <a:close/>
                  </a:path>
                </a:pathLst>
              </a:custGeom>
              <a:solidFill>
                <a:srgbClr val="FDB81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000" b="1" i="0" u="none" strike="noStrike" kern="0" cap="none" spc="0" normalizeH="0" baseline="0" noProof="0" dirty="0">
                  <a:ln>
                    <a:noFill/>
                  </a:ln>
                  <a:solidFill>
                    <a:schemeClr val="bg1"/>
                  </a:solidFill>
                  <a:effectLst/>
                  <a:uLnTx/>
                  <a:uFillTx/>
                  <a:latin typeface="+mj-lt"/>
                  <a:ea typeface="Segoe UI" pitchFamily="34" charset="0"/>
                  <a:cs typeface="Segoe UI" pitchFamily="34" charset="0"/>
                </a:endParaRPr>
              </a:p>
            </p:txBody>
          </p:sp>
          <p:sp>
            <p:nvSpPr>
              <p:cNvPr id="40" name="Freeform: Shape 39"/>
              <p:cNvSpPr/>
              <p:nvPr/>
            </p:nvSpPr>
            <p:spPr bwMode="auto">
              <a:xfrm>
                <a:off x="10258228" y="5623560"/>
                <a:ext cx="1194633" cy="1234440"/>
              </a:xfrm>
              <a:custGeom>
                <a:avLst/>
                <a:gdLst>
                  <a:gd name="connsiteX0" fmla="*/ 1022270 w 1194633"/>
                  <a:gd name="connsiteY0" fmla="*/ 0 h 1234440"/>
                  <a:gd name="connsiteX1" fmla="*/ 1194633 w 1194633"/>
                  <a:gd name="connsiteY1" fmla="*/ 0 h 1234440"/>
                  <a:gd name="connsiteX2" fmla="*/ 1194633 w 1194633"/>
                  <a:gd name="connsiteY2" fmla="*/ 1234440 h 1234440"/>
                  <a:gd name="connsiteX3" fmla="*/ 0 w 1194633"/>
                  <a:gd name="connsiteY3" fmla="*/ 1234440 h 1234440"/>
                  <a:gd name="connsiteX4" fmla="*/ 1022270 w 1194633"/>
                  <a:gd name="connsiteY4" fmla="*/ 0 h 12344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4633" h="1234440">
                    <a:moveTo>
                      <a:pt x="1022270" y="0"/>
                    </a:moveTo>
                    <a:lnTo>
                      <a:pt x="1194633" y="0"/>
                    </a:lnTo>
                    <a:lnTo>
                      <a:pt x="1194633" y="1234440"/>
                    </a:lnTo>
                    <a:lnTo>
                      <a:pt x="0" y="1234440"/>
                    </a:lnTo>
                    <a:lnTo>
                      <a:pt x="1022270" y="0"/>
                    </a:lnTo>
                    <a:close/>
                  </a:path>
                </a:pathLst>
              </a:custGeom>
              <a:solidFill>
                <a:srgbClr val="F68C1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000" b="1" i="0" u="none" strike="noStrike" kern="0" cap="none" spc="0" normalizeH="0" baseline="0" noProof="0" dirty="0">
                  <a:ln>
                    <a:noFill/>
                  </a:ln>
                  <a:solidFill>
                    <a:schemeClr val="bg1"/>
                  </a:solidFill>
                  <a:effectLst/>
                  <a:uLnTx/>
                  <a:uFillTx/>
                  <a:latin typeface="+mj-lt"/>
                  <a:ea typeface="Segoe UI" pitchFamily="34" charset="0"/>
                  <a:cs typeface="Segoe UI" pitchFamily="34" charset="0"/>
                </a:endParaRPr>
              </a:p>
            </p:txBody>
          </p:sp>
        </p:grpSp>
        <p:grpSp>
          <p:nvGrpSpPr>
            <p:cNvPr id="41" name="Group 48"/>
            <p:cNvGrpSpPr>
              <a:grpSpLocks noChangeAspect="1"/>
            </p:cNvGrpSpPr>
            <p:nvPr/>
          </p:nvGrpSpPr>
          <p:grpSpPr bwMode="auto">
            <a:xfrm>
              <a:off x="6401414" y="4508500"/>
              <a:ext cx="1531919" cy="2349500"/>
              <a:chOff x="4284" y="2636"/>
              <a:chExt cx="1098" cy="1684"/>
            </a:xfrm>
          </p:grpSpPr>
          <p:sp>
            <p:nvSpPr>
              <p:cNvPr id="43" name="Freeform 49"/>
              <p:cNvSpPr>
                <a:spLocks/>
              </p:cNvSpPr>
              <p:nvPr/>
            </p:nvSpPr>
            <p:spPr bwMode="auto">
              <a:xfrm>
                <a:off x="4284" y="2714"/>
                <a:ext cx="544" cy="1606"/>
              </a:xfrm>
              <a:custGeom>
                <a:avLst/>
                <a:gdLst>
                  <a:gd name="T0" fmla="*/ 544 w 544"/>
                  <a:gd name="T1" fmla="*/ 0 h 1606"/>
                  <a:gd name="T2" fmla="*/ 418 w 544"/>
                  <a:gd name="T3" fmla="*/ 0 h 1606"/>
                  <a:gd name="T4" fmla="*/ 0 w 544"/>
                  <a:gd name="T5" fmla="*/ 1606 h 1606"/>
                  <a:gd name="T6" fmla="*/ 129 w 544"/>
                  <a:gd name="T7" fmla="*/ 1606 h 1606"/>
                  <a:gd name="T8" fmla="*/ 544 w 544"/>
                  <a:gd name="T9" fmla="*/ 0 h 1606"/>
                </a:gdLst>
                <a:ahLst/>
                <a:cxnLst>
                  <a:cxn ang="0">
                    <a:pos x="T0" y="T1"/>
                  </a:cxn>
                  <a:cxn ang="0">
                    <a:pos x="T2" y="T3"/>
                  </a:cxn>
                  <a:cxn ang="0">
                    <a:pos x="T4" y="T5"/>
                  </a:cxn>
                  <a:cxn ang="0">
                    <a:pos x="T6" y="T7"/>
                  </a:cxn>
                  <a:cxn ang="0">
                    <a:pos x="T8" y="T9"/>
                  </a:cxn>
                </a:cxnLst>
                <a:rect l="0" t="0" r="r" b="b"/>
                <a:pathLst>
                  <a:path w="544" h="1606">
                    <a:moveTo>
                      <a:pt x="544" y="0"/>
                    </a:moveTo>
                    <a:lnTo>
                      <a:pt x="418" y="0"/>
                    </a:lnTo>
                    <a:lnTo>
                      <a:pt x="0" y="1606"/>
                    </a:lnTo>
                    <a:lnTo>
                      <a:pt x="129" y="1606"/>
                    </a:lnTo>
                    <a:lnTo>
                      <a:pt x="544" y="0"/>
                    </a:lnTo>
                    <a:close/>
                  </a:path>
                </a:pathLst>
              </a:custGeom>
              <a:solidFill>
                <a:srgbClr val="DC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4" name="Freeform 50"/>
              <p:cNvSpPr>
                <a:spLocks/>
              </p:cNvSpPr>
              <p:nvPr/>
            </p:nvSpPr>
            <p:spPr bwMode="auto">
              <a:xfrm>
                <a:off x="4839" y="2714"/>
                <a:ext cx="543" cy="1606"/>
              </a:xfrm>
              <a:custGeom>
                <a:avLst/>
                <a:gdLst>
                  <a:gd name="T0" fmla="*/ 0 w 543"/>
                  <a:gd name="T1" fmla="*/ 0 h 1606"/>
                  <a:gd name="T2" fmla="*/ 125 w 543"/>
                  <a:gd name="T3" fmla="*/ 0 h 1606"/>
                  <a:gd name="T4" fmla="*/ 543 w 543"/>
                  <a:gd name="T5" fmla="*/ 1606 h 1606"/>
                  <a:gd name="T6" fmla="*/ 414 w 543"/>
                  <a:gd name="T7" fmla="*/ 1606 h 1606"/>
                  <a:gd name="T8" fmla="*/ 0 w 543"/>
                  <a:gd name="T9" fmla="*/ 0 h 1606"/>
                </a:gdLst>
                <a:ahLst/>
                <a:cxnLst>
                  <a:cxn ang="0">
                    <a:pos x="T0" y="T1"/>
                  </a:cxn>
                  <a:cxn ang="0">
                    <a:pos x="T2" y="T3"/>
                  </a:cxn>
                  <a:cxn ang="0">
                    <a:pos x="T4" y="T5"/>
                  </a:cxn>
                  <a:cxn ang="0">
                    <a:pos x="T6" y="T7"/>
                  </a:cxn>
                  <a:cxn ang="0">
                    <a:pos x="T8" y="T9"/>
                  </a:cxn>
                </a:cxnLst>
                <a:rect l="0" t="0" r="r" b="b"/>
                <a:pathLst>
                  <a:path w="543" h="1606">
                    <a:moveTo>
                      <a:pt x="0" y="0"/>
                    </a:moveTo>
                    <a:lnTo>
                      <a:pt x="125" y="0"/>
                    </a:lnTo>
                    <a:lnTo>
                      <a:pt x="543" y="1606"/>
                    </a:lnTo>
                    <a:lnTo>
                      <a:pt x="414" y="1606"/>
                    </a:lnTo>
                    <a:lnTo>
                      <a:pt x="0" y="0"/>
                    </a:lnTo>
                    <a:close/>
                  </a:path>
                </a:pathLst>
              </a:custGeom>
              <a:solidFill>
                <a:srgbClr val="DC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5" name="Rectangle 51"/>
              <p:cNvSpPr>
                <a:spLocks noChangeArrowheads="1"/>
              </p:cNvSpPr>
              <p:nvPr/>
            </p:nvSpPr>
            <p:spPr bwMode="auto">
              <a:xfrm>
                <a:off x="4669" y="2636"/>
                <a:ext cx="321" cy="78"/>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6" name="Freeform 52"/>
              <p:cNvSpPr>
                <a:spLocks/>
              </p:cNvSpPr>
              <p:nvPr/>
            </p:nvSpPr>
            <p:spPr bwMode="auto">
              <a:xfrm>
                <a:off x="4510" y="3524"/>
                <a:ext cx="636" cy="77"/>
              </a:xfrm>
              <a:custGeom>
                <a:avLst/>
                <a:gdLst>
                  <a:gd name="T0" fmla="*/ 172 w 172"/>
                  <a:gd name="T1" fmla="*/ 11 h 21"/>
                  <a:gd name="T2" fmla="*/ 162 w 172"/>
                  <a:gd name="T3" fmla="*/ 21 h 21"/>
                  <a:gd name="T4" fmla="*/ 11 w 172"/>
                  <a:gd name="T5" fmla="*/ 21 h 21"/>
                  <a:gd name="T6" fmla="*/ 0 w 172"/>
                  <a:gd name="T7" fmla="*/ 11 h 21"/>
                  <a:gd name="T8" fmla="*/ 0 w 172"/>
                  <a:gd name="T9" fmla="*/ 11 h 21"/>
                  <a:gd name="T10" fmla="*/ 11 w 172"/>
                  <a:gd name="T11" fmla="*/ 0 h 21"/>
                  <a:gd name="T12" fmla="*/ 162 w 172"/>
                  <a:gd name="T13" fmla="*/ 0 h 21"/>
                  <a:gd name="T14" fmla="*/ 172 w 172"/>
                  <a:gd name="T15" fmla="*/ 11 h 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2" h="21">
                    <a:moveTo>
                      <a:pt x="172" y="11"/>
                    </a:moveTo>
                    <a:cubicBezTo>
                      <a:pt x="172" y="17"/>
                      <a:pt x="168" y="21"/>
                      <a:pt x="162" y="21"/>
                    </a:cubicBezTo>
                    <a:cubicBezTo>
                      <a:pt x="11" y="21"/>
                      <a:pt x="11" y="21"/>
                      <a:pt x="11" y="21"/>
                    </a:cubicBezTo>
                    <a:cubicBezTo>
                      <a:pt x="5" y="21"/>
                      <a:pt x="0" y="17"/>
                      <a:pt x="0" y="11"/>
                    </a:cubicBezTo>
                    <a:cubicBezTo>
                      <a:pt x="0" y="11"/>
                      <a:pt x="0" y="11"/>
                      <a:pt x="0" y="11"/>
                    </a:cubicBezTo>
                    <a:cubicBezTo>
                      <a:pt x="0" y="5"/>
                      <a:pt x="5" y="0"/>
                      <a:pt x="11" y="0"/>
                    </a:cubicBezTo>
                    <a:cubicBezTo>
                      <a:pt x="162" y="0"/>
                      <a:pt x="162" y="0"/>
                      <a:pt x="162" y="0"/>
                    </a:cubicBezTo>
                    <a:cubicBezTo>
                      <a:pt x="168" y="0"/>
                      <a:pt x="172" y="5"/>
                      <a:pt x="172" y="11"/>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7" name="Oval 53"/>
              <p:cNvSpPr>
                <a:spLocks noChangeArrowheads="1"/>
              </p:cNvSpPr>
              <p:nvPr/>
            </p:nvSpPr>
            <p:spPr bwMode="auto">
              <a:xfrm>
                <a:off x="4528" y="3542"/>
                <a:ext cx="41" cy="41"/>
              </a:xfrm>
              <a:prstGeom prst="ellipse">
                <a:avLst/>
              </a:prstGeom>
              <a:solidFill>
                <a:srgbClr val="DC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8" name="Oval 54"/>
              <p:cNvSpPr>
                <a:spLocks noChangeArrowheads="1"/>
              </p:cNvSpPr>
              <p:nvPr/>
            </p:nvSpPr>
            <p:spPr bwMode="auto">
              <a:xfrm>
                <a:off x="5083" y="3542"/>
                <a:ext cx="40" cy="41"/>
              </a:xfrm>
              <a:prstGeom prst="ellipse">
                <a:avLst/>
              </a:prstGeom>
              <a:solidFill>
                <a:srgbClr val="DC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9" name="Freeform 55"/>
              <p:cNvSpPr>
                <a:spLocks/>
              </p:cNvSpPr>
              <p:nvPr/>
            </p:nvSpPr>
            <p:spPr bwMode="auto">
              <a:xfrm>
                <a:off x="4698" y="3517"/>
                <a:ext cx="263" cy="88"/>
              </a:xfrm>
              <a:custGeom>
                <a:avLst/>
                <a:gdLst>
                  <a:gd name="T0" fmla="*/ 0 w 71"/>
                  <a:gd name="T1" fmla="*/ 0 h 24"/>
                  <a:gd name="T2" fmla="*/ 0 w 71"/>
                  <a:gd name="T3" fmla="*/ 12 h 24"/>
                  <a:gd name="T4" fmla="*/ 12 w 71"/>
                  <a:gd name="T5" fmla="*/ 24 h 24"/>
                  <a:gd name="T6" fmla="*/ 59 w 71"/>
                  <a:gd name="T7" fmla="*/ 24 h 24"/>
                  <a:gd name="T8" fmla="*/ 71 w 71"/>
                  <a:gd name="T9" fmla="*/ 12 h 24"/>
                  <a:gd name="T10" fmla="*/ 71 w 71"/>
                  <a:gd name="T11" fmla="*/ 0 h 24"/>
                  <a:gd name="T12" fmla="*/ 0 w 71"/>
                  <a:gd name="T13" fmla="*/ 0 h 24"/>
                </a:gdLst>
                <a:ahLst/>
                <a:cxnLst>
                  <a:cxn ang="0">
                    <a:pos x="T0" y="T1"/>
                  </a:cxn>
                  <a:cxn ang="0">
                    <a:pos x="T2" y="T3"/>
                  </a:cxn>
                  <a:cxn ang="0">
                    <a:pos x="T4" y="T5"/>
                  </a:cxn>
                  <a:cxn ang="0">
                    <a:pos x="T6" y="T7"/>
                  </a:cxn>
                  <a:cxn ang="0">
                    <a:pos x="T8" y="T9"/>
                  </a:cxn>
                  <a:cxn ang="0">
                    <a:pos x="T10" y="T11"/>
                  </a:cxn>
                  <a:cxn ang="0">
                    <a:pos x="T12" y="T13"/>
                  </a:cxn>
                </a:cxnLst>
                <a:rect l="0" t="0" r="r" b="b"/>
                <a:pathLst>
                  <a:path w="71" h="24">
                    <a:moveTo>
                      <a:pt x="0" y="0"/>
                    </a:moveTo>
                    <a:cubicBezTo>
                      <a:pt x="0" y="12"/>
                      <a:pt x="0" y="12"/>
                      <a:pt x="0" y="12"/>
                    </a:cubicBezTo>
                    <a:cubicBezTo>
                      <a:pt x="0" y="18"/>
                      <a:pt x="5" y="24"/>
                      <a:pt x="12" y="24"/>
                    </a:cubicBezTo>
                    <a:cubicBezTo>
                      <a:pt x="59" y="24"/>
                      <a:pt x="59" y="24"/>
                      <a:pt x="59" y="24"/>
                    </a:cubicBezTo>
                    <a:cubicBezTo>
                      <a:pt x="65" y="24"/>
                      <a:pt x="71" y="18"/>
                      <a:pt x="71" y="12"/>
                    </a:cubicBezTo>
                    <a:cubicBezTo>
                      <a:pt x="71" y="0"/>
                      <a:pt x="71" y="0"/>
                      <a:pt x="71" y="0"/>
                    </a:cubicBezTo>
                    <a:lnTo>
                      <a:pt x="0" y="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0" name="Oval 56"/>
              <p:cNvSpPr>
                <a:spLocks noChangeArrowheads="1"/>
              </p:cNvSpPr>
              <p:nvPr/>
            </p:nvSpPr>
            <p:spPr bwMode="auto">
              <a:xfrm>
                <a:off x="4720" y="3542"/>
                <a:ext cx="41" cy="41"/>
              </a:xfrm>
              <a:prstGeom prst="ellipse">
                <a:avLst/>
              </a:prstGeom>
              <a:solidFill>
                <a:srgbClr val="DC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1" name="Oval 57"/>
              <p:cNvSpPr>
                <a:spLocks noChangeArrowheads="1"/>
              </p:cNvSpPr>
              <p:nvPr/>
            </p:nvSpPr>
            <p:spPr bwMode="auto">
              <a:xfrm>
                <a:off x="4890" y="3542"/>
                <a:ext cx="41" cy="41"/>
              </a:xfrm>
              <a:prstGeom prst="ellipse">
                <a:avLst/>
              </a:prstGeom>
              <a:solidFill>
                <a:srgbClr val="DC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2" name="Rectangle 58"/>
              <p:cNvSpPr>
                <a:spLocks noChangeArrowheads="1"/>
              </p:cNvSpPr>
              <p:nvPr/>
            </p:nvSpPr>
            <p:spPr bwMode="auto">
              <a:xfrm>
                <a:off x="4284" y="4257"/>
                <a:ext cx="159" cy="63"/>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3" name="Rectangle 59"/>
              <p:cNvSpPr>
                <a:spLocks noChangeArrowheads="1"/>
              </p:cNvSpPr>
              <p:nvPr/>
            </p:nvSpPr>
            <p:spPr bwMode="auto">
              <a:xfrm>
                <a:off x="5227" y="4257"/>
                <a:ext cx="155" cy="63"/>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4" name="Freeform 60"/>
              <p:cNvSpPr>
                <a:spLocks/>
              </p:cNvSpPr>
              <p:nvPr/>
            </p:nvSpPr>
            <p:spPr bwMode="auto">
              <a:xfrm>
                <a:off x="4702" y="2714"/>
                <a:ext cx="126" cy="99"/>
              </a:xfrm>
              <a:custGeom>
                <a:avLst/>
                <a:gdLst>
                  <a:gd name="T0" fmla="*/ 0 w 126"/>
                  <a:gd name="T1" fmla="*/ 0 h 99"/>
                  <a:gd name="T2" fmla="*/ 100 w 126"/>
                  <a:gd name="T3" fmla="*/ 99 h 99"/>
                  <a:gd name="T4" fmla="*/ 126 w 126"/>
                  <a:gd name="T5" fmla="*/ 0 h 99"/>
                  <a:gd name="T6" fmla="*/ 0 w 126"/>
                  <a:gd name="T7" fmla="*/ 0 h 99"/>
                </a:gdLst>
                <a:ahLst/>
                <a:cxnLst>
                  <a:cxn ang="0">
                    <a:pos x="T0" y="T1"/>
                  </a:cxn>
                  <a:cxn ang="0">
                    <a:pos x="T2" y="T3"/>
                  </a:cxn>
                  <a:cxn ang="0">
                    <a:pos x="T4" y="T5"/>
                  </a:cxn>
                  <a:cxn ang="0">
                    <a:pos x="T6" y="T7"/>
                  </a:cxn>
                </a:cxnLst>
                <a:rect l="0" t="0" r="r" b="b"/>
                <a:pathLst>
                  <a:path w="126" h="99">
                    <a:moveTo>
                      <a:pt x="0" y="0"/>
                    </a:moveTo>
                    <a:lnTo>
                      <a:pt x="100" y="99"/>
                    </a:lnTo>
                    <a:lnTo>
                      <a:pt x="126" y="0"/>
                    </a:lnTo>
                    <a:lnTo>
                      <a:pt x="0" y="0"/>
                    </a:ln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5" name="Freeform 61"/>
              <p:cNvSpPr>
                <a:spLocks/>
              </p:cNvSpPr>
              <p:nvPr/>
            </p:nvSpPr>
            <p:spPr bwMode="auto">
              <a:xfrm>
                <a:off x="4839" y="2714"/>
                <a:ext cx="170" cy="162"/>
              </a:xfrm>
              <a:custGeom>
                <a:avLst/>
                <a:gdLst>
                  <a:gd name="T0" fmla="*/ 0 w 170"/>
                  <a:gd name="T1" fmla="*/ 0 h 162"/>
                  <a:gd name="T2" fmla="*/ 170 w 170"/>
                  <a:gd name="T3" fmla="*/ 162 h 162"/>
                  <a:gd name="T4" fmla="*/ 125 w 170"/>
                  <a:gd name="T5" fmla="*/ 0 h 162"/>
                  <a:gd name="T6" fmla="*/ 0 w 170"/>
                  <a:gd name="T7" fmla="*/ 0 h 162"/>
                </a:gdLst>
                <a:ahLst/>
                <a:cxnLst>
                  <a:cxn ang="0">
                    <a:pos x="T0" y="T1"/>
                  </a:cxn>
                  <a:cxn ang="0">
                    <a:pos x="T2" y="T3"/>
                  </a:cxn>
                  <a:cxn ang="0">
                    <a:pos x="T4" y="T5"/>
                  </a:cxn>
                  <a:cxn ang="0">
                    <a:pos x="T6" y="T7"/>
                  </a:cxn>
                </a:cxnLst>
                <a:rect l="0" t="0" r="r" b="b"/>
                <a:pathLst>
                  <a:path w="170" h="162">
                    <a:moveTo>
                      <a:pt x="0" y="0"/>
                    </a:moveTo>
                    <a:lnTo>
                      <a:pt x="170" y="162"/>
                    </a:lnTo>
                    <a:lnTo>
                      <a:pt x="125" y="0"/>
                    </a:lnTo>
                    <a:lnTo>
                      <a:pt x="0" y="0"/>
                    </a:ln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6" name="Rectangle 62"/>
              <p:cNvSpPr>
                <a:spLocks noChangeArrowheads="1"/>
              </p:cNvSpPr>
              <p:nvPr/>
            </p:nvSpPr>
            <p:spPr bwMode="auto">
              <a:xfrm>
                <a:off x="4669" y="2636"/>
                <a:ext cx="321" cy="11"/>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grpSp>
          <p:nvGrpSpPr>
            <p:cNvPr id="301" name="Group 300"/>
            <p:cNvGrpSpPr/>
            <p:nvPr/>
          </p:nvGrpSpPr>
          <p:grpSpPr>
            <a:xfrm>
              <a:off x="6840121" y="1736818"/>
              <a:ext cx="1974293" cy="2805383"/>
              <a:chOff x="6061178" y="1771809"/>
              <a:chExt cx="2127783" cy="3023485"/>
            </a:xfrm>
          </p:grpSpPr>
          <p:sp>
            <p:nvSpPr>
              <p:cNvPr id="253" name="Freeform 21"/>
              <p:cNvSpPr>
                <a:spLocks/>
              </p:cNvSpPr>
              <p:nvPr/>
            </p:nvSpPr>
            <p:spPr bwMode="auto">
              <a:xfrm>
                <a:off x="7056256" y="2599119"/>
                <a:ext cx="124778" cy="140506"/>
              </a:xfrm>
              <a:custGeom>
                <a:avLst/>
                <a:gdLst>
                  <a:gd name="T0" fmla="*/ 27 w 119"/>
                  <a:gd name="T1" fmla="*/ 134 h 134"/>
                  <a:gd name="T2" fmla="*/ 119 w 119"/>
                  <a:gd name="T3" fmla="*/ 17 h 134"/>
                  <a:gd name="T4" fmla="*/ 97 w 119"/>
                  <a:gd name="T5" fmla="*/ 0 h 134"/>
                  <a:gd name="T6" fmla="*/ 0 w 119"/>
                  <a:gd name="T7" fmla="*/ 120 h 134"/>
                  <a:gd name="T8" fmla="*/ 0 w 119"/>
                  <a:gd name="T9" fmla="*/ 120 h 134"/>
                </a:gdLst>
                <a:ahLst/>
                <a:cxnLst>
                  <a:cxn ang="0">
                    <a:pos x="T0" y="T1"/>
                  </a:cxn>
                  <a:cxn ang="0">
                    <a:pos x="T2" y="T3"/>
                  </a:cxn>
                  <a:cxn ang="0">
                    <a:pos x="T4" y="T5"/>
                  </a:cxn>
                  <a:cxn ang="0">
                    <a:pos x="T6" y="T7"/>
                  </a:cxn>
                  <a:cxn ang="0">
                    <a:pos x="T8" y="T9"/>
                  </a:cxn>
                </a:cxnLst>
                <a:rect l="0" t="0" r="r" b="b"/>
                <a:pathLst>
                  <a:path w="119" h="134">
                    <a:moveTo>
                      <a:pt x="27" y="134"/>
                    </a:moveTo>
                    <a:lnTo>
                      <a:pt x="119" y="17"/>
                    </a:lnTo>
                    <a:lnTo>
                      <a:pt x="97" y="0"/>
                    </a:lnTo>
                    <a:lnTo>
                      <a:pt x="0" y="120"/>
                    </a:lnTo>
                    <a:lnTo>
                      <a:pt x="0" y="12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tx1"/>
                  </a:solidFill>
                  <a:effectLst/>
                  <a:uLnTx/>
                  <a:uFillTx/>
                  <a:latin typeface="+mn-lt"/>
                  <a:ea typeface="+mn-ea"/>
                  <a:cs typeface="+mn-cs"/>
                </a:endParaRPr>
              </a:p>
            </p:txBody>
          </p:sp>
          <p:sp>
            <p:nvSpPr>
              <p:cNvPr id="254" name="Freeform 36"/>
              <p:cNvSpPr>
                <a:spLocks/>
              </p:cNvSpPr>
              <p:nvPr/>
            </p:nvSpPr>
            <p:spPr bwMode="auto">
              <a:xfrm>
                <a:off x="6420832" y="2420865"/>
                <a:ext cx="362800" cy="472898"/>
              </a:xfrm>
              <a:custGeom>
                <a:avLst/>
                <a:gdLst>
                  <a:gd name="T0" fmla="*/ 155 w 346"/>
                  <a:gd name="T1" fmla="*/ 451 h 451"/>
                  <a:gd name="T2" fmla="*/ 346 w 346"/>
                  <a:gd name="T3" fmla="*/ 404 h 451"/>
                  <a:gd name="T4" fmla="*/ 242 w 346"/>
                  <a:gd name="T5" fmla="*/ 0 h 451"/>
                  <a:gd name="T6" fmla="*/ 0 w 346"/>
                  <a:gd name="T7" fmla="*/ 53 h 451"/>
                  <a:gd name="T8" fmla="*/ 155 w 346"/>
                  <a:gd name="T9" fmla="*/ 451 h 451"/>
                </a:gdLst>
                <a:ahLst/>
                <a:cxnLst>
                  <a:cxn ang="0">
                    <a:pos x="T0" y="T1"/>
                  </a:cxn>
                  <a:cxn ang="0">
                    <a:pos x="T2" y="T3"/>
                  </a:cxn>
                  <a:cxn ang="0">
                    <a:pos x="T4" y="T5"/>
                  </a:cxn>
                  <a:cxn ang="0">
                    <a:pos x="T6" y="T7"/>
                  </a:cxn>
                  <a:cxn ang="0">
                    <a:pos x="T8" y="T9"/>
                  </a:cxn>
                </a:cxnLst>
                <a:rect l="0" t="0" r="r" b="b"/>
                <a:pathLst>
                  <a:path w="346" h="451">
                    <a:moveTo>
                      <a:pt x="155" y="451"/>
                    </a:moveTo>
                    <a:lnTo>
                      <a:pt x="346" y="404"/>
                    </a:lnTo>
                    <a:lnTo>
                      <a:pt x="242" y="0"/>
                    </a:lnTo>
                    <a:lnTo>
                      <a:pt x="0" y="53"/>
                    </a:lnTo>
                    <a:lnTo>
                      <a:pt x="155" y="451"/>
                    </a:lnTo>
                    <a:close/>
                  </a:path>
                </a:pathLst>
              </a:custGeom>
              <a:solidFill>
                <a:srgbClr val="2139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tx1"/>
                  </a:solidFill>
                  <a:effectLst/>
                  <a:uLnTx/>
                  <a:uFillTx/>
                  <a:latin typeface="+mn-lt"/>
                  <a:ea typeface="+mn-ea"/>
                  <a:cs typeface="+mn-cs"/>
                </a:endParaRPr>
              </a:p>
            </p:txBody>
          </p:sp>
          <p:sp>
            <p:nvSpPr>
              <p:cNvPr id="255" name="Freeform 37"/>
              <p:cNvSpPr>
                <a:spLocks/>
              </p:cNvSpPr>
              <p:nvPr/>
            </p:nvSpPr>
            <p:spPr bwMode="auto">
              <a:xfrm>
                <a:off x="6401958" y="2301329"/>
                <a:ext cx="287304" cy="285207"/>
              </a:xfrm>
              <a:custGeom>
                <a:avLst/>
                <a:gdLst>
                  <a:gd name="T0" fmla="*/ 8 w 122"/>
                  <a:gd name="T1" fmla="*/ 75 h 122"/>
                  <a:gd name="T2" fmla="*/ 48 w 122"/>
                  <a:gd name="T3" fmla="*/ 8 h 122"/>
                  <a:gd name="T4" fmla="*/ 115 w 122"/>
                  <a:gd name="T5" fmla="*/ 47 h 122"/>
                  <a:gd name="T6" fmla="*/ 75 w 122"/>
                  <a:gd name="T7" fmla="*/ 114 h 122"/>
                  <a:gd name="T8" fmla="*/ 8 w 122"/>
                  <a:gd name="T9" fmla="*/ 75 h 122"/>
                </a:gdLst>
                <a:ahLst/>
                <a:cxnLst>
                  <a:cxn ang="0">
                    <a:pos x="T0" y="T1"/>
                  </a:cxn>
                  <a:cxn ang="0">
                    <a:pos x="T2" y="T3"/>
                  </a:cxn>
                  <a:cxn ang="0">
                    <a:pos x="T4" y="T5"/>
                  </a:cxn>
                  <a:cxn ang="0">
                    <a:pos x="T6" y="T7"/>
                  </a:cxn>
                  <a:cxn ang="0">
                    <a:pos x="T8" y="T9"/>
                  </a:cxn>
                </a:cxnLst>
                <a:rect l="0" t="0" r="r" b="b"/>
                <a:pathLst>
                  <a:path w="122" h="122">
                    <a:moveTo>
                      <a:pt x="8" y="75"/>
                    </a:moveTo>
                    <a:cubicBezTo>
                      <a:pt x="0" y="45"/>
                      <a:pt x="18" y="15"/>
                      <a:pt x="48" y="8"/>
                    </a:cubicBezTo>
                    <a:cubicBezTo>
                      <a:pt x="77" y="0"/>
                      <a:pt x="107" y="18"/>
                      <a:pt x="115" y="47"/>
                    </a:cubicBezTo>
                    <a:cubicBezTo>
                      <a:pt x="122" y="77"/>
                      <a:pt x="105" y="107"/>
                      <a:pt x="75" y="114"/>
                    </a:cubicBezTo>
                    <a:cubicBezTo>
                      <a:pt x="46" y="122"/>
                      <a:pt x="16" y="104"/>
                      <a:pt x="8" y="75"/>
                    </a:cubicBezTo>
                    <a:close/>
                  </a:path>
                </a:pathLst>
              </a:custGeom>
              <a:solidFill>
                <a:srgbClr val="2139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tx1"/>
                  </a:solidFill>
                  <a:effectLst/>
                  <a:uLnTx/>
                  <a:uFillTx/>
                  <a:latin typeface="+mn-lt"/>
                  <a:ea typeface="+mn-ea"/>
                  <a:cs typeface="+mn-cs"/>
                </a:endParaRPr>
              </a:p>
            </p:txBody>
          </p:sp>
          <p:sp>
            <p:nvSpPr>
              <p:cNvPr id="256" name="Freeform 38"/>
              <p:cNvSpPr>
                <a:spLocks/>
              </p:cNvSpPr>
              <p:nvPr/>
            </p:nvSpPr>
            <p:spPr bwMode="auto">
              <a:xfrm>
                <a:off x="6938818" y="3001764"/>
                <a:ext cx="414179" cy="325052"/>
              </a:xfrm>
              <a:custGeom>
                <a:avLst/>
                <a:gdLst>
                  <a:gd name="T0" fmla="*/ 44 w 176"/>
                  <a:gd name="T1" fmla="*/ 92 h 139"/>
                  <a:gd name="T2" fmla="*/ 114 w 176"/>
                  <a:gd name="T3" fmla="*/ 133 h 139"/>
                  <a:gd name="T4" fmla="*/ 134 w 176"/>
                  <a:gd name="T5" fmla="*/ 126 h 139"/>
                  <a:gd name="T6" fmla="*/ 157 w 176"/>
                  <a:gd name="T7" fmla="*/ 119 h 139"/>
                  <a:gd name="T8" fmla="*/ 174 w 176"/>
                  <a:gd name="T9" fmla="*/ 112 h 139"/>
                  <a:gd name="T10" fmla="*/ 160 w 176"/>
                  <a:gd name="T11" fmla="*/ 103 h 139"/>
                  <a:gd name="T12" fmla="*/ 150 w 176"/>
                  <a:gd name="T13" fmla="*/ 86 h 139"/>
                  <a:gd name="T14" fmla="*/ 132 w 176"/>
                  <a:gd name="T15" fmla="*/ 77 h 139"/>
                  <a:gd name="T16" fmla="*/ 149 w 176"/>
                  <a:gd name="T17" fmla="*/ 62 h 139"/>
                  <a:gd name="T18" fmla="*/ 94 w 176"/>
                  <a:gd name="T19" fmla="*/ 52 h 139"/>
                  <a:gd name="T20" fmla="*/ 83 w 176"/>
                  <a:gd name="T21" fmla="*/ 52 h 139"/>
                  <a:gd name="T22" fmla="*/ 17 w 176"/>
                  <a:gd name="T23" fmla="*/ 0 h 139"/>
                  <a:gd name="T24" fmla="*/ 0 w 176"/>
                  <a:gd name="T25" fmla="*/ 60 h 139"/>
                  <a:gd name="T26" fmla="*/ 44 w 176"/>
                  <a:gd name="T27" fmla="*/ 92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6" h="139">
                    <a:moveTo>
                      <a:pt x="44" y="92"/>
                    </a:moveTo>
                    <a:cubicBezTo>
                      <a:pt x="69" y="120"/>
                      <a:pt x="83" y="124"/>
                      <a:pt x="114" y="133"/>
                    </a:cubicBezTo>
                    <a:cubicBezTo>
                      <a:pt x="133" y="139"/>
                      <a:pt x="141" y="134"/>
                      <a:pt x="134" y="126"/>
                    </a:cubicBezTo>
                    <a:cubicBezTo>
                      <a:pt x="151" y="137"/>
                      <a:pt x="169" y="127"/>
                      <a:pt x="157" y="119"/>
                    </a:cubicBezTo>
                    <a:cubicBezTo>
                      <a:pt x="162" y="120"/>
                      <a:pt x="172" y="119"/>
                      <a:pt x="174" y="112"/>
                    </a:cubicBezTo>
                    <a:cubicBezTo>
                      <a:pt x="176" y="106"/>
                      <a:pt x="164" y="103"/>
                      <a:pt x="160" y="103"/>
                    </a:cubicBezTo>
                    <a:cubicBezTo>
                      <a:pt x="164" y="98"/>
                      <a:pt x="165" y="89"/>
                      <a:pt x="150" y="86"/>
                    </a:cubicBezTo>
                    <a:cubicBezTo>
                      <a:pt x="138" y="84"/>
                      <a:pt x="132" y="77"/>
                      <a:pt x="132" y="77"/>
                    </a:cubicBezTo>
                    <a:cubicBezTo>
                      <a:pt x="146" y="75"/>
                      <a:pt x="152" y="69"/>
                      <a:pt x="149" y="62"/>
                    </a:cubicBezTo>
                    <a:cubicBezTo>
                      <a:pt x="133" y="61"/>
                      <a:pt x="113" y="53"/>
                      <a:pt x="94" y="52"/>
                    </a:cubicBezTo>
                    <a:cubicBezTo>
                      <a:pt x="90" y="52"/>
                      <a:pt x="86" y="52"/>
                      <a:pt x="83" y="52"/>
                    </a:cubicBezTo>
                    <a:cubicBezTo>
                      <a:pt x="17" y="0"/>
                      <a:pt x="17" y="0"/>
                      <a:pt x="17" y="0"/>
                    </a:cubicBezTo>
                    <a:cubicBezTo>
                      <a:pt x="0" y="60"/>
                      <a:pt x="0" y="60"/>
                      <a:pt x="0" y="60"/>
                    </a:cubicBezTo>
                    <a:lnTo>
                      <a:pt x="44" y="92"/>
                    </a:lnTo>
                    <a:close/>
                  </a:path>
                </a:pathLst>
              </a:custGeom>
              <a:solidFill>
                <a:srgbClr val="DB9C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tx1"/>
                  </a:solidFill>
                  <a:effectLst/>
                  <a:uLnTx/>
                  <a:uFillTx/>
                  <a:latin typeface="+mn-lt"/>
                  <a:ea typeface="+mn-ea"/>
                  <a:cs typeface="+mn-cs"/>
                </a:endParaRPr>
              </a:p>
            </p:txBody>
          </p:sp>
          <p:sp>
            <p:nvSpPr>
              <p:cNvPr id="257" name="Freeform 39"/>
              <p:cNvSpPr>
                <a:spLocks/>
              </p:cNvSpPr>
              <p:nvPr/>
            </p:nvSpPr>
            <p:spPr bwMode="auto">
              <a:xfrm>
                <a:off x="6568679" y="2753256"/>
                <a:ext cx="233828" cy="233828"/>
              </a:xfrm>
              <a:custGeom>
                <a:avLst/>
                <a:gdLst>
                  <a:gd name="T0" fmla="*/ 77 w 99"/>
                  <a:gd name="T1" fmla="*/ 15 h 100"/>
                  <a:gd name="T2" fmla="*/ 84 w 99"/>
                  <a:gd name="T3" fmla="*/ 77 h 100"/>
                  <a:gd name="T4" fmla="*/ 23 w 99"/>
                  <a:gd name="T5" fmla="*/ 85 h 100"/>
                  <a:gd name="T6" fmla="*/ 15 w 99"/>
                  <a:gd name="T7" fmla="*/ 23 h 100"/>
                  <a:gd name="T8" fmla="*/ 77 w 99"/>
                  <a:gd name="T9" fmla="*/ 15 h 100"/>
                </a:gdLst>
                <a:ahLst/>
                <a:cxnLst>
                  <a:cxn ang="0">
                    <a:pos x="T0" y="T1"/>
                  </a:cxn>
                  <a:cxn ang="0">
                    <a:pos x="T2" y="T3"/>
                  </a:cxn>
                  <a:cxn ang="0">
                    <a:pos x="T4" y="T5"/>
                  </a:cxn>
                  <a:cxn ang="0">
                    <a:pos x="T6" y="T7"/>
                  </a:cxn>
                  <a:cxn ang="0">
                    <a:pos x="T8" y="T9"/>
                  </a:cxn>
                </a:cxnLst>
                <a:rect l="0" t="0" r="r" b="b"/>
                <a:pathLst>
                  <a:path w="99" h="100">
                    <a:moveTo>
                      <a:pt x="77" y="15"/>
                    </a:moveTo>
                    <a:cubicBezTo>
                      <a:pt x="96" y="30"/>
                      <a:pt x="99" y="58"/>
                      <a:pt x="84" y="77"/>
                    </a:cubicBezTo>
                    <a:cubicBezTo>
                      <a:pt x="69" y="96"/>
                      <a:pt x="42" y="100"/>
                      <a:pt x="23" y="85"/>
                    </a:cubicBezTo>
                    <a:cubicBezTo>
                      <a:pt x="4" y="70"/>
                      <a:pt x="0" y="42"/>
                      <a:pt x="15" y="23"/>
                    </a:cubicBezTo>
                    <a:cubicBezTo>
                      <a:pt x="30" y="4"/>
                      <a:pt x="58" y="0"/>
                      <a:pt x="77" y="15"/>
                    </a:cubicBezTo>
                    <a:close/>
                  </a:path>
                </a:pathLst>
              </a:custGeom>
              <a:solidFill>
                <a:srgbClr val="2139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tx1"/>
                  </a:solidFill>
                  <a:effectLst/>
                  <a:uLnTx/>
                  <a:uFillTx/>
                  <a:latin typeface="+mn-lt"/>
                  <a:ea typeface="+mn-ea"/>
                  <a:cs typeface="+mn-cs"/>
                </a:endParaRPr>
              </a:p>
            </p:txBody>
          </p:sp>
          <p:sp>
            <p:nvSpPr>
              <p:cNvPr id="258" name="Freeform 40"/>
              <p:cNvSpPr>
                <a:spLocks/>
              </p:cNvSpPr>
              <p:nvPr/>
            </p:nvSpPr>
            <p:spPr bwMode="auto">
              <a:xfrm>
                <a:off x="6623204" y="2787859"/>
                <a:ext cx="482335" cy="447733"/>
              </a:xfrm>
              <a:custGeom>
                <a:avLst/>
                <a:gdLst>
                  <a:gd name="T0" fmla="*/ 359 w 460"/>
                  <a:gd name="T1" fmla="*/ 427 h 427"/>
                  <a:gd name="T2" fmla="*/ 460 w 460"/>
                  <a:gd name="T3" fmla="*/ 297 h 427"/>
                  <a:gd name="T4" fmla="*/ 121 w 460"/>
                  <a:gd name="T5" fmla="*/ 0 h 427"/>
                  <a:gd name="T6" fmla="*/ 0 w 460"/>
                  <a:gd name="T7" fmla="*/ 157 h 427"/>
                  <a:gd name="T8" fmla="*/ 359 w 460"/>
                  <a:gd name="T9" fmla="*/ 427 h 427"/>
                </a:gdLst>
                <a:ahLst/>
                <a:cxnLst>
                  <a:cxn ang="0">
                    <a:pos x="T0" y="T1"/>
                  </a:cxn>
                  <a:cxn ang="0">
                    <a:pos x="T2" y="T3"/>
                  </a:cxn>
                  <a:cxn ang="0">
                    <a:pos x="T4" y="T5"/>
                  </a:cxn>
                  <a:cxn ang="0">
                    <a:pos x="T6" y="T7"/>
                  </a:cxn>
                  <a:cxn ang="0">
                    <a:pos x="T8" y="T9"/>
                  </a:cxn>
                </a:cxnLst>
                <a:rect l="0" t="0" r="r" b="b"/>
                <a:pathLst>
                  <a:path w="460" h="427">
                    <a:moveTo>
                      <a:pt x="359" y="427"/>
                    </a:moveTo>
                    <a:lnTo>
                      <a:pt x="460" y="297"/>
                    </a:lnTo>
                    <a:lnTo>
                      <a:pt x="121" y="0"/>
                    </a:lnTo>
                    <a:lnTo>
                      <a:pt x="0" y="157"/>
                    </a:lnTo>
                    <a:lnTo>
                      <a:pt x="359" y="427"/>
                    </a:lnTo>
                    <a:close/>
                  </a:path>
                </a:pathLst>
              </a:custGeom>
              <a:solidFill>
                <a:srgbClr val="2139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tx1"/>
                  </a:solidFill>
                  <a:effectLst/>
                  <a:uLnTx/>
                  <a:uFillTx/>
                  <a:latin typeface="+mn-lt"/>
                  <a:ea typeface="+mn-ea"/>
                  <a:cs typeface="+mn-cs"/>
                </a:endParaRPr>
              </a:p>
            </p:txBody>
          </p:sp>
          <p:sp>
            <p:nvSpPr>
              <p:cNvPr id="259" name="Freeform 45"/>
              <p:cNvSpPr>
                <a:spLocks/>
              </p:cNvSpPr>
              <p:nvPr/>
            </p:nvSpPr>
            <p:spPr bwMode="auto">
              <a:xfrm>
                <a:off x="6590698" y="2711314"/>
                <a:ext cx="258993" cy="191886"/>
              </a:xfrm>
              <a:custGeom>
                <a:avLst/>
                <a:gdLst>
                  <a:gd name="T0" fmla="*/ 208 w 247"/>
                  <a:gd name="T1" fmla="*/ 0 h 183"/>
                  <a:gd name="T2" fmla="*/ 0 w 247"/>
                  <a:gd name="T3" fmla="*/ 42 h 183"/>
                  <a:gd name="T4" fmla="*/ 18 w 247"/>
                  <a:gd name="T5" fmla="*/ 183 h 183"/>
                  <a:gd name="T6" fmla="*/ 247 w 247"/>
                  <a:gd name="T7" fmla="*/ 114 h 183"/>
                </a:gdLst>
                <a:ahLst/>
                <a:cxnLst>
                  <a:cxn ang="0">
                    <a:pos x="T0" y="T1"/>
                  </a:cxn>
                  <a:cxn ang="0">
                    <a:pos x="T2" y="T3"/>
                  </a:cxn>
                  <a:cxn ang="0">
                    <a:pos x="T4" y="T5"/>
                  </a:cxn>
                  <a:cxn ang="0">
                    <a:pos x="T6" y="T7"/>
                  </a:cxn>
                </a:cxnLst>
                <a:rect l="0" t="0" r="r" b="b"/>
                <a:pathLst>
                  <a:path w="247" h="183">
                    <a:moveTo>
                      <a:pt x="208" y="0"/>
                    </a:moveTo>
                    <a:lnTo>
                      <a:pt x="0" y="42"/>
                    </a:lnTo>
                    <a:lnTo>
                      <a:pt x="18" y="183"/>
                    </a:lnTo>
                    <a:lnTo>
                      <a:pt x="247" y="11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tx1"/>
                  </a:solidFill>
                  <a:effectLst/>
                  <a:uLnTx/>
                  <a:uFillTx/>
                  <a:latin typeface="+mn-lt"/>
                  <a:ea typeface="+mn-ea"/>
                  <a:cs typeface="+mn-cs"/>
                </a:endParaRPr>
              </a:p>
            </p:txBody>
          </p:sp>
          <p:sp>
            <p:nvSpPr>
              <p:cNvPr id="260" name="Freeform 63"/>
              <p:cNvSpPr>
                <a:spLocks/>
              </p:cNvSpPr>
              <p:nvPr/>
            </p:nvSpPr>
            <p:spPr bwMode="auto">
              <a:xfrm>
                <a:off x="6190150" y="3273339"/>
                <a:ext cx="285207" cy="653250"/>
              </a:xfrm>
              <a:custGeom>
                <a:avLst/>
                <a:gdLst>
                  <a:gd name="T0" fmla="*/ 236 w 272"/>
                  <a:gd name="T1" fmla="*/ 623 h 623"/>
                  <a:gd name="T2" fmla="*/ 7 w 272"/>
                  <a:gd name="T3" fmla="*/ 616 h 623"/>
                  <a:gd name="T4" fmla="*/ 0 w 272"/>
                  <a:gd name="T5" fmla="*/ 0 h 623"/>
                  <a:gd name="T6" fmla="*/ 272 w 272"/>
                  <a:gd name="T7" fmla="*/ 6 h 623"/>
                  <a:gd name="T8" fmla="*/ 236 w 272"/>
                  <a:gd name="T9" fmla="*/ 623 h 623"/>
                </a:gdLst>
                <a:ahLst/>
                <a:cxnLst>
                  <a:cxn ang="0">
                    <a:pos x="T0" y="T1"/>
                  </a:cxn>
                  <a:cxn ang="0">
                    <a:pos x="T2" y="T3"/>
                  </a:cxn>
                  <a:cxn ang="0">
                    <a:pos x="T4" y="T5"/>
                  </a:cxn>
                  <a:cxn ang="0">
                    <a:pos x="T6" y="T7"/>
                  </a:cxn>
                  <a:cxn ang="0">
                    <a:pos x="T8" y="T9"/>
                  </a:cxn>
                </a:cxnLst>
                <a:rect l="0" t="0" r="r" b="b"/>
                <a:pathLst>
                  <a:path w="272" h="623">
                    <a:moveTo>
                      <a:pt x="236" y="623"/>
                    </a:moveTo>
                    <a:lnTo>
                      <a:pt x="7" y="616"/>
                    </a:lnTo>
                    <a:lnTo>
                      <a:pt x="0" y="0"/>
                    </a:lnTo>
                    <a:lnTo>
                      <a:pt x="272" y="6"/>
                    </a:lnTo>
                    <a:lnTo>
                      <a:pt x="236" y="623"/>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tx1"/>
                  </a:solidFill>
                  <a:effectLst/>
                  <a:uLnTx/>
                  <a:uFillTx/>
                  <a:latin typeface="+mn-lt"/>
                  <a:ea typeface="+mn-ea"/>
                  <a:cs typeface="+mn-cs"/>
                </a:endParaRPr>
              </a:p>
            </p:txBody>
          </p:sp>
          <p:sp>
            <p:nvSpPr>
              <p:cNvPr id="261" name="Freeform 64"/>
              <p:cNvSpPr>
                <a:spLocks/>
              </p:cNvSpPr>
              <p:nvPr/>
            </p:nvSpPr>
            <p:spPr bwMode="auto">
              <a:xfrm>
                <a:off x="6397764" y="3268097"/>
                <a:ext cx="342878" cy="660589"/>
              </a:xfrm>
              <a:custGeom>
                <a:avLst/>
                <a:gdLst>
                  <a:gd name="T0" fmla="*/ 327 w 327"/>
                  <a:gd name="T1" fmla="*/ 616 h 630"/>
                  <a:gd name="T2" fmla="*/ 98 w 327"/>
                  <a:gd name="T3" fmla="*/ 630 h 630"/>
                  <a:gd name="T4" fmla="*/ 0 w 327"/>
                  <a:gd name="T5" fmla="*/ 16 h 630"/>
                  <a:gd name="T6" fmla="*/ 276 w 327"/>
                  <a:gd name="T7" fmla="*/ 0 h 630"/>
                  <a:gd name="T8" fmla="*/ 327 w 327"/>
                  <a:gd name="T9" fmla="*/ 616 h 630"/>
                </a:gdLst>
                <a:ahLst/>
                <a:cxnLst>
                  <a:cxn ang="0">
                    <a:pos x="T0" y="T1"/>
                  </a:cxn>
                  <a:cxn ang="0">
                    <a:pos x="T2" y="T3"/>
                  </a:cxn>
                  <a:cxn ang="0">
                    <a:pos x="T4" y="T5"/>
                  </a:cxn>
                  <a:cxn ang="0">
                    <a:pos x="T6" y="T7"/>
                  </a:cxn>
                  <a:cxn ang="0">
                    <a:pos x="T8" y="T9"/>
                  </a:cxn>
                </a:cxnLst>
                <a:rect l="0" t="0" r="r" b="b"/>
                <a:pathLst>
                  <a:path w="327" h="630">
                    <a:moveTo>
                      <a:pt x="327" y="616"/>
                    </a:moveTo>
                    <a:lnTo>
                      <a:pt x="98" y="630"/>
                    </a:lnTo>
                    <a:lnTo>
                      <a:pt x="0" y="16"/>
                    </a:lnTo>
                    <a:lnTo>
                      <a:pt x="276" y="0"/>
                    </a:lnTo>
                    <a:lnTo>
                      <a:pt x="327" y="616"/>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tx1"/>
                  </a:solidFill>
                  <a:effectLst/>
                  <a:uLnTx/>
                  <a:uFillTx/>
                  <a:latin typeface="+mn-lt"/>
                  <a:ea typeface="+mn-ea"/>
                  <a:cs typeface="+mn-cs"/>
                </a:endParaRPr>
              </a:p>
            </p:txBody>
          </p:sp>
          <p:sp>
            <p:nvSpPr>
              <p:cNvPr id="262" name="Freeform 65"/>
              <p:cNvSpPr>
                <a:spLocks/>
              </p:cNvSpPr>
              <p:nvPr/>
            </p:nvSpPr>
            <p:spPr bwMode="auto">
              <a:xfrm>
                <a:off x="6086344" y="4497003"/>
                <a:ext cx="171963" cy="185594"/>
              </a:xfrm>
              <a:custGeom>
                <a:avLst/>
                <a:gdLst>
                  <a:gd name="T0" fmla="*/ 0 w 164"/>
                  <a:gd name="T1" fmla="*/ 159 h 177"/>
                  <a:gd name="T2" fmla="*/ 144 w 164"/>
                  <a:gd name="T3" fmla="*/ 177 h 177"/>
                  <a:gd name="T4" fmla="*/ 164 w 164"/>
                  <a:gd name="T5" fmla="*/ 18 h 177"/>
                  <a:gd name="T6" fmla="*/ 29 w 164"/>
                  <a:gd name="T7" fmla="*/ 0 h 177"/>
                  <a:gd name="T8" fmla="*/ 0 w 164"/>
                  <a:gd name="T9" fmla="*/ 159 h 177"/>
                </a:gdLst>
                <a:ahLst/>
                <a:cxnLst>
                  <a:cxn ang="0">
                    <a:pos x="T0" y="T1"/>
                  </a:cxn>
                  <a:cxn ang="0">
                    <a:pos x="T2" y="T3"/>
                  </a:cxn>
                  <a:cxn ang="0">
                    <a:pos x="T4" y="T5"/>
                  </a:cxn>
                  <a:cxn ang="0">
                    <a:pos x="T6" y="T7"/>
                  </a:cxn>
                  <a:cxn ang="0">
                    <a:pos x="T8" y="T9"/>
                  </a:cxn>
                </a:cxnLst>
                <a:rect l="0" t="0" r="r" b="b"/>
                <a:pathLst>
                  <a:path w="164" h="177">
                    <a:moveTo>
                      <a:pt x="0" y="159"/>
                    </a:moveTo>
                    <a:lnTo>
                      <a:pt x="144" y="177"/>
                    </a:lnTo>
                    <a:lnTo>
                      <a:pt x="164" y="18"/>
                    </a:lnTo>
                    <a:lnTo>
                      <a:pt x="29" y="0"/>
                    </a:lnTo>
                    <a:lnTo>
                      <a:pt x="0" y="159"/>
                    </a:lnTo>
                    <a:close/>
                  </a:path>
                </a:pathLst>
              </a:custGeom>
              <a:solidFill>
                <a:srgbClr val="409A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tx1"/>
                  </a:solidFill>
                  <a:effectLst/>
                  <a:uLnTx/>
                  <a:uFillTx/>
                  <a:latin typeface="+mn-lt"/>
                  <a:ea typeface="+mn-ea"/>
                  <a:cs typeface="+mn-cs"/>
                </a:endParaRPr>
              </a:p>
            </p:txBody>
          </p:sp>
          <p:sp>
            <p:nvSpPr>
              <p:cNvPr id="263" name="Freeform 66"/>
              <p:cNvSpPr>
                <a:spLocks/>
              </p:cNvSpPr>
              <p:nvPr/>
            </p:nvSpPr>
            <p:spPr bwMode="auto">
              <a:xfrm>
                <a:off x="6061178" y="4587680"/>
                <a:ext cx="439345" cy="207614"/>
              </a:xfrm>
              <a:custGeom>
                <a:avLst/>
                <a:gdLst>
                  <a:gd name="T0" fmla="*/ 1 w 187"/>
                  <a:gd name="T1" fmla="*/ 68 h 89"/>
                  <a:gd name="T2" fmla="*/ 57 w 187"/>
                  <a:gd name="T3" fmla="*/ 75 h 89"/>
                  <a:gd name="T4" fmla="*/ 59 w 187"/>
                  <a:gd name="T5" fmla="*/ 68 h 89"/>
                  <a:gd name="T6" fmla="*/ 134 w 187"/>
                  <a:gd name="T7" fmla="*/ 85 h 89"/>
                  <a:gd name="T8" fmla="*/ 182 w 187"/>
                  <a:gd name="T9" fmla="*/ 85 h 89"/>
                  <a:gd name="T10" fmla="*/ 187 w 187"/>
                  <a:gd name="T11" fmla="*/ 78 h 89"/>
                  <a:gd name="T12" fmla="*/ 80 w 187"/>
                  <a:gd name="T13" fmla="*/ 7 h 89"/>
                  <a:gd name="T14" fmla="*/ 78 w 187"/>
                  <a:gd name="T15" fmla="*/ 7 h 89"/>
                  <a:gd name="T16" fmla="*/ 48 w 187"/>
                  <a:gd name="T17" fmla="*/ 22 h 89"/>
                  <a:gd name="T18" fmla="*/ 16 w 187"/>
                  <a:gd name="T19" fmla="*/ 0 h 89"/>
                  <a:gd name="T20" fmla="*/ 1 w 187"/>
                  <a:gd name="T21" fmla="*/ 68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87" h="89">
                    <a:moveTo>
                      <a:pt x="1" y="68"/>
                    </a:moveTo>
                    <a:cubicBezTo>
                      <a:pt x="57" y="75"/>
                      <a:pt x="57" y="75"/>
                      <a:pt x="57" y="75"/>
                    </a:cubicBezTo>
                    <a:cubicBezTo>
                      <a:pt x="59" y="68"/>
                      <a:pt x="59" y="68"/>
                      <a:pt x="59" y="68"/>
                    </a:cubicBezTo>
                    <a:cubicBezTo>
                      <a:pt x="76" y="74"/>
                      <a:pt x="115" y="83"/>
                      <a:pt x="134" y="85"/>
                    </a:cubicBezTo>
                    <a:cubicBezTo>
                      <a:pt x="149" y="87"/>
                      <a:pt x="171" y="89"/>
                      <a:pt x="182" y="85"/>
                    </a:cubicBezTo>
                    <a:cubicBezTo>
                      <a:pt x="184" y="84"/>
                      <a:pt x="187" y="81"/>
                      <a:pt x="187" y="78"/>
                    </a:cubicBezTo>
                    <a:cubicBezTo>
                      <a:pt x="187" y="56"/>
                      <a:pt x="100" y="37"/>
                      <a:pt x="80" y="7"/>
                    </a:cubicBezTo>
                    <a:cubicBezTo>
                      <a:pt x="78" y="7"/>
                      <a:pt x="78" y="7"/>
                      <a:pt x="78" y="7"/>
                    </a:cubicBezTo>
                    <a:cubicBezTo>
                      <a:pt x="71" y="12"/>
                      <a:pt x="62" y="23"/>
                      <a:pt x="48" y="22"/>
                    </a:cubicBezTo>
                    <a:cubicBezTo>
                      <a:pt x="35" y="20"/>
                      <a:pt x="22" y="6"/>
                      <a:pt x="16" y="0"/>
                    </a:cubicBezTo>
                    <a:cubicBezTo>
                      <a:pt x="8" y="6"/>
                      <a:pt x="0" y="67"/>
                      <a:pt x="1" y="68"/>
                    </a:cubicBez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tx1"/>
                  </a:solidFill>
                  <a:effectLst/>
                  <a:uLnTx/>
                  <a:uFillTx/>
                  <a:latin typeface="+mn-lt"/>
                  <a:ea typeface="+mn-ea"/>
                  <a:cs typeface="+mn-cs"/>
                </a:endParaRPr>
              </a:p>
            </p:txBody>
          </p:sp>
          <p:sp>
            <p:nvSpPr>
              <p:cNvPr id="264" name="Freeform 69"/>
              <p:cNvSpPr>
                <a:spLocks/>
              </p:cNvSpPr>
              <p:nvPr/>
            </p:nvSpPr>
            <p:spPr bwMode="auto">
              <a:xfrm>
                <a:off x="6074809" y="3871015"/>
                <a:ext cx="362800" cy="742377"/>
              </a:xfrm>
              <a:custGeom>
                <a:avLst/>
                <a:gdLst>
                  <a:gd name="T0" fmla="*/ 117 w 346"/>
                  <a:gd name="T1" fmla="*/ 0 h 708"/>
                  <a:gd name="T2" fmla="*/ 346 w 346"/>
                  <a:gd name="T3" fmla="*/ 29 h 708"/>
                  <a:gd name="T4" fmla="*/ 209 w 346"/>
                  <a:gd name="T5" fmla="*/ 708 h 708"/>
                  <a:gd name="T6" fmla="*/ 0 w 346"/>
                  <a:gd name="T7" fmla="*/ 696 h 708"/>
                  <a:gd name="T8" fmla="*/ 117 w 346"/>
                  <a:gd name="T9" fmla="*/ 0 h 708"/>
                </a:gdLst>
                <a:ahLst/>
                <a:cxnLst>
                  <a:cxn ang="0">
                    <a:pos x="T0" y="T1"/>
                  </a:cxn>
                  <a:cxn ang="0">
                    <a:pos x="T2" y="T3"/>
                  </a:cxn>
                  <a:cxn ang="0">
                    <a:pos x="T4" y="T5"/>
                  </a:cxn>
                  <a:cxn ang="0">
                    <a:pos x="T6" y="T7"/>
                  </a:cxn>
                  <a:cxn ang="0">
                    <a:pos x="T8" y="T9"/>
                  </a:cxn>
                </a:cxnLst>
                <a:rect l="0" t="0" r="r" b="b"/>
                <a:pathLst>
                  <a:path w="346" h="708">
                    <a:moveTo>
                      <a:pt x="117" y="0"/>
                    </a:moveTo>
                    <a:lnTo>
                      <a:pt x="346" y="29"/>
                    </a:lnTo>
                    <a:lnTo>
                      <a:pt x="209" y="708"/>
                    </a:lnTo>
                    <a:lnTo>
                      <a:pt x="0" y="696"/>
                    </a:lnTo>
                    <a:lnTo>
                      <a:pt x="117"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chemeClr val="tx1"/>
                  </a:solidFill>
                  <a:effectLst/>
                  <a:uLnTx/>
                  <a:uFillTx/>
                  <a:latin typeface="+mn-lt"/>
                  <a:ea typeface="+mn-ea"/>
                  <a:cs typeface="+mn-cs"/>
                </a:endParaRPr>
              </a:p>
            </p:txBody>
          </p:sp>
          <p:sp>
            <p:nvSpPr>
              <p:cNvPr id="265" name="Freeform 70"/>
              <p:cNvSpPr>
                <a:spLocks/>
              </p:cNvSpPr>
              <p:nvPr/>
            </p:nvSpPr>
            <p:spPr bwMode="auto">
              <a:xfrm>
                <a:off x="6456483" y="4509585"/>
                <a:ext cx="155186" cy="173012"/>
              </a:xfrm>
              <a:custGeom>
                <a:avLst/>
                <a:gdLst>
                  <a:gd name="T0" fmla="*/ 0 w 148"/>
                  <a:gd name="T1" fmla="*/ 160 h 165"/>
                  <a:gd name="T2" fmla="*/ 143 w 148"/>
                  <a:gd name="T3" fmla="*/ 165 h 165"/>
                  <a:gd name="T4" fmla="*/ 148 w 148"/>
                  <a:gd name="T5" fmla="*/ 6 h 165"/>
                  <a:gd name="T6" fmla="*/ 15 w 148"/>
                  <a:gd name="T7" fmla="*/ 0 h 165"/>
                  <a:gd name="T8" fmla="*/ 0 w 148"/>
                  <a:gd name="T9" fmla="*/ 160 h 165"/>
                </a:gdLst>
                <a:ahLst/>
                <a:cxnLst>
                  <a:cxn ang="0">
                    <a:pos x="T0" y="T1"/>
                  </a:cxn>
                  <a:cxn ang="0">
                    <a:pos x="T2" y="T3"/>
                  </a:cxn>
                  <a:cxn ang="0">
                    <a:pos x="T4" y="T5"/>
                  </a:cxn>
                  <a:cxn ang="0">
                    <a:pos x="T6" y="T7"/>
                  </a:cxn>
                  <a:cxn ang="0">
                    <a:pos x="T8" y="T9"/>
                  </a:cxn>
                </a:cxnLst>
                <a:rect l="0" t="0" r="r" b="b"/>
                <a:pathLst>
                  <a:path w="148" h="165">
                    <a:moveTo>
                      <a:pt x="0" y="160"/>
                    </a:moveTo>
                    <a:lnTo>
                      <a:pt x="143" y="165"/>
                    </a:lnTo>
                    <a:lnTo>
                      <a:pt x="148" y="6"/>
                    </a:lnTo>
                    <a:lnTo>
                      <a:pt x="15" y="0"/>
                    </a:lnTo>
                    <a:lnTo>
                      <a:pt x="0" y="160"/>
                    </a:lnTo>
                    <a:close/>
                  </a:path>
                </a:pathLst>
              </a:custGeom>
              <a:solidFill>
                <a:srgbClr val="409A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tx1"/>
                  </a:solidFill>
                  <a:effectLst/>
                  <a:uLnTx/>
                  <a:uFillTx/>
                  <a:latin typeface="+mn-lt"/>
                  <a:ea typeface="+mn-ea"/>
                  <a:cs typeface="+mn-cs"/>
                </a:endParaRPr>
              </a:p>
            </p:txBody>
          </p:sp>
          <p:sp>
            <p:nvSpPr>
              <p:cNvPr id="266" name="Freeform 71"/>
              <p:cNvSpPr>
                <a:spLocks/>
              </p:cNvSpPr>
              <p:nvPr/>
            </p:nvSpPr>
            <p:spPr bwMode="auto">
              <a:xfrm>
                <a:off x="6437609" y="4601311"/>
                <a:ext cx="440393" cy="176157"/>
              </a:xfrm>
              <a:custGeom>
                <a:avLst/>
                <a:gdLst>
                  <a:gd name="T0" fmla="*/ 1 w 187"/>
                  <a:gd name="T1" fmla="*/ 69 h 75"/>
                  <a:gd name="T2" fmla="*/ 57 w 187"/>
                  <a:gd name="T3" fmla="*/ 71 h 75"/>
                  <a:gd name="T4" fmla="*/ 59 w 187"/>
                  <a:gd name="T5" fmla="*/ 64 h 75"/>
                  <a:gd name="T6" fmla="*/ 135 w 187"/>
                  <a:gd name="T7" fmla="*/ 74 h 75"/>
                  <a:gd name="T8" fmla="*/ 183 w 187"/>
                  <a:gd name="T9" fmla="*/ 70 h 75"/>
                  <a:gd name="T10" fmla="*/ 187 w 187"/>
                  <a:gd name="T11" fmla="*/ 63 h 75"/>
                  <a:gd name="T12" fmla="*/ 74 w 187"/>
                  <a:gd name="T13" fmla="*/ 1 h 75"/>
                  <a:gd name="T14" fmla="*/ 72 w 187"/>
                  <a:gd name="T15" fmla="*/ 1 h 75"/>
                  <a:gd name="T16" fmla="*/ 44 w 187"/>
                  <a:gd name="T17" fmla="*/ 18 h 75"/>
                  <a:gd name="T18" fmla="*/ 10 w 187"/>
                  <a:gd name="T19" fmla="*/ 0 h 75"/>
                  <a:gd name="T20" fmla="*/ 1 w 187"/>
                  <a:gd name="T21" fmla="*/ 69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87" h="75">
                    <a:moveTo>
                      <a:pt x="1" y="69"/>
                    </a:moveTo>
                    <a:cubicBezTo>
                      <a:pt x="57" y="71"/>
                      <a:pt x="57" y="71"/>
                      <a:pt x="57" y="71"/>
                    </a:cubicBezTo>
                    <a:cubicBezTo>
                      <a:pt x="59" y="64"/>
                      <a:pt x="59" y="64"/>
                      <a:pt x="59" y="64"/>
                    </a:cubicBezTo>
                    <a:cubicBezTo>
                      <a:pt x="77" y="68"/>
                      <a:pt x="116" y="74"/>
                      <a:pt x="135" y="74"/>
                    </a:cubicBezTo>
                    <a:cubicBezTo>
                      <a:pt x="150" y="75"/>
                      <a:pt x="172" y="75"/>
                      <a:pt x="183" y="70"/>
                    </a:cubicBezTo>
                    <a:cubicBezTo>
                      <a:pt x="184" y="69"/>
                      <a:pt x="187" y="66"/>
                      <a:pt x="187" y="63"/>
                    </a:cubicBezTo>
                    <a:cubicBezTo>
                      <a:pt x="185" y="40"/>
                      <a:pt x="96" y="29"/>
                      <a:pt x="74" y="1"/>
                    </a:cubicBezTo>
                    <a:cubicBezTo>
                      <a:pt x="72" y="1"/>
                      <a:pt x="72" y="1"/>
                      <a:pt x="72" y="1"/>
                    </a:cubicBezTo>
                    <a:cubicBezTo>
                      <a:pt x="66" y="6"/>
                      <a:pt x="58" y="19"/>
                      <a:pt x="44" y="18"/>
                    </a:cubicBezTo>
                    <a:cubicBezTo>
                      <a:pt x="30" y="18"/>
                      <a:pt x="16" y="5"/>
                      <a:pt x="10" y="0"/>
                    </a:cubicBezTo>
                    <a:cubicBezTo>
                      <a:pt x="3" y="6"/>
                      <a:pt x="0" y="68"/>
                      <a:pt x="1" y="69"/>
                    </a:cubicBez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tx1"/>
                  </a:solidFill>
                  <a:effectLst/>
                  <a:uLnTx/>
                  <a:uFillTx/>
                  <a:latin typeface="+mn-lt"/>
                  <a:ea typeface="+mn-ea"/>
                  <a:cs typeface="+mn-cs"/>
                </a:endParaRPr>
              </a:p>
            </p:txBody>
          </p:sp>
          <p:sp>
            <p:nvSpPr>
              <p:cNvPr id="267" name="Freeform 72"/>
              <p:cNvSpPr>
                <a:spLocks/>
              </p:cNvSpPr>
              <p:nvPr/>
            </p:nvSpPr>
            <p:spPr bwMode="auto">
              <a:xfrm>
                <a:off x="6439706" y="3882548"/>
                <a:ext cx="300935" cy="735037"/>
              </a:xfrm>
              <a:custGeom>
                <a:avLst/>
                <a:gdLst>
                  <a:gd name="T0" fmla="*/ 58 w 287"/>
                  <a:gd name="T1" fmla="*/ 0 h 701"/>
                  <a:gd name="T2" fmla="*/ 287 w 287"/>
                  <a:gd name="T3" fmla="*/ 9 h 701"/>
                  <a:gd name="T4" fmla="*/ 211 w 287"/>
                  <a:gd name="T5" fmla="*/ 692 h 701"/>
                  <a:gd name="T6" fmla="*/ 0 w 287"/>
                  <a:gd name="T7" fmla="*/ 701 h 701"/>
                  <a:gd name="T8" fmla="*/ 58 w 287"/>
                  <a:gd name="T9" fmla="*/ 0 h 701"/>
                </a:gdLst>
                <a:ahLst/>
                <a:cxnLst>
                  <a:cxn ang="0">
                    <a:pos x="T0" y="T1"/>
                  </a:cxn>
                  <a:cxn ang="0">
                    <a:pos x="T2" y="T3"/>
                  </a:cxn>
                  <a:cxn ang="0">
                    <a:pos x="T4" y="T5"/>
                  </a:cxn>
                  <a:cxn ang="0">
                    <a:pos x="T6" y="T7"/>
                  </a:cxn>
                  <a:cxn ang="0">
                    <a:pos x="T8" y="T9"/>
                  </a:cxn>
                </a:cxnLst>
                <a:rect l="0" t="0" r="r" b="b"/>
                <a:pathLst>
                  <a:path w="287" h="701">
                    <a:moveTo>
                      <a:pt x="58" y="0"/>
                    </a:moveTo>
                    <a:lnTo>
                      <a:pt x="287" y="9"/>
                    </a:lnTo>
                    <a:lnTo>
                      <a:pt x="211" y="692"/>
                    </a:lnTo>
                    <a:lnTo>
                      <a:pt x="0" y="701"/>
                    </a:lnTo>
                    <a:lnTo>
                      <a:pt x="58"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tx1"/>
                  </a:solidFill>
                  <a:effectLst/>
                  <a:uLnTx/>
                  <a:uFillTx/>
                  <a:latin typeface="+mn-lt"/>
                  <a:ea typeface="+mn-ea"/>
                  <a:cs typeface="+mn-cs"/>
                </a:endParaRPr>
              </a:p>
            </p:txBody>
          </p:sp>
          <p:sp>
            <p:nvSpPr>
              <p:cNvPr id="268" name="Freeform 73"/>
              <p:cNvSpPr>
                <a:spLocks/>
              </p:cNvSpPr>
              <p:nvPr/>
            </p:nvSpPr>
            <p:spPr bwMode="auto">
              <a:xfrm>
                <a:off x="6093683" y="2289795"/>
                <a:ext cx="614453" cy="1046457"/>
              </a:xfrm>
              <a:custGeom>
                <a:avLst/>
                <a:gdLst>
                  <a:gd name="T0" fmla="*/ 0 w 261"/>
                  <a:gd name="T1" fmla="*/ 93 h 447"/>
                  <a:gd name="T2" fmla="*/ 43 w 261"/>
                  <a:gd name="T3" fmla="*/ 29 h 447"/>
                  <a:gd name="T4" fmla="*/ 138 w 261"/>
                  <a:gd name="T5" fmla="*/ 0 h 447"/>
                  <a:gd name="T6" fmla="*/ 205 w 261"/>
                  <a:gd name="T7" fmla="*/ 12 h 447"/>
                  <a:gd name="T8" fmla="*/ 248 w 261"/>
                  <a:gd name="T9" fmla="*/ 77 h 447"/>
                  <a:gd name="T10" fmla="*/ 261 w 261"/>
                  <a:gd name="T11" fmla="*/ 417 h 447"/>
                  <a:gd name="T12" fmla="*/ 35 w 261"/>
                  <a:gd name="T13" fmla="*/ 447 h 447"/>
                  <a:gd name="T14" fmla="*/ 0 w 261"/>
                  <a:gd name="T15" fmla="*/ 93 h 4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1" h="447">
                    <a:moveTo>
                      <a:pt x="0" y="93"/>
                    </a:moveTo>
                    <a:cubicBezTo>
                      <a:pt x="43" y="29"/>
                      <a:pt x="43" y="29"/>
                      <a:pt x="43" y="29"/>
                    </a:cubicBezTo>
                    <a:cubicBezTo>
                      <a:pt x="138" y="0"/>
                      <a:pt x="138" y="0"/>
                      <a:pt x="138" y="0"/>
                    </a:cubicBezTo>
                    <a:cubicBezTo>
                      <a:pt x="205" y="12"/>
                      <a:pt x="205" y="12"/>
                      <a:pt x="205" y="12"/>
                    </a:cubicBezTo>
                    <a:cubicBezTo>
                      <a:pt x="248" y="77"/>
                      <a:pt x="248" y="77"/>
                      <a:pt x="248" y="77"/>
                    </a:cubicBezTo>
                    <a:cubicBezTo>
                      <a:pt x="261" y="417"/>
                      <a:pt x="261" y="417"/>
                      <a:pt x="261" y="417"/>
                    </a:cubicBezTo>
                    <a:cubicBezTo>
                      <a:pt x="35" y="447"/>
                      <a:pt x="35" y="447"/>
                      <a:pt x="35" y="447"/>
                    </a:cubicBezTo>
                    <a:cubicBezTo>
                      <a:pt x="31" y="262"/>
                      <a:pt x="0" y="93"/>
                      <a:pt x="0" y="93"/>
                    </a:cubicBezTo>
                  </a:path>
                </a:pathLst>
              </a:custGeom>
              <a:solidFill>
                <a:srgbClr val="2139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tx1"/>
                  </a:solidFill>
                  <a:effectLst/>
                  <a:uLnTx/>
                  <a:uFillTx/>
                  <a:latin typeface="+mn-lt"/>
                  <a:ea typeface="+mn-ea"/>
                  <a:cs typeface="+mn-cs"/>
                </a:endParaRPr>
              </a:p>
            </p:txBody>
          </p:sp>
          <p:sp>
            <p:nvSpPr>
              <p:cNvPr id="269" name="Freeform 74"/>
              <p:cNvSpPr>
                <a:spLocks/>
              </p:cNvSpPr>
              <p:nvPr/>
            </p:nvSpPr>
            <p:spPr bwMode="auto">
              <a:xfrm>
                <a:off x="6091586" y="2479584"/>
                <a:ext cx="293595" cy="463461"/>
              </a:xfrm>
              <a:custGeom>
                <a:avLst/>
                <a:gdLst>
                  <a:gd name="T0" fmla="*/ 83 w 280"/>
                  <a:gd name="T1" fmla="*/ 442 h 442"/>
                  <a:gd name="T2" fmla="*/ 280 w 280"/>
                  <a:gd name="T3" fmla="*/ 419 h 442"/>
                  <a:gd name="T4" fmla="*/ 247 w 280"/>
                  <a:gd name="T5" fmla="*/ 0 h 442"/>
                  <a:gd name="T6" fmla="*/ 0 w 280"/>
                  <a:gd name="T7" fmla="*/ 22 h 442"/>
                  <a:gd name="T8" fmla="*/ 83 w 280"/>
                  <a:gd name="T9" fmla="*/ 442 h 442"/>
                </a:gdLst>
                <a:ahLst/>
                <a:cxnLst>
                  <a:cxn ang="0">
                    <a:pos x="T0" y="T1"/>
                  </a:cxn>
                  <a:cxn ang="0">
                    <a:pos x="T2" y="T3"/>
                  </a:cxn>
                  <a:cxn ang="0">
                    <a:pos x="T4" y="T5"/>
                  </a:cxn>
                  <a:cxn ang="0">
                    <a:pos x="T6" y="T7"/>
                  </a:cxn>
                  <a:cxn ang="0">
                    <a:pos x="T8" y="T9"/>
                  </a:cxn>
                </a:cxnLst>
                <a:rect l="0" t="0" r="r" b="b"/>
                <a:pathLst>
                  <a:path w="280" h="442">
                    <a:moveTo>
                      <a:pt x="83" y="442"/>
                    </a:moveTo>
                    <a:lnTo>
                      <a:pt x="280" y="419"/>
                    </a:lnTo>
                    <a:lnTo>
                      <a:pt x="247" y="0"/>
                    </a:lnTo>
                    <a:lnTo>
                      <a:pt x="0" y="22"/>
                    </a:lnTo>
                    <a:lnTo>
                      <a:pt x="83" y="442"/>
                    </a:lnTo>
                    <a:close/>
                  </a:path>
                </a:pathLst>
              </a:custGeom>
              <a:solidFill>
                <a:srgbClr val="2139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tx1"/>
                  </a:solidFill>
                  <a:effectLst/>
                  <a:uLnTx/>
                  <a:uFillTx/>
                  <a:latin typeface="+mn-lt"/>
                  <a:ea typeface="+mn-ea"/>
                  <a:cs typeface="+mn-cs"/>
                </a:endParaRPr>
              </a:p>
            </p:txBody>
          </p:sp>
          <p:sp>
            <p:nvSpPr>
              <p:cNvPr id="270" name="Freeform 75"/>
              <p:cNvSpPr>
                <a:spLocks/>
              </p:cNvSpPr>
              <p:nvPr/>
            </p:nvSpPr>
            <p:spPr bwMode="auto">
              <a:xfrm>
                <a:off x="6082150" y="2345369"/>
                <a:ext cx="277867" cy="276818"/>
              </a:xfrm>
              <a:custGeom>
                <a:avLst/>
                <a:gdLst>
                  <a:gd name="T0" fmla="*/ 4 w 118"/>
                  <a:gd name="T1" fmla="*/ 67 h 118"/>
                  <a:gd name="T2" fmla="*/ 51 w 118"/>
                  <a:gd name="T3" fmla="*/ 4 h 118"/>
                  <a:gd name="T4" fmla="*/ 113 w 118"/>
                  <a:gd name="T5" fmla="*/ 51 h 118"/>
                  <a:gd name="T6" fmla="*/ 67 w 118"/>
                  <a:gd name="T7" fmla="*/ 114 h 118"/>
                  <a:gd name="T8" fmla="*/ 4 w 118"/>
                  <a:gd name="T9" fmla="*/ 67 h 118"/>
                </a:gdLst>
                <a:ahLst/>
                <a:cxnLst>
                  <a:cxn ang="0">
                    <a:pos x="T0" y="T1"/>
                  </a:cxn>
                  <a:cxn ang="0">
                    <a:pos x="T2" y="T3"/>
                  </a:cxn>
                  <a:cxn ang="0">
                    <a:pos x="T4" y="T5"/>
                  </a:cxn>
                  <a:cxn ang="0">
                    <a:pos x="T6" y="T7"/>
                  </a:cxn>
                  <a:cxn ang="0">
                    <a:pos x="T8" y="T9"/>
                  </a:cxn>
                </a:cxnLst>
                <a:rect l="0" t="0" r="r" b="b"/>
                <a:pathLst>
                  <a:path w="118" h="118">
                    <a:moveTo>
                      <a:pt x="4" y="67"/>
                    </a:moveTo>
                    <a:cubicBezTo>
                      <a:pt x="0" y="37"/>
                      <a:pt x="21" y="9"/>
                      <a:pt x="51" y="4"/>
                    </a:cubicBezTo>
                    <a:cubicBezTo>
                      <a:pt x="81" y="0"/>
                      <a:pt x="109" y="21"/>
                      <a:pt x="113" y="51"/>
                    </a:cubicBezTo>
                    <a:cubicBezTo>
                      <a:pt x="118" y="81"/>
                      <a:pt x="97" y="109"/>
                      <a:pt x="67" y="114"/>
                    </a:cubicBezTo>
                    <a:cubicBezTo>
                      <a:pt x="37" y="118"/>
                      <a:pt x="9" y="97"/>
                      <a:pt x="4" y="67"/>
                    </a:cubicBezTo>
                    <a:close/>
                  </a:path>
                </a:pathLst>
              </a:custGeom>
              <a:solidFill>
                <a:srgbClr val="2139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tx1"/>
                  </a:solidFill>
                  <a:effectLst/>
                  <a:uLnTx/>
                  <a:uFillTx/>
                  <a:latin typeface="+mn-lt"/>
                  <a:ea typeface="+mn-ea"/>
                  <a:cs typeface="+mn-cs"/>
                </a:endParaRPr>
              </a:p>
            </p:txBody>
          </p:sp>
          <p:sp>
            <p:nvSpPr>
              <p:cNvPr id="271" name="Freeform 76"/>
              <p:cNvSpPr>
                <a:spLocks/>
              </p:cNvSpPr>
              <p:nvPr/>
            </p:nvSpPr>
            <p:spPr bwMode="auto">
              <a:xfrm>
                <a:off x="6167082" y="2809878"/>
                <a:ext cx="227537" cy="226488"/>
              </a:xfrm>
              <a:custGeom>
                <a:avLst/>
                <a:gdLst>
                  <a:gd name="T0" fmla="*/ 39 w 97"/>
                  <a:gd name="T1" fmla="*/ 6 h 97"/>
                  <a:gd name="T2" fmla="*/ 91 w 97"/>
                  <a:gd name="T3" fmla="*/ 39 h 97"/>
                  <a:gd name="T4" fmla="*/ 58 w 97"/>
                  <a:gd name="T5" fmla="*/ 91 h 97"/>
                  <a:gd name="T6" fmla="*/ 6 w 97"/>
                  <a:gd name="T7" fmla="*/ 59 h 97"/>
                  <a:gd name="T8" fmla="*/ 39 w 97"/>
                  <a:gd name="T9" fmla="*/ 6 h 97"/>
                </a:gdLst>
                <a:ahLst/>
                <a:cxnLst>
                  <a:cxn ang="0">
                    <a:pos x="T0" y="T1"/>
                  </a:cxn>
                  <a:cxn ang="0">
                    <a:pos x="T2" y="T3"/>
                  </a:cxn>
                  <a:cxn ang="0">
                    <a:pos x="T4" y="T5"/>
                  </a:cxn>
                  <a:cxn ang="0">
                    <a:pos x="T6" y="T7"/>
                  </a:cxn>
                  <a:cxn ang="0">
                    <a:pos x="T8" y="T9"/>
                  </a:cxn>
                </a:cxnLst>
                <a:rect l="0" t="0" r="r" b="b"/>
                <a:pathLst>
                  <a:path w="97" h="97">
                    <a:moveTo>
                      <a:pt x="39" y="6"/>
                    </a:moveTo>
                    <a:cubicBezTo>
                      <a:pt x="62" y="0"/>
                      <a:pt x="86" y="15"/>
                      <a:pt x="91" y="39"/>
                    </a:cubicBezTo>
                    <a:cubicBezTo>
                      <a:pt x="97" y="62"/>
                      <a:pt x="82" y="86"/>
                      <a:pt x="58" y="91"/>
                    </a:cubicBezTo>
                    <a:cubicBezTo>
                      <a:pt x="35" y="97"/>
                      <a:pt x="11" y="82"/>
                      <a:pt x="6" y="59"/>
                    </a:cubicBezTo>
                    <a:cubicBezTo>
                      <a:pt x="0" y="35"/>
                      <a:pt x="15" y="11"/>
                      <a:pt x="39" y="6"/>
                    </a:cubicBezTo>
                    <a:close/>
                  </a:path>
                </a:pathLst>
              </a:custGeom>
              <a:solidFill>
                <a:srgbClr val="2139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tx1"/>
                  </a:solidFill>
                  <a:effectLst/>
                  <a:uLnTx/>
                  <a:uFillTx/>
                  <a:latin typeface="+mn-lt"/>
                  <a:ea typeface="+mn-ea"/>
                  <a:cs typeface="+mn-cs"/>
                </a:endParaRPr>
              </a:p>
            </p:txBody>
          </p:sp>
          <p:sp>
            <p:nvSpPr>
              <p:cNvPr id="272" name="Freeform 118"/>
              <p:cNvSpPr>
                <a:spLocks/>
              </p:cNvSpPr>
              <p:nvPr/>
            </p:nvSpPr>
            <p:spPr bwMode="auto">
              <a:xfrm>
                <a:off x="6305491" y="2198571"/>
                <a:ext cx="185594" cy="182448"/>
              </a:xfrm>
              <a:custGeom>
                <a:avLst/>
                <a:gdLst>
                  <a:gd name="T0" fmla="*/ 79 w 79"/>
                  <a:gd name="T1" fmla="*/ 47 h 78"/>
                  <a:gd name="T2" fmla="*/ 79 w 79"/>
                  <a:gd name="T3" fmla="*/ 0 h 78"/>
                  <a:gd name="T4" fmla="*/ 0 w 79"/>
                  <a:gd name="T5" fmla="*/ 0 h 78"/>
                  <a:gd name="T6" fmla="*/ 0 w 79"/>
                  <a:gd name="T7" fmla="*/ 47 h 78"/>
                  <a:gd name="T8" fmla="*/ 40 w 79"/>
                  <a:gd name="T9" fmla="*/ 78 h 78"/>
                  <a:gd name="T10" fmla="*/ 79 w 79"/>
                  <a:gd name="T11" fmla="*/ 47 h 78"/>
                </a:gdLst>
                <a:ahLst/>
                <a:cxnLst>
                  <a:cxn ang="0">
                    <a:pos x="T0" y="T1"/>
                  </a:cxn>
                  <a:cxn ang="0">
                    <a:pos x="T2" y="T3"/>
                  </a:cxn>
                  <a:cxn ang="0">
                    <a:pos x="T4" y="T5"/>
                  </a:cxn>
                  <a:cxn ang="0">
                    <a:pos x="T6" y="T7"/>
                  </a:cxn>
                  <a:cxn ang="0">
                    <a:pos x="T8" y="T9"/>
                  </a:cxn>
                  <a:cxn ang="0">
                    <a:pos x="T10" y="T11"/>
                  </a:cxn>
                </a:cxnLst>
                <a:rect l="0" t="0" r="r" b="b"/>
                <a:pathLst>
                  <a:path w="79" h="78">
                    <a:moveTo>
                      <a:pt x="79" y="47"/>
                    </a:moveTo>
                    <a:cubicBezTo>
                      <a:pt x="79" y="0"/>
                      <a:pt x="79" y="0"/>
                      <a:pt x="79" y="0"/>
                    </a:cubicBezTo>
                    <a:cubicBezTo>
                      <a:pt x="0" y="0"/>
                      <a:pt x="0" y="0"/>
                      <a:pt x="0" y="0"/>
                    </a:cubicBezTo>
                    <a:cubicBezTo>
                      <a:pt x="0" y="47"/>
                      <a:pt x="0" y="47"/>
                      <a:pt x="0" y="47"/>
                    </a:cubicBezTo>
                    <a:cubicBezTo>
                      <a:pt x="1" y="62"/>
                      <a:pt x="11" y="78"/>
                      <a:pt x="40" y="78"/>
                    </a:cubicBezTo>
                    <a:cubicBezTo>
                      <a:pt x="68" y="78"/>
                      <a:pt x="79" y="62"/>
                      <a:pt x="79" y="47"/>
                    </a:cubicBezTo>
                    <a:close/>
                  </a:path>
                </a:pathLst>
              </a:custGeom>
              <a:solidFill>
                <a:srgbClr val="DB9C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tx1"/>
                  </a:solidFill>
                  <a:effectLst/>
                  <a:uLnTx/>
                  <a:uFillTx/>
                  <a:latin typeface="+mn-lt"/>
                  <a:ea typeface="+mn-ea"/>
                  <a:cs typeface="+mn-cs"/>
                </a:endParaRPr>
              </a:p>
            </p:txBody>
          </p:sp>
          <p:sp>
            <p:nvSpPr>
              <p:cNvPr id="273" name="Freeform 119"/>
              <p:cNvSpPr>
                <a:spLocks/>
              </p:cNvSpPr>
              <p:nvPr/>
            </p:nvSpPr>
            <p:spPr bwMode="auto">
              <a:xfrm>
                <a:off x="6314929" y="2172357"/>
                <a:ext cx="176157" cy="123729"/>
              </a:xfrm>
              <a:custGeom>
                <a:avLst/>
                <a:gdLst>
                  <a:gd name="T0" fmla="*/ 1 w 75"/>
                  <a:gd name="T1" fmla="*/ 15 h 53"/>
                  <a:gd name="T2" fmla="*/ 75 w 75"/>
                  <a:gd name="T3" fmla="*/ 53 h 53"/>
                  <a:gd name="T4" fmla="*/ 75 w 75"/>
                  <a:gd name="T5" fmla="*/ 8 h 53"/>
                  <a:gd name="T6" fmla="*/ 0 w 75"/>
                  <a:gd name="T7" fmla="*/ 0 h 53"/>
                  <a:gd name="T8" fmla="*/ 1 w 75"/>
                  <a:gd name="T9" fmla="*/ 15 h 53"/>
                </a:gdLst>
                <a:ahLst/>
                <a:cxnLst>
                  <a:cxn ang="0">
                    <a:pos x="T0" y="T1"/>
                  </a:cxn>
                  <a:cxn ang="0">
                    <a:pos x="T2" y="T3"/>
                  </a:cxn>
                  <a:cxn ang="0">
                    <a:pos x="T4" y="T5"/>
                  </a:cxn>
                  <a:cxn ang="0">
                    <a:pos x="T6" y="T7"/>
                  </a:cxn>
                  <a:cxn ang="0">
                    <a:pos x="T8" y="T9"/>
                  </a:cxn>
                </a:cxnLst>
                <a:rect l="0" t="0" r="r" b="b"/>
                <a:pathLst>
                  <a:path w="75" h="53">
                    <a:moveTo>
                      <a:pt x="1" y="15"/>
                    </a:moveTo>
                    <a:cubicBezTo>
                      <a:pt x="14" y="43"/>
                      <a:pt x="37" y="53"/>
                      <a:pt x="75" y="53"/>
                    </a:cubicBezTo>
                    <a:cubicBezTo>
                      <a:pt x="75" y="8"/>
                      <a:pt x="75" y="8"/>
                      <a:pt x="75" y="8"/>
                    </a:cubicBezTo>
                    <a:cubicBezTo>
                      <a:pt x="0" y="0"/>
                      <a:pt x="0" y="0"/>
                      <a:pt x="0" y="0"/>
                    </a:cubicBezTo>
                    <a:lnTo>
                      <a:pt x="1" y="15"/>
                    </a:lnTo>
                    <a:close/>
                  </a:path>
                </a:pathLst>
              </a:custGeom>
              <a:solidFill>
                <a:srgbClr val="CB8C8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tx1"/>
                  </a:solidFill>
                  <a:effectLst/>
                  <a:uLnTx/>
                  <a:uFillTx/>
                  <a:latin typeface="+mn-lt"/>
                  <a:ea typeface="+mn-ea"/>
                  <a:cs typeface="+mn-cs"/>
                </a:endParaRPr>
              </a:p>
            </p:txBody>
          </p:sp>
          <p:sp>
            <p:nvSpPr>
              <p:cNvPr id="274" name="Freeform 120"/>
              <p:cNvSpPr>
                <a:spLocks/>
              </p:cNvSpPr>
              <p:nvPr/>
            </p:nvSpPr>
            <p:spPr bwMode="auto">
              <a:xfrm>
                <a:off x="6126189" y="1898684"/>
                <a:ext cx="492821" cy="389014"/>
              </a:xfrm>
              <a:custGeom>
                <a:avLst/>
                <a:gdLst>
                  <a:gd name="T0" fmla="*/ 191 w 209"/>
                  <a:gd name="T1" fmla="*/ 157 h 166"/>
                  <a:gd name="T2" fmla="*/ 192 w 209"/>
                  <a:gd name="T3" fmla="*/ 113 h 166"/>
                  <a:gd name="T4" fmla="*/ 196 w 209"/>
                  <a:gd name="T5" fmla="*/ 109 h 166"/>
                  <a:gd name="T6" fmla="*/ 205 w 209"/>
                  <a:gd name="T7" fmla="*/ 109 h 166"/>
                  <a:gd name="T8" fmla="*/ 209 w 209"/>
                  <a:gd name="T9" fmla="*/ 105 h 166"/>
                  <a:gd name="T10" fmla="*/ 202 w 209"/>
                  <a:gd name="T11" fmla="*/ 74 h 166"/>
                  <a:gd name="T12" fmla="*/ 201 w 209"/>
                  <a:gd name="T13" fmla="*/ 65 h 166"/>
                  <a:gd name="T14" fmla="*/ 202 w 209"/>
                  <a:gd name="T15" fmla="*/ 19 h 166"/>
                  <a:gd name="T16" fmla="*/ 80 w 209"/>
                  <a:gd name="T17" fmla="*/ 0 h 166"/>
                  <a:gd name="T18" fmla="*/ 76 w 209"/>
                  <a:gd name="T19" fmla="*/ 21 h 166"/>
                  <a:gd name="T20" fmla="*/ 60 w 209"/>
                  <a:gd name="T21" fmla="*/ 17 h 166"/>
                  <a:gd name="T22" fmla="*/ 181 w 209"/>
                  <a:gd name="T23" fmla="*/ 166 h 166"/>
                  <a:gd name="T24" fmla="*/ 191 w 209"/>
                  <a:gd name="T25" fmla="*/ 157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9" h="166">
                    <a:moveTo>
                      <a:pt x="191" y="157"/>
                    </a:moveTo>
                    <a:cubicBezTo>
                      <a:pt x="186" y="142"/>
                      <a:pt x="192" y="113"/>
                      <a:pt x="192" y="113"/>
                    </a:cubicBezTo>
                    <a:cubicBezTo>
                      <a:pt x="192" y="111"/>
                      <a:pt x="194" y="109"/>
                      <a:pt x="196" y="109"/>
                    </a:cubicBezTo>
                    <a:cubicBezTo>
                      <a:pt x="205" y="109"/>
                      <a:pt x="205" y="109"/>
                      <a:pt x="205" y="109"/>
                    </a:cubicBezTo>
                    <a:cubicBezTo>
                      <a:pt x="207" y="110"/>
                      <a:pt x="209" y="107"/>
                      <a:pt x="209" y="105"/>
                    </a:cubicBezTo>
                    <a:cubicBezTo>
                      <a:pt x="202" y="74"/>
                      <a:pt x="202" y="74"/>
                      <a:pt x="202" y="74"/>
                    </a:cubicBezTo>
                    <a:cubicBezTo>
                      <a:pt x="201" y="71"/>
                      <a:pt x="201" y="68"/>
                      <a:pt x="201" y="65"/>
                    </a:cubicBezTo>
                    <a:cubicBezTo>
                      <a:pt x="202" y="19"/>
                      <a:pt x="202" y="19"/>
                      <a:pt x="202" y="19"/>
                    </a:cubicBezTo>
                    <a:cubicBezTo>
                      <a:pt x="80" y="0"/>
                      <a:pt x="80" y="0"/>
                      <a:pt x="80" y="0"/>
                    </a:cubicBezTo>
                    <a:cubicBezTo>
                      <a:pt x="76" y="21"/>
                      <a:pt x="76" y="21"/>
                      <a:pt x="76" y="21"/>
                    </a:cubicBezTo>
                    <a:cubicBezTo>
                      <a:pt x="60" y="17"/>
                      <a:pt x="60" y="17"/>
                      <a:pt x="60" y="17"/>
                    </a:cubicBezTo>
                    <a:cubicBezTo>
                      <a:pt x="60" y="17"/>
                      <a:pt x="0" y="149"/>
                      <a:pt x="181" y="166"/>
                    </a:cubicBezTo>
                    <a:cubicBezTo>
                      <a:pt x="186" y="166"/>
                      <a:pt x="192" y="162"/>
                      <a:pt x="191" y="157"/>
                    </a:cubicBezTo>
                    <a:close/>
                  </a:path>
                </a:pathLst>
              </a:custGeom>
              <a:solidFill>
                <a:srgbClr val="DB9C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tx1"/>
                  </a:solidFill>
                  <a:effectLst/>
                  <a:uLnTx/>
                  <a:uFillTx/>
                  <a:latin typeface="+mn-lt"/>
                  <a:ea typeface="+mn-ea"/>
                  <a:cs typeface="+mn-cs"/>
                </a:endParaRPr>
              </a:p>
            </p:txBody>
          </p:sp>
          <p:sp>
            <p:nvSpPr>
              <p:cNvPr id="275" name="Freeform 121"/>
              <p:cNvSpPr>
                <a:spLocks/>
              </p:cNvSpPr>
              <p:nvPr/>
            </p:nvSpPr>
            <p:spPr bwMode="auto">
              <a:xfrm>
                <a:off x="6227898" y="1771809"/>
                <a:ext cx="395305" cy="419422"/>
              </a:xfrm>
              <a:custGeom>
                <a:avLst/>
                <a:gdLst>
                  <a:gd name="T0" fmla="*/ 164 w 168"/>
                  <a:gd name="T1" fmla="*/ 78 h 179"/>
                  <a:gd name="T2" fmla="*/ 161 w 168"/>
                  <a:gd name="T3" fmla="*/ 81 h 179"/>
                  <a:gd name="T4" fmla="*/ 111 w 168"/>
                  <a:gd name="T5" fmla="*/ 70 h 179"/>
                  <a:gd name="T6" fmla="*/ 89 w 168"/>
                  <a:gd name="T7" fmla="*/ 90 h 179"/>
                  <a:gd name="T8" fmla="*/ 94 w 168"/>
                  <a:gd name="T9" fmla="*/ 134 h 179"/>
                  <a:gd name="T10" fmla="*/ 84 w 168"/>
                  <a:gd name="T11" fmla="*/ 135 h 179"/>
                  <a:gd name="T12" fmla="*/ 79 w 168"/>
                  <a:gd name="T13" fmla="*/ 132 h 179"/>
                  <a:gd name="T14" fmla="*/ 64 w 168"/>
                  <a:gd name="T15" fmla="*/ 100 h 179"/>
                  <a:gd name="T16" fmla="*/ 52 w 168"/>
                  <a:gd name="T17" fmla="*/ 126 h 179"/>
                  <a:gd name="T18" fmla="*/ 62 w 168"/>
                  <a:gd name="T19" fmla="*/ 148 h 179"/>
                  <a:gd name="T20" fmla="*/ 31 w 168"/>
                  <a:gd name="T21" fmla="*/ 179 h 179"/>
                  <a:gd name="T22" fmla="*/ 0 w 168"/>
                  <a:gd name="T23" fmla="*/ 113 h 179"/>
                  <a:gd name="T24" fmla="*/ 0 w 168"/>
                  <a:gd name="T25" fmla="*/ 104 h 179"/>
                  <a:gd name="T26" fmla="*/ 0 w 168"/>
                  <a:gd name="T27" fmla="*/ 104 h 179"/>
                  <a:gd name="T28" fmla="*/ 0 w 168"/>
                  <a:gd name="T29" fmla="*/ 103 h 179"/>
                  <a:gd name="T30" fmla="*/ 164 w 168"/>
                  <a:gd name="T31" fmla="*/ 78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68" h="179">
                    <a:moveTo>
                      <a:pt x="164" y="78"/>
                    </a:moveTo>
                    <a:cubicBezTo>
                      <a:pt x="163" y="80"/>
                      <a:pt x="162" y="82"/>
                      <a:pt x="161" y="81"/>
                    </a:cubicBezTo>
                    <a:cubicBezTo>
                      <a:pt x="145" y="74"/>
                      <a:pt x="122" y="67"/>
                      <a:pt x="111" y="70"/>
                    </a:cubicBezTo>
                    <a:cubicBezTo>
                      <a:pt x="104" y="71"/>
                      <a:pt x="86" y="74"/>
                      <a:pt x="89" y="90"/>
                    </a:cubicBezTo>
                    <a:cubicBezTo>
                      <a:pt x="94" y="134"/>
                      <a:pt x="94" y="134"/>
                      <a:pt x="94" y="134"/>
                    </a:cubicBezTo>
                    <a:cubicBezTo>
                      <a:pt x="84" y="135"/>
                      <a:pt x="84" y="135"/>
                      <a:pt x="84" y="135"/>
                    </a:cubicBezTo>
                    <a:cubicBezTo>
                      <a:pt x="82" y="135"/>
                      <a:pt x="80" y="134"/>
                      <a:pt x="79" y="132"/>
                    </a:cubicBezTo>
                    <a:cubicBezTo>
                      <a:pt x="78" y="124"/>
                      <a:pt x="78" y="99"/>
                      <a:pt x="64" y="100"/>
                    </a:cubicBezTo>
                    <a:cubicBezTo>
                      <a:pt x="49" y="102"/>
                      <a:pt x="49" y="118"/>
                      <a:pt x="52" y="126"/>
                    </a:cubicBezTo>
                    <a:cubicBezTo>
                      <a:pt x="56" y="134"/>
                      <a:pt x="63" y="139"/>
                      <a:pt x="62" y="148"/>
                    </a:cubicBezTo>
                    <a:cubicBezTo>
                      <a:pt x="62" y="153"/>
                      <a:pt x="59" y="179"/>
                      <a:pt x="31" y="179"/>
                    </a:cubicBezTo>
                    <a:cubicBezTo>
                      <a:pt x="7" y="156"/>
                      <a:pt x="0" y="135"/>
                      <a:pt x="0" y="113"/>
                    </a:cubicBezTo>
                    <a:cubicBezTo>
                      <a:pt x="0" y="110"/>
                      <a:pt x="0" y="107"/>
                      <a:pt x="0" y="104"/>
                    </a:cubicBezTo>
                    <a:cubicBezTo>
                      <a:pt x="0" y="104"/>
                      <a:pt x="0" y="104"/>
                      <a:pt x="0" y="104"/>
                    </a:cubicBezTo>
                    <a:cubicBezTo>
                      <a:pt x="0" y="103"/>
                      <a:pt x="0" y="103"/>
                      <a:pt x="0" y="103"/>
                    </a:cubicBezTo>
                    <a:cubicBezTo>
                      <a:pt x="18" y="0"/>
                      <a:pt x="168" y="4"/>
                      <a:pt x="164" y="78"/>
                    </a:cubicBezTo>
                    <a:close/>
                  </a:path>
                </a:pathLst>
              </a:custGeom>
              <a:solidFill>
                <a:srgbClr val="301D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tx1"/>
                  </a:solidFill>
                  <a:effectLst/>
                  <a:uLnTx/>
                  <a:uFillTx/>
                  <a:latin typeface="+mn-lt"/>
                  <a:ea typeface="+mn-ea"/>
                  <a:cs typeface="+mn-cs"/>
                </a:endParaRPr>
              </a:p>
            </p:txBody>
          </p:sp>
          <p:sp>
            <p:nvSpPr>
              <p:cNvPr id="276" name="Freeform 122"/>
              <p:cNvSpPr>
                <a:spLocks/>
              </p:cNvSpPr>
              <p:nvPr/>
            </p:nvSpPr>
            <p:spPr bwMode="auto">
              <a:xfrm>
                <a:off x="6538270" y="2046530"/>
                <a:ext cx="26214" cy="25165"/>
              </a:xfrm>
              <a:custGeom>
                <a:avLst/>
                <a:gdLst>
                  <a:gd name="T0" fmla="*/ 10 w 11"/>
                  <a:gd name="T1" fmla="*/ 7 h 11"/>
                  <a:gd name="T2" fmla="*/ 4 w 11"/>
                  <a:gd name="T3" fmla="*/ 11 h 11"/>
                  <a:gd name="T4" fmla="*/ 0 w 11"/>
                  <a:gd name="T5" fmla="*/ 4 h 11"/>
                  <a:gd name="T6" fmla="*/ 7 w 11"/>
                  <a:gd name="T7" fmla="*/ 1 h 11"/>
                  <a:gd name="T8" fmla="*/ 10 w 11"/>
                  <a:gd name="T9" fmla="*/ 7 h 11"/>
                </a:gdLst>
                <a:ahLst/>
                <a:cxnLst>
                  <a:cxn ang="0">
                    <a:pos x="T0" y="T1"/>
                  </a:cxn>
                  <a:cxn ang="0">
                    <a:pos x="T2" y="T3"/>
                  </a:cxn>
                  <a:cxn ang="0">
                    <a:pos x="T4" y="T5"/>
                  </a:cxn>
                  <a:cxn ang="0">
                    <a:pos x="T6" y="T7"/>
                  </a:cxn>
                  <a:cxn ang="0">
                    <a:pos x="T8" y="T9"/>
                  </a:cxn>
                </a:cxnLst>
                <a:rect l="0" t="0" r="r" b="b"/>
                <a:pathLst>
                  <a:path w="11" h="11">
                    <a:moveTo>
                      <a:pt x="10" y="7"/>
                    </a:moveTo>
                    <a:cubicBezTo>
                      <a:pt x="10" y="10"/>
                      <a:pt x="7" y="11"/>
                      <a:pt x="4" y="11"/>
                    </a:cubicBezTo>
                    <a:cubicBezTo>
                      <a:pt x="1" y="10"/>
                      <a:pt x="0" y="7"/>
                      <a:pt x="0" y="4"/>
                    </a:cubicBezTo>
                    <a:cubicBezTo>
                      <a:pt x="1" y="1"/>
                      <a:pt x="4" y="0"/>
                      <a:pt x="7" y="1"/>
                    </a:cubicBezTo>
                    <a:cubicBezTo>
                      <a:pt x="10" y="1"/>
                      <a:pt x="11" y="4"/>
                      <a:pt x="10" y="7"/>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tx1"/>
                  </a:solidFill>
                  <a:effectLst/>
                  <a:uLnTx/>
                  <a:uFillTx/>
                  <a:latin typeface="+mn-lt"/>
                  <a:ea typeface="+mn-ea"/>
                  <a:cs typeface="+mn-cs"/>
                </a:endParaRPr>
              </a:p>
            </p:txBody>
          </p:sp>
          <p:sp>
            <p:nvSpPr>
              <p:cNvPr id="277" name="Freeform 123"/>
              <p:cNvSpPr>
                <a:spLocks/>
              </p:cNvSpPr>
              <p:nvPr/>
            </p:nvSpPr>
            <p:spPr bwMode="auto">
              <a:xfrm>
                <a:off x="6484794" y="2193328"/>
                <a:ext cx="89127" cy="39845"/>
              </a:xfrm>
              <a:custGeom>
                <a:avLst/>
                <a:gdLst>
                  <a:gd name="T0" fmla="*/ 38 w 38"/>
                  <a:gd name="T1" fmla="*/ 2 h 17"/>
                  <a:gd name="T2" fmla="*/ 0 w 38"/>
                  <a:gd name="T3" fmla="*/ 0 h 17"/>
                  <a:gd name="T4" fmla="*/ 37 w 38"/>
                  <a:gd name="T5" fmla="*/ 17 h 17"/>
                  <a:gd name="T6" fmla="*/ 38 w 38"/>
                  <a:gd name="T7" fmla="*/ 2 h 17"/>
                </a:gdLst>
                <a:ahLst/>
                <a:cxnLst>
                  <a:cxn ang="0">
                    <a:pos x="T0" y="T1"/>
                  </a:cxn>
                  <a:cxn ang="0">
                    <a:pos x="T2" y="T3"/>
                  </a:cxn>
                  <a:cxn ang="0">
                    <a:pos x="T4" y="T5"/>
                  </a:cxn>
                  <a:cxn ang="0">
                    <a:pos x="T6" y="T7"/>
                  </a:cxn>
                </a:cxnLst>
                <a:rect l="0" t="0" r="r" b="b"/>
                <a:pathLst>
                  <a:path w="38" h="17">
                    <a:moveTo>
                      <a:pt x="38" y="2"/>
                    </a:moveTo>
                    <a:cubicBezTo>
                      <a:pt x="0" y="0"/>
                      <a:pt x="0" y="0"/>
                      <a:pt x="0" y="0"/>
                    </a:cubicBezTo>
                    <a:cubicBezTo>
                      <a:pt x="0" y="0"/>
                      <a:pt x="14" y="15"/>
                      <a:pt x="37" y="17"/>
                    </a:cubicBezTo>
                    <a:lnTo>
                      <a:pt x="38" y="2"/>
                    </a:lnTo>
                    <a:close/>
                  </a:path>
                </a:pathLst>
              </a:custGeom>
              <a:solidFill>
                <a:srgbClr val="CB8C8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tx1"/>
                  </a:solidFill>
                  <a:effectLst/>
                  <a:uLnTx/>
                  <a:uFillTx/>
                  <a:latin typeface="+mn-lt"/>
                  <a:ea typeface="+mn-ea"/>
                  <a:cs typeface="+mn-cs"/>
                </a:endParaRPr>
              </a:p>
            </p:txBody>
          </p:sp>
          <p:sp>
            <p:nvSpPr>
              <p:cNvPr id="278" name="Freeform 124"/>
              <p:cNvSpPr>
                <a:spLocks/>
              </p:cNvSpPr>
              <p:nvPr/>
            </p:nvSpPr>
            <p:spPr bwMode="auto">
              <a:xfrm>
                <a:off x="6484794" y="2193328"/>
                <a:ext cx="89127" cy="33554"/>
              </a:xfrm>
              <a:custGeom>
                <a:avLst/>
                <a:gdLst>
                  <a:gd name="T0" fmla="*/ 38 w 38"/>
                  <a:gd name="T1" fmla="*/ 2 h 14"/>
                  <a:gd name="T2" fmla="*/ 0 w 38"/>
                  <a:gd name="T3" fmla="*/ 0 h 14"/>
                  <a:gd name="T4" fmla="*/ 37 w 38"/>
                  <a:gd name="T5" fmla="*/ 14 h 14"/>
                  <a:gd name="T6" fmla="*/ 38 w 38"/>
                  <a:gd name="T7" fmla="*/ 2 h 14"/>
                </a:gdLst>
                <a:ahLst/>
                <a:cxnLst>
                  <a:cxn ang="0">
                    <a:pos x="T0" y="T1"/>
                  </a:cxn>
                  <a:cxn ang="0">
                    <a:pos x="T2" y="T3"/>
                  </a:cxn>
                  <a:cxn ang="0">
                    <a:pos x="T4" y="T5"/>
                  </a:cxn>
                  <a:cxn ang="0">
                    <a:pos x="T6" y="T7"/>
                  </a:cxn>
                </a:cxnLst>
                <a:rect l="0" t="0" r="r" b="b"/>
                <a:pathLst>
                  <a:path w="38" h="14">
                    <a:moveTo>
                      <a:pt x="38" y="2"/>
                    </a:moveTo>
                    <a:cubicBezTo>
                      <a:pt x="0" y="0"/>
                      <a:pt x="0" y="0"/>
                      <a:pt x="0" y="0"/>
                    </a:cubicBezTo>
                    <a:cubicBezTo>
                      <a:pt x="0" y="0"/>
                      <a:pt x="14" y="12"/>
                      <a:pt x="37" y="14"/>
                    </a:cubicBezTo>
                    <a:lnTo>
                      <a:pt x="38" y="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tx1"/>
                  </a:solidFill>
                  <a:effectLst/>
                  <a:uLnTx/>
                  <a:uFillTx/>
                  <a:latin typeface="+mn-lt"/>
                  <a:ea typeface="+mn-ea"/>
                  <a:cs typeface="+mn-cs"/>
                </a:endParaRPr>
              </a:p>
            </p:txBody>
          </p:sp>
          <p:sp>
            <p:nvSpPr>
              <p:cNvPr id="279" name="Freeform 131"/>
              <p:cNvSpPr>
                <a:spLocks/>
              </p:cNvSpPr>
              <p:nvPr/>
            </p:nvSpPr>
            <p:spPr bwMode="auto">
              <a:xfrm>
                <a:off x="6086344" y="2409330"/>
                <a:ext cx="678415" cy="627036"/>
              </a:xfrm>
              <a:custGeom>
                <a:avLst/>
                <a:gdLst>
                  <a:gd name="T0" fmla="*/ 288 w 288"/>
                  <a:gd name="T1" fmla="*/ 205 h 268"/>
                  <a:gd name="T2" fmla="*/ 92 w 288"/>
                  <a:gd name="T3" fmla="*/ 263 h 268"/>
                  <a:gd name="T4" fmla="*/ 40 w 288"/>
                  <a:gd name="T5" fmla="*/ 230 h 268"/>
                  <a:gd name="T6" fmla="*/ 2 w 288"/>
                  <a:gd name="T7" fmla="*/ 40 h 268"/>
                  <a:gd name="T8" fmla="*/ 12 w 288"/>
                  <a:gd name="T9" fmla="*/ 0 h 268"/>
                  <a:gd name="T10" fmla="*/ 7 w 288"/>
                  <a:gd name="T11" fmla="*/ 43 h 268"/>
                  <a:gd name="T12" fmla="*/ 44 w 288"/>
                  <a:gd name="T13" fmla="*/ 227 h 268"/>
                  <a:gd name="T14" fmla="*/ 91 w 288"/>
                  <a:gd name="T15" fmla="*/ 258 h 268"/>
                  <a:gd name="T16" fmla="*/ 287 w 288"/>
                  <a:gd name="T17" fmla="*/ 201 h 268"/>
                  <a:gd name="T18" fmla="*/ 288 w 288"/>
                  <a:gd name="T19" fmla="*/ 205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8" h="268">
                    <a:moveTo>
                      <a:pt x="288" y="205"/>
                    </a:moveTo>
                    <a:cubicBezTo>
                      <a:pt x="92" y="263"/>
                      <a:pt x="92" y="263"/>
                      <a:pt x="92" y="263"/>
                    </a:cubicBezTo>
                    <a:cubicBezTo>
                      <a:pt x="69" y="268"/>
                      <a:pt x="45" y="253"/>
                      <a:pt x="40" y="230"/>
                    </a:cubicBezTo>
                    <a:cubicBezTo>
                      <a:pt x="39" y="228"/>
                      <a:pt x="2" y="40"/>
                      <a:pt x="2" y="40"/>
                    </a:cubicBezTo>
                    <a:cubicBezTo>
                      <a:pt x="0" y="25"/>
                      <a:pt x="4" y="11"/>
                      <a:pt x="12" y="0"/>
                    </a:cubicBezTo>
                    <a:cubicBezTo>
                      <a:pt x="3" y="10"/>
                      <a:pt x="4" y="30"/>
                      <a:pt x="7" y="43"/>
                    </a:cubicBezTo>
                    <a:cubicBezTo>
                      <a:pt x="7" y="43"/>
                      <a:pt x="43" y="226"/>
                      <a:pt x="44" y="227"/>
                    </a:cubicBezTo>
                    <a:cubicBezTo>
                      <a:pt x="51" y="253"/>
                      <a:pt x="69" y="262"/>
                      <a:pt x="91" y="258"/>
                    </a:cubicBezTo>
                    <a:cubicBezTo>
                      <a:pt x="93" y="258"/>
                      <a:pt x="287" y="201"/>
                      <a:pt x="287" y="201"/>
                    </a:cubicBezTo>
                    <a:lnTo>
                      <a:pt x="288" y="205"/>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tx1"/>
                  </a:solidFill>
                  <a:effectLst/>
                  <a:uLnTx/>
                  <a:uFillTx/>
                  <a:latin typeface="+mn-lt"/>
                  <a:ea typeface="+mn-ea"/>
                  <a:cs typeface="+mn-cs"/>
                </a:endParaRPr>
              </a:p>
            </p:txBody>
          </p:sp>
          <p:sp>
            <p:nvSpPr>
              <p:cNvPr id="283" name="Freeform 77"/>
              <p:cNvSpPr>
                <a:spLocks/>
              </p:cNvSpPr>
              <p:nvPr/>
            </p:nvSpPr>
            <p:spPr bwMode="auto">
              <a:xfrm>
                <a:off x="6258307" y="2720752"/>
                <a:ext cx="506452" cy="283612"/>
              </a:xfrm>
              <a:custGeom>
                <a:avLst/>
                <a:gdLst>
                  <a:gd name="T0" fmla="*/ 483 w 483"/>
                  <a:gd name="T1" fmla="*/ 160 h 290"/>
                  <a:gd name="T2" fmla="*/ 445 w 483"/>
                  <a:gd name="T3" fmla="*/ 0 h 290"/>
                  <a:gd name="T4" fmla="*/ 0 w 483"/>
                  <a:gd name="T5" fmla="*/ 98 h 290"/>
                  <a:gd name="T6" fmla="*/ 43 w 483"/>
                  <a:gd name="T7" fmla="*/ 290 h 290"/>
                  <a:gd name="T8" fmla="*/ 483 w 483"/>
                  <a:gd name="T9" fmla="*/ 160 h 290"/>
                </a:gdLst>
                <a:ahLst/>
                <a:cxnLst>
                  <a:cxn ang="0">
                    <a:pos x="T0" y="T1"/>
                  </a:cxn>
                  <a:cxn ang="0">
                    <a:pos x="T2" y="T3"/>
                  </a:cxn>
                  <a:cxn ang="0">
                    <a:pos x="T4" y="T5"/>
                  </a:cxn>
                  <a:cxn ang="0">
                    <a:pos x="T6" y="T7"/>
                  </a:cxn>
                  <a:cxn ang="0">
                    <a:pos x="T8" y="T9"/>
                  </a:cxn>
                </a:cxnLst>
                <a:rect l="0" t="0" r="r" b="b"/>
                <a:pathLst>
                  <a:path w="483" h="290">
                    <a:moveTo>
                      <a:pt x="483" y="160"/>
                    </a:moveTo>
                    <a:lnTo>
                      <a:pt x="445" y="0"/>
                    </a:lnTo>
                    <a:lnTo>
                      <a:pt x="0" y="98"/>
                    </a:lnTo>
                    <a:lnTo>
                      <a:pt x="43" y="290"/>
                    </a:lnTo>
                    <a:lnTo>
                      <a:pt x="483" y="160"/>
                    </a:lnTo>
                    <a:close/>
                  </a:path>
                </a:pathLst>
              </a:custGeom>
              <a:solidFill>
                <a:srgbClr val="2139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tx1"/>
                  </a:solidFill>
                  <a:effectLst/>
                  <a:uLnTx/>
                  <a:uFillTx/>
                  <a:latin typeface="+mn-lt"/>
                  <a:ea typeface="+mn-ea"/>
                  <a:cs typeface="+mn-cs"/>
                </a:endParaRPr>
              </a:p>
            </p:txBody>
          </p:sp>
          <p:sp>
            <p:nvSpPr>
              <p:cNvPr id="284" name="Freeform 78"/>
              <p:cNvSpPr>
                <a:spLocks/>
              </p:cNvSpPr>
              <p:nvPr/>
            </p:nvSpPr>
            <p:spPr bwMode="auto">
              <a:xfrm>
                <a:off x="6356871" y="2720751"/>
                <a:ext cx="370140" cy="106953"/>
              </a:xfrm>
              <a:custGeom>
                <a:avLst/>
                <a:gdLst>
                  <a:gd name="T0" fmla="*/ 12 w 157"/>
                  <a:gd name="T1" fmla="*/ 45 h 46"/>
                  <a:gd name="T2" fmla="*/ 0 w 157"/>
                  <a:gd name="T3" fmla="*/ 36 h 46"/>
                  <a:gd name="T4" fmla="*/ 9 w 157"/>
                  <a:gd name="T5" fmla="*/ 35 h 46"/>
                  <a:gd name="T6" fmla="*/ 156 w 157"/>
                  <a:gd name="T7" fmla="*/ 0 h 46"/>
                  <a:gd name="T8" fmla="*/ 157 w 157"/>
                  <a:gd name="T9" fmla="*/ 4 h 46"/>
                  <a:gd name="T10" fmla="*/ 12 w 157"/>
                  <a:gd name="T11" fmla="*/ 45 h 46"/>
                </a:gdLst>
                <a:ahLst/>
                <a:cxnLst>
                  <a:cxn ang="0">
                    <a:pos x="T0" y="T1"/>
                  </a:cxn>
                  <a:cxn ang="0">
                    <a:pos x="T2" y="T3"/>
                  </a:cxn>
                  <a:cxn ang="0">
                    <a:pos x="T4" y="T5"/>
                  </a:cxn>
                  <a:cxn ang="0">
                    <a:pos x="T6" y="T7"/>
                  </a:cxn>
                  <a:cxn ang="0">
                    <a:pos x="T8" y="T9"/>
                  </a:cxn>
                  <a:cxn ang="0">
                    <a:pos x="T10" y="T11"/>
                  </a:cxn>
                </a:cxnLst>
                <a:rect l="0" t="0" r="r" b="b"/>
                <a:pathLst>
                  <a:path w="157" h="46">
                    <a:moveTo>
                      <a:pt x="12" y="45"/>
                    </a:moveTo>
                    <a:cubicBezTo>
                      <a:pt x="6" y="46"/>
                      <a:pt x="1" y="42"/>
                      <a:pt x="0" y="36"/>
                    </a:cubicBezTo>
                    <a:cubicBezTo>
                      <a:pt x="9" y="35"/>
                      <a:pt x="9" y="35"/>
                      <a:pt x="9" y="35"/>
                    </a:cubicBezTo>
                    <a:cubicBezTo>
                      <a:pt x="156" y="0"/>
                      <a:pt x="156" y="0"/>
                      <a:pt x="156" y="0"/>
                    </a:cubicBezTo>
                    <a:cubicBezTo>
                      <a:pt x="157" y="4"/>
                      <a:pt x="157" y="4"/>
                      <a:pt x="157" y="4"/>
                    </a:cubicBezTo>
                    <a:lnTo>
                      <a:pt x="12" y="45"/>
                    </a:lnTo>
                    <a:close/>
                  </a:path>
                </a:pathLst>
              </a:custGeom>
              <a:solidFill>
                <a:srgbClr val="3963A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tx1"/>
                  </a:solidFill>
                  <a:effectLst/>
                  <a:uLnTx/>
                  <a:uFillTx/>
                  <a:latin typeface="+mn-lt"/>
                  <a:ea typeface="+mn-ea"/>
                  <a:cs typeface="+mn-cs"/>
                </a:endParaRPr>
              </a:p>
            </p:txBody>
          </p:sp>
          <p:grpSp>
            <p:nvGrpSpPr>
              <p:cNvPr id="298" name="Group 297"/>
              <p:cNvGrpSpPr/>
              <p:nvPr/>
            </p:nvGrpSpPr>
            <p:grpSpPr>
              <a:xfrm>
                <a:off x="6881587" y="1988185"/>
                <a:ext cx="1307374" cy="1234440"/>
                <a:chOff x="10145487" y="5623560"/>
                <a:chExt cx="1307374" cy="1234440"/>
              </a:xfrm>
            </p:grpSpPr>
            <p:sp>
              <p:nvSpPr>
                <p:cNvPr id="299" name="Freeform: Shape 298"/>
                <p:cNvSpPr/>
                <p:nvPr/>
              </p:nvSpPr>
              <p:spPr bwMode="auto">
                <a:xfrm>
                  <a:off x="10145487" y="5623560"/>
                  <a:ext cx="1147711" cy="1234440"/>
                </a:xfrm>
                <a:custGeom>
                  <a:avLst/>
                  <a:gdLst>
                    <a:gd name="connsiteX0" fmla="*/ 0 w 1147711"/>
                    <a:gd name="connsiteY0" fmla="*/ 0 h 1234440"/>
                    <a:gd name="connsiteX1" fmla="*/ 1147711 w 1147711"/>
                    <a:gd name="connsiteY1" fmla="*/ 0 h 1234440"/>
                    <a:gd name="connsiteX2" fmla="*/ 125441 w 1147711"/>
                    <a:gd name="connsiteY2" fmla="*/ 1234440 h 1234440"/>
                    <a:gd name="connsiteX3" fmla="*/ 0 w 1147711"/>
                    <a:gd name="connsiteY3" fmla="*/ 1234440 h 1234440"/>
                    <a:gd name="connsiteX4" fmla="*/ 0 w 1147711"/>
                    <a:gd name="connsiteY4" fmla="*/ 0 h 12344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47711" h="1234440">
                      <a:moveTo>
                        <a:pt x="0" y="0"/>
                      </a:moveTo>
                      <a:lnTo>
                        <a:pt x="1147711" y="0"/>
                      </a:lnTo>
                      <a:lnTo>
                        <a:pt x="125441" y="1234440"/>
                      </a:lnTo>
                      <a:lnTo>
                        <a:pt x="0" y="1234440"/>
                      </a:lnTo>
                      <a:lnTo>
                        <a:pt x="0" y="0"/>
                      </a:lnTo>
                      <a:close/>
                    </a:path>
                  </a:pathLst>
                </a:custGeom>
                <a:solidFill>
                  <a:srgbClr val="FDB81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000" b="1" i="0" u="none" strike="noStrike" kern="0" cap="none" spc="0" normalizeH="0" baseline="0" noProof="0" dirty="0">
                    <a:ln>
                      <a:noFill/>
                    </a:ln>
                    <a:solidFill>
                      <a:schemeClr val="bg1"/>
                    </a:solidFill>
                    <a:effectLst/>
                    <a:uLnTx/>
                    <a:uFillTx/>
                    <a:latin typeface="+mj-lt"/>
                    <a:ea typeface="Segoe UI" pitchFamily="34" charset="0"/>
                    <a:cs typeface="Segoe UI" pitchFamily="34" charset="0"/>
                  </a:endParaRPr>
                </a:p>
              </p:txBody>
            </p:sp>
            <p:sp>
              <p:nvSpPr>
                <p:cNvPr id="300" name="Freeform: Shape 299"/>
                <p:cNvSpPr/>
                <p:nvPr/>
              </p:nvSpPr>
              <p:spPr bwMode="auto">
                <a:xfrm>
                  <a:off x="10258228" y="5623560"/>
                  <a:ext cx="1194633" cy="1234440"/>
                </a:xfrm>
                <a:custGeom>
                  <a:avLst/>
                  <a:gdLst>
                    <a:gd name="connsiteX0" fmla="*/ 1022270 w 1194633"/>
                    <a:gd name="connsiteY0" fmla="*/ 0 h 1234440"/>
                    <a:gd name="connsiteX1" fmla="*/ 1194633 w 1194633"/>
                    <a:gd name="connsiteY1" fmla="*/ 0 h 1234440"/>
                    <a:gd name="connsiteX2" fmla="*/ 1194633 w 1194633"/>
                    <a:gd name="connsiteY2" fmla="*/ 1234440 h 1234440"/>
                    <a:gd name="connsiteX3" fmla="*/ 0 w 1194633"/>
                    <a:gd name="connsiteY3" fmla="*/ 1234440 h 1234440"/>
                    <a:gd name="connsiteX4" fmla="*/ 1022270 w 1194633"/>
                    <a:gd name="connsiteY4" fmla="*/ 0 h 12344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4633" h="1234440">
                      <a:moveTo>
                        <a:pt x="1022270" y="0"/>
                      </a:moveTo>
                      <a:lnTo>
                        <a:pt x="1194633" y="0"/>
                      </a:lnTo>
                      <a:lnTo>
                        <a:pt x="1194633" y="1234440"/>
                      </a:lnTo>
                      <a:lnTo>
                        <a:pt x="0" y="1234440"/>
                      </a:lnTo>
                      <a:lnTo>
                        <a:pt x="1022270" y="0"/>
                      </a:lnTo>
                      <a:close/>
                    </a:path>
                  </a:pathLst>
                </a:custGeom>
                <a:solidFill>
                  <a:srgbClr val="F68C1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000" b="1" i="0" u="none" strike="noStrike" kern="0" cap="none" spc="0" normalizeH="0" baseline="0" noProof="0" dirty="0">
                    <a:ln>
                      <a:noFill/>
                    </a:ln>
                    <a:solidFill>
                      <a:schemeClr val="bg1"/>
                    </a:solidFill>
                    <a:effectLst/>
                    <a:uLnTx/>
                    <a:uFillTx/>
                    <a:latin typeface="+mj-lt"/>
                    <a:ea typeface="Segoe UI" pitchFamily="34" charset="0"/>
                    <a:cs typeface="Segoe UI" pitchFamily="34" charset="0"/>
                  </a:endParaRPr>
                </a:p>
              </p:txBody>
            </p:sp>
          </p:grpSp>
          <p:grpSp>
            <p:nvGrpSpPr>
              <p:cNvPr id="282" name="Group 281"/>
              <p:cNvGrpSpPr/>
              <p:nvPr/>
            </p:nvGrpSpPr>
            <p:grpSpPr>
              <a:xfrm>
                <a:off x="6652210" y="2621663"/>
                <a:ext cx="331867" cy="281013"/>
                <a:chOff x="8551963" y="3359151"/>
                <a:chExt cx="502443" cy="425450"/>
              </a:xfrm>
            </p:grpSpPr>
            <p:sp>
              <p:nvSpPr>
                <p:cNvPr id="285" name="Freeform 44"/>
                <p:cNvSpPr>
                  <a:spLocks/>
                </p:cNvSpPr>
                <p:nvPr/>
              </p:nvSpPr>
              <p:spPr bwMode="auto">
                <a:xfrm>
                  <a:off x="8551963" y="3494088"/>
                  <a:ext cx="289718" cy="290513"/>
                </a:xfrm>
                <a:custGeom>
                  <a:avLst/>
                  <a:gdLst>
                    <a:gd name="T0" fmla="*/ 208 w 247"/>
                    <a:gd name="T1" fmla="*/ 0 h 183"/>
                    <a:gd name="T2" fmla="*/ 0 w 247"/>
                    <a:gd name="T3" fmla="*/ 42 h 183"/>
                    <a:gd name="T4" fmla="*/ 18 w 247"/>
                    <a:gd name="T5" fmla="*/ 183 h 183"/>
                    <a:gd name="T6" fmla="*/ 247 w 247"/>
                    <a:gd name="T7" fmla="*/ 114 h 183"/>
                    <a:gd name="T8" fmla="*/ 208 w 247"/>
                    <a:gd name="T9" fmla="*/ 0 h 183"/>
                  </a:gdLst>
                  <a:ahLst/>
                  <a:cxnLst>
                    <a:cxn ang="0">
                      <a:pos x="T0" y="T1"/>
                    </a:cxn>
                    <a:cxn ang="0">
                      <a:pos x="T2" y="T3"/>
                    </a:cxn>
                    <a:cxn ang="0">
                      <a:pos x="T4" y="T5"/>
                    </a:cxn>
                    <a:cxn ang="0">
                      <a:pos x="T6" y="T7"/>
                    </a:cxn>
                    <a:cxn ang="0">
                      <a:pos x="T8" y="T9"/>
                    </a:cxn>
                  </a:cxnLst>
                  <a:rect l="0" t="0" r="r" b="b"/>
                  <a:pathLst>
                    <a:path w="247" h="183">
                      <a:moveTo>
                        <a:pt x="208" y="0"/>
                      </a:moveTo>
                      <a:lnTo>
                        <a:pt x="0" y="42"/>
                      </a:lnTo>
                      <a:lnTo>
                        <a:pt x="18" y="183"/>
                      </a:lnTo>
                      <a:lnTo>
                        <a:pt x="247" y="114"/>
                      </a:lnTo>
                      <a:lnTo>
                        <a:pt x="208" y="0"/>
                      </a:lnTo>
                      <a:close/>
                    </a:path>
                  </a:pathLst>
                </a:custGeom>
                <a:solidFill>
                  <a:srgbClr val="DB9C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tx1"/>
                    </a:solidFill>
                    <a:effectLst/>
                    <a:uLnTx/>
                    <a:uFillTx/>
                    <a:latin typeface="+mn-lt"/>
                    <a:ea typeface="+mn-ea"/>
                    <a:cs typeface="+mn-cs"/>
                  </a:endParaRPr>
                </a:p>
              </p:txBody>
            </p:sp>
            <p:sp>
              <p:nvSpPr>
                <p:cNvPr id="286" name="Freeform 125"/>
                <p:cNvSpPr>
                  <a:spLocks/>
                </p:cNvSpPr>
                <p:nvPr/>
              </p:nvSpPr>
              <p:spPr bwMode="auto">
                <a:xfrm>
                  <a:off x="8813106" y="3436938"/>
                  <a:ext cx="241300" cy="117475"/>
                </a:xfrm>
                <a:custGeom>
                  <a:avLst/>
                  <a:gdLst>
                    <a:gd name="T0" fmla="*/ 1 w 68"/>
                    <a:gd name="T1" fmla="*/ 24 h 33"/>
                    <a:gd name="T2" fmla="*/ 9 w 68"/>
                    <a:gd name="T3" fmla="*/ 11 h 33"/>
                    <a:gd name="T4" fmla="*/ 54 w 68"/>
                    <a:gd name="T5" fmla="*/ 1 h 33"/>
                    <a:gd name="T6" fmla="*/ 67 w 68"/>
                    <a:gd name="T7" fmla="*/ 9 h 33"/>
                    <a:gd name="T8" fmla="*/ 59 w 68"/>
                    <a:gd name="T9" fmla="*/ 21 h 33"/>
                    <a:gd name="T10" fmla="*/ 13 w 68"/>
                    <a:gd name="T11" fmla="*/ 31 h 33"/>
                    <a:gd name="T12" fmla="*/ 1 w 68"/>
                    <a:gd name="T13" fmla="*/ 24 h 33"/>
                  </a:gdLst>
                  <a:ahLst/>
                  <a:cxnLst>
                    <a:cxn ang="0">
                      <a:pos x="T0" y="T1"/>
                    </a:cxn>
                    <a:cxn ang="0">
                      <a:pos x="T2" y="T3"/>
                    </a:cxn>
                    <a:cxn ang="0">
                      <a:pos x="T4" y="T5"/>
                    </a:cxn>
                    <a:cxn ang="0">
                      <a:pos x="T6" y="T7"/>
                    </a:cxn>
                    <a:cxn ang="0">
                      <a:pos x="T8" y="T9"/>
                    </a:cxn>
                    <a:cxn ang="0">
                      <a:pos x="T10" y="T11"/>
                    </a:cxn>
                    <a:cxn ang="0">
                      <a:pos x="T12" y="T13"/>
                    </a:cxn>
                  </a:cxnLst>
                  <a:rect l="0" t="0" r="r" b="b"/>
                  <a:pathLst>
                    <a:path w="68" h="33">
                      <a:moveTo>
                        <a:pt x="1" y="24"/>
                      </a:moveTo>
                      <a:cubicBezTo>
                        <a:pt x="0" y="18"/>
                        <a:pt x="4" y="13"/>
                        <a:pt x="9" y="11"/>
                      </a:cubicBezTo>
                      <a:cubicBezTo>
                        <a:pt x="54" y="1"/>
                        <a:pt x="54" y="1"/>
                        <a:pt x="54" y="1"/>
                      </a:cubicBezTo>
                      <a:cubicBezTo>
                        <a:pt x="60" y="0"/>
                        <a:pt x="65" y="3"/>
                        <a:pt x="67" y="9"/>
                      </a:cubicBezTo>
                      <a:cubicBezTo>
                        <a:pt x="68" y="14"/>
                        <a:pt x="64" y="20"/>
                        <a:pt x="59" y="21"/>
                      </a:cubicBezTo>
                      <a:cubicBezTo>
                        <a:pt x="13" y="31"/>
                        <a:pt x="13" y="31"/>
                        <a:pt x="13" y="31"/>
                      </a:cubicBezTo>
                      <a:cubicBezTo>
                        <a:pt x="8" y="33"/>
                        <a:pt x="2" y="29"/>
                        <a:pt x="1" y="24"/>
                      </a:cubicBezTo>
                      <a:close/>
                    </a:path>
                  </a:pathLst>
                </a:custGeom>
                <a:solidFill>
                  <a:srgbClr val="DB9C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tx1"/>
                    </a:solidFill>
                    <a:effectLst/>
                    <a:uLnTx/>
                    <a:uFillTx/>
                    <a:latin typeface="+mn-lt"/>
                    <a:ea typeface="+mn-ea"/>
                    <a:cs typeface="+mn-cs"/>
                  </a:endParaRPr>
                </a:p>
              </p:txBody>
            </p:sp>
            <p:sp>
              <p:nvSpPr>
                <p:cNvPr id="287" name="Freeform 126"/>
                <p:cNvSpPr>
                  <a:spLocks/>
                </p:cNvSpPr>
                <p:nvPr/>
              </p:nvSpPr>
              <p:spPr bwMode="auto">
                <a:xfrm>
                  <a:off x="8790881" y="3582988"/>
                  <a:ext cx="211138" cy="77788"/>
                </a:xfrm>
                <a:custGeom>
                  <a:avLst/>
                  <a:gdLst>
                    <a:gd name="T0" fmla="*/ 0 w 59"/>
                    <a:gd name="T1" fmla="*/ 14 h 22"/>
                    <a:gd name="T2" fmla="*/ 9 w 59"/>
                    <a:gd name="T3" fmla="*/ 4 h 22"/>
                    <a:gd name="T4" fmla="*/ 49 w 59"/>
                    <a:gd name="T5" fmla="*/ 0 h 22"/>
                    <a:gd name="T6" fmla="*/ 59 w 59"/>
                    <a:gd name="T7" fmla="*/ 8 h 22"/>
                    <a:gd name="T8" fmla="*/ 51 w 59"/>
                    <a:gd name="T9" fmla="*/ 18 h 22"/>
                    <a:gd name="T10" fmla="*/ 10 w 59"/>
                    <a:gd name="T11" fmla="*/ 22 h 22"/>
                    <a:gd name="T12" fmla="*/ 0 w 59"/>
                    <a:gd name="T13" fmla="*/ 14 h 22"/>
                  </a:gdLst>
                  <a:ahLst/>
                  <a:cxnLst>
                    <a:cxn ang="0">
                      <a:pos x="T0" y="T1"/>
                    </a:cxn>
                    <a:cxn ang="0">
                      <a:pos x="T2" y="T3"/>
                    </a:cxn>
                    <a:cxn ang="0">
                      <a:pos x="T4" y="T5"/>
                    </a:cxn>
                    <a:cxn ang="0">
                      <a:pos x="T6" y="T7"/>
                    </a:cxn>
                    <a:cxn ang="0">
                      <a:pos x="T8" y="T9"/>
                    </a:cxn>
                    <a:cxn ang="0">
                      <a:pos x="T10" y="T11"/>
                    </a:cxn>
                    <a:cxn ang="0">
                      <a:pos x="T12" y="T13"/>
                    </a:cxn>
                  </a:cxnLst>
                  <a:rect l="0" t="0" r="r" b="b"/>
                  <a:pathLst>
                    <a:path w="59" h="22">
                      <a:moveTo>
                        <a:pt x="0" y="14"/>
                      </a:moveTo>
                      <a:cubicBezTo>
                        <a:pt x="0" y="9"/>
                        <a:pt x="4" y="4"/>
                        <a:pt x="9" y="4"/>
                      </a:cubicBezTo>
                      <a:cubicBezTo>
                        <a:pt x="49" y="0"/>
                        <a:pt x="49" y="0"/>
                        <a:pt x="49" y="0"/>
                      </a:cubicBezTo>
                      <a:cubicBezTo>
                        <a:pt x="54" y="0"/>
                        <a:pt x="59" y="3"/>
                        <a:pt x="59" y="8"/>
                      </a:cubicBezTo>
                      <a:cubicBezTo>
                        <a:pt x="59" y="13"/>
                        <a:pt x="56" y="18"/>
                        <a:pt x="51" y="18"/>
                      </a:cubicBezTo>
                      <a:cubicBezTo>
                        <a:pt x="10" y="22"/>
                        <a:pt x="10" y="22"/>
                        <a:pt x="10" y="22"/>
                      </a:cubicBezTo>
                      <a:cubicBezTo>
                        <a:pt x="5" y="22"/>
                        <a:pt x="1" y="19"/>
                        <a:pt x="0" y="14"/>
                      </a:cubicBezTo>
                      <a:close/>
                    </a:path>
                  </a:pathLst>
                </a:custGeom>
                <a:solidFill>
                  <a:srgbClr val="DB9C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tx1"/>
                    </a:solidFill>
                    <a:effectLst/>
                    <a:uLnTx/>
                    <a:uFillTx/>
                    <a:latin typeface="+mn-lt"/>
                    <a:ea typeface="+mn-ea"/>
                    <a:cs typeface="+mn-cs"/>
                  </a:endParaRPr>
                </a:p>
              </p:txBody>
            </p:sp>
            <p:sp>
              <p:nvSpPr>
                <p:cNvPr id="288" name="Freeform 41"/>
                <p:cNvSpPr>
                  <a:spLocks/>
                </p:cNvSpPr>
                <p:nvPr/>
              </p:nvSpPr>
              <p:spPr bwMode="auto">
                <a:xfrm>
                  <a:off x="8687693" y="3359151"/>
                  <a:ext cx="280988" cy="247650"/>
                </a:xfrm>
                <a:custGeom>
                  <a:avLst/>
                  <a:gdLst>
                    <a:gd name="T0" fmla="*/ 1 w 79"/>
                    <a:gd name="T1" fmla="*/ 63 h 70"/>
                    <a:gd name="T2" fmla="*/ 16 w 79"/>
                    <a:gd name="T3" fmla="*/ 42 h 70"/>
                    <a:gd name="T4" fmla="*/ 62 w 79"/>
                    <a:gd name="T5" fmla="*/ 4 h 70"/>
                    <a:gd name="T6" fmla="*/ 76 w 79"/>
                    <a:gd name="T7" fmla="*/ 5 h 70"/>
                    <a:gd name="T8" fmla="*/ 75 w 79"/>
                    <a:gd name="T9" fmla="*/ 18 h 70"/>
                    <a:gd name="T10" fmla="*/ 16 w 79"/>
                    <a:gd name="T11" fmla="*/ 67 h 70"/>
                    <a:gd name="T12" fmla="*/ 3 w 79"/>
                    <a:gd name="T13" fmla="*/ 66 h 70"/>
                    <a:gd name="T14" fmla="*/ 1 w 79"/>
                    <a:gd name="T15" fmla="*/ 63 h 7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 h="70">
                      <a:moveTo>
                        <a:pt x="1" y="63"/>
                      </a:moveTo>
                      <a:cubicBezTo>
                        <a:pt x="0" y="59"/>
                        <a:pt x="17" y="49"/>
                        <a:pt x="16" y="42"/>
                      </a:cubicBezTo>
                      <a:cubicBezTo>
                        <a:pt x="15" y="34"/>
                        <a:pt x="62" y="4"/>
                        <a:pt x="62" y="4"/>
                      </a:cubicBezTo>
                      <a:cubicBezTo>
                        <a:pt x="66" y="0"/>
                        <a:pt x="72" y="1"/>
                        <a:pt x="76" y="5"/>
                      </a:cubicBezTo>
                      <a:cubicBezTo>
                        <a:pt x="79" y="9"/>
                        <a:pt x="78" y="15"/>
                        <a:pt x="75" y="18"/>
                      </a:cubicBezTo>
                      <a:cubicBezTo>
                        <a:pt x="16" y="67"/>
                        <a:pt x="16" y="67"/>
                        <a:pt x="16" y="67"/>
                      </a:cubicBezTo>
                      <a:cubicBezTo>
                        <a:pt x="12" y="70"/>
                        <a:pt x="6" y="70"/>
                        <a:pt x="3" y="66"/>
                      </a:cubicBezTo>
                      <a:cubicBezTo>
                        <a:pt x="2" y="65"/>
                        <a:pt x="1" y="64"/>
                        <a:pt x="1" y="63"/>
                      </a:cubicBezTo>
                      <a:close/>
                    </a:path>
                  </a:pathLst>
                </a:custGeom>
                <a:solidFill>
                  <a:srgbClr val="DB9C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tx1"/>
                    </a:solidFill>
                    <a:effectLst/>
                    <a:uLnTx/>
                    <a:uFillTx/>
                    <a:latin typeface="+mn-lt"/>
                    <a:ea typeface="+mn-ea"/>
                    <a:cs typeface="+mn-cs"/>
                  </a:endParaRPr>
                </a:p>
              </p:txBody>
            </p:sp>
            <p:sp>
              <p:nvSpPr>
                <p:cNvPr id="289" name="Freeform 128"/>
                <p:cNvSpPr>
                  <a:spLocks/>
                </p:cNvSpPr>
                <p:nvPr/>
              </p:nvSpPr>
              <p:spPr bwMode="auto">
                <a:xfrm>
                  <a:off x="8770243" y="3517901"/>
                  <a:ext cx="255588" cy="96838"/>
                </a:xfrm>
                <a:custGeom>
                  <a:avLst/>
                  <a:gdLst>
                    <a:gd name="T0" fmla="*/ 0 w 72"/>
                    <a:gd name="T1" fmla="*/ 17 h 27"/>
                    <a:gd name="T2" fmla="*/ 9 w 72"/>
                    <a:gd name="T3" fmla="*/ 6 h 27"/>
                    <a:gd name="T4" fmla="*/ 61 w 72"/>
                    <a:gd name="T5" fmla="*/ 1 h 27"/>
                    <a:gd name="T6" fmla="*/ 72 w 72"/>
                    <a:gd name="T7" fmla="*/ 10 h 27"/>
                    <a:gd name="T8" fmla="*/ 63 w 72"/>
                    <a:gd name="T9" fmla="*/ 21 h 27"/>
                    <a:gd name="T10" fmla="*/ 11 w 72"/>
                    <a:gd name="T11" fmla="*/ 27 h 27"/>
                    <a:gd name="T12" fmla="*/ 0 w 72"/>
                    <a:gd name="T13" fmla="*/ 17 h 27"/>
                  </a:gdLst>
                  <a:ahLst/>
                  <a:cxnLst>
                    <a:cxn ang="0">
                      <a:pos x="T0" y="T1"/>
                    </a:cxn>
                    <a:cxn ang="0">
                      <a:pos x="T2" y="T3"/>
                    </a:cxn>
                    <a:cxn ang="0">
                      <a:pos x="T4" y="T5"/>
                    </a:cxn>
                    <a:cxn ang="0">
                      <a:pos x="T6" y="T7"/>
                    </a:cxn>
                    <a:cxn ang="0">
                      <a:pos x="T8" y="T9"/>
                    </a:cxn>
                    <a:cxn ang="0">
                      <a:pos x="T10" y="T11"/>
                    </a:cxn>
                    <a:cxn ang="0">
                      <a:pos x="T12" y="T13"/>
                    </a:cxn>
                  </a:cxnLst>
                  <a:rect l="0" t="0" r="r" b="b"/>
                  <a:pathLst>
                    <a:path w="72" h="27">
                      <a:moveTo>
                        <a:pt x="0" y="17"/>
                      </a:moveTo>
                      <a:cubicBezTo>
                        <a:pt x="0" y="12"/>
                        <a:pt x="4" y="7"/>
                        <a:pt x="9" y="6"/>
                      </a:cubicBezTo>
                      <a:cubicBezTo>
                        <a:pt x="61" y="1"/>
                        <a:pt x="61" y="1"/>
                        <a:pt x="61" y="1"/>
                      </a:cubicBezTo>
                      <a:cubicBezTo>
                        <a:pt x="67" y="0"/>
                        <a:pt x="71" y="4"/>
                        <a:pt x="72" y="10"/>
                      </a:cubicBezTo>
                      <a:cubicBezTo>
                        <a:pt x="72" y="16"/>
                        <a:pt x="68" y="21"/>
                        <a:pt x="63" y="21"/>
                      </a:cubicBezTo>
                      <a:cubicBezTo>
                        <a:pt x="11" y="27"/>
                        <a:pt x="11" y="27"/>
                        <a:pt x="11" y="27"/>
                      </a:cubicBezTo>
                      <a:cubicBezTo>
                        <a:pt x="5" y="27"/>
                        <a:pt x="1" y="23"/>
                        <a:pt x="0" y="17"/>
                      </a:cubicBezTo>
                      <a:close/>
                    </a:path>
                  </a:pathLst>
                </a:custGeom>
                <a:solidFill>
                  <a:srgbClr val="DB9C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tx1"/>
                    </a:solidFill>
                    <a:effectLst/>
                    <a:uLnTx/>
                    <a:uFillTx/>
                    <a:latin typeface="+mn-lt"/>
                    <a:ea typeface="+mn-ea"/>
                    <a:cs typeface="+mn-cs"/>
                  </a:endParaRPr>
                </a:p>
              </p:txBody>
            </p:sp>
            <p:sp>
              <p:nvSpPr>
                <p:cNvPr id="290" name="Freeform 129"/>
                <p:cNvSpPr>
                  <a:spLocks/>
                </p:cNvSpPr>
                <p:nvPr/>
              </p:nvSpPr>
              <p:spPr bwMode="auto">
                <a:xfrm>
                  <a:off x="8776593" y="3471863"/>
                  <a:ext cx="206375" cy="252413"/>
                </a:xfrm>
                <a:custGeom>
                  <a:avLst/>
                  <a:gdLst>
                    <a:gd name="T0" fmla="*/ 5 w 58"/>
                    <a:gd name="T1" fmla="*/ 55 h 71"/>
                    <a:gd name="T2" fmla="*/ 0 w 58"/>
                    <a:gd name="T3" fmla="*/ 6 h 71"/>
                    <a:gd name="T4" fmla="*/ 24 w 58"/>
                    <a:gd name="T5" fmla="*/ 0 h 71"/>
                    <a:gd name="T6" fmla="*/ 55 w 58"/>
                    <a:gd name="T7" fmla="*/ 51 h 71"/>
                    <a:gd name="T8" fmla="*/ 51 w 58"/>
                    <a:gd name="T9" fmla="*/ 63 h 71"/>
                    <a:gd name="T10" fmla="*/ 5 w 58"/>
                    <a:gd name="T11" fmla="*/ 55 h 71"/>
                  </a:gdLst>
                  <a:ahLst/>
                  <a:cxnLst>
                    <a:cxn ang="0">
                      <a:pos x="T0" y="T1"/>
                    </a:cxn>
                    <a:cxn ang="0">
                      <a:pos x="T2" y="T3"/>
                    </a:cxn>
                    <a:cxn ang="0">
                      <a:pos x="T4" y="T5"/>
                    </a:cxn>
                    <a:cxn ang="0">
                      <a:pos x="T6" y="T7"/>
                    </a:cxn>
                    <a:cxn ang="0">
                      <a:pos x="T8" y="T9"/>
                    </a:cxn>
                    <a:cxn ang="0">
                      <a:pos x="T10" y="T11"/>
                    </a:cxn>
                  </a:cxnLst>
                  <a:rect l="0" t="0" r="r" b="b"/>
                  <a:pathLst>
                    <a:path w="58" h="71">
                      <a:moveTo>
                        <a:pt x="5" y="55"/>
                      </a:moveTo>
                      <a:cubicBezTo>
                        <a:pt x="0" y="34"/>
                        <a:pt x="0" y="6"/>
                        <a:pt x="0" y="6"/>
                      </a:cubicBezTo>
                      <a:cubicBezTo>
                        <a:pt x="24" y="0"/>
                        <a:pt x="24" y="0"/>
                        <a:pt x="24" y="0"/>
                      </a:cubicBezTo>
                      <a:cubicBezTo>
                        <a:pt x="55" y="51"/>
                        <a:pt x="55" y="51"/>
                        <a:pt x="55" y="51"/>
                      </a:cubicBezTo>
                      <a:cubicBezTo>
                        <a:pt x="58" y="55"/>
                        <a:pt x="56" y="62"/>
                        <a:pt x="51" y="63"/>
                      </a:cubicBezTo>
                      <a:cubicBezTo>
                        <a:pt x="35" y="67"/>
                        <a:pt x="8" y="71"/>
                        <a:pt x="5" y="55"/>
                      </a:cubicBezTo>
                      <a:close/>
                    </a:path>
                  </a:pathLst>
                </a:custGeom>
                <a:solidFill>
                  <a:srgbClr val="DB9C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tx1"/>
                    </a:solidFill>
                    <a:effectLst/>
                    <a:uLnTx/>
                    <a:uFillTx/>
                    <a:latin typeface="+mn-lt"/>
                    <a:ea typeface="+mn-ea"/>
                    <a:cs typeface="+mn-cs"/>
                  </a:endParaRPr>
                </a:p>
              </p:txBody>
            </p:sp>
          </p:grpSp>
        </p:grpSp>
      </p:grpSp>
    </p:spTree>
    <p:extLst>
      <p:ext uri="{BB962C8B-B14F-4D97-AF65-F5344CB8AC3E}">
        <p14:creationId xmlns:p14="http://schemas.microsoft.com/office/powerpoint/2010/main" val="341400784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5" name="Rectangle 424"/>
          <p:cNvSpPr/>
          <p:nvPr/>
        </p:nvSpPr>
        <p:spPr bwMode="auto">
          <a:xfrm>
            <a:off x="4917577" y="4539304"/>
            <a:ext cx="4066805" cy="1560959"/>
          </a:xfrm>
          <a:prstGeom prst="rect">
            <a:avLst/>
          </a:prstGeom>
          <a:solidFill>
            <a:schemeClr val="accent1"/>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7919" tIns="91440" rIns="17919" bIns="89592" numCol="1" spcCol="1270" anchor="t" anchorCtr="0">
            <a:noAutofit/>
          </a:bodyPr>
          <a:lstStyle/>
          <a:p>
            <a:pPr marL="0" marR="0" lvl="0" indent="0" algn="ctr" defTabSz="914132" eaLnBrk="1" fontAlgn="auto" latinLnBrk="0" hangingPunct="1">
              <a:lnSpc>
                <a:spcPct val="90000"/>
              </a:lnSpc>
              <a:spcBef>
                <a:spcPct val="0"/>
              </a:spcBef>
              <a:spcAft>
                <a:spcPts val="588"/>
              </a:spcAft>
              <a:buClrTx/>
              <a:buSzTx/>
              <a:buFontTx/>
              <a:buNone/>
              <a:tabLst/>
              <a:defRPr/>
            </a:pPr>
            <a:r>
              <a:rPr kumimoji="0" lang="en-US" sz="1800" b="0" i="0" u="none" strike="noStrike" kern="0" cap="none" spc="-29"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MS PGothic" panose="020B0600070205080204" pitchFamily="34" charset="-128"/>
                <a:cs typeface="Segoe UI Semibold" panose="020B0702040204020203" pitchFamily="34" charset="0"/>
              </a:rPr>
              <a:t>Azure Data Lake Store</a:t>
            </a:r>
          </a:p>
        </p:txBody>
      </p:sp>
      <p:sp>
        <p:nvSpPr>
          <p:cNvPr id="41" name="Rectangle 40"/>
          <p:cNvSpPr/>
          <p:nvPr/>
        </p:nvSpPr>
        <p:spPr bwMode="auto">
          <a:xfrm>
            <a:off x="2620386" y="1355665"/>
            <a:ext cx="2216104" cy="4748378"/>
          </a:xfrm>
          <a:prstGeom prst="rect">
            <a:avLst/>
          </a:prstGeom>
          <a:solidFill>
            <a:schemeClr val="accent3"/>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73152" tIns="91440" rIns="73152" bIns="89592" numCol="1" spcCol="1270" anchor="t" anchorCtr="0">
            <a:noAutofit/>
          </a:bodyPr>
          <a:lstStyle/>
          <a:p>
            <a:pPr marL="0" marR="0" lvl="0" indent="0" algn="ctr" defTabSz="896328" eaLnBrk="1" fontAlgn="auto" latinLnBrk="0" hangingPunct="1">
              <a:lnSpc>
                <a:spcPct val="100000"/>
              </a:lnSpc>
              <a:spcBef>
                <a:spcPts val="0"/>
              </a:spcBef>
              <a:spcAft>
                <a:spcPts val="0"/>
              </a:spcAft>
              <a:buClrTx/>
              <a:buSzTx/>
              <a:buFontTx/>
              <a:buNone/>
              <a:tabLst/>
              <a:defRPr/>
            </a:pPr>
            <a:r>
              <a:rPr kumimoji="0" lang="en-US" sz="1800" b="0" i="0" u="none" strike="noStrike" kern="0" cap="none" spc="-29"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MS PGothic" panose="020B0600070205080204" pitchFamily="34" charset="-128"/>
                <a:cs typeface="Segoe UI Semibold" panose="020B0702040204020203" pitchFamily="34" charset="0"/>
              </a:rPr>
              <a:t>Ingestion</a:t>
            </a:r>
          </a:p>
          <a:p>
            <a:pPr marL="0" marR="0" lvl="0" indent="0" algn="ctr" defTabSz="896328" eaLnBrk="1" fontAlgn="auto" latinLnBrk="0" hangingPunct="1">
              <a:lnSpc>
                <a:spcPct val="100000"/>
              </a:lnSpc>
              <a:spcBef>
                <a:spcPts val="0"/>
              </a:spcBef>
              <a:spcAft>
                <a:spcPts val="0"/>
              </a:spcAft>
              <a:buClrTx/>
              <a:buSzTx/>
              <a:buFontTx/>
              <a:buNone/>
              <a:tabLst/>
              <a:defRPr/>
            </a:pPr>
            <a:r>
              <a:rPr kumimoji="0" lang="en-US" sz="1800" b="1" i="0" u="none" strike="noStrike" kern="0" cap="none" spc="-29"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ea typeface="MS PGothic" panose="020B0600070205080204" pitchFamily="34" charset="-128"/>
                <a:cs typeface="Segoe UI Semilight" panose="020B0402040204020203" pitchFamily="34" charset="0"/>
              </a:rPr>
              <a:t>Bulk, Event Ingestion</a:t>
            </a:r>
          </a:p>
        </p:txBody>
      </p:sp>
      <p:sp>
        <p:nvSpPr>
          <p:cNvPr id="4" name="Pentagon 3"/>
          <p:cNvSpPr/>
          <p:nvPr/>
        </p:nvSpPr>
        <p:spPr bwMode="auto">
          <a:xfrm>
            <a:off x="243885" y="6281439"/>
            <a:ext cx="11749478" cy="358436"/>
          </a:xfrm>
          <a:prstGeom prst="homePlate">
            <a:avLst/>
          </a:prstGeom>
          <a:solidFill>
            <a:srgbClr val="0072C6"/>
          </a:solidFill>
          <a:ln w="25400">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46637" rIns="0" bIns="46637" numCol="1" rtlCol="0" anchor="ctr" anchorCtr="0" compatLnSpc="1">
            <a:prstTxWarp prst="textNoShape">
              <a:avLst/>
            </a:prstTxWarp>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1600" b="1" i="0" u="none" strike="noStrike" kern="0" cap="none" spc="0" normalizeH="0" baseline="0" noProof="0" dirty="0">
              <a:ln>
                <a:noFill/>
              </a:ln>
              <a:gradFill>
                <a:gsLst>
                  <a:gs pos="5439">
                    <a:srgbClr val="F8F8F8"/>
                  </a:gs>
                  <a:gs pos="10000">
                    <a:srgbClr val="F8F8F8"/>
                  </a:gs>
                </a:gsLst>
                <a:lin ang="5400000" scaled="0"/>
              </a:gradFill>
              <a:effectLst/>
              <a:uLnTx/>
              <a:uFillTx/>
            </a:endParaRPr>
          </a:p>
        </p:txBody>
      </p:sp>
      <p:grpSp>
        <p:nvGrpSpPr>
          <p:cNvPr id="64" name="Group 63"/>
          <p:cNvGrpSpPr/>
          <p:nvPr/>
        </p:nvGrpSpPr>
        <p:grpSpPr>
          <a:xfrm>
            <a:off x="10557153" y="2515517"/>
            <a:ext cx="232214" cy="2428676"/>
            <a:chOff x="10631643" y="2316892"/>
            <a:chExt cx="232214" cy="2825925"/>
          </a:xfrm>
        </p:grpSpPr>
        <p:cxnSp>
          <p:nvCxnSpPr>
            <p:cNvPr id="104" name="Straight Connector 103"/>
            <p:cNvCxnSpPr/>
            <p:nvPr/>
          </p:nvCxnSpPr>
          <p:spPr>
            <a:xfrm>
              <a:off x="10743703" y="2316892"/>
              <a:ext cx="3330" cy="2817422"/>
            </a:xfrm>
            <a:prstGeom prst="line">
              <a:avLst/>
            </a:prstGeom>
            <a:ln w="38100" cap="sq">
              <a:solidFill>
                <a:schemeClr val="accent1"/>
              </a:solidFill>
              <a:prstDash val="sysDash"/>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105" name="Straight Connector 104"/>
            <p:cNvCxnSpPr/>
            <p:nvPr/>
          </p:nvCxnSpPr>
          <p:spPr>
            <a:xfrm>
              <a:off x="10631643" y="2316892"/>
              <a:ext cx="112060" cy="1"/>
            </a:xfrm>
            <a:prstGeom prst="line">
              <a:avLst/>
            </a:prstGeom>
            <a:ln w="38100" cap="sq">
              <a:solidFill>
                <a:schemeClr val="accent1"/>
              </a:solidFill>
              <a:prstDash val="sysDash"/>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108" name="Straight Connector 107"/>
            <p:cNvCxnSpPr/>
            <p:nvPr/>
          </p:nvCxnSpPr>
          <p:spPr>
            <a:xfrm flipV="1">
              <a:off x="10631643" y="5142403"/>
              <a:ext cx="112060" cy="414"/>
            </a:xfrm>
            <a:prstGeom prst="line">
              <a:avLst/>
            </a:prstGeom>
            <a:ln w="38100" cap="sq">
              <a:solidFill>
                <a:schemeClr val="accent1"/>
              </a:solidFill>
              <a:prstDash val="sysDash"/>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112" name="Straight Connector 111"/>
            <p:cNvCxnSpPr/>
            <p:nvPr/>
          </p:nvCxnSpPr>
          <p:spPr>
            <a:xfrm>
              <a:off x="10751027" y="4071576"/>
              <a:ext cx="112830" cy="0"/>
            </a:xfrm>
            <a:prstGeom prst="line">
              <a:avLst/>
            </a:prstGeom>
            <a:ln w="38100" cap="sq">
              <a:solidFill>
                <a:schemeClr val="accent1"/>
              </a:solidFill>
              <a:prstDash val="sysDash"/>
              <a:miter lim="800000"/>
              <a:headEnd type="none"/>
              <a:tailEnd type="none"/>
            </a:ln>
          </p:spPr>
          <p:style>
            <a:lnRef idx="1">
              <a:schemeClr val="accent1"/>
            </a:lnRef>
            <a:fillRef idx="0">
              <a:schemeClr val="accent1"/>
            </a:fillRef>
            <a:effectRef idx="0">
              <a:schemeClr val="accent1"/>
            </a:effectRef>
            <a:fontRef idx="minor">
              <a:schemeClr val="tx1"/>
            </a:fontRef>
          </p:style>
        </p:cxnSp>
      </p:grpSp>
      <p:sp>
        <p:nvSpPr>
          <p:cNvPr id="5" name="Title 1"/>
          <p:cNvSpPr>
            <a:spLocks noGrp="1"/>
          </p:cNvSpPr>
          <p:nvPr>
            <p:ph type="title"/>
          </p:nvPr>
        </p:nvSpPr>
        <p:spPr/>
        <p:txBody>
          <a:bodyPr/>
          <a:lstStyle/>
          <a:p>
            <a:r>
              <a:rPr lang="en-US"/>
              <a:t>Big Data Flow</a:t>
            </a:r>
            <a:endParaRPr lang="en-US" dirty="0"/>
          </a:p>
        </p:txBody>
      </p:sp>
      <p:grpSp>
        <p:nvGrpSpPr>
          <p:cNvPr id="283" name="Group 282"/>
          <p:cNvGrpSpPr/>
          <p:nvPr/>
        </p:nvGrpSpPr>
        <p:grpSpPr>
          <a:xfrm>
            <a:off x="2060524" y="2101281"/>
            <a:ext cx="503867" cy="3263420"/>
            <a:chOff x="681378" y="2315543"/>
            <a:chExt cx="503867" cy="2675519"/>
          </a:xfrm>
        </p:grpSpPr>
        <p:cxnSp>
          <p:nvCxnSpPr>
            <p:cNvPr id="87" name="Straight Connector 86"/>
            <p:cNvCxnSpPr/>
            <p:nvPr/>
          </p:nvCxnSpPr>
          <p:spPr>
            <a:xfrm>
              <a:off x="891733" y="2315543"/>
              <a:ext cx="7708" cy="2675519"/>
            </a:xfrm>
            <a:prstGeom prst="line">
              <a:avLst/>
            </a:prstGeom>
            <a:ln w="38100" cap="sq">
              <a:solidFill>
                <a:schemeClr val="accent1"/>
              </a:solidFill>
              <a:prstDash val="sysDash"/>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785855" y="2315543"/>
              <a:ext cx="99580" cy="0"/>
            </a:xfrm>
            <a:prstGeom prst="line">
              <a:avLst/>
            </a:prstGeom>
            <a:ln w="38100" cap="sq">
              <a:solidFill>
                <a:schemeClr val="accent1"/>
              </a:solidFill>
              <a:prstDash val="sysDash"/>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flipV="1">
              <a:off x="681378" y="3673411"/>
              <a:ext cx="503867" cy="1"/>
            </a:xfrm>
            <a:prstGeom prst="line">
              <a:avLst/>
            </a:prstGeom>
            <a:ln w="38100" cap="sq">
              <a:solidFill>
                <a:schemeClr val="accent1"/>
              </a:solidFill>
              <a:prstDash val="sysDash"/>
              <a:miter lim="800000"/>
              <a:headEnd type="none"/>
              <a:tailEnd type="triangle"/>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778955" y="4991062"/>
              <a:ext cx="120487" cy="0"/>
            </a:xfrm>
            <a:prstGeom prst="line">
              <a:avLst/>
            </a:prstGeom>
            <a:ln w="38100" cap="sq">
              <a:solidFill>
                <a:schemeClr val="accent1"/>
              </a:solidFill>
              <a:prstDash val="sysDash"/>
              <a:miter lim="800000"/>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TextBox 2"/>
          <p:cNvSpPr txBox="1"/>
          <p:nvPr/>
        </p:nvSpPr>
        <p:spPr>
          <a:xfrm>
            <a:off x="439522" y="2426086"/>
            <a:ext cx="1440222" cy="355482"/>
          </a:xfrm>
          <a:prstGeom prst="rect">
            <a:avLst/>
          </a:prstGeom>
          <a:noFill/>
        </p:spPr>
        <p:txBody>
          <a:bodyPr wrap="square" lIns="91440" tIns="73152" rIns="91440" bIns="73152" rtlCol="0">
            <a:spAutoFit/>
          </a:bodyPr>
          <a:lstStyle/>
          <a:p>
            <a:pPr marL="0" marR="0" lvl="0" indent="0" algn="ctr" defTabSz="914132" eaLnBrk="1" fontAlgn="auto" latinLnBrk="0" hangingPunct="1">
              <a:lnSpc>
                <a:spcPct val="90000"/>
              </a:lnSpc>
              <a:spcBef>
                <a:spcPct val="0"/>
              </a:spcBef>
              <a:spcAft>
                <a:spcPts val="588"/>
              </a:spcAft>
              <a:buClrTx/>
              <a:buSzTx/>
              <a:buFontTx/>
              <a:buNone/>
              <a:tabLst/>
              <a:defRPr/>
            </a:pPr>
            <a:r>
              <a:rPr kumimoji="0" lang="en-US" sz="1500" b="0" i="0" u="none" strike="noStrike" kern="0" cap="none" spc="-29" normalizeH="0" baseline="0" noProof="0" dirty="0">
                <a:ln>
                  <a:noFill/>
                </a:ln>
                <a:solidFill>
                  <a:sysClr val="windowText" lastClr="000000"/>
                </a:solidFill>
                <a:effectLst/>
                <a:uLnTx/>
                <a:uFillTx/>
                <a:latin typeface="Segoe UI Semilight" panose="020B0402040204020203" pitchFamily="34" charset="0"/>
                <a:ea typeface="MS PGothic" panose="020B0600070205080204" pitchFamily="34" charset="-128"/>
                <a:cs typeface="Segoe UI Semilight" panose="020B0402040204020203" pitchFamily="34" charset="0"/>
              </a:rPr>
              <a:t>Business apps</a:t>
            </a:r>
          </a:p>
        </p:txBody>
      </p:sp>
      <p:sp>
        <p:nvSpPr>
          <p:cNvPr id="106" name="TextBox 105"/>
          <p:cNvSpPr txBox="1"/>
          <p:nvPr/>
        </p:nvSpPr>
        <p:spPr>
          <a:xfrm>
            <a:off x="439522" y="3952850"/>
            <a:ext cx="1440222" cy="355482"/>
          </a:xfrm>
          <a:prstGeom prst="rect">
            <a:avLst/>
          </a:prstGeom>
          <a:noFill/>
        </p:spPr>
        <p:txBody>
          <a:bodyPr wrap="square" lIns="91440" tIns="73152" rIns="91440" bIns="73152" rtlCol="0">
            <a:spAutoFit/>
          </a:bodyPr>
          <a:lstStyle/>
          <a:p>
            <a:pPr marL="0" marR="0" lvl="0" indent="0" algn="ctr" defTabSz="914132" eaLnBrk="1" fontAlgn="auto" latinLnBrk="0" hangingPunct="1">
              <a:lnSpc>
                <a:spcPct val="90000"/>
              </a:lnSpc>
              <a:spcBef>
                <a:spcPct val="0"/>
              </a:spcBef>
              <a:spcAft>
                <a:spcPts val="588"/>
              </a:spcAft>
              <a:buClrTx/>
              <a:buSzTx/>
              <a:buFontTx/>
              <a:buNone/>
              <a:tabLst/>
              <a:defRPr/>
            </a:pPr>
            <a:r>
              <a:rPr kumimoji="0" lang="en-US" sz="1500" b="0" i="0" u="none" strike="noStrike" kern="0" cap="none" spc="-29" normalizeH="0" baseline="0" noProof="0" dirty="0">
                <a:ln>
                  <a:noFill/>
                </a:ln>
                <a:solidFill>
                  <a:sysClr val="windowText" lastClr="000000"/>
                </a:solidFill>
                <a:effectLst/>
                <a:uLnTx/>
                <a:uFillTx/>
                <a:latin typeface="Segoe UI Semilight" panose="020B0402040204020203" pitchFamily="34" charset="0"/>
                <a:ea typeface="MS PGothic" panose="020B0600070205080204" pitchFamily="34" charset="-128"/>
                <a:cs typeface="Segoe UI Semilight" panose="020B0402040204020203" pitchFamily="34" charset="0"/>
              </a:rPr>
              <a:t>Custom apps</a:t>
            </a:r>
          </a:p>
        </p:txBody>
      </p:sp>
      <p:sp>
        <p:nvSpPr>
          <p:cNvPr id="110" name="TextBox 109"/>
          <p:cNvSpPr txBox="1"/>
          <p:nvPr/>
        </p:nvSpPr>
        <p:spPr>
          <a:xfrm>
            <a:off x="258742" y="5653552"/>
            <a:ext cx="1801782" cy="355482"/>
          </a:xfrm>
          <a:prstGeom prst="rect">
            <a:avLst/>
          </a:prstGeom>
          <a:noFill/>
        </p:spPr>
        <p:txBody>
          <a:bodyPr wrap="square" lIns="91440" tIns="73152" rIns="91440" bIns="73152" rtlCol="0">
            <a:spAutoFit/>
          </a:bodyPr>
          <a:lstStyle/>
          <a:p>
            <a:pPr marL="0" marR="0" lvl="0" indent="0" algn="ctr" defTabSz="914132" eaLnBrk="1" fontAlgn="auto" latinLnBrk="0" hangingPunct="1">
              <a:lnSpc>
                <a:spcPct val="90000"/>
              </a:lnSpc>
              <a:spcBef>
                <a:spcPct val="0"/>
              </a:spcBef>
              <a:spcAft>
                <a:spcPts val="588"/>
              </a:spcAft>
              <a:buClrTx/>
              <a:buSzTx/>
              <a:buFontTx/>
              <a:buNone/>
              <a:tabLst/>
              <a:defRPr/>
            </a:pPr>
            <a:r>
              <a:rPr kumimoji="0" lang="en-US" sz="1500" b="0" i="0" u="none" strike="noStrike" kern="0" cap="none" spc="-29" normalizeH="0" baseline="0" noProof="0" dirty="0">
                <a:ln>
                  <a:noFill/>
                </a:ln>
                <a:solidFill>
                  <a:sysClr val="windowText" lastClr="000000"/>
                </a:solidFill>
                <a:effectLst/>
                <a:uLnTx/>
                <a:uFillTx/>
                <a:latin typeface="Segoe UI Semilight" panose="020B0402040204020203" pitchFamily="34" charset="0"/>
                <a:ea typeface="MS PGothic" panose="020B0600070205080204" pitchFamily="34" charset="-128"/>
                <a:cs typeface="Segoe UI Semilight" panose="020B0402040204020203" pitchFamily="34" charset="0"/>
              </a:rPr>
              <a:t>Sensors and devices</a:t>
            </a:r>
          </a:p>
        </p:txBody>
      </p:sp>
      <p:sp>
        <p:nvSpPr>
          <p:cNvPr id="119" name="TextBox 118"/>
          <p:cNvSpPr txBox="1"/>
          <p:nvPr/>
        </p:nvSpPr>
        <p:spPr>
          <a:xfrm>
            <a:off x="11076403" y="4553778"/>
            <a:ext cx="777786" cy="355482"/>
          </a:xfrm>
          <a:prstGeom prst="rect">
            <a:avLst/>
          </a:prstGeom>
          <a:noFill/>
        </p:spPr>
        <p:txBody>
          <a:bodyPr wrap="square" lIns="91440" tIns="73152" rIns="91440" bIns="73152" rtlCol="0">
            <a:spAutoFit/>
          </a:bodyPr>
          <a:lstStyle/>
          <a:p>
            <a:pPr marL="0" marR="0" lvl="0" indent="0" algn="ctr" defTabSz="914132" eaLnBrk="1" fontAlgn="auto" latinLnBrk="0" hangingPunct="1">
              <a:lnSpc>
                <a:spcPct val="90000"/>
              </a:lnSpc>
              <a:spcBef>
                <a:spcPct val="0"/>
              </a:spcBef>
              <a:spcAft>
                <a:spcPts val="588"/>
              </a:spcAft>
              <a:buClrTx/>
              <a:buSzTx/>
              <a:buFontTx/>
              <a:buNone/>
              <a:tabLst/>
              <a:defRPr/>
            </a:pPr>
            <a:r>
              <a:rPr kumimoji="0" lang="en-US" sz="1500" b="0" i="0" u="none" strike="noStrike" kern="0" cap="none" spc="-29" normalizeH="0" baseline="0" noProof="0" dirty="0">
                <a:ln>
                  <a:noFill/>
                </a:ln>
                <a:solidFill>
                  <a:sysClr val="windowText" lastClr="000000"/>
                </a:solidFill>
                <a:effectLst/>
                <a:uLnTx/>
                <a:uFillTx/>
                <a:latin typeface="Segoe UI Semilight" panose="020B0402040204020203" pitchFamily="34" charset="0"/>
                <a:ea typeface="MS PGothic" panose="020B0600070205080204" pitchFamily="34" charset="-128"/>
                <a:cs typeface="Segoe UI Semilight" panose="020B0402040204020203" pitchFamily="34" charset="0"/>
              </a:rPr>
              <a:t>People</a:t>
            </a:r>
          </a:p>
        </p:txBody>
      </p:sp>
      <p:sp>
        <p:nvSpPr>
          <p:cNvPr id="43" name="Rectangle 42"/>
          <p:cNvSpPr/>
          <p:nvPr/>
        </p:nvSpPr>
        <p:spPr bwMode="auto">
          <a:xfrm>
            <a:off x="4924392" y="1355665"/>
            <a:ext cx="4053175" cy="3092652"/>
          </a:xfrm>
          <a:prstGeom prst="rect">
            <a:avLst/>
          </a:prstGeom>
          <a:solidFill>
            <a:schemeClr val="tx2"/>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7919" tIns="91440" rIns="17919" bIns="89592" numCol="1" spcCol="1270" anchor="t" anchorCtr="0">
            <a:noAutofit/>
          </a:bodyPr>
          <a:lstStyle/>
          <a:p>
            <a:pPr marL="0" marR="0" lvl="0" indent="0" algn="ctr" defTabSz="896328" eaLnBrk="1" fontAlgn="auto" latinLnBrk="0" hangingPunct="1">
              <a:lnSpc>
                <a:spcPct val="100000"/>
              </a:lnSpc>
              <a:spcBef>
                <a:spcPts val="0"/>
              </a:spcBef>
              <a:spcAft>
                <a:spcPts val="0"/>
              </a:spcAft>
              <a:buClrTx/>
              <a:buSzTx/>
              <a:buFontTx/>
              <a:buNone/>
              <a:tabLst/>
              <a:defRPr/>
            </a:pPr>
            <a:r>
              <a:rPr kumimoji="0" lang="en-US" sz="1800" b="0" i="0" u="none" strike="noStrike" kern="0" cap="none" spc="-29"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MS PGothic" panose="020B0600070205080204" pitchFamily="34" charset="-128"/>
                <a:cs typeface="Segoe UI Semibold" panose="020B0702040204020203" pitchFamily="34" charset="0"/>
              </a:rPr>
              <a:t>Processing</a:t>
            </a:r>
          </a:p>
          <a:p>
            <a:pPr marL="0" marR="0" lvl="0" indent="0" algn="ctr" defTabSz="896328" eaLnBrk="1" fontAlgn="auto" latinLnBrk="0" hangingPunct="1">
              <a:lnSpc>
                <a:spcPct val="100000"/>
              </a:lnSpc>
              <a:spcBef>
                <a:spcPts val="0"/>
              </a:spcBef>
              <a:spcAft>
                <a:spcPts val="0"/>
              </a:spcAft>
              <a:buClrTx/>
              <a:buSzTx/>
              <a:buFontTx/>
              <a:buNone/>
              <a:tabLst/>
              <a:defRPr/>
            </a:pPr>
            <a:r>
              <a:rPr kumimoji="0" lang="en-US" sz="1800" b="1" i="0" u="none" strike="noStrike" kern="0" cap="none" spc="-29"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ea typeface="MS PGothic" panose="020B0600070205080204" pitchFamily="34" charset="-128"/>
                <a:cs typeface="Segoe UI Semilight" panose="020B0402040204020203" pitchFamily="34" charset="0"/>
              </a:rPr>
              <a:t>Preparation, Analytics</a:t>
            </a:r>
            <a:endParaRPr kumimoji="0" lang="en-US" sz="1800" b="1" i="0" u="none" strike="noStrike" kern="0" cap="none" spc="0" normalizeH="0" baseline="0" noProof="0" dirty="0">
              <a:ln>
                <a:noFill/>
              </a:ln>
              <a:gradFill>
                <a:gsLst>
                  <a:gs pos="0">
                    <a:srgbClr val="FFFFFF"/>
                  </a:gs>
                  <a:gs pos="100000">
                    <a:srgbClr val="FFFFFF"/>
                  </a:gs>
                </a:gsLst>
                <a:lin ang="5400000" scaled="0"/>
              </a:gradFill>
              <a:effectLst/>
              <a:uLnTx/>
              <a:uFillTx/>
              <a:ea typeface="MS PGothic" panose="020B0600070205080204" pitchFamily="34" charset="-128"/>
            </a:endParaRPr>
          </a:p>
        </p:txBody>
      </p:sp>
      <p:sp>
        <p:nvSpPr>
          <p:cNvPr id="44" name="Rectangle 43"/>
          <p:cNvSpPr/>
          <p:nvPr/>
        </p:nvSpPr>
        <p:spPr bwMode="auto">
          <a:xfrm>
            <a:off x="9093691" y="1355665"/>
            <a:ext cx="1288960" cy="2314887"/>
          </a:xfrm>
          <a:prstGeom prst="rect">
            <a:avLst/>
          </a:prstGeom>
          <a:solidFill>
            <a:schemeClr val="accent6"/>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7919" tIns="91440" rIns="17919" bIns="89592" numCol="1" spcCol="1270" anchor="t" anchorCtr="0">
            <a:noAutofit/>
          </a:bodyPr>
          <a:lstStyle/>
          <a:p>
            <a:pPr marL="0" marR="0" lvl="0" indent="0" algn="ctr" defTabSz="896328" eaLnBrk="1" fontAlgn="auto" latinLnBrk="0" hangingPunct="1">
              <a:lnSpc>
                <a:spcPct val="100000"/>
              </a:lnSpc>
              <a:spcBef>
                <a:spcPts val="0"/>
              </a:spcBef>
              <a:spcAft>
                <a:spcPts val="0"/>
              </a:spcAft>
              <a:buClrTx/>
              <a:buSzTx/>
              <a:buFontTx/>
              <a:buNone/>
              <a:tabLst/>
              <a:defRPr/>
            </a:pPr>
            <a:r>
              <a:rPr kumimoji="0" lang="en-US" sz="1600" b="0" i="0" u="none" strike="noStrike" kern="0" cap="none" spc="-29"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MS PGothic" panose="020B0600070205080204" pitchFamily="34" charset="-128"/>
                <a:cs typeface="Segoe UI Semibold" panose="020B0702040204020203" pitchFamily="34" charset="0"/>
              </a:rPr>
              <a:t>Visualization</a:t>
            </a:r>
            <a:endParaRPr kumimoji="0" lang="en-US" sz="16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MS PGothic" panose="020B0600070205080204" pitchFamily="34" charset="-128"/>
              <a:cs typeface="Segoe UI Semibold" panose="020B0702040204020203" pitchFamily="34" charset="0"/>
            </a:endParaRPr>
          </a:p>
        </p:txBody>
      </p:sp>
      <p:sp>
        <p:nvSpPr>
          <p:cNvPr id="109" name="Rectangle 108"/>
          <p:cNvSpPr/>
          <p:nvPr/>
        </p:nvSpPr>
        <p:spPr bwMode="auto">
          <a:xfrm>
            <a:off x="9093691" y="3788231"/>
            <a:ext cx="1288960" cy="2315813"/>
          </a:xfrm>
          <a:prstGeom prst="rect">
            <a:avLst/>
          </a:prstGeom>
          <a:solidFill>
            <a:schemeClr val="accent6"/>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7919" tIns="91440" rIns="17919" bIns="89592" numCol="1" spcCol="1270" anchor="t" anchorCtr="0">
            <a:noAutofit/>
          </a:bodyPr>
          <a:lstStyle/>
          <a:p>
            <a:pPr marL="0" marR="0" lvl="0" indent="0" algn="ctr" defTabSz="896328" eaLnBrk="1" fontAlgn="auto" latinLnBrk="0" hangingPunct="1">
              <a:lnSpc>
                <a:spcPct val="100000"/>
              </a:lnSpc>
              <a:spcBef>
                <a:spcPts val="0"/>
              </a:spcBef>
              <a:spcAft>
                <a:spcPts val="0"/>
              </a:spcAft>
              <a:buClrTx/>
              <a:buSzTx/>
              <a:buFontTx/>
              <a:buNone/>
              <a:tabLst/>
              <a:defRPr/>
            </a:pPr>
            <a:r>
              <a:rPr kumimoji="0" lang="en-US" sz="1800" b="0" i="0" u="none" strike="noStrike" kern="0" cap="none" spc="-29"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MS PGothic" panose="020B0600070205080204" pitchFamily="34" charset="-128"/>
                <a:cs typeface="Segoe UI Semibold" panose="020B0702040204020203" pitchFamily="34" charset="0"/>
              </a:rPr>
              <a:t>Discovery</a:t>
            </a:r>
            <a:endParaRPr kumimoji="0" lang="en-US" sz="18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MS PGothic" panose="020B0600070205080204" pitchFamily="34" charset="-128"/>
              <a:cs typeface="Segoe UI Semibold" panose="020B0702040204020203" pitchFamily="34" charset="0"/>
            </a:endParaRPr>
          </a:p>
        </p:txBody>
      </p:sp>
      <p:pic>
        <p:nvPicPr>
          <p:cNvPr id="58" name="Picture 57"/>
          <p:cNvPicPr>
            <a:picLocks noChangeAspect="1"/>
          </p:cNvPicPr>
          <p:nvPr/>
        </p:nvPicPr>
        <p:blipFill>
          <a:blip r:embed="rId3"/>
          <a:stretch>
            <a:fillRect/>
          </a:stretch>
        </p:blipFill>
        <p:spPr>
          <a:xfrm>
            <a:off x="10937230" y="3456188"/>
            <a:ext cx="1056133" cy="1066800"/>
          </a:xfrm>
          <a:prstGeom prst="rect">
            <a:avLst/>
          </a:prstGeom>
        </p:spPr>
      </p:pic>
      <p:grpSp>
        <p:nvGrpSpPr>
          <p:cNvPr id="65" name="Group 64"/>
          <p:cNvGrpSpPr/>
          <p:nvPr/>
        </p:nvGrpSpPr>
        <p:grpSpPr>
          <a:xfrm>
            <a:off x="924395" y="3240483"/>
            <a:ext cx="470476" cy="730206"/>
            <a:chOff x="2976563" y="1630081"/>
            <a:chExt cx="2139950" cy="3321333"/>
          </a:xfrm>
        </p:grpSpPr>
        <p:sp>
          <p:nvSpPr>
            <p:cNvPr id="66" name="Freeform 5"/>
            <p:cNvSpPr>
              <a:spLocks/>
            </p:cNvSpPr>
            <p:nvPr/>
          </p:nvSpPr>
          <p:spPr bwMode="auto">
            <a:xfrm>
              <a:off x="2976563" y="2978151"/>
              <a:ext cx="603250" cy="265113"/>
            </a:xfrm>
            <a:custGeom>
              <a:avLst/>
              <a:gdLst>
                <a:gd name="T0" fmla="*/ 119 w 152"/>
                <a:gd name="T1" fmla="*/ 0 h 67"/>
                <a:gd name="T2" fmla="*/ 152 w 152"/>
                <a:gd name="T3" fmla="*/ 34 h 67"/>
                <a:gd name="T4" fmla="*/ 152 w 152"/>
                <a:gd name="T5" fmla="*/ 34 h 67"/>
                <a:gd name="T6" fmla="*/ 119 w 152"/>
                <a:gd name="T7" fmla="*/ 67 h 67"/>
                <a:gd name="T8" fmla="*/ 34 w 152"/>
                <a:gd name="T9" fmla="*/ 67 h 67"/>
                <a:gd name="T10" fmla="*/ 0 w 152"/>
                <a:gd name="T11" fmla="*/ 34 h 67"/>
                <a:gd name="T12" fmla="*/ 0 w 152"/>
                <a:gd name="T13" fmla="*/ 34 h 67"/>
                <a:gd name="T14" fmla="*/ 34 w 152"/>
                <a:gd name="T15" fmla="*/ 0 h 67"/>
                <a:gd name="T16" fmla="*/ 119 w 152"/>
                <a:gd name="T17" fmla="*/ 0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2" h="67">
                  <a:moveTo>
                    <a:pt x="119" y="0"/>
                  </a:moveTo>
                  <a:cubicBezTo>
                    <a:pt x="137" y="0"/>
                    <a:pt x="152" y="15"/>
                    <a:pt x="152" y="34"/>
                  </a:cubicBezTo>
                  <a:cubicBezTo>
                    <a:pt x="152" y="34"/>
                    <a:pt x="152" y="34"/>
                    <a:pt x="152" y="34"/>
                  </a:cubicBezTo>
                  <a:cubicBezTo>
                    <a:pt x="152" y="52"/>
                    <a:pt x="137" y="67"/>
                    <a:pt x="119" y="67"/>
                  </a:cubicBezTo>
                  <a:cubicBezTo>
                    <a:pt x="34" y="67"/>
                    <a:pt x="34" y="67"/>
                    <a:pt x="34" y="67"/>
                  </a:cubicBezTo>
                  <a:cubicBezTo>
                    <a:pt x="15" y="67"/>
                    <a:pt x="0" y="52"/>
                    <a:pt x="0" y="34"/>
                  </a:cubicBezTo>
                  <a:cubicBezTo>
                    <a:pt x="0" y="34"/>
                    <a:pt x="0" y="34"/>
                    <a:pt x="0" y="34"/>
                  </a:cubicBezTo>
                  <a:cubicBezTo>
                    <a:pt x="0" y="15"/>
                    <a:pt x="15" y="0"/>
                    <a:pt x="34" y="0"/>
                  </a:cubicBezTo>
                  <a:lnTo>
                    <a:pt x="119" y="0"/>
                  </a:lnTo>
                  <a:close/>
                </a:path>
              </a:pathLst>
            </a:custGeom>
            <a:solidFill>
              <a:srgbClr val="BC90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68" name="Freeform 6"/>
            <p:cNvSpPr>
              <a:spLocks/>
            </p:cNvSpPr>
            <p:nvPr/>
          </p:nvSpPr>
          <p:spPr bwMode="auto">
            <a:xfrm>
              <a:off x="3095626" y="2447926"/>
              <a:ext cx="601663" cy="265113"/>
            </a:xfrm>
            <a:custGeom>
              <a:avLst/>
              <a:gdLst>
                <a:gd name="T0" fmla="*/ 118 w 152"/>
                <a:gd name="T1" fmla="*/ 0 h 67"/>
                <a:gd name="T2" fmla="*/ 152 w 152"/>
                <a:gd name="T3" fmla="*/ 34 h 67"/>
                <a:gd name="T4" fmla="*/ 152 w 152"/>
                <a:gd name="T5" fmla="*/ 34 h 67"/>
                <a:gd name="T6" fmla="*/ 118 w 152"/>
                <a:gd name="T7" fmla="*/ 67 h 67"/>
                <a:gd name="T8" fmla="*/ 34 w 152"/>
                <a:gd name="T9" fmla="*/ 67 h 67"/>
                <a:gd name="T10" fmla="*/ 0 w 152"/>
                <a:gd name="T11" fmla="*/ 34 h 67"/>
                <a:gd name="T12" fmla="*/ 0 w 152"/>
                <a:gd name="T13" fmla="*/ 34 h 67"/>
                <a:gd name="T14" fmla="*/ 34 w 152"/>
                <a:gd name="T15" fmla="*/ 0 h 67"/>
                <a:gd name="T16" fmla="*/ 118 w 152"/>
                <a:gd name="T17" fmla="*/ 0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2" h="67">
                  <a:moveTo>
                    <a:pt x="118" y="0"/>
                  </a:moveTo>
                  <a:cubicBezTo>
                    <a:pt x="137" y="0"/>
                    <a:pt x="152" y="15"/>
                    <a:pt x="152" y="34"/>
                  </a:cubicBezTo>
                  <a:cubicBezTo>
                    <a:pt x="152" y="34"/>
                    <a:pt x="152" y="34"/>
                    <a:pt x="152" y="34"/>
                  </a:cubicBezTo>
                  <a:cubicBezTo>
                    <a:pt x="152" y="52"/>
                    <a:pt x="137" y="67"/>
                    <a:pt x="118" y="67"/>
                  </a:cubicBezTo>
                  <a:cubicBezTo>
                    <a:pt x="34" y="67"/>
                    <a:pt x="34" y="67"/>
                    <a:pt x="34" y="67"/>
                  </a:cubicBezTo>
                  <a:cubicBezTo>
                    <a:pt x="15" y="67"/>
                    <a:pt x="0" y="52"/>
                    <a:pt x="0" y="34"/>
                  </a:cubicBezTo>
                  <a:cubicBezTo>
                    <a:pt x="0" y="34"/>
                    <a:pt x="0" y="34"/>
                    <a:pt x="0" y="34"/>
                  </a:cubicBezTo>
                  <a:cubicBezTo>
                    <a:pt x="0" y="15"/>
                    <a:pt x="15" y="0"/>
                    <a:pt x="34" y="0"/>
                  </a:cubicBezTo>
                  <a:lnTo>
                    <a:pt x="118" y="0"/>
                  </a:lnTo>
                  <a:close/>
                </a:path>
              </a:pathLst>
            </a:custGeom>
            <a:solidFill>
              <a:srgbClr val="BC90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69" name="Freeform 7"/>
            <p:cNvSpPr>
              <a:spLocks/>
            </p:cNvSpPr>
            <p:nvPr/>
          </p:nvSpPr>
          <p:spPr bwMode="auto">
            <a:xfrm>
              <a:off x="2976563" y="3325813"/>
              <a:ext cx="603250" cy="265113"/>
            </a:xfrm>
            <a:custGeom>
              <a:avLst/>
              <a:gdLst>
                <a:gd name="T0" fmla="*/ 119 w 152"/>
                <a:gd name="T1" fmla="*/ 0 h 67"/>
                <a:gd name="T2" fmla="*/ 152 w 152"/>
                <a:gd name="T3" fmla="*/ 34 h 67"/>
                <a:gd name="T4" fmla="*/ 152 w 152"/>
                <a:gd name="T5" fmla="*/ 34 h 67"/>
                <a:gd name="T6" fmla="*/ 119 w 152"/>
                <a:gd name="T7" fmla="*/ 67 h 67"/>
                <a:gd name="T8" fmla="*/ 34 w 152"/>
                <a:gd name="T9" fmla="*/ 67 h 67"/>
                <a:gd name="T10" fmla="*/ 0 w 152"/>
                <a:gd name="T11" fmla="*/ 34 h 67"/>
                <a:gd name="T12" fmla="*/ 0 w 152"/>
                <a:gd name="T13" fmla="*/ 34 h 67"/>
                <a:gd name="T14" fmla="*/ 34 w 152"/>
                <a:gd name="T15" fmla="*/ 0 h 67"/>
                <a:gd name="T16" fmla="*/ 119 w 152"/>
                <a:gd name="T17" fmla="*/ 0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2" h="67">
                  <a:moveTo>
                    <a:pt x="119" y="0"/>
                  </a:moveTo>
                  <a:cubicBezTo>
                    <a:pt x="137" y="0"/>
                    <a:pt x="152" y="15"/>
                    <a:pt x="152" y="34"/>
                  </a:cubicBezTo>
                  <a:cubicBezTo>
                    <a:pt x="152" y="34"/>
                    <a:pt x="152" y="34"/>
                    <a:pt x="152" y="34"/>
                  </a:cubicBezTo>
                  <a:cubicBezTo>
                    <a:pt x="152" y="52"/>
                    <a:pt x="137" y="67"/>
                    <a:pt x="119" y="67"/>
                  </a:cubicBezTo>
                  <a:cubicBezTo>
                    <a:pt x="34" y="67"/>
                    <a:pt x="34" y="67"/>
                    <a:pt x="34" y="67"/>
                  </a:cubicBezTo>
                  <a:cubicBezTo>
                    <a:pt x="15" y="67"/>
                    <a:pt x="0" y="52"/>
                    <a:pt x="0" y="34"/>
                  </a:cubicBezTo>
                  <a:cubicBezTo>
                    <a:pt x="0" y="34"/>
                    <a:pt x="0" y="34"/>
                    <a:pt x="0" y="34"/>
                  </a:cubicBezTo>
                  <a:cubicBezTo>
                    <a:pt x="0" y="15"/>
                    <a:pt x="15" y="0"/>
                    <a:pt x="34" y="0"/>
                  </a:cubicBezTo>
                  <a:lnTo>
                    <a:pt x="119" y="0"/>
                  </a:lnTo>
                  <a:close/>
                </a:path>
              </a:pathLst>
            </a:custGeom>
            <a:solidFill>
              <a:srgbClr val="BC90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0" name="Freeform 8"/>
            <p:cNvSpPr>
              <a:spLocks/>
            </p:cNvSpPr>
            <p:nvPr/>
          </p:nvSpPr>
          <p:spPr bwMode="auto">
            <a:xfrm>
              <a:off x="3487738" y="2803526"/>
              <a:ext cx="1628775" cy="2147888"/>
            </a:xfrm>
            <a:custGeom>
              <a:avLst/>
              <a:gdLst>
                <a:gd name="T0" fmla="*/ 411 w 411"/>
                <a:gd name="T1" fmla="*/ 543 h 543"/>
                <a:gd name="T2" fmla="*/ 309 w 411"/>
                <a:gd name="T3" fmla="*/ 341 h 543"/>
                <a:gd name="T4" fmla="*/ 322 w 411"/>
                <a:gd name="T5" fmla="*/ 265 h 543"/>
                <a:gd name="T6" fmla="*/ 322 w 411"/>
                <a:gd name="T7" fmla="*/ 173 h 543"/>
                <a:gd name="T8" fmla="*/ 172 w 411"/>
                <a:gd name="T9" fmla="*/ 0 h 543"/>
                <a:gd name="T10" fmla="*/ 0 w 411"/>
                <a:gd name="T11" fmla="*/ 173 h 543"/>
                <a:gd name="T12" fmla="*/ 0 w 411"/>
                <a:gd name="T13" fmla="*/ 265 h 543"/>
                <a:gd name="T14" fmla="*/ 97 w 411"/>
                <a:gd name="T15" fmla="*/ 420 h 543"/>
                <a:gd name="T16" fmla="*/ 132 w 411"/>
                <a:gd name="T17" fmla="*/ 543 h 543"/>
                <a:gd name="T18" fmla="*/ 411 w 411"/>
                <a:gd name="T19" fmla="*/ 543 h 5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1" h="543">
                  <a:moveTo>
                    <a:pt x="411" y="543"/>
                  </a:moveTo>
                  <a:cubicBezTo>
                    <a:pt x="309" y="341"/>
                    <a:pt x="309" y="341"/>
                    <a:pt x="309" y="341"/>
                  </a:cubicBezTo>
                  <a:cubicBezTo>
                    <a:pt x="318" y="318"/>
                    <a:pt x="322" y="292"/>
                    <a:pt x="322" y="265"/>
                  </a:cubicBezTo>
                  <a:cubicBezTo>
                    <a:pt x="322" y="173"/>
                    <a:pt x="322" y="173"/>
                    <a:pt x="322" y="173"/>
                  </a:cubicBezTo>
                  <a:cubicBezTo>
                    <a:pt x="322" y="78"/>
                    <a:pt x="268" y="0"/>
                    <a:pt x="172" y="0"/>
                  </a:cubicBezTo>
                  <a:cubicBezTo>
                    <a:pt x="77" y="0"/>
                    <a:pt x="0" y="78"/>
                    <a:pt x="0" y="173"/>
                  </a:cubicBezTo>
                  <a:cubicBezTo>
                    <a:pt x="0" y="265"/>
                    <a:pt x="0" y="265"/>
                    <a:pt x="0" y="265"/>
                  </a:cubicBezTo>
                  <a:cubicBezTo>
                    <a:pt x="0" y="333"/>
                    <a:pt x="39" y="392"/>
                    <a:pt x="97" y="420"/>
                  </a:cubicBezTo>
                  <a:cubicBezTo>
                    <a:pt x="132" y="543"/>
                    <a:pt x="132" y="543"/>
                    <a:pt x="132" y="543"/>
                  </a:cubicBezTo>
                  <a:lnTo>
                    <a:pt x="411" y="543"/>
                  </a:lnTo>
                  <a:close/>
                </a:path>
              </a:pathLst>
            </a:custGeom>
            <a:solidFill>
              <a:srgbClr val="BC90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1" name="Rectangle 9"/>
            <p:cNvSpPr>
              <a:spLocks noChangeArrowheads="1"/>
            </p:cNvSpPr>
            <p:nvPr/>
          </p:nvSpPr>
          <p:spPr bwMode="auto">
            <a:xfrm>
              <a:off x="4491038" y="3389313"/>
              <a:ext cx="50800" cy="1857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pic>
          <p:nvPicPr>
            <p:cNvPr id="72" name="Picture 71"/>
            <p:cNvPicPr>
              <a:picLocks noChangeAspect="1"/>
            </p:cNvPicPr>
            <p:nvPr/>
          </p:nvPicPr>
          <p:blipFill>
            <a:blip r:embed="rId4"/>
            <a:stretch>
              <a:fillRect/>
            </a:stretch>
          </p:blipFill>
          <p:spPr>
            <a:xfrm>
              <a:off x="3251640" y="1630081"/>
              <a:ext cx="1250691" cy="2394182"/>
            </a:xfrm>
            <a:prstGeom prst="rect">
              <a:avLst/>
            </a:prstGeom>
          </p:spPr>
        </p:pic>
        <p:sp>
          <p:nvSpPr>
            <p:cNvPr id="73" name="Freeform 42"/>
            <p:cNvSpPr>
              <a:spLocks/>
            </p:cNvSpPr>
            <p:nvPr/>
          </p:nvSpPr>
          <p:spPr bwMode="auto">
            <a:xfrm>
              <a:off x="4205288" y="2500313"/>
              <a:ext cx="554038" cy="596900"/>
            </a:xfrm>
            <a:custGeom>
              <a:avLst/>
              <a:gdLst>
                <a:gd name="T0" fmla="*/ 14 w 140"/>
                <a:gd name="T1" fmla="*/ 24 h 151"/>
                <a:gd name="T2" fmla="*/ 14 w 140"/>
                <a:gd name="T3" fmla="*/ 74 h 151"/>
                <a:gd name="T4" fmla="*/ 77 w 140"/>
                <a:gd name="T5" fmla="*/ 137 h 151"/>
                <a:gd name="T6" fmla="*/ 127 w 140"/>
                <a:gd name="T7" fmla="*/ 137 h 151"/>
                <a:gd name="T8" fmla="*/ 127 w 140"/>
                <a:gd name="T9" fmla="*/ 87 h 151"/>
                <a:gd name="T10" fmla="*/ 39 w 140"/>
                <a:gd name="T11" fmla="*/ 0 h 151"/>
                <a:gd name="T12" fmla="*/ 14 w 140"/>
                <a:gd name="T13" fmla="*/ 24 h 151"/>
              </a:gdLst>
              <a:ahLst/>
              <a:cxnLst>
                <a:cxn ang="0">
                  <a:pos x="T0" y="T1"/>
                </a:cxn>
                <a:cxn ang="0">
                  <a:pos x="T2" y="T3"/>
                </a:cxn>
                <a:cxn ang="0">
                  <a:pos x="T4" y="T5"/>
                </a:cxn>
                <a:cxn ang="0">
                  <a:pos x="T6" y="T7"/>
                </a:cxn>
                <a:cxn ang="0">
                  <a:pos x="T8" y="T9"/>
                </a:cxn>
                <a:cxn ang="0">
                  <a:pos x="T10" y="T11"/>
                </a:cxn>
                <a:cxn ang="0">
                  <a:pos x="T12" y="T13"/>
                </a:cxn>
              </a:cxnLst>
              <a:rect l="0" t="0" r="r" b="b"/>
              <a:pathLst>
                <a:path w="140" h="151">
                  <a:moveTo>
                    <a:pt x="14" y="24"/>
                  </a:moveTo>
                  <a:cubicBezTo>
                    <a:pt x="0" y="38"/>
                    <a:pt x="0" y="61"/>
                    <a:pt x="14" y="74"/>
                  </a:cubicBezTo>
                  <a:cubicBezTo>
                    <a:pt x="77" y="137"/>
                    <a:pt x="77" y="137"/>
                    <a:pt x="77" y="137"/>
                  </a:cubicBezTo>
                  <a:cubicBezTo>
                    <a:pt x="91" y="151"/>
                    <a:pt x="113" y="151"/>
                    <a:pt x="127" y="137"/>
                  </a:cubicBezTo>
                  <a:cubicBezTo>
                    <a:pt x="140" y="124"/>
                    <a:pt x="140" y="101"/>
                    <a:pt x="127" y="87"/>
                  </a:cubicBezTo>
                  <a:cubicBezTo>
                    <a:pt x="39" y="0"/>
                    <a:pt x="39" y="0"/>
                    <a:pt x="39" y="0"/>
                  </a:cubicBezTo>
                  <a:lnTo>
                    <a:pt x="14" y="24"/>
                  </a:lnTo>
                  <a:close/>
                </a:path>
              </a:pathLst>
            </a:custGeom>
            <a:solidFill>
              <a:srgbClr val="BC90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6" name="Freeform 43"/>
            <p:cNvSpPr>
              <a:spLocks/>
            </p:cNvSpPr>
            <p:nvPr/>
          </p:nvSpPr>
          <p:spPr bwMode="auto">
            <a:xfrm>
              <a:off x="4419601" y="2768601"/>
              <a:ext cx="344488" cy="857250"/>
            </a:xfrm>
            <a:custGeom>
              <a:avLst/>
              <a:gdLst>
                <a:gd name="T0" fmla="*/ 87 w 87"/>
                <a:gd name="T1" fmla="*/ 163 h 217"/>
                <a:gd name="T2" fmla="*/ 44 w 87"/>
                <a:gd name="T3" fmla="*/ 207 h 217"/>
                <a:gd name="T4" fmla="*/ 44 w 87"/>
                <a:gd name="T5" fmla="*/ 207 h 217"/>
                <a:gd name="T6" fmla="*/ 0 w 87"/>
                <a:gd name="T7" fmla="*/ 193 h 217"/>
                <a:gd name="T8" fmla="*/ 0 w 87"/>
                <a:gd name="T9" fmla="*/ 24 h 217"/>
                <a:gd name="T10" fmla="*/ 44 w 87"/>
                <a:gd name="T11" fmla="*/ 9 h 217"/>
                <a:gd name="T12" fmla="*/ 44 w 87"/>
                <a:gd name="T13" fmla="*/ 9 h 217"/>
                <a:gd name="T14" fmla="*/ 87 w 87"/>
                <a:gd name="T15" fmla="*/ 53 h 217"/>
                <a:gd name="T16" fmla="*/ 87 w 87"/>
                <a:gd name="T17" fmla="*/ 163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7" h="217">
                  <a:moveTo>
                    <a:pt x="87" y="163"/>
                  </a:moveTo>
                  <a:cubicBezTo>
                    <a:pt x="87" y="188"/>
                    <a:pt x="68" y="207"/>
                    <a:pt x="44" y="207"/>
                  </a:cubicBezTo>
                  <a:cubicBezTo>
                    <a:pt x="44" y="207"/>
                    <a:pt x="44" y="207"/>
                    <a:pt x="44" y="207"/>
                  </a:cubicBezTo>
                  <a:cubicBezTo>
                    <a:pt x="19" y="207"/>
                    <a:pt x="0" y="217"/>
                    <a:pt x="0" y="193"/>
                  </a:cubicBezTo>
                  <a:cubicBezTo>
                    <a:pt x="0" y="24"/>
                    <a:pt x="0" y="24"/>
                    <a:pt x="0" y="24"/>
                  </a:cubicBezTo>
                  <a:cubicBezTo>
                    <a:pt x="0" y="0"/>
                    <a:pt x="19" y="9"/>
                    <a:pt x="44" y="9"/>
                  </a:cubicBezTo>
                  <a:cubicBezTo>
                    <a:pt x="44" y="9"/>
                    <a:pt x="44" y="9"/>
                    <a:pt x="44" y="9"/>
                  </a:cubicBezTo>
                  <a:cubicBezTo>
                    <a:pt x="68" y="9"/>
                    <a:pt x="87" y="29"/>
                    <a:pt x="87" y="53"/>
                  </a:cubicBezTo>
                  <a:lnTo>
                    <a:pt x="87" y="163"/>
                  </a:lnTo>
                  <a:close/>
                </a:path>
              </a:pathLst>
            </a:custGeom>
            <a:solidFill>
              <a:srgbClr val="BC90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7" name="Freeform 44"/>
            <p:cNvSpPr>
              <a:spLocks/>
            </p:cNvSpPr>
            <p:nvPr/>
          </p:nvSpPr>
          <p:spPr bwMode="auto">
            <a:xfrm>
              <a:off x="3040063" y="3654426"/>
              <a:ext cx="301625" cy="265113"/>
            </a:xfrm>
            <a:custGeom>
              <a:avLst/>
              <a:gdLst>
                <a:gd name="T0" fmla="*/ 42 w 76"/>
                <a:gd name="T1" fmla="*/ 0 h 67"/>
                <a:gd name="T2" fmla="*/ 76 w 76"/>
                <a:gd name="T3" fmla="*/ 34 h 67"/>
                <a:gd name="T4" fmla="*/ 76 w 76"/>
                <a:gd name="T5" fmla="*/ 34 h 67"/>
                <a:gd name="T6" fmla="*/ 42 w 76"/>
                <a:gd name="T7" fmla="*/ 67 h 67"/>
                <a:gd name="T8" fmla="*/ 34 w 76"/>
                <a:gd name="T9" fmla="*/ 67 h 67"/>
                <a:gd name="T10" fmla="*/ 0 w 76"/>
                <a:gd name="T11" fmla="*/ 34 h 67"/>
                <a:gd name="T12" fmla="*/ 0 w 76"/>
                <a:gd name="T13" fmla="*/ 34 h 67"/>
                <a:gd name="T14" fmla="*/ 34 w 76"/>
                <a:gd name="T15" fmla="*/ 0 h 67"/>
                <a:gd name="T16" fmla="*/ 42 w 76"/>
                <a:gd name="T17" fmla="*/ 0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7">
                  <a:moveTo>
                    <a:pt x="42" y="0"/>
                  </a:moveTo>
                  <a:cubicBezTo>
                    <a:pt x="61" y="0"/>
                    <a:pt x="76" y="15"/>
                    <a:pt x="76" y="34"/>
                  </a:cubicBezTo>
                  <a:cubicBezTo>
                    <a:pt x="76" y="34"/>
                    <a:pt x="76" y="34"/>
                    <a:pt x="76" y="34"/>
                  </a:cubicBezTo>
                  <a:cubicBezTo>
                    <a:pt x="76" y="52"/>
                    <a:pt x="61" y="67"/>
                    <a:pt x="42" y="67"/>
                  </a:cubicBezTo>
                  <a:cubicBezTo>
                    <a:pt x="34" y="67"/>
                    <a:pt x="34" y="67"/>
                    <a:pt x="34" y="67"/>
                  </a:cubicBezTo>
                  <a:cubicBezTo>
                    <a:pt x="15" y="67"/>
                    <a:pt x="0" y="52"/>
                    <a:pt x="0" y="34"/>
                  </a:cubicBezTo>
                  <a:cubicBezTo>
                    <a:pt x="0" y="34"/>
                    <a:pt x="0" y="34"/>
                    <a:pt x="0" y="34"/>
                  </a:cubicBezTo>
                  <a:cubicBezTo>
                    <a:pt x="0" y="15"/>
                    <a:pt x="15" y="0"/>
                    <a:pt x="34" y="0"/>
                  </a:cubicBezTo>
                  <a:lnTo>
                    <a:pt x="42" y="0"/>
                  </a:lnTo>
                  <a:close/>
                </a:path>
              </a:pathLst>
            </a:custGeom>
            <a:solidFill>
              <a:srgbClr val="BC90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8" name="Freeform 45"/>
            <p:cNvSpPr>
              <a:spLocks/>
            </p:cNvSpPr>
            <p:nvPr/>
          </p:nvSpPr>
          <p:spPr bwMode="auto">
            <a:xfrm>
              <a:off x="4324351" y="2500313"/>
              <a:ext cx="161925" cy="130175"/>
            </a:xfrm>
            <a:custGeom>
              <a:avLst/>
              <a:gdLst>
                <a:gd name="T0" fmla="*/ 9 w 41"/>
                <a:gd name="T1" fmla="*/ 0 h 33"/>
                <a:gd name="T2" fmla="*/ 0 w 41"/>
                <a:gd name="T3" fmla="*/ 8 h 33"/>
                <a:gd name="T4" fmla="*/ 13 w 41"/>
                <a:gd name="T5" fmla="*/ 22 h 33"/>
                <a:gd name="T6" fmla="*/ 41 w 41"/>
                <a:gd name="T7" fmla="*/ 32 h 33"/>
                <a:gd name="T8" fmla="*/ 9 w 41"/>
                <a:gd name="T9" fmla="*/ 0 h 33"/>
              </a:gdLst>
              <a:ahLst/>
              <a:cxnLst>
                <a:cxn ang="0">
                  <a:pos x="T0" y="T1"/>
                </a:cxn>
                <a:cxn ang="0">
                  <a:pos x="T2" y="T3"/>
                </a:cxn>
                <a:cxn ang="0">
                  <a:pos x="T4" y="T5"/>
                </a:cxn>
                <a:cxn ang="0">
                  <a:pos x="T6" y="T7"/>
                </a:cxn>
                <a:cxn ang="0">
                  <a:pos x="T8" y="T9"/>
                </a:cxn>
              </a:cxnLst>
              <a:rect l="0" t="0" r="r" b="b"/>
              <a:pathLst>
                <a:path w="41" h="33">
                  <a:moveTo>
                    <a:pt x="9" y="0"/>
                  </a:moveTo>
                  <a:cubicBezTo>
                    <a:pt x="0" y="8"/>
                    <a:pt x="0" y="8"/>
                    <a:pt x="0" y="8"/>
                  </a:cubicBezTo>
                  <a:cubicBezTo>
                    <a:pt x="13" y="22"/>
                    <a:pt x="13" y="22"/>
                    <a:pt x="13" y="22"/>
                  </a:cubicBezTo>
                  <a:cubicBezTo>
                    <a:pt x="21" y="29"/>
                    <a:pt x="31" y="33"/>
                    <a:pt x="41" y="32"/>
                  </a:cubicBezTo>
                  <a:lnTo>
                    <a:pt x="9" y="0"/>
                  </a:lnTo>
                  <a:close/>
                </a:path>
              </a:pathLst>
            </a:custGeom>
            <a:solidFill>
              <a:srgbClr val="E5D0C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9" name="Freeform 46"/>
            <p:cNvSpPr>
              <a:spLocks/>
            </p:cNvSpPr>
            <p:nvPr/>
          </p:nvSpPr>
          <p:spPr bwMode="auto">
            <a:xfrm>
              <a:off x="3983038" y="3354388"/>
              <a:ext cx="558800" cy="1473200"/>
            </a:xfrm>
            <a:custGeom>
              <a:avLst/>
              <a:gdLst>
                <a:gd name="T0" fmla="*/ 141 w 141"/>
                <a:gd name="T1" fmla="*/ 0 h 373"/>
                <a:gd name="T2" fmla="*/ 0 w 141"/>
                <a:gd name="T3" fmla="*/ 186 h 373"/>
                <a:gd name="T4" fmla="*/ 141 w 141"/>
                <a:gd name="T5" fmla="*/ 373 h 373"/>
                <a:gd name="T6" fmla="*/ 141 w 141"/>
                <a:gd name="T7" fmla="*/ 0 h 373"/>
              </a:gdLst>
              <a:ahLst/>
              <a:cxnLst>
                <a:cxn ang="0">
                  <a:pos x="T0" y="T1"/>
                </a:cxn>
                <a:cxn ang="0">
                  <a:pos x="T2" y="T3"/>
                </a:cxn>
                <a:cxn ang="0">
                  <a:pos x="T4" y="T5"/>
                </a:cxn>
                <a:cxn ang="0">
                  <a:pos x="T6" y="T7"/>
                </a:cxn>
              </a:cxnLst>
              <a:rect l="0" t="0" r="r" b="b"/>
              <a:pathLst>
                <a:path w="141" h="373">
                  <a:moveTo>
                    <a:pt x="141" y="0"/>
                  </a:moveTo>
                  <a:cubicBezTo>
                    <a:pt x="60" y="23"/>
                    <a:pt x="0" y="98"/>
                    <a:pt x="0" y="186"/>
                  </a:cubicBezTo>
                  <a:cubicBezTo>
                    <a:pt x="0" y="275"/>
                    <a:pt x="60" y="350"/>
                    <a:pt x="141" y="373"/>
                  </a:cubicBezTo>
                  <a:lnTo>
                    <a:pt x="141" y="0"/>
                  </a:lnTo>
                  <a:close/>
                </a:path>
              </a:pathLst>
            </a:custGeom>
            <a:solidFill>
              <a:srgbClr val="BC90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80" name="Freeform 47"/>
            <p:cNvSpPr>
              <a:spLocks/>
            </p:cNvSpPr>
            <p:nvPr/>
          </p:nvSpPr>
          <p:spPr bwMode="auto">
            <a:xfrm>
              <a:off x="3508376" y="4021138"/>
              <a:ext cx="474663" cy="304800"/>
            </a:xfrm>
            <a:custGeom>
              <a:avLst/>
              <a:gdLst>
                <a:gd name="T0" fmla="*/ 43 w 120"/>
                <a:gd name="T1" fmla="*/ 77 h 77"/>
                <a:gd name="T2" fmla="*/ 120 w 120"/>
                <a:gd name="T3" fmla="*/ 0 h 77"/>
                <a:gd name="T4" fmla="*/ 0 w 120"/>
                <a:gd name="T5" fmla="*/ 0 h 77"/>
                <a:gd name="T6" fmla="*/ 43 w 120"/>
                <a:gd name="T7" fmla="*/ 77 h 77"/>
              </a:gdLst>
              <a:ahLst/>
              <a:cxnLst>
                <a:cxn ang="0">
                  <a:pos x="T0" y="T1"/>
                </a:cxn>
                <a:cxn ang="0">
                  <a:pos x="T2" y="T3"/>
                </a:cxn>
                <a:cxn ang="0">
                  <a:pos x="T4" y="T5"/>
                </a:cxn>
                <a:cxn ang="0">
                  <a:pos x="T6" y="T7"/>
                </a:cxn>
              </a:cxnLst>
              <a:rect l="0" t="0" r="r" b="b"/>
              <a:pathLst>
                <a:path w="120" h="77">
                  <a:moveTo>
                    <a:pt x="43" y="77"/>
                  </a:moveTo>
                  <a:cubicBezTo>
                    <a:pt x="120" y="0"/>
                    <a:pt x="120" y="0"/>
                    <a:pt x="120" y="0"/>
                  </a:cubicBezTo>
                  <a:cubicBezTo>
                    <a:pt x="0" y="0"/>
                    <a:pt x="0" y="0"/>
                    <a:pt x="0" y="0"/>
                  </a:cubicBezTo>
                  <a:cubicBezTo>
                    <a:pt x="8" y="30"/>
                    <a:pt x="23" y="56"/>
                    <a:pt x="43" y="77"/>
                  </a:cubicBezTo>
                  <a:close/>
                </a:path>
              </a:pathLst>
            </a:custGeom>
            <a:solidFill>
              <a:srgbClr val="A06B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grpSp>
        <p:nvGrpSpPr>
          <p:cNvPr id="22" name="Group 21"/>
          <p:cNvGrpSpPr/>
          <p:nvPr/>
        </p:nvGrpSpPr>
        <p:grpSpPr>
          <a:xfrm>
            <a:off x="6038861" y="2467953"/>
            <a:ext cx="1824236" cy="1319636"/>
            <a:chOff x="5674339" y="2696233"/>
            <a:chExt cx="1821160" cy="1317410"/>
          </a:xfrm>
        </p:grpSpPr>
        <p:grpSp>
          <p:nvGrpSpPr>
            <p:cNvPr id="20" name="Group 19"/>
            <p:cNvGrpSpPr/>
            <p:nvPr/>
          </p:nvGrpSpPr>
          <p:grpSpPr>
            <a:xfrm rot="16200000" flipH="1">
              <a:off x="6040042" y="3194172"/>
              <a:ext cx="357778" cy="603748"/>
              <a:chOff x="6666650" y="2487132"/>
              <a:chExt cx="357778" cy="603748"/>
            </a:xfrm>
          </p:grpSpPr>
          <p:sp>
            <p:nvSpPr>
              <p:cNvPr id="537" name="Freeform 49"/>
              <p:cNvSpPr>
                <a:spLocks/>
              </p:cNvSpPr>
              <p:nvPr/>
            </p:nvSpPr>
            <p:spPr bwMode="auto">
              <a:xfrm>
                <a:off x="6666650" y="2487132"/>
                <a:ext cx="357778" cy="603748"/>
              </a:xfrm>
              <a:custGeom>
                <a:avLst/>
                <a:gdLst>
                  <a:gd name="T0" fmla="*/ 236 w 257"/>
                  <a:gd name="T1" fmla="*/ 52 h 436"/>
                  <a:gd name="T2" fmla="*/ 184 w 257"/>
                  <a:gd name="T3" fmla="*/ 33 h 436"/>
                  <a:gd name="T4" fmla="*/ 91 w 257"/>
                  <a:gd name="T5" fmla="*/ 33 h 436"/>
                  <a:gd name="T6" fmla="*/ 48 w 257"/>
                  <a:gd name="T7" fmla="*/ 0 h 436"/>
                  <a:gd name="T8" fmla="*/ 48 w 257"/>
                  <a:gd name="T9" fmla="*/ 90 h 436"/>
                  <a:gd name="T10" fmla="*/ 91 w 257"/>
                  <a:gd name="T11" fmla="*/ 57 h 436"/>
                  <a:gd name="T12" fmla="*/ 184 w 257"/>
                  <a:gd name="T13" fmla="*/ 57 h 436"/>
                  <a:gd name="T14" fmla="*/ 185 w 257"/>
                  <a:gd name="T15" fmla="*/ 57 h 436"/>
                  <a:gd name="T16" fmla="*/ 220 w 257"/>
                  <a:gd name="T17" fmla="*/ 70 h 436"/>
                  <a:gd name="T18" fmla="*/ 232 w 257"/>
                  <a:gd name="T19" fmla="*/ 105 h 436"/>
                  <a:gd name="T20" fmla="*/ 232 w 257"/>
                  <a:gd name="T21" fmla="*/ 278 h 436"/>
                  <a:gd name="T22" fmla="*/ 220 w 257"/>
                  <a:gd name="T23" fmla="*/ 313 h 436"/>
                  <a:gd name="T24" fmla="*/ 185 w 257"/>
                  <a:gd name="T25" fmla="*/ 326 h 436"/>
                  <a:gd name="T26" fmla="*/ 184 w 257"/>
                  <a:gd name="T27" fmla="*/ 326 h 436"/>
                  <a:gd name="T28" fmla="*/ 105 w 257"/>
                  <a:gd name="T29" fmla="*/ 326 h 436"/>
                  <a:gd name="T30" fmla="*/ 51 w 257"/>
                  <a:gd name="T31" fmla="*/ 346 h 436"/>
                  <a:gd name="T32" fmla="*/ 33 w 257"/>
                  <a:gd name="T33" fmla="*/ 393 h 436"/>
                  <a:gd name="T34" fmla="*/ 0 w 257"/>
                  <a:gd name="T35" fmla="*/ 436 h 436"/>
                  <a:gd name="T36" fmla="*/ 0 w 257"/>
                  <a:gd name="T37" fmla="*/ 436 h 436"/>
                  <a:gd name="T38" fmla="*/ 90 w 257"/>
                  <a:gd name="T39" fmla="*/ 436 h 436"/>
                  <a:gd name="T40" fmla="*/ 90 w 257"/>
                  <a:gd name="T41" fmla="*/ 436 h 436"/>
                  <a:gd name="T42" fmla="*/ 57 w 257"/>
                  <a:gd name="T43" fmla="*/ 393 h 436"/>
                  <a:gd name="T44" fmla="*/ 69 w 257"/>
                  <a:gd name="T45" fmla="*/ 363 h 436"/>
                  <a:gd name="T46" fmla="*/ 105 w 257"/>
                  <a:gd name="T47" fmla="*/ 350 h 436"/>
                  <a:gd name="T48" fmla="*/ 184 w 257"/>
                  <a:gd name="T49" fmla="*/ 350 h 436"/>
                  <a:gd name="T50" fmla="*/ 236 w 257"/>
                  <a:gd name="T51" fmla="*/ 331 h 436"/>
                  <a:gd name="T52" fmla="*/ 257 w 257"/>
                  <a:gd name="T53" fmla="*/ 278 h 436"/>
                  <a:gd name="T54" fmla="*/ 257 w 257"/>
                  <a:gd name="T55" fmla="*/ 105 h 436"/>
                  <a:gd name="T56" fmla="*/ 236 w 257"/>
                  <a:gd name="T57" fmla="*/ 52 h 4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57" h="436">
                    <a:moveTo>
                      <a:pt x="236" y="52"/>
                    </a:moveTo>
                    <a:cubicBezTo>
                      <a:pt x="216" y="33"/>
                      <a:pt x="188" y="33"/>
                      <a:pt x="184" y="33"/>
                    </a:cubicBezTo>
                    <a:cubicBezTo>
                      <a:pt x="91" y="33"/>
                      <a:pt x="91" y="33"/>
                      <a:pt x="91" y="33"/>
                    </a:cubicBezTo>
                    <a:cubicBezTo>
                      <a:pt x="86" y="14"/>
                      <a:pt x="69" y="0"/>
                      <a:pt x="48" y="0"/>
                    </a:cubicBezTo>
                    <a:cubicBezTo>
                      <a:pt x="48" y="90"/>
                      <a:pt x="48" y="90"/>
                      <a:pt x="48" y="90"/>
                    </a:cubicBezTo>
                    <a:cubicBezTo>
                      <a:pt x="69" y="90"/>
                      <a:pt x="86" y="76"/>
                      <a:pt x="91" y="57"/>
                    </a:cubicBezTo>
                    <a:cubicBezTo>
                      <a:pt x="184" y="57"/>
                      <a:pt x="184" y="57"/>
                      <a:pt x="184" y="57"/>
                    </a:cubicBezTo>
                    <a:cubicBezTo>
                      <a:pt x="185" y="57"/>
                      <a:pt x="185" y="57"/>
                      <a:pt x="185" y="57"/>
                    </a:cubicBezTo>
                    <a:cubicBezTo>
                      <a:pt x="185" y="57"/>
                      <a:pt x="206" y="57"/>
                      <a:pt x="220" y="70"/>
                    </a:cubicBezTo>
                    <a:cubicBezTo>
                      <a:pt x="228" y="78"/>
                      <a:pt x="232" y="90"/>
                      <a:pt x="232" y="105"/>
                    </a:cubicBezTo>
                    <a:cubicBezTo>
                      <a:pt x="232" y="278"/>
                      <a:pt x="232" y="278"/>
                      <a:pt x="232" y="278"/>
                    </a:cubicBezTo>
                    <a:cubicBezTo>
                      <a:pt x="232" y="293"/>
                      <a:pt x="228" y="305"/>
                      <a:pt x="220" y="313"/>
                    </a:cubicBezTo>
                    <a:cubicBezTo>
                      <a:pt x="206" y="327"/>
                      <a:pt x="185" y="326"/>
                      <a:pt x="185" y="326"/>
                    </a:cubicBezTo>
                    <a:cubicBezTo>
                      <a:pt x="184" y="326"/>
                      <a:pt x="184" y="326"/>
                      <a:pt x="184" y="326"/>
                    </a:cubicBezTo>
                    <a:cubicBezTo>
                      <a:pt x="184" y="326"/>
                      <a:pt x="121" y="326"/>
                      <a:pt x="105" y="326"/>
                    </a:cubicBezTo>
                    <a:cubicBezTo>
                      <a:pt x="82" y="326"/>
                      <a:pt x="64" y="333"/>
                      <a:pt x="51" y="346"/>
                    </a:cubicBezTo>
                    <a:cubicBezTo>
                      <a:pt x="36" y="362"/>
                      <a:pt x="33" y="383"/>
                      <a:pt x="33" y="393"/>
                    </a:cubicBezTo>
                    <a:cubicBezTo>
                      <a:pt x="14" y="398"/>
                      <a:pt x="0" y="415"/>
                      <a:pt x="0" y="436"/>
                    </a:cubicBezTo>
                    <a:cubicBezTo>
                      <a:pt x="0" y="436"/>
                      <a:pt x="0" y="436"/>
                      <a:pt x="0" y="436"/>
                    </a:cubicBezTo>
                    <a:cubicBezTo>
                      <a:pt x="90" y="436"/>
                      <a:pt x="90" y="436"/>
                      <a:pt x="90" y="436"/>
                    </a:cubicBezTo>
                    <a:cubicBezTo>
                      <a:pt x="90" y="436"/>
                      <a:pt x="90" y="436"/>
                      <a:pt x="90" y="436"/>
                    </a:cubicBezTo>
                    <a:cubicBezTo>
                      <a:pt x="90" y="415"/>
                      <a:pt x="76" y="398"/>
                      <a:pt x="57" y="393"/>
                    </a:cubicBezTo>
                    <a:cubicBezTo>
                      <a:pt x="58" y="386"/>
                      <a:pt x="60" y="373"/>
                      <a:pt x="69" y="363"/>
                    </a:cubicBezTo>
                    <a:cubicBezTo>
                      <a:pt x="77" y="354"/>
                      <a:pt x="89" y="350"/>
                      <a:pt x="105" y="350"/>
                    </a:cubicBezTo>
                    <a:cubicBezTo>
                      <a:pt x="121" y="350"/>
                      <a:pt x="180" y="350"/>
                      <a:pt x="184" y="350"/>
                    </a:cubicBezTo>
                    <a:cubicBezTo>
                      <a:pt x="188" y="350"/>
                      <a:pt x="216" y="351"/>
                      <a:pt x="236" y="331"/>
                    </a:cubicBezTo>
                    <a:cubicBezTo>
                      <a:pt x="250" y="318"/>
                      <a:pt x="257" y="301"/>
                      <a:pt x="257" y="278"/>
                    </a:cubicBezTo>
                    <a:cubicBezTo>
                      <a:pt x="257" y="105"/>
                      <a:pt x="257" y="105"/>
                      <a:pt x="257" y="105"/>
                    </a:cubicBezTo>
                    <a:cubicBezTo>
                      <a:pt x="257" y="83"/>
                      <a:pt x="250" y="65"/>
                      <a:pt x="236" y="52"/>
                    </a:cubicBez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63" name="Freeform 75"/>
              <p:cNvSpPr>
                <a:spLocks/>
              </p:cNvSpPr>
              <p:nvPr/>
            </p:nvSpPr>
            <p:spPr bwMode="auto">
              <a:xfrm>
                <a:off x="6724788" y="3028268"/>
                <a:ext cx="67083" cy="62610"/>
              </a:xfrm>
              <a:custGeom>
                <a:avLst/>
                <a:gdLst>
                  <a:gd name="T0" fmla="*/ 3 w 48"/>
                  <a:gd name="T1" fmla="*/ 0 h 45"/>
                  <a:gd name="T2" fmla="*/ 0 w 48"/>
                  <a:gd name="T3" fmla="*/ 0 h 45"/>
                  <a:gd name="T4" fmla="*/ 31 w 48"/>
                  <a:gd name="T5" fmla="*/ 45 h 45"/>
                  <a:gd name="T6" fmla="*/ 48 w 48"/>
                  <a:gd name="T7" fmla="*/ 45 h 45"/>
                  <a:gd name="T8" fmla="*/ 48 w 48"/>
                  <a:gd name="T9" fmla="*/ 45 h 45"/>
                  <a:gd name="T10" fmla="*/ 3 w 48"/>
                  <a:gd name="T11" fmla="*/ 0 h 45"/>
                </a:gdLst>
                <a:ahLst/>
                <a:cxnLst>
                  <a:cxn ang="0">
                    <a:pos x="T0" y="T1"/>
                  </a:cxn>
                  <a:cxn ang="0">
                    <a:pos x="T2" y="T3"/>
                  </a:cxn>
                  <a:cxn ang="0">
                    <a:pos x="T4" y="T5"/>
                  </a:cxn>
                  <a:cxn ang="0">
                    <a:pos x="T6" y="T7"/>
                  </a:cxn>
                  <a:cxn ang="0">
                    <a:pos x="T8" y="T9"/>
                  </a:cxn>
                  <a:cxn ang="0">
                    <a:pos x="T10" y="T11"/>
                  </a:cxn>
                </a:cxnLst>
                <a:rect l="0" t="0" r="r" b="b"/>
                <a:pathLst>
                  <a:path w="48" h="45">
                    <a:moveTo>
                      <a:pt x="3" y="0"/>
                    </a:moveTo>
                    <a:cubicBezTo>
                      <a:pt x="2" y="0"/>
                      <a:pt x="1" y="0"/>
                      <a:pt x="0" y="0"/>
                    </a:cubicBezTo>
                    <a:cubicBezTo>
                      <a:pt x="17" y="9"/>
                      <a:pt x="29" y="26"/>
                      <a:pt x="31" y="45"/>
                    </a:cubicBezTo>
                    <a:cubicBezTo>
                      <a:pt x="48" y="45"/>
                      <a:pt x="48" y="45"/>
                      <a:pt x="48" y="45"/>
                    </a:cubicBezTo>
                    <a:cubicBezTo>
                      <a:pt x="48" y="45"/>
                      <a:pt x="48" y="45"/>
                      <a:pt x="48" y="45"/>
                    </a:cubicBezTo>
                    <a:cubicBezTo>
                      <a:pt x="48" y="20"/>
                      <a:pt x="27" y="0"/>
                      <a:pt x="3" y="0"/>
                    </a:cubicBez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74" name="Freeform 86"/>
              <p:cNvSpPr>
                <a:spLocks/>
              </p:cNvSpPr>
              <p:nvPr/>
            </p:nvSpPr>
            <p:spPr bwMode="auto">
              <a:xfrm>
                <a:off x="6733732" y="2545270"/>
                <a:ext cx="62610" cy="67083"/>
              </a:xfrm>
              <a:custGeom>
                <a:avLst/>
                <a:gdLst>
                  <a:gd name="T0" fmla="*/ 45 w 45"/>
                  <a:gd name="T1" fmla="*/ 3 h 48"/>
                  <a:gd name="T2" fmla="*/ 45 w 45"/>
                  <a:gd name="T3" fmla="*/ 0 h 48"/>
                  <a:gd name="T4" fmla="*/ 0 w 45"/>
                  <a:gd name="T5" fmla="*/ 31 h 48"/>
                  <a:gd name="T6" fmla="*/ 0 w 45"/>
                  <a:gd name="T7" fmla="*/ 48 h 48"/>
                  <a:gd name="T8" fmla="*/ 0 w 45"/>
                  <a:gd name="T9" fmla="*/ 48 h 48"/>
                  <a:gd name="T10" fmla="*/ 45 w 45"/>
                  <a:gd name="T11" fmla="*/ 3 h 48"/>
                </a:gdLst>
                <a:ahLst/>
                <a:cxnLst>
                  <a:cxn ang="0">
                    <a:pos x="T0" y="T1"/>
                  </a:cxn>
                  <a:cxn ang="0">
                    <a:pos x="T2" y="T3"/>
                  </a:cxn>
                  <a:cxn ang="0">
                    <a:pos x="T4" y="T5"/>
                  </a:cxn>
                  <a:cxn ang="0">
                    <a:pos x="T6" y="T7"/>
                  </a:cxn>
                  <a:cxn ang="0">
                    <a:pos x="T8" y="T9"/>
                  </a:cxn>
                  <a:cxn ang="0">
                    <a:pos x="T10" y="T11"/>
                  </a:cxn>
                </a:cxnLst>
                <a:rect l="0" t="0" r="r" b="b"/>
                <a:pathLst>
                  <a:path w="45" h="48">
                    <a:moveTo>
                      <a:pt x="45" y="3"/>
                    </a:moveTo>
                    <a:cubicBezTo>
                      <a:pt x="45" y="2"/>
                      <a:pt x="45" y="1"/>
                      <a:pt x="45" y="0"/>
                    </a:cubicBezTo>
                    <a:cubicBezTo>
                      <a:pt x="36" y="18"/>
                      <a:pt x="19" y="29"/>
                      <a:pt x="0" y="31"/>
                    </a:cubicBezTo>
                    <a:cubicBezTo>
                      <a:pt x="0" y="48"/>
                      <a:pt x="0" y="48"/>
                      <a:pt x="0" y="48"/>
                    </a:cubicBezTo>
                    <a:cubicBezTo>
                      <a:pt x="0" y="48"/>
                      <a:pt x="0" y="48"/>
                      <a:pt x="0" y="48"/>
                    </a:cubicBezTo>
                    <a:cubicBezTo>
                      <a:pt x="25" y="48"/>
                      <a:pt x="45" y="28"/>
                      <a:pt x="45" y="3"/>
                    </a:cubicBez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grpSp>
          <p:nvGrpSpPr>
            <p:cNvPr id="18" name="Group 17"/>
            <p:cNvGrpSpPr/>
            <p:nvPr/>
          </p:nvGrpSpPr>
          <p:grpSpPr>
            <a:xfrm>
              <a:off x="6519068" y="3090879"/>
              <a:ext cx="976431" cy="922764"/>
              <a:chOff x="6519068" y="3090879"/>
              <a:chExt cx="976431" cy="922764"/>
            </a:xfrm>
          </p:grpSpPr>
          <p:sp>
            <p:nvSpPr>
              <p:cNvPr id="533" name="Freeform 45"/>
              <p:cNvSpPr>
                <a:spLocks/>
              </p:cNvSpPr>
              <p:nvPr/>
            </p:nvSpPr>
            <p:spPr bwMode="auto">
              <a:xfrm>
                <a:off x="6864918" y="3617108"/>
                <a:ext cx="618656" cy="77518"/>
              </a:xfrm>
              <a:custGeom>
                <a:avLst/>
                <a:gdLst>
                  <a:gd name="T0" fmla="*/ 28 w 445"/>
                  <a:gd name="T1" fmla="*/ 56 h 56"/>
                  <a:gd name="T2" fmla="*/ 417 w 445"/>
                  <a:gd name="T3" fmla="*/ 56 h 56"/>
                  <a:gd name="T4" fmla="*/ 445 w 445"/>
                  <a:gd name="T5" fmla="*/ 28 h 56"/>
                  <a:gd name="T6" fmla="*/ 417 w 445"/>
                  <a:gd name="T7" fmla="*/ 0 h 56"/>
                  <a:gd name="T8" fmla="*/ 28 w 445"/>
                  <a:gd name="T9" fmla="*/ 0 h 56"/>
                  <a:gd name="T10" fmla="*/ 0 w 445"/>
                  <a:gd name="T11" fmla="*/ 28 h 56"/>
                  <a:gd name="T12" fmla="*/ 28 w 445"/>
                  <a:gd name="T13" fmla="*/ 56 h 56"/>
                </a:gdLst>
                <a:ahLst/>
                <a:cxnLst>
                  <a:cxn ang="0">
                    <a:pos x="T0" y="T1"/>
                  </a:cxn>
                  <a:cxn ang="0">
                    <a:pos x="T2" y="T3"/>
                  </a:cxn>
                  <a:cxn ang="0">
                    <a:pos x="T4" y="T5"/>
                  </a:cxn>
                  <a:cxn ang="0">
                    <a:pos x="T6" y="T7"/>
                  </a:cxn>
                  <a:cxn ang="0">
                    <a:pos x="T8" y="T9"/>
                  </a:cxn>
                  <a:cxn ang="0">
                    <a:pos x="T10" y="T11"/>
                  </a:cxn>
                  <a:cxn ang="0">
                    <a:pos x="T12" y="T13"/>
                  </a:cxn>
                </a:cxnLst>
                <a:rect l="0" t="0" r="r" b="b"/>
                <a:pathLst>
                  <a:path w="445" h="56">
                    <a:moveTo>
                      <a:pt x="28" y="56"/>
                    </a:moveTo>
                    <a:cubicBezTo>
                      <a:pt x="417" y="56"/>
                      <a:pt x="417" y="56"/>
                      <a:pt x="417" y="56"/>
                    </a:cubicBezTo>
                    <a:cubicBezTo>
                      <a:pt x="432" y="56"/>
                      <a:pt x="445" y="44"/>
                      <a:pt x="445" y="28"/>
                    </a:cubicBezTo>
                    <a:cubicBezTo>
                      <a:pt x="445" y="13"/>
                      <a:pt x="432" y="0"/>
                      <a:pt x="417" y="0"/>
                    </a:cubicBezTo>
                    <a:cubicBezTo>
                      <a:pt x="28" y="0"/>
                      <a:pt x="28" y="0"/>
                      <a:pt x="28" y="0"/>
                    </a:cubicBezTo>
                    <a:cubicBezTo>
                      <a:pt x="12" y="0"/>
                      <a:pt x="0" y="13"/>
                      <a:pt x="0" y="28"/>
                    </a:cubicBezTo>
                    <a:cubicBezTo>
                      <a:pt x="0" y="44"/>
                      <a:pt x="12" y="56"/>
                      <a:pt x="28" y="56"/>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34" name="Freeform 46"/>
              <p:cNvSpPr>
                <a:spLocks/>
              </p:cNvSpPr>
              <p:nvPr/>
            </p:nvSpPr>
            <p:spPr bwMode="auto">
              <a:xfrm>
                <a:off x="6876843" y="3632016"/>
                <a:ext cx="618656" cy="77518"/>
              </a:xfrm>
              <a:custGeom>
                <a:avLst/>
                <a:gdLst>
                  <a:gd name="T0" fmla="*/ 28 w 445"/>
                  <a:gd name="T1" fmla="*/ 56 h 56"/>
                  <a:gd name="T2" fmla="*/ 417 w 445"/>
                  <a:gd name="T3" fmla="*/ 56 h 56"/>
                  <a:gd name="T4" fmla="*/ 445 w 445"/>
                  <a:gd name="T5" fmla="*/ 28 h 56"/>
                  <a:gd name="T6" fmla="*/ 417 w 445"/>
                  <a:gd name="T7" fmla="*/ 0 h 56"/>
                  <a:gd name="T8" fmla="*/ 28 w 445"/>
                  <a:gd name="T9" fmla="*/ 0 h 56"/>
                  <a:gd name="T10" fmla="*/ 0 w 445"/>
                  <a:gd name="T11" fmla="*/ 28 h 56"/>
                  <a:gd name="T12" fmla="*/ 28 w 445"/>
                  <a:gd name="T13" fmla="*/ 56 h 56"/>
                </a:gdLst>
                <a:ahLst/>
                <a:cxnLst>
                  <a:cxn ang="0">
                    <a:pos x="T0" y="T1"/>
                  </a:cxn>
                  <a:cxn ang="0">
                    <a:pos x="T2" y="T3"/>
                  </a:cxn>
                  <a:cxn ang="0">
                    <a:pos x="T4" y="T5"/>
                  </a:cxn>
                  <a:cxn ang="0">
                    <a:pos x="T6" y="T7"/>
                  </a:cxn>
                  <a:cxn ang="0">
                    <a:pos x="T8" y="T9"/>
                  </a:cxn>
                  <a:cxn ang="0">
                    <a:pos x="T10" y="T11"/>
                  </a:cxn>
                  <a:cxn ang="0">
                    <a:pos x="T12" y="T13"/>
                  </a:cxn>
                </a:cxnLst>
                <a:rect l="0" t="0" r="r" b="b"/>
                <a:pathLst>
                  <a:path w="445" h="56">
                    <a:moveTo>
                      <a:pt x="28" y="56"/>
                    </a:moveTo>
                    <a:cubicBezTo>
                      <a:pt x="417" y="56"/>
                      <a:pt x="417" y="56"/>
                      <a:pt x="417" y="56"/>
                    </a:cubicBezTo>
                    <a:cubicBezTo>
                      <a:pt x="432" y="56"/>
                      <a:pt x="445" y="43"/>
                      <a:pt x="445" y="28"/>
                    </a:cubicBezTo>
                    <a:cubicBezTo>
                      <a:pt x="445" y="13"/>
                      <a:pt x="432" y="0"/>
                      <a:pt x="417" y="0"/>
                    </a:cubicBezTo>
                    <a:cubicBezTo>
                      <a:pt x="28" y="0"/>
                      <a:pt x="28" y="0"/>
                      <a:pt x="28" y="0"/>
                    </a:cubicBezTo>
                    <a:cubicBezTo>
                      <a:pt x="12" y="0"/>
                      <a:pt x="0" y="13"/>
                      <a:pt x="0" y="28"/>
                    </a:cubicBezTo>
                    <a:cubicBezTo>
                      <a:pt x="0" y="43"/>
                      <a:pt x="12" y="56"/>
                      <a:pt x="28" y="56"/>
                    </a:cubicBez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35" name="Freeform 47"/>
              <p:cNvSpPr>
                <a:spLocks/>
              </p:cNvSpPr>
              <p:nvPr/>
            </p:nvSpPr>
            <p:spPr bwMode="auto">
              <a:xfrm>
                <a:off x="7361333" y="3995754"/>
                <a:ext cx="44722" cy="17889"/>
              </a:xfrm>
              <a:custGeom>
                <a:avLst/>
                <a:gdLst>
                  <a:gd name="T0" fmla="*/ 0 w 33"/>
                  <a:gd name="T1" fmla="*/ 13 h 13"/>
                  <a:gd name="T2" fmla="*/ 17 w 33"/>
                  <a:gd name="T3" fmla="*/ 0 h 13"/>
                  <a:gd name="T4" fmla="*/ 33 w 33"/>
                  <a:gd name="T5" fmla="*/ 13 h 13"/>
                  <a:gd name="T6" fmla="*/ 0 w 33"/>
                  <a:gd name="T7" fmla="*/ 13 h 13"/>
                </a:gdLst>
                <a:ahLst/>
                <a:cxnLst>
                  <a:cxn ang="0">
                    <a:pos x="T0" y="T1"/>
                  </a:cxn>
                  <a:cxn ang="0">
                    <a:pos x="T2" y="T3"/>
                  </a:cxn>
                  <a:cxn ang="0">
                    <a:pos x="T4" y="T5"/>
                  </a:cxn>
                  <a:cxn ang="0">
                    <a:pos x="T6" y="T7"/>
                  </a:cxn>
                </a:cxnLst>
                <a:rect l="0" t="0" r="r" b="b"/>
                <a:pathLst>
                  <a:path w="33" h="13">
                    <a:moveTo>
                      <a:pt x="0" y="13"/>
                    </a:moveTo>
                    <a:cubicBezTo>
                      <a:pt x="2" y="6"/>
                      <a:pt x="9" y="0"/>
                      <a:pt x="17" y="0"/>
                    </a:cubicBezTo>
                    <a:cubicBezTo>
                      <a:pt x="24" y="0"/>
                      <a:pt x="31" y="6"/>
                      <a:pt x="33" y="13"/>
                    </a:cubicBezTo>
                    <a:lnTo>
                      <a:pt x="0" y="13"/>
                    </a:lnTo>
                    <a:close/>
                  </a:path>
                </a:pathLst>
              </a:custGeom>
              <a:solidFill>
                <a:srgbClr val="409A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38" name="Freeform 50"/>
              <p:cNvSpPr>
                <a:spLocks/>
              </p:cNvSpPr>
              <p:nvPr/>
            </p:nvSpPr>
            <p:spPr bwMode="auto">
              <a:xfrm>
                <a:off x="6926038" y="3245915"/>
                <a:ext cx="226592" cy="174416"/>
              </a:xfrm>
              <a:custGeom>
                <a:avLst/>
                <a:gdLst>
                  <a:gd name="T0" fmla="*/ 29 w 163"/>
                  <a:gd name="T1" fmla="*/ 0 h 126"/>
                  <a:gd name="T2" fmla="*/ 0 w 163"/>
                  <a:gd name="T3" fmla="*/ 30 h 126"/>
                  <a:gd name="T4" fmla="*/ 0 w 163"/>
                  <a:gd name="T5" fmla="*/ 30 h 126"/>
                  <a:gd name="T6" fmla="*/ 0 w 163"/>
                  <a:gd name="T7" fmla="*/ 118 h 126"/>
                  <a:gd name="T8" fmla="*/ 0 w 163"/>
                  <a:gd name="T9" fmla="*/ 126 h 126"/>
                  <a:gd name="T10" fmla="*/ 133 w 163"/>
                  <a:gd name="T11" fmla="*/ 126 h 126"/>
                  <a:gd name="T12" fmla="*/ 163 w 163"/>
                  <a:gd name="T13" fmla="*/ 97 h 126"/>
                  <a:gd name="T14" fmla="*/ 163 w 163"/>
                  <a:gd name="T15" fmla="*/ 97 h 126"/>
                  <a:gd name="T16" fmla="*/ 163 w 163"/>
                  <a:gd name="T17" fmla="*/ 8 h 126"/>
                  <a:gd name="T18" fmla="*/ 163 w 163"/>
                  <a:gd name="T19" fmla="*/ 0 h 126"/>
                  <a:gd name="T20" fmla="*/ 29 w 163"/>
                  <a:gd name="T21" fmla="*/ 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3" h="126">
                    <a:moveTo>
                      <a:pt x="29" y="0"/>
                    </a:moveTo>
                    <a:cubicBezTo>
                      <a:pt x="13" y="0"/>
                      <a:pt x="0" y="14"/>
                      <a:pt x="0" y="30"/>
                    </a:cubicBezTo>
                    <a:cubicBezTo>
                      <a:pt x="0" y="30"/>
                      <a:pt x="0" y="30"/>
                      <a:pt x="0" y="30"/>
                    </a:cubicBezTo>
                    <a:cubicBezTo>
                      <a:pt x="0" y="118"/>
                      <a:pt x="0" y="118"/>
                      <a:pt x="0" y="118"/>
                    </a:cubicBezTo>
                    <a:cubicBezTo>
                      <a:pt x="0" y="126"/>
                      <a:pt x="0" y="126"/>
                      <a:pt x="0" y="126"/>
                    </a:cubicBezTo>
                    <a:cubicBezTo>
                      <a:pt x="133" y="126"/>
                      <a:pt x="133" y="126"/>
                      <a:pt x="133" y="126"/>
                    </a:cubicBezTo>
                    <a:cubicBezTo>
                      <a:pt x="150" y="126"/>
                      <a:pt x="163" y="113"/>
                      <a:pt x="163" y="97"/>
                    </a:cubicBezTo>
                    <a:cubicBezTo>
                      <a:pt x="163" y="97"/>
                      <a:pt x="163" y="97"/>
                      <a:pt x="163" y="97"/>
                    </a:cubicBezTo>
                    <a:cubicBezTo>
                      <a:pt x="163" y="8"/>
                      <a:pt x="163" y="8"/>
                      <a:pt x="163" y="8"/>
                    </a:cubicBezTo>
                    <a:cubicBezTo>
                      <a:pt x="163" y="0"/>
                      <a:pt x="163" y="0"/>
                      <a:pt x="163" y="0"/>
                    </a:cubicBezTo>
                    <a:lnTo>
                      <a:pt x="29" y="0"/>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39" name="Oval 51"/>
              <p:cNvSpPr>
                <a:spLocks noChangeArrowheads="1"/>
              </p:cNvSpPr>
              <p:nvPr/>
            </p:nvSpPr>
            <p:spPr bwMode="auto">
              <a:xfrm>
                <a:off x="7011010" y="3274238"/>
                <a:ext cx="120751" cy="119258"/>
              </a:xfrm>
              <a:prstGeom prst="ellipse">
                <a:avLst/>
              </a:pr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40" name="Freeform 52"/>
              <p:cNvSpPr>
                <a:spLocks/>
              </p:cNvSpPr>
              <p:nvPr/>
            </p:nvSpPr>
            <p:spPr bwMode="auto">
              <a:xfrm>
                <a:off x="7051259" y="3289146"/>
                <a:ext cx="40250" cy="89445"/>
              </a:xfrm>
              <a:custGeom>
                <a:avLst/>
                <a:gdLst>
                  <a:gd name="T0" fmla="*/ 12 w 29"/>
                  <a:gd name="T1" fmla="*/ 64 h 64"/>
                  <a:gd name="T2" fmla="*/ 12 w 29"/>
                  <a:gd name="T3" fmla="*/ 56 h 64"/>
                  <a:gd name="T4" fmla="*/ 0 w 29"/>
                  <a:gd name="T5" fmla="*/ 52 h 64"/>
                  <a:gd name="T6" fmla="*/ 2 w 29"/>
                  <a:gd name="T7" fmla="*/ 47 h 64"/>
                  <a:gd name="T8" fmla="*/ 13 w 29"/>
                  <a:gd name="T9" fmla="*/ 50 h 64"/>
                  <a:gd name="T10" fmla="*/ 22 w 29"/>
                  <a:gd name="T11" fmla="*/ 43 h 64"/>
                  <a:gd name="T12" fmla="*/ 14 w 29"/>
                  <a:gd name="T13" fmla="*/ 34 h 64"/>
                  <a:gd name="T14" fmla="*/ 1 w 29"/>
                  <a:gd name="T15" fmla="*/ 20 h 64"/>
                  <a:gd name="T16" fmla="*/ 13 w 29"/>
                  <a:gd name="T17" fmla="*/ 8 h 64"/>
                  <a:gd name="T18" fmla="*/ 13 w 29"/>
                  <a:gd name="T19" fmla="*/ 0 h 64"/>
                  <a:gd name="T20" fmla="*/ 18 w 29"/>
                  <a:gd name="T21" fmla="*/ 0 h 64"/>
                  <a:gd name="T22" fmla="*/ 18 w 29"/>
                  <a:gd name="T23" fmla="*/ 8 h 64"/>
                  <a:gd name="T24" fmla="*/ 28 w 29"/>
                  <a:gd name="T25" fmla="*/ 10 h 64"/>
                  <a:gd name="T26" fmla="*/ 26 w 29"/>
                  <a:gd name="T27" fmla="*/ 16 h 64"/>
                  <a:gd name="T28" fmla="*/ 16 w 29"/>
                  <a:gd name="T29" fmla="*/ 13 h 64"/>
                  <a:gd name="T30" fmla="*/ 8 w 29"/>
                  <a:gd name="T31" fmla="*/ 19 h 64"/>
                  <a:gd name="T32" fmla="*/ 17 w 29"/>
                  <a:gd name="T33" fmla="*/ 28 h 64"/>
                  <a:gd name="T34" fmla="*/ 29 w 29"/>
                  <a:gd name="T35" fmla="*/ 43 h 64"/>
                  <a:gd name="T36" fmla="*/ 17 w 29"/>
                  <a:gd name="T37" fmla="*/ 56 h 64"/>
                  <a:gd name="T38" fmla="*/ 16 w 29"/>
                  <a:gd name="T39" fmla="*/ 64 h 64"/>
                  <a:gd name="T40" fmla="*/ 12 w 29"/>
                  <a:gd name="T41"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9" h="64">
                    <a:moveTo>
                      <a:pt x="12" y="64"/>
                    </a:moveTo>
                    <a:cubicBezTo>
                      <a:pt x="12" y="56"/>
                      <a:pt x="12" y="56"/>
                      <a:pt x="12" y="56"/>
                    </a:cubicBezTo>
                    <a:cubicBezTo>
                      <a:pt x="7" y="56"/>
                      <a:pt x="3" y="54"/>
                      <a:pt x="0" y="52"/>
                    </a:cubicBezTo>
                    <a:cubicBezTo>
                      <a:pt x="2" y="47"/>
                      <a:pt x="2" y="47"/>
                      <a:pt x="2" y="47"/>
                    </a:cubicBezTo>
                    <a:cubicBezTo>
                      <a:pt x="5" y="49"/>
                      <a:pt x="9" y="50"/>
                      <a:pt x="13" y="50"/>
                    </a:cubicBezTo>
                    <a:cubicBezTo>
                      <a:pt x="18" y="51"/>
                      <a:pt x="22" y="47"/>
                      <a:pt x="22" y="43"/>
                    </a:cubicBezTo>
                    <a:cubicBezTo>
                      <a:pt x="22" y="39"/>
                      <a:pt x="19" y="36"/>
                      <a:pt x="14" y="34"/>
                    </a:cubicBezTo>
                    <a:cubicBezTo>
                      <a:pt x="6" y="30"/>
                      <a:pt x="1" y="27"/>
                      <a:pt x="1" y="20"/>
                    </a:cubicBezTo>
                    <a:cubicBezTo>
                      <a:pt x="1" y="14"/>
                      <a:pt x="6" y="9"/>
                      <a:pt x="13" y="8"/>
                    </a:cubicBezTo>
                    <a:cubicBezTo>
                      <a:pt x="13" y="0"/>
                      <a:pt x="13" y="0"/>
                      <a:pt x="13" y="0"/>
                    </a:cubicBezTo>
                    <a:cubicBezTo>
                      <a:pt x="18" y="0"/>
                      <a:pt x="18" y="0"/>
                      <a:pt x="18" y="0"/>
                    </a:cubicBezTo>
                    <a:cubicBezTo>
                      <a:pt x="18" y="8"/>
                      <a:pt x="18" y="8"/>
                      <a:pt x="18" y="8"/>
                    </a:cubicBezTo>
                    <a:cubicBezTo>
                      <a:pt x="22" y="8"/>
                      <a:pt x="26" y="9"/>
                      <a:pt x="28" y="10"/>
                    </a:cubicBezTo>
                    <a:cubicBezTo>
                      <a:pt x="26" y="16"/>
                      <a:pt x="26" y="16"/>
                      <a:pt x="26" y="16"/>
                    </a:cubicBezTo>
                    <a:cubicBezTo>
                      <a:pt x="24" y="15"/>
                      <a:pt x="21" y="13"/>
                      <a:pt x="16" y="13"/>
                    </a:cubicBezTo>
                    <a:cubicBezTo>
                      <a:pt x="10" y="13"/>
                      <a:pt x="8" y="16"/>
                      <a:pt x="8" y="19"/>
                    </a:cubicBezTo>
                    <a:cubicBezTo>
                      <a:pt x="8" y="23"/>
                      <a:pt x="11" y="25"/>
                      <a:pt x="17" y="28"/>
                    </a:cubicBezTo>
                    <a:cubicBezTo>
                      <a:pt x="25" y="32"/>
                      <a:pt x="29" y="36"/>
                      <a:pt x="29" y="43"/>
                    </a:cubicBezTo>
                    <a:cubicBezTo>
                      <a:pt x="29" y="49"/>
                      <a:pt x="25" y="54"/>
                      <a:pt x="17" y="56"/>
                    </a:cubicBezTo>
                    <a:cubicBezTo>
                      <a:pt x="16" y="64"/>
                      <a:pt x="16" y="64"/>
                      <a:pt x="16" y="64"/>
                    </a:cubicBezTo>
                    <a:lnTo>
                      <a:pt x="12" y="64"/>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41" name="Freeform 53"/>
              <p:cNvSpPr>
                <a:spLocks/>
              </p:cNvSpPr>
              <p:nvPr/>
            </p:nvSpPr>
            <p:spPr bwMode="auto">
              <a:xfrm>
                <a:off x="7091509" y="3171378"/>
                <a:ext cx="61120" cy="211685"/>
              </a:xfrm>
              <a:custGeom>
                <a:avLst/>
                <a:gdLst>
                  <a:gd name="T0" fmla="*/ 0 w 44"/>
                  <a:gd name="T1" fmla="*/ 0 h 154"/>
                  <a:gd name="T2" fmla="*/ 0 w 44"/>
                  <a:gd name="T3" fmla="*/ 0 h 154"/>
                  <a:gd name="T4" fmla="*/ 0 w 44"/>
                  <a:gd name="T5" fmla="*/ 110 h 154"/>
                  <a:gd name="T6" fmla="*/ 0 w 44"/>
                  <a:gd name="T7" fmla="*/ 110 h 154"/>
                  <a:gd name="T8" fmla="*/ 44 w 44"/>
                  <a:gd name="T9" fmla="*/ 154 h 154"/>
                  <a:gd name="T10" fmla="*/ 44 w 44"/>
                  <a:gd name="T11" fmla="*/ 45 h 154"/>
                  <a:gd name="T12" fmla="*/ 0 w 44"/>
                  <a:gd name="T13" fmla="*/ 0 h 154"/>
                </a:gdLst>
                <a:ahLst/>
                <a:cxnLst>
                  <a:cxn ang="0">
                    <a:pos x="T0" y="T1"/>
                  </a:cxn>
                  <a:cxn ang="0">
                    <a:pos x="T2" y="T3"/>
                  </a:cxn>
                  <a:cxn ang="0">
                    <a:pos x="T4" y="T5"/>
                  </a:cxn>
                  <a:cxn ang="0">
                    <a:pos x="T6" y="T7"/>
                  </a:cxn>
                  <a:cxn ang="0">
                    <a:pos x="T8" y="T9"/>
                  </a:cxn>
                  <a:cxn ang="0">
                    <a:pos x="T10" y="T11"/>
                  </a:cxn>
                  <a:cxn ang="0">
                    <a:pos x="T12" y="T13"/>
                  </a:cxn>
                </a:cxnLst>
                <a:rect l="0" t="0" r="r" b="b"/>
                <a:pathLst>
                  <a:path w="44" h="154">
                    <a:moveTo>
                      <a:pt x="0" y="0"/>
                    </a:moveTo>
                    <a:cubicBezTo>
                      <a:pt x="0" y="0"/>
                      <a:pt x="0" y="0"/>
                      <a:pt x="0" y="0"/>
                    </a:cubicBezTo>
                    <a:cubicBezTo>
                      <a:pt x="0" y="110"/>
                      <a:pt x="0" y="110"/>
                      <a:pt x="0" y="110"/>
                    </a:cubicBezTo>
                    <a:cubicBezTo>
                      <a:pt x="0" y="110"/>
                      <a:pt x="0" y="110"/>
                      <a:pt x="0" y="110"/>
                    </a:cubicBezTo>
                    <a:cubicBezTo>
                      <a:pt x="24" y="110"/>
                      <a:pt x="44" y="129"/>
                      <a:pt x="44" y="154"/>
                    </a:cubicBezTo>
                    <a:cubicBezTo>
                      <a:pt x="44" y="45"/>
                      <a:pt x="44" y="45"/>
                      <a:pt x="44" y="45"/>
                    </a:cubicBezTo>
                    <a:cubicBezTo>
                      <a:pt x="44" y="20"/>
                      <a:pt x="24" y="0"/>
                      <a:pt x="0" y="0"/>
                    </a:cubicBezTo>
                    <a:close/>
                  </a:path>
                </a:pathLst>
              </a:custGeom>
              <a:solidFill>
                <a:srgbClr val="409A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42" name="Freeform 54"/>
              <p:cNvSpPr>
                <a:spLocks/>
              </p:cNvSpPr>
              <p:nvPr/>
            </p:nvSpPr>
            <p:spPr bwMode="auto">
              <a:xfrm>
                <a:off x="7091509" y="3171378"/>
                <a:ext cx="61120" cy="211685"/>
              </a:xfrm>
              <a:custGeom>
                <a:avLst/>
                <a:gdLst>
                  <a:gd name="T0" fmla="*/ 0 w 44"/>
                  <a:gd name="T1" fmla="*/ 0 h 154"/>
                  <a:gd name="T2" fmla="*/ 0 w 44"/>
                  <a:gd name="T3" fmla="*/ 0 h 154"/>
                  <a:gd name="T4" fmla="*/ 0 w 44"/>
                  <a:gd name="T5" fmla="*/ 110 h 154"/>
                  <a:gd name="T6" fmla="*/ 0 w 44"/>
                  <a:gd name="T7" fmla="*/ 110 h 154"/>
                  <a:gd name="T8" fmla="*/ 44 w 44"/>
                  <a:gd name="T9" fmla="*/ 154 h 154"/>
                  <a:gd name="T10" fmla="*/ 44 w 44"/>
                  <a:gd name="T11" fmla="*/ 45 h 154"/>
                  <a:gd name="T12" fmla="*/ 0 w 44"/>
                  <a:gd name="T13" fmla="*/ 0 h 154"/>
                </a:gdLst>
                <a:ahLst/>
                <a:cxnLst>
                  <a:cxn ang="0">
                    <a:pos x="T0" y="T1"/>
                  </a:cxn>
                  <a:cxn ang="0">
                    <a:pos x="T2" y="T3"/>
                  </a:cxn>
                  <a:cxn ang="0">
                    <a:pos x="T4" y="T5"/>
                  </a:cxn>
                  <a:cxn ang="0">
                    <a:pos x="T6" y="T7"/>
                  </a:cxn>
                  <a:cxn ang="0">
                    <a:pos x="T8" y="T9"/>
                  </a:cxn>
                  <a:cxn ang="0">
                    <a:pos x="T10" y="T11"/>
                  </a:cxn>
                  <a:cxn ang="0">
                    <a:pos x="T12" y="T13"/>
                  </a:cxn>
                </a:cxnLst>
                <a:rect l="0" t="0" r="r" b="b"/>
                <a:pathLst>
                  <a:path w="44" h="154">
                    <a:moveTo>
                      <a:pt x="0" y="0"/>
                    </a:moveTo>
                    <a:cubicBezTo>
                      <a:pt x="0" y="0"/>
                      <a:pt x="0" y="0"/>
                      <a:pt x="0" y="0"/>
                    </a:cubicBezTo>
                    <a:cubicBezTo>
                      <a:pt x="0" y="110"/>
                      <a:pt x="0" y="110"/>
                      <a:pt x="0" y="110"/>
                    </a:cubicBezTo>
                    <a:cubicBezTo>
                      <a:pt x="0" y="110"/>
                      <a:pt x="0" y="110"/>
                      <a:pt x="0" y="110"/>
                    </a:cubicBezTo>
                    <a:cubicBezTo>
                      <a:pt x="24" y="110"/>
                      <a:pt x="44" y="129"/>
                      <a:pt x="44" y="154"/>
                    </a:cubicBezTo>
                    <a:cubicBezTo>
                      <a:pt x="44" y="45"/>
                      <a:pt x="44" y="45"/>
                      <a:pt x="44" y="45"/>
                    </a:cubicBezTo>
                    <a:cubicBezTo>
                      <a:pt x="44" y="20"/>
                      <a:pt x="24" y="0"/>
                      <a:pt x="0" y="0"/>
                    </a:cubicBezTo>
                    <a:close/>
                  </a:path>
                </a:pathLst>
              </a:custGeom>
              <a:solidFill>
                <a:srgbClr val="409A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43" name="Freeform 55"/>
              <p:cNvSpPr>
                <a:spLocks/>
              </p:cNvSpPr>
              <p:nvPr/>
            </p:nvSpPr>
            <p:spPr bwMode="auto">
              <a:xfrm>
                <a:off x="7152629" y="3374118"/>
                <a:ext cx="0" cy="8945"/>
              </a:xfrm>
              <a:custGeom>
                <a:avLst/>
                <a:gdLst>
                  <a:gd name="T0" fmla="*/ 7 h 7"/>
                  <a:gd name="T1" fmla="*/ 0 h 7"/>
                  <a:gd name="T2" fmla="*/ 3 h 7"/>
                  <a:gd name="T3" fmla="*/ 7 h 7"/>
                </a:gdLst>
                <a:ahLst/>
                <a:cxnLst>
                  <a:cxn ang="0">
                    <a:pos x="0" y="T0"/>
                  </a:cxn>
                  <a:cxn ang="0">
                    <a:pos x="0" y="T1"/>
                  </a:cxn>
                  <a:cxn ang="0">
                    <a:pos x="0" y="T2"/>
                  </a:cxn>
                  <a:cxn ang="0">
                    <a:pos x="0" y="T3"/>
                  </a:cxn>
                </a:cxnLst>
                <a:rect l="0" t="0" r="r" b="b"/>
                <a:pathLst>
                  <a:path h="7">
                    <a:moveTo>
                      <a:pt x="0" y="7"/>
                    </a:moveTo>
                    <a:cubicBezTo>
                      <a:pt x="0" y="0"/>
                      <a:pt x="0" y="0"/>
                      <a:pt x="0" y="0"/>
                    </a:cubicBezTo>
                    <a:cubicBezTo>
                      <a:pt x="0" y="1"/>
                      <a:pt x="0" y="2"/>
                      <a:pt x="0" y="3"/>
                    </a:cubicBezTo>
                    <a:cubicBezTo>
                      <a:pt x="0" y="4"/>
                      <a:pt x="0" y="5"/>
                      <a:pt x="0" y="7"/>
                    </a:cubicBezTo>
                    <a:close/>
                  </a:path>
                </a:pathLst>
              </a:custGeom>
              <a:solidFill>
                <a:srgbClr val="409A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44" name="Oval 56"/>
              <p:cNvSpPr>
                <a:spLocks noChangeArrowheads="1"/>
              </p:cNvSpPr>
              <p:nvPr/>
            </p:nvSpPr>
            <p:spPr bwMode="auto">
              <a:xfrm>
                <a:off x="7122816" y="3402442"/>
                <a:ext cx="193795" cy="190815"/>
              </a:xfrm>
              <a:prstGeom prst="ellipse">
                <a:avLst/>
              </a:prstGeom>
              <a:solidFill>
                <a:srgbClr val="0011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45" name="Oval 57"/>
              <p:cNvSpPr>
                <a:spLocks noChangeArrowheads="1"/>
              </p:cNvSpPr>
              <p:nvPr/>
            </p:nvSpPr>
            <p:spPr bwMode="auto">
              <a:xfrm>
                <a:off x="7122816" y="3390516"/>
                <a:ext cx="193795" cy="192305"/>
              </a:xfrm>
              <a:prstGeom prst="ellipse">
                <a:avLst/>
              </a:pr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46" name="Oval 58"/>
              <p:cNvSpPr>
                <a:spLocks noChangeArrowheads="1"/>
              </p:cNvSpPr>
              <p:nvPr/>
            </p:nvSpPr>
            <p:spPr bwMode="auto">
              <a:xfrm>
                <a:off x="7143685" y="3411388"/>
                <a:ext cx="152055" cy="150565"/>
              </a:xfrm>
              <a:prstGeom prst="ellipse">
                <a:avLst/>
              </a:pr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47" name="Oval 59"/>
              <p:cNvSpPr>
                <a:spLocks noChangeArrowheads="1"/>
              </p:cNvSpPr>
              <p:nvPr/>
            </p:nvSpPr>
            <p:spPr bwMode="auto">
              <a:xfrm>
                <a:off x="7416490" y="3655868"/>
                <a:ext cx="29814" cy="31306"/>
              </a:xfrm>
              <a:prstGeom prst="ellipse">
                <a:avLst/>
              </a:prstGeom>
              <a:solidFill>
                <a:srgbClr val="0011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48" name="Oval 60"/>
              <p:cNvSpPr>
                <a:spLocks noChangeArrowheads="1"/>
              </p:cNvSpPr>
              <p:nvPr/>
            </p:nvSpPr>
            <p:spPr bwMode="auto">
              <a:xfrm>
                <a:off x="7365805" y="3655868"/>
                <a:ext cx="32796" cy="31306"/>
              </a:xfrm>
              <a:prstGeom prst="ellipse">
                <a:avLst/>
              </a:prstGeom>
              <a:solidFill>
                <a:srgbClr val="0011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49" name="Oval 61"/>
              <p:cNvSpPr>
                <a:spLocks noChangeArrowheads="1"/>
              </p:cNvSpPr>
              <p:nvPr/>
            </p:nvSpPr>
            <p:spPr bwMode="auto">
              <a:xfrm>
                <a:off x="7318101" y="3655868"/>
                <a:ext cx="29814" cy="31306"/>
              </a:xfrm>
              <a:prstGeom prst="ellipse">
                <a:avLst/>
              </a:prstGeom>
              <a:solidFill>
                <a:srgbClr val="0011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50" name="Oval 62"/>
              <p:cNvSpPr>
                <a:spLocks noChangeArrowheads="1"/>
              </p:cNvSpPr>
              <p:nvPr/>
            </p:nvSpPr>
            <p:spPr bwMode="auto">
              <a:xfrm>
                <a:off x="7268906" y="3655868"/>
                <a:ext cx="31306" cy="31306"/>
              </a:xfrm>
              <a:prstGeom prst="ellipse">
                <a:avLst/>
              </a:prstGeom>
              <a:solidFill>
                <a:srgbClr val="0011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51" name="Oval 63"/>
              <p:cNvSpPr>
                <a:spLocks noChangeArrowheads="1"/>
              </p:cNvSpPr>
              <p:nvPr/>
            </p:nvSpPr>
            <p:spPr bwMode="auto">
              <a:xfrm>
                <a:off x="7218222" y="3655868"/>
                <a:ext cx="32796" cy="31306"/>
              </a:xfrm>
              <a:prstGeom prst="ellipse">
                <a:avLst/>
              </a:prstGeom>
              <a:solidFill>
                <a:srgbClr val="0011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52" name="Oval 64"/>
              <p:cNvSpPr>
                <a:spLocks noChangeArrowheads="1"/>
              </p:cNvSpPr>
              <p:nvPr/>
            </p:nvSpPr>
            <p:spPr bwMode="auto">
              <a:xfrm>
                <a:off x="7170518" y="3655868"/>
                <a:ext cx="29814" cy="31306"/>
              </a:xfrm>
              <a:prstGeom prst="ellipse">
                <a:avLst/>
              </a:prstGeom>
              <a:solidFill>
                <a:srgbClr val="0011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53" name="Oval 65"/>
              <p:cNvSpPr>
                <a:spLocks noChangeArrowheads="1"/>
              </p:cNvSpPr>
              <p:nvPr/>
            </p:nvSpPr>
            <p:spPr bwMode="auto">
              <a:xfrm>
                <a:off x="7121323" y="3655868"/>
                <a:ext cx="31306" cy="31306"/>
              </a:xfrm>
              <a:prstGeom prst="ellipse">
                <a:avLst/>
              </a:prstGeom>
              <a:solidFill>
                <a:srgbClr val="0011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54" name="Oval 66"/>
              <p:cNvSpPr>
                <a:spLocks noChangeArrowheads="1"/>
              </p:cNvSpPr>
              <p:nvPr/>
            </p:nvSpPr>
            <p:spPr bwMode="auto">
              <a:xfrm>
                <a:off x="7073621" y="3655868"/>
                <a:ext cx="29814" cy="31306"/>
              </a:xfrm>
              <a:prstGeom prst="ellipse">
                <a:avLst/>
              </a:prstGeom>
              <a:solidFill>
                <a:srgbClr val="0011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55" name="Oval 67"/>
              <p:cNvSpPr>
                <a:spLocks noChangeArrowheads="1"/>
              </p:cNvSpPr>
              <p:nvPr/>
            </p:nvSpPr>
            <p:spPr bwMode="auto">
              <a:xfrm>
                <a:off x="7022936" y="3655868"/>
                <a:ext cx="29814" cy="31306"/>
              </a:xfrm>
              <a:prstGeom prst="ellipse">
                <a:avLst/>
              </a:prstGeom>
              <a:solidFill>
                <a:srgbClr val="0011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56" name="Oval 68"/>
              <p:cNvSpPr>
                <a:spLocks noChangeArrowheads="1"/>
              </p:cNvSpPr>
              <p:nvPr/>
            </p:nvSpPr>
            <p:spPr bwMode="auto">
              <a:xfrm>
                <a:off x="6973741" y="3655868"/>
                <a:ext cx="31306" cy="31306"/>
              </a:xfrm>
              <a:prstGeom prst="ellipse">
                <a:avLst/>
              </a:prstGeom>
              <a:solidFill>
                <a:srgbClr val="0011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57" name="Oval 69"/>
              <p:cNvSpPr>
                <a:spLocks noChangeArrowheads="1"/>
              </p:cNvSpPr>
              <p:nvPr/>
            </p:nvSpPr>
            <p:spPr bwMode="auto">
              <a:xfrm>
                <a:off x="6926038" y="3655868"/>
                <a:ext cx="29814" cy="31306"/>
              </a:xfrm>
              <a:prstGeom prst="ellipse">
                <a:avLst/>
              </a:prstGeom>
              <a:solidFill>
                <a:srgbClr val="0011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58" name="Rectangle 70"/>
              <p:cNvSpPr>
                <a:spLocks noChangeArrowheads="1"/>
              </p:cNvSpPr>
              <p:nvPr/>
            </p:nvSpPr>
            <p:spPr bwMode="auto">
              <a:xfrm>
                <a:off x="7373258" y="3709533"/>
                <a:ext cx="20871" cy="293675"/>
              </a:xfrm>
              <a:prstGeom prst="rect">
                <a:avLst/>
              </a:prstGeom>
              <a:solidFill>
                <a:srgbClr val="409AE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59" name="Rectangle 71"/>
              <p:cNvSpPr>
                <a:spLocks noChangeArrowheads="1"/>
              </p:cNvSpPr>
              <p:nvPr/>
            </p:nvSpPr>
            <p:spPr bwMode="auto">
              <a:xfrm>
                <a:off x="7383694" y="3709533"/>
                <a:ext cx="10435" cy="293675"/>
              </a:xfrm>
              <a:prstGeom prst="rect">
                <a:avLst/>
              </a:prstGeom>
              <a:solidFill>
                <a:srgbClr val="409AE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60" name="Freeform 72"/>
              <p:cNvSpPr>
                <a:spLocks/>
              </p:cNvSpPr>
              <p:nvPr/>
            </p:nvSpPr>
            <p:spPr bwMode="auto">
              <a:xfrm>
                <a:off x="7382204" y="3995754"/>
                <a:ext cx="23852" cy="17889"/>
              </a:xfrm>
              <a:custGeom>
                <a:avLst/>
                <a:gdLst>
                  <a:gd name="T0" fmla="*/ 0 w 17"/>
                  <a:gd name="T1" fmla="*/ 0 h 13"/>
                  <a:gd name="T2" fmla="*/ 1 w 17"/>
                  <a:gd name="T3" fmla="*/ 0 h 13"/>
                  <a:gd name="T4" fmla="*/ 17 w 17"/>
                  <a:gd name="T5" fmla="*/ 13 h 13"/>
                  <a:gd name="T6" fmla="*/ 9 w 17"/>
                  <a:gd name="T7" fmla="*/ 13 h 13"/>
                  <a:gd name="T8" fmla="*/ 0 w 17"/>
                  <a:gd name="T9" fmla="*/ 0 h 13"/>
                </a:gdLst>
                <a:ahLst/>
                <a:cxnLst>
                  <a:cxn ang="0">
                    <a:pos x="T0" y="T1"/>
                  </a:cxn>
                  <a:cxn ang="0">
                    <a:pos x="T2" y="T3"/>
                  </a:cxn>
                  <a:cxn ang="0">
                    <a:pos x="T4" y="T5"/>
                  </a:cxn>
                  <a:cxn ang="0">
                    <a:pos x="T6" y="T7"/>
                  </a:cxn>
                  <a:cxn ang="0">
                    <a:pos x="T8" y="T9"/>
                  </a:cxn>
                </a:cxnLst>
                <a:rect l="0" t="0" r="r" b="b"/>
                <a:pathLst>
                  <a:path w="17" h="13">
                    <a:moveTo>
                      <a:pt x="0" y="0"/>
                    </a:moveTo>
                    <a:cubicBezTo>
                      <a:pt x="0" y="0"/>
                      <a:pt x="1" y="0"/>
                      <a:pt x="1" y="0"/>
                    </a:cubicBezTo>
                    <a:cubicBezTo>
                      <a:pt x="8" y="0"/>
                      <a:pt x="15" y="6"/>
                      <a:pt x="17" y="13"/>
                    </a:cubicBezTo>
                    <a:cubicBezTo>
                      <a:pt x="9" y="13"/>
                      <a:pt x="9" y="13"/>
                      <a:pt x="9" y="13"/>
                    </a:cubicBezTo>
                    <a:cubicBezTo>
                      <a:pt x="8" y="8"/>
                      <a:pt x="5" y="3"/>
                      <a:pt x="0" y="0"/>
                    </a:cubicBezTo>
                    <a:close/>
                  </a:path>
                </a:pathLst>
              </a:custGeom>
              <a:solidFill>
                <a:srgbClr val="409A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64" name="Freeform 76"/>
              <p:cNvSpPr>
                <a:spLocks/>
              </p:cNvSpPr>
              <p:nvPr/>
            </p:nvSpPr>
            <p:spPr bwMode="auto">
              <a:xfrm>
                <a:off x="6847029" y="3983829"/>
                <a:ext cx="34287" cy="17889"/>
              </a:xfrm>
              <a:custGeom>
                <a:avLst/>
                <a:gdLst>
                  <a:gd name="T0" fmla="*/ 0 w 24"/>
                  <a:gd name="T1" fmla="*/ 13 h 13"/>
                  <a:gd name="T2" fmla="*/ 8 w 24"/>
                  <a:gd name="T3" fmla="*/ 13 h 13"/>
                  <a:gd name="T4" fmla="*/ 24 w 24"/>
                  <a:gd name="T5" fmla="*/ 11 h 13"/>
                  <a:gd name="T6" fmla="*/ 24 w 24"/>
                  <a:gd name="T7" fmla="*/ 0 h 13"/>
                  <a:gd name="T8" fmla="*/ 0 w 24"/>
                  <a:gd name="T9" fmla="*/ 0 h 13"/>
                  <a:gd name="T10" fmla="*/ 0 w 24"/>
                  <a:gd name="T11" fmla="*/ 13 h 13"/>
                </a:gdLst>
                <a:ahLst/>
                <a:cxnLst>
                  <a:cxn ang="0">
                    <a:pos x="T0" y="T1"/>
                  </a:cxn>
                  <a:cxn ang="0">
                    <a:pos x="T2" y="T3"/>
                  </a:cxn>
                  <a:cxn ang="0">
                    <a:pos x="T4" y="T5"/>
                  </a:cxn>
                  <a:cxn ang="0">
                    <a:pos x="T6" y="T7"/>
                  </a:cxn>
                  <a:cxn ang="0">
                    <a:pos x="T8" y="T9"/>
                  </a:cxn>
                  <a:cxn ang="0">
                    <a:pos x="T10" y="T11"/>
                  </a:cxn>
                </a:cxnLst>
                <a:rect l="0" t="0" r="r" b="b"/>
                <a:pathLst>
                  <a:path w="24" h="13">
                    <a:moveTo>
                      <a:pt x="0" y="13"/>
                    </a:moveTo>
                    <a:cubicBezTo>
                      <a:pt x="8" y="13"/>
                      <a:pt x="8" y="13"/>
                      <a:pt x="8" y="13"/>
                    </a:cubicBezTo>
                    <a:cubicBezTo>
                      <a:pt x="14" y="13"/>
                      <a:pt x="19" y="13"/>
                      <a:pt x="24" y="11"/>
                    </a:cubicBezTo>
                    <a:cubicBezTo>
                      <a:pt x="24" y="0"/>
                      <a:pt x="24" y="0"/>
                      <a:pt x="24" y="0"/>
                    </a:cubicBezTo>
                    <a:cubicBezTo>
                      <a:pt x="0" y="0"/>
                      <a:pt x="0" y="0"/>
                      <a:pt x="0" y="0"/>
                    </a:cubicBezTo>
                    <a:lnTo>
                      <a:pt x="0" y="13"/>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65" name="Freeform 77"/>
              <p:cNvSpPr>
                <a:spLocks/>
              </p:cNvSpPr>
              <p:nvPr/>
            </p:nvSpPr>
            <p:spPr bwMode="auto">
              <a:xfrm>
                <a:off x="6568260" y="3983829"/>
                <a:ext cx="31306" cy="17889"/>
              </a:xfrm>
              <a:custGeom>
                <a:avLst/>
                <a:gdLst>
                  <a:gd name="T0" fmla="*/ 23 w 23"/>
                  <a:gd name="T1" fmla="*/ 13 h 13"/>
                  <a:gd name="T2" fmla="*/ 16 w 23"/>
                  <a:gd name="T3" fmla="*/ 13 h 13"/>
                  <a:gd name="T4" fmla="*/ 0 w 23"/>
                  <a:gd name="T5" fmla="*/ 11 h 13"/>
                  <a:gd name="T6" fmla="*/ 0 w 23"/>
                  <a:gd name="T7" fmla="*/ 0 h 13"/>
                  <a:gd name="T8" fmla="*/ 23 w 23"/>
                  <a:gd name="T9" fmla="*/ 0 h 13"/>
                  <a:gd name="T10" fmla="*/ 23 w 23"/>
                  <a:gd name="T11" fmla="*/ 13 h 13"/>
                </a:gdLst>
                <a:ahLst/>
                <a:cxnLst>
                  <a:cxn ang="0">
                    <a:pos x="T0" y="T1"/>
                  </a:cxn>
                  <a:cxn ang="0">
                    <a:pos x="T2" y="T3"/>
                  </a:cxn>
                  <a:cxn ang="0">
                    <a:pos x="T4" y="T5"/>
                  </a:cxn>
                  <a:cxn ang="0">
                    <a:pos x="T6" y="T7"/>
                  </a:cxn>
                  <a:cxn ang="0">
                    <a:pos x="T8" y="T9"/>
                  </a:cxn>
                  <a:cxn ang="0">
                    <a:pos x="T10" y="T11"/>
                  </a:cxn>
                </a:cxnLst>
                <a:rect l="0" t="0" r="r" b="b"/>
                <a:pathLst>
                  <a:path w="23" h="13">
                    <a:moveTo>
                      <a:pt x="23" y="13"/>
                    </a:moveTo>
                    <a:cubicBezTo>
                      <a:pt x="16" y="13"/>
                      <a:pt x="16" y="13"/>
                      <a:pt x="16" y="13"/>
                    </a:cubicBezTo>
                    <a:cubicBezTo>
                      <a:pt x="10" y="13"/>
                      <a:pt x="5" y="13"/>
                      <a:pt x="0" y="11"/>
                    </a:cubicBezTo>
                    <a:cubicBezTo>
                      <a:pt x="0" y="0"/>
                      <a:pt x="0" y="0"/>
                      <a:pt x="0" y="0"/>
                    </a:cubicBezTo>
                    <a:cubicBezTo>
                      <a:pt x="23" y="0"/>
                      <a:pt x="23" y="0"/>
                      <a:pt x="23" y="0"/>
                    </a:cubicBezTo>
                    <a:lnTo>
                      <a:pt x="23" y="13"/>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66" name="Rectangle 78"/>
              <p:cNvSpPr>
                <a:spLocks noChangeArrowheads="1"/>
              </p:cNvSpPr>
              <p:nvPr/>
            </p:nvSpPr>
            <p:spPr bwMode="auto">
              <a:xfrm>
                <a:off x="6918583" y="3171378"/>
                <a:ext cx="35778" cy="445730"/>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67" name="Freeform 79"/>
              <p:cNvSpPr>
                <a:spLocks/>
              </p:cNvSpPr>
              <p:nvPr/>
            </p:nvSpPr>
            <p:spPr bwMode="auto">
              <a:xfrm>
                <a:off x="6519068" y="3090879"/>
                <a:ext cx="409953" cy="901895"/>
              </a:xfrm>
              <a:custGeom>
                <a:avLst/>
                <a:gdLst>
                  <a:gd name="T0" fmla="*/ 294 w 294"/>
                  <a:gd name="T1" fmla="*/ 602 h 652"/>
                  <a:gd name="T2" fmla="*/ 244 w 294"/>
                  <a:gd name="T3" fmla="*/ 652 h 652"/>
                  <a:gd name="T4" fmla="*/ 51 w 294"/>
                  <a:gd name="T5" fmla="*/ 652 h 652"/>
                  <a:gd name="T6" fmla="*/ 0 w 294"/>
                  <a:gd name="T7" fmla="*/ 602 h 652"/>
                  <a:gd name="T8" fmla="*/ 0 w 294"/>
                  <a:gd name="T9" fmla="*/ 50 h 652"/>
                  <a:gd name="T10" fmla="*/ 51 w 294"/>
                  <a:gd name="T11" fmla="*/ 0 h 652"/>
                  <a:gd name="T12" fmla="*/ 244 w 294"/>
                  <a:gd name="T13" fmla="*/ 0 h 652"/>
                  <a:gd name="T14" fmla="*/ 294 w 294"/>
                  <a:gd name="T15" fmla="*/ 50 h 652"/>
                  <a:gd name="T16" fmla="*/ 294 w 294"/>
                  <a:gd name="T17" fmla="*/ 602 h 6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4" h="652">
                    <a:moveTo>
                      <a:pt x="294" y="602"/>
                    </a:moveTo>
                    <a:cubicBezTo>
                      <a:pt x="294" y="602"/>
                      <a:pt x="294" y="652"/>
                      <a:pt x="244" y="652"/>
                    </a:cubicBezTo>
                    <a:cubicBezTo>
                      <a:pt x="51" y="652"/>
                      <a:pt x="51" y="652"/>
                      <a:pt x="51" y="652"/>
                    </a:cubicBezTo>
                    <a:cubicBezTo>
                      <a:pt x="51" y="652"/>
                      <a:pt x="0" y="652"/>
                      <a:pt x="0" y="602"/>
                    </a:cubicBezTo>
                    <a:cubicBezTo>
                      <a:pt x="0" y="50"/>
                      <a:pt x="0" y="50"/>
                      <a:pt x="0" y="50"/>
                    </a:cubicBezTo>
                    <a:cubicBezTo>
                      <a:pt x="0" y="50"/>
                      <a:pt x="0" y="0"/>
                      <a:pt x="51" y="0"/>
                    </a:cubicBezTo>
                    <a:cubicBezTo>
                      <a:pt x="244" y="0"/>
                      <a:pt x="244" y="0"/>
                      <a:pt x="244" y="0"/>
                    </a:cubicBezTo>
                    <a:cubicBezTo>
                      <a:pt x="244" y="0"/>
                      <a:pt x="294" y="0"/>
                      <a:pt x="294" y="50"/>
                    </a:cubicBezTo>
                    <a:lnTo>
                      <a:pt x="294" y="602"/>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68" name="Freeform 80"/>
              <p:cNvSpPr>
                <a:spLocks/>
              </p:cNvSpPr>
              <p:nvPr/>
            </p:nvSpPr>
            <p:spPr bwMode="auto">
              <a:xfrm>
                <a:off x="6592112" y="3172868"/>
                <a:ext cx="265351" cy="132676"/>
              </a:xfrm>
              <a:custGeom>
                <a:avLst/>
                <a:gdLst>
                  <a:gd name="T0" fmla="*/ 95 w 191"/>
                  <a:gd name="T1" fmla="*/ 0 h 96"/>
                  <a:gd name="T2" fmla="*/ 0 w 191"/>
                  <a:gd name="T3" fmla="*/ 96 h 96"/>
                  <a:gd name="T4" fmla="*/ 191 w 191"/>
                  <a:gd name="T5" fmla="*/ 96 h 96"/>
                  <a:gd name="T6" fmla="*/ 95 w 191"/>
                  <a:gd name="T7" fmla="*/ 0 h 96"/>
                </a:gdLst>
                <a:ahLst/>
                <a:cxnLst>
                  <a:cxn ang="0">
                    <a:pos x="T0" y="T1"/>
                  </a:cxn>
                  <a:cxn ang="0">
                    <a:pos x="T2" y="T3"/>
                  </a:cxn>
                  <a:cxn ang="0">
                    <a:pos x="T4" y="T5"/>
                  </a:cxn>
                  <a:cxn ang="0">
                    <a:pos x="T6" y="T7"/>
                  </a:cxn>
                </a:cxnLst>
                <a:rect l="0" t="0" r="r" b="b"/>
                <a:pathLst>
                  <a:path w="191" h="96">
                    <a:moveTo>
                      <a:pt x="95" y="0"/>
                    </a:moveTo>
                    <a:cubicBezTo>
                      <a:pt x="43" y="0"/>
                      <a:pt x="0" y="43"/>
                      <a:pt x="0" y="96"/>
                    </a:cubicBezTo>
                    <a:cubicBezTo>
                      <a:pt x="191" y="96"/>
                      <a:pt x="191" y="96"/>
                      <a:pt x="191" y="96"/>
                    </a:cubicBezTo>
                    <a:cubicBezTo>
                      <a:pt x="191" y="43"/>
                      <a:pt x="148" y="0"/>
                      <a:pt x="95" y="0"/>
                    </a:cubicBez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69" name="Oval 81"/>
              <p:cNvSpPr>
                <a:spLocks noChangeArrowheads="1"/>
              </p:cNvSpPr>
              <p:nvPr/>
            </p:nvSpPr>
            <p:spPr bwMode="auto">
              <a:xfrm>
                <a:off x="6708390" y="3263803"/>
                <a:ext cx="32796" cy="31306"/>
              </a:xfrm>
              <a:prstGeom prst="ellipse">
                <a:avLst/>
              </a:prstGeom>
              <a:solidFill>
                <a:srgbClr val="A8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70" name="Freeform 82"/>
              <p:cNvSpPr>
                <a:spLocks/>
              </p:cNvSpPr>
              <p:nvPr/>
            </p:nvSpPr>
            <p:spPr bwMode="auto">
              <a:xfrm>
                <a:off x="6709880" y="3208645"/>
                <a:ext cx="98389" cy="84972"/>
              </a:xfrm>
              <a:custGeom>
                <a:avLst/>
                <a:gdLst>
                  <a:gd name="T0" fmla="*/ 7 w 66"/>
                  <a:gd name="T1" fmla="*/ 57 h 57"/>
                  <a:gd name="T2" fmla="*/ 0 w 66"/>
                  <a:gd name="T3" fmla="*/ 48 h 57"/>
                  <a:gd name="T4" fmla="*/ 66 w 66"/>
                  <a:gd name="T5" fmla="*/ 0 h 57"/>
                  <a:gd name="T6" fmla="*/ 7 w 66"/>
                  <a:gd name="T7" fmla="*/ 57 h 57"/>
                </a:gdLst>
                <a:ahLst/>
                <a:cxnLst>
                  <a:cxn ang="0">
                    <a:pos x="T0" y="T1"/>
                  </a:cxn>
                  <a:cxn ang="0">
                    <a:pos x="T2" y="T3"/>
                  </a:cxn>
                  <a:cxn ang="0">
                    <a:pos x="T4" y="T5"/>
                  </a:cxn>
                  <a:cxn ang="0">
                    <a:pos x="T6" y="T7"/>
                  </a:cxn>
                </a:cxnLst>
                <a:rect l="0" t="0" r="r" b="b"/>
                <a:pathLst>
                  <a:path w="66" h="57">
                    <a:moveTo>
                      <a:pt x="7" y="57"/>
                    </a:moveTo>
                    <a:lnTo>
                      <a:pt x="0" y="48"/>
                    </a:lnTo>
                    <a:lnTo>
                      <a:pt x="66" y="0"/>
                    </a:lnTo>
                    <a:lnTo>
                      <a:pt x="7" y="57"/>
                    </a:lnTo>
                    <a:close/>
                  </a:path>
                </a:pathLst>
              </a:custGeom>
              <a:solidFill>
                <a:srgbClr val="A8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71" name="Freeform 83"/>
              <p:cNvSpPr>
                <a:spLocks/>
              </p:cNvSpPr>
              <p:nvPr/>
            </p:nvSpPr>
            <p:spPr bwMode="auto">
              <a:xfrm>
                <a:off x="6687521" y="3344304"/>
                <a:ext cx="73046" cy="73046"/>
              </a:xfrm>
              <a:custGeom>
                <a:avLst/>
                <a:gdLst>
                  <a:gd name="T0" fmla="*/ 43 w 52"/>
                  <a:gd name="T1" fmla="*/ 42 h 52"/>
                  <a:gd name="T2" fmla="*/ 10 w 52"/>
                  <a:gd name="T3" fmla="*/ 42 h 52"/>
                  <a:gd name="T4" fmla="*/ 10 w 52"/>
                  <a:gd name="T5" fmla="*/ 9 h 52"/>
                  <a:gd name="T6" fmla="*/ 43 w 52"/>
                  <a:gd name="T7" fmla="*/ 9 h 52"/>
                  <a:gd name="T8" fmla="*/ 43 w 52"/>
                  <a:gd name="T9" fmla="*/ 42 h 52"/>
                </a:gdLst>
                <a:ahLst/>
                <a:cxnLst>
                  <a:cxn ang="0">
                    <a:pos x="T0" y="T1"/>
                  </a:cxn>
                  <a:cxn ang="0">
                    <a:pos x="T2" y="T3"/>
                  </a:cxn>
                  <a:cxn ang="0">
                    <a:pos x="T4" y="T5"/>
                  </a:cxn>
                  <a:cxn ang="0">
                    <a:pos x="T6" y="T7"/>
                  </a:cxn>
                  <a:cxn ang="0">
                    <a:pos x="T8" y="T9"/>
                  </a:cxn>
                </a:cxnLst>
                <a:rect l="0" t="0" r="r" b="b"/>
                <a:pathLst>
                  <a:path w="52" h="52">
                    <a:moveTo>
                      <a:pt x="43" y="42"/>
                    </a:moveTo>
                    <a:cubicBezTo>
                      <a:pt x="34" y="52"/>
                      <a:pt x="19" y="52"/>
                      <a:pt x="10" y="42"/>
                    </a:cubicBezTo>
                    <a:cubicBezTo>
                      <a:pt x="0" y="33"/>
                      <a:pt x="0" y="18"/>
                      <a:pt x="10" y="9"/>
                    </a:cubicBezTo>
                    <a:cubicBezTo>
                      <a:pt x="19" y="0"/>
                      <a:pt x="34" y="0"/>
                      <a:pt x="43" y="9"/>
                    </a:cubicBezTo>
                    <a:cubicBezTo>
                      <a:pt x="52" y="18"/>
                      <a:pt x="52" y="33"/>
                      <a:pt x="43" y="42"/>
                    </a:cubicBezTo>
                    <a:close/>
                  </a:path>
                </a:pathLst>
              </a:custGeom>
              <a:solidFill>
                <a:srgbClr val="FF8C00"/>
              </a:solidFill>
              <a:ln w="11113" cap="flat">
                <a:solidFill>
                  <a:srgbClr val="505050"/>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72" name="Oval 84"/>
              <p:cNvSpPr>
                <a:spLocks noChangeArrowheads="1"/>
              </p:cNvSpPr>
              <p:nvPr/>
            </p:nvSpPr>
            <p:spPr bwMode="auto">
              <a:xfrm>
                <a:off x="6794852" y="3347285"/>
                <a:ext cx="65593" cy="65593"/>
              </a:xfrm>
              <a:prstGeom prst="ellipse">
                <a:avLst/>
              </a:prstGeom>
              <a:solidFill>
                <a:srgbClr val="FF8C00"/>
              </a:solidFill>
              <a:ln w="11113" cap="flat">
                <a:solidFill>
                  <a:srgbClr val="505050"/>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73" name="Freeform 85"/>
              <p:cNvSpPr>
                <a:spLocks/>
              </p:cNvSpPr>
              <p:nvPr/>
            </p:nvSpPr>
            <p:spPr bwMode="auto">
              <a:xfrm>
                <a:off x="6584658" y="3344304"/>
                <a:ext cx="73046" cy="73046"/>
              </a:xfrm>
              <a:custGeom>
                <a:avLst/>
                <a:gdLst>
                  <a:gd name="T0" fmla="*/ 43 w 52"/>
                  <a:gd name="T1" fmla="*/ 42 h 52"/>
                  <a:gd name="T2" fmla="*/ 10 w 52"/>
                  <a:gd name="T3" fmla="*/ 42 h 52"/>
                  <a:gd name="T4" fmla="*/ 10 w 52"/>
                  <a:gd name="T5" fmla="*/ 9 h 52"/>
                  <a:gd name="T6" fmla="*/ 43 w 52"/>
                  <a:gd name="T7" fmla="*/ 9 h 52"/>
                  <a:gd name="T8" fmla="*/ 43 w 52"/>
                  <a:gd name="T9" fmla="*/ 42 h 52"/>
                </a:gdLst>
                <a:ahLst/>
                <a:cxnLst>
                  <a:cxn ang="0">
                    <a:pos x="T0" y="T1"/>
                  </a:cxn>
                  <a:cxn ang="0">
                    <a:pos x="T2" y="T3"/>
                  </a:cxn>
                  <a:cxn ang="0">
                    <a:pos x="T4" y="T5"/>
                  </a:cxn>
                  <a:cxn ang="0">
                    <a:pos x="T6" y="T7"/>
                  </a:cxn>
                  <a:cxn ang="0">
                    <a:pos x="T8" y="T9"/>
                  </a:cxn>
                </a:cxnLst>
                <a:rect l="0" t="0" r="r" b="b"/>
                <a:pathLst>
                  <a:path w="52" h="52">
                    <a:moveTo>
                      <a:pt x="43" y="42"/>
                    </a:moveTo>
                    <a:cubicBezTo>
                      <a:pt x="34" y="52"/>
                      <a:pt x="19" y="52"/>
                      <a:pt x="10" y="42"/>
                    </a:cubicBezTo>
                    <a:cubicBezTo>
                      <a:pt x="0" y="33"/>
                      <a:pt x="0" y="18"/>
                      <a:pt x="10" y="9"/>
                    </a:cubicBezTo>
                    <a:cubicBezTo>
                      <a:pt x="19" y="0"/>
                      <a:pt x="34" y="0"/>
                      <a:pt x="43" y="9"/>
                    </a:cubicBezTo>
                    <a:cubicBezTo>
                      <a:pt x="52" y="18"/>
                      <a:pt x="52" y="33"/>
                      <a:pt x="43" y="42"/>
                    </a:cubicBezTo>
                    <a:close/>
                  </a:path>
                </a:pathLst>
              </a:custGeom>
              <a:solidFill>
                <a:srgbClr val="FFA940"/>
              </a:solidFill>
              <a:ln w="11113" cap="flat">
                <a:solidFill>
                  <a:srgbClr val="505050"/>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619" name="Rectangle 139"/>
              <p:cNvSpPr>
                <a:spLocks noChangeArrowheads="1"/>
              </p:cNvSpPr>
              <p:nvPr/>
            </p:nvSpPr>
            <p:spPr bwMode="auto">
              <a:xfrm>
                <a:off x="6601057" y="3514248"/>
                <a:ext cx="28324" cy="195286"/>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620" name="Rectangle 140"/>
              <p:cNvSpPr>
                <a:spLocks noChangeArrowheads="1"/>
              </p:cNvSpPr>
              <p:nvPr/>
            </p:nvSpPr>
            <p:spPr bwMode="auto">
              <a:xfrm>
                <a:off x="6653233" y="3514248"/>
                <a:ext cx="28324" cy="195286"/>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621" name="Rectangle 141"/>
              <p:cNvSpPr>
                <a:spLocks noChangeArrowheads="1"/>
              </p:cNvSpPr>
              <p:nvPr/>
            </p:nvSpPr>
            <p:spPr bwMode="auto">
              <a:xfrm>
                <a:off x="6703918" y="3514248"/>
                <a:ext cx="26833" cy="195286"/>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622" name="Rectangle 142"/>
              <p:cNvSpPr>
                <a:spLocks noChangeArrowheads="1"/>
              </p:cNvSpPr>
              <p:nvPr/>
            </p:nvSpPr>
            <p:spPr bwMode="auto">
              <a:xfrm>
                <a:off x="6756094" y="3514248"/>
                <a:ext cx="26833" cy="195286"/>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623" name="Rectangle 143"/>
              <p:cNvSpPr>
                <a:spLocks noChangeArrowheads="1"/>
              </p:cNvSpPr>
              <p:nvPr/>
            </p:nvSpPr>
            <p:spPr bwMode="auto">
              <a:xfrm>
                <a:off x="6805289" y="3514248"/>
                <a:ext cx="28324" cy="195286"/>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624" name="Rectangle 144"/>
              <p:cNvSpPr>
                <a:spLocks noChangeArrowheads="1"/>
              </p:cNvSpPr>
              <p:nvPr/>
            </p:nvSpPr>
            <p:spPr bwMode="auto">
              <a:xfrm>
                <a:off x="6641307" y="3563440"/>
                <a:ext cx="50685" cy="17889"/>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625" name="Rectangle 145"/>
              <p:cNvSpPr>
                <a:spLocks noChangeArrowheads="1"/>
              </p:cNvSpPr>
              <p:nvPr/>
            </p:nvSpPr>
            <p:spPr bwMode="auto">
              <a:xfrm>
                <a:off x="6590622" y="3629033"/>
                <a:ext cx="49195" cy="17889"/>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626" name="Rectangle 146"/>
              <p:cNvSpPr>
                <a:spLocks noChangeArrowheads="1"/>
              </p:cNvSpPr>
              <p:nvPr/>
            </p:nvSpPr>
            <p:spPr bwMode="auto">
              <a:xfrm>
                <a:off x="6693484" y="3629033"/>
                <a:ext cx="50685" cy="17889"/>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627" name="Rectangle 147"/>
              <p:cNvSpPr>
                <a:spLocks noChangeArrowheads="1"/>
              </p:cNvSpPr>
              <p:nvPr/>
            </p:nvSpPr>
            <p:spPr bwMode="auto">
              <a:xfrm>
                <a:off x="6744169" y="3669283"/>
                <a:ext cx="49195" cy="19379"/>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628" name="Rectangle 148"/>
              <p:cNvSpPr>
                <a:spLocks noChangeArrowheads="1"/>
              </p:cNvSpPr>
              <p:nvPr/>
            </p:nvSpPr>
            <p:spPr bwMode="auto">
              <a:xfrm>
                <a:off x="6794852" y="3550025"/>
                <a:ext cx="50685" cy="17889"/>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629" name="Freeform 149"/>
              <p:cNvSpPr>
                <a:spLocks/>
              </p:cNvSpPr>
              <p:nvPr/>
            </p:nvSpPr>
            <p:spPr bwMode="auto">
              <a:xfrm>
                <a:off x="7173501" y="3445672"/>
                <a:ext cx="76027" cy="81990"/>
              </a:xfrm>
              <a:custGeom>
                <a:avLst/>
                <a:gdLst>
                  <a:gd name="T0" fmla="*/ 37 w 55"/>
                  <a:gd name="T1" fmla="*/ 51 h 59"/>
                  <a:gd name="T2" fmla="*/ 18 w 55"/>
                  <a:gd name="T3" fmla="*/ 38 h 59"/>
                  <a:gd name="T4" fmla="*/ 43 w 55"/>
                  <a:gd name="T5" fmla="*/ 38 h 59"/>
                  <a:gd name="T6" fmla="*/ 43 w 55"/>
                  <a:gd name="T7" fmla="*/ 32 h 59"/>
                  <a:gd name="T8" fmla="*/ 16 w 55"/>
                  <a:gd name="T9" fmla="*/ 32 h 59"/>
                  <a:gd name="T10" fmla="*/ 16 w 55"/>
                  <a:gd name="T11" fmla="*/ 29 h 59"/>
                  <a:gd name="T12" fmla="*/ 16 w 55"/>
                  <a:gd name="T13" fmla="*/ 26 h 59"/>
                  <a:gd name="T14" fmla="*/ 43 w 55"/>
                  <a:gd name="T15" fmla="*/ 26 h 59"/>
                  <a:gd name="T16" fmla="*/ 43 w 55"/>
                  <a:gd name="T17" fmla="*/ 20 h 59"/>
                  <a:gd name="T18" fmla="*/ 18 w 55"/>
                  <a:gd name="T19" fmla="*/ 20 h 59"/>
                  <a:gd name="T20" fmla="*/ 37 w 55"/>
                  <a:gd name="T21" fmla="*/ 8 h 59"/>
                  <a:gd name="T22" fmla="*/ 50 w 55"/>
                  <a:gd name="T23" fmla="*/ 12 h 59"/>
                  <a:gd name="T24" fmla="*/ 55 w 55"/>
                  <a:gd name="T25" fmla="*/ 6 h 59"/>
                  <a:gd name="T26" fmla="*/ 37 w 55"/>
                  <a:gd name="T27" fmla="*/ 0 h 59"/>
                  <a:gd name="T28" fmla="*/ 10 w 55"/>
                  <a:gd name="T29" fmla="*/ 20 h 59"/>
                  <a:gd name="T30" fmla="*/ 0 w 55"/>
                  <a:gd name="T31" fmla="*/ 20 h 59"/>
                  <a:gd name="T32" fmla="*/ 0 w 55"/>
                  <a:gd name="T33" fmla="*/ 26 h 59"/>
                  <a:gd name="T34" fmla="*/ 8 w 55"/>
                  <a:gd name="T35" fmla="*/ 26 h 59"/>
                  <a:gd name="T36" fmla="*/ 8 w 55"/>
                  <a:gd name="T37" fmla="*/ 29 h 59"/>
                  <a:gd name="T38" fmla="*/ 8 w 55"/>
                  <a:gd name="T39" fmla="*/ 32 h 59"/>
                  <a:gd name="T40" fmla="*/ 0 w 55"/>
                  <a:gd name="T41" fmla="*/ 32 h 59"/>
                  <a:gd name="T42" fmla="*/ 0 w 55"/>
                  <a:gd name="T43" fmla="*/ 38 h 59"/>
                  <a:gd name="T44" fmla="*/ 10 w 55"/>
                  <a:gd name="T45" fmla="*/ 38 h 59"/>
                  <a:gd name="T46" fmla="*/ 37 w 55"/>
                  <a:gd name="T47" fmla="*/ 59 h 59"/>
                  <a:gd name="T48" fmla="*/ 55 w 55"/>
                  <a:gd name="T49" fmla="*/ 52 h 59"/>
                  <a:gd name="T50" fmla="*/ 50 w 55"/>
                  <a:gd name="T51" fmla="*/ 47 h 59"/>
                  <a:gd name="T52" fmla="*/ 37 w 55"/>
                  <a:gd name="T53" fmla="*/ 51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5" h="59">
                    <a:moveTo>
                      <a:pt x="37" y="51"/>
                    </a:moveTo>
                    <a:cubicBezTo>
                      <a:pt x="29" y="51"/>
                      <a:pt x="21" y="46"/>
                      <a:pt x="18" y="38"/>
                    </a:cubicBezTo>
                    <a:cubicBezTo>
                      <a:pt x="43" y="38"/>
                      <a:pt x="43" y="38"/>
                      <a:pt x="43" y="38"/>
                    </a:cubicBezTo>
                    <a:cubicBezTo>
                      <a:pt x="43" y="32"/>
                      <a:pt x="43" y="32"/>
                      <a:pt x="43" y="32"/>
                    </a:cubicBezTo>
                    <a:cubicBezTo>
                      <a:pt x="16" y="32"/>
                      <a:pt x="16" y="32"/>
                      <a:pt x="16" y="32"/>
                    </a:cubicBezTo>
                    <a:cubicBezTo>
                      <a:pt x="16" y="31"/>
                      <a:pt x="16" y="30"/>
                      <a:pt x="16" y="29"/>
                    </a:cubicBezTo>
                    <a:cubicBezTo>
                      <a:pt x="16" y="28"/>
                      <a:pt x="16" y="27"/>
                      <a:pt x="16" y="26"/>
                    </a:cubicBezTo>
                    <a:cubicBezTo>
                      <a:pt x="43" y="26"/>
                      <a:pt x="43" y="26"/>
                      <a:pt x="43" y="26"/>
                    </a:cubicBezTo>
                    <a:cubicBezTo>
                      <a:pt x="43" y="20"/>
                      <a:pt x="43" y="20"/>
                      <a:pt x="43" y="20"/>
                    </a:cubicBezTo>
                    <a:cubicBezTo>
                      <a:pt x="18" y="20"/>
                      <a:pt x="18" y="20"/>
                      <a:pt x="18" y="20"/>
                    </a:cubicBezTo>
                    <a:cubicBezTo>
                      <a:pt x="21" y="13"/>
                      <a:pt x="29" y="8"/>
                      <a:pt x="37" y="8"/>
                    </a:cubicBezTo>
                    <a:cubicBezTo>
                      <a:pt x="42" y="8"/>
                      <a:pt x="46" y="9"/>
                      <a:pt x="50" y="12"/>
                    </a:cubicBezTo>
                    <a:cubicBezTo>
                      <a:pt x="55" y="6"/>
                      <a:pt x="55" y="6"/>
                      <a:pt x="55" y="6"/>
                    </a:cubicBezTo>
                    <a:cubicBezTo>
                      <a:pt x="50" y="2"/>
                      <a:pt x="44" y="0"/>
                      <a:pt x="37" y="0"/>
                    </a:cubicBezTo>
                    <a:cubicBezTo>
                      <a:pt x="24" y="0"/>
                      <a:pt x="13" y="9"/>
                      <a:pt x="10" y="20"/>
                    </a:cubicBezTo>
                    <a:cubicBezTo>
                      <a:pt x="0" y="20"/>
                      <a:pt x="0" y="20"/>
                      <a:pt x="0" y="20"/>
                    </a:cubicBezTo>
                    <a:cubicBezTo>
                      <a:pt x="0" y="26"/>
                      <a:pt x="0" y="26"/>
                      <a:pt x="0" y="26"/>
                    </a:cubicBezTo>
                    <a:cubicBezTo>
                      <a:pt x="8" y="26"/>
                      <a:pt x="8" y="26"/>
                      <a:pt x="8" y="26"/>
                    </a:cubicBezTo>
                    <a:cubicBezTo>
                      <a:pt x="8" y="27"/>
                      <a:pt x="8" y="28"/>
                      <a:pt x="8" y="29"/>
                    </a:cubicBezTo>
                    <a:cubicBezTo>
                      <a:pt x="8" y="30"/>
                      <a:pt x="8" y="31"/>
                      <a:pt x="8" y="32"/>
                    </a:cubicBezTo>
                    <a:cubicBezTo>
                      <a:pt x="0" y="32"/>
                      <a:pt x="0" y="32"/>
                      <a:pt x="0" y="32"/>
                    </a:cubicBezTo>
                    <a:cubicBezTo>
                      <a:pt x="0" y="38"/>
                      <a:pt x="0" y="38"/>
                      <a:pt x="0" y="38"/>
                    </a:cubicBezTo>
                    <a:cubicBezTo>
                      <a:pt x="10" y="38"/>
                      <a:pt x="10" y="38"/>
                      <a:pt x="10" y="38"/>
                    </a:cubicBezTo>
                    <a:cubicBezTo>
                      <a:pt x="13" y="50"/>
                      <a:pt x="24" y="59"/>
                      <a:pt x="37" y="59"/>
                    </a:cubicBezTo>
                    <a:cubicBezTo>
                      <a:pt x="44" y="59"/>
                      <a:pt x="50" y="56"/>
                      <a:pt x="55" y="52"/>
                    </a:cubicBezTo>
                    <a:cubicBezTo>
                      <a:pt x="50" y="47"/>
                      <a:pt x="50" y="47"/>
                      <a:pt x="50" y="47"/>
                    </a:cubicBezTo>
                    <a:cubicBezTo>
                      <a:pt x="46" y="49"/>
                      <a:pt x="42" y="51"/>
                      <a:pt x="37" y="5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630" name="Rectangle 150"/>
              <p:cNvSpPr>
                <a:spLocks noChangeArrowheads="1"/>
              </p:cNvSpPr>
              <p:nvPr/>
            </p:nvSpPr>
            <p:spPr bwMode="auto">
              <a:xfrm>
                <a:off x="6568260" y="3837736"/>
                <a:ext cx="313054" cy="745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631" name="Rectangle 151"/>
              <p:cNvSpPr>
                <a:spLocks noChangeArrowheads="1"/>
              </p:cNvSpPr>
              <p:nvPr/>
            </p:nvSpPr>
            <p:spPr bwMode="auto">
              <a:xfrm>
                <a:off x="6568260" y="3857115"/>
                <a:ext cx="313054" cy="894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632" name="Rectangle 152"/>
              <p:cNvSpPr>
                <a:spLocks noChangeArrowheads="1"/>
              </p:cNvSpPr>
              <p:nvPr/>
            </p:nvSpPr>
            <p:spPr bwMode="auto">
              <a:xfrm>
                <a:off x="6568260" y="3877986"/>
                <a:ext cx="313054" cy="745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633" name="Rectangle 153"/>
              <p:cNvSpPr>
                <a:spLocks noChangeArrowheads="1"/>
              </p:cNvSpPr>
              <p:nvPr/>
            </p:nvSpPr>
            <p:spPr bwMode="auto">
              <a:xfrm>
                <a:off x="6568260" y="3898856"/>
                <a:ext cx="313054" cy="745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grpSp>
          <p:nvGrpSpPr>
            <p:cNvPr id="12" name="Group 11"/>
            <p:cNvGrpSpPr/>
            <p:nvPr/>
          </p:nvGrpSpPr>
          <p:grpSpPr>
            <a:xfrm>
              <a:off x="5674339" y="2696233"/>
              <a:ext cx="609711" cy="691701"/>
              <a:chOff x="6150855" y="2093577"/>
              <a:chExt cx="609711" cy="691701"/>
            </a:xfrm>
          </p:grpSpPr>
          <p:sp>
            <p:nvSpPr>
              <p:cNvPr id="529" name="Freeform 41"/>
              <p:cNvSpPr>
                <a:spLocks/>
              </p:cNvSpPr>
              <p:nvPr/>
            </p:nvSpPr>
            <p:spPr bwMode="auto">
              <a:xfrm>
                <a:off x="6161290" y="2102521"/>
                <a:ext cx="588840" cy="642506"/>
              </a:xfrm>
              <a:custGeom>
                <a:avLst/>
                <a:gdLst>
                  <a:gd name="T0" fmla="*/ 0 w 424"/>
                  <a:gd name="T1" fmla="*/ 464 h 464"/>
                  <a:gd name="T2" fmla="*/ 0 w 424"/>
                  <a:gd name="T3" fmla="*/ 212 h 464"/>
                  <a:gd name="T4" fmla="*/ 212 w 424"/>
                  <a:gd name="T5" fmla="*/ 0 h 464"/>
                  <a:gd name="T6" fmla="*/ 424 w 424"/>
                  <a:gd name="T7" fmla="*/ 212 h 464"/>
                  <a:gd name="T8" fmla="*/ 424 w 424"/>
                  <a:gd name="T9" fmla="*/ 464 h 464"/>
                  <a:gd name="T10" fmla="*/ 0 w 424"/>
                  <a:gd name="T11" fmla="*/ 464 h 464"/>
                </a:gdLst>
                <a:ahLst/>
                <a:cxnLst>
                  <a:cxn ang="0">
                    <a:pos x="T0" y="T1"/>
                  </a:cxn>
                  <a:cxn ang="0">
                    <a:pos x="T2" y="T3"/>
                  </a:cxn>
                  <a:cxn ang="0">
                    <a:pos x="T4" y="T5"/>
                  </a:cxn>
                  <a:cxn ang="0">
                    <a:pos x="T6" y="T7"/>
                  </a:cxn>
                  <a:cxn ang="0">
                    <a:pos x="T8" y="T9"/>
                  </a:cxn>
                  <a:cxn ang="0">
                    <a:pos x="T10" y="T11"/>
                  </a:cxn>
                </a:cxnLst>
                <a:rect l="0" t="0" r="r" b="b"/>
                <a:pathLst>
                  <a:path w="424" h="464">
                    <a:moveTo>
                      <a:pt x="0" y="464"/>
                    </a:moveTo>
                    <a:cubicBezTo>
                      <a:pt x="0" y="212"/>
                      <a:pt x="0" y="212"/>
                      <a:pt x="0" y="212"/>
                    </a:cubicBezTo>
                    <a:cubicBezTo>
                      <a:pt x="0" y="95"/>
                      <a:pt x="95" y="0"/>
                      <a:pt x="212" y="0"/>
                    </a:cubicBezTo>
                    <a:cubicBezTo>
                      <a:pt x="329" y="0"/>
                      <a:pt x="424" y="95"/>
                      <a:pt x="424" y="212"/>
                    </a:cubicBezTo>
                    <a:cubicBezTo>
                      <a:pt x="424" y="464"/>
                      <a:pt x="424" y="464"/>
                      <a:pt x="424" y="464"/>
                    </a:cubicBezTo>
                    <a:lnTo>
                      <a:pt x="0" y="464"/>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30" name="Freeform 42"/>
              <p:cNvSpPr>
                <a:spLocks noEditPoints="1"/>
              </p:cNvSpPr>
              <p:nvPr/>
            </p:nvSpPr>
            <p:spPr bwMode="auto">
              <a:xfrm>
                <a:off x="6150855" y="2093577"/>
                <a:ext cx="609711" cy="660395"/>
              </a:xfrm>
              <a:custGeom>
                <a:avLst/>
                <a:gdLst>
                  <a:gd name="T0" fmla="*/ 219 w 438"/>
                  <a:gd name="T1" fmla="*/ 14 h 478"/>
                  <a:gd name="T2" fmla="*/ 424 w 438"/>
                  <a:gd name="T3" fmla="*/ 219 h 478"/>
                  <a:gd name="T4" fmla="*/ 424 w 438"/>
                  <a:gd name="T5" fmla="*/ 465 h 478"/>
                  <a:gd name="T6" fmla="*/ 13 w 438"/>
                  <a:gd name="T7" fmla="*/ 465 h 478"/>
                  <a:gd name="T8" fmla="*/ 13 w 438"/>
                  <a:gd name="T9" fmla="*/ 219 h 478"/>
                  <a:gd name="T10" fmla="*/ 219 w 438"/>
                  <a:gd name="T11" fmla="*/ 14 h 478"/>
                  <a:gd name="T12" fmla="*/ 219 w 438"/>
                  <a:gd name="T13" fmla="*/ 0 h 478"/>
                  <a:gd name="T14" fmla="*/ 0 w 438"/>
                  <a:gd name="T15" fmla="*/ 219 h 478"/>
                  <a:gd name="T16" fmla="*/ 0 w 438"/>
                  <a:gd name="T17" fmla="*/ 478 h 478"/>
                  <a:gd name="T18" fmla="*/ 438 w 438"/>
                  <a:gd name="T19" fmla="*/ 478 h 478"/>
                  <a:gd name="T20" fmla="*/ 438 w 438"/>
                  <a:gd name="T21" fmla="*/ 219 h 478"/>
                  <a:gd name="T22" fmla="*/ 219 w 438"/>
                  <a:gd name="T23" fmla="*/ 0 h 4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38" h="478">
                    <a:moveTo>
                      <a:pt x="219" y="14"/>
                    </a:moveTo>
                    <a:cubicBezTo>
                      <a:pt x="332" y="14"/>
                      <a:pt x="424" y="106"/>
                      <a:pt x="424" y="219"/>
                    </a:cubicBezTo>
                    <a:cubicBezTo>
                      <a:pt x="424" y="465"/>
                      <a:pt x="424" y="465"/>
                      <a:pt x="424" y="465"/>
                    </a:cubicBezTo>
                    <a:cubicBezTo>
                      <a:pt x="13" y="465"/>
                      <a:pt x="13" y="465"/>
                      <a:pt x="13" y="465"/>
                    </a:cubicBezTo>
                    <a:cubicBezTo>
                      <a:pt x="13" y="219"/>
                      <a:pt x="13" y="219"/>
                      <a:pt x="13" y="219"/>
                    </a:cubicBezTo>
                    <a:cubicBezTo>
                      <a:pt x="13" y="106"/>
                      <a:pt x="105" y="14"/>
                      <a:pt x="219" y="14"/>
                    </a:cubicBezTo>
                    <a:moveTo>
                      <a:pt x="219" y="0"/>
                    </a:moveTo>
                    <a:cubicBezTo>
                      <a:pt x="98" y="0"/>
                      <a:pt x="0" y="98"/>
                      <a:pt x="0" y="219"/>
                    </a:cubicBezTo>
                    <a:cubicBezTo>
                      <a:pt x="0" y="478"/>
                      <a:pt x="0" y="478"/>
                      <a:pt x="0" y="478"/>
                    </a:cubicBezTo>
                    <a:cubicBezTo>
                      <a:pt x="438" y="478"/>
                      <a:pt x="438" y="478"/>
                      <a:pt x="438" y="478"/>
                    </a:cubicBezTo>
                    <a:cubicBezTo>
                      <a:pt x="438" y="219"/>
                      <a:pt x="438" y="219"/>
                      <a:pt x="438" y="219"/>
                    </a:cubicBezTo>
                    <a:cubicBezTo>
                      <a:pt x="438" y="98"/>
                      <a:pt x="340" y="0"/>
                      <a:pt x="219" y="0"/>
                    </a:cubicBezTo>
                    <a:close/>
                  </a:path>
                </a:pathLst>
              </a:custGeom>
              <a:solidFill>
                <a:srgbClr val="409A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31" name="Oval 43"/>
              <p:cNvSpPr>
                <a:spLocks noChangeArrowheads="1"/>
              </p:cNvSpPr>
              <p:nvPr/>
            </p:nvSpPr>
            <p:spPr bwMode="auto">
              <a:xfrm>
                <a:off x="6208995" y="2139789"/>
                <a:ext cx="491942" cy="488961"/>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32" name="Oval 44"/>
              <p:cNvSpPr>
                <a:spLocks noChangeArrowheads="1"/>
              </p:cNvSpPr>
              <p:nvPr/>
            </p:nvSpPr>
            <p:spPr bwMode="auto">
              <a:xfrm>
                <a:off x="6252225" y="2181529"/>
                <a:ext cx="406970" cy="403988"/>
              </a:xfrm>
              <a:prstGeom prst="ellipse">
                <a:avLst/>
              </a:pr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36" name="Rectangle 48"/>
              <p:cNvSpPr>
                <a:spLocks noChangeArrowheads="1"/>
              </p:cNvSpPr>
              <p:nvPr/>
            </p:nvSpPr>
            <p:spPr bwMode="auto">
              <a:xfrm>
                <a:off x="6150855" y="2753972"/>
                <a:ext cx="608220" cy="31306"/>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75" name="Freeform 87"/>
              <p:cNvSpPr>
                <a:spLocks/>
              </p:cNvSpPr>
              <p:nvPr/>
            </p:nvSpPr>
            <p:spPr bwMode="auto">
              <a:xfrm>
                <a:off x="6290984" y="2223271"/>
                <a:ext cx="329453" cy="374174"/>
              </a:xfrm>
              <a:custGeom>
                <a:avLst/>
                <a:gdLst>
                  <a:gd name="T0" fmla="*/ 0 w 236"/>
                  <a:gd name="T1" fmla="*/ 118 h 271"/>
                  <a:gd name="T2" fmla="*/ 118 w 236"/>
                  <a:gd name="T3" fmla="*/ 0 h 271"/>
                  <a:gd name="T4" fmla="*/ 236 w 236"/>
                  <a:gd name="T5" fmla="*/ 118 h 271"/>
                  <a:gd name="T6" fmla="*/ 211 w 236"/>
                  <a:gd name="T7" fmla="*/ 190 h 271"/>
                  <a:gd name="T8" fmla="*/ 212 w 236"/>
                  <a:gd name="T9" fmla="*/ 190 h 271"/>
                  <a:gd name="T10" fmla="*/ 211 w 236"/>
                  <a:gd name="T11" fmla="*/ 190 h 271"/>
                  <a:gd name="T12" fmla="*/ 204 w 236"/>
                  <a:gd name="T13" fmla="*/ 199 h 271"/>
                  <a:gd name="T14" fmla="*/ 173 w 236"/>
                  <a:gd name="T15" fmla="*/ 271 h 271"/>
                  <a:gd name="T16" fmla="*/ 63 w 236"/>
                  <a:gd name="T17" fmla="*/ 271 h 271"/>
                  <a:gd name="T18" fmla="*/ 31 w 236"/>
                  <a:gd name="T19" fmla="*/ 199 h 271"/>
                  <a:gd name="T20" fmla="*/ 24 w 236"/>
                  <a:gd name="T21" fmla="*/ 190 h 271"/>
                  <a:gd name="T22" fmla="*/ 24 w 236"/>
                  <a:gd name="T23" fmla="*/ 190 h 271"/>
                  <a:gd name="T24" fmla="*/ 24 w 236"/>
                  <a:gd name="T25" fmla="*/ 190 h 271"/>
                  <a:gd name="T26" fmla="*/ 0 w 236"/>
                  <a:gd name="T27" fmla="*/ 118 h 271"/>
                  <a:gd name="connsiteX0" fmla="*/ 0 w 10000"/>
                  <a:gd name="connsiteY0" fmla="*/ 4354 h 10000"/>
                  <a:gd name="connsiteX1" fmla="*/ 5000 w 10000"/>
                  <a:gd name="connsiteY1" fmla="*/ 0 h 10000"/>
                  <a:gd name="connsiteX2" fmla="*/ 10000 w 10000"/>
                  <a:gd name="connsiteY2" fmla="*/ 4354 h 10000"/>
                  <a:gd name="connsiteX3" fmla="*/ 8941 w 10000"/>
                  <a:gd name="connsiteY3" fmla="*/ 7011 h 10000"/>
                  <a:gd name="connsiteX4" fmla="*/ 8983 w 10000"/>
                  <a:gd name="connsiteY4" fmla="*/ 7011 h 10000"/>
                  <a:gd name="connsiteX5" fmla="*/ 8644 w 10000"/>
                  <a:gd name="connsiteY5" fmla="*/ 7343 h 10000"/>
                  <a:gd name="connsiteX6" fmla="*/ 7331 w 10000"/>
                  <a:gd name="connsiteY6" fmla="*/ 10000 h 10000"/>
                  <a:gd name="connsiteX7" fmla="*/ 2669 w 10000"/>
                  <a:gd name="connsiteY7" fmla="*/ 10000 h 10000"/>
                  <a:gd name="connsiteX8" fmla="*/ 1314 w 10000"/>
                  <a:gd name="connsiteY8" fmla="*/ 7343 h 10000"/>
                  <a:gd name="connsiteX9" fmla="*/ 1017 w 10000"/>
                  <a:gd name="connsiteY9" fmla="*/ 7011 h 10000"/>
                  <a:gd name="connsiteX10" fmla="*/ 1017 w 10000"/>
                  <a:gd name="connsiteY10" fmla="*/ 7011 h 10000"/>
                  <a:gd name="connsiteX11" fmla="*/ 1017 w 10000"/>
                  <a:gd name="connsiteY11" fmla="*/ 7011 h 10000"/>
                  <a:gd name="connsiteX12" fmla="*/ 0 w 10000"/>
                  <a:gd name="connsiteY12" fmla="*/ 4354 h 10000"/>
                  <a:gd name="connsiteX0" fmla="*/ 0 w 10000"/>
                  <a:gd name="connsiteY0" fmla="*/ 4354 h 10000"/>
                  <a:gd name="connsiteX1" fmla="*/ 5000 w 10000"/>
                  <a:gd name="connsiteY1" fmla="*/ 0 h 10000"/>
                  <a:gd name="connsiteX2" fmla="*/ 10000 w 10000"/>
                  <a:gd name="connsiteY2" fmla="*/ 4354 h 10000"/>
                  <a:gd name="connsiteX3" fmla="*/ 8941 w 10000"/>
                  <a:gd name="connsiteY3" fmla="*/ 7011 h 10000"/>
                  <a:gd name="connsiteX4" fmla="*/ 8644 w 10000"/>
                  <a:gd name="connsiteY4" fmla="*/ 7343 h 10000"/>
                  <a:gd name="connsiteX5" fmla="*/ 7331 w 10000"/>
                  <a:gd name="connsiteY5" fmla="*/ 10000 h 10000"/>
                  <a:gd name="connsiteX6" fmla="*/ 2669 w 10000"/>
                  <a:gd name="connsiteY6" fmla="*/ 10000 h 10000"/>
                  <a:gd name="connsiteX7" fmla="*/ 1314 w 10000"/>
                  <a:gd name="connsiteY7" fmla="*/ 7343 h 10000"/>
                  <a:gd name="connsiteX8" fmla="*/ 1017 w 10000"/>
                  <a:gd name="connsiteY8" fmla="*/ 7011 h 10000"/>
                  <a:gd name="connsiteX9" fmla="*/ 1017 w 10000"/>
                  <a:gd name="connsiteY9" fmla="*/ 7011 h 10000"/>
                  <a:gd name="connsiteX10" fmla="*/ 1017 w 10000"/>
                  <a:gd name="connsiteY10" fmla="*/ 7011 h 10000"/>
                  <a:gd name="connsiteX11" fmla="*/ 0 w 10000"/>
                  <a:gd name="connsiteY11" fmla="*/ 4354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000" h="10000">
                    <a:moveTo>
                      <a:pt x="0" y="4354"/>
                    </a:moveTo>
                    <a:cubicBezTo>
                      <a:pt x="0" y="1956"/>
                      <a:pt x="2246" y="0"/>
                      <a:pt x="5000" y="0"/>
                    </a:cubicBezTo>
                    <a:cubicBezTo>
                      <a:pt x="7754" y="0"/>
                      <a:pt x="10000" y="1956"/>
                      <a:pt x="10000" y="4354"/>
                    </a:cubicBezTo>
                    <a:cubicBezTo>
                      <a:pt x="10000" y="5351"/>
                      <a:pt x="9619" y="6273"/>
                      <a:pt x="8941" y="7011"/>
                    </a:cubicBezTo>
                    <a:lnTo>
                      <a:pt x="8644" y="7343"/>
                    </a:lnTo>
                    <a:cubicBezTo>
                      <a:pt x="8178" y="7860"/>
                      <a:pt x="7331" y="8930"/>
                      <a:pt x="7331" y="10000"/>
                    </a:cubicBezTo>
                    <a:lnTo>
                      <a:pt x="2669" y="10000"/>
                    </a:lnTo>
                    <a:cubicBezTo>
                      <a:pt x="2669" y="8930"/>
                      <a:pt x="1822" y="7860"/>
                      <a:pt x="1314" y="7343"/>
                    </a:cubicBezTo>
                    <a:cubicBezTo>
                      <a:pt x="1229" y="7232"/>
                      <a:pt x="1102" y="7122"/>
                      <a:pt x="1017" y="7011"/>
                    </a:cubicBezTo>
                    <a:lnTo>
                      <a:pt x="1017" y="7011"/>
                    </a:lnTo>
                    <a:lnTo>
                      <a:pt x="1017" y="7011"/>
                    </a:lnTo>
                    <a:cubicBezTo>
                      <a:pt x="381" y="6273"/>
                      <a:pt x="0" y="5351"/>
                      <a:pt x="0" y="4354"/>
                    </a:cubicBezTo>
                  </a:path>
                </a:pathLst>
              </a:custGeom>
              <a:solidFill>
                <a:srgbClr val="FFF2E2"/>
              </a:solidFill>
              <a:ln w="190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76" name="Freeform 88"/>
              <p:cNvSpPr>
                <a:spLocks/>
              </p:cNvSpPr>
              <p:nvPr/>
            </p:nvSpPr>
            <p:spPr bwMode="auto">
              <a:xfrm>
                <a:off x="6290984" y="2223271"/>
                <a:ext cx="329453" cy="374174"/>
              </a:xfrm>
              <a:custGeom>
                <a:avLst/>
                <a:gdLst>
                  <a:gd name="T0" fmla="*/ 0 w 236"/>
                  <a:gd name="T1" fmla="*/ 118 h 271"/>
                  <a:gd name="T2" fmla="*/ 118 w 236"/>
                  <a:gd name="T3" fmla="*/ 0 h 271"/>
                  <a:gd name="T4" fmla="*/ 236 w 236"/>
                  <a:gd name="T5" fmla="*/ 118 h 271"/>
                  <a:gd name="T6" fmla="*/ 211 w 236"/>
                  <a:gd name="T7" fmla="*/ 190 h 271"/>
                  <a:gd name="T8" fmla="*/ 212 w 236"/>
                  <a:gd name="T9" fmla="*/ 190 h 271"/>
                  <a:gd name="T10" fmla="*/ 211 w 236"/>
                  <a:gd name="T11" fmla="*/ 190 h 271"/>
                  <a:gd name="T12" fmla="*/ 204 w 236"/>
                  <a:gd name="T13" fmla="*/ 199 h 271"/>
                  <a:gd name="T14" fmla="*/ 173 w 236"/>
                  <a:gd name="T15" fmla="*/ 271 h 271"/>
                  <a:gd name="T16" fmla="*/ 63 w 236"/>
                  <a:gd name="T17" fmla="*/ 271 h 271"/>
                  <a:gd name="T18" fmla="*/ 31 w 236"/>
                  <a:gd name="T19" fmla="*/ 199 h 271"/>
                  <a:gd name="T20" fmla="*/ 24 w 236"/>
                  <a:gd name="T21" fmla="*/ 190 h 271"/>
                  <a:gd name="T22" fmla="*/ 24 w 236"/>
                  <a:gd name="T23" fmla="*/ 190 h 271"/>
                  <a:gd name="T24" fmla="*/ 24 w 236"/>
                  <a:gd name="T25" fmla="*/ 190 h 271"/>
                  <a:gd name="T26" fmla="*/ 0 w 236"/>
                  <a:gd name="T27" fmla="*/ 118 h 271"/>
                  <a:gd name="connsiteX0" fmla="*/ 0 w 10000"/>
                  <a:gd name="connsiteY0" fmla="*/ 4354 h 10000"/>
                  <a:gd name="connsiteX1" fmla="*/ 5000 w 10000"/>
                  <a:gd name="connsiteY1" fmla="*/ 0 h 10000"/>
                  <a:gd name="connsiteX2" fmla="*/ 10000 w 10000"/>
                  <a:gd name="connsiteY2" fmla="*/ 4354 h 10000"/>
                  <a:gd name="connsiteX3" fmla="*/ 8941 w 10000"/>
                  <a:gd name="connsiteY3" fmla="*/ 7011 h 10000"/>
                  <a:gd name="connsiteX4" fmla="*/ 8983 w 10000"/>
                  <a:gd name="connsiteY4" fmla="*/ 7011 h 10000"/>
                  <a:gd name="connsiteX5" fmla="*/ 8644 w 10000"/>
                  <a:gd name="connsiteY5" fmla="*/ 7343 h 10000"/>
                  <a:gd name="connsiteX6" fmla="*/ 7331 w 10000"/>
                  <a:gd name="connsiteY6" fmla="*/ 10000 h 10000"/>
                  <a:gd name="connsiteX7" fmla="*/ 2669 w 10000"/>
                  <a:gd name="connsiteY7" fmla="*/ 10000 h 10000"/>
                  <a:gd name="connsiteX8" fmla="*/ 1314 w 10000"/>
                  <a:gd name="connsiteY8" fmla="*/ 7343 h 10000"/>
                  <a:gd name="connsiteX9" fmla="*/ 1017 w 10000"/>
                  <a:gd name="connsiteY9" fmla="*/ 7011 h 10000"/>
                  <a:gd name="connsiteX10" fmla="*/ 1017 w 10000"/>
                  <a:gd name="connsiteY10" fmla="*/ 7011 h 10000"/>
                  <a:gd name="connsiteX11" fmla="*/ 1017 w 10000"/>
                  <a:gd name="connsiteY11" fmla="*/ 7011 h 10000"/>
                  <a:gd name="connsiteX12" fmla="*/ 0 w 10000"/>
                  <a:gd name="connsiteY12" fmla="*/ 4354 h 10000"/>
                  <a:gd name="connsiteX0" fmla="*/ 0 w 10000"/>
                  <a:gd name="connsiteY0" fmla="*/ 4354 h 10000"/>
                  <a:gd name="connsiteX1" fmla="*/ 5000 w 10000"/>
                  <a:gd name="connsiteY1" fmla="*/ 0 h 10000"/>
                  <a:gd name="connsiteX2" fmla="*/ 10000 w 10000"/>
                  <a:gd name="connsiteY2" fmla="*/ 4354 h 10000"/>
                  <a:gd name="connsiteX3" fmla="*/ 8941 w 10000"/>
                  <a:gd name="connsiteY3" fmla="*/ 7011 h 10000"/>
                  <a:gd name="connsiteX4" fmla="*/ 8644 w 10000"/>
                  <a:gd name="connsiteY4" fmla="*/ 7343 h 10000"/>
                  <a:gd name="connsiteX5" fmla="*/ 7331 w 10000"/>
                  <a:gd name="connsiteY5" fmla="*/ 10000 h 10000"/>
                  <a:gd name="connsiteX6" fmla="*/ 2669 w 10000"/>
                  <a:gd name="connsiteY6" fmla="*/ 10000 h 10000"/>
                  <a:gd name="connsiteX7" fmla="*/ 1314 w 10000"/>
                  <a:gd name="connsiteY7" fmla="*/ 7343 h 10000"/>
                  <a:gd name="connsiteX8" fmla="*/ 1017 w 10000"/>
                  <a:gd name="connsiteY8" fmla="*/ 7011 h 10000"/>
                  <a:gd name="connsiteX9" fmla="*/ 1017 w 10000"/>
                  <a:gd name="connsiteY9" fmla="*/ 7011 h 10000"/>
                  <a:gd name="connsiteX10" fmla="*/ 1017 w 10000"/>
                  <a:gd name="connsiteY10" fmla="*/ 7011 h 10000"/>
                  <a:gd name="connsiteX11" fmla="*/ 0 w 10000"/>
                  <a:gd name="connsiteY11" fmla="*/ 4354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000" h="10000">
                    <a:moveTo>
                      <a:pt x="0" y="4354"/>
                    </a:moveTo>
                    <a:cubicBezTo>
                      <a:pt x="0" y="1956"/>
                      <a:pt x="2246" y="0"/>
                      <a:pt x="5000" y="0"/>
                    </a:cubicBezTo>
                    <a:cubicBezTo>
                      <a:pt x="7754" y="0"/>
                      <a:pt x="10000" y="1956"/>
                      <a:pt x="10000" y="4354"/>
                    </a:cubicBezTo>
                    <a:cubicBezTo>
                      <a:pt x="10000" y="5351"/>
                      <a:pt x="9619" y="6273"/>
                      <a:pt x="8941" y="7011"/>
                    </a:cubicBezTo>
                    <a:lnTo>
                      <a:pt x="8644" y="7343"/>
                    </a:lnTo>
                    <a:cubicBezTo>
                      <a:pt x="8178" y="7860"/>
                      <a:pt x="7331" y="8930"/>
                      <a:pt x="7331" y="10000"/>
                    </a:cubicBezTo>
                    <a:lnTo>
                      <a:pt x="2669" y="10000"/>
                    </a:lnTo>
                    <a:cubicBezTo>
                      <a:pt x="2669" y="8930"/>
                      <a:pt x="1822" y="7860"/>
                      <a:pt x="1314" y="7343"/>
                    </a:cubicBezTo>
                    <a:cubicBezTo>
                      <a:pt x="1229" y="7232"/>
                      <a:pt x="1102" y="7122"/>
                      <a:pt x="1017" y="7011"/>
                    </a:cubicBezTo>
                    <a:lnTo>
                      <a:pt x="1017" y="7011"/>
                    </a:lnTo>
                    <a:lnTo>
                      <a:pt x="1017" y="7011"/>
                    </a:lnTo>
                    <a:cubicBezTo>
                      <a:pt x="381" y="6273"/>
                      <a:pt x="0" y="5351"/>
                      <a:pt x="0" y="4354"/>
                    </a:cubicBezTo>
                  </a:path>
                </a:pathLst>
              </a:custGeom>
              <a:noFill/>
              <a:ln w="1905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77" name="Freeform 89"/>
              <p:cNvSpPr>
                <a:spLocks/>
              </p:cNvSpPr>
              <p:nvPr/>
            </p:nvSpPr>
            <p:spPr bwMode="auto">
              <a:xfrm>
                <a:off x="6337198" y="2267993"/>
                <a:ext cx="117768" cy="119258"/>
              </a:xfrm>
              <a:custGeom>
                <a:avLst/>
                <a:gdLst>
                  <a:gd name="T0" fmla="*/ 0 w 85"/>
                  <a:gd name="T1" fmla="*/ 86 h 86"/>
                  <a:gd name="T2" fmla="*/ 85 w 85"/>
                  <a:gd name="T3" fmla="*/ 0 h 86"/>
                </a:gdLst>
                <a:ahLst/>
                <a:cxnLst>
                  <a:cxn ang="0">
                    <a:pos x="T0" y="T1"/>
                  </a:cxn>
                  <a:cxn ang="0">
                    <a:pos x="T2" y="T3"/>
                  </a:cxn>
                </a:cxnLst>
                <a:rect l="0" t="0" r="r" b="b"/>
                <a:pathLst>
                  <a:path w="85" h="86">
                    <a:moveTo>
                      <a:pt x="0" y="86"/>
                    </a:moveTo>
                    <a:cubicBezTo>
                      <a:pt x="0" y="39"/>
                      <a:pt x="38" y="0"/>
                      <a:pt x="85" y="0"/>
                    </a:cubicBezTo>
                  </a:path>
                </a:pathLst>
              </a:custGeom>
              <a:noFill/>
              <a:ln w="15875" cap="rnd">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612" name="Freeform 132"/>
              <p:cNvSpPr>
                <a:spLocks/>
              </p:cNvSpPr>
              <p:nvPr/>
            </p:nvSpPr>
            <p:spPr bwMode="auto">
              <a:xfrm>
                <a:off x="6438567" y="2223271"/>
                <a:ext cx="181870" cy="374174"/>
              </a:xfrm>
              <a:custGeom>
                <a:avLst/>
                <a:gdLst>
                  <a:gd name="T0" fmla="*/ 130 w 130"/>
                  <a:gd name="T1" fmla="*/ 118 h 271"/>
                  <a:gd name="T2" fmla="*/ 12 w 130"/>
                  <a:gd name="T3" fmla="*/ 0 h 271"/>
                  <a:gd name="T4" fmla="*/ 0 w 130"/>
                  <a:gd name="T5" fmla="*/ 1 h 271"/>
                  <a:gd name="T6" fmla="*/ 107 w 130"/>
                  <a:gd name="T7" fmla="*/ 118 h 271"/>
                  <a:gd name="T8" fmla="*/ 82 w 130"/>
                  <a:gd name="T9" fmla="*/ 190 h 271"/>
                  <a:gd name="T10" fmla="*/ 82 w 130"/>
                  <a:gd name="T11" fmla="*/ 190 h 271"/>
                  <a:gd name="T12" fmla="*/ 82 w 130"/>
                  <a:gd name="T13" fmla="*/ 190 h 271"/>
                  <a:gd name="T14" fmla="*/ 75 w 130"/>
                  <a:gd name="T15" fmla="*/ 199 h 271"/>
                  <a:gd name="T16" fmla="*/ 43 w 130"/>
                  <a:gd name="T17" fmla="*/ 271 h 271"/>
                  <a:gd name="T18" fmla="*/ 67 w 130"/>
                  <a:gd name="T19" fmla="*/ 271 h 271"/>
                  <a:gd name="T20" fmla="*/ 98 w 130"/>
                  <a:gd name="T21" fmla="*/ 199 h 271"/>
                  <a:gd name="T22" fmla="*/ 105 w 130"/>
                  <a:gd name="T23" fmla="*/ 190 h 271"/>
                  <a:gd name="T24" fmla="*/ 105 w 130"/>
                  <a:gd name="T25" fmla="*/ 190 h 271"/>
                  <a:gd name="T26" fmla="*/ 105 w 130"/>
                  <a:gd name="T27" fmla="*/ 190 h 271"/>
                  <a:gd name="T28" fmla="*/ 130 w 130"/>
                  <a:gd name="T29" fmla="*/ 118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30" h="271">
                    <a:moveTo>
                      <a:pt x="130" y="118"/>
                    </a:moveTo>
                    <a:cubicBezTo>
                      <a:pt x="130" y="53"/>
                      <a:pt x="77" y="0"/>
                      <a:pt x="12" y="0"/>
                    </a:cubicBezTo>
                    <a:cubicBezTo>
                      <a:pt x="8" y="0"/>
                      <a:pt x="4" y="1"/>
                      <a:pt x="0" y="1"/>
                    </a:cubicBezTo>
                    <a:cubicBezTo>
                      <a:pt x="60" y="7"/>
                      <a:pt x="107" y="57"/>
                      <a:pt x="107" y="118"/>
                    </a:cubicBezTo>
                    <a:cubicBezTo>
                      <a:pt x="107" y="145"/>
                      <a:pt x="97" y="170"/>
                      <a:pt x="82" y="190"/>
                    </a:cubicBezTo>
                    <a:cubicBezTo>
                      <a:pt x="82" y="190"/>
                      <a:pt x="82" y="190"/>
                      <a:pt x="82" y="190"/>
                    </a:cubicBezTo>
                    <a:cubicBezTo>
                      <a:pt x="82" y="190"/>
                      <a:pt x="82" y="190"/>
                      <a:pt x="82" y="190"/>
                    </a:cubicBezTo>
                    <a:cubicBezTo>
                      <a:pt x="80" y="193"/>
                      <a:pt x="77" y="196"/>
                      <a:pt x="75" y="199"/>
                    </a:cubicBezTo>
                    <a:cubicBezTo>
                      <a:pt x="64" y="213"/>
                      <a:pt x="43" y="242"/>
                      <a:pt x="43" y="271"/>
                    </a:cubicBezTo>
                    <a:cubicBezTo>
                      <a:pt x="67" y="271"/>
                      <a:pt x="67" y="271"/>
                      <a:pt x="67" y="271"/>
                    </a:cubicBezTo>
                    <a:cubicBezTo>
                      <a:pt x="67" y="242"/>
                      <a:pt x="87" y="213"/>
                      <a:pt x="98" y="199"/>
                    </a:cubicBezTo>
                    <a:cubicBezTo>
                      <a:pt x="101" y="196"/>
                      <a:pt x="103" y="193"/>
                      <a:pt x="105" y="190"/>
                    </a:cubicBezTo>
                    <a:cubicBezTo>
                      <a:pt x="105" y="190"/>
                      <a:pt x="105" y="190"/>
                      <a:pt x="105" y="190"/>
                    </a:cubicBezTo>
                    <a:cubicBezTo>
                      <a:pt x="105" y="190"/>
                      <a:pt x="105" y="190"/>
                      <a:pt x="105" y="190"/>
                    </a:cubicBezTo>
                    <a:cubicBezTo>
                      <a:pt x="121" y="170"/>
                      <a:pt x="130" y="145"/>
                      <a:pt x="130" y="118"/>
                    </a:cubicBezTo>
                  </a:path>
                </a:pathLst>
              </a:custGeom>
              <a:solidFill>
                <a:srgbClr val="FFE3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634" name="Freeform 154"/>
              <p:cNvSpPr>
                <a:spLocks/>
              </p:cNvSpPr>
              <p:nvPr/>
            </p:nvSpPr>
            <p:spPr bwMode="auto">
              <a:xfrm>
                <a:off x="6368503" y="2595955"/>
                <a:ext cx="172926" cy="25342"/>
              </a:xfrm>
              <a:custGeom>
                <a:avLst/>
                <a:gdLst>
                  <a:gd name="T0" fmla="*/ 119 w 125"/>
                  <a:gd name="T1" fmla="*/ 0 h 19"/>
                  <a:gd name="T2" fmla="*/ 125 w 125"/>
                  <a:gd name="T3" fmla="*/ 6 h 19"/>
                  <a:gd name="T4" fmla="*/ 125 w 125"/>
                  <a:gd name="T5" fmla="*/ 13 h 19"/>
                  <a:gd name="T6" fmla="*/ 119 w 125"/>
                  <a:gd name="T7" fmla="*/ 19 h 19"/>
                  <a:gd name="T8" fmla="*/ 6 w 125"/>
                  <a:gd name="T9" fmla="*/ 19 h 19"/>
                  <a:gd name="T10" fmla="*/ 0 w 125"/>
                  <a:gd name="T11" fmla="*/ 13 h 19"/>
                  <a:gd name="T12" fmla="*/ 0 w 125"/>
                  <a:gd name="T13" fmla="*/ 6 h 19"/>
                  <a:gd name="T14" fmla="*/ 6 w 125"/>
                  <a:gd name="T15" fmla="*/ 0 h 19"/>
                  <a:gd name="T16" fmla="*/ 119 w 125"/>
                  <a:gd name="T17"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5" h="19">
                    <a:moveTo>
                      <a:pt x="119" y="0"/>
                    </a:moveTo>
                    <a:cubicBezTo>
                      <a:pt x="119" y="0"/>
                      <a:pt x="125" y="0"/>
                      <a:pt x="125" y="6"/>
                    </a:cubicBezTo>
                    <a:cubicBezTo>
                      <a:pt x="125" y="13"/>
                      <a:pt x="125" y="13"/>
                      <a:pt x="125" y="13"/>
                    </a:cubicBezTo>
                    <a:cubicBezTo>
                      <a:pt x="125" y="13"/>
                      <a:pt x="125" y="19"/>
                      <a:pt x="119" y="19"/>
                    </a:cubicBezTo>
                    <a:cubicBezTo>
                      <a:pt x="6" y="19"/>
                      <a:pt x="6" y="19"/>
                      <a:pt x="6" y="19"/>
                    </a:cubicBezTo>
                    <a:cubicBezTo>
                      <a:pt x="6" y="19"/>
                      <a:pt x="0" y="19"/>
                      <a:pt x="0" y="13"/>
                    </a:cubicBezTo>
                    <a:cubicBezTo>
                      <a:pt x="0" y="6"/>
                      <a:pt x="0" y="6"/>
                      <a:pt x="0" y="6"/>
                    </a:cubicBezTo>
                    <a:cubicBezTo>
                      <a:pt x="0" y="6"/>
                      <a:pt x="0" y="0"/>
                      <a:pt x="6" y="0"/>
                    </a:cubicBezTo>
                    <a:lnTo>
                      <a:pt x="119" y="0"/>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635" name="Freeform 155"/>
              <p:cNvSpPr>
                <a:spLocks/>
              </p:cNvSpPr>
              <p:nvPr/>
            </p:nvSpPr>
            <p:spPr bwMode="auto">
              <a:xfrm>
                <a:off x="6368503" y="2621297"/>
                <a:ext cx="172926" cy="28324"/>
              </a:xfrm>
              <a:custGeom>
                <a:avLst/>
                <a:gdLst>
                  <a:gd name="T0" fmla="*/ 119 w 125"/>
                  <a:gd name="T1" fmla="*/ 0 h 20"/>
                  <a:gd name="T2" fmla="*/ 125 w 125"/>
                  <a:gd name="T3" fmla="*/ 7 h 20"/>
                  <a:gd name="T4" fmla="*/ 125 w 125"/>
                  <a:gd name="T5" fmla="*/ 14 h 20"/>
                  <a:gd name="T6" fmla="*/ 119 w 125"/>
                  <a:gd name="T7" fmla="*/ 20 h 20"/>
                  <a:gd name="T8" fmla="*/ 6 w 125"/>
                  <a:gd name="T9" fmla="*/ 20 h 20"/>
                  <a:gd name="T10" fmla="*/ 0 w 125"/>
                  <a:gd name="T11" fmla="*/ 14 h 20"/>
                  <a:gd name="T12" fmla="*/ 0 w 125"/>
                  <a:gd name="T13" fmla="*/ 7 h 20"/>
                  <a:gd name="T14" fmla="*/ 6 w 125"/>
                  <a:gd name="T15" fmla="*/ 0 h 20"/>
                  <a:gd name="T16" fmla="*/ 119 w 125"/>
                  <a:gd name="T1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5" h="20">
                    <a:moveTo>
                      <a:pt x="119" y="0"/>
                    </a:moveTo>
                    <a:cubicBezTo>
                      <a:pt x="119" y="0"/>
                      <a:pt x="125" y="0"/>
                      <a:pt x="125" y="7"/>
                    </a:cubicBezTo>
                    <a:cubicBezTo>
                      <a:pt x="125" y="14"/>
                      <a:pt x="125" y="14"/>
                      <a:pt x="125" y="14"/>
                    </a:cubicBezTo>
                    <a:cubicBezTo>
                      <a:pt x="125" y="14"/>
                      <a:pt x="125" y="20"/>
                      <a:pt x="119" y="20"/>
                    </a:cubicBezTo>
                    <a:cubicBezTo>
                      <a:pt x="6" y="20"/>
                      <a:pt x="6" y="20"/>
                      <a:pt x="6" y="20"/>
                    </a:cubicBezTo>
                    <a:cubicBezTo>
                      <a:pt x="6" y="20"/>
                      <a:pt x="0" y="20"/>
                      <a:pt x="0" y="14"/>
                    </a:cubicBezTo>
                    <a:cubicBezTo>
                      <a:pt x="0" y="7"/>
                      <a:pt x="0" y="7"/>
                      <a:pt x="0" y="7"/>
                    </a:cubicBezTo>
                    <a:cubicBezTo>
                      <a:pt x="0" y="7"/>
                      <a:pt x="0" y="0"/>
                      <a:pt x="6" y="0"/>
                    </a:cubicBezTo>
                    <a:lnTo>
                      <a:pt x="119" y="0"/>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636" name="Freeform 156"/>
              <p:cNvSpPr>
                <a:spLocks/>
              </p:cNvSpPr>
              <p:nvPr/>
            </p:nvSpPr>
            <p:spPr bwMode="auto">
              <a:xfrm>
                <a:off x="6368503" y="2676454"/>
                <a:ext cx="172926" cy="28324"/>
              </a:xfrm>
              <a:custGeom>
                <a:avLst/>
                <a:gdLst>
                  <a:gd name="T0" fmla="*/ 119 w 125"/>
                  <a:gd name="T1" fmla="*/ 0 h 20"/>
                  <a:gd name="T2" fmla="*/ 125 w 125"/>
                  <a:gd name="T3" fmla="*/ 6 h 20"/>
                  <a:gd name="T4" fmla="*/ 125 w 125"/>
                  <a:gd name="T5" fmla="*/ 14 h 20"/>
                  <a:gd name="T6" fmla="*/ 119 w 125"/>
                  <a:gd name="T7" fmla="*/ 20 h 20"/>
                  <a:gd name="T8" fmla="*/ 6 w 125"/>
                  <a:gd name="T9" fmla="*/ 20 h 20"/>
                  <a:gd name="T10" fmla="*/ 0 w 125"/>
                  <a:gd name="T11" fmla="*/ 14 h 20"/>
                  <a:gd name="T12" fmla="*/ 0 w 125"/>
                  <a:gd name="T13" fmla="*/ 6 h 20"/>
                  <a:gd name="T14" fmla="*/ 6 w 125"/>
                  <a:gd name="T15" fmla="*/ 0 h 20"/>
                  <a:gd name="T16" fmla="*/ 119 w 125"/>
                  <a:gd name="T1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5" h="20">
                    <a:moveTo>
                      <a:pt x="119" y="0"/>
                    </a:moveTo>
                    <a:cubicBezTo>
                      <a:pt x="119" y="0"/>
                      <a:pt x="125" y="0"/>
                      <a:pt x="125" y="6"/>
                    </a:cubicBezTo>
                    <a:cubicBezTo>
                      <a:pt x="125" y="14"/>
                      <a:pt x="125" y="14"/>
                      <a:pt x="125" y="14"/>
                    </a:cubicBezTo>
                    <a:cubicBezTo>
                      <a:pt x="125" y="14"/>
                      <a:pt x="125" y="20"/>
                      <a:pt x="119" y="20"/>
                    </a:cubicBezTo>
                    <a:cubicBezTo>
                      <a:pt x="6" y="20"/>
                      <a:pt x="6" y="20"/>
                      <a:pt x="6" y="20"/>
                    </a:cubicBezTo>
                    <a:cubicBezTo>
                      <a:pt x="6" y="20"/>
                      <a:pt x="0" y="20"/>
                      <a:pt x="0" y="14"/>
                    </a:cubicBezTo>
                    <a:cubicBezTo>
                      <a:pt x="0" y="6"/>
                      <a:pt x="0" y="6"/>
                      <a:pt x="0" y="6"/>
                    </a:cubicBezTo>
                    <a:cubicBezTo>
                      <a:pt x="0" y="6"/>
                      <a:pt x="0" y="0"/>
                      <a:pt x="6" y="0"/>
                    </a:cubicBezTo>
                    <a:lnTo>
                      <a:pt x="119" y="0"/>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637" name="Freeform 157"/>
              <p:cNvSpPr>
                <a:spLocks/>
              </p:cNvSpPr>
              <p:nvPr/>
            </p:nvSpPr>
            <p:spPr bwMode="auto">
              <a:xfrm>
                <a:off x="6368503" y="2649620"/>
                <a:ext cx="172926" cy="26833"/>
              </a:xfrm>
              <a:custGeom>
                <a:avLst/>
                <a:gdLst>
                  <a:gd name="T0" fmla="*/ 119 w 125"/>
                  <a:gd name="T1" fmla="*/ 0 h 20"/>
                  <a:gd name="T2" fmla="*/ 125 w 125"/>
                  <a:gd name="T3" fmla="*/ 6 h 20"/>
                  <a:gd name="T4" fmla="*/ 125 w 125"/>
                  <a:gd name="T5" fmla="*/ 14 h 20"/>
                  <a:gd name="T6" fmla="*/ 119 w 125"/>
                  <a:gd name="T7" fmla="*/ 20 h 20"/>
                  <a:gd name="T8" fmla="*/ 6 w 125"/>
                  <a:gd name="T9" fmla="*/ 20 h 20"/>
                  <a:gd name="T10" fmla="*/ 0 w 125"/>
                  <a:gd name="T11" fmla="*/ 14 h 20"/>
                  <a:gd name="T12" fmla="*/ 0 w 125"/>
                  <a:gd name="T13" fmla="*/ 6 h 20"/>
                  <a:gd name="T14" fmla="*/ 6 w 125"/>
                  <a:gd name="T15" fmla="*/ 0 h 20"/>
                  <a:gd name="T16" fmla="*/ 119 w 125"/>
                  <a:gd name="T1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5" h="20">
                    <a:moveTo>
                      <a:pt x="119" y="0"/>
                    </a:moveTo>
                    <a:cubicBezTo>
                      <a:pt x="119" y="0"/>
                      <a:pt x="125" y="0"/>
                      <a:pt x="125" y="6"/>
                    </a:cubicBezTo>
                    <a:cubicBezTo>
                      <a:pt x="125" y="14"/>
                      <a:pt x="125" y="14"/>
                      <a:pt x="125" y="14"/>
                    </a:cubicBezTo>
                    <a:cubicBezTo>
                      <a:pt x="125" y="14"/>
                      <a:pt x="125" y="20"/>
                      <a:pt x="119" y="20"/>
                    </a:cubicBezTo>
                    <a:cubicBezTo>
                      <a:pt x="6" y="20"/>
                      <a:pt x="6" y="20"/>
                      <a:pt x="6" y="20"/>
                    </a:cubicBezTo>
                    <a:cubicBezTo>
                      <a:pt x="6" y="20"/>
                      <a:pt x="0" y="20"/>
                      <a:pt x="0" y="14"/>
                    </a:cubicBezTo>
                    <a:cubicBezTo>
                      <a:pt x="0" y="6"/>
                      <a:pt x="0" y="6"/>
                      <a:pt x="0" y="6"/>
                    </a:cubicBezTo>
                    <a:cubicBezTo>
                      <a:pt x="0" y="6"/>
                      <a:pt x="0" y="0"/>
                      <a:pt x="6" y="0"/>
                    </a:cubicBezTo>
                    <a:lnTo>
                      <a:pt x="119" y="0"/>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grpSp>
      <p:grpSp>
        <p:nvGrpSpPr>
          <p:cNvPr id="682" name="Group 681"/>
          <p:cNvGrpSpPr/>
          <p:nvPr/>
        </p:nvGrpSpPr>
        <p:grpSpPr>
          <a:xfrm>
            <a:off x="9273482" y="2580216"/>
            <a:ext cx="929378" cy="1087924"/>
            <a:chOff x="3079560" y="-166687"/>
            <a:chExt cx="5748720" cy="6729412"/>
          </a:xfrm>
        </p:grpSpPr>
        <p:sp>
          <p:nvSpPr>
            <p:cNvPr id="683" name="Freeform 7"/>
            <p:cNvSpPr>
              <a:spLocks/>
            </p:cNvSpPr>
            <p:nvPr/>
          </p:nvSpPr>
          <p:spPr bwMode="auto">
            <a:xfrm>
              <a:off x="4802238" y="-166687"/>
              <a:ext cx="2367880" cy="2025921"/>
            </a:xfrm>
            <a:custGeom>
              <a:avLst/>
              <a:gdLst>
                <a:gd name="T0" fmla="*/ 612 w 612"/>
                <a:gd name="T1" fmla="*/ 269 h 526"/>
                <a:gd name="T2" fmla="*/ 530 w 612"/>
                <a:gd name="T3" fmla="*/ 136 h 526"/>
                <a:gd name="T4" fmla="*/ 529 w 612"/>
                <a:gd name="T5" fmla="*/ 135 h 526"/>
                <a:gd name="T6" fmla="*/ 529 w 612"/>
                <a:gd name="T7" fmla="*/ 135 h 526"/>
                <a:gd name="T8" fmla="*/ 490 w 612"/>
                <a:gd name="T9" fmla="*/ 57 h 526"/>
                <a:gd name="T10" fmla="*/ 310 w 612"/>
                <a:gd name="T11" fmla="*/ 0 h 526"/>
                <a:gd name="T12" fmla="*/ 90 w 612"/>
                <a:gd name="T13" fmla="*/ 91 h 526"/>
                <a:gd name="T14" fmla="*/ 0 w 612"/>
                <a:gd name="T15" fmla="*/ 310 h 526"/>
                <a:gd name="T16" fmla="*/ 0 w 612"/>
                <a:gd name="T17" fmla="*/ 526 h 526"/>
                <a:gd name="T18" fmla="*/ 612 w 612"/>
                <a:gd name="T19" fmla="*/ 526 h 526"/>
                <a:gd name="T20" fmla="*/ 612 w 612"/>
                <a:gd name="T21" fmla="*/ 269 h 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12" h="526">
                  <a:moveTo>
                    <a:pt x="612" y="269"/>
                  </a:moveTo>
                  <a:cubicBezTo>
                    <a:pt x="612" y="212"/>
                    <a:pt x="581" y="160"/>
                    <a:pt x="530" y="136"/>
                  </a:cubicBezTo>
                  <a:cubicBezTo>
                    <a:pt x="529" y="135"/>
                    <a:pt x="529" y="135"/>
                    <a:pt x="529" y="135"/>
                  </a:cubicBezTo>
                  <a:cubicBezTo>
                    <a:pt x="529" y="135"/>
                    <a:pt x="529" y="135"/>
                    <a:pt x="529" y="135"/>
                  </a:cubicBezTo>
                  <a:cubicBezTo>
                    <a:pt x="529" y="104"/>
                    <a:pt x="515" y="75"/>
                    <a:pt x="490" y="57"/>
                  </a:cubicBezTo>
                  <a:cubicBezTo>
                    <a:pt x="439" y="21"/>
                    <a:pt x="377" y="0"/>
                    <a:pt x="310" y="0"/>
                  </a:cubicBezTo>
                  <a:cubicBezTo>
                    <a:pt x="224" y="0"/>
                    <a:pt x="147" y="35"/>
                    <a:pt x="90" y="91"/>
                  </a:cubicBezTo>
                  <a:cubicBezTo>
                    <a:pt x="34" y="147"/>
                    <a:pt x="0" y="224"/>
                    <a:pt x="0" y="310"/>
                  </a:cubicBezTo>
                  <a:cubicBezTo>
                    <a:pt x="0" y="526"/>
                    <a:pt x="0" y="526"/>
                    <a:pt x="0" y="526"/>
                  </a:cubicBezTo>
                  <a:cubicBezTo>
                    <a:pt x="612" y="526"/>
                    <a:pt x="612" y="526"/>
                    <a:pt x="612" y="526"/>
                  </a:cubicBezTo>
                  <a:cubicBezTo>
                    <a:pt x="612" y="269"/>
                    <a:pt x="612" y="269"/>
                    <a:pt x="612" y="269"/>
                  </a:cubicBezTo>
                </a:path>
              </a:pathLst>
            </a:custGeom>
            <a:solidFill>
              <a:srgbClr val="001A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684" name="Rectangle 11"/>
            <p:cNvSpPr>
              <a:spLocks noChangeArrowheads="1"/>
            </p:cNvSpPr>
            <p:nvPr/>
          </p:nvSpPr>
          <p:spPr bwMode="auto">
            <a:xfrm>
              <a:off x="5376466" y="2588306"/>
              <a:ext cx="1174261" cy="780687"/>
            </a:xfrm>
            <a:prstGeom prst="rect">
              <a:avLst/>
            </a:prstGeom>
            <a:solidFill>
              <a:srgbClr val="7A452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685" name="Rectangle 12"/>
            <p:cNvSpPr>
              <a:spLocks noChangeArrowheads="1"/>
            </p:cNvSpPr>
            <p:nvPr/>
          </p:nvSpPr>
          <p:spPr bwMode="auto">
            <a:xfrm>
              <a:off x="5376466" y="2588306"/>
              <a:ext cx="1174261" cy="7806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686" name="Freeform 13"/>
            <p:cNvSpPr>
              <a:spLocks/>
            </p:cNvSpPr>
            <p:nvPr/>
          </p:nvSpPr>
          <p:spPr bwMode="auto">
            <a:xfrm>
              <a:off x="5370012" y="2794769"/>
              <a:ext cx="6454" cy="83874"/>
            </a:xfrm>
            <a:custGeom>
              <a:avLst/>
              <a:gdLst>
                <a:gd name="T0" fmla="*/ 0 w 2"/>
                <a:gd name="T1" fmla="*/ 0 h 21"/>
                <a:gd name="T2" fmla="*/ 0 w 2"/>
                <a:gd name="T3" fmla="*/ 20 h 21"/>
                <a:gd name="T4" fmla="*/ 2 w 2"/>
                <a:gd name="T5" fmla="*/ 21 h 21"/>
                <a:gd name="T6" fmla="*/ 2 w 2"/>
                <a:gd name="T7" fmla="*/ 1 h 21"/>
                <a:gd name="T8" fmla="*/ 0 w 2"/>
                <a:gd name="T9" fmla="*/ 0 h 21"/>
              </a:gdLst>
              <a:ahLst/>
              <a:cxnLst>
                <a:cxn ang="0">
                  <a:pos x="T0" y="T1"/>
                </a:cxn>
                <a:cxn ang="0">
                  <a:pos x="T2" y="T3"/>
                </a:cxn>
                <a:cxn ang="0">
                  <a:pos x="T4" y="T5"/>
                </a:cxn>
                <a:cxn ang="0">
                  <a:pos x="T6" y="T7"/>
                </a:cxn>
                <a:cxn ang="0">
                  <a:pos x="T8" y="T9"/>
                </a:cxn>
              </a:cxnLst>
              <a:rect l="0" t="0" r="r" b="b"/>
              <a:pathLst>
                <a:path w="2" h="21">
                  <a:moveTo>
                    <a:pt x="0" y="0"/>
                  </a:moveTo>
                  <a:cubicBezTo>
                    <a:pt x="0" y="20"/>
                    <a:pt x="0" y="20"/>
                    <a:pt x="0" y="20"/>
                  </a:cubicBezTo>
                  <a:cubicBezTo>
                    <a:pt x="2" y="21"/>
                    <a:pt x="2" y="21"/>
                    <a:pt x="2" y="21"/>
                  </a:cubicBezTo>
                  <a:cubicBezTo>
                    <a:pt x="2" y="1"/>
                    <a:pt x="2" y="1"/>
                    <a:pt x="2" y="1"/>
                  </a:cubicBezTo>
                  <a:cubicBezTo>
                    <a:pt x="1" y="1"/>
                    <a:pt x="1" y="0"/>
                    <a:pt x="0" y="0"/>
                  </a:cubicBezTo>
                </a:path>
              </a:pathLst>
            </a:custGeom>
            <a:solidFill>
              <a:srgbClr val="0054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687" name="Freeform 14"/>
            <p:cNvSpPr>
              <a:spLocks/>
            </p:cNvSpPr>
            <p:nvPr/>
          </p:nvSpPr>
          <p:spPr bwMode="auto">
            <a:xfrm>
              <a:off x="5376466" y="2801223"/>
              <a:ext cx="1174261" cy="251625"/>
            </a:xfrm>
            <a:custGeom>
              <a:avLst/>
              <a:gdLst>
                <a:gd name="T0" fmla="*/ 0 w 303"/>
                <a:gd name="T1" fmla="*/ 0 h 65"/>
                <a:gd name="T2" fmla="*/ 0 w 303"/>
                <a:gd name="T3" fmla="*/ 20 h 65"/>
                <a:gd name="T4" fmla="*/ 92 w 303"/>
                <a:gd name="T5" fmla="*/ 65 h 65"/>
                <a:gd name="T6" fmla="*/ 212 w 303"/>
                <a:gd name="T7" fmla="*/ 65 h 65"/>
                <a:gd name="T8" fmla="*/ 303 w 303"/>
                <a:gd name="T9" fmla="*/ 21 h 65"/>
                <a:gd name="T10" fmla="*/ 303 w 303"/>
                <a:gd name="T11" fmla="*/ 9 h 65"/>
                <a:gd name="T12" fmla="*/ 218 w 303"/>
                <a:gd name="T13" fmla="*/ 46 h 65"/>
                <a:gd name="T14" fmla="*/ 100 w 303"/>
                <a:gd name="T15" fmla="*/ 46 h 65"/>
                <a:gd name="T16" fmla="*/ 16 w 303"/>
                <a:gd name="T17" fmla="*/ 9 h 65"/>
                <a:gd name="T18" fmla="*/ 0 w 303"/>
                <a:gd name="T19" fmla="*/ 0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3" h="65">
                  <a:moveTo>
                    <a:pt x="0" y="0"/>
                  </a:moveTo>
                  <a:cubicBezTo>
                    <a:pt x="0" y="20"/>
                    <a:pt x="0" y="20"/>
                    <a:pt x="0" y="20"/>
                  </a:cubicBezTo>
                  <a:cubicBezTo>
                    <a:pt x="92" y="65"/>
                    <a:pt x="92" y="65"/>
                    <a:pt x="92" y="65"/>
                  </a:cubicBezTo>
                  <a:cubicBezTo>
                    <a:pt x="212" y="65"/>
                    <a:pt x="212" y="65"/>
                    <a:pt x="212" y="65"/>
                  </a:cubicBezTo>
                  <a:cubicBezTo>
                    <a:pt x="303" y="21"/>
                    <a:pt x="303" y="21"/>
                    <a:pt x="303" y="21"/>
                  </a:cubicBezTo>
                  <a:cubicBezTo>
                    <a:pt x="303" y="9"/>
                    <a:pt x="303" y="9"/>
                    <a:pt x="303" y="9"/>
                  </a:cubicBezTo>
                  <a:cubicBezTo>
                    <a:pt x="218" y="46"/>
                    <a:pt x="218" y="46"/>
                    <a:pt x="218" y="46"/>
                  </a:cubicBezTo>
                  <a:cubicBezTo>
                    <a:pt x="100" y="46"/>
                    <a:pt x="100" y="46"/>
                    <a:pt x="100" y="46"/>
                  </a:cubicBezTo>
                  <a:cubicBezTo>
                    <a:pt x="16" y="9"/>
                    <a:pt x="16" y="9"/>
                    <a:pt x="16" y="9"/>
                  </a:cubicBezTo>
                  <a:cubicBezTo>
                    <a:pt x="10" y="6"/>
                    <a:pt x="5" y="3"/>
                    <a:pt x="0" y="0"/>
                  </a:cubicBezTo>
                </a:path>
              </a:pathLst>
            </a:custGeom>
            <a:solidFill>
              <a:srgbClr val="55301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688" name="Freeform 15"/>
            <p:cNvSpPr>
              <a:spLocks/>
            </p:cNvSpPr>
            <p:nvPr/>
          </p:nvSpPr>
          <p:spPr bwMode="auto">
            <a:xfrm>
              <a:off x="3079560" y="2543144"/>
              <a:ext cx="5748720" cy="4019581"/>
            </a:xfrm>
            <a:custGeom>
              <a:avLst/>
              <a:gdLst>
                <a:gd name="T0" fmla="*/ 1469 w 1483"/>
                <a:gd name="T1" fmla="*/ 525 h 1043"/>
                <a:gd name="T2" fmla="*/ 1264 w 1483"/>
                <a:gd name="T3" fmla="*/ 0 h 1043"/>
                <a:gd name="T4" fmla="*/ 1069 w 1483"/>
                <a:gd name="T5" fmla="*/ 37 h 1043"/>
                <a:gd name="T6" fmla="*/ 1104 w 1483"/>
                <a:gd name="T7" fmla="*/ 228 h 1043"/>
                <a:gd name="T8" fmla="*/ 933 w 1483"/>
                <a:gd name="T9" fmla="*/ 197 h 1043"/>
                <a:gd name="T10" fmla="*/ 933 w 1483"/>
                <a:gd name="T11" fmla="*/ 199 h 1043"/>
                <a:gd name="T12" fmla="*/ 554 w 1483"/>
                <a:gd name="T13" fmla="*/ 197 h 1043"/>
                <a:gd name="T14" fmla="*/ 550 w 1483"/>
                <a:gd name="T15" fmla="*/ 199 h 1043"/>
                <a:gd name="T16" fmla="*/ 550 w 1483"/>
                <a:gd name="T17" fmla="*/ 197 h 1043"/>
                <a:gd name="T18" fmla="*/ 379 w 1483"/>
                <a:gd name="T19" fmla="*/ 228 h 1043"/>
                <a:gd name="T20" fmla="*/ 414 w 1483"/>
                <a:gd name="T21" fmla="*/ 37 h 1043"/>
                <a:gd name="T22" fmla="*/ 219 w 1483"/>
                <a:gd name="T23" fmla="*/ 0 h 1043"/>
                <a:gd name="T24" fmla="*/ 14 w 1483"/>
                <a:gd name="T25" fmla="*/ 525 h 1043"/>
                <a:gd name="T26" fmla="*/ 7 w 1483"/>
                <a:gd name="T27" fmla="*/ 614 h 1043"/>
                <a:gd name="T28" fmla="*/ 50 w 1483"/>
                <a:gd name="T29" fmla="*/ 685 h 1043"/>
                <a:gd name="T30" fmla="*/ 124 w 1483"/>
                <a:gd name="T31" fmla="*/ 721 h 1043"/>
                <a:gd name="T32" fmla="*/ 146 w 1483"/>
                <a:gd name="T33" fmla="*/ 723 h 1043"/>
                <a:gd name="T34" fmla="*/ 212 w 1483"/>
                <a:gd name="T35" fmla="*/ 706 h 1043"/>
                <a:gd name="T36" fmla="*/ 216 w 1483"/>
                <a:gd name="T37" fmla="*/ 704 h 1043"/>
                <a:gd name="T38" fmla="*/ 356 w 1483"/>
                <a:gd name="T39" fmla="*/ 623 h 1043"/>
                <a:gd name="T40" fmla="*/ 290 w 1483"/>
                <a:gd name="T41" fmla="*/ 1043 h 1043"/>
                <a:gd name="T42" fmla="*/ 1193 w 1483"/>
                <a:gd name="T43" fmla="*/ 1043 h 1043"/>
                <a:gd name="T44" fmla="*/ 1127 w 1483"/>
                <a:gd name="T45" fmla="*/ 623 h 1043"/>
                <a:gd name="T46" fmla="*/ 1267 w 1483"/>
                <a:gd name="T47" fmla="*/ 704 h 1043"/>
                <a:gd name="T48" fmla="*/ 1271 w 1483"/>
                <a:gd name="T49" fmla="*/ 706 h 1043"/>
                <a:gd name="T50" fmla="*/ 1337 w 1483"/>
                <a:gd name="T51" fmla="*/ 723 h 1043"/>
                <a:gd name="T52" fmla="*/ 1359 w 1483"/>
                <a:gd name="T53" fmla="*/ 721 h 1043"/>
                <a:gd name="T54" fmla="*/ 1433 w 1483"/>
                <a:gd name="T55" fmla="*/ 685 h 1043"/>
                <a:gd name="T56" fmla="*/ 1476 w 1483"/>
                <a:gd name="T57" fmla="*/ 614 h 1043"/>
                <a:gd name="T58" fmla="*/ 1469 w 1483"/>
                <a:gd name="T59" fmla="*/ 525 h 10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483" h="1043">
                  <a:moveTo>
                    <a:pt x="1469" y="525"/>
                  </a:moveTo>
                  <a:cubicBezTo>
                    <a:pt x="1264" y="0"/>
                    <a:pt x="1264" y="0"/>
                    <a:pt x="1264" y="0"/>
                  </a:cubicBezTo>
                  <a:cubicBezTo>
                    <a:pt x="1069" y="37"/>
                    <a:pt x="1069" y="37"/>
                    <a:pt x="1069" y="37"/>
                  </a:cubicBezTo>
                  <a:cubicBezTo>
                    <a:pt x="1104" y="228"/>
                    <a:pt x="1104" y="228"/>
                    <a:pt x="1104" y="228"/>
                  </a:cubicBezTo>
                  <a:cubicBezTo>
                    <a:pt x="933" y="197"/>
                    <a:pt x="933" y="197"/>
                    <a:pt x="933" y="197"/>
                  </a:cubicBezTo>
                  <a:cubicBezTo>
                    <a:pt x="933" y="199"/>
                    <a:pt x="933" y="199"/>
                    <a:pt x="933" y="199"/>
                  </a:cubicBezTo>
                  <a:cubicBezTo>
                    <a:pt x="554" y="197"/>
                    <a:pt x="554" y="197"/>
                    <a:pt x="554" y="197"/>
                  </a:cubicBezTo>
                  <a:cubicBezTo>
                    <a:pt x="550" y="199"/>
                    <a:pt x="550" y="199"/>
                    <a:pt x="550" y="199"/>
                  </a:cubicBezTo>
                  <a:cubicBezTo>
                    <a:pt x="550" y="197"/>
                    <a:pt x="550" y="197"/>
                    <a:pt x="550" y="197"/>
                  </a:cubicBezTo>
                  <a:cubicBezTo>
                    <a:pt x="379" y="228"/>
                    <a:pt x="379" y="228"/>
                    <a:pt x="379" y="228"/>
                  </a:cubicBezTo>
                  <a:cubicBezTo>
                    <a:pt x="414" y="37"/>
                    <a:pt x="414" y="37"/>
                    <a:pt x="414" y="37"/>
                  </a:cubicBezTo>
                  <a:cubicBezTo>
                    <a:pt x="219" y="0"/>
                    <a:pt x="219" y="0"/>
                    <a:pt x="219" y="0"/>
                  </a:cubicBezTo>
                  <a:cubicBezTo>
                    <a:pt x="14" y="525"/>
                    <a:pt x="14" y="525"/>
                    <a:pt x="14" y="525"/>
                  </a:cubicBezTo>
                  <a:cubicBezTo>
                    <a:pt x="2" y="553"/>
                    <a:pt x="0" y="584"/>
                    <a:pt x="7" y="614"/>
                  </a:cubicBezTo>
                  <a:cubicBezTo>
                    <a:pt x="14" y="641"/>
                    <a:pt x="29" y="666"/>
                    <a:pt x="50" y="685"/>
                  </a:cubicBezTo>
                  <a:cubicBezTo>
                    <a:pt x="71" y="704"/>
                    <a:pt x="96" y="716"/>
                    <a:pt x="124" y="721"/>
                  </a:cubicBezTo>
                  <a:cubicBezTo>
                    <a:pt x="131" y="722"/>
                    <a:pt x="139" y="723"/>
                    <a:pt x="146" y="723"/>
                  </a:cubicBezTo>
                  <a:cubicBezTo>
                    <a:pt x="169" y="723"/>
                    <a:pt x="192" y="717"/>
                    <a:pt x="212" y="706"/>
                  </a:cubicBezTo>
                  <a:cubicBezTo>
                    <a:pt x="216" y="704"/>
                    <a:pt x="216" y="704"/>
                    <a:pt x="216" y="704"/>
                  </a:cubicBezTo>
                  <a:cubicBezTo>
                    <a:pt x="356" y="623"/>
                    <a:pt x="356" y="623"/>
                    <a:pt x="356" y="623"/>
                  </a:cubicBezTo>
                  <a:cubicBezTo>
                    <a:pt x="290" y="1043"/>
                    <a:pt x="290" y="1043"/>
                    <a:pt x="290" y="1043"/>
                  </a:cubicBezTo>
                  <a:cubicBezTo>
                    <a:pt x="1193" y="1043"/>
                    <a:pt x="1193" y="1043"/>
                    <a:pt x="1193" y="1043"/>
                  </a:cubicBezTo>
                  <a:cubicBezTo>
                    <a:pt x="1127" y="623"/>
                    <a:pt x="1127" y="623"/>
                    <a:pt x="1127" y="623"/>
                  </a:cubicBezTo>
                  <a:cubicBezTo>
                    <a:pt x="1267" y="704"/>
                    <a:pt x="1267" y="704"/>
                    <a:pt x="1267" y="704"/>
                  </a:cubicBezTo>
                  <a:cubicBezTo>
                    <a:pt x="1271" y="706"/>
                    <a:pt x="1271" y="706"/>
                    <a:pt x="1271" y="706"/>
                  </a:cubicBezTo>
                  <a:cubicBezTo>
                    <a:pt x="1291" y="717"/>
                    <a:pt x="1314" y="723"/>
                    <a:pt x="1337" y="723"/>
                  </a:cubicBezTo>
                  <a:cubicBezTo>
                    <a:pt x="1344" y="723"/>
                    <a:pt x="1352" y="722"/>
                    <a:pt x="1359" y="721"/>
                  </a:cubicBezTo>
                  <a:cubicBezTo>
                    <a:pt x="1387" y="716"/>
                    <a:pt x="1413" y="704"/>
                    <a:pt x="1433" y="685"/>
                  </a:cubicBezTo>
                  <a:cubicBezTo>
                    <a:pt x="1454" y="666"/>
                    <a:pt x="1469" y="641"/>
                    <a:pt x="1476" y="614"/>
                  </a:cubicBezTo>
                  <a:cubicBezTo>
                    <a:pt x="1483" y="584"/>
                    <a:pt x="1481" y="553"/>
                    <a:pt x="1469" y="525"/>
                  </a:cubicBezTo>
                </a:path>
              </a:pathLst>
            </a:custGeom>
            <a:solidFill>
              <a:srgbClr val="001A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689" name="Rectangle 16"/>
            <p:cNvSpPr>
              <a:spLocks noChangeArrowheads="1"/>
            </p:cNvSpPr>
            <p:nvPr/>
          </p:nvSpPr>
          <p:spPr bwMode="auto">
            <a:xfrm>
              <a:off x="5215165" y="3304478"/>
              <a:ext cx="6454" cy="6450"/>
            </a:xfrm>
            <a:prstGeom prst="rect">
              <a:avLst/>
            </a:prstGeom>
            <a:solidFill>
              <a:srgbClr val="001A4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690" name="Freeform 17"/>
            <p:cNvSpPr>
              <a:spLocks/>
            </p:cNvSpPr>
            <p:nvPr/>
          </p:nvSpPr>
          <p:spPr bwMode="auto">
            <a:xfrm>
              <a:off x="5228069" y="3304478"/>
              <a:ext cx="1380725" cy="6450"/>
            </a:xfrm>
            <a:custGeom>
              <a:avLst/>
              <a:gdLst>
                <a:gd name="T0" fmla="*/ 214 w 214"/>
                <a:gd name="T1" fmla="*/ 1 h 1"/>
                <a:gd name="T2" fmla="*/ 214 w 214"/>
                <a:gd name="T3" fmla="*/ 1 h 1"/>
                <a:gd name="T4" fmla="*/ 0 w 214"/>
                <a:gd name="T5" fmla="*/ 0 h 1"/>
                <a:gd name="T6" fmla="*/ 0 w 214"/>
                <a:gd name="T7" fmla="*/ 0 h 1"/>
                <a:gd name="T8" fmla="*/ 214 w 214"/>
                <a:gd name="T9" fmla="*/ 1 h 1"/>
              </a:gdLst>
              <a:ahLst/>
              <a:cxnLst>
                <a:cxn ang="0">
                  <a:pos x="T0" y="T1"/>
                </a:cxn>
                <a:cxn ang="0">
                  <a:pos x="T2" y="T3"/>
                </a:cxn>
                <a:cxn ang="0">
                  <a:pos x="T4" y="T5"/>
                </a:cxn>
                <a:cxn ang="0">
                  <a:pos x="T6" y="T7"/>
                </a:cxn>
                <a:cxn ang="0">
                  <a:pos x="T8" y="T9"/>
                </a:cxn>
              </a:cxnLst>
              <a:rect l="0" t="0" r="r" b="b"/>
              <a:pathLst>
                <a:path w="214" h="1">
                  <a:moveTo>
                    <a:pt x="214" y="1"/>
                  </a:moveTo>
                  <a:lnTo>
                    <a:pt x="214" y="1"/>
                  </a:lnTo>
                  <a:lnTo>
                    <a:pt x="0" y="0"/>
                  </a:lnTo>
                  <a:lnTo>
                    <a:pt x="0" y="0"/>
                  </a:lnTo>
                  <a:lnTo>
                    <a:pt x="214" y="1"/>
                  </a:lnTo>
                  <a:close/>
                </a:path>
              </a:pathLst>
            </a:custGeom>
            <a:solidFill>
              <a:srgbClr val="001A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691" name="Freeform 18"/>
            <p:cNvSpPr>
              <a:spLocks noEditPoints="1"/>
            </p:cNvSpPr>
            <p:nvPr/>
          </p:nvSpPr>
          <p:spPr bwMode="auto">
            <a:xfrm>
              <a:off x="8260501" y="3930318"/>
              <a:ext cx="554871" cy="1400077"/>
            </a:xfrm>
            <a:custGeom>
              <a:avLst/>
              <a:gdLst>
                <a:gd name="T0" fmla="*/ 1 w 144"/>
                <a:gd name="T1" fmla="*/ 362 h 362"/>
                <a:gd name="T2" fmla="*/ 1 w 144"/>
                <a:gd name="T3" fmla="*/ 362 h 362"/>
                <a:gd name="T4" fmla="*/ 1 w 144"/>
                <a:gd name="T5" fmla="*/ 362 h 362"/>
                <a:gd name="T6" fmla="*/ 0 w 144"/>
                <a:gd name="T7" fmla="*/ 362 h 362"/>
                <a:gd name="T8" fmla="*/ 0 w 144"/>
                <a:gd name="T9" fmla="*/ 362 h 362"/>
                <a:gd name="T10" fmla="*/ 0 w 144"/>
                <a:gd name="T11" fmla="*/ 362 h 362"/>
                <a:gd name="T12" fmla="*/ 73 w 144"/>
                <a:gd name="T13" fmla="*/ 342 h 362"/>
                <a:gd name="T14" fmla="*/ 23 w 144"/>
                <a:gd name="T15" fmla="*/ 360 h 362"/>
                <a:gd name="T16" fmla="*/ 73 w 144"/>
                <a:gd name="T17" fmla="*/ 342 h 362"/>
                <a:gd name="T18" fmla="*/ 69 w 144"/>
                <a:gd name="T19" fmla="*/ 0 h 362"/>
                <a:gd name="T20" fmla="*/ 133 w 144"/>
                <a:gd name="T21" fmla="*/ 164 h 362"/>
                <a:gd name="T22" fmla="*/ 144 w 144"/>
                <a:gd name="T23" fmla="*/ 219 h 362"/>
                <a:gd name="T24" fmla="*/ 133 w 144"/>
                <a:gd name="T25" fmla="*/ 164 h 362"/>
                <a:gd name="T26" fmla="*/ 69 w 144"/>
                <a:gd name="T27" fmla="*/ 0 h 362"/>
                <a:gd name="T28" fmla="*/ 69 w 144"/>
                <a:gd name="T29" fmla="*/ 0 h 3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44" h="362">
                  <a:moveTo>
                    <a:pt x="1" y="362"/>
                  </a:moveTo>
                  <a:cubicBezTo>
                    <a:pt x="1" y="362"/>
                    <a:pt x="1" y="362"/>
                    <a:pt x="1" y="362"/>
                  </a:cubicBezTo>
                  <a:cubicBezTo>
                    <a:pt x="1" y="362"/>
                    <a:pt x="1" y="362"/>
                    <a:pt x="1" y="362"/>
                  </a:cubicBezTo>
                  <a:moveTo>
                    <a:pt x="0" y="362"/>
                  </a:moveTo>
                  <a:cubicBezTo>
                    <a:pt x="0" y="362"/>
                    <a:pt x="0" y="362"/>
                    <a:pt x="0" y="362"/>
                  </a:cubicBezTo>
                  <a:cubicBezTo>
                    <a:pt x="0" y="362"/>
                    <a:pt x="0" y="362"/>
                    <a:pt x="0" y="362"/>
                  </a:cubicBezTo>
                  <a:moveTo>
                    <a:pt x="73" y="342"/>
                  </a:moveTo>
                  <a:cubicBezTo>
                    <a:pt x="58" y="351"/>
                    <a:pt x="41" y="357"/>
                    <a:pt x="23" y="360"/>
                  </a:cubicBezTo>
                  <a:cubicBezTo>
                    <a:pt x="41" y="357"/>
                    <a:pt x="58" y="351"/>
                    <a:pt x="73" y="342"/>
                  </a:cubicBezTo>
                  <a:moveTo>
                    <a:pt x="69" y="0"/>
                  </a:moveTo>
                  <a:cubicBezTo>
                    <a:pt x="133" y="164"/>
                    <a:pt x="133" y="164"/>
                    <a:pt x="133" y="164"/>
                  </a:cubicBezTo>
                  <a:cubicBezTo>
                    <a:pt x="140" y="181"/>
                    <a:pt x="144" y="200"/>
                    <a:pt x="144" y="219"/>
                  </a:cubicBezTo>
                  <a:cubicBezTo>
                    <a:pt x="144" y="200"/>
                    <a:pt x="140" y="181"/>
                    <a:pt x="133" y="164"/>
                  </a:cubicBezTo>
                  <a:cubicBezTo>
                    <a:pt x="69" y="0"/>
                    <a:pt x="69" y="0"/>
                    <a:pt x="69" y="0"/>
                  </a:cubicBezTo>
                  <a:cubicBezTo>
                    <a:pt x="69" y="0"/>
                    <a:pt x="69" y="0"/>
                    <a:pt x="69" y="0"/>
                  </a:cubicBezTo>
                </a:path>
              </a:pathLst>
            </a:custGeom>
            <a:solidFill>
              <a:srgbClr val="1A86D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692" name="Freeform 19"/>
            <p:cNvSpPr>
              <a:spLocks/>
            </p:cNvSpPr>
            <p:nvPr/>
          </p:nvSpPr>
          <p:spPr bwMode="auto">
            <a:xfrm>
              <a:off x="7976614" y="2543144"/>
              <a:ext cx="838758" cy="2787255"/>
            </a:xfrm>
            <a:custGeom>
              <a:avLst/>
              <a:gdLst>
                <a:gd name="T0" fmla="*/ 0 w 216"/>
                <a:gd name="T1" fmla="*/ 0 h 723"/>
                <a:gd name="T2" fmla="*/ 25 w 216"/>
                <a:gd name="T3" fmla="*/ 64 h 723"/>
                <a:gd name="T4" fmla="*/ 3 w 216"/>
                <a:gd name="T5" fmla="*/ 68 h 723"/>
                <a:gd name="T6" fmla="*/ 182 w 216"/>
                <a:gd name="T7" fmla="*/ 525 h 723"/>
                <a:gd name="T8" fmla="*/ 189 w 216"/>
                <a:gd name="T9" fmla="*/ 614 h 723"/>
                <a:gd name="T10" fmla="*/ 147 w 216"/>
                <a:gd name="T11" fmla="*/ 685 h 723"/>
                <a:gd name="T12" fmla="*/ 72 w 216"/>
                <a:gd name="T13" fmla="*/ 721 h 723"/>
                <a:gd name="T14" fmla="*/ 62 w 216"/>
                <a:gd name="T15" fmla="*/ 722 h 723"/>
                <a:gd name="T16" fmla="*/ 72 w 216"/>
                <a:gd name="T17" fmla="*/ 723 h 723"/>
                <a:gd name="T18" fmla="*/ 72 w 216"/>
                <a:gd name="T19" fmla="*/ 723 h 723"/>
                <a:gd name="T20" fmla="*/ 73 w 216"/>
                <a:gd name="T21" fmla="*/ 723 h 723"/>
                <a:gd name="T22" fmla="*/ 73 w 216"/>
                <a:gd name="T23" fmla="*/ 723 h 723"/>
                <a:gd name="T24" fmla="*/ 73 w 216"/>
                <a:gd name="T25" fmla="*/ 723 h 723"/>
                <a:gd name="T26" fmla="*/ 95 w 216"/>
                <a:gd name="T27" fmla="*/ 721 h 723"/>
                <a:gd name="T28" fmla="*/ 95 w 216"/>
                <a:gd name="T29" fmla="*/ 721 h 723"/>
                <a:gd name="T30" fmla="*/ 145 w 216"/>
                <a:gd name="T31" fmla="*/ 703 h 723"/>
                <a:gd name="T32" fmla="*/ 169 w 216"/>
                <a:gd name="T33" fmla="*/ 685 h 723"/>
                <a:gd name="T34" fmla="*/ 212 w 216"/>
                <a:gd name="T35" fmla="*/ 614 h 723"/>
                <a:gd name="T36" fmla="*/ 216 w 216"/>
                <a:gd name="T37" fmla="*/ 580 h 723"/>
                <a:gd name="T38" fmla="*/ 205 w 216"/>
                <a:gd name="T39" fmla="*/ 525 h 723"/>
                <a:gd name="T40" fmla="*/ 141 w 216"/>
                <a:gd name="T41" fmla="*/ 361 h 723"/>
                <a:gd name="T42" fmla="*/ 99 w 216"/>
                <a:gd name="T43" fmla="*/ 254 h 723"/>
                <a:gd name="T44" fmla="*/ 0 w 216"/>
                <a:gd name="T45" fmla="*/ 0 h 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16" h="723">
                  <a:moveTo>
                    <a:pt x="0" y="0"/>
                  </a:moveTo>
                  <a:cubicBezTo>
                    <a:pt x="25" y="64"/>
                    <a:pt x="25" y="64"/>
                    <a:pt x="25" y="64"/>
                  </a:cubicBezTo>
                  <a:cubicBezTo>
                    <a:pt x="3" y="68"/>
                    <a:pt x="3" y="68"/>
                    <a:pt x="3" y="68"/>
                  </a:cubicBezTo>
                  <a:cubicBezTo>
                    <a:pt x="182" y="525"/>
                    <a:pt x="182" y="525"/>
                    <a:pt x="182" y="525"/>
                  </a:cubicBezTo>
                  <a:cubicBezTo>
                    <a:pt x="194" y="553"/>
                    <a:pt x="196" y="584"/>
                    <a:pt x="189" y="614"/>
                  </a:cubicBezTo>
                  <a:cubicBezTo>
                    <a:pt x="182" y="641"/>
                    <a:pt x="168" y="666"/>
                    <a:pt x="147" y="685"/>
                  </a:cubicBezTo>
                  <a:cubicBezTo>
                    <a:pt x="126" y="704"/>
                    <a:pt x="100" y="716"/>
                    <a:pt x="72" y="721"/>
                  </a:cubicBezTo>
                  <a:cubicBezTo>
                    <a:pt x="69" y="721"/>
                    <a:pt x="65" y="722"/>
                    <a:pt x="62" y="722"/>
                  </a:cubicBezTo>
                  <a:cubicBezTo>
                    <a:pt x="65" y="722"/>
                    <a:pt x="69" y="722"/>
                    <a:pt x="72" y="723"/>
                  </a:cubicBezTo>
                  <a:cubicBezTo>
                    <a:pt x="72" y="723"/>
                    <a:pt x="72" y="723"/>
                    <a:pt x="72" y="723"/>
                  </a:cubicBezTo>
                  <a:cubicBezTo>
                    <a:pt x="72" y="723"/>
                    <a:pt x="73" y="723"/>
                    <a:pt x="73" y="723"/>
                  </a:cubicBezTo>
                  <a:cubicBezTo>
                    <a:pt x="73" y="723"/>
                    <a:pt x="73" y="723"/>
                    <a:pt x="73" y="723"/>
                  </a:cubicBezTo>
                  <a:cubicBezTo>
                    <a:pt x="73" y="723"/>
                    <a:pt x="73" y="723"/>
                    <a:pt x="73" y="723"/>
                  </a:cubicBezTo>
                  <a:cubicBezTo>
                    <a:pt x="80" y="723"/>
                    <a:pt x="88" y="722"/>
                    <a:pt x="95" y="721"/>
                  </a:cubicBezTo>
                  <a:cubicBezTo>
                    <a:pt x="95" y="721"/>
                    <a:pt x="95" y="721"/>
                    <a:pt x="95" y="721"/>
                  </a:cubicBezTo>
                  <a:cubicBezTo>
                    <a:pt x="113" y="718"/>
                    <a:pt x="130" y="712"/>
                    <a:pt x="145" y="703"/>
                  </a:cubicBezTo>
                  <a:cubicBezTo>
                    <a:pt x="154" y="698"/>
                    <a:pt x="162" y="692"/>
                    <a:pt x="169" y="685"/>
                  </a:cubicBezTo>
                  <a:cubicBezTo>
                    <a:pt x="190" y="666"/>
                    <a:pt x="205" y="641"/>
                    <a:pt x="212" y="614"/>
                  </a:cubicBezTo>
                  <a:cubicBezTo>
                    <a:pt x="215" y="603"/>
                    <a:pt x="216" y="591"/>
                    <a:pt x="216" y="580"/>
                  </a:cubicBezTo>
                  <a:cubicBezTo>
                    <a:pt x="216" y="561"/>
                    <a:pt x="212" y="542"/>
                    <a:pt x="205" y="525"/>
                  </a:cubicBezTo>
                  <a:cubicBezTo>
                    <a:pt x="141" y="361"/>
                    <a:pt x="141" y="361"/>
                    <a:pt x="141" y="361"/>
                  </a:cubicBezTo>
                  <a:cubicBezTo>
                    <a:pt x="99" y="254"/>
                    <a:pt x="99" y="254"/>
                    <a:pt x="99" y="254"/>
                  </a:cubicBezTo>
                  <a:cubicBezTo>
                    <a:pt x="0" y="0"/>
                    <a:pt x="0" y="0"/>
                    <a:pt x="0" y="0"/>
                  </a:cubicBezTo>
                </a:path>
              </a:pathLst>
            </a:custGeom>
            <a:solidFill>
              <a:srgbClr val="1A315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693" name="Freeform 20"/>
            <p:cNvSpPr>
              <a:spLocks noEditPoints="1"/>
            </p:cNvSpPr>
            <p:nvPr/>
          </p:nvSpPr>
          <p:spPr bwMode="auto">
            <a:xfrm>
              <a:off x="3092464" y="2788319"/>
              <a:ext cx="741980" cy="2542080"/>
            </a:xfrm>
            <a:custGeom>
              <a:avLst/>
              <a:gdLst>
                <a:gd name="T0" fmla="*/ 143 w 191"/>
                <a:gd name="T1" fmla="*/ 659 h 659"/>
                <a:gd name="T2" fmla="*/ 143 w 191"/>
                <a:gd name="T3" fmla="*/ 659 h 659"/>
                <a:gd name="T4" fmla="*/ 143 w 191"/>
                <a:gd name="T5" fmla="*/ 659 h 659"/>
                <a:gd name="T6" fmla="*/ 144 w 191"/>
                <a:gd name="T7" fmla="*/ 659 h 659"/>
                <a:gd name="T8" fmla="*/ 144 w 191"/>
                <a:gd name="T9" fmla="*/ 659 h 659"/>
                <a:gd name="T10" fmla="*/ 144 w 191"/>
                <a:gd name="T11" fmla="*/ 659 h 659"/>
                <a:gd name="T12" fmla="*/ 71 w 191"/>
                <a:gd name="T13" fmla="*/ 639 h 659"/>
                <a:gd name="T14" fmla="*/ 121 w 191"/>
                <a:gd name="T15" fmla="*/ 657 h 659"/>
                <a:gd name="T16" fmla="*/ 71 w 191"/>
                <a:gd name="T17" fmla="*/ 639 h 659"/>
                <a:gd name="T18" fmla="*/ 191 w 191"/>
                <a:gd name="T19" fmla="*/ 0 h 659"/>
                <a:gd name="T20" fmla="*/ 11 w 191"/>
                <a:gd name="T21" fmla="*/ 461 h 659"/>
                <a:gd name="T22" fmla="*/ 0 w 191"/>
                <a:gd name="T23" fmla="*/ 516 h 659"/>
                <a:gd name="T24" fmla="*/ 11 w 191"/>
                <a:gd name="T25" fmla="*/ 461 h 659"/>
                <a:gd name="T26" fmla="*/ 191 w 191"/>
                <a:gd name="T27" fmla="*/ 0 h 6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91" h="659">
                  <a:moveTo>
                    <a:pt x="143" y="659"/>
                  </a:moveTo>
                  <a:cubicBezTo>
                    <a:pt x="143" y="659"/>
                    <a:pt x="143" y="659"/>
                    <a:pt x="143" y="659"/>
                  </a:cubicBezTo>
                  <a:cubicBezTo>
                    <a:pt x="143" y="659"/>
                    <a:pt x="143" y="659"/>
                    <a:pt x="143" y="659"/>
                  </a:cubicBezTo>
                  <a:moveTo>
                    <a:pt x="144" y="659"/>
                  </a:moveTo>
                  <a:cubicBezTo>
                    <a:pt x="144" y="659"/>
                    <a:pt x="144" y="659"/>
                    <a:pt x="144" y="659"/>
                  </a:cubicBezTo>
                  <a:cubicBezTo>
                    <a:pt x="144" y="659"/>
                    <a:pt x="144" y="659"/>
                    <a:pt x="144" y="659"/>
                  </a:cubicBezTo>
                  <a:moveTo>
                    <a:pt x="71" y="639"/>
                  </a:moveTo>
                  <a:cubicBezTo>
                    <a:pt x="87" y="648"/>
                    <a:pt x="103" y="654"/>
                    <a:pt x="121" y="657"/>
                  </a:cubicBezTo>
                  <a:cubicBezTo>
                    <a:pt x="103" y="654"/>
                    <a:pt x="87" y="648"/>
                    <a:pt x="71" y="639"/>
                  </a:cubicBezTo>
                  <a:moveTo>
                    <a:pt x="191" y="0"/>
                  </a:moveTo>
                  <a:cubicBezTo>
                    <a:pt x="11" y="461"/>
                    <a:pt x="11" y="461"/>
                    <a:pt x="11" y="461"/>
                  </a:cubicBezTo>
                  <a:cubicBezTo>
                    <a:pt x="4" y="478"/>
                    <a:pt x="0" y="497"/>
                    <a:pt x="0" y="516"/>
                  </a:cubicBezTo>
                  <a:cubicBezTo>
                    <a:pt x="0" y="497"/>
                    <a:pt x="4" y="478"/>
                    <a:pt x="11" y="461"/>
                  </a:cubicBezTo>
                  <a:cubicBezTo>
                    <a:pt x="191" y="0"/>
                    <a:pt x="191" y="0"/>
                    <a:pt x="191" y="0"/>
                  </a:cubicBezTo>
                </a:path>
              </a:pathLst>
            </a:custGeom>
            <a:solidFill>
              <a:srgbClr val="1A86D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694" name="Freeform 21"/>
            <p:cNvSpPr>
              <a:spLocks/>
            </p:cNvSpPr>
            <p:nvPr/>
          </p:nvSpPr>
          <p:spPr bwMode="auto">
            <a:xfrm>
              <a:off x="3092464" y="2788319"/>
              <a:ext cx="825854" cy="2542080"/>
            </a:xfrm>
            <a:custGeom>
              <a:avLst/>
              <a:gdLst>
                <a:gd name="T0" fmla="*/ 191 w 213"/>
                <a:gd name="T1" fmla="*/ 0 h 659"/>
                <a:gd name="T2" fmla="*/ 11 w 213"/>
                <a:gd name="T3" fmla="*/ 461 h 659"/>
                <a:gd name="T4" fmla="*/ 0 w 213"/>
                <a:gd name="T5" fmla="*/ 516 h 659"/>
                <a:gd name="T6" fmla="*/ 4 w 213"/>
                <a:gd name="T7" fmla="*/ 550 h 659"/>
                <a:gd name="T8" fmla="*/ 47 w 213"/>
                <a:gd name="T9" fmla="*/ 621 h 659"/>
                <a:gd name="T10" fmla="*/ 71 w 213"/>
                <a:gd name="T11" fmla="*/ 639 h 659"/>
                <a:gd name="T12" fmla="*/ 121 w 213"/>
                <a:gd name="T13" fmla="*/ 657 h 659"/>
                <a:gd name="T14" fmla="*/ 121 w 213"/>
                <a:gd name="T15" fmla="*/ 657 h 659"/>
                <a:gd name="T16" fmla="*/ 143 w 213"/>
                <a:gd name="T17" fmla="*/ 659 h 659"/>
                <a:gd name="T18" fmla="*/ 143 w 213"/>
                <a:gd name="T19" fmla="*/ 659 h 659"/>
                <a:gd name="T20" fmla="*/ 143 w 213"/>
                <a:gd name="T21" fmla="*/ 659 h 659"/>
                <a:gd name="T22" fmla="*/ 144 w 213"/>
                <a:gd name="T23" fmla="*/ 659 h 659"/>
                <a:gd name="T24" fmla="*/ 144 w 213"/>
                <a:gd name="T25" fmla="*/ 659 h 659"/>
                <a:gd name="T26" fmla="*/ 154 w 213"/>
                <a:gd name="T27" fmla="*/ 658 h 659"/>
                <a:gd name="T28" fmla="*/ 144 w 213"/>
                <a:gd name="T29" fmla="*/ 657 h 659"/>
                <a:gd name="T30" fmla="*/ 69 w 213"/>
                <a:gd name="T31" fmla="*/ 621 h 659"/>
                <a:gd name="T32" fmla="*/ 27 w 213"/>
                <a:gd name="T33" fmla="*/ 550 h 659"/>
                <a:gd name="T34" fmla="*/ 34 w 213"/>
                <a:gd name="T35" fmla="*/ 461 h 659"/>
                <a:gd name="T36" fmla="*/ 213 w 213"/>
                <a:gd name="T37" fmla="*/ 4 h 659"/>
                <a:gd name="T38" fmla="*/ 191 w 213"/>
                <a:gd name="T39" fmla="*/ 0 h 6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13" h="659">
                  <a:moveTo>
                    <a:pt x="191" y="0"/>
                  </a:moveTo>
                  <a:cubicBezTo>
                    <a:pt x="11" y="461"/>
                    <a:pt x="11" y="461"/>
                    <a:pt x="11" y="461"/>
                  </a:cubicBezTo>
                  <a:cubicBezTo>
                    <a:pt x="4" y="478"/>
                    <a:pt x="0" y="497"/>
                    <a:pt x="0" y="516"/>
                  </a:cubicBezTo>
                  <a:cubicBezTo>
                    <a:pt x="0" y="527"/>
                    <a:pt x="2" y="539"/>
                    <a:pt x="4" y="550"/>
                  </a:cubicBezTo>
                  <a:cubicBezTo>
                    <a:pt x="11" y="577"/>
                    <a:pt x="26" y="602"/>
                    <a:pt x="47" y="621"/>
                  </a:cubicBezTo>
                  <a:cubicBezTo>
                    <a:pt x="54" y="628"/>
                    <a:pt x="63" y="634"/>
                    <a:pt x="71" y="639"/>
                  </a:cubicBezTo>
                  <a:cubicBezTo>
                    <a:pt x="87" y="648"/>
                    <a:pt x="103" y="654"/>
                    <a:pt x="121" y="657"/>
                  </a:cubicBezTo>
                  <a:cubicBezTo>
                    <a:pt x="121" y="657"/>
                    <a:pt x="121" y="657"/>
                    <a:pt x="121" y="657"/>
                  </a:cubicBezTo>
                  <a:cubicBezTo>
                    <a:pt x="128" y="658"/>
                    <a:pt x="136" y="659"/>
                    <a:pt x="143" y="659"/>
                  </a:cubicBezTo>
                  <a:cubicBezTo>
                    <a:pt x="143" y="659"/>
                    <a:pt x="143" y="659"/>
                    <a:pt x="143" y="659"/>
                  </a:cubicBezTo>
                  <a:cubicBezTo>
                    <a:pt x="143" y="659"/>
                    <a:pt x="143" y="659"/>
                    <a:pt x="143" y="659"/>
                  </a:cubicBezTo>
                  <a:cubicBezTo>
                    <a:pt x="144" y="659"/>
                    <a:pt x="144" y="659"/>
                    <a:pt x="144" y="659"/>
                  </a:cubicBezTo>
                  <a:cubicBezTo>
                    <a:pt x="144" y="659"/>
                    <a:pt x="144" y="659"/>
                    <a:pt x="144" y="659"/>
                  </a:cubicBezTo>
                  <a:cubicBezTo>
                    <a:pt x="147" y="658"/>
                    <a:pt x="151" y="658"/>
                    <a:pt x="154" y="658"/>
                  </a:cubicBezTo>
                  <a:cubicBezTo>
                    <a:pt x="151" y="658"/>
                    <a:pt x="147" y="657"/>
                    <a:pt x="144" y="657"/>
                  </a:cubicBezTo>
                  <a:cubicBezTo>
                    <a:pt x="116" y="652"/>
                    <a:pt x="90" y="640"/>
                    <a:pt x="69" y="621"/>
                  </a:cubicBezTo>
                  <a:cubicBezTo>
                    <a:pt x="49" y="602"/>
                    <a:pt x="34" y="577"/>
                    <a:pt x="27" y="550"/>
                  </a:cubicBezTo>
                  <a:cubicBezTo>
                    <a:pt x="20" y="520"/>
                    <a:pt x="22" y="489"/>
                    <a:pt x="34" y="461"/>
                  </a:cubicBezTo>
                  <a:cubicBezTo>
                    <a:pt x="213" y="4"/>
                    <a:pt x="213" y="4"/>
                    <a:pt x="213" y="4"/>
                  </a:cubicBezTo>
                  <a:cubicBezTo>
                    <a:pt x="191" y="0"/>
                    <a:pt x="191" y="0"/>
                    <a:pt x="191" y="0"/>
                  </a:cubicBezTo>
                </a:path>
              </a:pathLst>
            </a:custGeom>
            <a:solidFill>
              <a:srgbClr val="1A315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695" name="Freeform 22"/>
            <p:cNvSpPr>
              <a:spLocks/>
            </p:cNvSpPr>
            <p:nvPr/>
          </p:nvSpPr>
          <p:spPr bwMode="auto">
            <a:xfrm>
              <a:off x="5234523" y="3304478"/>
              <a:ext cx="1464602" cy="1845266"/>
            </a:xfrm>
            <a:custGeom>
              <a:avLst/>
              <a:gdLst>
                <a:gd name="T0" fmla="*/ 227 w 227"/>
                <a:gd name="T1" fmla="*/ 0 h 286"/>
                <a:gd name="T2" fmla="*/ 114 w 227"/>
                <a:gd name="T3" fmla="*/ 286 h 286"/>
                <a:gd name="T4" fmla="*/ 0 w 227"/>
                <a:gd name="T5" fmla="*/ 0 h 286"/>
                <a:gd name="T6" fmla="*/ 227 w 227"/>
                <a:gd name="T7" fmla="*/ 0 h 286"/>
              </a:gdLst>
              <a:ahLst/>
              <a:cxnLst>
                <a:cxn ang="0">
                  <a:pos x="T0" y="T1"/>
                </a:cxn>
                <a:cxn ang="0">
                  <a:pos x="T2" y="T3"/>
                </a:cxn>
                <a:cxn ang="0">
                  <a:pos x="T4" y="T5"/>
                </a:cxn>
                <a:cxn ang="0">
                  <a:pos x="T6" y="T7"/>
                </a:cxn>
              </a:cxnLst>
              <a:rect l="0" t="0" r="r" b="b"/>
              <a:pathLst>
                <a:path w="227" h="286">
                  <a:moveTo>
                    <a:pt x="227" y="0"/>
                  </a:moveTo>
                  <a:lnTo>
                    <a:pt x="114" y="286"/>
                  </a:lnTo>
                  <a:lnTo>
                    <a:pt x="0" y="0"/>
                  </a:lnTo>
                  <a:lnTo>
                    <a:pt x="227"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696" name="Freeform 23"/>
            <p:cNvSpPr>
              <a:spLocks/>
            </p:cNvSpPr>
            <p:nvPr/>
          </p:nvSpPr>
          <p:spPr bwMode="auto">
            <a:xfrm>
              <a:off x="5234523" y="3304478"/>
              <a:ext cx="1464602" cy="1845266"/>
            </a:xfrm>
            <a:custGeom>
              <a:avLst/>
              <a:gdLst>
                <a:gd name="T0" fmla="*/ 227 w 227"/>
                <a:gd name="T1" fmla="*/ 0 h 286"/>
                <a:gd name="T2" fmla="*/ 114 w 227"/>
                <a:gd name="T3" fmla="*/ 286 h 286"/>
                <a:gd name="T4" fmla="*/ 0 w 227"/>
                <a:gd name="T5" fmla="*/ 0 h 286"/>
                <a:gd name="T6" fmla="*/ 227 w 227"/>
                <a:gd name="T7" fmla="*/ 0 h 286"/>
              </a:gdLst>
              <a:ahLst/>
              <a:cxnLst>
                <a:cxn ang="0">
                  <a:pos x="T0" y="T1"/>
                </a:cxn>
                <a:cxn ang="0">
                  <a:pos x="T2" y="T3"/>
                </a:cxn>
                <a:cxn ang="0">
                  <a:pos x="T4" y="T5"/>
                </a:cxn>
                <a:cxn ang="0">
                  <a:pos x="T6" y="T7"/>
                </a:cxn>
              </a:cxnLst>
              <a:rect l="0" t="0" r="r" b="b"/>
              <a:pathLst>
                <a:path w="227" h="286">
                  <a:moveTo>
                    <a:pt x="227" y="0"/>
                  </a:moveTo>
                  <a:lnTo>
                    <a:pt x="114" y="286"/>
                  </a:lnTo>
                  <a:lnTo>
                    <a:pt x="0" y="0"/>
                  </a:lnTo>
                  <a:lnTo>
                    <a:pt x="22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697" name="Freeform 24"/>
            <p:cNvSpPr>
              <a:spLocks/>
            </p:cNvSpPr>
            <p:nvPr/>
          </p:nvSpPr>
          <p:spPr bwMode="auto">
            <a:xfrm>
              <a:off x="5737385" y="3788371"/>
              <a:ext cx="459896" cy="1305730"/>
            </a:xfrm>
            <a:custGeom>
              <a:avLst/>
              <a:gdLst>
                <a:gd name="T0" fmla="*/ 46 w 123"/>
                <a:gd name="T1" fmla="*/ 0 h 291"/>
                <a:gd name="T2" fmla="*/ 0 w 123"/>
                <a:gd name="T3" fmla="*/ 256 h 291"/>
                <a:gd name="T4" fmla="*/ 62 w 123"/>
                <a:gd name="T5" fmla="*/ 291 h 291"/>
                <a:gd name="T6" fmla="*/ 123 w 123"/>
                <a:gd name="T7" fmla="*/ 256 h 291"/>
                <a:gd name="T8" fmla="*/ 77 w 123"/>
                <a:gd name="T9" fmla="*/ 0 h 291"/>
                <a:gd name="T10" fmla="*/ 46 w 123"/>
                <a:gd name="T11" fmla="*/ 0 h 291"/>
                <a:gd name="connsiteX0" fmla="*/ 3740 w 10000"/>
                <a:gd name="connsiteY0" fmla="*/ 0 h 8797"/>
                <a:gd name="connsiteX1" fmla="*/ 0 w 10000"/>
                <a:gd name="connsiteY1" fmla="*/ 8797 h 8797"/>
                <a:gd name="connsiteX2" fmla="*/ 5250 w 10000"/>
                <a:gd name="connsiteY2" fmla="*/ 6672 h 8797"/>
                <a:gd name="connsiteX3" fmla="*/ 10000 w 10000"/>
                <a:gd name="connsiteY3" fmla="*/ 8797 h 8797"/>
                <a:gd name="connsiteX4" fmla="*/ 6260 w 10000"/>
                <a:gd name="connsiteY4" fmla="*/ 0 h 8797"/>
                <a:gd name="connsiteX5" fmla="*/ 3740 w 10000"/>
                <a:gd name="connsiteY5" fmla="*/ 0 h 8797"/>
                <a:gd name="connsiteX0" fmla="*/ 3740 w 7561"/>
                <a:gd name="connsiteY0" fmla="*/ 0 h 10000"/>
                <a:gd name="connsiteX1" fmla="*/ 0 w 7561"/>
                <a:gd name="connsiteY1" fmla="*/ 10000 h 10000"/>
                <a:gd name="connsiteX2" fmla="*/ 5250 w 7561"/>
                <a:gd name="connsiteY2" fmla="*/ 7584 h 10000"/>
                <a:gd name="connsiteX3" fmla="*/ 7561 w 7561"/>
                <a:gd name="connsiteY3" fmla="*/ 4710 h 10000"/>
                <a:gd name="connsiteX4" fmla="*/ 6260 w 7561"/>
                <a:gd name="connsiteY4" fmla="*/ 0 h 10000"/>
                <a:gd name="connsiteX5" fmla="*/ 3740 w 7561"/>
                <a:gd name="connsiteY5" fmla="*/ 0 h 10000"/>
                <a:gd name="connsiteX0" fmla="*/ 2089 w 7143"/>
                <a:gd name="connsiteY0" fmla="*/ 0 h 7584"/>
                <a:gd name="connsiteX1" fmla="*/ 0 w 7143"/>
                <a:gd name="connsiteY1" fmla="*/ 4576 h 7584"/>
                <a:gd name="connsiteX2" fmla="*/ 4087 w 7143"/>
                <a:gd name="connsiteY2" fmla="*/ 7584 h 7584"/>
                <a:gd name="connsiteX3" fmla="*/ 7143 w 7143"/>
                <a:gd name="connsiteY3" fmla="*/ 4710 h 7584"/>
                <a:gd name="connsiteX4" fmla="*/ 5422 w 7143"/>
                <a:gd name="connsiteY4" fmla="*/ 0 h 7584"/>
                <a:gd name="connsiteX5" fmla="*/ 2089 w 7143"/>
                <a:gd name="connsiteY5" fmla="*/ 0 h 7584"/>
                <a:gd name="connsiteX0" fmla="*/ 3020 w 10095"/>
                <a:gd name="connsiteY0" fmla="*/ 0 h 10000"/>
                <a:gd name="connsiteX1" fmla="*/ 0 w 10095"/>
                <a:gd name="connsiteY1" fmla="*/ 5915 h 10000"/>
                <a:gd name="connsiteX2" fmla="*/ 5817 w 10095"/>
                <a:gd name="connsiteY2" fmla="*/ 10000 h 10000"/>
                <a:gd name="connsiteX3" fmla="*/ 10095 w 10095"/>
                <a:gd name="connsiteY3" fmla="*/ 6210 h 10000"/>
                <a:gd name="connsiteX4" fmla="*/ 7686 w 10095"/>
                <a:gd name="connsiteY4" fmla="*/ 0 h 10000"/>
                <a:gd name="connsiteX5" fmla="*/ 3020 w 10095"/>
                <a:gd name="connsiteY5" fmla="*/ 0 h 10000"/>
                <a:gd name="connsiteX0" fmla="*/ 3020 w 10730"/>
                <a:gd name="connsiteY0" fmla="*/ 0 h 10000"/>
                <a:gd name="connsiteX1" fmla="*/ 0 w 10730"/>
                <a:gd name="connsiteY1" fmla="*/ 5915 h 10000"/>
                <a:gd name="connsiteX2" fmla="*/ 5817 w 10730"/>
                <a:gd name="connsiteY2" fmla="*/ 10000 h 10000"/>
                <a:gd name="connsiteX3" fmla="*/ 10730 w 10730"/>
                <a:gd name="connsiteY3" fmla="*/ 6047 h 10000"/>
                <a:gd name="connsiteX4" fmla="*/ 7686 w 10730"/>
                <a:gd name="connsiteY4" fmla="*/ 0 h 10000"/>
                <a:gd name="connsiteX5" fmla="*/ 3020 w 10730"/>
                <a:gd name="connsiteY5" fmla="*/ 0 h 10000"/>
                <a:gd name="connsiteX0" fmla="*/ 3020 w 10730"/>
                <a:gd name="connsiteY0" fmla="*/ 0 h 10424"/>
                <a:gd name="connsiteX1" fmla="*/ 0 w 10730"/>
                <a:gd name="connsiteY1" fmla="*/ 5915 h 10424"/>
                <a:gd name="connsiteX2" fmla="*/ 5500 w 10730"/>
                <a:gd name="connsiteY2" fmla="*/ 10424 h 10424"/>
                <a:gd name="connsiteX3" fmla="*/ 10730 w 10730"/>
                <a:gd name="connsiteY3" fmla="*/ 6047 h 10424"/>
                <a:gd name="connsiteX4" fmla="*/ 7686 w 10730"/>
                <a:gd name="connsiteY4" fmla="*/ 0 h 10424"/>
                <a:gd name="connsiteX5" fmla="*/ 3020 w 10730"/>
                <a:gd name="connsiteY5" fmla="*/ 0 h 104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730" h="10424">
                  <a:moveTo>
                    <a:pt x="3020" y="0"/>
                  </a:moveTo>
                  <a:lnTo>
                    <a:pt x="0" y="5915"/>
                  </a:lnTo>
                  <a:lnTo>
                    <a:pt x="5500" y="10424"/>
                  </a:lnTo>
                  <a:lnTo>
                    <a:pt x="10730" y="6047"/>
                  </a:lnTo>
                  <a:lnTo>
                    <a:pt x="7686" y="0"/>
                  </a:lnTo>
                  <a:lnTo>
                    <a:pt x="3020" y="0"/>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698" name="Freeform 25"/>
            <p:cNvSpPr>
              <a:spLocks/>
            </p:cNvSpPr>
            <p:nvPr/>
          </p:nvSpPr>
          <p:spPr bwMode="auto">
            <a:xfrm>
              <a:off x="5570026" y="3788374"/>
              <a:ext cx="793596" cy="1877524"/>
            </a:xfrm>
            <a:custGeom>
              <a:avLst/>
              <a:gdLst>
                <a:gd name="T0" fmla="*/ 46 w 123"/>
                <a:gd name="T1" fmla="*/ 0 h 291"/>
                <a:gd name="T2" fmla="*/ 0 w 123"/>
                <a:gd name="T3" fmla="*/ 256 h 291"/>
                <a:gd name="T4" fmla="*/ 62 w 123"/>
                <a:gd name="T5" fmla="*/ 291 h 291"/>
                <a:gd name="T6" fmla="*/ 123 w 123"/>
                <a:gd name="T7" fmla="*/ 256 h 291"/>
                <a:gd name="T8" fmla="*/ 77 w 123"/>
                <a:gd name="T9" fmla="*/ 0 h 291"/>
                <a:gd name="T10" fmla="*/ 46 w 123"/>
                <a:gd name="T11" fmla="*/ 0 h 291"/>
              </a:gdLst>
              <a:ahLst/>
              <a:cxnLst>
                <a:cxn ang="0">
                  <a:pos x="T0" y="T1"/>
                </a:cxn>
                <a:cxn ang="0">
                  <a:pos x="T2" y="T3"/>
                </a:cxn>
                <a:cxn ang="0">
                  <a:pos x="T4" y="T5"/>
                </a:cxn>
                <a:cxn ang="0">
                  <a:pos x="T6" y="T7"/>
                </a:cxn>
                <a:cxn ang="0">
                  <a:pos x="T8" y="T9"/>
                </a:cxn>
                <a:cxn ang="0">
                  <a:pos x="T10" y="T11"/>
                </a:cxn>
              </a:cxnLst>
              <a:rect l="0" t="0" r="r" b="b"/>
              <a:pathLst>
                <a:path w="123" h="291">
                  <a:moveTo>
                    <a:pt x="46" y="0"/>
                  </a:moveTo>
                  <a:lnTo>
                    <a:pt x="0" y="256"/>
                  </a:lnTo>
                  <a:lnTo>
                    <a:pt x="62" y="291"/>
                  </a:lnTo>
                  <a:lnTo>
                    <a:pt x="123" y="256"/>
                  </a:lnTo>
                  <a:lnTo>
                    <a:pt x="77" y="0"/>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699" name="Rectangle 26"/>
            <p:cNvSpPr>
              <a:spLocks noChangeArrowheads="1"/>
            </p:cNvSpPr>
            <p:nvPr/>
          </p:nvSpPr>
          <p:spPr bwMode="auto">
            <a:xfrm>
              <a:off x="5866817" y="3452871"/>
              <a:ext cx="200014" cy="335503"/>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00" name="Rectangle 27"/>
            <p:cNvSpPr>
              <a:spLocks noChangeArrowheads="1"/>
            </p:cNvSpPr>
            <p:nvPr/>
          </p:nvSpPr>
          <p:spPr bwMode="auto">
            <a:xfrm>
              <a:off x="5866817" y="3452871"/>
              <a:ext cx="200014" cy="3355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01" name="Rectangle 28"/>
            <p:cNvSpPr>
              <a:spLocks noChangeArrowheads="1"/>
            </p:cNvSpPr>
            <p:nvPr/>
          </p:nvSpPr>
          <p:spPr bwMode="auto">
            <a:xfrm>
              <a:off x="5970049" y="3452871"/>
              <a:ext cx="6454" cy="6450"/>
            </a:xfrm>
            <a:prstGeom prst="rect">
              <a:avLst/>
            </a:prstGeom>
            <a:solidFill>
              <a:srgbClr val="00122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02" name="Freeform 29"/>
            <p:cNvSpPr>
              <a:spLocks/>
            </p:cNvSpPr>
            <p:nvPr/>
          </p:nvSpPr>
          <p:spPr bwMode="auto">
            <a:xfrm>
              <a:off x="5970049" y="3452871"/>
              <a:ext cx="0" cy="0"/>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03" name="Freeform 30"/>
            <p:cNvSpPr>
              <a:spLocks noEditPoints="1"/>
            </p:cNvSpPr>
            <p:nvPr/>
          </p:nvSpPr>
          <p:spPr bwMode="auto">
            <a:xfrm>
              <a:off x="5860363" y="3452871"/>
              <a:ext cx="245175" cy="206463"/>
            </a:xfrm>
            <a:custGeom>
              <a:avLst/>
              <a:gdLst>
                <a:gd name="T0" fmla="*/ 1 w 62"/>
                <a:gd name="T1" fmla="*/ 40 h 54"/>
                <a:gd name="T2" fmla="*/ 0 w 62"/>
                <a:gd name="T3" fmla="*/ 42 h 54"/>
                <a:gd name="T4" fmla="*/ 1 w 62"/>
                <a:gd name="T5" fmla="*/ 41 h 54"/>
                <a:gd name="T6" fmla="*/ 1 w 62"/>
                <a:gd name="T7" fmla="*/ 40 h 54"/>
                <a:gd name="T8" fmla="*/ 53 w 62"/>
                <a:gd name="T9" fmla="*/ 38 h 54"/>
                <a:gd name="T10" fmla="*/ 53 w 62"/>
                <a:gd name="T11" fmla="*/ 49 h 54"/>
                <a:gd name="T12" fmla="*/ 62 w 62"/>
                <a:gd name="T13" fmla="*/ 54 h 54"/>
                <a:gd name="T14" fmla="*/ 53 w 62"/>
                <a:gd name="T15" fmla="*/ 38 h 54"/>
                <a:gd name="T16" fmla="*/ 27 w 62"/>
                <a:gd name="T17" fmla="*/ 0 h 54"/>
                <a:gd name="T18" fmla="*/ 26 w 62"/>
                <a:gd name="T19" fmla="*/ 1 h 54"/>
                <a:gd name="T20" fmla="*/ 28 w 62"/>
                <a:gd name="T21" fmla="*/ 1 h 54"/>
                <a:gd name="T22" fmla="*/ 27 w 62"/>
                <a:gd name="T23" fmla="*/ 0 h 54"/>
                <a:gd name="T24" fmla="*/ 27 w 62"/>
                <a:gd name="T25"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54">
                  <a:moveTo>
                    <a:pt x="1" y="40"/>
                  </a:moveTo>
                  <a:cubicBezTo>
                    <a:pt x="0" y="42"/>
                    <a:pt x="0" y="42"/>
                    <a:pt x="0" y="42"/>
                  </a:cubicBezTo>
                  <a:cubicBezTo>
                    <a:pt x="0" y="42"/>
                    <a:pt x="1" y="41"/>
                    <a:pt x="1" y="41"/>
                  </a:cubicBezTo>
                  <a:cubicBezTo>
                    <a:pt x="1" y="40"/>
                    <a:pt x="1" y="40"/>
                    <a:pt x="1" y="40"/>
                  </a:cubicBezTo>
                  <a:moveTo>
                    <a:pt x="53" y="38"/>
                  </a:moveTo>
                  <a:cubicBezTo>
                    <a:pt x="53" y="49"/>
                    <a:pt x="53" y="49"/>
                    <a:pt x="53" y="49"/>
                  </a:cubicBezTo>
                  <a:cubicBezTo>
                    <a:pt x="56" y="51"/>
                    <a:pt x="59" y="52"/>
                    <a:pt x="62" y="54"/>
                  </a:cubicBezTo>
                  <a:cubicBezTo>
                    <a:pt x="53" y="38"/>
                    <a:pt x="53" y="38"/>
                    <a:pt x="53" y="38"/>
                  </a:cubicBezTo>
                  <a:moveTo>
                    <a:pt x="27" y="0"/>
                  </a:moveTo>
                  <a:cubicBezTo>
                    <a:pt x="26" y="1"/>
                    <a:pt x="26" y="1"/>
                    <a:pt x="26" y="1"/>
                  </a:cubicBezTo>
                  <a:cubicBezTo>
                    <a:pt x="28" y="1"/>
                    <a:pt x="28" y="1"/>
                    <a:pt x="28" y="1"/>
                  </a:cubicBezTo>
                  <a:cubicBezTo>
                    <a:pt x="27" y="0"/>
                    <a:pt x="27" y="0"/>
                    <a:pt x="27" y="0"/>
                  </a:cubicBezTo>
                  <a:cubicBezTo>
                    <a:pt x="27" y="0"/>
                    <a:pt x="27" y="0"/>
                    <a:pt x="27" y="0"/>
                  </a:cubicBezTo>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04" name="Freeform 31"/>
            <p:cNvSpPr>
              <a:spLocks/>
            </p:cNvSpPr>
            <p:nvPr/>
          </p:nvSpPr>
          <p:spPr bwMode="auto">
            <a:xfrm>
              <a:off x="5866817" y="3452871"/>
              <a:ext cx="200014" cy="187105"/>
            </a:xfrm>
            <a:custGeom>
              <a:avLst/>
              <a:gdLst>
                <a:gd name="T0" fmla="*/ 27 w 52"/>
                <a:gd name="T1" fmla="*/ 0 h 48"/>
                <a:gd name="T2" fmla="*/ 25 w 52"/>
                <a:gd name="T3" fmla="*/ 0 h 48"/>
                <a:gd name="T4" fmla="*/ 13 w 52"/>
                <a:gd name="T5" fmla="*/ 16 h 48"/>
                <a:gd name="T6" fmla="*/ 0 w 52"/>
                <a:gd name="T7" fmla="*/ 39 h 48"/>
                <a:gd name="T8" fmla="*/ 0 w 52"/>
                <a:gd name="T9" fmla="*/ 40 h 48"/>
                <a:gd name="T10" fmla="*/ 11 w 52"/>
                <a:gd name="T11" fmla="*/ 40 h 48"/>
                <a:gd name="T12" fmla="*/ 52 w 52"/>
                <a:gd name="T13" fmla="*/ 48 h 48"/>
                <a:gd name="T14" fmla="*/ 52 w 52"/>
                <a:gd name="T15" fmla="*/ 37 h 48"/>
                <a:gd name="T16" fmla="*/ 41 w 52"/>
                <a:gd name="T17" fmla="*/ 18 h 48"/>
                <a:gd name="T18" fmla="*/ 27 w 52"/>
                <a:gd name="T19"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2" h="48">
                  <a:moveTo>
                    <a:pt x="27" y="0"/>
                  </a:moveTo>
                  <a:cubicBezTo>
                    <a:pt x="25" y="0"/>
                    <a:pt x="25" y="0"/>
                    <a:pt x="25" y="0"/>
                  </a:cubicBezTo>
                  <a:cubicBezTo>
                    <a:pt x="13" y="16"/>
                    <a:pt x="13" y="16"/>
                    <a:pt x="13" y="16"/>
                  </a:cubicBezTo>
                  <a:cubicBezTo>
                    <a:pt x="0" y="39"/>
                    <a:pt x="0" y="39"/>
                    <a:pt x="0" y="39"/>
                  </a:cubicBezTo>
                  <a:cubicBezTo>
                    <a:pt x="0" y="40"/>
                    <a:pt x="0" y="40"/>
                    <a:pt x="0" y="40"/>
                  </a:cubicBezTo>
                  <a:cubicBezTo>
                    <a:pt x="3" y="40"/>
                    <a:pt x="7" y="40"/>
                    <a:pt x="11" y="40"/>
                  </a:cubicBezTo>
                  <a:cubicBezTo>
                    <a:pt x="22" y="40"/>
                    <a:pt x="37" y="42"/>
                    <a:pt x="52" y="48"/>
                  </a:cubicBezTo>
                  <a:cubicBezTo>
                    <a:pt x="52" y="37"/>
                    <a:pt x="52" y="37"/>
                    <a:pt x="52" y="37"/>
                  </a:cubicBezTo>
                  <a:cubicBezTo>
                    <a:pt x="41" y="18"/>
                    <a:pt x="41" y="18"/>
                    <a:pt x="41" y="18"/>
                  </a:cubicBezTo>
                  <a:cubicBezTo>
                    <a:pt x="27" y="0"/>
                    <a:pt x="27" y="0"/>
                    <a:pt x="27" y="0"/>
                  </a:cubicBezTo>
                </a:path>
              </a:pathLst>
            </a:custGeom>
            <a:solidFill>
              <a:srgbClr val="0054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05" name="Freeform 32"/>
            <p:cNvSpPr>
              <a:spLocks noEditPoints="1"/>
            </p:cNvSpPr>
            <p:nvPr/>
          </p:nvSpPr>
          <p:spPr bwMode="auto">
            <a:xfrm>
              <a:off x="5666804" y="4394860"/>
              <a:ext cx="600037" cy="161297"/>
            </a:xfrm>
            <a:custGeom>
              <a:avLst/>
              <a:gdLst>
                <a:gd name="T0" fmla="*/ 0 w 93"/>
                <a:gd name="T1" fmla="*/ 0 h 25"/>
                <a:gd name="T2" fmla="*/ 9 w 93"/>
                <a:gd name="T3" fmla="*/ 25 h 25"/>
                <a:gd name="T4" fmla="*/ 11 w 93"/>
                <a:gd name="T5" fmla="*/ 19 h 25"/>
                <a:gd name="T6" fmla="*/ 0 w 93"/>
                <a:gd name="T7" fmla="*/ 0 h 25"/>
                <a:gd name="T8" fmla="*/ 93 w 93"/>
                <a:gd name="T9" fmla="*/ 0 h 25"/>
                <a:gd name="T10" fmla="*/ 82 w 93"/>
                <a:gd name="T11" fmla="*/ 19 h 25"/>
                <a:gd name="T12" fmla="*/ 83 w 93"/>
                <a:gd name="T13" fmla="*/ 25 h 25"/>
                <a:gd name="T14" fmla="*/ 93 w 93"/>
                <a:gd name="T15" fmla="*/ 0 h 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3" h="25">
                  <a:moveTo>
                    <a:pt x="0" y="0"/>
                  </a:moveTo>
                  <a:lnTo>
                    <a:pt x="9" y="25"/>
                  </a:lnTo>
                  <a:lnTo>
                    <a:pt x="11" y="19"/>
                  </a:lnTo>
                  <a:lnTo>
                    <a:pt x="0" y="0"/>
                  </a:lnTo>
                  <a:close/>
                  <a:moveTo>
                    <a:pt x="93" y="0"/>
                  </a:moveTo>
                  <a:lnTo>
                    <a:pt x="82" y="19"/>
                  </a:lnTo>
                  <a:lnTo>
                    <a:pt x="83" y="25"/>
                  </a:lnTo>
                  <a:lnTo>
                    <a:pt x="93" y="0"/>
                  </a:lnTo>
                  <a:close/>
                </a:path>
              </a:pathLst>
            </a:custGeom>
            <a:solidFill>
              <a:srgbClr val="CCCC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06" name="Freeform 33"/>
            <p:cNvSpPr>
              <a:spLocks noEditPoints="1"/>
            </p:cNvSpPr>
            <p:nvPr/>
          </p:nvSpPr>
          <p:spPr bwMode="auto">
            <a:xfrm>
              <a:off x="5666804" y="4394860"/>
              <a:ext cx="600037" cy="161297"/>
            </a:xfrm>
            <a:custGeom>
              <a:avLst/>
              <a:gdLst>
                <a:gd name="T0" fmla="*/ 0 w 93"/>
                <a:gd name="T1" fmla="*/ 0 h 25"/>
                <a:gd name="T2" fmla="*/ 9 w 93"/>
                <a:gd name="T3" fmla="*/ 25 h 25"/>
                <a:gd name="T4" fmla="*/ 11 w 93"/>
                <a:gd name="T5" fmla="*/ 19 h 25"/>
                <a:gd name="T6" fmla="*/ 0 w 93"/>
                <a:gd name="T7" fmla="*/ 0 h 25"/>
                <a:gd name="T8" fmla="*/ 93 w 93"/>
                <a:gd name="T9" fmla="*/ 0 h 25"/>
                <a:gd name="T10" fmla="*/ 82 w 93"/>
                <a:gd name="T11" fmla="*/ 19 h 25"/>
                <a:gd name="T12" fmla="*/ 83 w 93"/>
                <a:gd name="T13" fmla="*/ 25 h 25"/>
                <a:gd name="T14" fmla="*/ 93 w 93"/>
                <a:gd name="T15" fmla="*/ 0 h 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3" h="25">
                  <a:moveTo>
                    <a:pt x="0" y="0"/>
                  </a:moveTo>
                  <a:lnTo>
                    <a:pt x="9" y="25"/>
                  </a:lnTo>
                  <a:lnTo>
                    <a:pt x="11" y="19"/>
                  </a:lnTo>
                  <a:lnTo>
                    <a:pt x="0" y="0"/>
                  </a:lnTo>
                  <a:moveTo>
                    <a:pt x="93" y="0"/>
                  </a:moveTo>
                  <a:lnTo>
                    <a:pt x="82" y="19"/>
                  </a:lnTo>
                  <a:lnTo>
                    <a:pt x="83" y="25"/>
                  </a:lnTo>
                  <a:lnTo>
                    <a:pt x="9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07" name="Freeform 34"/>
            <p:cNvSpPr>
              <a:spLocks/>
            </p:cNvSpPr>
            <p:nvPr/>
          </p:nvSpPr>
          <p:spPr bwMode="auto">
            <a:xfrm>
              <a:off x="5724874" y="4517450"/>
              <a:ext cx="477447" cy="632294"/>
            </a:xfrm>
            <a:custGeom>
              <a:avLst/>
              <a:gdLst>
                <a:gd name="T0" fmla="*/ 2 w 74"/>
                <a:gd name="T1" fmla="*/ 0 h 98"/>
                <a:gd name="T2" fmla="*/ 0 w 74"/>
                <a:gd name="T3" fmla="*/ 6 h 98"/>
                <a:gd name="T4" fmla="*/ 38 w 74"/>
                <a:gd name="T5" fmla="*/ 98 h 98"/>
                <a:gd name="T6" fmla="*/ 74 w 74"/>
                <a:gd name="T7" fmla="*/ 6 h 98"/>
                <a:gd name="T8" fmla="*/ 73 w 74"/>
                <a:gd name="T9" fmla="*/ 0 h 98"/>
                <a:gd name="T10" fmla="*/ 38 w 74"/>
                <a:gd name="T11" fmla="*/ 62 h 98"/>
                <a:gd name="T12" fmla="*/ 2 w 74"/>
                <a:gd name="T13" fmla="*/ 0 h 98"/>
              </a:gdLst>
              <a:ahLst/>
              <a:cxnLst>
                <a:cxn ang="0">
                  <a:pos x="T0" y="T1"/>
                </a:cxn>
                <a:cxn ang="0">
                  <a:pos x="T2" y="T3"/>
                </a:cxn>
                <a:cxn ang="0">
                  <a:pos x="T4" y="T5"/>
                </a:cxn>
                <a:cxn ang="0">
                  <a:pos x="T6" y="T7"/>
                </a:cxn>
                <a:cxn ang="0">
                  <a:pos x="T8" y="T9"/>
                </a:cxn>
                <a:cxn ang="0">
                  <a:pos x="T10" y="T11"/>
                </a:cxn>
                <a:cxn ang="0">
                  <a:pos x="T12" y="T13"/>
                </a:cxn>
              </a:cxnLst>
              <a:rect l="0" t="0" r="r" b="b"/>
              <a:pathLst>
                <a:path w="74" h="98">
                  <a:moveTo>
                    <a:pt x="2" y="0"/>
                  </a:moveTo>
                  <a:lnTo>
                    <a:pt x="0" y="6"/>
                  </a:lnTo>
                  <a:lnTo>
                    <a:pt x="38" y="98"/>
                  </a:lnTo>
                  <a:lnTo>
                    <a:pt x="74" y="6"/>
                  </a:lnTo>
                  <a:lnTo>
                    <a:pt x="73" y="0"/>
                  </a:lnTo>
                  <a:lnTo>
                    <a:pt x="38" y="62"/>
                  </a:lnTo>
                  <a:lnTo>
                    <a:pt x="2" y="0"/>
                  </a:lnTo>
                  <a:close/>
                </a:path>
              </a:pathLst>
            </a:custGeom>
            <a:solidFill>
              <a:srgbClr val="0060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08" name="Freeform 35"/>
            <p:cNvSpPr>
              <a:spLocks/>
            </p:cNvSpPr>
            <p:nvPr/>
          </p:nvSpPr>
          <p:spPr bwMode="auto">
            <a:xfrm>
              <a:off x="5724874" y="4517450"/>
              <a:ext cx="477447" cy="632294"/>
            </a:xfrm>
            <a:custGeom>
              <a:avLst/>
              <a:gdLst>
                <a:gd name="T0" fmla="*/ 2 w 74"/>
                <a:gd name="T1" fmla="*/ 0 h 98"/>
                <a:gd name="T2" fmla="*/ 0 w 74"/>
                <a:gd name="T3" fmla="*/ 6 h 98"/>
                <a:gd name="T4" fmla="*/ 38 w 74"/>
                <a:gd name="T5" fmla="*/ 98 h 98"/>
                <a:gd name="T6" fmla="*/ 74 w 74"/>
                <a:gd name="T7" fmla="*/ 6 h 98"/>
                <a:gd name="T8" fmla="*/ 73 w 74"/>
                <a:gd name="T9" fmla="*/ 0 h 98"/>
                <a:gd name="T10" fmla="*/ 38 w 74"/>
                <a:gd name="T11" fmla="*/ 62 h 98"/>
                <a:gd name="T12" fmla="*/ 2 w 74"/>
                <a:gd name="T13" fmla="*/ 0 h 98"/>
              </a:gdLst>
              <a:ahLst/>
              <a:cxnLst>
                <a:cxn ang="0">
                  <a:pos x="T0" y="T1"/>
                </a:cxn>
                <a:cxn ang="0">
                  <a:pos x="T2" y="T3"/>
                </a:cxn>
                <a:cxn ang="0">
                  <a:pos x="T4" y="T5"/>
                </a:cxn>
                <a:cxn ang="0">
                  <a:pos x="T6" y="T7"/>
                </a:cxn>
                <a:cxn ang="0">
                  <a:pos x="T8" y="T9"/>
                </a:cxn>
                <a:cxn ang="0">
                  <a:pos x="T10" y="T11"/>
                </a:cxn>
                <a:cxn ang="0">
                  <a:pos x="T12" y="T13"/>
                </a:cxn>
              </a:cxnLst>
              <a:rect l="0" t="0" r="r" b="b"/>
              <a:pathLst>
                <a:path w="74" h="98">
                  <a:moveTo>
                    <a:pt x="2" y="0"/>
                  </a:moveTo>
                  <a:lnTo>
                    <a:pt x="0" y="6"/>
                  </a:lnTo>
                  <a:lnTo>
                    <a:pt x="38" y="98"/>
                  </a:lnTo>
                  <a:lnTo>
                    <a:pt x="74" y="6"/>
                  </a:lnTo>
                  <a:lnTo>
                    <a:pt x="73" y="0"/>
                  </a:lnTo>
                  <a:lnTo>
                    <a:pt x="38" y="6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09" name="Freeform 36"/>
            <p:cNvSpPr>
              <a:spLocks/>
            </p:cNvSpPr>
            <p:nvPr/>
          </p:nvSpPr>
          <p:spPr bwMode="auto">
            <a:xfrm>
              <a:off x="5408724" y="3472229"/>
              <a:ext cx="458093" cy="374215"/>
            </a:xfrm>
            <a:custGeom>
              <a:avLst/>
              <a:gdLst>
                <a:gd name="T0" fmla="*/ 0 w 118"/>
                <a:gd name="T1" fmla="*/ 0 h 98"/>
                <a:gd name="T2" fmla="*/ 83 w 118"/>
                <a:gd name="T3" fmla="*/ 98 h 98"/>
                <a:gd name="T4" fmla="*/ 117 w 118"/>
                <a:gd name="T5" fmla="*/ 37 h 98"/>
                <a:gd name="T6" fmla="*/ 111 w 118"/>
                <a:gd name="T7" fmla="*/ 38 h 98"/>
                <a:gd name="T8" fmla="*/ 118 w 118"/>
                <a:gd name="T9" fmla="*/ 29 h 98"/>
                <a:gd name="T10" fmla="*/ 118 w 118"/>
                <a:gd name="T11" fmla="*/ 11 h 98"/>
                <a:gd name="T12" fmla="*/ 0 w 118"/>
                <a:gd name="T13" fmla="*/ 0 h 98"/>
              </a:gdLst>
              <a:ahLst/>
              <a:cxnLst>
                <a:cxn ang="0">
                  <a:pos x="T0" y="T1"/>
                </a:cxn>
                <a:cxn ang="0">
                  <a:pos x="T2" y="T3"/>
                </a:cxn>
                <a:cxn ang="0">
                  <a:pos x="T4" y="T5"/>
                </a:cxn>
                <a:cxn ang="0">
                  <a:pos x="T6" y="T7"/>
                </a:cxn>
                <a:cxn ang="0">
                  <a:pos x="T8" y="T9"/>
                </a:cxn>
                <a:cxn ang="0">
                  <a:pos x="T10" y="T11"/>
                </a:cxn>
                <a:cxn ang="0">
                  <a:pos x="T12" y="T13"/>
                </a:cxn>
              </a:cxnLst>
              <a:rect l="0" t="0" r="r" b="b"/>
              <a:pathLst>
                <a:path w="118" h="98">
                  <a:moveTo>
                    <a:pt x="0" y="0"/>
                  </a:moveTo>
                  <a:cubicBezTo>
                    <a:pt x="83" y="98"/>
                    <a:pt x="83" y="98"/>
                    <a:pt x="83" y="98"/>
                  </a:cubicBezTo>
                  <a:cubicBezTo>
                    <a:pt x="117" y="37"/>
                    <a:pt x="117" y="37"/>
                    <a:pt x="117" y="37"/>
                  </a:cubicBezTo>
                  <a:cubicBezTo>
                    <a:pt x="113" y="37"/>
                    <a:pt x="111" y="38"/>
                    <a:pt x="111" y="38"/>
                  </a:cubicBezTo>
                  <a:cubicBezTo>
                    <a:pt x="118" y="29"/>
                    <a:pt x="118" y="29"/>
                    <a:pt x="118" y="29"/>
                  </a:cubicBezTo>
                  <a:cubicBezTo>
                    <a:pt x="118" y="11"/>
                    <a:pt x="118" y="11"/>
                    <a:pt x="118" y="11"/>
                  </a:cubicBezTo>
                  <a:cubicBezTo>
                    <a:pt x="0" y="0"/>
                    <a:pt x="0" y="0"/>
                    <a:pt x="0" y="0"/>
                  </a:cubicBezTo>
                </a:path>
              </a:pathLst>
            </a:custGeom>
            <a:solidFill>
              <a:srgbClr val="CCCC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10" name="Freeform 37"/>
            <p:cNvSpPr>
              <a:spLocks/>
            </p:cNvSpPr>
            <p:nvPr/>
          </p:nvSpPr>
          <p:spPr bwMode="auto">
            <a:xfrm>
              <a:off x="5866817" y="3510941"/>
              <a:ext cx="51616" cy="70970"/>
            </a:xfrm>
            <a:custGeom>
              <a:avLst/>
              <a:gdLst>
                <a:gd name="T0" fmla="*/ 0 w 8"/>
                <a:gd name="T1" fmla="*/ 0 h 11"/>
                <a:gd name="T2" fmla="*/ 0 w 8"/>
                <a:gd name="T3" fmla="*/ 11 h 11"/>
                <a:gd name="T4" fmla="*/ 8 w 8"/>
                <a:gd name="T5" fmla="*/ 1 h 11"/>
                <a:gd name="T6" fmla="*/ 0 w 8"/>
                <a:gd name="T7" fmla="*/ 0 h 11"/>
              </a:gdLst>
              <a:ahLst/>
              <a:cxnLst>
                <a:cxn ang="0">
                  <a:pos x="T0" y="T1"/>
                </a:cxn>
                <a:cxn ang="0">
                  <a:pos x="T2" y="T3"/>
                </a:cxn>
                <a:cxn ang="0">
                  <a:pos x="T4" y="T5"/>
                </a:cxn>
                <a:cxn ang="0">
                  <a:pos x="T6" y="T7"/>
                </a:cxn>
              </a:cxnLst>
              <a:rect l="0" t="0" r="r" b="b"/>
              <a:pathLst>
                <a:path w="8" h="11">
                  <a:moveTo>
                    <a:pt x="0" y="0"/>
                  </a:moveTo>
                  <a:lnTo>
                    <a:pt x="0" y="11"/>
                  </a:lnTo>
                  <a:lnTo>
                    <a:pt x="8" y="1"/>
                  </a:lnTo>
                  <a:lnTo>
                    <a:pt x="0" y="0"/>
                  </a:lnTo>
                  <a:close/>
                </a:path>
              </a:pathLst>
            </a:custGeom>
            <a:solidFill>
              <a:srgbClr val="0060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11" name="Freeform 38"/>
            <p:cNvSpPr>
              <a:spLocks/>
            </p:cNvSpPr>
            <p:nvPr/>
          </p:nvSpPr>
          <p:spPr bwMode="auto">
            <a:xfrm>
              <a:off x="5866817" y="3510941"/>
              <a:ext cx="51616" cy="70970"/>
            </a:xfrm>
            <a:custGeom>
              <a:avLst/>
              <a:gdLst>
                <a:gd name="T0" fmla="*/ 0 w 8"/>
                <a:gd name="T1" fmla="*/ 0 h 11"/>
                <a:gd name="T2" fmla="*/ 0 w 8"/>
                <a:gd name="T3" fmla="*/ 11 h 11"/>
                <a:gd name="T4" fmla="*/ 8 w 8"/>
                <a:gd name="T5" fmla="*/ 1 h 11"/>
                <a:gd name="T6" fmla="*/ 0 w 8"/>
                <a:gd name="T7" fmla="*/ 0 h 11"/>
              </a:gdLst>
              <a:ahLst/>
              <a:cxnLst>
                <a:cxn ang="0">
                  <a:pos x="T0" y="T1"/>
                </a:cxn>
                <a:cxn ang="0">
                  <a:pos x="T2" y="T3"/>
                </a:cxn>
                <a:cxn ang="0">
                  <a:pos x="T4" y="T5"/>
                </a:cxn>
                <a:cxn ang="0">
                  <a:pos x="T6" y="T7"/>
                </a:cxn>
              </a:cxnLst>
              <a:rect l="0" t="0" r="r" b="b"/>
              <a:pathLst>
                <a:path w="8" h="11">
                  <a:moveTo>
                    <a:pt x="0" y="0"/>
                  </a:moveTo>
                  <a:lnTo>
                    <a:pt x="0" y="11"/>
                  </a:lnTo>
                  <a:lnTo>
                    <a:pt x="8" y="1"/>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12" name="Freeform 39"/>
            <p:cNvSpPr>
              <a:spLocks/>
            </p:cNvSpPr>
            <p:nvPr/>
          </p:nvSpPr>
          <p:spPr bwMode="auto">
            <a:xfrm>
              <a:off x="5841009" y="3581911"/>
              <a:ext cx="25808" cy="32258"/>
            </a:xfrm>
            <a:custGeom>
              <a:avLst/>
              <a:gdLst>
                <a:gd name="T0" fmla="*/ 7 w 7"/>
                <a:gd name="T1" fmla="*/ 0 h 9"/>
                <a:gd name="T2" fmla="*/ 0 w 7"/>
                <a:gd name="T3" fmla="*/ 9 h 9"/>
                <a:gd name="T4" fmla="*/ 6 w 7"/>
                <a:gd name="T5" fmla="*/ 8 h 9"/>
                <a:gd name="T6" fmla="*/ 7 w 7"/>
                <a:gd name="T7" fmla="*/ 6 h 9"/>
                <a:gd name="T8" fmla="*/ 7 w 7"/>
                <a:gd name="T9" fmla="*/ 0 h 9"/>
              </a:gdLst>
              <a:ahLst/>
              <a:cxnLst>
                <a:cxn ang="0">
                  <a:pos x="T0" y="T1"/>
                </a:cxn>
                <a:cxn ang="0">
                  <a:pos x="T2" y="T3"/>
                </a:cxn>
                <a:cxn ang="0">
                  <a:pos x="T4" y="T5"/>
                </a:cxn>
                <a:cxn ang="0">
                  <a:pos x="T6" y="T7"/>
                </a:cxn>
                <a:cxn ang="0">
                  <a:pos x="T8" y="T9"/>
                </a:cxn>
              </a:cxnLst>
              <a:rect l="0" t="0" r="r" b="b"/>
              <a:pathLst>
                <a:path w="7" h="9">
                  <a:moveTo>
                    <a:pt x="7" y="0"/>
                  </a:moveTo>
                  <a:cubicBezTo>
                    <a:pt x="0" y="9"/>
                    <a:pt x="0" y="9"/>
                    <a:pt x="0" y="9"/>
                  </a:cubicBezTo>
                  <a:cubicBezTo>
                    <a:pt x="0" y="9"/>
                    <a:pt x="2" y="8"/>
                    <a:pt x="6" y="8"/>
                  </a:cubicBezTo>
                  <a:cubicBezTo>
                    <a:pt x="7" y="6"/>
                    <a:pt x="7" y="6"/>
                    <a:pt x="7" y="6"/>
                  </a:cubicBezTo>
                  <a:cubicBezTo>
                    <a:pt x="7" y="0"/>
                    <a:pt x="7" y="0"/>
                    <a:pt x="7" y="0"/>
                  </a:cubicBezTo>
                </a:path>
              </a:pathLst>
            </a:custGeom>
            <a:solidFill>
              <a:srgbClr val="8E8E8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13" name="Freeform 40"/>
            <p:cNvSpPr>
              <a:spLocks/>
            </p:cNvSpPr>
            <p:nvPr/>
          </p:nvSpPr>
          <p:spPr bwMode="auto">
            <a:xfrm>
              <a:off x="5866817" y="3517391"/>
              <a:ext cx="51616" cy="90328"/>
            </a:xfrm>
            <a:custGeom>
              <a:avLst/>
              <a:gdLst>
                <a:gd name="T0" fmla="*/ 8 w 8"/>
                <a:gd name="T1" fmla="*/ 0 h 14"/>
                <a:gd name="T2" fmla="*/ 0 w 8"/>
                <a:gd name="T3" fmla="*/ 10 h 14"/>
                <a:gd name="T4" fmla="*/ 0 w 8"/>
                <a:gd name="T5" fmla="*/ 14 h 14"/>
                <a:gd name="T6" fmla="*/ 8 w 8"/>
                <a:gd name="T7" fmla="*/ 0 h 14"/>
              </a:gdLst>
              <a:ahLst/>
              <a:cxnLst>
                <a:cxn ang="0">
                  <a:pos x="T0" y="T1"/>
                </a:cxn>
                <a:cxn ang="0">
                  <a:pos x="T2" y="T3"/>
                </a:cxn>
                <a:cxn ang="0">
                  <a:pos x="T4" y="T5"/>
                </a:cxn>
                <a:cxn ang="0">
                  <a:pos x="T6" y="T7"/>
                </a:cxn>
              </a:cxnLst>
              <a:rect l="0" t="0" r="r" b="b"/>
              <a:pathLst>
                <a:path w="8" h="14">
                  <a:moveTo>
                    <a:pt x="8" y="0"/>
                  </a:moveTo>
                  <a:lnTo>
                    <a:pt x="0" y="10"/>
                  </a:lnTo>
                  <a:lnTo>
                    <a:pt x="0" y="14"/>
                  </a:lnTo>
                  <a:lnTo>
                    <a:pt x="8" y="0"/>
                  </a:lnTo>
                  <a:close/>
                </a:path>
              </a:pathLst>
            </a:custGeom>
            <a:solidFill>
              <a:srgbClr val="0043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14" name="Freeform 41"/>
            <p:cNvSpPr>
              <a:spLocks/>
            </p:cNvSpPr>
            <p:nvPr/>
          </p:nvSpPr>
          <p:spPr bwMode="auto">
            <a:xfrm>
              <a:off x="5866817" y="3517391"/>
              <a:ext cx="51616" cy="90328"/>
            </a:xfrm>
            <a:custGeom>
              <a:avLst/>
              <a:gdLst>
                <a:gd name="T0" fmla="*/ 8 w 8"/>
                <a:gd name="T1" fmla="*/ 0 h 14"/>
                <a:gd name="T2" fmla="*/ 0 w 8"/>
                <a:gd name="T3" fmla="*/ 10 h 14"/>
                <a:gd name="T4" fmla="*/ 0 w 8"/>
                <a:gd name="T5" fmla="*/ 14 h 14"/>
                <a:gd name="T6" fmla="*/ 8 w 8"/>
                <a:gd name="T7" fmla="*/ 0 h 14"/>
              </a:gdLst>
              <a:ahLst/>
              <a:cxnLst>
                <a:cxn ang="0">
                  <a:pos x="T0" y="T1"/>
                </a:cxn>
                <a:cxn ang="0">
                  <a:pos x="T2" y="T3"/>
                </a:cxn>
                <a:cxn ang="0">
                  <a:pos x="T4" y="T5"/>
                </a:cxn>
                <a:cxn ang="0">
                  <a:pos x="T6" y="T7"/>
                </a:cxn>
              </a:cxnLst>
              <a:rect l="0" t="0" r="r" b="b"/>
              <a:pathLst>
                <a:path w="8" h="14">
                  <a:moveTo>
                    <a:pt x="8" y="0"/>
                  </a:moveTo>
                  <a:lnTo>
                    <a:pt x="0" y="10"/>
                  </a:lnTo>
                  <a:lnTo>
                    <a:pt x="0" y="14"/>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15" name="Freeform 42"/>
            <p:cNvSpPr>
              <a:spLocks/>
            </p:cNvSpPr>
            <p:nvPr/>
          </p:nvSpPr>
          <p:spPr bwMode="auto">
            <a:xfrm>
              <a:off x="6066827" y="3472229"/>
              <a:ext cx="458093" cy="374215"/>
            </a:xfrm>
            <a:custGeom>
              <a:avLst/>
              <a:gdLst>
                <a:gd name="T0" fmla="*/ 118 w 118"/>
                <a:gd name="T1" fmla="*/ 0 h 98"/>
                <a:gd name="T2" fmla="*/ 0 w 118"/>
                <a:gd name="T3" fmla="*/ 11 h 98"/>
                <a:gd name="T4" fmla="*/ 0 w 118"/>
                <a:gd name="T5" fmla="*/ 28 h 98"/>
                <a:gd name="T6" fmla="*/ 32 w 118"/>
                <a:gd name="T7" fmla="*/ 70 h 98"/>
                <a:gd name="T8" fmla="*/ 37 w 118"/>
                <a:gd name="T9" fmla="*/ 76 h 98"/>
                <a:gd name="T10" fmla="*/ 32 w 118"/>
                <a:gd name="T11" fmla="*/ 70 h 98"/>
                <a:gd name="T12" fmla="*/ 9 w 118"/>
                <a:gd name="T13" fmla="*/ 49 h 98"/>
                <a:gd name="T14" fmla="*/ 36 w 118"/>
                <a:gd name="T15" fmla="*/ 98 h 98"/>
                <a:gd name="T16" fmla="*/ 118 w 118"/>
                <a:gd name="T17" fmla="*/ 0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8" h="98">
                  <a:moveTo>
                    <a:pt x="118" y="0"/>
                  </a:moveTo>
                  <a:cubicBezTo>
                    <a:pt x="0" y="11"/>
                    <a:pt x="0" y="11"/>
                    <a:pt x="0" y="11"/>
                  </a:cubicBezTo>
                  <a:cubicBezTo>
                    <a:pt x="0" y="28"/>
                    <a:pt x="0" y="28"/>
                    <a:pt x="0" y="28"/>
                  </a:cubicBezTo>
                  <a:cubicBezTo>
                    <a:pt x="32" y="70"/>
                    <a:pt x="32" y="70"/>
                    <a:pt x="32" y="70"/>
                  </a:cubicBezTo>
                  <a:cubicBezTo>
                    <a:pt x="34" y="72"/>
                    <a:pt x="36" y="74"/>
                    <a:pt x="37" y="76"/>
                  </a:cubicBezTo>
                  <a:cubicBezTo>
                    <a:pt x="32" y="70"/>
                    <a:pt x="32" y="70"/>
                    <a:pt x="32" y="70"/>
                  </a:cubicBezTo>
                  <a:cubicBezTo>
                    <a:pt x="25" y="61"/>
                    <a:pt x="17" y="54"/>
                    <a:pt x="9" y="49"/>
                  </a:cubicBezTo>
                  <a:cubicBezTo>
                    <a:pt x="36" y="98"/>
                    <a:pt x="36" y="98"/>
                    <a:pt x="36" y="98"/>
                  </a:cubicBezTo>
                  <a:cubicBezTo>
                    <a:pt x="118" y="0"/>
                    <a:pt x="118" y="0"/>
                    <a:pt x="118" y="0"/>
                  </a:cubicBezTo>
                </a:path>
              </a:pathLst>
            </a:custGeom>
            <a:solidFill>
              <a:srgbClr val="CCCC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16" name="Freeform 43"/>
            <p:cNvSpPr>
              <a:spLocks/>
            </p:cNvSpPr>
            <p:nvPr/>
          </p:nvSpPr>
          <p:spPr bwMode="auto">
            <a:xfrm>
              <a:off x="6021665" y="3510941"/>
              <a:ext cx="45166" cy="70970"/>
            </a:xfrm>
            <a:custGeom>
              <a:avLst/>
              <a:gdLst>
                <a:gd name="T0" fmla="*/ 7 w 7"/>
                <a:gd name="T1" fmla="*/ 0 h 11"/>
                <a:gd name="T2" fmla="*/ 0 w 7"/>
                <a:gd name="T3" fmla="*/ 1 h 11"/>
                <a:gd name="T4" fmla="*/ 1 w 7"/>
                <a:gd name="T5" fmla="*/ 2 h 11"/>
                <a:gd name="T6" fmla="*/ 7 w 7"/>
                <a:gd name="T7" fmla="*/ 11 h 11"/>
                <a:gd name="T8" fmla="*/ 7 w 7"/>
                <a:gd name="T9" fmla="*/ 0 h 11"/>
              </a:gdLst>
              <a:ahLst/>
              <a:cxnLst>
                <a:cxn ang="0">
                  <a:pos x="T0" y="T1"/>
                </a:cxn>
                <a:cxn ang="0">
                  <a:pos x="T2" y="T3"/>
                </a:cxn>
                <a:cxn ang="0">
                  <a:pos x="T4" y="T5"/>
                </a:cxn>
                <a:cxn ang="0">
                  <a:pos x="T6" y="T7"/>
                </a:cxn>
                <a:cxn ang="0">
                  <a:pos x="T8" y="T9"/>
                </a:cxn>
              </a:cxnLst>
              <a:rect l="0" t="0" r="r" b="b"/>
              <a:pathLst>
                <a:path w="7" h="11">
                  <a:moveTo>
                    <a:pt x="7" y="0"/>
                  </a:moveTo>
                  <a:lnTo>
                    <a:pt x="0" y="1"/>
                  </a:lnTo>
                  <a:lnTo>
                    <a:pt x="1" y="2"/>
                  </a:lnTo>
                  <a:lnTo>
                    <a:pt x="7" y="11"/>
                  </a:lnTo>
                  <a:lnTo>
                    <a:pt x="7" y="0"/>
                  </a:lnTo>
                  <a:close/>
                </a:path>
              </a:pathLst>
            </a:custGeom>
            <a:solidFill>
              <a:srgbClr val="0060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17" name="Freeform 44"/>
            <p:cNvSpPr>
              <a:spLocks/>
            </p:cNvSpPr>
            <p:nvPr/>
          </p:nvSpPr>
          <p:spPr bwMode="auto">
            <a:xfrm>
              <a:off x="6021665" y="3510941"/>
              <a:ext cx="45166" cy="70970"/>
            </a:xfrm>
            <a:custGeom>
              <a:avLst/>
              <a:gdLst>
                <a:gd name="T0" fmla="*/ 7 w 7"/>
                <a:gd name="T1" fmla="*/ 0 h 11"/>
                <a:gd name="T2" fmla="*/ 0 w 7"/>
                <a:gd name="T3" fmla="*/ 1 h 11"/>
                <a:gd name="T4" fmla="*/ 1 w 7"/>
                <a:gd name="T5" fmla="*/ 2 h 11"/>
                <a:gd name="T6" fmla="*/ 7 w 7"/>
                <a:gd name="T7" fmla="*/ 11 h 11"/>
                <a:gd name="T8" fmla="*/ 7 w 7"/>
                <a:gd name="T9" fmla="*/ 0 h 11"/>
              </a:gdLst>
              <a:ahLst/>
              <a:cxnLst>
                <a:cxn ang="0">
                  <a:pos x="T0" y="T1"/>
                </a:cxn>
                <a:cxn ang="0">
                  <a:pos x="T2" y="T3"/>
                </a:cxn>
                <a:cxn ang="0">
                  <a:pos x="T4" y="T5"/>
                </a:cxn>
                <a:cxn ang="0">
                  <a:pos x="T6" y="T7"/>
                </a:cxn>
                <a:cxn ang="0">
                  <a:pos x="T8" y="T9"/>
                </a:cxn>
              </a:cxnLst>
              <a:rect l="0" t="0" r="r" b="b"/>
              <a:pathLst>
                <a:path w="7" h="11">
                  <a:moveTo>
                    <a:pt x="7" y="0"/>
                  </a:moveTo>
                  <a:lnTo>
                    <a:pt x="0" y="1"/>
                  </a:lnTo>
                  <a:lnTo>
                    <a:pt x="1" y="2"/>
                  </a:lnTo>
                  <a:lnTo>
                    <a:pt x="7" y="11"/>
                  </a:lnTo>
                  <a:lnTo>
                    <a:pt x="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18" name="Freeform 45"/>
            <p:cNvSpPr>
              <a:spLocks noEditPoints="1"/>
            </p:cNvSpPr>
            <p:nvPr/>
          </p:nvSpPr>
          <p:spPr bwMode="auto">
            <a:xfrm>
              <a:off x="6066827" y="3581911"/>
              <a:ext cx="141944" cy="180655"/>
            </a:xfrm>
            <a:custGeom>
              <a:avLst/>
              <a:gdLst>
                <a:gd name="T0" fmla="*/ 32 w 37"/>
                <a:gd name="T1" fmla="*/ 42 h 48"/>
                <a:gd name="T2" fmla="*/ 37 w 37"/>
                <a:gd name="T3" fmla="*/ 48 h 48"/>
                <a:gd name="T4" fmla="*/ 32 w 37"/>
                <a:gd name="T5" fmla="*/ 42 h 48"/>
                <a:gd name="T6" fmla="*/ 0 w 37"/>
                <a:gd name="T7" fmla="*/ 0 h 48"/>
                <a:gd name="T8" fmla="*/ 0 w 37"/>
                <a:gd name="T9" fmla="*/ 5 h 48"/>
                <a:gd name="T10" fmla="*/ 9 w 37"/>
                <a:gd name="T11" fmla="*/ 21 h 48"/>
                <a:gd name="T12" fmla="*/ 32 w 37"/>
                <a:gd name="T13" fmla="*/ 42 h 48"/>
                <a:gd name="T14" fmla="*/ 0 w 37"/>
                <a:gd name="T15" fmla="*/ 0 h 4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7" h="48">
                  <a:moveTo>
                    <a:pt x="32" y="42"/>
                  </a:moveTo>
                  <a:cubicBezTo>
                    <a:pt x="37" y="48"/>
                    <a:pt x="37" y="48"/>
                    <a:pt x="37" y="48"/>
                  </a:cubicBezTo>
                  <a:cubicBezTo>
                    <a:pt x="36" y="46"/>
                    <a:pt x="34" y="44"/>
                    <a:pt x="32" y="42"/>
                  </a:cubicBezTo>
                  <a:moveTo>
                    <a:pt x="0" y="0"/>
                  </a:moveTo>
                  <a:cubicBezTo>
                    <a:pt x="0" y="5"/>
                    <a:pt x="0" y="5"/>
                    <a:pt x="0" y="5"/>
                  </a:cubicBezTo>
                  <a:cubicBezTo>
                    <a:pt x="9" y="21"/>
                    <a:pt x="9" y="21"/>
                    <a:pt x="9" y="21"/>
                  </a:cubicBezTo>
                  <a:cubicBezTo>
                    <a:pt x="17" y="26"/>
                    <a:pt x="25" y="33"/>
                    <a:pt x="32" y="42"/>
                  </a:cubicBezTo>
                  <a:cubicBezTo>
                    <a:pt x="0" y="0"/>
                    <a:pt x="0" y="0"/>
                    <a:pt x="0" y="0"/>
                  </a:cubicBezTo>
                </a:path>
              </a:pathLst>
            </a:custGeom>
            <a:solidFill>
              <a:srgbClr val="8E8E8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19" name="Freeform 46"/>
            <p:cNvSpPr>
              <a:spLocks/>
            </p:cNvSpPr>
            <p:nvPr/>
          </p:nvSpPr>
          <p:spPr bwMode="auto">
            <a:xfrm>
              <a:off x="6028115" y="3523845"/>
              <a:ext cx="38712" cy="77424"/>
            </a:xfrm>
            <a:custGeom>
              <a:avLst/>
              <a:gdLst>
                <a:gd name="T0" fmla="*/ 0 w 6"/>
                <a:gd name="T1" fmla="*/ 0 h 12"/>
                <a:gd name="T2" fmla="*/ 6 w 6"/>
                <a:gd name="T3" fmla="*/ 12 h 12"/>
                <a:gd name="T4" fmla="*/ 6 w 6"/>
                <a:gd name="T5" fmla="*/ 9 h 12"/>
                <a:gd name="T6" fmla="*/ 0 w 6"/>
                <a:gd name="T7" fmla="*/ 0 h 12"/>
              </a:gdLst>
              <a:ahLst/>
              <a:cxnLst>
                <a:cxn ang="0">
                  <a:pos x="T0" y="T1"/>
                </a:cxn>
                <a:cxn ang="0">
                  <a:pos x="T2" y="T3"/>
                </a:cxn>
                <a:cxn ang="0">
                  <a:pos x="T4" y="T5"/>
                </a:cxn>
                <a:cxn ang="0">
                  <a:pos x="T6" y="T7"/>
                </a:cxn>
              </a:cxnLst>
              <a:rect l="0" t="0" r="r" b="b"/>
              <a:pathLst>
                <a:path w="6" h="12">
                  <a:moveTo>
                    <a:pt x="0" y="0"/>
                  </a:moveTo>
                  <a:lnTo>
                    <a:pt x="6" y="12"/>
                  </a:lnTo>
                  <a:lnTo>
                    <a:pt x="6" y="9"/>
                  </a:lnTo>
                  <a:lnTo>
                    <a:pt x="0" y="0"/>
                  </a:lnTo>
                  <a:close/>
                </a:path>
              </a:pathLst>
            </a:custGeom>
            <a:solidFill>
              <a:srgbClr val="0043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20" name="Freeform 47"/>
            <p:cNvSpPr>
              <a:spLocks/>
            </p:cNvSpPr>
            <p:nvPr/>
          </p:nvSpPr>
          <p:spPr bwMode="auto">
            <a:xfrm>
              <a:off x="6028115" y="3523845"/>
              <a:ext cx="38712" cy="77424"/>
            </a:xfrm>
            <a:custGeom>
              <a:avLst/>
              <a:gdLst>
                <a:gd name="T0" fmla="*/ 0 w 6"/>
                <a:gd name="T1" fmla="*/ 0 h 12"/>
                <a:gd name="T2" fmla="*/ 6 w 6"/>
                <a:gd name="T3" fmla="*/ 12 h 12"/>
                <a:gd name="T4" fmla="*/ 6 w 6"/>
                <a:gd name="T5" fmla="*/ 9 h 12"/>
                <a:gd name="T6" fmla="*/ 0 w 6"/>
                <a:gd name="T7" fmla="*/ 0 h 12"/>
              </a:gdLst>
              <a:ahLst/>
              <a:cxnLst>
                <a:cxn ang="0">
                  <a:pos x="T0" y="T1"/>
                </a:cxn>
                <a:cxn ang="0">
                  <a:pos x="T2" y="T3"/>
                </a:cxn>
                <a:cxn ang="0">
                  <a:pos x="T4" y="T5"/>
                </a:cxn>
                <a:cxn ang="0">
                  <a:pos x="T6" y="T7"/>
                </a:cxn>
              </a:cxnLst>
              <a:rect l="0" t="0" r="r" b="b"/>
              <a:pathLst>
                <a:path w="6" h="12">
                  <a:moveTo>
                    <a:pt x="0" y="0"/>
                  </a:moveTo>
                  <a:lnTo>
                    <a:pt x="6" y="12"/>
                  </a:lnTo>
                  <a:lnTo>
                    <a:pt x="6" y="9"/>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21" name="Freeform 48"/>
            <p:cNvSpPr>
              <a:spLocks/>
            </p:cNvSpPr>
            <p:nvPr/>
          </p:nvSpPr>
          <p:spPr bwMode="auto">
            <a:xfrm>
              <a:off x="7499167" y="5285233"/>
              <a:ext cx="206463" cy="1277492"/>
            </a:xfrm>
            <a:custGeom>
              <a:avLst/>
              <a:gdLst>
                <a:gd name="T0" fmla="*/ 0 w 32"/>
                <a:gd name="T1" fmla="*/ 0 h 198"/>
                <a:gd name="T2" fmla="*/ 13 w 32"/>
                <a:gd name="T3" fmla="*/ 198 h 198"/>
                <a:gd name="T4" fmla="*/ 32 w 32"/>
                <a:gd name="T5" fmla="*/ 198 h 198"/>
                <a:gd name="T6" fmla="*/ 0 w 32"/>
                <a:gd name="T7" fmla="*/ 0 h 198"/>
              </a:gdLst>
              <a:ahLst/>
              <a:cxnLst>
                <a:cxn ang="0">
                  <a:pos x="T0" y="T1"/>
                </a:cxn>
                <a:cxn ang="0">
                  <a:pos x="T2" y="T3"/>
                </a:cxn>
                <a:cxn ang="0">
                  <a:pos x="T4" y="T5"/>
                </a:cxn>
                <a:cxn ang="0">
                  <a:pos x="T6" y="T7"/>
                </a:cxn>
              </a:cxnLst>
              <a:rect l="0" t="0" r="r" b="b"/>
              <a:pathLst>
                <a:path w="32" h="198">
                  <a:moveTo>
                    <a:pt x="0" y="0"/>
                  </a:moveTo>
                  <a:lnTo>
                    <a:pt x="13" y="198"/>
                  </a:lnTo>
                  <a:lnTo>
                    <a:pt x="32" y="198"/>
                  </a:lnTo>
                  <a:lnTo>
                    <a:pt x="0" y="0"/>
                  </a:lnTo>
                  <a:close/>
                </a:path>
              </a:pathLst>
            </a:custGeom>
            <a:solidFill>
              <a:srgbClr val="1A315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22" name="Freeform 49"/>
            <p:cNvSpPr>
              <a:spLocks/>
            </p:cNvSpPr>
            <p:nvPr/>
          </p:nvSpPr>
          <p:spPr bwMode="auto">
            <a:xfrm>
              <a:off x="7499167" y="5285233"/>
              <a:ext cx="206463" cy="1277492"/>
            </a:xfrm>
            <a:custGeom>
              <a:avLst/>
              <a:gdLst>
                <a:gd name="T0" fmla="*/ 0 w 32"/>
                <a:gd name="T1" fmla="*/ 0 h 198"/>
                <a:gd name="T2" fmla="*/ 13 w 32"/>
                <a:gd name="T3" fmla="*/ 198 h 198"/>
                <a:gd name="T4" fmla="*/ 32 w 32"/>
                <a:gd name="T5" fmla="*/ 198 h 198"/>
                <a:gd name="T6" fmla="*/ 0 w 32"/>
                <a:gd name="T7" fmla="*/ 0 h 198"/>
              </a:gdLst>
              <a:ahLst/>
              <a:cxnLst>
                <a:cxn ang="0">
                  <a:pos x="T0" y="T1"/>
                </a:cxn>
                <a:cxn ang="0">
                  <a:pos x="T2" y="T3"/>
                </a:cxn>
                <a:cxn ang="0">
                  <a:pos x="T4" y="T5"/>
                </a:cxn>
                <a:cxn ang="0">
                  <a:pos x="T6" y="T7"/>
                </a:cxn>
              </a:cxnLst>
              <a:rect l="0" t="0" r="r" b="b"/>
              <a:pathLst>
                <a:path w="32" h="198">
                  <a:moveTo>
                    <a:pt x="0" y="0"/>
                  </a:moveTo>
                  <a:lnTo>
                    <a:pt x="13" y="198"/>
                  </a:lnTo>
                  <a:lnTo>
                    <a:pt x="32" y="198"/>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23" name="Freeform 50"/>
            <p:cNvSpPr>
              <a:spLocks/>
            </p:cNvSpPr>
            <p:nvPr/>
          </p:nvSpPr>
          <p:spPr bwMode="auto">
            <a:xfrm>
              <a:off x="4202205" y="4943280"/>
              <a:ext cx="283887" cy="1619445"/>
            </a:xfrm>
            <a:custGeom>
              <a:avLst/>
              <a:gdLst>
                <a:gd name="T0" fmla="*/ 40 w 44"/>
                <a:gd name="T1" fmla="*/ 0 h 251"/>
                <a:gd name="T2" fmla="*/ 40 w 44"/>
                <a:gd name="T3" fmla="*/ 0 h 251"/>
                <a:gd name="T4" fmla="*/ 0 w 44"/>
                <a:gd name="T5" fmla="*/ 251 h 251"/>
                <a:gd name="T6" fmla="*/ 44 w 44"/>
                <a:gd name="T7" fmla="*/ 251 h 251"/>
                <a:gd name="T8" fmla="*/ 40 w 44"/>
                <a:gd name="T9" fmla="*/ 0 h 251"/>
              </a:gdLst>
              <a:ahLst/>
              <a:cxnLst>
                <a:cxn ang="0">
                  <a:pos x="T0" y="T1"/>
                </a:cxn>
                <a:cxn ang="0">
                  <a:pos x="T2" y="T3"/>
                </a:cxn>
                <a:cxn ang="0">
                  <a:pos x="T4" y="T5"/>
                </a:cxn>
                <a:cxn ang="0">
                  <a:pos x="T6" y="T7"/>
                </a:cxn>
                <a:cxn ang="0">
                  <a:pos x="T8" y="T9"/>
                </a:cxn>
              </a:cxnLst>
              <a:rect l="0" t="0" r="r" b="b"/>
              <a:pathLst>
                <a:path w="44" h="251">
                  <a:moveTo>
                    <a:pt x="40" y="0"/>
                  </a:moveTo>
                  <a:lnTo>
                    <a:pt x="40" y="0"/>
                  </a:lnTo>
                  <a:lnTo>
                    <a:pt x="0" y="251"/>
                  </a:lnTo>
                  <a:lnTo>
                    <a:pt x="44" y="251"/>
                  </a:lnTo>
                  <a:lnTo>
                    <a:pt x="40" y="0"/>
                  </a:lnTo>
                  <a:close/>
                </a:path>
              </a:pathLst>
            </a:custGeom>
            <a:solidFill>
              <a:srgbClr val="1A315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24" name="Freeform 51"/>
            <p:cNvSpPr>
              <a:spLocks/>
            </p:cNvSpPr>
            <p:nvPr/>
          </p:nvSpPr>
          <p:spPr bwMode="auto">
            <a:xfrm>
              <a:off x="4202205" y="4943280"/>
              <a:ext cx="283887" cy="1619445"/>
            </a:xfrm>
            <a:custGeom>
              <a:avLst/>
              <a:gdLst>
                <a:gd name="T0" fmla="*/ 40 w 44"/>
                <a:gd name="T1" fmla="*/ 0 h 251"/>
                <a:gd name="T2" fmla="*/ 40 w 44"/>
                <a:gd name="T3" fmla="*/ 0 h 251"/>
                <a:gd name="T4" fmla="*/ 0 w 44"/>
                <a:gd name="T5" fmla="*/ 251 h 251"/>
                <a:gd name="T6" fmla="*/ 44 w 44"/>
                <a:gd name="T7" fmla="*/ 251 h 251"/>
                <a:gd name="T8" fmla="*/ 40 w 44"/>
                <a:gd name="T9" fmla="*/ 0 h 251"/>
              </a:gdLst>
              <a:ahLst/>
              <a:cxnLst>
                <a:cxn ang="0">
                  <a:pos x="T0" y="T1"/>
                </a:cxn>
                <a:cxn ang="0">
                  <a:pos x="T2" y="T3"/>
                </a:cxn>
                <a:cxn ang="0">
                  <a:pos x="T4" y="T5"/>
                </a:cxn>
                <a:cxn ang="0">
                  <a:pos x="T6" y="T7"/>
                </a:cxn>
                <a:cxn ang="0">
                  <a:pos x="T8" y="T9"/>
                </a:cxn>
              </a:cxnLst>
              <a:rect l="0" t="0" r="r" b="b"/>
              <a:pathLst>
                <a:path w="44" h="251">
                  <a:moveTo>
                    <a:pt x="40" y="0"/>
                  </a:moveTo>
                  <a:lnTo>
                    <a:pt x="40" y="0"/>
                  </a:lnTo>
                  <a:lnTo>
                    <a:pt x="0" y="251"/>
                  </a:lnTo>
                  <a:lnTo>
                    <a:pt x="44" y="251"/>
                  </a:lnTo>
                  <a:lnTo>
                    <a:pt x="4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25" name="Freeform 52"/>
            <p:cNvSpPr>
              <a:spLocks/>
            </p:cNvSpPr>
            <p:nvPr/>
          </p:nvSpPr>
          <p:spPr bwMode="auto">
            <a:xfrm>
              <a:off x="5208715" y="762398"/>
              <a:ext cx="1567834" cy="2213027"/>
            </a:xfrm>
            <a:custGeom>
              <a:avLst/>
              <a:gdLst>
                <a:gd name="T0" fmla="*/ 390 w 404"/>
                <a:gd name="T1" fmla="*/ 299 h 575"/>
                <a:gd name="T2" fmla="*/ 390 w 404"/>
                <a:gd name="T3" fmla="*/ 47 h 575"/>
                <a:gd name="T4" fmla="*/ 343 w 404"/>
                <a:gd name="T5" fmla="*/ 0 h 575"/>
                <a:gd name="T6" fmla="*/ 331 w 404"/>
                <a:gd name="T7" fmla="*/ 0 h 575"/>
                <a:gd name="T8" fmla="*/ 197 w 404"/>
                <a:gd name="T9" fmla="*/ 48 h 575"/>
                <a:gd name="T10" fmla="*/ 62 w 404"/>
                <a:gd name="T11" fmla="*/ 0 h 575"/>
                <a:gd name="T12" fmla="*/ 61 w 404"/>
                <a:gd name="T13" fmla="*/ 0 h 575"/>
                <a:gd name="T14" fmla="*/ 15 w 404"/>
                <a:gd name="T15" fmla="*/ 47 h 575"/>
                <a:gd name="T16" fmla="*/ 15 w 404"/>
                <a:gd name="T17" fmla="*/ 299 h 575"/>
                <a:gd name="T18" fmla="*/ 3 w 404"/>
                <a:gd name="T19" fmla="*/ 446 h 575"/>
                <a:gd name="T20" fmla="*/ 59 w 404"/>
                <a:gd name="T21" fmla="*/ 538 h 575"/>
                <a:gd name="T22" fmla="*/ 143 w 404"/>
                <a:gd name="T23" fmla="*/ 575 h 575"/>
                <a:gd name="T24" fmla="*/ 261 w 404"/>
                <a:gd name="T25" fmla="*/ 575 h 575"/>
                <a:gd name="T26" fmla="*/ 346 w 404"/>
                <a:gd name="T27" fmla="*/ 538 h 575"/>
                <a:gd name="T28" fmla="*/ 401 w 404"/>
                <a:gd name="T29" fmla="*/ 446 h 575"/>
                <a:gd name="T30" fmla="*/ 390 w 404"/>
                <a:gd name="T31" fmla="*/ 299 h 5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04" h="575">
                  <a:moveTo>
                    <a:pt x="390" y="299"/>
                  </a:moveTo>
                  <a:cubicBezTo>
                    <a:pt x="390" y="47"/>
                    <a:pt x="390" y="47"/>
                    <a:pt x="390" y="47"/>
                  </a:cubicBezTo>
                  <a:cubicBezTo>
                    <a:pt x="390" y="21"/>
                    <a:pt x="369" y="0"/>
                    <a:pt x="343" y="0"/>
                  </a:cubicBezTo>
                  <a:cubicBezTo>
                    <a:pt x="331" y="0"/>
                    <a:pt x="331" y="0"/>
                    <a:pt x="331" y="0"/>
                  </a:cubicBezTo>
                  <a:cubicBezTo>
                    <a:pt x="295" y="30"/>
                    <a:pt x="248" y="48"/>
                    <a:pt x="197" y="48"/>
                  </a:cubicBezTo>
                  <a:cubicBezTo>
                    <a:pt x="146" y="48"/>
                    <a:pt x="99" y="30"/>
                    <a:pt x="62" y="0"/>
                  </a:cubicBezTo>
                  <a:cubicBezTo>
                    <a:pt x="61" y="0"/>
                    <a:pt x="61" y="0"/>
                    <a:pt x="61" y="0"/>
                  </a:cubicBezTo>
                  <a:cubicBezTo>
                    <a:pt x="36" y="0"/>
                    <a:pt x="15" y="21"/>
                    <a:pt x="15" y="47"/>
                  </a:cubicBezTo>
                  <a:cubicBezTo>
                    <a:pt x="15" y="299"/>
                    <a:pt x="15" y="299"/>
                    <a:pt x="15" y="299"/>
                  </a:cubicBezTo>
                  <a:cubicBezTo>
                    <a:pt x="3" y="446"/>
                    <a:pt x="3" y="446"/>
                    <a:pt x="3" y="446"/>
                  </a:cubicBezTo>
                  <a:cubicBezTo>
                    <a:pt x="0" y="485"/>
                    <a:pt x="23" y="522"/>
                    <a:pt x="59" y="538"/>
                  </a:cubicBezTo>
                  <a:cubicBezTo>
                    <a:pt x="143" y="575"/>
                    <a:pt x="143" y="575"/>
                    <a:pt x="143" y="575"/>
                  </a:cubicBezTo>
                  <a:cubicBezTo>
                    <a:pt x="261" y="575"/>
                    <a:pt x="261" y="575"/>
                    <a:pt x="261" y="575"/>
                  </a:cubicBezTo>
                  <a:cubicBezTo>
                    <a:pt x="346" y="538"/>
                    <a:pt x="346" y="538"/>
                    <a:pt x="346" y="538"/>
                  </a:cubicBezTo>
                  <a:cubicBezTo>
                    <a:pt x="382" y="522"/>
                    <a:pt x="404" y="485"/>
                    <a:pt x="401" y="446"/>
                  </a:cubicBezTo>
                  <a:cubicBezTo>
                    <a:pt x="390" y="299"/>
                    <a:pt x="390" y="299"/>
                    <a:pt x="390" y="299"/>
                  </a:cubicBezTo>
                </a:path>
              </a:pathLst>
            </a:custGeom>
            <a:solidFill>
              <a:srgbClr val="7A45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26" name="Freeform 53"/>
            <p:cNvSpPr>
              <a:spLocks/>
            </p:cNvSpPr>
            <p:nvPr/>
          </p:nvSpPr>
          <p:spPr bwMode="auto">
            <a:xfrm>
              <a:off x="5724874" y="1465662"/>
              <a:ext cx="232271" cy="541966"/>
            </a:xfrm>
            <a:custGeom>
              <a:avLst/>
              <a:gdLst>
                <a:gd name="T0" fmla="*/ 36 w 36"/>
                <a:gd name="T1" fmla="*/ 0 h 84"/>
                <a:gd name="T2" fmla="*/ 0 w 36"/>
                <a:gd name="T3" fmla="*/ 84 h 84"/>
                <a:gd name="T4" fmla="*/ 36 w 36"/>
                <a:gd name="T5" fmla="*/ 84 h 84"/>
                <a:gd name="T6" fmla="*/ 36 w 36"/>
                <a:gd name="T7" fmla="*/ 0 h 84"/>
              </a:gdLst>
              <a:ahLst/>
              <a:cxnLst>
                <a:cxn ang="0">
                  <a:pos x="T0" y="T1"/>
                </a:cxn>
                <a:cxn ang="0">
                  <a:pos x="T2" y="T3"/>
                </a:cxn>
                <a:cxn ang="0">
                  <a:pos x="T4" y="T5"/>
                </a:cxn>
                <a:cxn ang="0">
                  <a:pos x="T6" y="T7"/>
                </a:cxn>
              </a:cxnLst>
              <a:rect l="0" t="0" r="r" b="b"/>
              <a:pathLst>
                <a:path w="36" h="84">
                  <a:moveTo>
                    <a:pt x="36" y="0"/>
                  </a:moveTo>
                  <a:lnTo>
                    <a:pt x="0" y="84"/>
                  </a:lnTo>
                  <a:lnTo>
                    <a:pt x="36" y="84"/>
                  </a:lnTo>
                  <a:lnTo>
                    <a:pt x="36" y="0"/>
                  </a:lnTo>
                  <a:close/>
                </a:path>
              </a:pathLst>
            </a:custGeom>
            <a:solidFill>
              <a:srgbClr val="8E5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27" name="Freeform 54"/>
            <p:cNvSpPr>
              <a:spLocks/>
            </p:cNvSpPr>
            <p:nvPr/>
          </p:nvSpPr>
          <p:spPr bwMode="auto">
            <a:xfrm>
              <a:off x="5724874" y="1465662"/>
              <a:ext cx="232271" cy="541966"/>
            </a:xfrm>
            <a:custGeom>
              <a:avLst/>
              <a:gdLst>
                <a:gd name="T0" fmla="*/ 36 w 36"/>
                <a:gd name="T1" fmla="*/ 0 h 84"/>
                <a:gd name="T2" fmla="*/ 0 w 36"/>
                <a:gd name="T3" fmla="*/ 84 h 84"/>
                <a:gd name="T4" fmla="*/ 36 w 36"/>
                <a:gd name="T5" fmla="*/ 84 h 84"/>
                <a:gd name="T6" fmla="*/ 36 w 36"/>
                <a:gd name="T7" fmla="*/ 0 h 84"/>
              </a:gdLst>
              <a:ahLst/>
              <a:cxnLst>
                <a:cxn ang="0">
                  <a:pos x="T0" y="T1"/>
                </a:cxn>
                <a:cxn ang="0">
                  <a:pos x="T2" y="T3"/>
                </a:cxn>
                <a:cxn ang="0">
                  <a:pos x="T4" y="T5"/>
                </a:cxn>
                <a:cxn ang="0">
                  <a:pos x="T6" y="T7"/>
                </a:cxn>
              </a:cxnLst>
              <a:rect l="0" t="0" r="r" b="b"/>
              <a:pathLst>
                <a:path w="36" h="84">
                  <a:moveTo>
                    <a:pt x="36" y="0"/>
                  </a:moveTo>
                  <a:lnTo>
                    <a:pt x="0" y="84"/>
                  </a:lnTo>
                  <a:lnTo>
                    <a:pt x="36" y="84"/>
                  </a:lnTo>
                  <a:lnTo>
                    <a:pt x="3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28" name="Freeform 55"/>
            <p:cNvSpPr>
              <a:spLocks/>
            </p:cNvSpPr>
            <p:nvPr/>
          </p:nvSpPr>
          <p:spPr bwMode="auto">
            <a:xfrm>
              <a:off x="5815201" y="2014082"/>
              <a:ext cx="277437" cy="90328"/>
            </a:xfrm>
            <a:custGeom>
              <a:avLst/>
              <a:gdLst>
                <a:gd name="T0" fmla="*/ 48 w 72"/>
                <a:gd name="T1" fmla="*/ 0 h 24"/>
                <a:gd name="T2" fmla="*/ 23 w 72"/>
                <a:gd name="T3" fmla="*/ 0 h 24"/>
                <a:gd name="T4" fmla="*/ 0 w 72"/>
                <a:gd name="T5" fmla="*/ 16 h 24"/>
                <a:gd name="T6" fmla="*/ 37 w 72"/>
                <a:gd name="T7" fmla="*/ 24 h 24"/>
                <a:gd name="T8" fmla="*/ 72 w 72"/>
                <a:gd name="T9" fmla="*/ 17 h 24"/>
                <a:gd name="T10" fmla="*/ 48 w 72"/>
                <a:gd name="T11" fmla="*/ 0 h 24"/>
              </a:gdLst>
              <a:ahLst/>
              <a:cxnLst>
                <a:cxn ang="0">
                  <a:pos x="T0" y="T1"/>
                </a:cxn>
                <a:cxn ang="0">
                  <a:pos x="T2" y="T3"/>
                </a:cxn>
                <a:cxn ang="0">
                  <a:pos x="T4" y="T5"/>
                </a:cxn>
                <a:cxn ang="0">
                  <a:pos x="T6" y="T7"/>
                </a:cxn>
                <a:cxn ang="0">
                  <a:pos x="T8" y="T9"/>
                </a:cxn>
                <a:cxn ang="0">
                  <a:pos x="T10" y="T11"/>
                </a:cxn>
              </a:cxnLst>
              <a:rect l="0" t="0" r="r" b="b"/>
              <a:pathLst>
                <a:path w="72" h="24">
                  <a:moveTo>
                    <a:pt x="48" y="0"/>
                  </a:moveTo>
                  <a:cubicBezTo>
                    <a:pt x="23" y="0"/>
                    <a:pt x="23" y="0"/>
                    <a:pt x="23" y="0"/>
                  </a:cubicBezTo>
                  <a:cubicBezTo>
                    <a:pt x="0" y="16"/>
                    <a:pt x="0" y="16"/>
                    <a:pt x="0" y="16"/>
                  </a:cubicBezTo>
                  <a:cubicBezTo>
                    <a:pt x="12" y="21"/>
                    <a:pt x="24" y="24"/>
                    <a:pt x="37" y="24"/>
                  </a:cubicBezTo>
                  <a:cubicBezTo>
                    <a:pt x="49" y="24"/>
                    <a:pt x="61" y="21"/>
                    <a:pt x="72" y="17"/>
                  </a:cubicBezTo>
                  <a:cubicBezTo>
                    <a:pt x="48" y="0"/>
                    <a:pt x="48" y="0"/>
                    <a:pt x="48" y="0"/>
                  </a:cubicBezTo>
                </a:path>
              </a:pathLst>
            </a:custGeom>
            <a:solidFill>
              <a:srgbClr val="55301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29" name="Freeform 56"/>
            <p:cNvSpPr>
              <a:spLocks noEditPoints="1"/>
            </p:cNvSpPr>
            <p:nvPr/>
          </p:nvSpPr>
          <p:spPr bwMode="auto">
            <a:xfrm>
              <a:off x="5957145" y="1607605"/>
              <a:ext cx="167752" cy="400023"/>
            </a:xfrm>
            <a:custGeom>
              <a:avLst/>
              <a:gdLst>
                <a:gd name="T0" fmla="*/ 0 w 43"/>
                <a:gd name="T1" fmla="*/ 97 h 104"/>
                <a:gd name="T2" fmla="*/ 0 w 43"/>
                <a:gd name="T3" fmla="*/ 104 h 104"/>
                <a:gd name="T4" fmla="*/ 11 w 43"/>
                <a:gd name="T5" fmla="*/ 104 h 104"/>
                <a:gd name="T6" fmla="*/ 0 w 43"/>
                <a:gd name="T7" fmla="*/ 97 h 104"/>
                <a:gd name="T8" fmla="*/ 2 w 43"/>
                <a:gd name="T9" fmla="*/ 0 h 104"/>
                <a:gd name="T10" fmla="*/ 0 w 43"/>
                <a:gd name="T11" fmla="*/ 0 h 104"/>
                <a:gd name="T12" fmla="*/ 0 w 43"/>
                <a:gd name="T13" fmla="*/ 87 h 104"/>
                <a:gd name="T14" fmla="*/ 43 w 43"/>
                <a:gd name="T15" fmla="*/ 63 h 104"/>
                <a:gd name="T16" fmla="*/ 16 w 43"/>
                <a:gd name="T17" fmla="*/ 1 h 104"/>
                <a:gd name="T18" fmla="*/ 2 w 43"/>
                <a:gd name="T19"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3" h="104">
                  <a:moveTo>
                    <a:pt x="0" y="97"/>
                  </a:moveTo>
                  <a:cubicBezTo>
                    <a:pt x="0" y="104"/>
                    <a:pt x="0" y="104"/>
                    <a:pt x="0" y="104"/>
                  </a:cubicBezTo>
                  <a:cubicBezTo>
                    <a:pt x="11" y="104"/>
                    <a:pt x="11" y="104"/>
                    <a:pt x="11" y="104"/>
                  </a:cubicBezTo>
                  <a:cubicBezTo>
                    <a:pt x="0" y="97"/>
                    <a:pt x="0" y="97"/>
                    <a:pt x="0" y="97"/>
                  </a:cubicBezTo>
                  <a:moveTo>
                    <a:pt x="2" y="0"/>
                  </a:moveTo>
                  <a:cubicBezTo>
                    <a:pt x="1" y="0"/>
                    <a:pt x="1" y="0"/>
                    <a:pt x="0" y="0"/>
                  </a:cubicBezTo>
                  <a:cubicBezTo>
                    <a:pt x="0" y="87"/>
                    <a:pt x="0" y="87"/>
                    <a:pt x="0" y="87"/>
                  </a:cubicBezTo>
                  <a:cubicBezTo>
                    <a:pt x="7" y="80"/>
                    <a:pt x="21" y="67"/>
                    <a:pt x="43" y="63"/>
                  </a:cubicBezTo>
                  <a:cubicBezTo>
                    <a:pt x="16" y="1"/>
                    <a:pt x="16" y="1"/>
                    <a:pt x="16" y="1"/>
                  </a:cubicBezTo>
                  <a:cubicBezTo>
                    <a:pt x="12" y="0"/>
                    <a:pt x="7" y="0"/>
                    <a:pt x="2" y="0"/>
                  </a:cubicBezTo>
                </a:path>
              </a:pathLst>
            </a:custGeom>
            <a:solidFill>
              <a:srgbClr val="55301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30" name="Oval 57"/>
            <p:cNvSpPr>
              <a:spLocks noChangeArrowheads="1"/>
            </p:cNvSpPr>
            <p:nvPr/>
          </p:nvSpPr>
          <p:spPr bwMode="auto">
            <a:xfrm>
              <a:off x="6795903" y="1665675"/>
              <a:ext cx="548421" cy="554870"/>
            </a:xfrm>
            <a:prstGeom prst="ellipse">
              <a:avLst/>
            </a:prstGeom>
            <a:solidFill>
              <a:srgbClr val="8E5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31" name="Oval 58"/>
            <p:cNvSpPr>
              <a:spLocks noChangeArrowheads="1"/>
            </p:cNvSpPr>
            <p:nvPr/>
          </p:nvSpPr>
          <p:spPr bwMode="auto">
            <a:xfrm>
              <a:off x="4563516" y="1665675"/>
              <a:ext cx="554871" cy="554870"/>
            </a:xfrm>
            <a:prstGeom prst="ellipse">
              <a:avLst/>
            </a:prstGeom>
            <a:solidFill>
              <a:srgbClr val="8E5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32" name="Freeform 59"/>
            <p:cNvSpPr>
              <a:spLocks/>
            </p:cNvSpPr>
            <p:nvPr/>
          </p:nvSpPr>
          <p:spPr bwMode="auto">
            <a:xfrm>
              <a:off x="5944241" y="936599"/>
              <a:ext cx="2032377" cy="1787196"/>
            </a:xfrm>
            <a:custGeom>
              <a:avLst/>
              <a:gdLst>
                <a:gd name="T0" fmla="*/ 333 w 525"/>
                <a:gd name="T1" fmla="*/ 465 h 465"/>
                <a:gd name="T2" fmla="*/ 267 w 525"/>
                <a:gd name="T3" fmla="*/ 420 h 465"/>
                <a:gd name="T4" fmla="*/ 211 w 525"/>
                <a:gd name="T5" fmla="*/ 420 h 465"/>
                <a:gd name="T6" fmla="*/ 0 w 525"/>
                <a:gd name="T7" fmla="*/ 268 h 465"/>
                <a:gd name="T8" fmla="*/ 118 w 525"/>
                <a:gd name="T9" fmla="*/ 250 h 465"/>
                <a:gd name="T10" fmla="*/ 104 w 525"/>
                <a:gd name="T11" fmla="*/ 118 h 465"/>
                <a:gd name="T12" fmla="*/ 79 w 525"/>
                <a:gd name="T13" fmla="*/ 92 h 465"/>
                <a:gd name="T14" fmla="*/ 138 w 525"/>
                <a:gd name="T15" fmla="*/ 36 h 465"/>
                <a:gd name="T16" fmla="*/ 217 w 525"/>
                <a:gd name="T17" fmla="*/ 0 h 465"/>
                <a:gd name="T18" fmla="*/ 387 w 525"/>
                <a:gd name="T19" fmla="*/ 43 h 465"/>
                <a:gd name="T20" fmla="*/ 519 w 525"/>
                <a:gd name="T21" fmla="*/ 347 h 465"/>
                <a:gd name="T22" fmla="*/ 523 w 525"/>
                <a:gd name="T23" fmla="*/ 366 h 465"/>
                <a:gd name="T24" fmla="*/ 525 w 525"/>
                <a:gd name="T25" fmla="*/ 417 h 465"/>
                <a:gd name="T26" fmla="*/ 333 w 525"/>
                <a:gd name="T27" fmla="*/ 465 h 4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25" h="465">
                  <a:moveTo>
                    <a:pt x="333" y="465"/>
                  </a:moveTo>
                  <a:cubicBezTo>
                    <a:pt x="322" y="439"/>
                    <a:pt x="297" y="420"/>
                    <a:pt x="267" y="420"/>
                  </a:cubicBezTo>
                  <a:cubicBezTo>
                    <a:pt x="211" y="420"/>
                    <a:pt x="211" y="420"/>
                    <a:pt x="211" y="420"/>
                  </a:cubicBezTo>
                  <a:cubicBezTo>
                    <a:pt x="0" y="268"/>
                    <a:pt x="0" y="268"/>
                    <a:pt x="0" y="268"/>
                  </a:cubicBezTo>
                  <a:cubicBezTo>
                    <a:pt x="0" y="268"/>
                    <a:pt x="34" y="211"/>
                    <a:pt x="118" y="250"/>
                  </a:cubicBezTo>
                  <a:cubicBezTo>
                    <a:pt x="104" y="118"/>
                    <a:pt x="104" y="118"/>
                    <a:pt x="104" y="118"/>
                  </a:cubicBezTo>
                  <a:cubicBezTo>
                    <a:pt x="73" y="116"/>
                    <a:pt x="79" y="92"/>
                    <a:pt x="79" y="92"/>
                  </a:cubicBezTo>
                  <a:cubicBezTo>
                    <a:pt x="138" y="36"/>
                    <a:pt x="138" y="36"/>
                    <a:pt x="138" y="36"/>
                  </a:cubicBezTo>
                  <a:cubicBezTo>
                    <a:pt x="217" y="0"/>
                    <a:pt x="217" y="0"/>
                    <a:pt x="217" y="0"/>
                  </a:cubicBezTo>
                  <a:cubicBezTo>
                    <a:pt x="387" y="43"/>
                    <a:pt x="387" y="43"/>
                    <a:pt x="387" y="43"/>
                  </a:cubicBezTo>
                  <a:cubicBezTo>
                    <a:pt x="519" y="347"/>
                    <a:pt x="519" y="347"/>
                    <a:pt x="519" y="347"/>
                  </a:cubicBezTo>
                  <a:cubicBezTo>
                    <a:pt x="522" y="353"/>
                    <a:pt x="523" y="359"/>
                    <a:pt x="523" y="366"/>
                  </a:cubicBezTo>
                  <a:cubicBezTo>
                    <a:pt x="525" y="417"/>
                    <a:pt x="525" y="417"/>
                    <a:pt x="525" y="417"/>
                  </a:cubicBezTo>
                  <a:cubicBezTo>
                    <a:pt x="333" y="465"/>
                    <a:pt x="333" y="465"/>
                    <a:pt x="333" y="465"/>
                  </a:cubicBezTo>
                </a:path>
              </a:pathLst>
            </a:custGeom>
            <a:solidFill>
              <a:srgbClr val="8E5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33" name="Freeform 60"/>
            <p:cNvSpPr>
              <a:spLocks/>
            </p:cNvSpPr>
            <p:nvPr/>
          </p:nvSpPr>
          <p:spPr bwMode="auto">
            <a:xfrm>
              <a:off x="5763585" y="2356035"/>
              <a:ext cx="406477" cy="200009"/>
            </a:xfrm>
            <a:custGeom>
              <a:avLst/>
              <a:gdLst>
                <a:gd name="T0" fmla="*/ 0 w 105"/>
                <a:gd name="T1" fmla="*/ 0 h 53"/>
                <a:gd name="T2" fmla="*/ 53 w 105"/>
                <a:gd name="T3" fmla="*/ 53 h 53"/>
                <a:gd name="T4" fmla="*/ 105 w 105"/>
                <a:gd name="T5" fmla="*/ 0 h 53"/>
              </a:gdLst>
              <a:ahLst/>
              <a:cxnLst>
                <a:cxn ang="0">
                  <a:pos x="T0" y="T1"/>
                </a:cxn>
                <a:cxn ang="0">
                  <a:pos x="T2" y="T3"/>
                </a:cxn>
                <a:cxn ang="0">
                  <a:pos x="T4" y="T5"/>
                </a:cxn>
              </a:cxnLst>
              <a:rect l="0" t="0" r="r" b="b"/>
              <a:pathLst>
                <a:path w="105" h="53">
                  <a:moveTo>
                    <a:pt x="0" y="0"/>
                  </a:moveTo>
                  <a:cubicBezTo>
                    <a:pt x="0" y="29"/>
                    <a:pt x="24" y="53"/>
                    <a:pt x="53" y="53"/>
                  </a:cubicBezTo>
                  <a:cubicBezTo>
                    <a:pt x="81" y="53"/>
                    <a:pt x="105" y="29"/>
                    <a:pt x="105"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34" name="Freeform 61"/>
            <p:cNvSpPr>
              <a:spLocks noEditPoints="1"/>
            </p:cNvSpPr>
            <p:nvPr/>
          </p:nvSpPr>
          <p:spPr bwMode="auto">
            <a:xfrm>
              <a:off x="5589380" y="2168929"/>
              <a:ext cx="754884" cy="961343"/>
            </a:xfrm>
            <a:custGeom>
              <a:avLst/>
              <a:gdLst>
                <a:gd name="T0" fmla="*/ 98 w 195"/>
                <a:gd name="T1" fmla="*/ 0 h 248"/>
                <a:gd name="T2" fmla="*/ 96 w 195"/>
                <a:gd name="T3" fmla="*/ 0 h 248"/>
                <a:gd name="T4" fmla="*/ 0 w 195"/>
                <a:gd name="T5" fmla="*/ 97 h 248"/>
                <a:gd name="T6" fmla="*/ 0 w 195"/>
                <a:gd name="T7" fmla="*/ 151 h 248"/>
                <a:gd name="T8" fmla="*/ 96 w 195"/>
                <a:gd name="T9" fmla="*/ 248 h 248"/>
                <a:gd name="T10" fmla="*/ 98 w 195"/>
                <a:gd name="T11" fmla="*/ 248 h 248"/>
                <a:gd name="T12" fmla="*/ 195 w 195"/>
                <a:gd name="T13" fmla="*/ 151 h 248"/>
                <a:gd name="T14" fmla="*/ 195 w 195"/>
                <a:gd name="T15" fmla="*/ 97 h 248"/>
                <a:gd name="T16" fmla="*/ 98 w 195"/>
                <a:gd name="T17" fmla="*/ 0 h 248"/>
                <a:gd name="T18" fmla="*/ 100 w 195"/>
                <a:gd name="T19" fmla="*/ 163 h 248"/>
                <a:gd name="T20" fmla="*/ 95 w 195"/>
                <a:gd name="T21" fmla="*/ 163 h 248"/>
                <a:gd name="T22" fmla="*/ 30 w 195"/>
                <a:gd name="T23" fmla="*/ 116 h 248"/>
                <a:gd name="T24" fmla="*/ 29 w 195"/>
                <a:gd name="T25" fmla="*/ 113 h 248"/>
                <a:gd name="T26" fmla="*/ 40 w 195"/>
                <a:gd name="T27" fmla="*/ 52 h 248"/>
                <a:gd name="T28" fmla="*/ 42 w 195"/>
                <a:gd name="T29" fmla="*/ 49 h 248"/>
                <a:gd name="T30" fmla="*/ 152 w 195"/>
                <a:gd name="T31" fmla="*/ 49 h 248"/>
                <a:gd name="T32" fmla="*/ 155 w 195"/>
                <a:gd name="T33" fmla="*/ 52 h 248"/>
                <a:gd name="T34" fmla="*/ 166 w 195"/>
                <a:gd name="T35" fmla="*/ 113 h 248"/>
                <a:gd name="T36" fmla="*/ 165 w 195"/>
                <a:gd name="T37" fmla="*/ 116 h 248"/>
                <a:gd name="T38" fmla="*/ 100 w 195"/>
                <a:gd name="T39" fmla="*/ 163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95" h="248">
                  <a:moveTo>
                    <a:pt x="98" y="0"/>
                  </a:moveTo>
                  <a:cubicBezTo>
                    <a:pt x="96" y="0"/>
                    <a:pt x="96" y="0"/>
                    <a:pt x="96" y="0"/>
                  </a:cubicBezTo>
                  <a:cubicBezTo>
                    <a:pt x="43" y="0"/>
                    <a:pt x="0" y="43"/>
                    <a:pt x="0" y="97"/>
                  </a:cubicBezTo>
                  <a:cubicBezTo>
                    <a:pt x="0" y="151"/>
                    <a:pt x="0" y="151"/>
                    <a:pt x="0" y="151"/>
                  </a:cubicBezTo>
                  <a:cubicBezTo>
                    <a:pt x="0" y="204"/>
                    <a:pt x="43" y="248"/>
                    <a:pt x="96" y="248"/>
                  </a:cubicBezTo>
                  <a:cubicBezTo>
                    <a:pt x="98" y="248"/>
                    <a:pt x="98" y="248"/>
                    <a:pt x="98" y="248"/>
                  </a:cubicBezTo>
                  <a:cubicBezTo>
                    <a:pt x="152" y="248"/>
                    <a:pt x="195" y="204"/>
                    <a:pt x="195" y="151"/>
                  </a:cubicBezTo>
                  <a:cubicBezTo>
                    <a:pt x="195" y="97"/>
                    <a:pt x="195" y="97"/>
                    <a:pt x="195" y="97"/>
                  </a:cubicBezTo>
                  <a:cubicBezTo>
                    <a:pt x="195" y="43"/>
                    <a:pt x="152" y="0"/>
                    <a:pt x="98" y="0"/>
                  </a:cubicBezTo>
                  <a:close/>
                  <a:moveTo>
                    <a:pt x="100" y="163"/>
                  </a:moveTo>
                  <a:cubicBezTo>
                    <a:pt x="95" y="163"/>
                    <a:pt x="95" y="163"/>
                    <a:pt x="95" y="163"/>
                  </a:cubicBezTo>
                  <a:cubicBezTo>
                    <a:pt x="65" y="163"/>
                    <a:pt x="39" y="144"/>
                    <a:pt x="30" y="116"/>
                  </a:cubicBezTo>
                  <a:cubicBezTo>
                    <a:pt x="29" y="113"/>
                    <a:pt x="29" y="113"/>
                    <a:pt x="29" y="113"/>
                  </a:cubicBezTo>
                  <a:cubicBezTo>
                    <a:pt x="23" y="92"/>
                    <a:pt x="27" y="69"/>
                    <a:pt x="40" y="52"/>
                  </a:cubicBezTo>
                  <a:cubicBezTo>
                    <a:pt x="41" y="51"/>
                    <a:pt x="42" y="50"/>
                    <a:pt x="42" y="49"/>
                  </a:cubicBezTo>
                  <a:cubicBezTo>
                    <a:pt x="152" y="49"/>
                    <a:pt x="152" y="49"/>
                    <a:pt x="152" y="49"/>
                  </a:cubicBezTo>
                  <a:cubicBezTo>
                    <a:pt x="153" y="50"/>
                    <a:pt x="154" y="51"/>
                    <a:pt x="155" y="52"/>
                  </a:cubicBezTo>
                  <a:cubicBezTo>
                    <a:pt x="168" y="69"/>
                    <a:pt x="172" y="92"/>
                    <a:pt x="166" y="113"/>
                  </a:cubicBezTo>
                  <a:cubicBezTo>
                    <a:pt x="165" y="116"/>
                    <a:pt x="165" y="116"/>
                    <a:pt x="165" y="116"/>
                  </a:cubicBezTo>
                  <a:cubicBezTo>
                    <a:pt x="156" y="144"/>
                    <a:pt x="130" y="163"/>
                    <a:pt x="100" y="163"/>
                  </a:cubicBezTo>
                  <a:close/>
                </a:path>
              </a:pathLst>
            </a:custGeom>
            <a:solidFill>
              <a:srgbClr val="001A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35" name="Freeform 62"/>
            <p:cNvSpPr>
              <a:spLocks/>
            </p:cNvSpPr>
            <p:nvPr/>
          </p:nvSpPr>
          <p:spPr bwMode="auto">
            <a:xfrm>
              <a:off x="5531314" y="1368884"/>
              <a:ext cx="845212" cy="341953"/>
            </a:xfrm>
            <a:custGeom>
              <a:avLst/>
              <a:gdLst>
                <a:gd name="T0" fmla="*/ 219 w 219"/>
                <a:gd name="T1" fmla="*/ 89 h 89"/>
                <a:gd name="T2" fmla="*/ 0 w 219"/>
                <a:gd name="T3" fmla="*/ 89 h 89"/>
                <a:gd name="T4" fmla="*/ 0 w 219"/>
                <a:gd name="T5" fmla="*/ 0 h 89"/>
                <a:gd name="T6" fmla="*/ 219 w 219"/>
                <a:gd name="T7" fmla="*/ 0 h 89"/>
                <a:gd name="T8" fmla="*/ 219 w 219"/>
                <a:gd name="T9" fmla="*/ 89 h 89"/>
              </a:gdLst>
              <a:ahLst/>
              <a:cxnLst>
                <a:cxn ang="0">
                  <a:pos x="T0" y="T1"/>
                </a:cxn>
                <a:cxn ang="0">
                  <a:pos x="T2" y="T3"/>
                </a:cxn>
                <a:cxn ang="0">
                  <a:pos x="T4" y="T5"/>
                </a:cxn>
                <a:cxn ang="0">
                  <a:pos x="T6" y="T7"/>
                </a:cxn>
                <a:cxn ang="0">
                  <a:pos x="T8" y="T9"/>
                </a:cxn>
              </a:cxnLst>
              <a:rect l="0" t="0" r="r" b="b"/>
              <a:pathLst>
                <a:path w="219" h="89">
                  <a:moveTo>
                    <a:pt x="219" y="89"/>
                  </a:moveTo>
                  <a:cubicBezTo>
                    <a:pt x="219" y="89"/>
                    <a:pt x="127" y="31"/>
                    <a:pt x="0" y="89"/>
                  </a:cubicBezTo>
                  <a:cubicBezTo>
                    <a:pt x="0" y="0"/>
                    <a:pt x="0" y="0"/>
                    <a:pt x="0" y="0"/>
                  </a:cubicBezTo>
                  <a:cubicBezTo>
                    <a:pt x="0" y="0"/>
                    <a:pt x="92" y="59"/>
                    <a:pt x="219" y="0"/>
                  </a:cubicBezTo>
                  <a:cubicBezTo>
                    <a:pt x="219" y="89"/>
                    <a:pt x="219" y="89"/>
                    <a:pt x="219" y="89"/>
                  </a:cubicBezTo>
                </a:path>
              </a:pathLst>
            </a:custGeom>
            <a:solidFill>
              <a:srgbClr val="001A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36" name="Freeform 63"/>
            <p:cNvSpPr>
              <a:spLocks/>
            </p:cNvSpPr>
            <p:nvPr/>
          </p:nvSpPr>
          <p:spPr bwMode="auto">
            <a:xfrm>
              <a:off x="6170058" y="1039831"/>
              <a:ext cx="1425891" cy="1419435"/>
            </a:xfrm>
            <a:custGeom>
              <a:avLst/>
              <a:gdLst>
                <a:gd name="T0" fmla="*/ 368 w 368"/>
                <a:gd name="T1" fmla="*/ 184 h 368"/>
                <a:gd name="T2" fmla="*/ 354 w 368"/>
                <a:gd name="T3" fmla="*/ 112 h 368"/>
                <a:gd name="T4" fmla="*/ 314 w 368"/>
                <a:gd name="T5" fmla="*/ 54 h 368"/>
                <a:gd name="T6" fmla="*/ 256 w 368"/>
                <a:gd name="T7" fmla="*/ 14 h 368"/>
                <a:gd name="T8" fmla="*/ 184 w 368"/>
                <a:gd name="T9" fmla="*/ 0 h 368"/>
                <a:gd name="T10" fmla="*/ 112 w 368"/>
                <a:gd name="T11" fmla="*/ 14 h 368"/>
                <a:gd name="T12" fmla="*/ 54 w 368"/>
                <a:gd name="T13" fmla="*/ 54 h 368"/>
                <a:gd name="T14" fmla="*/ 14 w 368"/>
                <a:gd name="T15" fmla="*/ 112 h 368"/>
                <a:gd name="T16" fmla="*/ 0 w 368"/>
                <a:gd name="T17" fmla="*/ 184 h 368"/>
                <a:gd name="T18" fmla="*/ 14 w 368"/>
                <a:gd name="T19" fmla="*/ 255 h 368"/>
                <a:gd name="T20" fmla="*/ 54 w 368"/>
                <a:gd name="T21" fmla="*/ 314 h 368"/>
                <a:gd name="T22" fmla="*/ 112 w 368"/>
                <a:gd name="T23" fmla="*/ 353 h 368"/>
                <a:gd name="T24" fmla="*/ 184 w 368"/>
                <a:gd name="T25" fmla="*/ 368 h 368"/>
                <a:gd name="T26" fmla="*/ 256 w 368"/>
                <a:gd name="T27" fmla="*/ 353 h 368"/>
                <a:gd name="T28" fmla="*/ 314 w 368"/>
                <a:gd name="T29" fmla="*/ 314 h 368"/>
                <a:gd name="T30" fmla="*/ 354 w 368"/>
                <a:gd name="T31" fmla="*/ 255 h 368"/>
                <a:gd name="T32" fmla="*/ 368 w 368"/>
                <a:gd name="T33" fmla="*/ 184 h 3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68" h="368">
                  <a:moveTo>
                    <a:pt x="368" y="184"/>
                  </a:moveTo>
                  <a:cubicBezTo>
                    <a:pt x="368" y="158"/>
                    <a:pt x="363" y="134"/>
                    <a:pt x="354" y="112"/>
                  </a:cubicBezTo>
                  <a:cubicBezTo>
                    <a:pt x="344" y="90"/>
                    <a:pt x="331" y="70"/>
                    <a:pt x="314" y="54"/>
                  </a:cubicBezTo>
                  <a:cubicBezTo>
                    <a:pt x="298" y="37"/>
                    <a:pt x="278" y="23"/>
                    <a:pt x="256" y="14"/>
                  </a:cubicBezTo>
                  <a:cubicBezTo>
                    <a:pt x="234" y="5"/>
                    <a:pt x="209" y="0"/>
                    <a:pt x="184" y="0"/>
                  </a:cubicBezTo>
                  <a:cubicBezTo>
                    <a:pt x="159" y="0"/>
                    <a:pt x="134" y="5"/>
                    <a:pt x="112" y="14"/>
                  </a:cubicBezTo>
                  <a:cubicBezTo>
                    <a:pt x="90" y="23"/>
                    <a:pt x="70" y="37"/>
                    <a:pt x="54" y="54"/>
                  </a:cubicBezTo>
                  <a:cubicBezTo>
                    <a:pt x="37" y="70"/>
                    <a:pt x="24" y="90"/>
                    <a:pt x="14" y="112"/>
                  </a:cubicBezTo>
                  <a:cubicBezTo>
                    <a:pt x="5" y="134"/>
                    <a:pt x="0" y="158"/>
                    <a:pt x="0" y="184"/>
                  </a:cubicBezTo>
                  <a:cubicBezTo>
                    <a:pt x="0" y="209"/>
                    <a:pt x="5" y="233"/>
                    <a:pt x="14" y="255"/>
                  </a:cubicBezTo>
                  <a:cubicBezTo>
                    <a:pt x="24" y="277"/>
                    <a:pt x="37" y="297"/>
                    <a:pt x="54" y="314"/>
                  </a:cubicBezTo>
                  <a:cubicBezTo>
                    <a:pt x="70" y="331"/>
                    <a:pt x="90" y="344"/>
                    <a:pt x="112" y="353"/>
                  </a:cubicBezTo>
                  <a:cubicBezTo>
                    <a:pt x="134" y="363"/>
                    <a:pt x="159" y="368"/>
                    <a:pt x="184" y="368"/>
                  </a:cubicBezTo>
                  <a:cubicBezTo>
                    <a:pt x="209" y="368"/>
                    <a:pt x="234" y="363"/>
                    <a:pt x="256" y="353"/>
                  </a:cubicBezTo>
                  <a:cubicBezTo>
                    <a:pt x="278" y="344"/>
                    <a:pt x="298" y="331"/>
                    <a:pt x="314" y="314"/>
                  </a:cubicBezTo>
                  <a:cubicBezTo>
                    <a:pt x="331" y="297"/>
                    <a:pt x="344" y="277"/>
                    <a:pt x="354" y="255"/>
                  </a:cubicBezTo>
                  <a:cubicBezTo>
                    <a:pt x="363" y="233"/>
                    <a:pt x="368" y="209"/>
                    <a:pt x="368" y="184"/>
                  </a:cubicBezTo>
                </a:path>
              </a:pathLst>
            </a:custGeom>
            <a:solidFill>
              <a:srgbClr val="001A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37" name="Oval 64"/>
            <p:cNvSpPr>
              <a:spLocks noChangeArrowheads="1"/>
            </p:cNvSpPr>
            <p:nvPr/>
          </p:nvSpPr>
          <p:spPr bwMode="auto">
            <a:xfrm>
              <a:off x="6318456" y="1181775"/>
              <a:ext cx="1135549" cy="1135548"/>
            </a:xfrm>
            <a:prstGeom prst="ellipse">
              <a:avLst/>
            </a:prstGeom>
            <a:solidFill>
              <a:srgbClr val="F0AE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38" name="Freeform 65"/>
            <p:cNvSpPr>
              <a:spLocks/>
            </p:cNvSpPr>
            <p:nvPr/>
          </p:nvSpPr>
          <p:spPr bwMode="auto">
            <a:xfrm>
              <a:off x="6473304" y="1317268"/>
              <a:ext cx="412927" cy="432281"/>
            </a:xfrm>
            <a:custGeom>
              <a:avLst/>
              <a:gdLst>
                <a:gd name="T0" fmla="*/ 107 w 107"/>
                <a:gd name="T1" fmla="*/ 112 h 112"/>
                <a:gd name="T2" fmla="*/ 0 w 107"/>
                <a:gd name="T3" fmla="*/ 77 h 112"/>
                <a:gd name="T4" fmla="*/ 107 w 107"/>
                <a:gd name="T5" fmla="*/ 0 h 112"/>
                <a:gd name="T6" fmla="*/ 107 w 107"/>
                <a:gd name="T7" fmla="*/ 112 h 112"/>
              </a:gdLst>
              <a:ahLst/>
              <a:cxnLst>
                <a:cxn ang="0">
                  <a:pos x="T0" y="T1"/>
                </a:cxn>
                <a:cxn ang="0">
                  <a:pos x="T2" y="T3"/>
                </a:cxn>
                <a:cxn ang="0">
                  <a:pos x="T4" y="T5"/>
                </a:cxn>
                <a:cxn ang="0">
                  <a:pos x="T6" y="T7"/>
                </a:cxn>
              </a:cxnLst>
              <a:rect l="0" t="0" r="r" b="b"/>
              <a:pathLst>
                <a:path w="107" h="112">
                  <a:moveTo>
                    <a:pt x="107" y="112"/>
                  </a:moveTo>
                  <a:cubicBezTo>
                    <a:pt x="0" y="77"/>
                    <a:pt x="0" y="77"/>
                    <a:pt x="0" y="77"/>
                  </a:cubicBezTo>
                  <a:cubicBezTo>
                    <a:pt x="16" y="30"/>
                    <a:pt x="57" y="0"/>
                    <a:pt x="107" y="0"/>
                  </a:cubicBezTo>
                  <a:cubicBezTo>
                    <a:pt x="107" y="112"/>
                    <a:pt x="107" y="112"/>
                    <a:pt x="107" y="112"/>
                  </a:cubicBezTo>
                </a:path>
              </a:pathLst>
            </a:custGeom>
            <a:solidFill>
              <a:srgbClr val="E26C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39" name="Freeform 66"/>
            <p:cNvSpPr>
              <a:spLocks/>
            </p:cNvSpPr>
            <p:nvPr/>
          </p:nvSpPr>
          <p:spPr bwMode="auto">
            <a:xfrm>
              <a:off x="6453946" y="1614059"/>
              <a:ext cx="432285" cy="567774"/>
            </a:xfrm>
            <a:custGeom>
              <a:avLst/>
              <a:gdLst>
                <a:gd name="T0" fmla="*/ 112 w 112"/>
                <a:gd name="T1" fmla="*/ 35 h 147"/>
                <a:gd name="T2" fmla="*/ 112 w 112"/>
                <a:gd name="T3" fmla="*/ 147 h 147"/>
                <a:gd name="T4" fmla="*/ 0 w 112"/>
                <a:gd name="T5" fmla="*/ 35 h 147"/>
                <a:gd name="T6" fmla="*/ 5 w 112"/>
                <a:gd name="T7" fmla="*/ 0 h 147"/>
                <a:gd name="T8" fmla="*/ 112 w 112"/>
                <a:gd name="T9" fmla="*/ 35 h 147"/>
              </a:gdLst>
              <a:ahLst/>
              <a:cxnLst>
                <a:cxn ang="0">
                  <a:pos x="T0" y="T1"/>
                </a:cxn>
                <a:cxn ang="0">
                  <a:pos x="T2" y="T3"/>
                </a:cxn>
                <a:cxn ang="0">
                  <a:pos x="T4" y="T5"/>
                </a:cxn>
                <a:cxn ang="0">
                  <a:pos x="T6" y="T7"/>
                </a:cxn>
                <a:cxn ang="0">
                  <a:pos x="T8" y="T9"/>
                </a:cxn>
              </a:cxnLst>
              <a:rect l="0" t="0" r="r" b="b"/>
              <a:pathLst>
                <a:path w="112" h="147">
                  <a:moveTo>
                    <a:pt x="112" y="35"/>
                  </a:moveTo>
                  <a:cubicBezTo>
                    <a:pt x="112" y="147"/>
                    <a:pt x="112" y="147"/>
                    <a:pt x="112" y="147"/>
                  </a:cubicBezTo>
                  <a:cubicBezTo>
                    <a:pt x="50" y="147"/>
                    <a:pt x="0" y="97"/>
                    <a:pt x="0" y="35"/>
                  </a:cubicBezTo>
                  <a:cubicBezTo>
                    <a:pt x="0" y="22"/>
                    <a:pt x="1" y="12"/>
                    <a:pt x="5" y="0"/>
                  </a:cubicBezTo>
                  <a:cubicBezTo>
                    <a:pt x="112" y="35"/>
                    <a:pt x="112" y="35"/>
                    <a:pt x="112" y="3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40" name="Freeform 67"/>
            <p:cNvSpPr>
              <a:spLocks/>
            </p:cNvSpPr>
            <p:nvPr/>
          </p:nvSpPr>
          <p:spPr bwMode="auto">
            <a:xfrm>
              <a:off x="6886231" y="1317268"/>
              <a:ext cx="432285" cy="864565"/>
            </a:xfrm>
            <a:custGeom>
              <a:avLst/>
              <a:gdLst>
                <a:gd name="T0" fmla="*/ 0 w 112"/>
                <a:gd name="T1" fmla="*/ 112 h 224"/>
                <a:gd name="T2" fmla="*/ 0 w 112"/>
                <a:gd name="T3" fmla="*/ 0 h 224"/>
                <a:gd name="T4" fmla="*/ 112 w 112"/>
                <a:gd name="T5" fmla="*/ 112 h 224"/>
                <a:gd name="T6" fmla="*/ 0 w 112"/>
                <a:gd name="T7" fmla="*/ 224 h 224"/>
                <a:gd name="T8" fmla="*/ 0 w 112"/>
                <a:gd name="T9" fmla="*/ 112 h 224"/>
              </a:gdLst>
              <a:ahLst/>
              <a:cxnLst>
                <a:cxn ang="0">
                  <a:pos x="T0" y="T1"/>
                </a:cxn>
                <a:cxn ang="0">
                  <a:pos x="T2" y="T3"/>
                </a:cxn>
                <a:cxn ang="0">
                  <a:pos x="T4" y="T5"/>
                </a:cxn>
                <a:cxn ang="0">
                  <a:pos x="T6" y="T7"/>
                </a:cxn>
                <a:cxn ang="0">
                  <a:pos x="T8" y="T9"/>
                </a:cxn>
              </a:cxnLst>
              <a:rect l="0" t="0" r="r" b="b"/>
              <a:pathLst>
                <a:path w="112" h="224">
                  <a:moveTo>
                    <a:pt x="0" y="112"/>
                  </a:moveTo>
                  <a:cubicBezTo>
                    <a:pt x="0" y="0"/>
                    <a:pt x="0" y="0"/>
                    <a:pt x="0" y="0"/>
                  </a:cubicBezTo>
                  <a:cubicBezTo>
                    <a:pt x="62" y="0"/>
                    <a:pt x="112" y="50"/>
                    <a:pt x="112" y="112"/>
                  </a:cubicBezTo>
                  <a:cubicBezTo>
                    <a:pt x="112" y="174"/>
                    <a:pt x="62" y="224"/>
                    <a:pt x="0" y="224"/>
                  </a:cubicBezTo>
                  <a:cubicBezTo>
                    <a:pt x="0" y="112"/>
                    <a:pt x="0" y="112"/>
                    <a:pt x="0" y="112"/>
                  </a:cubicBezTo>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41" name="Freeform 68"/>
            <p:cNvSpPr>
              <a:spLocks/>
            </p:cNvSpPr>
            <p:nvPr/>
          </p:nvSpPr>
          <p:spPr bwMode="auto">
            <a:xfrm>
              <a:off x="7221734" y="2543144"/>
              <a:ext cx="851662" cy="400023"/>
            </a:xfrm>
            <a:custGeom>
              <a:avLst/>
              <a:gdLst>
                <a:gd name="T0" fmla="*/ 0 w 132"/>
                <a:gd name="T1" fmla="*/ 22 h 62"/>
                <a:gd name="T2" fmla="*/ 117 w 132"/>
                <a:gd name="T3" fmla="*/ 0 h 62"/>
                <a:gd name="T4" fmla="*/ 132 w 132"/>
                <a:gd name="T5" fmla="*/ 38 h 62"/>
                <a:gd name="T6" fmla="*/ 7 w 132"/>
                <a:gd name="T7" fmla="*/ 62 h 62"/>
                <a:gd name="T8" fmla="*/ 0 w 132"/>
                <a:gd name="T9" fmla="*/ 22 h 62"/>
              </a:gdLst>
              <a:ahLst/>
              <a:cxnLst>
                <a:cxn ang="0">
                  <a:pos x="T0" y="T1"/>
                </a:cxn>
                <a:cxn ang="0">
                  <a:pos x="T2" y="T3"/>
                </a:cxn>
                <a:cxn ang="0">
                  <a:pos x="T4" y="T5"/>
                </a:cxn>
                <a:cxn ang="0">
                  <a:pos x="T6" y="T7"/>
                </a:cxn>
                <a:cxn ang="0">
                  <a:pos x="T8" y="T9"/>
                </a:cxn>
              </a:cxnLst>
              <a:rect l="0" t="0" r="r" b="b"/>
              <a:pathLst>
                <a:path w="132" h="62">
                  <a:moveTo>
                    <a:pt x="0" y="22"/>
                  </a:moveTo>
                  <a:lnTo>
                    <a:pt x="117" y="0"/>
                  </a:lnTo>
                  <a:lnTo>
                    <a:pt x="132" y="38"/>
                  </a:lnTo>
                  <a:lnTo>
                    <a:pt x="7" y="62"/>
                  </a:lnTo>
                  <a:lnTo>
                    <a:pt x="0" y="2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42" name="Freeform 69"/>
            <p:cNvSpPr>
              <a:spLocks/>
            </p:cNvSpPr>
            <p:nvPr/>
          </p:nvSpPr>
          <p:spPr bwMode="auto">
            <a:xfrm>
              <a:off x="7221734" y="2543144"/>
              <a:ext cx="851662" cy="400023"/>
            </a:xfrm>
            <a:custGeom>
              <a:avLst/>
              <a:gdLst>
                <a:gd name="T0" fmla="*/ 0 w 132"/>
                <a:gd name="T1" fmla="*/ 22 h 62"/>
                <a:gd name="T2" fmla="*/ 117 w 132"/>
                <a:gd name="T3" fmla="*/ 0 h 62"/>
                <a:gd name="T4" fmla="*/ 132 w 132"/>
                <a:gd name="T5" fmla="*/ 38 h 62"/>
                <a:gd name="T6" fmla="*/ 7 w 132"/>
                <a:gd name="T7" fmla="*/ 62 h 62"/>
                <a:gd name="T8" fmla="*/ 0 w 132"/>
                <a:gd name="T9" fmla="*/ 22 h 62"/>
              </a:gdLst>
              <a:ahLst/>
              <a:cxnLst>
                <a:cxn ang="0">
                  <a:pos x="T0" y="T1"/>
                </a:cxn>
                <a:cxn ang="0">
                  <a:pos x="T2" y="T3"/>
                </a:cxn>
                <a:cxn ang="0">
                  <a:pos x="T4" y="T5"/>
                </a:cxn>
                <a:cxn ang="0">
                  <a:pos x="T6" y="T7"/>
                </a:cxn>
                <a:cxn ang="0">
                  <a:pos x="T8" y="T9"/>
                </a:cxn>
              </a:cxnLst>
              <a:rect l="0" t="0" r="r" b="b"/>
              <a:pathLst>
                <a:path w="132" h="62">
                  <a:moveTo>
                    <a:pt x="0" y="22"/>
                  </a:moveTo>
                  <a:lnTo>
                    <a:pt x="117" y="0"/>
                  </a:lnTo>
                  <a:lnTo>
                    <a:pt x="132" y="38"/>
                  </a:lnTo>
                  <a:lnTo>
                    <a:pt x="7" y="62"/>
                  </a:lnTo>
                  <a:lnTo>
                    <a:pt x="0" y="2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43" name="Freeform 70"/>
            <p:cNvSpPr>
              <a:spLocks/>
            </p:cNvSpPr>
            <p:nvPr/>
          </p:nvSpPr>
          <p:spPr bwMode="auto">
            <a:xfrm>
              <a:off x="7221734" y="2672184"/>
              <a:ext cx="122590" cy="270983"/>
            </a:xfrm>
            <a:custGeom>
              <a:avLst/>
              <a:gdLst>
                <a:gd name="T0" fmla="*/ 13 w 19"/>
                <a:gd name="T1" fmla="*/ 0 h 42"/>
                <a:gd name="T2" fmla="*/ 0 w 19"/>
                <a:gd name="T3" fmla="*/ 2 h 42"/>
                <a:gd name="T4" fmla="*/ 7 w 19"/>
                <a:gd name="T5" fmla="*/ 42 h 42"/>
                <a:gd name="T6" fmla="*/ 19 w 19"/>
                <a:gd name="T7" fmla="*/ 40 h 42"/>
                <a:gd name="T8" fmla="*/ 13 w 19"/>
                <a:gd name="T9" fmla="*/ 0 h 42"/>
              </a:gdLst>
              <a:ahLst/>
              <a:cxnLst>
                <a:cxn ang="0">
                  <a:pos x="T0" y="T1"/>
                </a:cxn>
                <a:cxn ang="0">
                  <a:pos x="T2" y="T3"/>
                </a:cxn>
                <a:cxn ang="0">
                  <a:pos x="T4" y="T5"/>
                </a:cxn>
                <a:cxn ang="0">
                  <a:pos x="T6" y="T7"/>
                </a:cxn>
                <a:cxn ang="0">
                  <a:pos x="T8" y="T9"/>
                </a:cxn>
              </a:cxnLst>
              <a:rect l="0" t="0" r="r" b="b"/>
              <a:pathLst>
                <a:path w="19" h="42">
                  <a:moveTo>
                    <a:pt x="13" y="0"/>
                  </a:moveTo>
                  <a:lnTo>
                    <a:pt x="0" y="2"/>
                  </a:lnTo>
                  <a:lnTo>
                    <a:pt x="7" y="42"/>
                  </a:lnTo>
                  <a:lnTo>
                    <a:pt x="19" y="40"/>
                  </a:lnTo>
                  <a:lnTo>
                    <a:pt x="13" y="0"/>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44" name="Freeform 71"/>
            <p:cNvSpPr>
              <a:spLocks/>
            </p:cNvSpPr>
            <p:nvPr/>
          </p:nvSpPr>
          <p:spPr bwMode="auto">
            <a:xfrm>
              <a:off x="7221734" y="2672184"/>
              <a:ext cx="122590" cy="270983"/>
            </a:xfrm>
            <a:custGeom>
              <a:avLst/>
              <a:gdLst>
                <a:gd name="T0" fmla="*/ 13 w 19"/>
                <a:gd name="T1" fmla="*/ 0 h 42"/>
                <a:gd name="T2" fmla="*/ 0 w 19"/>
                <a:gd name="T3" fmla="*/ 2 h 42"/>
                <a:gd name="T4" fmla="*/ 7 w 19"/>
                <a:gd name="T5" fmla="*/ 42 h 42"/>
                <a:gd name="T6" fmla="*/ 19 w 19"/>
                <a:gd name="T7" fmla="*/ 40 h 42"/>
                <a:gd name="T8" fmla="*/ 13 w 19"/>
                <a:gd name="T9" fmla="*/ 0 h 42"/>
              </a:gdLst>
              <a:ahLst/>
              <a:cxnLst>
                <a:cxn ang="0">
                  <a:pos x="T0" y="T1"/>
                </a:cxn>
                <a:cxn ang="0">
                  <a:pos x="T2" y="T3"/>
                </a:cxn>
                <a:cxn ang="0">
                  <a:pos x="T4" y="T5"/>
                </a:cxn>
                <a:cxn ang="0">
                  <a:pos x="T6" y="T7"/>
                </a:cxn>
                <a:cxn ang="0">
                  <a:pos x="T8" y="T9"/>
                </a:cxn>
              </a:cxnLst>
              <a:rect l="0" t="0" r="r" b="b"/>
              <a:pathLst>
                <a:path w="19" h="42">
                  <a:moveTo>
                    <a:pt x="13" y="0"/>
                  </a:moveTo>
                  <a:lnTo>
                    <a:pt x="0" y="2"/>
                  </a:lnTo>
                  <a:lnTo>
                    <a:pt x="7" y="42"/>
                  </a:lnTo>
                  <a:lnTo>
                    <a:pt x="19" y="40"/>
                  </a:lnTo>
                  <a:lnTo>
                    <a:pt x="1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45" name="Freeform 72"/>
            <p:cNvSpPr>
              <a:spLocks/>
            </p:cNvSpPr>
            <p:nvPr/>
          </p:nvSpPr>
          <p:spPr bwMode="auto">
            <a:xfrm>
              <a:off x="5234523" y="2988329"/>
              <a:ext cx="1471052" cy="780687"/>
            </a:xfrm>
            <a:custGeom>
              <a:avLst/>
              <a:gdLst>
                <a:gd name="T0" fmla="*/ 190 w 380"/>
                <a:gd name="T1" fmla="*/ 81 h 203"/>
                <a:gd name="T2" fmla="*/ 41 w 380"/>
                <a:gd name="T3" fmla="*/ 3 h 203"/>
                <a:gd name="T4" fmla="*/ 26 w 380"/>
                <a:gd name="T5" fmla="*/ 9 h 203"/>
                <a:gd name="T6" fmla="*/ 0 w 380"/>
                <a:gd name="T7" fmla="*/ 81 h 203"/>
                <a:gd name="T8" fmla="*/ 127 w 380"/>
                <a:gd name="T9" fmla="*/ 202 h 203"/>
                <a:gd name="T10" fmla="*/ 190 w 380"/>
                <a:gd name="T11" fmla="*/ 121 h 203"/>
                <a:gd name="T12" fmla="*/ 253 w 380"/>
                <a:gd name="T13" fmla="*/ 203 h 203"/>
                <a:gd name="T14" fmla="*/ 380 w 380"/>
                <a:gd name="T15" fmla="*/ 81 h 203"/>
                <a:gd name="T16" fmla="*/ 352 w 380"/>
                <a:gd name="T17" fmla="*/ 9 h 203"/>
                <a:gd name="T18" fmla="*/ 337 w 380"/>
                <a:gd name="T19" fmla="*/ 3 h 203"/>
                <a:gd name="T20" fmla="*/ 190 w 380"/>
                <a:gd name="T21" fmla="*/ 81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80" h="203">
                  <a:moveTo>
                    <a:pt x="190" y="81"/>
                  </a:moveTo>
                  <a:cubicBezTo>
                    <a:pt x="41" y="3"/>
                    <a:pt x="41" y="3"/>
                    <a:pt x="41" y="3"/>
                  </a:cubicBezTo>
                  <a:cubicBezTo>
                    <a:pt x="35" y="0"/>
                    <a:pt x="28" y="3"/>
                    <a:pt x="26" y="9"/>
                  </a:cubicBezTo>
                  <a:cubicBezTo>
                    <a:pt x="0" y="81"/>
                    <a:pt x="0" y="81"/>
                    <a:pt x="0" y="81"/>
                  </a:cubicBezTo>
                  <a:cubicBezTo>
                    <a:pt x="127" y="202"/>
                    <a:pt x="127" y="202"/>
                    <a:pt x="127" y="202"/>
                  </a:cubicBezTo>
                  <a:cubicBezTo>
                    <a:pt x="190" y="121"/>
                    <a:pt x="190" y="121"/>
                    <a:pt x="190" y="121"/>
                  </a:cubicBezTo>
                  <a:cubicBezTo>
                    <a:pt x="253" y="203"/>
                    <a:pt x="253" y="203"/>
                    <a:pt x="253" y="203"/>
                  </a:cubicBezTo>
                  <a:cubicBezTo>
                    <a:pt x="380" y="81"/>
                    <a:pt x="380" y="81"/>
                    <a:pt x="380" y="81"/>
                  </a:cubicBezTo>
                  <a:cubicBezTo>
                    <a:pt x="352" y="9"/>
                    <a:pt x="352" y="9"/>
                    <a:pt x="352" y="9"/>
                  </a:cubicBezTo>
                  <a:cubicBezTo>
                    <a:pt x="350" y="3"/>
                    <a:pt x="343" y="0"/>
                    <a:pt x="337" y="3"/>
                  </a:cubicBezTo>
                  <a:lnTo>
                    <a:pt x="190" y="8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46" name="Freeform 73"/>
            <p:cNvSpPr>
              <a:spLocks/>
            </p:cNvSpPr>
            <p:nvPr/>
          </p:nvSpPr>
          <p:spPr bwMode="auto">
            <a:xfrm>
              <a:off x="3924768" y="936599"/>
              <a:ext cx="2038827" cy="1787196"/>
            </a:xfrm>
            <a:custGeom>
              <a:avLst/>
              <a:gdLst>
                <a:gd name="T0" fmla="*/ 193 w 526"/>
                <a:gd name="T1" fmla="*/ 465 h 465"/>
                <a:gd name="T2" fmla="*/ 259 w 526"/>
                <a:gd name="T3" fmla="*/ 420 h 465"/>
                <a:gd name="T4" fmla="*/ 315 w 526"/>
                <a:gd name="T5" fmla="*/ 420 h 465"/>
                <a:gd name="T6" fmla="*/ 526 w 526"/>
                <a:gd name="T7" fmla="*/ 268 h 465"/>
                <a:gd name="T8" fmla="*/ 408 w 526"/>
                <a:gd name="T9" fmla="*/ 250 h 465"/>
                <a:gd name="T10" fmla="*/ 422 w 526"/>
                <a:gd name="T11" fmla="*/ 118 h 465"/>
                <a:gd name="T12" fmla="*/ 447 w 526"/>
                <a:gd name="T13" fmla="*/ 92 h 465"/>
                <a:gd name="T14" fmla="*/ 388 w 526"/>
                <a:gd name="T15" fmla="*/ 36 h 465"/>
                <a:gd name="T16" fmla="*/ 309 w 526"/>
                <a:gd name="T17" fmla="*/ 0 h 465"/>
                <a:gd name="T18" fmla="*/ 139 w 526"/>
                <a:gd name="T19" fmla="*/ 43 h 465"/>
                <a:gd name="T20" fmla="*/ 7 w 526"/>
                <a:gd name="T21" fmla="*/ 347 h 465"/>
                <a:gd name="T22" fmla="*/ 3 w 526"/>
                <a:gd name="T23" fmla="*/ 366 h 465"/>
                <a:gd name="T24" fmla="*/ 0 w 526"/>
                <a:gd name="T25" fmla="*/ 417 h 465"/>
                <a:gd name="T26" fmla="*/ 193 w 526"/>
                <a:gd name="T27" fmla="*/ 465 h 4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26" h="465">
                  <a:moveTo>
                    <a:pt x="193" y="465"/>
                  </a:moveTo>
                  <a:cubicBezTo>
                    <a:pt x="204" y="439"/>
                    <a:pt x="229" y="420"/>
                    <a:pt x="259" y="420"/>
                  </a:cubicBezTo>
                  <a:cubicBezTo>
                    <a:pt x="315" y="420"/>
                    <a:pt x="315" y="420"/>
                    <a:pt x="315" y="420"/>
                  </a:cubicBezTo>
                  <a:cubicBezTo>
                    <a:pt x="526" y="268"/>
                    <a:pt x="526" y="268"/>
                    <a:pt x="526" y="268"/>
                  </a:cubicBezTo>
                  <a:cubicBezTo>
                    <a:pt x="526" y="268"/>
                    <a:pt x="492" y="211"/>
                    <a:pt x="408" y="250"/>
                  </a:cubicBezTo>
                  <a:cubicBezTo>
                    <a:pt x="422" y="118"/>
                    <a:pt x="422" y="118"/>
                    <a:pt x="422" y="118"/>
                  </a:cubicBezTo>
                  <a:cubicBezTo>
                    <a:pt x="453" y="116"/>
                    <a:pt x="447" y="92"/>
                    <a:pt x="447" y="92"/>
                  </a:cubicBezTo>
                  <a:cubicBezTo>
                    <a:pt x="388" y="36"/>
                    <a:pt x="388" y="36"/>
                    <a:pt x="388" y="36"/>
                  </a:cubicBezTo>
                  <a:cubicBezTo>
                    <a:pt x="309" y="0"/>
                    <a:pt x="309" y="0"/>
                    <a:pt x="309" y="0"/>
                  </a:cubicBezTo>
                  <a:cubicBezTo>
                    <a:pt x="139" y="43"/>
                    <a:pt x="139" y="43"/>
                    <a:pt x="139" y="43"/>
                  </a:cubicBezTo>
                  <a:cubicBezTo>
                    <a:pt x="7" y="347"/>
                    <a:pt x="7" y="347"/>
                    <a:pt x="7" y="347"/>
                  </a:cubicBezTo>
                  <a:cubicBezTo>
                    <a:pt x="4" y="353"/>
                    <a:pt x="3" y="359"/>
                    <a:pt x="3" y="366"/>
                  </a:cubicBezTo>
                  <a:cubicBezTo>
                    <a:pt x="0" y="417"/>
                    <a:pt x="0" y="417"/>
                    <a:pt x="0" y="417"/>
                  </a:cubicBezTo>
                  <a:cubicBezTo>
                    <a:pt x="193" y="465"/>
                    <a:pt x="193" y="465"/>
                    <a:pt x="193" y="465"/>
                  </a:cubicBezTo>
                </a:path>
              </a:pathLst>
            </a:custGeom>
            <a:solidFill>
              <a:srgbClr val="8E5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47" name="Freeform 74"/>
            <p:cNvSpPr>
              <a:spLocks/>
            </p:cNvSpPr>
            <p:nvPr/>
          </p:nvSpPr>
          <p:spPr bwMode="auto">
            <a:xfrm>
              <a:off x="4311887" y="1046285"/>
              <a:ext cx="1419437" cy="1412981"/>
            </a:xfrm>
            <a:custGeom>
              <a:avLst/>
              <a:gdLst>
                <a:gd name="T0" fmla="*/ 0 w 366"/>
                <a:gd name="T1" fmla="*/ 183 h 366"/>
                <a:gd name="T2" fmla="*/ 14 w 366"/>
                <a:gd name="T3" fmla="*/ 112 h 366"/>
                <a:gd name="T4" fmla="*/ 53 w 366"/>
                <a:gd name="T5" fmla="*/ 53 h 366"/>
                <a:gd name="T6" fmla="*/ 111 w 366"/>
                <a:gd name="T7" fmla="*/ 14 h 366"/>
                <a:gd name="T8" fmla="*/ 183 w 366"/>
                <a:gd name="T9" fmla="*/ 0 h 366"/>
                <a:gd name="T10" fmla="*/ 254 w 366"/>
                <a:gd name="T11" fmla="*/ 14 h 366"/>
                <a:gd name="T12" fmla="*/ 312 w 366"/>
                <a:gd name="T13" fmla="*/ 53 h 366"/>
                <a:gd name="T14" fmla="*/ 351 w 366"/>
                <a:gd name="T15" fmla="*/ 112 h 366"/>
                <a:gd name="T16" fmla="*/ 366 w 366"/>
                <a:gd name="T17" fmla="*/ 183 h 366"/>
                <a:gd name="T18" fmla="*/ 351 w 366"/>
                <a:gd name="T19" fmla="*/ 254 h 366"/>
                <a:gd name="T20" fmla="*/ 312 w 366"/>
                <a:gd name="T21" fmla="*/ 312 h 366"/>
                <a:gd name="T22" fmla="*/ 254 w 366"/>
                <a:gd name="T23" fmla="*/ 351 h 366"/>
                <a:gd name="T24" fmla="*/ 183 w 366"/>
                <a:gd name="T25" fmla="*/ 366 h 366"/>
                <a:gd name="T26" fmla="*/ 111 w 366"/>
                <a:gd name="T27" fmla="*/ 351 h 366"/>
                <a:gd name="T28" fmla="*/ 53 w 366"/>
                <a:gd name="T29" fmla="*/ 312 h 366"/>
                <a:gd name="T30" fmla="*/ 14 w 366"/>
                <a:gd name="T31" fmla="*/ 254 h 366"/>
                <a:gd name="T32" fmla="*/ 0 w 366"/>
                <a:gd name="T33" fmla="*/ 183 h 3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66" h="366">
                  <a:moveTo>
                    <a:pt x="0" y="183"/>
                  </a:moveTo>
                  <a:cubicBezTo>
                    <a:pt x="0" y="158"/>
                    <a:pt x="5" y="133"/>
                    <a:pt x="14" y="112"/>
                  </a:cubicBezTo>
                  <a:cubicBezTo>
                    <a:pt x="23" y="90"/>
                    <a:pt x="37" y="70"/>
                    <a:pt x="53" y="53"/>
                  </a:cubicBezTo>
                  <a:cubicBezTo>
                    <a:pt x="70" y="37"/>
                    <a:pt x="90" y="23"/>
                    <a:pt x="111" y="14"/>
                  </a:cubicBezTo>
                  <a:cubicBezTo>
                    <a:pt x="133" y="5"/>
                    <a:pt x="157" y="0"/>
                    <a:pt x="183" y="0"/>
                  </a:cubicBezTo>
                  <a:cubicBezTo>
                    <a:pt x="208" y="0"/>
                    <a:pt x="232" y="5"/>
                    <a:pt x="254" y="14"/>
                  </a:cubicBezTo>
                  <a:cubicBezTo>
                    <a:pt x="276" y="23"/>
                    <a:pt x="296" y="37"/>
                    <a:pt x="312" y="53"/>
                  </a:cubicBezTo>
                  <a:cubicBezTo>
                    <a:pt x="329" y="70"/>
                    <a:pt x="342" y="90"/>
                    <a:pt x="351" y="112"/>
                  </a:cubicBezTo>
                  <a:cubicBezTo>
                    <a:pt x="361" y="133"/>
                    <a:pt x="366" y="158"/>
                    <a:pt x="366" y="183"/>
                  </a:cubicBezTo>
                  <a:cubicBezTo>
                    <a:pt x="366" y="208"/>
                    <a:pt x="361" y="232"/>
                    <a:pt x="351" y="254"/>
                  </a:cubicBezTo>
                  <a:cubicBezTo>
                    <a:pt x="342" y="276"/>
                    <a:pt x="329" y="296"/>
                    <a:pt x="312" y="312"/>
                  </a:cubicBezTo>
                  <a:cubicBezTo>
                    <a:pt x="296" y="329"/>
                    <a:pt x="276" y="342"/>
                    <a:pt x="254" y="351"/>
                  </a:cubicBezTo>
                  <a:cubicBezTo>
                    <a:pt x="232" y="361"/>
                    <a:pt x="208" y="366"/>
                    <a:pt x="183" y="366"/>
                  </a:cubicBezTo>
                  <a:cubicBezTo>
                    <a:pt x="157" y="366"/>
                    <a:pt x="133" y="361"/>
                    <a:pt x="111" y="351"/>
                  </a:cubicBezTo>
                  <a:cubicBezTo>
                    <a:pt x="90" y="342"/>
                    <a:pt x="70" y="329"/>
                    <a:pt x="53" y="312"/>
                  </a:cubicBezTo>
                  <a:cubicBezTo>
                    <a:pt x="37" y="296"/>
                    <a:pt x="23" y="276"/>
                    <a:pt x="14" y="254"/>
                  </a:cubicBezTo>
                  <a:cubicBezTo>
                    <a:pt x="5" y="232"/>
                    <a:pt x="0" y="208"/>
                    <a:pt x="0" y="183"/>
                  </a:cubicBezTo>
                </a:path>
              </a:pathLst>
            </a:custGeom>
            <a:solidFill>
              <a:srgbClr val="001A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48" name="Oval 75"/>
            <p:cNvSpPr>
              <a:spLocks noChangeArrowheads="1"/>
            </p:cNvSpPr>
            <p:nvPr/>
          </p:nvSpPr>
          <p:spPr bwMode="auto">
            <a:xfrm>
              <a:off x="4453831" y="1188229"/>
              <a:ext cx="1129099" cy="1122644"/>
            </a:xfrm>
            <a:prstGeom prst="ellipse">
              <a:avLst/>
            </a:prstGeom>
            <a:solidFill>
              <a:srgbClr val="F0AE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49" name="Rectangle 76"/>
            <p:cNvSpPr>
              <a:spLocks noChangeArrowheads="1"/>
            </p:cNvSpPr>
            <p:nvPr/>
          </p:nvSpPr>
          <p:spPr bwMode="auto">
            <a:xfrm>
              <a:off x="4711910" y="1704387"/>
              <a:ext cx="161302" cy="393569"/>
            </a:xfrm>
            <a:prstGeom prst="rect">
              <a:avLst/>
            </a:prstGeom>
            <a:solidFill>
              <a:srgbClr val="D83B0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50" name="Rectangle 77"/>
            <p:cNvSpPr>
              <a:spLocks noChangeArrowheads="1"/>
            </p:cNvSpPr>
            <p:nvPr/>
          </p:nvSpPr>
          <p:spPr bwMode="auto">
            <a:xfrm>
              <a:off x="4911924" y="1568893"/>
              <a:ext cx="167752" cy="52906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51" name="Rectangle 78"/>
            <p:cNvSpPr>
              <a:spLocks noChangeArrowheads="1"/>
            </p:cNvSpPr>
            <p:nvPr/>
          </p:nvSpPr>
          <p:spPr bwMode="auto">
            <a:xfrm>
              <a:off x="4911924" y="1568893"/>
              <a:ext cx="167752" cy="529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52" name="Rectangle 79"/>
            <p:cNvSpPr>
              <a:spLocks noChangeArrowheads="1"/>
            </p:cNvSpPr>
            <p:nvPr/>
          </p:nvSpPr>
          <p:spPr bwMode="auto">
            <a:xfrm>
              <a:off x="5118387" y="1433404"/>
              <a:ext cx="161302" cy="664552"/>
            </a:xfrm>
            <a:prstGeom prst="rect">
              <a:avLst/>
            </a:prstGeom>
            <a:solidFill>
              <a:srgbClr val="D83B0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53" name="Rectangle 80"/>
            <p:cNvSpPr>
              <a:spLocks noChangeArrowheads="1"/>
            </p:cNvSpPr>
            <p:nvPr/>
          </p:nvSpPr>
          <p:spPr bwMode="auto">
            <a:xfrm>
              <a:off x="5118387" y="1433404"/>
              <a:ext cx="161302" cy="6645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54" name="Freeform 81"/>
            <p:cNvSpPr>
              <a:spLocks/>
            </p:cNvSpPr>
            <p:nvPr/>
          </p:nvSpPr>
          <p:spPr bwMode="auto">
            <a:xfrm>
              <a:off x="3827990" y="2543144"/>
              <a:ext cx="858116" cy="400023"/>
            </a:xfrm>
            <a:custGeom>
              <a:avLst/>
              <a:gdLst>
                <a:gd name="T0" fmla="*/ 133 w 133"/>
                <a:gd name="T1" fmla="*/ 22 h 62"/>
                <a:gd name="T2" fmla="*/ 15 w 133"/>
                <a:gd name="T3" fmla="*/ 0 h 62"/>
                <a:gd name="T4" fmla="*/ 0 w 133"/>
                <a:gd name="T5" fmla="*/ 38 h 62"/>
                <a:gd name="T6" fmla="*/ 126 w 133"/>
                <a:gd name="T7" fmla="*/ 62 h 62"/>
                <a:gd name="T8" fmla="*/ 133 w 133"/>
                <a:gd name="T9" fmla="*/ 22 h 62"/>
              </a:gdLst>
              <a:ahLst/>
              <a:cxnLst>
                <a:cxn ang="0">
                  <a:pos x="T0" y="T1"/>
                </a:cxn>
                <a:cxn ang="0">
                  <a:pos x="T2" y="T3"/>
                </a:cxn>
                <a:cxn ang="0">
                  <a:pos x="T4" y="T5"/>
                </a:cxn>
                <a:cxn ang="0">
                  <a:pos x="T6" y="T7"/>
                </a:cxn>
                <a:cxn ang="0">
                  <a:pos x="T8" y="T9"/>
                </a:cxn>
              </a:cxnLst>
              <a:rect l="0" t="0" r="r" b="b"/>
              <a:pathLst>
                <a:path w="133" h="62">
                  <a:moveTo>
                    <a:pt x="133" y="22"/>
                  </a:moveTo>
                  <a:lnTo>
                    <a:pt x="15" y="0"/>
                  </a:lnTo>
                  <a:lnTo>
                    <a:pt x="0" y="38"/>
                  </a:lnTo>
                  <a:lnTo>
                    <a:pt x="126" y="62"/>
                  </a:lnTo>
                  <a:lnTo>
                    <a:pt x="133" y="2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55" name="Freeform 82"/>
            <p:cNvSpPr>
              <a:spLocks/>
            </p:cNvSpPr>
            <p:nvPr/>
          </p:nvSpPr>
          <p:spPr bwMode="auto">
            <a:xfrm>
              <a:off x="3827990" y="2543144"/>
              <a:ext cx="858116" cy="400023"/>
            </a:xfrm>
            <a:custGeom>
              <a:avLst/>
              <a:gdLst>
                <a:gd name="T0" fmla="*/ 133 w 133"/>
                <a:gd name="T1" fmla="*/ 22 h 62"/>
                <a:gd name="T2" fmla="*/ 15 w 133"/>
                <a:gd name="T3" fmla="*/ 0 h 62"/>
                <a:gd name="T4" fmla="*/ 0 w 133"/>
                <a:gd name="T5" fmla="*/ 38 h 62"/>
                <a:gd name="T6" fmla="*/ 126 w 133"/>
                <a:gd name="T7" fmla="*/ 62 h 62"/>
                <a:gd name="T8" fmla="*/ 133 w 133"/>
                <a:gd name="T9" fmla="*/ 22 h 62"/>
              </a:gdLst>
              <a:ahLst/>
              <a:cxnLst>
                <a:cxn ang="0">
                  <a:pos x="T0" y="T1"/>
                </a:cxn>
                <a:cxn ang="0">
                  <a:pos x="T2" y="T3"/>
                </a:cxn>
                <a:cxn ang="0">
                  <a:pos x="T4" y="T5"/>
                </a:cxn>
                <a:cxn ang="0">
                  <a:pos x="T6" y="T7"/>
                </a:cxn>
                <a:cxn ang="0">
                  <a:pos x="T8" y="T9"/>
                </a:cxn>
              </a:cxnLst>
              <a:rect l="0" t="0" r="r" b="b"/>
              <a:pathLst>
                <a:path w="133" h="62">
                  <a:moveTo>
                    <a:pt x="133" y="22"/>
                  </a:moveTo>
                  <a:lnTo>
                    <a:pt x="15" y="0"/>
                  </a:lnTo>
                  <a:lnTo>
                    <a:pt x="0" y="38"/>
                  </a:lnTo>
                  <a:lnTo>
                    <a:pt x="126" y="62"/>
                  </a:lnTo>
                  <a:lnTo>
                    <a:pt x="133" y="2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56" name="Freeform 83"/>
            <p:cNvSpPr>
              <a:spLocks/>
            </p:cNvSpPr>
            <p:nvPr/>
          </p:nvSpPr>
          <p:spPr bwMode="auto">
            <a:xfrm>
              <a:off x="4628036" y="2936713"/>
              <a:ext cx="12904" cy="6450"/>
            </a:xfrm>
            <a:custGeom>
              <a:avLst/>
              <a:gdLst>
                <a:gd name="T0" fmla="*/ 0 w 2"/>
                <a:gd name="T1" fmla="*/ 0 h 1"/>
                <a:gd name="T2" fmla="*/ 2 w 2"/>
                <a:gd name="T3" fmla="*/ 1 h 1"/>
                <a:gd name="T4" fmla="*/ 2 w 2"/>
                <a:gd name="T5" fmla="*/ 1 h 1"/>
                <a:gd name="T6" fmla="*/ 0 w 2"/>
                <a:gd name="T7" fmla="*/ 0 h 1"/>
              </a:gdLst>
              <a:ahLst/>
              <a:cxnLst>
                <a:cxn ang="0">
                  <a:pos x="T0" y="T1"/>
                </a:cxn>
                <a:cxn ang="0">
                  <a:pos x="T2" y="T3"/>
                </a:cxn>
                <a:cxn ang="0">
                  <a:pos x="T4" y="T5"/>
                </a:cxn>
                <a:cxn ang="0">
                  <a:pos x="T6" y="T7"/>
                </a:cxn>
              </a:cxnLst>
              <a:rect l="0" t="0" r="r" b="b"/>
              <a:pathLst>
                <a:path w="2" h="1">
                  <a:moveTo>
                    <a:pt x="0" y="0"/>
                  </a:moveTo>
                  <a:lnTo>
                    <a:pt x="2" y="1"/>
                  </a:lnTo>
                  <a:lnTo>
                    <a:pt x="2" y="1"/>
                  </a:lnTo>
                  <a:lnTo>
                    <a:pt x="0" y="0"/>
                  </a:lnTo>
                  <a:close/>
                </a:path>
              </a:pathLst>
            </a:custGeom>
            <a:solidFill>
              <a:srgbClr val="00122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57" name="Freeform 84"/>
            <p:cNvSpPr>
              <a:spLocks/>
            </p:cNvSpPr>
            <p:nvPr/>
          </p:nvSpPr>
          <p:spPr bwMode="auto">
            <a:xfrm>
              <a:off x="4628036" y="2936713"/>
              <a:ext cx="12904" cy="6450"/>
            </a:xfrm>
            <a:custGeom>
              <a:avLst/>
              <a:gdLst>
                <a:gd name="T0" fmla="*/ 0 w 2"/>
                <a:gd name="T1" fmla="*/ 0 h 1"/>
                <a:gd name="T2" fmla="*/ 2 w 2"/>
                <a:gd name="T3" fmla="*/ 1 h 1"/>
                <a:gd name="T4" fmla="*/ 2 w 2"/>
                <a:gd name="T5" fmla="*/ 1 h 1"/>
                <a:gd name="T6" fmla="*/ 0 w 2"/>
                <a:gd name="T7" fmla="*/ 0 h 1"/>
              </a:gdLst>
              <a:ahLst/>
              <a:cxnLst>
                <a:cxn ang="0">
                  <a:pos x="T0" y="T1"/>
                </a:cxn>
                <a:cxn ang="0">
                  <a:pos x="T2" y="T3"/>
                </a:cxn>
                <a:cxn ang="0">
                  <a:pos x="T4" y="T5"/>
                </a:cxn>
                <a:cxn ang="0">
                  <a:pos x="T6" y="T7"/>
                </a:cxn>
              </a:cxnLst>
              <a:rect l="0" t="0" r="r" b="b"/>
              <a:pathLst>
                <a:path w="2" h="1">
                  <a:moveTo>
                    <a:pt x="0" y="0"/>
                  </a:moveTo>
                  <a:lnTo>
                    <a:pt x="2" y="1"/>
                  </a:lnTo>
                  <a:lnTo>
                    <a:pt x="2" y="1"/>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58" name="Freeform 85"/>
            <p:cNvSpPr>
              <a:spLocks/>
            </p:cNvSpPr>
            <p:nvPr/>
          </p:nvSpPr>
          <p:spPr bwMode="auto">
            <a:xfrm>
              <a:off x="4557062" y="2672184"/>
              <a:ext cx="129040" cy="270983"/>
            </a:xfrm>
            <a:custGeom>
              <a:avLst/>
              <a:gdLst>
                <a:gd name="T0" fmla="*/ 7 w 20"/>
                <a:gd name="T1" fmla="*/ 0 h 42"/>
                <a:gd name="T2" fmla="*/ 0 w 20"/>
                <a:gd name="T3" fmla="*/ 40 h 42"/>
                <a:gd name="T4" fmla="*/ 11 w 20"/>
                <a:gd name="T5" fmla="*/ 41 h 42"/>
                <a:gd name="T6" fmla="*/ 13 w 20"/>
                <a:gd name="T7" fmla="*/ 42 h 42"/>
                <a:gd name="T8" fmla="*/ 20 w 20"/>
                <a:gd name="T9" fmla="*/ 2 h 42"/>
                <a:gd name="T10" fmla="*/ 7 w 20"/>
                <a:gd name="T11" fmla="*/ 0 h 42"/>
              </a:gdLst>
              <a:ahLst/>
              <a:cxnLst>
                <a:cxn ang="0">
                  <a:pos x="T0" y="T1"/>
                </a:cxn>
                <a:cxn ang="0">
                  <a:pos x="T2" y="T3"/>
                </a:cxn>
                <a:cxn ang="0">
                  <a:pos x="T4" y="T5"/>
                </a:cxn>
                <a:cxn ang="0">
                  <a:pos x="T6" y="T7"/>
                </a:cxn>
                <a:cxn ang="0">
                  <a:pos x="T8" y="T9"/>
                </a:cxn>
                <a:cxn ang="0">
                  <a:pos x="T10" y="T11"/>
                </a:cxn>
              </a:cxnLst>
              <a:rect l="0" t="0" r="r" b="b"/>
              <a:pathLst>
                <a:path w="20" h="42">
                  <a:moveTo>
                    <a:pt x="7" y="0"/>
                  </a:moveTo>
                  <a:lnTo>
                    <a:pt x="0" y="40"/>
                  </a:lnTo>
                  <a:lnTo>
                    <a:pt x="11" y="41"/>
                  </a:lnTo>
                  <a:lnTo>
                    <a:pt x="13" y="42"/>
                  </a:lnTo>
                  <a:lnTo>
                    <a:pt x="20" y="2"/>
                  </a:lnTo>
                  <a:lnTo>
                    <a:pt x="7" y="0"/>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59" name="Freeform 86"/>
            <p:cNvSpPr>
              <a:spLocks/>
            </p:cNvSpPr>
            <p:nvPr/>
          </p:nvSpPr>
          <p:spPr bwMode="auto">
            <a:xfrm>
              <a:off x="4557062" y="2672184"/>
              <a:ext cx="129040" cy="270983"/>
            </a:xfrm>
            <a:custGeom>
              <a:avLst/>
              <a:gdLst>
                <a:gd name="T0" fmla="*/ 7 w 20"/>
                <a:gd name="T1" fmla="*/ 0 h 42"/>
                <a:gd name="T2" fmla="*/ 0 w 20"/>
                <a:gd name="T3" fmla="*/ 40 h 42"/>
                <a:gd name="T4" fmla="*/ 11 w 20"/>
                <a:gd name="T5" fmla="*/ 41 h 42"/>
                <a:gd name="T6" fmla="*/ 13 w 20"/>
                <a:gd name="T7" fmla="*/ 42 h 42"/>
                <a:gd name="T8" fmla="*/ 20 w 20"/>
                <a:gd name="T9" fmla="*/ 2 h 42"/>
                <a:gd name="T10" fmla="*/ 7 w 20"/>
                <a:gd name="T11" fmla="*/ 0 h 42"/>
              </a:gdLst>
              <a:ahLst/>
              <a:cxnLst>
                <a:cxn ang="0">
                  <a:pos x="T0" y="T1"/>
                </a:cxn>
                <a:cxn ang="0">
                  <a:pos x="T2" y="T3"/>
                </a:cxn>
                <a:cxn ang="0">
                  <a:pos x="T4" y="T5"/>
                </a:cxn>
                <a:cxn ang="0">
                  <a:pos x="T6" y="T7"/>
                </a:cxn>
                <a:cxn ang="0">
                  <a:pos x="T8" y="T9"/>
                </a:cxn>
                <a:cxn ang="0">
                  <a:pos x="T10" y="T11"/>
                </a:cxn>
              </a:cxnLst>
              <a:rect l="0" t="0" r="r" b="b"/>
              <a:pathLst>
                <a:path w="20" h="42">
                  <a:moveTo>
                    <a:pt x="7" y="0"/>
                  </a:moveTo>
                  <a:lnTo>
                    <a:pt x="0" y="40"/>
                  </a:lnTo>
                  <a:lnTo>
                    <a:pt x="11" y="41"/>
                  </a:lnTo>
                  <a:lnTo>
                    <a:pt x="13" y="42"/>
                  </a:lnTo>
                  <a:lnTo>
                    <a:pt x="20" y="2"/>
                  </a:lnTo>
                  <a:lnTo>
                    <a:pt x="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60" name="Freeform 87"/>
            <p:cNvSpPr>
              <a:spLocks noEditPoints="1"/>
            </p:cNvSpPr>
            <p:nvPr/>
          </p:nvSpPr>
          <p:spPr bwMode="auto">
            <a:xfrm>
              <a:off x="6486208" y="1226940"/>
              <a:ext cx="922636" cy="922631"/>
            </a:xfrm>
            <a:custGeom>
              <a:avLst/>
              <a:gdLst>
                <a:gd name="T0" fmla="*/ 238 w 238"/>
                <a:gd name="T1" fmla="*/ 192 h 239"/>
                <a:gd name="T2" fmla="*/ 206 w 238"/>
                <a:gd name="T3" fmla="*/ 239 h 239"/>
                <a:gd name="T4" fmla="*/ 206 w 238"/>
                <a:gd name="T5" fmla="*/ 239 h 239"/>
                <a:gd name="T6" fmla="*/ 238 w 238"/>
                <a:gd name="T7" fmla="*/ 192 h 239"/>
                <a:gd name="T8" fmla="*/ 159 w 238"/>
                <a:gd name="T9" fmla="*/ 1 h 239"/>
                <a:gd name="T10" fmla="*/ 238 w 238"/>
                <a:gd name="T11" fmla="*/ 80 h 239"/>
                <a:gd name="T12" fmla="*/ 206 w 238"/>
                <a:gd name="T13" fmla="*/ 32 h 239"/>
                <a:gd name="T14" fmla="*/ 159 w 238"/>
                <a:gd name="T15" fmla="*/ 1 h 239"/>
                <a:gd name="T16" fmla="*/ 47 w 238"/>
                <a:gd name="T17" fmla="*/ 0 h 239"/>
                <a:gd name="T18" fmla="*/ 0 w 238"/>
                <a:gd name="T19" fmla="*/ 32 h 239"/>
                <a:gd name="T20" fmla="*/ 0 w 238"/>
                <a:gd name="T21" fmla="*/ 32 h 239"/>
                <a:gd name="T22" fmla="*/ 47 w 238"/>
                <a:gd name="T23" fmla="*/ 0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38" h="239">
                  <a:moveTo>
                    <a:pt x="238" y="192"/>
                  </a:moveTo>
                  <a:cubicBezTo>
                    <a:pt x="231" y="210"/>
                    <a:pt x="220" y="226"/>
                    <a:pt x="206" y="239"/>
                  </a:cubicBezTo>
                  <a:cubicBezTo>
                    <a:pt x="206" y="239"/>
                    <a:pt x="206" y="239"/>
                    <a:pt x="206" y="239"/>
                  </a:cubicBezTo>
                  <a:cubicBezTo>
                    <a:pt x="220" y="225"/>
                    <a:pt x="231" y="209"/>
                    <a:pt x="238" y="192"/>
                  </a:cubicBezTo>
                  <a:moveTo>
                    <a:pt x="159" y="1"/>
                  </a:moveTo>
                  <a:cubicBezTo>
                    <a:pt x="195" y="15"/>
                    <a:pt x="223" y="44"/>
                    <a:pt x="238" y="80"/>
                  </a:cubicBezTo>
                  <a:cubicBezTo>
                    <a:pt x="231" y="62"/>
                    <a:pt x="220" y="46"/>
                    <a:pt x="206" y="32"/>
                  </a:cubicBezTo>
                  <a:cubicBezTo>
                    <a:pt x="193" y="18"/>
                    <a:pt x="176" y="8"/>
                    <a:pt x="159" y="1"/>
                  </a:cubicBezTo>
                  <a:moveTo>
                    <a:pt x="47" y="0"/>
                  </a:moveTo>
                  <a:cubicBezTo>
                    <a:pt x="30" y="8"/>
                    <a:pt x="14" y="18"/>
                    <a:pt x="0" y="32"/>
                  </a:cubicBezTo>
                  <a:cubicBezTo>
                    <a:pt x="0" y="32"/>
                    <a:pt x="0" y="32"/>
                    <a:pt x="0" y="32"/>
                  </a:cubicBezTo>
                  <a:cubicBezTo>
                    <a:pt x="13" y="19"/>
                    <a:pt x="29" y="8"/>
                    <a:pt x="47" y="0"/>
                  </a:cubicBezTo>
                </a:path>
              </a:pathLst>
            </a:custGeom>
            <a:solidFill>
              <a:srgbClr val="263C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61" name="Freeform 88"/>
            <p:cNvSpPr>
              <a:spLocks/>
            </p:cNvSpPr>
            <p:nvPr/>
          </p:nvSpPr>
          <p:spPr bwMode="auto">
            <a:xfrm>
              <a:off x="6486208" y="1181775"/>
              <a:ext cx="980702" cy="967797"/>
            </a:xfrm>
            <a:custGeom>
              <a:avLst/>
              <a:gdLst>
                <a:gd name="T0" fmla="*/ 103 w 253"/>
                <a:gd name="T1" fmla="*/ 0 h 250"/>
                <a:gd name="T2" fmla="*/ 47 w 253"/>
                <a:gd name="T3" fmla="*/ 11 h 250"/>
                <a:gd name="T4" fmla="*/ 0 w 253"/>
                <a:gd name="T5" fmla="*/ 43 h 250"/>
                <a:gd name="T6" fmla="*/ 23 w 253"/>
                <a:gd name="T7" fmla="*/ 67 h 250"/>
                <a:gd name="T8" fmla="*/ 103 w 253"/>
                <a:gd name="T9" fmla="*/ 35 h 250"/>
                <a:gd name="T10" fmla="*/ 103 w 253"/>
                <a:gd name="T11" fmla="*/ 147 h 250"/>
                <a:gd name="T12" fmla="*/ 103 w 253"/>
                <a:gd name="T13" fmla="*/ 35 h 250"/>
                <a:gd name="T14" fmla="*/ 215 w 253"/>
                <a:gd name="T15" fmla="*/ 147 h 250"/>
                <a:gd name="T16" fmla="*/ 182 w 253"/>
                <a:gd name="T17" fmla="*/ 226 h 250"/>
                <a:gd name="T18" fmla="*/ 206 w 253"/>
                <a:gd name="T19" fmla="*/ 250 h 250"/>
                <a:gd name="T20" fmla="*/ 238 w 253"/>
                <a:gd name="T21" fmla="*/ 203 h 250"/>
                <a:gd name="T22" fmla="*/ 238 w 253"/>
                <a:gd name="T23" fmla="*/ 91 h 250"/>
                <a:gd name="T24" fmla="*/ 159 w 253"/>
                <a:gd name="T25" fmla="*/ 12 h 250"/>
                <a:gd name="T26" fmla="*/ 103 w 253"/>
                <a:gd name="T27" fmla="*/ 0 h 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3" h="250">
                  <a:moveTo>
                    <a:pt x="103" y="0"/>
                  </a:moveTo>
                  <a:cubicBezTo>
                    <a:pt x="84" y="0"/>
                    <a:pt x="65" y="4"/>
                    <a:pt x="47" y="11"/>
                  </a:cubicBezTo>
                  <a:cubicBezTo>
                    <a:pt x="29" y="19"/>
                    <a:pt x="13" y="30"/>
                    <a:pt x="0" y="43"/>
                  </a:cubicBezTo>
                  <a:cubicBezTo>
                    <a:pt x="23" y="67"/>
                    <a:pt x="23" y="67"/>
                    <a:pt x="23" y="67"/>
                  </a:cubicBezTo>
                  <a:cubicBezTo>
                    <a:pt x="44" y="47"/>
                    <a:pt x="72" y="35"/>
                    <a:pt x="103" y="35"/>
                  </a:cubicBezTo>
                  <a:cubicBezTo>
                    <a:pt x="103" y="147"/>
                    <a:pt x="103" y="147"/>
                    <a:pt x="103" y="147"/>
                  </a:cubicBezTo>
                  <a:cubicBezTo>
                    <a:pt x="103" y="35"/>
                    <a:pt x="103" y="35"/>
                    <a:pt x="103" y="35"/>
                  </a:cubicBezTo>
                  <a:cubicBezTo>
                    <a:pt x="165" y="35"/>
                    <a:pt x="215" y="85"/>
                    <a:pt x="215" y="147"/>
                  </a:cubicBezTo>
                  <a:cubicBezTo>
                    <a:pt x="215" y="178"/>
                    <a:pt x="203" y="206"/>
                    <a:pt x="182" y="226"/>
                  </a:cubicBezTo>
                  <a:cubicBezTo>
                    <a:pt x="206" y="250"/>
                    <a:pt x="206" y="250"/>
                    <a:pt x="206" y="250"/>
                  </a:cubicBezTo>
                  <a:cubicBezTo>
                    <a:pt x="220" y="237"/>
                    <a:pt x="231" y="221"/>
                    <a:pt x="238" y="203"/>
                  </a:cubicBezTo>
                  <a:cubicBezTo>
                    <a:pt x="253" y="167"/>
                    <a:pt x="253" y="126"/>
                    <a:pt x="238" y="91"/>
                  </a:cubicBezTo>
                  <a:cubicBezTo>
                    <a:pt x="223" y="55"/>
                    <a:pt x="195" y="26"/>
                    <a:pt x="159" y="12"/>
                  </a:cubicBezTo>
                  <a:cubicBezTo>
                    <a:pt x="141" y="4"/>
                    <a:pt x="122" y="0"/>
                    <a:pt x="103" y="0"/>
                  </a:cubicBezTo>
                </a:path>
              </a:pathLst>
            </a:custGeom>
            <a:solidFill>
              <a:srgbClr val="F2BA2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62" name="Freeform 89"/>
            <p:cNvSpPr>
              <a:spLocks/>
            </p:cNvSpPr>
            <p:nvPr/>
          </p:nvSpPr>
          <p:spPr bwMode="auto">
            <a:xfrm>
              <a:off x="6576535" y="1317268"/>
              <a:ext cx="309695" cy="432281"/>
            </a:xfrm>
            <a:custGeom>
              <a:avLst/>
              <a:gdLst>
                <a:gd name="T0" fmla="*/ 80 w 80"/>
                <a:gd name="T1" fmla="*/ 0 h 112"/>
                <a:gd name="T2" fmla="*/ 0 w 80"/>
                <a:gd name="T3" fmla="*/ 32 h 112"/>
                <a:gd name="T4" fmla="*/ 80 w 80"/>
                <a:gd name="T5" fmla="*/ 112 h 112"/>
                <a:gd name="T6" fmla="*/ 80 w 80"/>
                <a:gd name="T7" fmla="*/ 0 h 112"/>
              </a:gdLst>
              <a:ahLst/>
              <a:cxnLst>
                <a:cxn ang="0">
                  <a:pos x="T0" y="T1"/>
                </a:cxn>
                <a:cxn ang="0">
                  <a:pos x="T2" y="T3"/>
                </a:cxn>
                <a:cxn ang="0">
                  <a:pos x="T4" y="T5"/>
                </a:cxn>
                <a:cxn ang="0">
                  <a:pos x="T6" y="T7"/>
                </a:cxn>
              </a:cxnLst>
              <a:rect l="0" t="0" r="r" b="b"/>
              <a:pathLst>
                <a:path w="80" h="112">
                  <a:moveTo>
                    <a:pt x="80" y="0"/>
                  </a:moveTo>
                  <a:cubicBezTo>
                    <a:pt x="49" y="0"/>
                    <a:pt x="21" y="12"/>
                    <a:pt x="0" y="32"/>
                  </a:cubicBezTo>
                  <a:cubicBezTo>
                    <a:pt x="80" y="112"/>
                    <a:pt x="80" y="112"/>
                    <a:pt x="80" y="112"/>
                  </a:cubicBezTo>
                  <a:cubicBezTo>
                    <a:pt x="80" y="0"/>
                    <a:pt x="80" y="0"/>
                    <a:pt x="80" y="0"/>
                  </a:cubicBezTo>
                </a:path>
              </a:pathLst>
            </a:custGeom>
            <a:solidFill>
              <a:srgbClr val="E682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63" name="Freeform 90"/>
            <p:cNvSpPr>
              <a:spLocks/>
            </p:cNvSpPr>
            <p:nvPr/>
          </p:nvSpPr>
          <p:spPr bwMode="auto">
            <a:xfrm>
              <a:off x="6886231" y="1317268"/>
              <a:ext cx="432285" cy="741976"/>
            </a:xfrm>
            <a:custGeom>
              <a:avLst/>
              <a:gdLst>
                <a:gd name="T0" fmla="*/ 0 w 112"/>
                <a:gd name="T1" fmla="*/ 0 h 191"/>
                <a:gd name="T2" fmla="*/ 0 w 112"/>
                <a:gd name="T3" fmla="*/ 112 h 191"/>
                <a:gd name="T4" fmla="*/ 79 w 112"/>
                <a:gd name="T5" fmla="*/ 191 h 191"/>
                <a:gd name="T6" fmla="*/ 112 w 112"/>
                <a:gd name="T7" fmla="*/ 112 h 191"/>
                <a:gd name="T8" fmla="*/ 0 w 112"/>
                <a:gd name="T9" fmla="*/ 0 h 191"/>
              </a:gdLst>
              <a:ahLst/>
              <a:cxnLst>
                <a:cxn ang="0">
                  <a:pos x="T0" y="T1"/>
                </a:cxn>
                <a:cxn ang="0">
                  <a:pos x="T2" y="T3"/>
                </a:cxn>
                <a:cxn ang="0">
                  <a:pos x="T4" y="T5"/>
                </a:cxn>
                <a:cxn ang="0">
                  <a:pos x="T6" y="T7"/>
                </a:cxn>
                <a:cxn ang="0">
                  <a:pos x="T8" y="T9"/>
                </a:cxn>
              </a:cxnLst>
              <a:rect l="0" t="0" r="r" b="b"/>
              <a:pathLst>
                <a:path w="112" h="191">
                  <a:moveTo>
                    <a:pt x="0" y="0"/>
                  </a:moveTo>
                  <a:cubicBezTo>
                    <a:pt x="0" y="112"/>
                    <a:pt x="0" y="112"/>
                    <a:pt x="0" y="112"/>
                  </a:cubicBezTo>
                  <a:cubicBezTo>
                    <a:pt x="79" y="191"/>
                    <a:pt x="79" y="191"/>
                    <a:pt x="79" y="191"/>
                  </a:cubicBezTo>
                  <a:cubicBezTo>
                    <a:pt x="100" y="171"/>
                    <a:pt x="112" y="143"/>
                    <a:pt x="112" y="112"/>
                  </a:cubicBezTo>
                  <a:cubicBezTo>
                    <a:pt x="112" y="50"/>
                    <a:pt x="62" y="0"/>
                    <a:pt x="0" y="0"/>
                  </a:cubicBezTo>
                </a:path>
              </a:pathLst>
            </a:custGeom>
            <a:solidFill>
              <a:srgbClr val="DE582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64" name="Freeform 91"/>
            <p:cNvSpPr>
              <a:spLocks noEditPoints="1"/>
            </p:cNvSpPr>
            <p:nvPr/>
          </p:nvSpPr>
          <p:spPr bwMode="auto">
            <a:xfrm>
              <a:off x="4628036" y="1233390"/>
              <a:ext cx="954894" cy="909727"/>
            </a:xfrm>
            <a:custGeom>
              <a:avLst/>
              <a:gdLst>
                <a:gd name="T0" fmla="*/ 205 w 246"/>
                <a:gd name="T1" fmla="*/ 235 h 235"/>
                <a:gd name="T2" fmla="*/ 205 w 246"/>
                <a:gd name="T3" fmla="*/ 235 h 235"/>
                <a:gd name="T4" fmla="*/ 205 w 246"/>
                <a:gd name="T5" fmla="*/ 235 h 235"/>
                <a:gd name="T6" fmla="*/ 205 w 246"/>
                <a:gd name="T7" fmla="*/ 235 h 235"/>
                <a:gd name="T8" fmla="*/ 205 w 246"/>
                <a:gd name="T9" fmla="*/ 235 h 235"/>
                <a:gd name="T10" fmla="*/ 205 w 246"/>
                <a:gd name="T11" fmla="*/ 235 h 235"/>
                <a:gd name="T12" fmla="*/ 236 w 246"/>
                <a:gd name="T13" fmla="*/ 188 h 235"/>
                <a:gd name="T14" fmla="*/ 205 w 246"/>
                <a:gd name="T15" fmla="*/ 235 h 235"/>
                <a:gd name="T16" fmla="*/ 236 w 246"/>
                <a:gd name="T17" fmla="*/ 188 h 235"/>
                <a:gd name="T18" fmla="*/ 246 w 246"/>
                <a:gd name="T19" fmla="*/ 127 h 235"/>
                <a:gd name="T20" fmla="*/ 246 w 246"/>
                <a:gd name="T21" fmla="*/ 134 h 235"/>
                <a:gd name="T22" fmla="*/ 246 w 246"/>
                <a:gd name="T23" fmla="*/ 140 h 235"/>
                <a:gd name="T24" fmla="*/ 246 w 246"/>
                <a:gd name="T25" fmla="*/ 127 h 235"/>
                <a:gd name="T26" fmla="*/ 236 w 246"/>
                <a:gd name="T27" fmla="*/ 79 h 235"/>
                <a:gd name="T28" fmla="*/ 236 w 246"/>
                <a:gd name="T29" fmla="*/ 79 h 235"/>
                <a:gd name="T30" fmla="*/ 236 w 246"/>
                <a:gd name="T31" fmla="*/ 79 h 235"/>
                <a:gd name="T32" fmla="*/ 205 w 246"/>
                <a:gd name="T33" fmla="*/ 33 h 235"/>
                <a:gd name="T34" fmla="*/ 236 w 246"/>
                <a:gd name="T35" fmla="*/ 79 h 235"/>
                <a:gd name="T36" fmla="*/ 205 w 246"/>
                <a:gd name="T37" fmla="*/ 33 h 235"/>
                <a:gd name="T38" fmla="*/ 205 w 246"/>
                <a:gd name="T39" fmla="*/ 33 h 235"/>
                <a:gd name="T40" fmla="*/ 205 w 246"/>
                <a:gd name="T41" fmla="*/ 33 h 235"/>
                <a:gd name="T42" fmla="*/ 205 w 246"/>
                <a:gd name="T43" fmla="*/ 33 h 235"/>
                <a:gd name="T44" fmla="*/ 205 w 246"/>
                <a:gd name="T45" fmla="*/ 32 h 235"/>
                <a:gd name="T46" fmla="*/ 205 w 246"/>
                <a:gd name="T47" fmla="*/ 32 h 235"/>
                <a:gd name="T48" fmla="*/ 205 w 246"/>
                <a:gd name="T49" fmla="*/ 32 h 235"/>
                <a:gd name="T50" fmla="*/ 202 w 246"/>
                <a:gd name="T51" fmla="*/ 29 h 235"/>
                <a:gd name="T52" fmla="*/ 202 w 246"/>
                <a:gd name="T53" fmla="*/ 29 h 235"/>
                <a:gd name="T54" fmla="*/ 202 w 246"/>
                <a:gd name="T55" fmla="*/ 29 h 235"/>
                <a:gd name="T56" fmla="*/ 201 w 246"/>
                <a:gd name="T57" fmla="*/ 29 h 235"/>
                <a:gd name="T58" fmla="*/ 202 w 246"/>
                <a:gd name="T59" fmla="*/ 29 h 235"/>
                <a:gd name="T60" fmla="*/ 201 w 246"/>
                <a:gd name="T61" fmla="*/ 29 h 235"/>
                <a:gd name="T62" fmla="*/ 1 w 246"/>
                <a:gd name="T63" fmla="*/ 28 h 235"/>
                <a:gd name="T64" fmla="*/ 0 w 246"/>
                <a:gd name="T65" fmla="*/ 28 h 235"/>
                <a:gd name="T66" fmla="*/ 1 w 246"/>
                <a:gd name="T67" fmla="*/ 28 h 235"/>
                <a:gd name="T68" fmla="*/ 1 w 246"/>
                <a:gd name="T69" fmla="*/ 28 h 235"/>
                <a:gd name="T70" fmla="*/ 1 w 246"/>
                <a:gd name="T71" fmla="*/ 28 h 235"/>
                <a:gd name="T72" fmla="*/ 1 w 246"/>
                <a:gd name="T73" fmla="*/ 28 h 235"/>
                <a:gd name="T74" fmla="*/ 43 w 246"/>
                <a:gd name="T75" fmla="*/ 0 h 235"/>
                <a:gd name="T76" fmla="*/ 1 w 246"/>
                <a:gd name="T77" fmla="*/ 28 h 235"/>
                <a:gd name="T78" fmla="*/ 43 w 246"/>
                <a:gd name="T79" fmla="*/ 0 h 235"/>
                <a:gd name="T80" fmla="*/ 43 w 246"/>
                <a:gd name="T81" fmla="*/ 0 h 235"/>
                <a:gd name="T82" fmla="*/ 43 w 246"/>
                <a:gd name="T83" fmla="*/ 0 h 235"/>
                <a:gd name="T84" fmla="*/ 43 w 246"/>
                <a:gd name="T85" fmla="*/ 0 h 235"/>
                <a:gd name="T86" fmla="*/ 158 w 246"/>
                <a:gd name="T87" fmla="*/ 0 h 235"/>
                <a:gd name="T88" fmla="*/ 201 w 246"/>
                <a:gd name="T89" fmla="*/ 29 h 235"/>
                <a:gd name="T90" fmla="*/ 158 w 246"/>
                <a:gd name="T91" fmla="*/ 0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46" h="235">
                  <a:moveTo>
                    <a:pt x="205" y="235"/>
                  </a:moveTo>
                  <a:cubicBezTo>
                    <a:pt x="205" y="235"/>
                    <a:pt x="205" y="235"/>
                    <a:pt x="205" y="235"/>
                  </a:cubicBezTo>
                  <a:cubicBezTo>
                    <a:pt x="205" y="235"/>
                    <a:pt x="205" y="235"/>
                    <a:pt x="205" y="235"/>
                  </a:cubicBezTo>
                  <a:moveTo>
                    <a:pt x="205" y="235"/>
                  </a:moveTo>
                  <a:cubicBezTo>
                    <a:pt x="205" y="235"/>
                    <a:pt x="205" y="235"/>
                    <a:pt x="205" y="235"/>
                  </a:cubicBezTo>
                  <a:cubicBezTo>
                    <a:pt x="205" y="235"/>
                    <a:pt x="205" y="235"/>
                    <a:pt x="205" y="235"/>
                  </a:cubicBezTo>
                  <a:moveTo>
                    <a:pt x="236" y="188"/>
                  </a:moveTo>
                  <a:cubicBezTo>
                    <a:pt x="229" y="206"/>
                    <a:pt x="218" y="221"/>
                    <a:pt x="205" y="235"/>
                  </a:cubicBezTo>
                  <a:cubicBezTo>
                    <a:pt x="219" y="221"/>
                    <a:pt x="229" y="205"/>
                    <a:pt x="236" y="188"/>
                  </a:cubicBezTo>
                  <a:moveTo>
                    <a:pt x="246" y="127"/>
                  </a:moveTo>
                  <a:cubicBezTo>
                    <a:pt x="246" y="129"/>
                    <a:pt x="246" y="132"/>
                    <a:pt x="246" y="134"/>
                  </a:cubicBezTo>
                  <a:cubicBezTo>
                    <a:pt x="246" y="136"/>
                    <a:pt x="246" y="138"/>
                    <a:pt x="246" y="140"/>
                  </a:cubicBezTo>
                  <a:cubicBezTo>
                    <a:pt x="246" y="136"/>
                    <a:pt x="246" y="132"/>
                    <a:pt x="246" y="127"/>
                  </a:cubicBezTo>
                  <a:moveTo>
                    <a:pt x="236" y="79"/>
                  </a:moveTo>
                  <a:cubicBezTo>
                    <a:pt x="236" y="79"/>
                    <a:pt x="236" y="79"/>
                    <a:pt x="236" y="79"/>
                  </a:cubicBezTo>
                  <a:cubicBezTo>
                    <a:pt x="236" y="79"/>
                    <a:pt x="236" y="79"/>
                    <a:pt x="236" y="79"/>
                  </a:cubicBezTo>
                  <a:moveTo>
                    <a:pt x="205" y="33"/>
                  </a:moveTo>
                  <a:cubicBezTo>
                    <a:pt x="218" y="46"/>
                    <a:pt x="228" y="62"/>
                    <a:pt x="236" y="79"/>
                  </a:cubicBezTo>
                  <a:cubicBezTo>
                    <a:pt x="229" y="62"/>
                    <a:pt x="219" y="47"/>
                    <a:pt x="205" y="33"/>
                  </a:cubicBezTo>
                  <a:moveTo>
                    <a:pt x="205" y="33"/>
                  </a:moveTo>
                  <a:cubicBezTo>
                    <a:pt x="205" y="33"/>
                    <a:pt x="205" y="33"/>
                    <a:pt x="205" y="33"/>
                  </a:cubicBezTo>
                  <a:cubicBezTo>
                    <a:pt x="205" y="33"/>
                    <a:pt x="205" y="33"/>
                    <a:pt x="205" y="33"/>
                  </a:cubicBezTo>
                  <a:moveTo>
                    <a:pt x="205" y="32"/>
                  </a:moveTo>
                  <a:cubicBezTo>
                    <a:pt x="205" y="32"/>
                    <a:pt x="205" y="32"/>
                    <a:pt x="205" y="32"/>
                  </a:cubicBezTo>
                  <a:cubicBezTo>
                    <a:pt x="205" y="32"/>
                    <a:pt x="205" y="32"/>
                    <a:pt x="205" y="32"/>
                  </a:cubicBezTo>
                  <a:moveTo>
                    <a:pt x="202" y="29"/>
                  </a:moveTo>
                  <a:cubicBezTo>
                    <a:pt x="202" y="29"/>
                    <a:pt x="202" y="29"/>
                    <a:pt x="202" y="29"/>
                  </a:cubicBezTo>
                  <a:cubicBezTo>
                    <a:pt x="202" y="29"/>
                    <a:pt x="202" y="29"/>
                    <a:pt x="202" y="29"/>
                  </a:cubicBezTo>
                  <a:moveTo>
                    <a:pt x="201" y="29"/>
                  </a:moveTo>
                  <a:cubicBezTo>
                    <a:pt x="201" y="29"/>
                    <a:pt x="202" y="29"/>
                    <a:pt x="202" y="29"/>
                  </a:cubicBezTo>
                  <a:cubicBezTo>
                    <a:pt x="202" y="29"/>
                    <a:pt x="201" y="29"/>
                    <a:pt x="201" y="29"/>
                  </a:cubicBezTo>
                  <a:moveTo>
                    <a:pt x="1" y="28"/>
                  </a:moveTo>
                  <a:cubicBezTo>
                    <a:pt x="1" y="28"/>
                    <a:pt x="0" y="28"/>
                    <a:pt x="0" y="28"/>
                  </a:cubicBezTo>
                  <a:cubicBezTo>
                    <a:pt x="0" y="28"/>
                    <a:pt x="1" y="28"/>
                    <a:pt x="1" y="28"/>
                  </a:cubicBezTo>
                  <a:moveTo>
                    <a:pt x="1" y="28"/>
                  </a:moveTo>
                  <a:cubicBezTo>
                    <a:pt x="1" y="28"/>
                    <a:pt x="1" y="28"/>
                    <a:pt x="1" y="28"/>
                  </a:cubicBezTo>
                  <a:cubicBezTo>
                    <a:pt x="1" y="28"/>
                    <a:pt x="1" y="28"/>
                    <a:pt x="1" y="28"/>
                  </a:cubicBezTo>
                  <a:moveTo>
                    <a:pt x="43" y="0"/>
                  </a:moveTo>
                  <a:cubicBezTo>
                    <a:pt x="28" y="7"/>
                    <a:pt x="14" y="16"/>
                    <a:pt x="1" y="28"/>
                  </a:cubicBezTo>
                  <a:cubicBezTo>
                    <a:pt x="13" y="16"/>
                    <a:pt x="27" y="7"/>
                    <a:pt x="43" y="0"/>
                  </a:cubicBezTo>
                  <a:moveTo>
                    <a:pt x="43" y="0"/>
                  </a:moveTo>
                  <a:cubicBezTo>
                    <a:pt x="43" y="0"/>
                    <a:pt x="43" y="0"/>
                    <a:pt x="43" y="0"/>
                  </a:cubicBezTo>
                  <a:cubicBezTo>
                    <a:pt x="43" y="0"/>
                    <a:pt x="43" y="0"/>
                    <a:pt x="43" y="0"/>
                  </a:cubicBezTo>
                  <a:moveTo>
                    <a:pt x="158" y="0"/>
                  </a:moveTo>
                  <a:cubicBezTo>
                    <a:pt x="174" y="7"/>
                    <a:pt x="189" y="17"/>
                    <a:pt x="201" y="29"/>
                  </a:cubicBezTo>
                  <a:cubicBezTo>
                    <a:pt x="188" y="16"/>
                    <a:pt x="173" y="7"/>
                    <a:pt x="158" y="0"/>
                  </a:cubicBezTo>
                </a:path>
              </a:pathLst>
            </a:custGeom>
            <a:solidFill>
              <a:srgbClr val="263C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65" name="Freeform 92"/>
            <p:cNvSpPr>
              <a:spLocks/>
            </p:cNvSpPr>
            <p:nvPr/>
          </p:nvSpPr>
          <p:spPr bwMode="auto">
            <a:xfrm>
              <a:off x="4621582" y="1188229"/>
              <a:ext cx="961348" cy="961343"/>
            </a:xfrm>
            <a:custGeom>
              <a:avLst/>
              <a:gdLst>
                <a:gd name="T0" fmla="*/ 103 w 248"/>
                <a:gd name="T1" fmla="*/ 0 h 249"/>
                <a:gd name="T2" fmla="*/ 45 w 248"/>
                <a:gd name="T3" fmla="*/ 12 h 249"/>
                <a:gd name="T4" fmla="*/ 45 w 248"/>
                <a:gd name="T5" fmla="*/ 12 h 249"/>
                <a:gd name="T6" fmla="*/ 45 w 248"/>
                <a:gd name="T7" fmla="*/ 12 h 249"/>
                <a:gd name="T8" fmla="*/ 3 w 248"/>
                <a:gd name="T9" fmla="*/ 40 h 249"/>
                <a:gd name="T10" fmla="*/ 3 w 248"/>
                <a:gd name="T11" fmla="*/ 40 h 249"/>
                <a:gd name="T12" fmla="*/ 3 w 248"/>
                <a:gd name="T13" fmla="*/ 40 h 249"/>
                <a:gd name="T14" fmla="*/ 3 w 248"/>
                <a:gd name="T15" fmla="*/ 40 h 249"/>
                <a:gd name="T16" fmla="*/ 2 w 248"/>
                <a:gd name="T17" fmla="*/ 40 h 249"/>
                <a:gd name="T18" fmla="*/ 0 w 248"/>
                <a:gd name="T19" fmla="*/ 43 h 249"/>
                <a:gd name="T20" fmla="*/ 75 w 248"/>
                <a:gd name="T21" fmla="*/ 119 h 249"/>
                <a:gd name="T22" fmla="*/ 75 w 248"/>
                <a:gd name="T23" fmla="*/ 99 h 249"/>
                <a:gd name="T24" fmla="*/ 117 w 248"/>
                <a:gd name="T25" fmla="*/ 99 h 249"/>
                <a:gd name="T26" fmla="*/ 117 w 248"/>
                <a:gd name="T27" fmla="*/ 160 h 249"/>
                <a:gd name="T28" fmla="*/ 128 w 248"/>
                <a:gd name="T29" fmla="*/ 171 h 249"/>
                <a:gd name="T30" fmla="*/ 128 w 248"/>
                <a:gd name="T31" fmla="*/ 64 h 249"/>
                <a:gd name="T32" fmla="*/ 169 w 248"/>
                <a:gd name="T33" fmla="*/ 64 h 249"/>
                <a:gd name="T34" fmla="*/ 169 w 248"/>
                <a:gd name="T35" fmla="*/ 212 h 249"/>
                <a:gd name="T36" fmla="*/ 206 w 248"/>
                <a:gd name="T37" fmla="*/ 249 h 249"/>
                <a:gd name="T38" fmla="*/ 207 w 248"/>
                <a:gd name="T39" fmla="*/ 247 h 249"/>
                <a:gd name="T40" fmla="*/ 207 w 248"/>
                <a:gd name="T41" fmla="*/ 247 h 249"/>
                <a:gd name="T42" fmla="*/ 207 w 248"/>
                <a:gd name="T43" fmla="*/ 247 h 249"/>
                <a:gd name="T44" fmla="*/ 207 w 248"/>
                <a:gd name="T45" fmla="*/ 247 h 249"/>
                <a:gd name="T46" fmla="*/ 207 w 248"/>
                <a:gd name="T47" fmla="*/ 247 h 249"/>
                <a:gd name="T48" fmla="*/ 238 w 248"/>
                <a:gd name="T49" fmla="*/ 200 h 249"/>
                <a:gd name="T50" fmla="*/ 248 w 248"/>
                <a:gd name="T51" fmla="*/ 152 h 249"/>
                <a:gd name="T52" fmla="*/ 248 w 248"/>
                <a:gd name="T53" fmla="*/ 146 h 249"/>
                <a:gd name="T54" fmla="*/ 248 w 248"/>
                <a:gd name="T55" fmla="*/ 139 h 249"/>
                <a:gd name="T56" fmla="*/ 238 w 248"/>
                <a:gd name="T57" fmla="*/ 91 h 249"/>
                <a:gd name="T58" fmla="*/ 238 w 248"/>
                <a:gd name="T59" fmla="*/ 91 h 249"/>
                <a:gd name="T60" fmla="*/ 238 w 248"/>
                <a:gd name="T61" fmla="*/ 91 h 249"/>
                <a:gd name="T62" fmla="*/ 207 w 248"/>
                <a:gd name="T63" fmla="*/ 45 h 249"/>
                <a:gd name="T64" fmla="*/ 207 w 248"/>
                <a:gd name="T65" fmla="*/ 45 h 249"/>
                <a:gd name="T66" fmla="*/ 207 w 248"/>
                <a:gd name="T67" fmla="*/ 45 h 249"/>
                <a:gd name="T68" fmla="*/ 207 w 248"/>
                <a:gd name="T69" fmla="*/ 44 h 249"/>
                <a:gd name="T70" fmla="*/ 207 w 248"/>
                <a:gd name="T71" fmla="*/ 44 h 249"/>
                <a:gd name="T72" fmla="*/ 206 w 248"/>
                <a:gd name="T73" fmla="*/ 43 h 249"/>
                <a:gd name="T74" fmla="*/ 204 w 248"/>
                <a:gd name="T75" fmla="*/ 41 h 249"/>
                <a:gd name="T76" fmla="*/ 204 w 248"/>
                <a:gd name="T77" fmla="*/ 41 h 249"/>
                <a:gd name="T78" fmla="*/ 204 w 248"/>
                <a:gd name="T79" fmla="*/ 41 h 249"/>
                <a:gd name="T80" fmla="*/ 203 w 248"/>
                <a:gd name="T81" fmla="*/ 41 h 249"/>
                <a:gd name="T82" fmla="*/ 203 w 248"/>
                <a:gd name="T83" fmla="*/ 41 h 249"/>
                <a:gd name="T84" fmla="*/ 160 w 248"/>
                <a:gd name="T85" fmla="*/ 12 h 249"/>
                <a:gd name="T86" fmla="*/ 103 w 248"/>
                <a:gd name="T87" fmla="*/ 0 h 2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48" h="249">
                  <a:moveTo>
                    <a:pt x="103" y="0"/>
                  </a:moveTo>
                  <a:cubicBezTo>
                    <a:pt x="83" y="0"/>
                    <a:pt x="63" y="4"/>
                    <a:pt x="45" y="12"/>
                  </a:cubicBezTo>
                  <a:cubicBezTo>
                    <a:pt x="45" y="12"/>
                    <a:pt x="45" y="12"/>
                    <a:pt x="45" y="12"/>
                  </a:cubicBezTo>
                  <a:cubicBezTo>
                    <a:pt x="45" y="12"/>
                    <a:pt x="45" y="12"/>
                    <a:pt x="45" y="12"/>
                  </a:cubicBezTo>
                  <a:cubicBezTo>
                    <a:pt x="29" y="19"/>
                    <a:pt x="15" y="28"/>
                    <a:pt x="3" y="40"/>
                  </a:cubicBezTo>
                  <a:cubicBezTo>
                    <a:pt x="3" y="40"/>
                    <a:pt x="3" y="40"/>
                    <a:pt x="3" y="40"/>
                  </a:cubicBezTo>
                  <a:cubicBezTo>
                    <a:pt x="3" y="40"/>
                    <a:pt x="3" y="40"/>
                    <a:pt x="3" y="40"/>
                  </a:cubicBezTo>
                  <a:cubicBezTo>
                    <a:pt x="3" y="40"/>
                    <a:pt x="3" y="40"/>
                    <a:pt x="3" y="40"/>
                  </a:cubicBezTo>
                  <a:cubicBezTo>
                    <a:pt x="3" y="40"/>
                    <a:pt x="2" y="40"/>
                    <a:pt x="2" y="40"/>
                  </a:cubicBezTo>
                  <a:cubicBezTo>
                    <a:pt x="2" y="41"/>
                    <a:pt x="1" y="42"/>
                    <a:pt x="0" y="43"/>
                  </a:cubicBezTo>
                  <a:cubicBezTo>
                    <a:pt x="75" y="119"/>
                    <a:pt x="75" y="119"/>
                    <a:pt x="75" y="119"/>
                  </a:cubicBezTo>
                  <a:cubicBezTo>
                    <a:pt x="75" y="99"/>
                    <a:pt x="75" y="99"/>
                    <a:pt x="75" y="99"/>
                  </a:cubicBezTo>
                  <a:cubicBezTo>
                    <a:pt x="117" y="99"/>
                    <a:pt x="117" y="99"/>
                    <a:pt x="117" y="99"/>
                  </a:cubicBezTo>
                  <a:cubicBezTo>
                    <a:pt x="117" y="160"/>
                    <a:pt x="117" y="160"/>
                    <a:pt x="117" y="160"/>
                  </a:cubicBezTo>
                  <a:cubicBezTo>
                    <a:pt x="128" y="171"/>
                    <a:pt x="128" y="171"/>
                    <a:pt x="128" y="171"/>
                  </a:cubicBezTo>
                  <a:cubicBezTo>
                    <a:pt x="128" y="64"/>
                    <a:pt x="128" y="64"/>
                    <a:pt x="128" y="64"/>
                  </a:cubicBezTo>
                  <a:cubicBezTo>
                    <a:pt x="169" y="64"/>
                    <a:pt x="169" y="64"/>
                    <a:pt x="169" y="64"/>
                  </a:cubicBezTo>
                  <a:cubicBezTo>
                    <a:pt x="169" y="212"/>
                    <a:pt x="169" y="212"/>
                    <a:pt x="169" y="212"/>
                  </a:cubicBezTo>
                  <a:cubicBezTo>
                    <a:pt x="206" y="249"/>
                    <a:pt x="206" y="249"/>
                    <a:pt x="206" y="249"/>
                  </a:cubicBezTo>
                  <a:cubicBezTo>
                    <a:pt x="206" y="248"/>
                    <a:pt x="206" y="248"/>
                    <a:pt x="207" y="247"/>
                  </a:cubicBezTo>
                  <a:cubicBezTo>
                    <a:pt x="207" y="247"/>
                    <a:pt x="207" y="247"/>
                    <a:pt x="207" y="247"/>
                  </a:cubicBezTo>
                  <a:cubicBezTo>
                    <a:pt x="207" y="247"/>
                    <a:pt x="207" y="247"/>
                    <a:pt x="207" y="247"/>
                  </a:cubicBezTo>
                  <a:cubicBezTo>
                    <a:pt x="207" y="247"/>
                    <a:pt x="207" y="247"/>
                    <a:pt x="207" y="247"/>
                  </a:cubicBezTo>
                  <a:cubicBezTo>
                    <a:pt x="207" y="247"/>
                    <a:pt x="207" y="247"/>
                    <a:pt x="207" y="247"/>
                  </a:cubicBezTo>
                  <a:cubicBezTo>
                    <a:pt x="220" y="233"/>
                    <a:pt x="231" y="218"/>
                    <a:pt x="238" y="200"/>
                  </a:cubicBezTo>
                  <a:cubicBezTo>
                    <a:pt x="244" y="185"/>
                    <a:pt x="247" y="169"/>
                    <a:pt x="248" y="152"/>
                  </a:cubicBezTo>
                  <a:cubicBezTo>
                    <a:pt x="248" y="150"/>
                    <a:pt x="248" y="148"/>
                    <a:pt x="248" y="146"/>
                  </a:cubicBezTo>
                  <a:cubicBezTo>
                    <a:pt x="248" y="144"/>
                    <a:pt x="248" y="141"/>
                    <a:pt x="248" y="139"/>
                  </a:cubicBezTo>
                  <a:cubicBezTo>
                    <a:pt x="247" y="123"/>
                    <a:pt x="244" y="107"/>
                    <a:pt x="238" y="91"/>
                  </a:cubicBezTo>
                  <a:cubicBezTo>
                    <a:pt x="238" y="91"/>
                    <a:pt x="238" y="91"/>
                    <a:pt x="238" y="91"/>
                  </a:cubicBezTo>
                  <a:cubicBezTo>
                    <a:pt x="238" y="91"/>
                    <a:pt x="238" y="91"/>
                    <a:pt x="238" y="91"/>
                  </a:cubicBezTo>
                  <a:cubicBezTo>
                    <a:pt x="230" y="74"/>
                    <a:pt x="220" y="58"/>
                    <a:pt x="207" y="45"/>
                  </a:cubicBezTo>
                  <a:cubicBezTo>
                    <a:pt x="207" y="45"/>
                    <a:pt x="207" y="45"/>
                    <a:pt x="207" y="45"/>
                  </a:cubicBezTo>
                  <a:cubicBezTo>
                    <a:pt x="207" y="45"/>
                    <a:pt x="207" y="45"/>
                    <a:pt x="207" y="45"/>
                  </a:cubicBezTo>
                  <a:cubicBezTo>
                    <a:pt x="207" y="44"/>
                    <a:pt x="207" y="44"/>
                    <a:pt x="207" y="44"/>
                  </a:cubicBezTo>
                  <a:cubicBezTo>
                    <a:pt x="207" y="44"/>
                    <a:pt x="207" y="44"/>
                    <a:pt x="207" y="44"/>
                  </a:cubicBezTo>
                  <a:cubicBezTo>
                    <a:pt x="206" y="44"/>
                    <a:pt x="206" y="43"/>
                    <a:pt x="206" y="43"/>
                  </a:cubicBezTo>
                  <a:cubicBezTo>
                    <a:pt x="205" y="42"/>
                    <a:pt x="204" y="42"/>
                    <a:pt x="204" y="41"/>
                  </a:cubicBezTo>
                  <a:cubicBezTo>
                    <a:pt x="204" y="41"/>
                    <a:pt x="204" y="41"/>
                    <a:pt x="204" y="41"/>
                  </a:cubicBezTo>
                  <a:cubicBezTo>
                    <a:pt x="204" y="41"/>
                    <a:pt x="204" y="41"/>
                    <a:pt x="204" y="41"/>
                  </a:cubicBezTo>
                  <a:cubicBezTo>
                    <a:pt x="204" y="41"/>
                    <a:pt x="203" y="41"/>
                    <a:pt x="203" y="41"/>
                  </a:cubicBezTo>
                  <a:cubicBezTo>
                    <a:pt x="203" y="41"/>
                    <a:pt x="203" y="41"/>
                    <a:pt x="203" y="41"/>
                  </a:cubicBezTo>
                  <a:cubicBezTo>
                    <a:pt x="191" y="29"/>
                    <a:pt x="176" y="19"/>
                    <a:pt x="160" y="12"/>
                  </a:cubicBezTo>
                  <a:cubicBezTo>
                    <a:pt x="142" y="4"/>
                    <a:pt x="122" y="0"/>
                    <a:pt x="103" y="0"/>
                  </a:cubicBezTo>
                </a:path>
              </a:pathLst>
            </a:custGeom>
            <a:solidFill>
              <a:srgbClr val="F2BA2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66" name="Freeform 93"/>
            <p:cNvSpPr>
              <a:spLocks/>
            </p:cNvSpPr>
            <p:nvPr/>
          </p:nvSpPr>
          <p:spPr bwMode="auto">
            <a:xfrm>
              <a:off x="4911924" y="1568893"/>
              <a:ext cx="167752" cy="238721"/>
            </a:xfrm>
            <a:custGeom>
              <a:avLst/>
              <a:gdLst>
                <a:gd name="T0" fmla="*/ 26 w 26"/>
                <a:gd name="T1" fmla="*/ 0 h 37"/>
                <a:gd name="T2" fmla="*/ 0 w 26"/>
                <a:gd name="T3" fmla="*/ 0 h 37"/>
                <a:gd name="T4" fmla="*/ 0 w 26"/>
                <a:gd name="T5" fmla="*/ 12 h 37"/>
                <a:gd name="T6" fmla="*/ 26 w 26"/>
                <a:gd name="T7" fmla="*/ 37 h 37"/>
                <a:gd name="T8" fmla="*/ 26 w 26"/>
                <a:gd name="T9" fmla="*/ 0 h 37"/>
              </a:gdLst>
              <a:ahLst/>
              <a:cxnLst>
                <a:cxn ang="0">
                  <a:pos x="T0" y="T1"/>
                </a:cxn>
                <a:cxn ang="0">
                  <a:pos x="T2" y="T3"/>
                </a:cxn>
                <a:cxn ang="0">
                  <a:pos x="T4" y="T5"/>
                </a:cxn>
                <a:cxn ang="0">
                  <a:pos x="T6" y="T7"/>
                </a:cxn>
                <a:cxn ang="0">
                  <a:pos x="T8" y="T9"/>
                </a:cxn>
              </a:cxnLst>
              <a:rect l="0" t="0" r="r" b="b"/>
              <a:pathLst>
                <a:path w="26" h="37">
                  <a:moveTo>
                    <a:pt x="26" y="0"/>
                  </a:moveTo>
                  <a:lnTo>
                    <a:pt x="0" y="0"/>
                  </a:lnTo>
                  <a:lnTo>
                    <a:pt x="0" y="12"/>
                  </a:lnTo>
                  <a:lnTo>
                    <a:pt x="26" y="37"/>
                  </a:lnTo>
                  <a:lnTo>
                    <a:pt x="26"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67" name="Freeform 94"/>
            <p:cNvSpPr>
              <a:spLocks/>
            </p:cNvSpPr>
            <p:nvPr/>
          </p:nvSpPr>
          <p:spPr bwMode="auto">
            <a:xfrm>
              <a:off x="4911924" y="1568893"/>
              <a:ext cx="167752" cy="238721"/>
            </a:xfrm>
            <a:custGeom>
              <a:avLst/>
              <a:gdLst>
                <a:gd name="T0" fmla="*/ 26 w 26"/>
                <a:gd name="T1" fmla="*/ 0 h 37"/>
                <a:gd name="T2" fmla="*/ 0 w 26"/>
                <a:gd name="T3" fmla="*/ 0 h 37"/>
                <a:gd name="T4" fmla="*/ 0 w 26"/>
                <a:gd name="T5" fmla="*/ 12 h 37"/>
                <a:gd name="T6" fmla="*/ 26 w 26"/>
                <a:gd name="T7" fmla="*/ 37 h 37"/>
                <a:gd name="T8" fmla="*/ 26 w 26"/>
                <a:gd name="T9" fmla="*/ 0 h 37"/>
              </a:gdLst>
              <a:ahLst/>
              <a:cxnLst>
                <a:cxn ang="0">
                  <a:pos x="T0" y="T1"/>
                </a:cxn>
                <a:cxn ang="0">
                  <a:pos x="T2" y="T3"/>
                </a:cxn>
                <a:cxn ang="0">
                  <a:pos x="T4" y="T5"/>
                </a:cxn>
                <a:cxn ang="0">
                  <a:pos x="T6" y="T7"/>
                </a:cxn>
                <a:cxn ang="0">
                  <a:pos x="T8" y="T9"/>
                </a:cxn>
              </a:cxnLst>
              <a:rect l="0" t="0" r="r" b="b"/>
              <a:pathLst>
                <a:path w="26" h="37">
                  <a:moveTo>
                    <a:pt x="26" y="0"/>
                  </a:moveTo>
                  <a:lnTo>
                    <a:pt x="0" y="0"/>
                  </a:lnTo>
                  <a:lnTo>
                    <a:pt x="0" y="12"/>
                  </a:lnTo>
                  <a:lnTo>
                    <a:pt x="26" y="37"/>
                  </a:lnTo>
                  <a:lnTo>
                    <a:pt x="2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68" name="Freeform 95"/>
            <p:cNvSpPr>
              <a:spLocks/>
            </p:cNvSpPr>
            <p:nvPr/>
          </p:nvSpPr>
          <p:spPr bwMode="auto">
            <a:xfrm>
              <a:off x="5118387" y="1433404"/>
              <a:ext cx="161302" cy="574224"/>
            </a:xfrm>
            <a:custGeom>
              <a:avLst/>
              <a:gdLst>
                <a:gd name="T0" fmla="*/ 25 w 25"/>
                <a:gd name="T1" fmla="*/ 0 h 89"/>
                <a:gd name="T2" fmla="*/ 0 w 25"/>
                <a:gd name="T3" fmla="*/ 0 h 89"/>
                <a:gd name="T4" fmla="*/ 0 w 25"/>
                <a:gd name="T5" fmla="*/ 64 h 89"/>
                <a:gd name="T6" fmla="*/ 25 w 25"/>
                <a:gd name="T7" fmla="*/ 89 h 89"/>
                <a:gd name="T8" fmla="*/ 25 w 25"/>
                <a:gd name="T9" fmla="*/ 0 h 89"/>
              </a:gdLst>
              <a:ahLst/>
              <a:cxnLst>
                <a:cxn ang="0">
                  <a:pos x="T0" y="T1"/>
                </a:cxn>
                <a:cxn ang="0">
                  <a:pos x="T2" y="T3"/>
                </a:cxn>
                <a:cxn ang="0">
                  <a:pos x="T4" y="T5"/>
                </a:cxn>
                <a:cxn ang="0">
                  <a:pos x="T6" y="T7"/>
                </a:cxn>
                <a:cxn ang="0">
                  <a:pos x="T8" y="T9"/>
                </a:cxn>
              </a:cxnLst>
              <a:rect l="0" t="0" r="r" b="b"/>
              <a:pathLst>
                <a:path w="25" h="89">
                  <a:moveTo>
                    <a:pt x="25" y="0"/>
                  </a:moveTo>
                  <a:lnTo>
                    <a:pt x="0" y="0"/>
                  </a:lnTo>
                  <a:lnTo>
                    <a:pt x="0" y="64"/>
                  </a:lnTo>
                  <a:lnTo>
                    <a:pt x="25" y="89"/>
                  </a:lnTo>
                  <a:lnTo>
                    <a:pt x="25" y="0"/>
                  </a:lnTo>
                  <a:close/>
                </a:path>
              </a:pathLst>
            </a:custGeom>
            <a:solidFill>
              <a:srgbClr val="DE582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69" name="Freeform 96"/>
            <p:cNvSpPr>
              <a:spLocks/>
            </p:cNvSpPr>
            <p:nvPr/>
          </p:nvSpPr>
          <p:spPr bwMode="auto">
            <a:xfrm>
              <a:off x="5118387" y="1433404"/>
              <a:ext cx="161302" cy="574224"/>
            </a:xfrm>
            <a:custGeom>
              <a:avLst/>
              <a:gdLst>
                <a:gd name="T0" fmla="*/ 25 w 25"/>
                <a:gd name="T1" fmla="*/ 0 h 89"/>
                <a:gd name="T2" fmla="*/ 0 w 25"/>
                <a:gd name="T3" fmla="*/ 0 h 89"/>
                <a:gd name="T4" fmla="*/ 0 w 25"/>
                <a:gd name="T5" fmla="*/ 64 h 89"/>
                <a:gd name="T6" fmla="*/ 25 w 25"/>
                <a:gd name="T7" fmla="*/ 89 h 89"/>
                <a:gd name="T8" fmla="*/ 25 w 25"/>
                <a:gd name="T9" fmla="*/ 0 h 89"/>
              </a:gdLst>
              <a:ahLst/>
              <a:cxnLst>
                <a:cxn ang="0">
                  <a:pos x="T0" y="T1"/>
                </a:cxn>
                <a:cxn ang="0">
                  <a:pos x="T2" y="T3"/>
                </a:cxn>
                <a:cxn ang="0">
                  <a:pos x="T4" y="T5"/>
                </a:cxn>
                <a:cxn ang="0">
                  <a:pos x="T6" y="T7"/>
                </a:cxn>
                <a:cxn ang="0">
                  <a:pos x="T8" y="T9"/>
                </a:cxn>
              </a:cxnLst>
              <a:rect l="0" t="0" r="r" b="b"/>
              <a:pathLst>
                <a:path w="25" h="89">
                  <a:moveTo>
                    <a:pt x="25" y="0"/>
                  </a:moveTo>
                  <a:lnTo>
                    <a:pt x="0" y="0"/>
                  </a:lnTo>
                  <a:lnTo>
                    <a:pt x="0" y="64"/>
                  </a:lnTo>
                  <a:lnTo>
                    <a:pt x="25" y="89"/>
                  </a:lnTo>
                  <a:lnTo>
                    <a:pt x="2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70" name="Freeform 100"/>
            <p:cNvSpPr>
              <a:spLocks/>
            </p:cNvSpPr>
            <p:nvPr/>
          </p:nvSpPr>
          <p:spPr bwMode="auto">
            <a:xfrm>
              <a:off x="4550612" y="3368997"/>
              <a:ext cx="296791" cy="51616"/>
            </a:xfrm>
            <a:custGeom>
              <a:avLst/>
              <a:gdLst>
                <a:gd name="T0" fmla="*/ 46 w 46"/>
                <a:gd name="T1" fmla="*/ 0 h 8"/>
                <a:gd name="T2" fmla="*/ 0 w 46"/>
                <a:gd name="T3" fmla="*/ 8 h 8"/>
                <a:gd name="T4" fmla="*/ 46 w 46"/>
                <a:gd name="T5" fmla="*/ 0 h 8"/>
                <a:gd name="T6" fmla="*/ 46 w 46"/>
                <a:gd name="T7" fmla="*/ 0 h 8"/>
              </a:gdLst>
              <a:ahLst/>
              <a:cxnLst>
                <a:cxn ang="0">
                  <a:pos x="T0" y="T1"/>
                </a:cxn>
                <a:cxn ang="0">
                  <a:pos x="T2" y="T3"/>
                </a:cxn>
                <a:cxn ang="0">
                  <a:pos x="T4" y="T5"/>
                </a:cxn>
                <a:cxn ang="0">
                  <a:pos x="T6" y="T7"/>
                </a:cxn>
              </a:cxnLst>
              <a:rect l="0" t="0" r="r" b="b"/>
              <a:pathLst>
                <a:path w="46" h="8">
                  <a:moveTo>
                    <a:pt x="46" y="0"/>
                  </a:moveTo>
                  <a:lnTo>
                    <a:pt x="0" y="8"/>
                  </a:lnTo>
                  <a:lnTo>
                    <a:pt x="46" y="0"/>
                  </a:lnTo>
                  <a:lnTo>
                    <a:pt x="46" y="0"/>
                  </a:lnTo>
                  <a:close/>
                </a:path>
              </a:pathLst>
            </a:custGeom>
            <a:solidFill>
              <a:srgbClr val="0054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71" name="Freeform 101"/>
            <p:cNvSpPr>
              <a:spLocks/>
            </p:cNvSpPr>
            <p:nvPr/>
          </p:nvSpPr>
          <p:spPr bwMode="auto">
            <a:xfrm>
              <a:off x="4550612" y="3368997"/>
              <a:ext cx="296791" cy="51616"/>
            </a:xfrm>
            <a:custGeom>
              <a:avLst/>
              <a:gdLst>
                <a:gd name="T0" fmla="*/ 46 w 46"/>
                <a:gd name="T1" fmla="*/ 0 h 8"/>
                <a:gd name="T2" fmla="*/ 0 w 46"/>
                <a:gd name="T3" fmla="*/ 8 h 8"/>
                <a:gd name="T4" fmla="*/ 46 w 46"/>
                <a:gd name="T5" fmla="*/ 0 h 8"/>
                <a:gd name="T6" fmla="*/ 46 w 46"/>
                <a:gd name="T7" fmla="*/ 0 h 8"/>
              </a:gdLst>
              <a:ahLst/>
              <a:cxnLst>
                <a:cxn ang="0">
                  <a:pos x="T0" y="T1"/>
                </a:cxn>
                <a:cxn ang="0">
                  <a:pos x="T2" y="T3"/>
                </a:cxn>
                <a:cxn ang="0">
                  <a:pos x="T4" y="T5"/>
                </a:cxn>
                <a:cxn ang="0">
                  <a:pos x="T6" y="T7"/>
                </a:cxn>
              </a:cxnLst>
              <a:rect l="0" t="0" r="r" b="b"/>
              <a:pathLst>
                <a:path w="46" h="8">
                  <a:moveTo>
                    <a:pt x="46" y="0"/>
                  </a:moveTo>
                  <a:lnTo>
                    <a:pt x="0" y="8"/>
                  </a:lnTo>
                  <a:lnTo>
                    <a:pt x="46" y="0"/>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72" name="Freeform 102"/>
            <p:cNvSpPr>
              <a:spLocks/>
            </p:cNvSpPr>
            <p:nvPr/>
          </p:nvSpPr>
          <p:spPr bwMode="auto">
            <a:xfrm>
              <a:off x="4395765" y="3368997"/>
              <a:ext cx="451639" cy="716168"/>
            </a:xfrm>
            <a:custGeom>
              <a:avLst/>
              <a:gdLst>
                <a:gd name="T0" fmla="*/ 70 w 70"/>
                <a:gd name="T1" fmla="*/ 0 h 111"/>
                <a:gd name="T2" fmla="*/ 24 w 70"/>
                <a:gd name="T3" fmla="*/ 8 h 111"/>
                <a:gd name="T4" fmla="*/ 0 w 70"/>
                <a:gd name="T5" fmla="*/ 111 h 111"/>
                <a:gd name="T6" fmla="*/ 70 w 70"/>
                <a:gd name="T7" fmla="*/ 0 h 111"/>
              </a:gdLst>
              <a:ahLst/>
              <a:cxnLst>
                <a:cxn ang="0">
                  <a:pos x="T0" y="T1"/>
                </a:cxn>
                <a:cxn ang="0">
                  <a:pos x="T2" y="T3"/>
                </a:cxn>
                <a:cxn ang="0">
                  <a:pos x="T4" y="T5"/>
                </a:cxn>
                <a:cxn ang="0">
                  <a:pos x="T6" y="T7"/>
                </a:cxn>
              </a:cxnLst>
              <a:rect l="0" t="0" r="r" b="b"/>
              <a:pathLst>
                <a:path w="70" h="111">
                  <a:moveTo>
                    <a:pt x="70" y="0"/>
                  </a:moveTo>
                  <a:lnTo>
                    <a:pt x="24" y="8"/>
                  </a:lnTo>
                  <a:lnTo>
                    <a:pt x="0" y="111"/>
                  </a:lnTo>
                  <a:lnTo>
                    <a:pt x="70" y="0"/>
                  </a:lnTo>
                  <a:close/>
                </a:path>
              </a:pathLst>
            </a:custGeom>
            <a:solidFill>
              <a:srgbClr val="00122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73" name="Freeform 103"/>
            <p:cNvSpPr>
              <a:spLocks/>
            </p:cNvSpPr>
            <p:nvPr/>
          </p:nvSpPr>
          <p:spPr bwMode="auto">
            <a:xfrm>
              <a:off x="4395765" y="3368997"/>
              <a:ext cx="451639" cy="716168"/>
            </a:xfrm>
            <a:custGeom>
              <a:avLst/>
              <a:gdLst>
                <a:gd name="T0" fmla="*/ 70 w 70"/>
                <a:gd name="T1" fmla="*/ 0 h 111"/>
                <a:gd name="T2" fmla="*/ 24 w 70"/>
                <a:gd name="T3" fmla="*/ 8 h 111"/>
                <a:gd name="T4" fmla="*/ 0 w 70"/>
                <a:gd name="T5" fmla="*/ 111 h 111"/>
                <a:gd name="T6" fmla="*/ 70 w 70"/>
                <a:gd name="T7" fmla="*/ 0 h 111"/>
              </a:gdLst>
              <a:ahLst/>
              <a:cxnLst>
                <a:cxn ang="0">
                  <a:pos x="T0" y="T1"/>
                </a:cxn>
                <a:cxn ang="0">
                  <a:pos x="T2" y="T3"/>
                </a:cxn>
                <a:cxn ang="0">
                  <a:pos x="T4" y="T5"/>
                </a:cxn>
                <a:cxn ang="0">
                  <a:pos x="T6" y="T7"/>
                </a:cxn>
              </a:cxnLst>
              <a:rect l="0" t="0" r="r" b="b"/>
              <a:pathLst>
                <a:path w="70" h="111">
                  <a:moveTo>
                    <a:pt x="70" y="0"/>
                  </a:moveTo>
                  <a:lnTo>
                    <a:pt x="24" y="8"/>
                  </a:lnTo>
                  <a:lnTo>
                    <a:pt x="0" y="111"/>
                  </a:lnTo>
                  <a:lnTo>
                    <a:pt x="7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74" name="Freeform 104"/>
            <p:cNvSpPr>
              <a:spLocks/>
            </p:cNvSpPr>
            <p:nvPr/>
          </p:nvSpPr>
          <p:spPr bwMode="auto">
            <a:xfrm>
              <a:off x="7053982" y="3368997"/>
              <a:ext cx="451639" cy="716168"/>
            </a:xfrm>
            <a:custGeom>
              <a:avLst/>
              <a:gdLst>
                <a:gd name="T0" fmla="*/ 0 w 70"/>
                <a:gd name="T1" fmla="*/ 0 h 111"/>
                <a:gd name="T2" fmla="*/ 70 w 70"/>
                <a:gd name="T3" fmla="*/ 111 h 111"/>
                <a:gd name="T4" fmla="*/ 47 w 70"/>
                <a:gd name="T5" fmla="*/ 8 h 111"/>
                <a:gd name="T6" fmla="*/ 0 w 70"/>
                <a:gd name="T7" fmla="*/ 0 h 111"/>
              </a:gdLst>
              <a:ahLst/>
              <a:cxnLst>
                <a:cxn ang="0">
                  <a:pos x="T0" y="T1"/>
                </a:cxn>
                <a:cxn ang="0">
                  <a:pos x="T2" y="T3"/>
                </a:cxn>
                <a:cxn ang="0">
                  <a:pos x="T4" y="T5"/>
                </a:cxn>
                <a:cxn ang="0">
                  <a:pos x="T6" y="T7"/>
                </a:cxn>
              </a:cxnLst>
              <a:rect l="0" t="0" r="r" b="b"/>
              <a:pathLst>
                <a:path w="70" h="111">
                  <a:moveTo>
                    <a:pt x="0" y="0"/>
                  </a:moveTo>
                  <a:lnTo>
                    <a:pt x="70" y="111"/>
                  </a:lnTo>
                  <a:lnTo>
                    <a:pt x="47" y="8"/>
                  </a:lnTo>
                  <a:lnTo>
                    <a:pt x="0" y="0"/>
                  </a:lnTo>
                  <a:close/>
                </a:path>
              </a:pathLst>
            </a:custGeom>
            <a:solidFill>
              <a:srgbClr val="00122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75" name="Freeform 105"/>
            <p:cNvSpPr>
              <a:spLocks/>
            </p:cNvSpPr>
            <p:nvPr/>
          </p:nvSpPr>
          <p:spPr bwMode="auto">
            <a:xfrm>
              <a:off x="7053982" y="3368997"/>
              <a:ext cx="451639" cy="716168"/>
            </a:xfrm>
            <a:custGeom>
              <a:avLst/>
              <a:gdLst>
                <a:gd name="T0" fmla="*/ 0 w 70"/>
                <a:gd name="T1" fmla="*/ 0 h 111"/>
                <a:gd name="T2" fmla="*/ 70 w 70"/>
                <a:gd name="T3" fmla="*/ 111 h 111"/>
                <a:gd name="T4" fmla="*/ 47 w 70"/>
                <a:gd name="T5" fmla="*/ 8 h 111"/>
                <a:gd name="T6" fmla="*/ 0 w 70"/>
                <a:gd name="T7" fmla="*/ 0 h 111"/>
              </a:gdLst>
              <a:ahLst/>
              <a:cxnLst>
                <a:cxn ang="0">
                  <a:pos x="T0" y="T1"/>
                </a:cxn>
                <a:cxn ang="0">
                  <a:pos x="T2" y="T3"/>
                </a:cxn>
                <a:cxn ang="0">
                  <a:pos x="T4" y="T5"/>
                </a:cxn>
                <a:cxn ang="0">
                  <a:pos x="T6" y="T7"/>
                </a:cxn>
              </a:cxnLst>
              <a:rect l="0" t="0" r="r" b="b"/>
              <a:pathLst>
                <a:path w="70" h="111">
                  <a:moveTo>
                    <a:pt x="0" y="0"/>
                  </a:moveTo>
                  <a:lnTo>
                    <a:pt x="70" y="111"/>
                  </a:lnTo>
                  <a:lnTo>
                    <a:pt x="47" y="8"/>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grpSp>
        <p:nvGrpSpPr>
          <p:cNvPr id="9" name="Group 8"/>
          <p:cNvGrpSpPr/>
          <p:nvPr/>
        </p:nvGrpSpPr>
        <p:grpSpPr>
          <a:xfrm>
            <a:off x="3055278" y="2646070"/>
            <a:ext cx="1483096" cy="3446617"/>
            <a:chOff x="3090791" y="3030157"/>
            <a:chExt cx="1610095" cy="3741760"/>
          </a:xfrm>
        </p:grpSpPr>
        <p:sp>
          <p:nvSpPr>
            <p:cNvPr id="834" name="Freeform: Shape 833"/>
            <p:cNvSpPr/>
            <p:nvPr/>
          </p:nvSpPr>
          <p:spPr bwMode="auto">
            <a:xfrm>
              <a:off x="4012485" y="4110063"/>
              <a:ext cx="437341" cy="2661854"/>
            </a:xfrm>
            <a:custGeom>
              <a:avLst/>
              <a:gdLst>
                <a:gd name="connsiteX0" fmla="*/ 217359 w 437341"/>
                <a:gd name="connsiteY0" fmla="*/ 0 h 1993980"/>
                <a:gd name="connsiteX1" fmla="*/ 437341 w 437341"/>
                <a:gd name="connsiteY1" fmla="*/ 37361 h 1993980"/>
                <a:gd name="connsiteX2" fmla="*/ 431918 w 437341"/>
                <a:gd name="connsiteY2" fmla="*/ 45379 h 1993980"/>
                <a:gd name="connsiteX3" fmla="*/ 265436 w 437341"/>
                <a:gd name="connsiteY3" fmla="*/ 299351 h 1993980"/>
                <a:gd name="connsiteX4" fmla="*/ 265436 w 437341"/>
                <a:gd name="connsiteY4" fmla="*/ 1993980 h 1993980"/>
                <a:gd name="connsiteX5" fmla="*/ 171904 w 437341"/>
                <a:gd name="connsiteY5" fmla="*/ 1993980 h 1993980"/>
                <a:gd name="connsiteX6" fmla="*/ 171904 w 437341"/>
                <a:gd name="connsiteY6" fmla="*/ 745944 h 1993980"/>
                <a:gd name="connsiteX7" fmla="*/ 171525 w 437341"/>
                <a:gd name="connsiteY7" fmla="*/ 745944 h 1993980"/>
                <a:gd name="connsiteX8" fmla="*/ 171525 w 437341"/>
                <a:gd name="connsiteY8" fmla="*/ 299372 h 1993980"/>
                <a:gd name="connsiteX9" fmla="*/ 5335 w 437341"/>
                <a:gd name="connsiteY9" fmla="*/ 45379 h 1993980"/>
                <a:gd name="connsiteX10" fmla="*/ 0 w 437341"/>
                <a:gd name="connsiteY10" fmla="*/ 37361 h 1993980"/>
                <a:gd name="connsiteX11" fmla="*/ 217359 w 437341"/>
                <a:gd name="connsiteY11" fmla="*/ 0 h 1993980"/>
                <a:gd name="connsiteX0" fmla="*/ 217359 w 437341"/>
                <a:gd name="connsiteY0" fmla="*/ 0 h 1993980"/>
                <a:gd name="connsiteX1" fmla="*/ 437341 w 437341"/>
                <a:gd name="connsiteY1" fmla="*/ 37361 h 1993980"/>
                <a:gd name="connsiteX2" fmla="*/ 431918 w 437341"/>
                <a:gd name="connsiteY2" fmla="*/ 45379 h 1993980"/>
                <a:gd name="connsiteX3" fmla="*/ 265436 w 437341"/>
                <a:gd name="connsiteY3" fmla="*/ 299351 h 1993980"/>
                <a:gd name="connsiteX4" fmla="*/ 265436 w 437341"/>
                <a:gd name="connsiteY4" fmla="*/ 1993980 h 1993980"/>
                <a:gd name="connsiteX5" fmla="*/ 171904 w 437341"/>
                <a:gd name="connsiteY5" fmla="*/ 1993980 h 1993980"/>
                <a:gd name="connsiteX6" fmla="*/ 171904 w 437341"/>
                <a:gd name="connsiteY6" fmla="*/ 745944 h 1993980"/>
                <a:gd name="connsiteX7" fmla="*/ 171525 w 437341"/>
                <a:gd name="connsiteY7" fmla="*/ 299372 h 1993980"/>
                <a:gd name="connsiteX8" fmla="*/ 5335 w 437341"/>
                <a:gd name="connsiteY8" fmla="*/ 45379 h 1993980"/>
                <a:gd name="connsiteX9" fmla="*/ 0 w 437341"/>
                <a:gd name="connsiteY9" fmla="*/ 37361 h 1993980"/>
                <a:gd name="connsiteX10" fmla="*/ 217359 w 437341"/>
                <a:gd name="connsiteY10" fmla="*/ 0 h 1993980"/>
                <a:gd name="connsiteX0" fmla="*/ 217359 w 437341"/>
                <a:gd name="connsiteY0" fmla="*/ 0 h 1993980"/>
                <a:gd name="connsiteX1" fmla="*/ 437341 w 437341"/>
                <a:gd name="connsiteY1" fmla="*/ 37361 h 1993980"/>
                <a:gd name="connsiteX2" fmla="*/ 431918 w 437341"/>
                <a:gd name="connsiteY2" fmla="*/ 45379 h 1993980"/>
                <a:gd name="connsiteX3" fmla="*/ 265436 w 437341"/>
                <a:gd name="connsiteY3" fmla="*/ 299351 h 1993980"/>
                <a:gd name="connsiteX4" fmla="*/ 265436 w 437341"/>
                <a:gd name="connsiteY4" fmla="*/ 1993980 h 1993980"/>
                <a:gd name="connsiteX5" fmla="*/ 171904 w 437341"/>
                <a:gd name="connsiteY5" fmla="*/ 1993980 h 1993980"/>
                <a:gd name="connsiteX6" fmla="*/ 171525 w 437341"/>
                <a:gd name="connsiteY6" fmla="*/ 299372 h 1993980"/>
                <a:gd name="connsiteX7" fmla="*/ 5335 w 437341"/>
                <a:gd name="connsiteY7" fmla="*/ 45379 h 1993980"/>
                <a:gd name="connsiteX8" fmla="*/ 0 w 437341"/>
                <a:gd name="connsiteY8" fmla="*/ 37361 h 1993980"/>
                <a:gd name="connsiteX9" fmla="*/ 217359 w 437341"/>
                <a:gd name="connsiteY9" fmla="*/ 0 h 1993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7341" h="1993980">
                  <a:moveTo>
                    <a:pt x="217359" y="0"/>
                  </a:moveTo>
                  <a:cubicBezTo>
                    <a:pt x="338065" y="0"/>
                    <a:pt x="434499" y="16115"/>
                    <a:pt x="437341" y="37361"/>
                  </a:cubicBezTo>
                  <a:cubicBezTo>
                    <a:pt x="437341" y="40007"/>
                    <a:pt x="434499" y="42813"/>
                    <a:pt x="431918" y="45379"/>
                  </a:cubicBezTo>
                  <a:lnTo>
                    <a:pt x="265436" y="299351"/>
                  </a:lnTo>
                  <a:lnTo>
                    <a:pt x="265436" y="1993980"/>
                  </a:lnTo>
                  <a:lnTo>
                    <a:pt x="171904" y="1993980"/>
                  </a:lnTo>
                  <a:cubicBezTo>
                    <a:pt x="171778" y="1429111"/>
                    <a:pt x="171651" y="864241"/>
                    <a:pt x="171525" y="299372"/>
                  </a:cubicBezTo>
                  <a:lnTo>
                    <a:pt x="5335" y="45379"/>
                  </a:lnTo>
                  <a:cubicBezTo>
                    <a:pt x="2668" y="42813"/>
                    <a:pt x="0" y="40007"/>
                    <a:pt x="0" y="37361"/>
                  </a:cubicBezTo>
                  <a:cubicBezTo>
                    <a:pt x="2668" y="16115"/>
                    <a:pt x="99145" y="0"/>
                    <a:pt x="217359" y="0"/>
                  </a:cubicBezTo>
                  <a:close/>
                </a:path>
              </a:pathLst>
            </a:cu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5439">
                      <a:srgbClr val="F8F8F8"/>
                    </a:gs>
                    <a:gs pos="10000">
                      <a:srgbClr val="F8F8F8"/>
                    </a:gs>
                  </a:gsLst>
                  <a:lin ang="5400000" scaled="0"/>
                </a:gradFill>
                <a:effectLst/>
                <a:uLnTx/>
                <a:uFillTx/>
              </a:endParaRPr>
            </a:p>
          </p:txBody>
        </p:sp>
        <p:sp>
          <p:nvSpPr>
            <p:cNvPr id="446" name="Freeform 36"/>
            <p:cNvSpPr>
              <a:spLocks/>
            </p:cNvSpPr>
            <p:nvPr/>
          </p:nvSpPr>
          <p:spPr bwMode="auto">
            <a:xfrm>
              <a:off x="3894401" y="3384435"/>
              <a:ext cx="204504" cy="264988"/>
            </a:xfrm>
            <a:custGeom>
              <a:avLst/>
              <a:gdLst>
                <a:gd name="T0" fmla="*/ 52 w 76"/>
                <a:gd name="T1" fmla="*/ 74 h 99"/>
                <a:gd name="T2" fmla="*/ 73 w 76"/>
                <a:gd name="T3" fmla="*/ 34 h 99"/>
                <a:gd name="T4" fmla="*/ 69 w 76"/>
                <a:gd name="T5" fmla="*/ 22 h 99"/>
                <a:gd name="T6" fmla="*/ 64 w 76"/>
                <a:gd name="T7" fmla="*/ 10 h 99"/>
                <a:gd name="T8" fmla="*/ 60 w 76"/>
                <a:gd name="T9" fmla="*/ 0 h 99"/>
                <a:gd name="T10" fmla="*/ 55 w 76"/>
                <a:gd name="T11" fmla="*/ 9 h 99"/>
                <a:gd name="T12" fmla="*/ 46 w 76"/>
                <a:gd name="T13" fmla="*/ 14 h 99"/>
                <a:gd name="T14" fmla="*/ 41 w 76"/>
                <a:gd name="T15" fmla="*/ 25 h 99"/>
                <a:gd name="T16" fmla="*/ 32 w 76"/>
                <a:gd name="T17" fmla="*/ 16 h 99"/>
                <a:gd name="T18" fmla="*/ 28 w 76"/>
                <a:gd name="T19" fmla="*/ 47 h 99"/>
                <a:gd name="T20" fmla="*/ 28 w 76"/>
                <a:gd name="T21" fmla="*/ 53 h 99"/>
                <a:gd name="T22" fmla="*/ 0 w 76"/>
                <a:gd name="T23" fmla="*/ 91 h 99"/>
                <a:gd name="T24" fmla="*/ 34 w 76"/>
                <a:gd name="T25" fmla="*/ 99 h 99"/>
                <a:gd name="T26" fmla="*/ 52 w 76"/>
                <a:gd name="T27" fmla="*/ 74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6" h="99">
                  <a:moveTo>
                    <a:pt x="52" y="74"/>
                  </a:moveTo>
                  <a:cubicBezTo>
                    <a:pt x="67" y="59"/>
                    <a:pt x="69" y="51"/>
                    <a:pt x="73" y="34"/>
                  </a:cubicBezTo>
                  <a:cubicBezTo>
                    <a:pt x="76" y="23"/>
                    <a:pt x="73" y="19"/>
                    <a:pt x="69" y="22"/>
                  </a:cubicBezTo>
                  <a:cubicBezTo>
                    <a:pt x="74" y="13"/>
                    <a:pt x="68" y="3"/>
                    <a:pt x="64" y="10"/>
                  </a:cubicBezTo>
                  <a:cubicBezTo>
                    <a:pt x="65" y="7"/>
                    <a:pt x="64" y="1"/>
                    <a:pt x="60" y="0"/>
                  </a:cubicBezTo>
                  <a:cubicBezTo>
                    <a:pt x="56" y="0"/>
                    <a:pt x="55" y="6"/>
                    <a:pt x="55" y="9"/>
                  </a:cubicBezTo>
                  <a:cubicBezTo>
                    <a:pt x="52" y="6"/>
                    <a:pt x="47" y="6"/>
                    <a:pt x="46" y="14"/>
                  </a:cubicBezTo>
                  <a:cubicBezTo>
                    <a:pt x="45" y="21"/>
                    <a:pt x="41" y="25"/>
                    <a:pt x="41" y="25"/>
                  </a:cubicBezTo>
                  <a:cubicBezTo>
                    <a:pt x="40" y="17"/>
                    <a:pt x="36" y="14"/>
                    <a:pt x="32" y="16"/>
                  </a:cubicBezTo>
                  <a:cubicBezTo>
                    <a:pt x="32" y="24"/>
                    <a:pt x="28" y="36"/>
                    <a:pt x="28" y="47"/>
                  </a:cubicBezTo>
                  <a:cubicBezTo>
                    <a:pt x="28" y="49"/>
                    <a:pt x="28" y="51"/>
                    <a:pt x="28" y="53"/>
                  </a:cubicBezTo>
                  <a:cubicBezTo>
                    <a:pt x="0" y="91"/>
                    <a:pt x="0" y="91"/>
                    <a:pt x="0" y="91"/>
                  </a:cubicBezTo>
                  <a:cubicBezTo>
                    <a:pt x="34" y="99"/>
                    <a:pt x="34" y="99"/>
                    <a:pt x="34" y="99"/>
                  </a:cubicBezTo>
                  <a:lnTo>
                    <a:pt x="52" y="74"/>
                  </a:ln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47" name="Freeform 37"/>
            <p:cNvSpPr>
              <a:spLocks/>
            </p:cNvSpPr>
            <p:nvPr/>
          </p:nvSpPr>
          <p:spPr bwMode="auto">
            <a:xfrm>
              <a:off x="3920322" y="3537091"/>
              <a:ext cx="103690" cy="92170"/>
            </a:xfrm>
            <a:custGeom>
              <a:avLst/>
              <a:gdLst>
                <a:gd name="T0" fmla="*/ 36 w 36"/>
                <a:gd name="T1" fmla="*/ 23 h 32"/>
                <a:gd name="T2" fmla="*/ 7 w 36"/>
                <a:gd name="T3" fmla="*/ 0 h 32"/>
                <a:gd name="T4" fmla="*/ 0 w 36"/>
                <a:gd name="T5" fmla="*/ 9 h 32"/>
                <a:gd name="T6" fmla="*/ 29 w 36"/>
                <a:gd name="T7" fmla="*/ 32 h 32"/>
                <a:gd name="T8" fmla="*/ 36 w 36"/>
                <a:gd name="T9" fmla="*/ 23 h 32"/>
              </a:gdLst>
              <a:ahLst/>
              <a:cxnLst>
                <a:cxn ang="0">
                  <a:pos x="T0" y="T1"/>
                </a:cxn>
                <a:cxn ang="0">
                  <a:pos x="T2" y="T3"/>
                </a:cxn>
                <a:cxn ang="0">
                  <a:pos x="T4" y="T5"/>
                </a:cxn>
                <a:cxn ang="0">
                  <a:pos x="T6" y="T7"/>
                </a:cxn>
                <a:cxn ang="0">
                  <a:pos x="T8" y="T9"/>
                </a:cxn>
              </a:cxnLst>
              <a:rect l="0" t="0" r="r" b="b"/>
              <a:pathLst>
                <a:path w="36" h="32">
                  <a:moveTo>
                    <a:pt x="36" y="23"/>
                  </a:moveTo>
                  <a:lnTo>
                    <a:pt x="7" y="0"/>
                  </a:lnTo>
                  <a:lnTo>
                    <a:pt x="0" y="9"/>
                  </a:lnTo>
                  <a:lnTo>
                    <a:pt x="29" y="32"/>
                  </a:lnTo>
                  <a:lnTo>
                    <a:pt x="36" y="23"/>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49" name="Freeform 38"/>
            <p:cNvSpPr>
              <a:spLocks/>
            </p:cNvSpPr>
            <p:nvPr/>
          </p:nvSpPr>
          <p:spPr bwMode="auto">
            <a:xfrm>
              <a:off x="3733103" y="3715670"/>
              <a:ext cx="149777" cy="146895"/>
            </a:xfrm>
            <a:custGeom>
              <a:avLst/>
              <a:gdLst>
                <a:gd name="T0" fmla="*/ 9 w 56"/>
                <a:gd name="T1" fmla="*/ 12 h 55"/>
                <a:gd name="T2" fmla="*/ 43 w 56"/>
                <a:gd name="T3" fmla="*/ 8 h 55"/>
                <a:gd name="T4" fmla="*/ 48 w 56"/>
                <a:gd name="T5" fmla="*/ 43 h 55"/>
                <a:gd name="T6" fmla="*/ 13 w 56"/>
                <a:gd name="T7" fmla="*/ 47 h 55"/>
                <a:gd name="T8" fmla="*/ 9 w 56"/>
                <a:gd name="T9" fmla="*/ 12 h 55"/>
              </a:gdLst>
              <a:ahLst/>
              <a:cxnLst>
                <a:cxn ang="0">
                  <a:pos x="T0" y="T1"/>
                </a:cxn>
                <a:cxn ang="0">
                  <a:pos x="T2" y="T3"/>
                </a:cxn>
                <a:cxn ang="0">
                  <a:pos x="T4" y="T5"/>
                </a:cxn>
                <a:cxn ang="0">
                  <a:pos x="T6" y="T7"/>
                </a:cxn>
                <a:cxn ang="0">
                  <a:pos x="T8" y="T9"/>
                </a:cxn>
              </a:cxnLst>
              <a:rect l="0" t="0" r="r" b="b"/>
              <a:pathLst>
                <a:path w="56" h="55">
                  <a:moveTo>
                    <a:pt x="9" y="12"/>
                  </a:moveTo>
                  <a:cubicBezTo>
                    <a:pt x="17" y="2"/>
                    <a:pt x="33" y="0"/>
                    <a:pt x="43" y="8"/>
                  </a:cubicBezTo>
                  <a:cubicBezTo>
                    <a:pt x="54" y="17"/>
                    <a:pt x="56" y="32"/>
                    <a:pt x="48" y="43"/>
                  </a:cubicBezTo>
                  <a:cubicBezTo>
                    <a:pt x="39" y="54"/>
                    <a:pt x="24" y="55"/>
                    <a:pt x="13" y="47"/>
                  </a:cubicBezTo>
                  <a:cubicBezTo>
                    <a:pt x="2" y="39"/>
                    <a:pt x="0" y="23"/>
                    <a:pt x="9" y="12"/>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51" name="Freeform 39"/>
            <p:cNvSpPr>
              <a:spLocks/>
            </p:cNvSpPr>
            <p:nvPr/>
          </p:nvSpPr>
          <p:spPr bwMode="auto">
            <a:xfrm>
              <a:off x="3756144" y="3563014"/>
              <a:ext cx="250587" cy="267867"/>
            </a:xfrm>
            <a:custGeom>
              <a:avLst/>
              <a:gdLst>
                <a:gd name="T0" fmla="*/ 87 w 87"/>
                <a:gd name="T1" fmla="*/ 23 h 93"/>
                <a:gd name="T2" fmla="*/ 56 w 87"/>
                <a:gd name="T3" fmla="*/ 0 h 93"/>
                <a:gd name="T4" fmla="*/ 0 w 87"/>
                <a:gd name="T5" fmla="*/ 65 h 93"/>
                <a:gd name="T6" fmla="*/ 37 w 87"/>
                <a:gd name="T7" fmla="*/ 93 h 93"/>
                <a:gd name="T8" fmla="*/ 87 w 87"/>
                <a:gd name="T9" fmla="*/ 23 h 93"/>
              </a:gdLst>
              <a:ahLst/>
              <a:cxnLst>
                <a:cxn ang="0">
                  <a:pos x="T0" y="T1"/>
                </a:cxn>
                <a:cxn ang="0">
                  <a:pos x="T2" y="T3"/>
                </a:cxn>
                <a:cxn ang="0">
                  <a:pos x="T4" y="T5"/>
                </a:cxn>
                <a:cxn ang="0">
                  <a:pos x="T6" y="T7"/>
                </a:cxn>
                <a:cxn ang="0">
                  <a:pos x="T8" y="T9"/>
                </a:cxn>
              </a:cxnLst>
              <a:rect l="0" t="0" r="r" b="b"/>
              <a:pathLst>
                <a:path w="87" h="93">
                  <a:moveTo>
                    <a:pt x="87" y="23"/>
                  </a:moveTo>
                  <a:lnTo>
                    <a:pt x="56" y="0"/>
                  </a:lnTo>
                  <a:lnTo>
                    <a:pt x="0" y="65"/>
                  </a:lnTo>
                  <a:lnTo>
                    <a:pt x="37" y="93"/>
                  </a:lnTo>
                  <a:lnTo>
                    <a:pt x="87" y="23"/>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52" name="Freeform 40"/>
            <p:cNvSpPr>
              <a:spLocks/>
            </p:cNvSpPr>
            <p:nvPr/>
          </p:nvSpPr>
          <p:spPr bwMode="auto">
            <a:xfrm>
              <a:off x="3666856" y="3030157"/>
              <a:ext cx="944744" cy="587584"/>
            </a:xfrm>
            <a:custGeom>
              <a:avLst/>
              <a:gdLst>
                <a:gd name="T0" fmla="*/ 346 w 351"/>
                <a:gd name="T1" fmla="*/ 143 h 220"/>
                <a:gd name="T2" fmla="*/ 340 w 351"/>
                <a:gd name="T3" fmla="*/ 133 h 220"/>
                <a:gd name="T4" fmla="*/ 341 w 351"/>
                <a:gd name="T5" fmla="*/ 128 h 220"/>
                <a:gd name="T6" fmla="*/ 301 w 351"/>
                <a:gd name="T7" fmla="*/ 57 h 220"/>
                <a:gd name="T8" fmla="*/ 284 w 351"/>
                <a:gd name="T9" fmla="*/ 52 h 220"/>
                <a:gd name="T10" fmla="*/ 242 w 351"/>
                <a:gd name="T11" fmla="*/ 59 h 220"/>
                <a:gd name="T12" fmla="*/ 219 w 351"/>
                <a:gd name="T13" fmla="*/ 26 h 220"/>
                <a:gd name="T14" fmla="*/ 203 w 351"/>
                <a:gd name="T15" fmla="*/ 15 h 220"/>
                <a:gd name="T16" fmla="*/ 176 w 351"/>
                <a:gd name="T17" fmla="*/ 6 h 220"/>
                <a:gd name="T18" fmla="*/ 80 w 351"/>
                <a:gd name="T19" fmla="*/ 74 h 220"/>
                <a:gd name="T20" fmla="*/ 80 w 351"/>
                <a:gd name="T21" fmla="*/ 76 h 220"/>
                <a:gd name="T22" fmla="*/ 79 w 351"/>
                <a:gd name="T23" fmla="*/ 76 h 220"/>
                <a:gd name="T24" fmla="*/ 2 w 351"/>
                <a:gd name="T25" fmla="*/ 133 h 220"/>
                <a:gd name="T26" fmla="*/ 10 w 351"/>
                <a:gd name="T27" fmla="*/ 175 h 220"/>
                <a:gd name="T28" fmla="*/ 27 w 351"/>
                <a:gd name="T29" fmla="*/ 180 h 220"/>
                <a:gd name="T30" fmla="*/ 288 w 351"/>
                <a:gd name="T31" fmla="*/ 219 h 220"/>
                <a:gd name="T32" fmla="*/ 319 w 351"/>
                <a:gd name="T33" fmla="*/ 214 h 220"/>
                <a:gd name="T34" fmla="*/ 350 w 351"/>
                <a:gd name="T35" fmla="*/ 173 h 220"/>
                <a:gd name="T36" fmla="*/ 346 w 351"/>
                <a:gd name="T37" fmla="*/ 143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51" h="220">
                  <a:moveTo>
                    <a:pt x="346" y="143"/>
                  </a:moveTo>
                  <a:cubicBezTo>
                    <a:pt x="344" y="140"/>
                    <a:pt x="342" y="136"/>
                    <a:pt x="340" y="133"/>
                  </a:cubicBezTo>
                  <a:cubicBezTo>
                    <a:pt x="340" y="131"/>
                    <a:pt x="340" y="130"/>
                    <a:pt x="341" y="128"/>
                  </a:cubicBezTo>
                  <a:cubicBezTo>
                    <a:pt x="345" y="98"/>
                    <a:pt x="328" y="69"/>
                    <a:pt x="301" y="57"/>
                  </a:cubicBezTo>
                  <a:cubicBezTo>
                    <a:pt x="296" y="54"/>
                    <a:pt x="290" y="53"/>
                    <a:pt x="284" y="52"/>
                  </a:cubicBezTo>
                  <a:cubicBezTo>
                    <a:pt x="269" y="49"/>
                    <a:pt x="254" y="52"/>
                    <a:pt x="242" y="59"/>
                  </a:cubicBezTo>
                  <a:cubicBezTo>
                    <a:pt x="237" y="46"/>
                    <a:pt x="229" y="35"/>
                    <a:pt x="219" y="26"/>
                  </a:cubicBezTo>
                  <a:cubicBezTo>
                    <a:pt x="214" y="22"/>
                    <a:pt x="209" y="18"/>
                    <a:pt x="203" y="15"/>
                  </a:cubicBezTo>
                  <a:cubicBezTo>
                    <a:pt x="195" y="11"/>
                    <a:pt x="185" y="8"/>
                    <a:pt x="176" y="6"/>
                  </a:cubicBezTo>
                  <a:cubicBezTo>
                    <a:pt x="131" y="0"/>
                    <a:pt x="88" y="30"/>
                    <a:pt x="80" y="74"/>
                  </a:cubicBezTo>
                  <a:cubicBezTo>
                    <a:pt x="80" y="75"/>
                    <a:pt x="80" y="75"/>
                    <a:pt x="80" y="76"/>
                  </a:cubicBezTo>
                  <a:cubicBezTo>
                    <a:pt x="80" y="76"/>
                    <a:pt x="79" y="76"/>
                    <a:pt x="79" y="76"/>
                  </a:cubicBezTo>
                  <a:cubicBezTo>
                    <a:pt x="42" y="70"/>
                    <a:pt x="8" y="96"/>
                    <a:pt x="2" y="133"/>
                  </a:cubicBezTo>
                  <a:cubicBezTo>
                    <a:pt x="0" y="148"/>
                    <a:pt x="3" y="162"/>
                    <a:pt x="10" y="175"/>
                  </a:cubicBezTo>
                  <a:cubicBezTo>
                    <a:pt x="15" y="177"/>
                    <a:pt x="21" y="179"/>
                    <a:pt x="27" y="180"/>
                  </a:cubicBezTo>
                  <a:cubicBezTo>
                    <a:pt x="288" y="219"/>
                    <a:pt x="288" y="219"/>
                    <a:pt x="288" y="219"/>
                  </a:cubicBezTo>
                  <a:cubicBezTo>
                    <a:pt x="299" y="220"/>
                    <a:pt x="310" y="219"/>
                    <a:pt x="319" y="214"/>
                  </a:cubicBezTo>
                  <a:cubicBezTo>
                    <a:pt x="335" y="207"/>
                    <a:pt x="347" y="192"/>
                    <a:pt x="350" y="173"/>
                  </a:cubicBezTo>
                  <a:cubicBezTo>
                    <a:pt x="351" y="163"/>
                    <a:pt x="350" y="152"/>
                    <a:pt x="346" y="143"/>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86" name="Oval 74"/>
            <p:cNvSpPr>
              <a:spLocks noChangeArrowheads="1"/>
            </p:cNvSpPr>
            <p:nvPr/>
          </p:nvSpPr>
          <p:spPr bwMode="auto">
            <a:xfrm>
              <a:off x="4012494" y="4110276"/>
              <a:ext cx="437808" cy="99973"/>
            </a:xfrm>
            <a:prstGeom prst="ellipse">
              <a:avLst/>
            </a:pr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02" name="Freeform 98"/>
            <p:cNvSpPr>
              <a:spLocks/>
            </p:cNvSpPr>
            <p:nvPr/>
          </p:nvSpPr>
          <p:spPr bwMode="auto">
            <a:xfrm>
              <a:off x="4110424" y="3675348"/>
              <a:ext cx="48964" cy="132494"/>
            </a:xfrm>
            <a:custGeom>
              <a:avLst/>
              <a:gdLst>
                <a:gd name="T0" fmla="*/ 11 w 17"/>
                <a:gd name="T1" fmla="*/ 8 h 46"/>
                <a:gd name="T2" fmla="*/ 3 w 17"/>
                <a:gd name="T3" fmla="*/ 14 h 46"/>
                <a:gd name="T4" fmla="*/ 0 w 17"/>
                <a:gd name="T5" fmla="*/ 10 h 46"/>
                <a:gd name="T6" fmla="*/ 11 w 17"/>
                <a:gd name="T7" fmla="*/ 0 h 46"/>
                <a:gd name="T8" fmla="*/ 17 w 17"/>
                <a:gd name="T9" fmla="*/ 0 h 46"/>
                <a:gd name="T10" fmla="*/ 17 w 17"/>
                <a:gd name="T11" fmla="*/ 46 h 46"/>
                <a:gd name="T12" fmla="*/ 11 w 17"/>
                <a:gd name="T13" fmla="*/ 46 h 46"/>
                <a:gd name="T14" fmla="*/ 11 w 17"/>
                <a:gd name="T15" fmla="*/ 8 h 4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 h="46">
                  <a:moveTo>
                    <a:pt x="11" y="8"/>
                  </a:moveTo>
                  <a:lnTo>
                    <a:pt x="3" y="14"/>
                  </a:lnTo>
                  <a:lnTo>
                    <a:pt x="0" y="10"/>
                  </a:lnTo>
                  <a:lnTo>
                    <a:pt x="11" y="0"/>
                  </a:lnTo>
                  <a:lnTo>
                    <a:pt x="17" y="0"/>
                  </a:lnTo>
                  <a:lnTo>
                    <a:pt x="17" y="46"/>
                  </a:lnTo>
                  <a:lnTo>
                    <a:pt x="11" y="46"/>
                  </a:lnTo>
                  <a:lnTo>
                    <a:pt x="11" y="8"/>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03" name="Freeform 99"/>
            <p:cNvSpPr>
              <a:spLocks/>
            </p:cNvSpPr>
            <p:nvPr/>
          </p:nvSpPr>
          <p:spPr bwMode="auto">
            <a:xfrm>
              <a:off x="4087383" y="3934573"/>
              <a:ext cx="48964" cy="129615"/>
            </a:xfrm>
            <a:custGeom>
              <a:avLst/>
              <a:gdLst>
                <a:gd name="T0" fmla="*/ 10 w 17"/>
                <a:gd name="T1" fmla="*/ 8 h 45"/>
                <a:gd name="T2" fmla="*/ 4 w 17"/>
                <a:gd name="T3" fmla="*/ 14 h 45"/>
                <a:gd name="T4" fmla="*/ 0 w 17"/>
                <a:gd name="T5" fmla="*/ 10 h 45"/>
                <a:gd name="T6" fmla="*/ 11 w 17"/>
                <a:gd name="T7" fmla="*/ 0 h 45"/>
                <a:gd name="T8" fmla="*/ 17 w 17"/>
                <a:gd name="T9" fmla="*/ 0 h 45"/>
                <a:gd name="T10" fmla="*/ 17 w 17"/>
                <a:gd name="T11" fmla="*/ 45 h 45"/>
                <a:gd name="T12" fmla="*/ 10 w 17"/>
                <a:gd name="T13" fmla="*/ 45 h 45"/>
                <a:gd name="T14" fmla="*/ 10 w 17"/>
                <a:gd name="T15" fmla="*/ 8 h 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 h="45">
                  <a:moveTo>
                    <a:pt x="10" y="8"/>
                  </a:moveTo>
                  <a:lnTo>
                    <a:pt x="4" y="14"/>
                  </a:lnTo>
                  <a:lnTo>
                    <a:pt x="0" y="10"/>
                  </a:lnTo>
                  <a:lnTo>
                    <a:pt x="11" y="0"/>
                  </a:lnTo>
                  <a:lnTo>
                    <a:pt x="17" y="0"/>
                  </a:lnTo>
                  <a:lnTo>
                    <a:pt x="17" y="45"/>
                  </a:lnTo>
                  <a:lnTo>
                    <a:pt x="10" y="45"/>
                  </a:lnTo>
                  <a:lnTo>
                    <a:pt x="10" y="8"/>
                  </a:ln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04" name="Freeform 100"/>
            <p:cNvSpPr>
              <a:spLocks/>
            </p:cNvSpPr>
            <p:nvPr/>
          </p:nvSpPr>
          <p:spPr bwMode="auto">
            <a:xfrm>
              <a:off x="4303406" y="3897130"/>
              <a:ext cx="48964" cy="129615"/>
            </a:xfrm>
            <a:custGeom>
              <a:avLst/>
              <a:gdLst>
                <a:gd name="T0" fmla="*/ 11 w 17"/>
                <a:gd name="T1" fmla="*/ 8 h 45"/>
                <a:gd name="T2" fmla="*/ 4 w 17"/>
                <a:gd name="T3" fmla="*/ 13 h 45"/>
                <a:gd name="T4" fmla="*/ 0 w 17"/>
                <a:gd name="T5" fmla="*/ 10 h 45"/>
                <a:gd name="T6" fmla="*/ 12 w 17"/>
                <a:gd name="T7" fmla="*/ 0 h 45"/>
                <a:gd name="T8" fmla="*/ 17 w 17"/>
                <a:gd name="T9" fmla="*/ 0 h 45"/>
                <a:gd name="T10" fmla="*/ 17 w 17"/>
                <a:gd name="T11" fmla="*/ 45 h 45"/>
                <a:gd name="T12" fmla="*/ 11 w 17"/>
                <a:gd name="T13" fmla="*/ 45 h 45"/>
                <a:gd name="T14" fmla="*/ 11 w 17"/>
                <a:gd name="T15" fmla="*/ 8 h 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 h="45">
                  <a:moveTo>
                    <a:pt x="11" y="8"/>
                  </a:moveTo>
                  <a:lnTo>
                    <a:pt x="4" y="13"/>
                  </a:lnTo>
                  <a:lnTo>
                    <a:pt x="0" y="10"/>
                  </a:lnTo>
                  <a:lnTo>
                    <a:pt x="12" y="0"/>
                  </a:lnTo>
                  <a:lnTo>
                    <a:pt x="17" y="0"/>
                  </a:lnTo>
                  <a:lnTo>
                    <a:pt x="17" y="45"/>
                  </a:lnTo>
                  <a:lnTo>
                    <a:pt x="11" y="45"/>
                  </a:lnTo>
                  <a:lnTo>
                    <a:pt x="11" y="8"/>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05" name="Freeform 101"/>
            <p:cNvSpPr>
              <a:spLocks noEditPoints="1"/>
            </p:cNvSpPr>
            <p:nvPr/>
          </p:nvSpPr>
          <p:spPr bwMode="auto">
            <a:xfrm>
              <a:off x="4173790" y="3816482"/>
              <a:ext cx="86409" cy="132494"/>
            </a:xfrm>
            <a:custGeom>
              <a:avLst/>
              <a:gdLst>
                <a:gd name="T0" fmla="*/ 17 w 33"/>
                <a:gd name="T1" fmla="*/ 0 h 50"/>
                <a:gd name="T2" fmla="*/ 33 w 33"/>
                <a:gd name="T3" fmla="*/ 25 h 50"/>
                <a:gd name="T4" fmla="*/ 17 w 33"/>
                <a:gd name="T5" fmla="*/ 50 h 50"/>
                <a:gd name="T6" fmla="*/ 0 w 33"/>
                <a:gd name="T7" fmla="*/ 25 h 50"/>
                <a:gd name="T8" fmla="*/ 17 w 33"/>
                <a:gd name="T9" fmla="*/ 0 h 50"/>
                <a:gd name="T10" fmla="*/ 17 w 33"/>
                <a:gd name="T11" fmla="*/ 44 h 50"/>
                <a:gd name="T12" fmla="*/ 26 w 33"/>
                <a:gd name="T13" fmla="*/ 25 h 50"/>
                <a:gd name="T14" fmla="*/ 17 w 33"/>
                <a:gd name="T15" fmla="*/ 5 h 50"/>
                <a:gd name="T16" fmla="*/ 7 w 33"/>
                <a:gd name="T17" fmla="*/ 25 h 50"/>
                <a:gd name="T18" fmla="*/ 17 w 33"/>
                <a:gd name="T19" fmla="*/ 44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 h="50">
                  <a:moveTo>
                    <a:pt x="17" y="0"/>
                  </a:moveTo>
                  <a:cubicBezTo>
                    <a:pt x="30" y="0"/>
                    <a:pt x="33" y="14"/>
                    <a:pt x="33" y="25"/>
                  </a:cubicBezTo>
                  <a:cubicBezTo>
                    <a:pt x="33" y="35"/>
                    <a:pt x="30" y="50"/>
                    <a:pt x="17" y="50"/>
                  </a:cubicBezTo>
                  <a:cubicBezTo>
                    <a:pt x="3" y="50"/>
                    <a:pt x="0" y="35"/>
                    <a:pt x="0" y="25"/>
                  </a:cubicBezTo>
                  <a:cubicBezTo>
                    <a:pt x="0" y="14"/>
                    <a:pt x="3" y="0"/>
                    <a:pt x="17" y="0"/>
                  </a:cubicBezTo>
                  <a:close/>
                  <a:moveTo>
                    <a:pt x="17" y="44"/>
                  </a:moveTo>
                  <a:cubicBezTo>
                    <a:pt x="25" y="44"/>
                    <a:pt x="26" y="31"/>
                    <a:pt x="26" y="25"/>
                  </a:cubicBezTo>
                  <a:cubicBezTo>
                    <a:pt x="26" y="19"/>
                    <a:pt x="24" y="5"/>
                    <a:pt x="17" y="5"/>
                  </a:cubicBezTo>
                  <a:cubicBezTo>
                    <a:pt x="9" y="5"/>
                    <a:pt x="7" y="19"/>
                    <a:pt x="7" y="25"/>
                  </a:cubicBezTo>
                  <a:cubicBezTo>
                    <a:pt x="7" y="31"/>
                    <a:pt x="8" y="44"/>
                    <a:pt x="17" y="44"/>
                  </a:cubicBezTo>
                  <a:close/>
                </a:path>
              </a:pathLst>
            </a:custGeom>
            <a:solidFill>
              <a:srgbClr val="E6A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06" name="Freeform 102"/>
            <p:cNvSpPr>
              <a:spLocks noEditPoints="1"/>
            </p:cNvSpPr>
            <p:nvPr/>
          </p:nvSpPr>
          <p:spPr bwMode="auto">
            <a:xfrm>
              <a:off x="4211234" y="4006583"/>
              <a:ext cx="86409" cy="132494"/>
            </a:xfrm>
            <a:custGeom>
              <a:avLst/>
              <a:gdLst>
                <a:gd name="T0" fmla="*/ 16 w 32"/>
                <a:gd name="T1" fmla="*/ 0 h 50"/>
                <a:gd name="T2" fmla="*/ 32 w 32"/>
                <a:gd name="T3" fmla="*/ 25 h 50"/>
                <a:gd name="T4" fmla="*/ 16 w 32"/>
                <a:gd name="T5" fmla="*/ 50 h 50"/>
                <a:gd name="T6" fmla="*/ 0 w 32"/>
                <a:gd name="T7" fmla="*/ 25 h 50"/>
                <a:gd name="T8" fmla="*/ 16 w 32"/>
                <a:gd name="T9" fmla="*/ 0 h 50"/>
                <a:gd name="T10" fmla="*/ 16 w 32"/>
                <a:gd name="T11" fmla="*/ 44 h 50"/>
                <a:gd name="T12" fmla="*/ 25 w 32"/>
                <a:gd name="T13" fmla="*/ 25 h 50"/>
                <a:gd name="T14" fmla="*/ 16 w 32"/>
                <a:gd name="T15" fmla="*/ 6 h 50"/>
                <a:gd name="T16" fmla="*/ 7 w 32"/>
                <a:gd name="T17" fmla="*/ 25 h 50"/>
                <a:gd name="T18" fmla="*/ 16 w 32"/>
                <a:gd name="T19" fmla="*/ 44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50">
                  <a:moveTo>
                    <a:pt x="16" y="0"/>
                  </a:moveTo>
                  <a:cubicBezTo>
                    <a:pt x="29" y="0"/>
                    <a:pt x="32" y="14"/>
                    <a:pt x="32" y="25"/>
                  </a:cubicBezTo>
                  <a:cubicBezTo>
                    <a:pt x="32" y="36"/>
                    <a:pt x="29" y="50"/>
                    <a:pt x="16" y="50"/>
                  </a:cubicBezTo>
                  <a:cubicBezTo>
                    <a:pt x="3" y="50"/>
                    <a:pt x="0" y="36"/>
                    <a:pt x="0" y="25"/>
                  </a:cubicBezTo>
                  <a:cubicBezTo>
                    <a:pt x="0" y="14"/>
                    <a:pt x="3" y="0"/>
                    <a:pt x="16" y="0"/>
                  </a:cubicBezTo>
                  <a:close/>
                  <a:moveTo>
                    <a:pt x="16" y="44"/>
                  </a:moveTo>
                  <a:cubicBezTo>
                    <a:pt x="24" y="44"/>
                    <a:pt x="25" y="31"/>
                    <a:pt x="25" y="25"/>
                  </a:cubicBezTo>
                  <a:cubicBezTo>
                    <a:pt x="25" y="19"/>
                    <a:pt x="24" y="6"/>
                    <a:pt x="16" y="6"/>
                  </a:cubicBezTo>
                  <a:cubicBezTo>
                    <a:pt x="8" y="6"/>
                    <a:pt x="7" y="19"/>
                    <a:pt x="7" y="25"/>
                  </a:cubicBezTo>
                  <a:cubicBezTo>
                    <a:pt x="7" y="31"/>
                    <a:pt x="8" y="44"/>
                    <a:pt x="16" y="44"/>
                  </a:cubicBezTo>
                  <a:close/>
                </a:path>
              </a:pathLst>
            </a:custGeom>
            <a:solidFill>
              <a:srgbClr val="E6A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07" name="Freeform 103"/>
            <p:cNvSpPr>
              <a:spLocks noEditPoints="1"/>
            </p:cNvSpPr>
            <p:nvPr/>
          </p:nvSpPr>
          <p:spPr bwMode="auto">
            <a:xfrm>
              <a:off x="3980810" y="3830883"/>
              <a:ext cx="89288" cy="135377"/>
            </a:xfrm>
            <a:custGeom>
              <a:avLst/>
              <a:gdLst>
                <a:gd name="T0" fmla="*/ 17 w 33"/>
                <a:gd name="T1" fmla="*/ 0 h 50"/>
                <a:gd name="T2" fmla="*/ 33 w 33"/>
                <a:gd name="T3" fmla="*/ 25 h 50"/>
                <a:gd name="T4" fmla="*/ 17 w 33"/>
                <a:gd name="T5" fmla="*/ 50 h 50"/>
                <a:gd name="T6" fmla="*/ 0 w 33"/>
                <a:gd name="T7" fmla="*/ 25 h 50"/>
                <a:gd name="T8" fmla="*/ 17 w 33"/>
                <a:gd name="T9" fmla="*/ 0 h 50"/>
                <a:gd name="T10" fmla="*/ 17 w 33"/>
                <a:gd name="T11" fmla="*/ 45 h 50"/>
                <a:gd name="T12" fmla="*/ 26 w 33"/>
                <a:gd name="T13" fmla="*/ 25 h 50"/>
                <a:gd name="T14" fmla="*/ 17 w 33"/>
                <a:gd name="T15" fmla="*/ 6 h 50"/>
                <a:gd name="T16" fmla="*/ 8 w 33"/>
                <a:gd name="T17" fmla="*/ 25 h 50"/>
                <a:gd name="T18" fmla="*/ 17 w 33"/>
                <a:gd name="T19" fmla="*/ 45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 h="50">
                  <a:moveTo>
                    <a:pt x="17" y="0"/>
                  </a:moveTo>
                  <a:cubicBezTo>
                    <a:pt x="30" y="0"/>
                    <a:pt x="33" y="15"/>
                    <a:pt x="33" y="25"/>
                  </a:cubicBezTo>
                  <a:cubicBezTo>
                    <a:pt x="33" y="36"/>
                    <a:pt x="30" y="50"/>
                    <a:pt x="17" y="50"/>
                  </a:cubicBezTo>
                  <a:cubicBezTo>
                    <a:pt x="3" y="50"/>
                    <a:pt x="0" y="36"/>
                    <a:pt x="0" y="25"/>
                  </a:cubicBezTo>
                  <a:cubicBezTo>
                    <a:pt x="0" y="15"/>
                    <a:pt x="3" y="0"/>
                    <a:pt x="17" y="0"/>
                  </a:cubicBezTo>
                  <a:close/>
                  <a:moveTo>
                    <a:pt x="17" y="45"/>
                  </a:moveTo>
                  <a:cubicBezTo>
                    <a:pt x="25" y="45"/>
                    <a:pt x="26" y="31"/>
                    <a:pt x="26" y="25"/>
                  </a:cubicBezTo>
                  <a:cubicBezTo>
                    <a:pt x="26" y="19"/>
                    <a:pt x="25" y="6"/>
                    <a:pt x="17" y="6"/>
                  </a:cubicBezTo>
                  <a:cubicBezTo>
                    <a:pt x="9" y="6"/>
                    <a:pt x="8" y="19"/>
                    <a:pt x="8" y="25"/>
                  </a:cubicBezTo>
                  <a:cubicBezTo>
                    <a:pt x="8" y="31"/>
                    <a:pt x="8" y="45"/>
                    <a:pt x="17" y="45"/>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08" name="Freeform 104"/>
            <p:cNvSpPr>
              <a:spLocks noEditPoints="1"/>
            </p:cNvSpPr>
            <p:nvPr/>
          </p:nvSpPr>
          <p:spPr bwMode="auto">
            <a:xfrm>
              <a:off x="4384054" y="3804959"/>
              <a:ext cx="86409" cy="132494"/>
            </a:xfrm>
            <a:custGeom>
              <a:avLst/>
              <a:gdLst>
                <a:gd name="T0" fmla="*/ 16 w 32"/>
                <a:gd name="T1" fmla="*/ 0 h 50"/>
                <a:gd name="T2" fmla="*/ 32 w 32"/>
                <a:gd name="T3" fmla="*/ 25 h 50"/>
                <a:gd name="T4" fmla="*/ 16 w 32"/>
                <a:gd name="T5" fmla="*/ 50 h 50"/>
                <a:gd name="T6" fmla="*/ 0 w 32"/>
                <a:gd name="T7" fmla="*/ 25 h 50"/>
                <a:gd name="T8" fmla="*/ 16 w 32"/>
                <a:gd name="T9" fmla="*/ 0 h 50"/>
                <a:gd name="T10" fmla="*/ 16 w 32"/>
                <a:gd name="T11" fmla="*/ 44 h 50"/>
                <a:gd name="T12" fmla="*/ 25 w 32"/>
                <a:gd name="T13" fmla="*/ 25 h 50"/>
                <a:gd name="T14" fmla="*/ 16 w 32"/>
                <a:gd name="T15" fmla="*/ 6 h 50"/>
                <a:gd name="T16" fmla="*/ 7 w 32"/>
                <a:gd name="T17" fmla="*/ 25 h 50"/>
                <a:gd name="T18" fmla="*/ 16 w 32"/>
                <a:gd name="T19" fmla="*/ 44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50">
                  <a:moveTo>
                    <a:pt x="16" y="0"/>
                  </a:moveTo>
                  <a:cubicBezTo>
                    <a:pt x="29" y="0"/>
                    <a:pt x="32" y="15"/>
                    <a:pt x="32" y="25"/>
                  </a:cubicBezTo>
                  <a:cubicBezTo>
                    <a:pt x="32" y="36"/>
                    <a:pt x="29" y="50"/>
                    <a:pt x="16" y="50"/>
                  </a:cubicBezTo>
                  <a:cubicBezTo>
                    <a:pt x="3" y="50"/>
                    <a:pt x="0" y="36"/>
                    <a:pt x="0" y="25"/>
                  </a:cubicBezTo>
                  <a:cubicBezTo>
                    <a:pt x="0" y="15"/>
                    <a:pt x="3" y="0"/>
                    <a:pt x="16" y="0"/>
                  </a:cubicBezTo>
                  <a:close/>
                  <a:moveTo>
                    <a:pt x="16" y="44"/>
                  </a:moveTo>
                  <a:cubicBezTo>
                    <a:pt x="24" y="44"/>
                    <a:pt x="25" y="31"/>
                    <a:pt x="25" y="25"/>
                  </a:cubicBezTo>
                  <a:cubicBezTo>
                    <a:pt x="25" y="19"/>
                    <a:pt x="24" y="6"/>
                    <a:pt x="16" y="6"/>
                  </a:cubicBezTo>
                  <a:cubicBezTo>
                    <a:pt x="8" y="6"/>
                    <a:pt x="7" y="19"/>
                    <a:pt x="7" y="25"/>
                  </a:cubicBezTo>
                  <a:cubicBezTo>
                    <a:pt x="7" y="31"/>
                    <a:pt x="8" y="44"/>
                    <a:pt x="16" y="44"/>
                  </a:cubicBezTo>
                  <a:close/>
                </a:path>
              </a:pathLst>
            </a:custGeom>
            <a:solidFill>
              <a:srgbClr val="E6A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09" name="Freeform 105"/>
            <p:cNvSpPr>
              <a:spLocks/>
            </p:cNvSpPr>
            <p:nvPr/>
          </p:nvSpPr>
          <p:spPr bwMode="auto">
            <a:xfrm>
              <a:off x="4110424" y="3675348"/>
              <a:ext cx="48964" cy="132494"/>
            </a:xfrm>
            <a:custGeom>
              <a:avLst/>
              <a:gdLst>
                <a:gd name="T0" fmla="*/ 11 w 17"/>
                <a:gd name="T1" fmla="*/ 8 h 46"/>
                <a:gd name="T2" fmla="*/ 3 w 17"/>
                <a:gd name="T3" fmla="*/ 14 h 46"/>
                <a:gd name="T4" fmla="*/ 0 w 17"/>
                <a:gd name="T5" fmla="*/ 10 h 46"/>
                <a:gd name="T6" fmla="*/ 11 w 17"/>
                <a:gd name="T7" fmla="*/ 0 h 46"/>
                <a:gd name="T8" fmla="*/ 17 w 17"/>
                <a:gd name="T9" fmla="*/ 0 h 46"/>
                <a:gd name="T10" fmla="*/ 17 w 17"/>
                <a:gd name="T11" fmla="*/ 46 h 46"/>
                <a:gd name="T12" fmla="*/ 11 w 17"/>
                <a:gd name="T13" fmla="*/ 46 h 46"/>
                <a:gd name="T14" fmla="*/ 11 w 17"/>
                <a:gd name="T15" fmla="*/ 8 h 4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 h="46">
                  <a:moveTo>
                    <a:pt x="11" y="8"/>
                  </a:moveTo>
                  <a:lnTo>
                    <a:pt x="3" y="14"/>
                  </a:lnTo>
                  <a:lnTo>
                    <a:pt x="0" y="10"/>
                  </a:lnTo>
                  <a:lnTo>
                    <a:pt x="11" y="0"/>
                  </a:lnTo>
                  <a:lnTo>
                    <a:pt x="17" y="0"/>
                  </a:lnTo>
                  <a:lnTo>
                    <a:pt x="17" y="46"/>
                  </a:lnTo>
                  <a:lnTo>
                    <a:pt x="11" y="46"/>
                  </a:lnTo>
                  <a:lnTo>
                    <a:pt x="11" y="8"/>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10" name="Freeform 106"/>
            <p:cNvSpPr>
              <a:spLocks/>
            </p:cNvSpPr>
            <p:nvPr/>
          </p:nvSpPr>
          <p:spPr bwMode="auto">
            <a:xfrm>
              <a:off x="4087383" y="3934573"/>
              <a:ext cx="48964" cy="129615"/>
            </a:xfrm>
            <a:custGeom>
              <a:avLst/>
              <a:gdLst>
                <a:gd name="T0" fmla="*/ 10 w 17"/>
                <a:gd name="T1" fmla="*/ 8 h 45"/>
                <a:gd name="T2" fmla="*/ 4 w 17"/>
                <a:gd name="T3" fmla="*/ 14 h 45"/>
                <a:gd name="T4" fmla="*/ 0 w 17"/>
                <a:gd name="T5" fmla="*/ 10 h 45"/>
                <a:gd name="T6" fmla="*/ 11 w 17"/>
                <a:gd name="T7" fmla="*/ 0 h 45"/>
                <a:gd name="T8" fmla="*/ 17 w 17"/>
                <a:gd name="T9" fmla="*/ 0 h 45"/>
                <a:gd name="T10" fmla="*/ 17 w 17"/>
                <a:gd name="T11" fmla="*/ 45 h 45"/>
                <a:gd name="T12" fmla="*/ 10 w 17"/>
                <a:gd name="T13" fmla="*/ 45 h 45"/>
                <a:gd name="T14" fmla="*/ 10 w 17"/>
                <a:gd name="T15" fmla="*/ 8 h 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 h="45">
                  <a:moveTo>
                    <a:pt x="10" y="8"/>
                  </a:moveTo>
                  <a:lnTo>
                    <a:pt x="4" y="14"/>
                  </a:lnTo>
                  <a:lnTo>
                    <a:pt x="0" y="10"/>
                  </a:lnTo>
                  <a:lnTo>
                    <a:pt x="11" y="0"/>
                  </a:lnTo>
                  <a:lnTo>
                    <a:pt x="17" y="0"/>
                  </a:lnTo>
                  <a:lnTo>
                    <a:pt x="17" y="45"/>
                  </a:lnTo>
                  <a:lnTo>
                    <a:pt x="10" y="45"/>
                  </a:lnTo>
                  <a:lnTo>
                    <a:pt x="10" y="8"/>
                  </a:ln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11" name="Freeform 107"/>
            <p:cNvSpPr>
              <a:spLocks/>
            </p:cNvSpPr>
            <p:nvPr/>
          </p:nvSpPr>
          <p:spPr bwMode="auto">
            <a:xfrm>
              <a:off x="4303406" y="3897130"/>
              <a:ext cx="48964" cy="129615"/>
            </a:xfrm>
            <a:custGeom>
              <a:avLst/>
              <a:gdLst>
                <a:gd name="T0" fmla="*/ 11 w 17"/>
                <a:gd name="T1" fmla="*/ 8 h 45"/>
                <a:gd name="T2" fmla="*/ 4 w 17"/>
                <a:gd name="T3" fmla="*/ 13 h 45"/>
                <a:gd name="T4" fmla="*/ 0 w 17"/>
                <a:gd name="T5" fmla="*/ 10 h 45"/>
                <a:gd name="T6" fmla="*/ 12 w 17"/>
                <a:gd name="T7" fmla="*/ 0 h 45"/>
                <a:gd name="T8" fmla="*/ 17 w 17"/>
                <a:gd name="T9" fmla="*/ 0 h 45"/>
                <a:gd name="T10" fmla="*/ 17 w 17"/>
                <a:gd name="T11" fmla="*/ 45 h 45"/>
                <a:gd name="T12" fmla="*/ 11 w 17"/>
                <a:gd name="T13" fmla="*/ 45 h 45"/>
                <a:gd name="T14" fmla="*/ 11 w 17"/>
                <a:gd name="T15" fmla="*/ 8 h 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 h="45">
                  <a:moveTo>
                    <a:pt x="11" y="8"/>
                  </a:moveTo>
                  <a:lnTo>
                    <a:pt x="4" y="13"/>
                  </a:lnTo>
                  <a:lnTo>
                    <a:pt x="0" y="10"/>
                  </a:lnTo>
                  <a:lnTo>
                    <a:pt x="12" y="0"/>
                  </a:lnTo>
                  <a:lnTo>
                    <a:pt x="17" y="0"/>
                  </a:lnTo>
                  <a:lnTo>
                    <a:pt x="17" y="45"/>
                  </a:lnTo>
                  <a:lnTo>
                    <a:pt x="11" y="45"/>
                  </a:lnTo>
                  <a:lnTo>
                    <a:pt x="11" y="8"/>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12" name="Freeform 108"/>
            <p:cNvSpPr>
              <a:spLocks noEditPoints="1"/>
            </p:cNvSpPr>
            <p:nvPr/>
          </p:nvSpPr>
          <p:spPr bwMode="auto">
            <a:xfrm>
              <a:off x="4173790" y="3816482"/>
              <a:ext cx="86409" cy="132494"/>
            </a:xfrm>
            <a:custGeom>
              <a:avLst/>
              <a:gdLst>
                <a:gd name="T0" fmla="*/ 17 w 33"/>
                <a:gd name="T1" fmla="*/ 0 h 50"/>
                <a:gd name="T2" fmla="*/ 33 w 33"/>
                <a:gd name="T3" fmla="*/ 25 h 50"/>
                <a:gd name="T4" fmla="*/ 17 w 33"/>
                <a:gd name="T5" fmla="*/ 50 h 50"/>
                <a:gd name="T6" fmla="*/ 0 w 33"/>
                <a:gd name="T7" fmla="*/ 25 h 50"/>
                <a:gd name="T8" fmla="*/ 17 w 33"/>
                <a:gd name="T9" fmla="*/ 0 h 50"/>
                <a:gd name="T10" fmla="*/ 17 w 33"/>
                <a:gd name="T11" fmla="*/ 44 h 50"/>
                <a:gd name="T12" fmla="*/ 26 w 33"/>
                <a:gd name="T13" fmla="*/ 25 h 50"/>
                <a:gd name="T14" fmla="*/ 17 w 33"/>
                <a:gd name="T15" fmla="*/ 5 h 50"/>
                <a:gd name="T16" fmla="*/ 7 w 33"/>
                <a:gd name="T17" fmla="*/ 25 h 50"/>
                <a:gd name="T18" fmla="*/ 17 w 33"/>
                <a:gd name="T19" fmla="*/ 44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 h="50">
                  <a:moveTo>
                    <a:pt x="17" y="0"/>
                  </a:moveTo>
                  <a:cubicBezTo>
                    <a:pt x="30" y="0"/>
                    <a:pt x="33" y="14"/>
                    <a:pt x="33" y="25"/>
                  </a:cubicBezTo>
                  <a:cubicBezTo>
                    <a:pt x="33" y="35"/>
                    <a:pt x="30" y="50"/>
                    <a:pt x="17" y="50"/>
                  </a:cubicBezTo>
                  <a:cubicBezTo>
                    <a:pt x="3" y="50"/>
                    <a:pt x="0" y="35"/>
                    <a:pt x="0" y="25"/>
                  </a:cubicBezTo>
                  <a:cubicBezTo>
                    <a:pt x="0" y="14"/>
                    <a:pt x="3" y="0"/>
                    <a:pt x="17" y="0"/>
                  </a:cubicBezTo>
                  <a:close/>
                  <a:moveTo>
                    <a:pt x="17" y="44"/>
                  </a:moveTo>
                  <a:cubicBezTo>
                    <a:pt x="25" y="44"/>
                    <a:pt x="26" y="31"/>
                    <a:pt x="26" y="25"/>
                  </a:cubicBezTo>
                  <a:cubicBezTo>
                    <a:pt x="26" y="19"/>
                    <a:pt x="24" y="5"/>
                    <a:pt x="17" y="5"/>
                  </a:cubicBezTo>
                  <a:cubicBezTo>
                    <a:pt x="9" y="5"/>
                    <a:pt x="7" y="19"/>
                    <a:pt x="7" y="25"/>
                  </a:cubicBezTo>
                  <a:cubicBezTo>
                    <a:pt x="7" y="31"/>
                    <a:pt x="8" y="44"/>
                    <a:pt x="17" y="44"/>
                  </a:cubicBezTo>
                  <a:close/>
                </a:path>
              </a:pathLst>
            </a:custGeom>
            <a:solidFill>
              <a:srgbClr val="E6A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13" name="Freeform 109"/>
            <p:cNvSpPr>
              <a:spLocks noEditPoints="1"/>
            </p:cNvSpPr>
            <p:nvPr/>
          </p:nvSpPr>
          <p:spPr bwMode="auto">
            <a:xfrm>
              <a:off x="4211234" y="4006583"/>
              <a:ext cx="86409" cy="132494"/>
            </a:xfrm>
            <a:custGeom>
              <a:avLst/>
              <a:gdLst>
                <a:gd name="T0" fmla="*/ 16 w 32"/>
                <a:gd name="T1" fmla="*/ 0 h 50"/>
                <a:gd name="T2" fmla="*/ 32 w 32"/>
                <a:gd name="T3" fmla="*/ 25 h 50"/>
                <a:gd name="T4" fmla="*/ 16 w 32"/>
                <a:gd name="T5" fmla="*/ 50 h 50"/>
                <a:gd name="T6" fmla="*/ 0 w 32"/>
                <a:gd name="T7" fmla="*/ 25 h 50"/>
                <a:gd name="T8" fmla="*/ 16 w 32"/>
                <a:gd name="T9" fmla="*/ 0 h 50"/>
                <a:gd name="T10" fmla="*/ 16 w 32"/>
                <a:gd name="T11" fmla="*/ 44 h 50"/>
                <a:gd name="T12" fmla="*/ 25 w 32"/>
                <a:gd name="T13" fmla="*/ 25 h 50"/>
                <a:gd name="T14" fmla="*/ 16 w 32"/>
                <a:gd name="T15" fmla="*/ 6 h 50"/>
                <a:gd name="T16" fmla="*/ 7 w 32"/>
                <a:gd name="T17" fmla="*/ 25 h 50"/>
                <a:gd name="T18" fmla="*/ 16 w 32"/>
                <a:gd name="T19" fmla="*/ 44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50">
                  <a:moveTo>
                    <a:pt x="16" y="0"/>
                  </a:moveTo>
                  <a:cubicBezTo>
                    <a:pt x="29" y="0"/>
                    <a:pt x="32" y="14"/>
                    <a:pt x="32" y="25"/>
                  </a:cubicBezTo>
                  <a:cubicBezTo>
                    <a:pt x="32" y="36"/>
                    <a:pt x="29" y="50"/>
                    <a:pt x="16" y="50"/>
                  </a:cubicBezTo>
                  <a:cubicBezTo>
                    <a:pt x="3" y="50"/>
                    <a:pt x="0" y="36"/>
                    <a:pt x="0" y="25"/>
                  </a:cubicBezTo>
                  <a:cubicBezTo>
                    <a:pt x="0" y="14"/>
                    <a:pt x="3" y="0"/>
                    <a:pt x="16" y="0"/>
                  </a:cubicBezTo>
                  <a:close/>
                  <a:moveTo>
                    <a:pt x="16" y="44"/>
                  </a:moveTo>
                  <a:cubicBezTo>
                    <a:pt x="24" y="44"/>
                    <a:pt x="25" y="31"/>
                    <a:pt x="25" y="25"/>
                  </a:cubicBezTo>
                  <a:cubicBezTo>
                    <a:pt x="25" y="19"/>
                    <a:pt x="24" y="6"/>
                    <a:pt x="16" y="6"/>
                  </a:cubicBezTo>
                  <a:cubicBezTo>
                    <a:pt x="8" y="6"/>
                    <a:pt x="7" y="19"/>
                    <a:pt x="7" y="25"/>
                  </a:cubicBezTo>
                  <a:cubicBezTo>
                    <a:pt x="7" y="31"/>
                    <a:pt x="8" y="44"/>
                    <a:pt x="16" y="44"/>
                  </a:cubicBezTo>
                  <a:close/>
                </a:path>
              </a:pathLst>
            </a:custGeom>
            <a:solidFill>
              <a:srgbClr val="E6A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14" name="Freeform 110"/>
            <p:cNvSpPr>
              <a:spLocks noEditPoints="1"/>
            </p:cNvSpPr>
            <p:nvPr/>
          </p:nvSpPr>
          <p:spPr bwMode="auto">
            <a:xfrm>
              <a:off x="3980810" y="3830883"/>
              <a:ext cx="89288" cy="135377"/>
            </a:xfrm>
            <a:custGeom>
              <a:avLst/>
              <a:gdLst>
                <a:gd name="T0" fmla="*/ 17 w 33"/>
                <a:gd name="T1" fmla="*/ 0 h 50"/>
                <a:gd name="T2" fmla="*/ 33 w 33"/>
                <a:gd name="T3" fmla="*/ 25 h 50"/>
                <a:gd name="T4" fmla="*/ 17 w 33"/>
                <a:gd name="T5" fmla="*/ 50 h 50"/>
                <a:gd name="T6" fmla="*/ 0 w 33"/>
                <a:gd name="T7" fmla="*/ 25 h 50"/>
                <a:gd name="T8" fmla="*/ 17 w 33"/>
                <a:gd name="T9" fmla="*/ 0 h 50"/>
                <a:gd name="T10" fmla="*/ 17 w 33"/>
                <a:gd name="T11" fmla="*/ 45 h 50"/>
                <a:gd name="T12" fmla="*/ 26 w 33"/>
                <a:gd name="T13" fmla="*/ 25 h 50"/>
                <a:gd name="T14" fmla="*/ 17 w 33"/>
                <a:gd name="T15" fmla="*/ 6 h 50"/>
                <a:gd name="T16" fmla="*/ 8 w 33"/>
                <a:gd name="T17" fmla="*/ 25 h 50"/>
                <a:gd name="T18" fmla="*/ 17 w 33"/>
                <a:gd name="T19" fmla="*/ 45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 h="50">
                  <a:moveTo>
                    <a:pt x="17" y="0"/>
                  </a:moveTo>
                  <a:cubicBezTo>
                    <a:pt x="30" y="0"/>
                    <a:pt x="33" y="15"/>
                    <a:pt x="33" y="25"/>
                  </a:cubicBezTo>
                  <a:cubicBezTo>
                    <a:pt x="33" y="36"/>
                    <a:pt x="30" y="50"/>
                    <a:pt x="17" y="50"/>
                  </a:cubicBezTo>
                  <a:cubicBezTo>
                    <a:pt x="3" y="50"/>
                    <a:pt x="0" y="36"/>
                    <a:pt x="0" y="25"/>
                  </a:cubicBezTo>
                  <a:cubicBezTo>
                    <a:pt x="0" y="15"/>
                    <a:pt x="3" y="0"/>
                    <a:pt x="17" y="0"/>
                  </a:cubicBezTo>
                  <a:close/>
                  <a:moveTo>
                    <a:pt x="17" y="45"/>
                  </a:moveTo>
                  <a:cubicBezTo>
                    <a:pt x="25" y="45"/>
                    <a:pt x="26" y="31"/>
                    <a:pt x="26" y="25"/>
                  </a:cubicBezTo>
                  <a:cubicBezTo>
                    <a:pt x="26" y="19"/>
                    <a:pt x="25" y="6"/>
                    <a:pt x="17" y="6"/>
                  </a:cubicBezTo>
                  <a:cubicBezTo>
                    <a:pt x="9" y="6"/>
                    <a:pt x="8" y="19"/>
                    <a:pt x="8" y="25"/>
                  </a:cubicBezTo>
                  <a:cubicBezTo>
                    <a:pt x="8" y="31"/>
                    <a:pt x="8" y="45"/>
                    <a:pt x="17" y="45"/>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15" name="Freeform 111"/>
            <p:cNvSpPr>
              <a:spLocks noEditPoints="1"/>
            </p:cNvSpPr>
            <p:nvPr/>
          </p:nvSpPr>
          <p:spPr bwMode="auto">
            <a:xfrm>
              <a:off x="4384054" y="3804959"/>
              <a:ext cx="86409" cy="132494"/>
            </a:xfrm>
            <a:custGeom>
              <a:avLst/>
              <a:gdLst>
                <a:gd name="T0" fmla="*/ 16 w 32"/>
                <a:gd name="T1" fmla="*/ 0 h 50"/>
                <a:gd name="T2" fmla="*/ 32 w 32"/>
                <a:gd name="T3" fmla="*/ 25 h 50"/>
                <a:gd name="T4" fmla="*/ 16 w 32"/>
                <a:gd name="T5" fmla="*/ 50 h 50"/>
                <a:gd name="T6" fmla="*/ 0 w 32"/>
                <a:gd name="T7" fmla="*/ 25 h 50"/>
                <a:gd name="T8" fmla="*/ 16 w 32"/>
                <a:gd name="T9" fmla="*/ 0 h 50"/>
                <a:gd name="T10" fmla="*/ 16 w 32"/>
                <a:gd name="T11" fmla="*/ 44 h 50"/>
                <a:gd name="T12" fmla="*/ 25 w 32"/>
                <a:gd name="T13" fmla="*/ 25 h 50"/>
                <a:gd name="T14" fmla="*/ 16 w 32"/>
                <a:gd name="T15" fmla="*/ 6 h 50"/>
                <a:gd name="T16" fmla="*/ 7 w 32"/>
                <a:gd name="T17" fmla="*/ 25 h 50"/>
                <a:gd name="T18" fmla="*/ 16 w 32"/>
                <a:gd name="T19" fmla="*/ 44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50">
                  <a:moveTo>
                    <a:pt x="16" y="0"/>
                  </a:moveTo>
                  <a:cubicBezTo>
                    <a:pt x="29" y="0"/>
                    <a:pt x="32" y="15"/>
                    <a:pt x="32" y="25"/>
                  </a:cubicBezTo>
                  <a:cubicBezTo>
                    <a:pt x="32" y="36"/>
                    <a:pt x="29" y="50"/>
                    <a:pt x="16" y="50"/>
                  </a:cubicBezTo>
                  <a:cubicBezTo>
                    <a:pt x="3" y="50"/>
                    <a:pt x="0" y="36"/>
                    <a:pt x="0" y="25"/>
                  </a:cubicBezTo>
                  <a:cubicBezTo>
                    <a:pt x="0" y="15"/>
                    <a:pt x="3" y="0"/>
                    <a:pt x="16" y="0"/>
                  </a:cubicBezTo>
                  <a:close/>
                  <a:moveTo>
                    <a:pt x="16" y="44"/>
                  </a:moveTo>
                  <a:cubicBezTo>
                    <a:pt x="24" y="44"/>
                    <a:pt x="25" y="31"/>
                    <a:pt x="25" y="25"/>
                  </a:cubicBezTo>
                  <a:cubicBezTo>
                    <a:pt x="25" y="19"/>
                    <a:pt x="24" y="6"/>
                    <a:pt x="16" y="6"/>
                  </a:cubicBezTo>
                  <a:cubicBezTo>
                    <a:pt x="8" y="6"/>
                    <a:pt x="7" y="19"/>
                    <a:pt x="7" y="25"/>
                  </a:cubicBezTo>
                  <a:cubicBezTo>
                    <a:pt x="7" y="31"/>
                    <a:pt x="8" y="44"/>
                    <a:pt x="16" y="44"/>
                  </a:cubicBezTo>
                  <a:close/>
                </a:path>
              </a:pathLst>
            </a:custGeom>
            <a:solidFill>
              <a:srgbClr val="E6A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16" name="Freeform 112"/>
            <p:cNvSpPr>
              <a:spLocks/>
            </p:cNvSpPr>
            <p:nvPr/>
          </p:nvSpPr>
          <p:spPr bwMode="auto">
            <a:xfrm>
              <a:off x="3695656" y="3413236"/>
              <a:ext cx="1005230" cy="282270"/>
            </a:xfrm>
            <a:custGeom>
              <a:avLst/>
              <a:gdLst>
                <a:gd name="T0" fmla="*/ 336 w 375"/>
                <a:gd name="T1" fmla="*/ 0 h 106"/>
                <a:gd name="T2" fmla="*/ 340 w 375"/>
                <a:gd name="T3" fmla="*/ 30 h 106"/>
                <a:gd name="T4" fmla="*/ 309 w 375"/>
                <a:gd name="T5" fmla="*/ 71 h 106"/>
                <a:gd name="T6" fmla="*/ 278 w 375"/>
                <a:gd name="T7" fmla="*/ 76 h 106"/>
                <a:gd name="T8" fmla="*/ 17 w 375"/>
                <a:gd name="T9" fmla="*/ 37 h 106"/>
                <a:gd name="T10" fmla="*/ 0 w 375"/>
                <a:gd name="T11" fmla="*/ 32 h 106"/>
                <a:gd name="T12" fmla="*/ 49 w 375"/>
                <a:gd name="T13" fmla="*/ 66 h 106"/>
                <a:gd name="T14" fmla="*/ 310 w 375"/>
                <a:gd name="T15" fmla="*/ 105 h 106"/>
                <a:gd name="T16" fmla="*/ 340 w 375"/>
                <a:gd name="T17" fmla="*/ 100 h 106"/>
                <a:gd name="T18" fmla="*/ 371 w 375"/>
                <a:gd name="T19" fmla="*/ 59 h 106"/>
                <a:gd name="T20" fmla="*/ 336 w 375"/>
                <a:gd name="T21" fmla="*/ 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5" h="106">
                  <a:moveTo>
                    <a:pt x="336" y="0"/>
                  </a:moveTo>
                  <a:cubicBezTo>
                    <a:pt x="340" y="9"/>
                    <a:pt x="341" y="20"/>
                    <a:pt x="340" y="30"/>
                  </a:cubicBezTo>
                  <a:cubicBezTo>
                    <a:pt x="337" y="49"/>
                    <a:pt x="325" y="64"/>
                    <a:pt x="309" y="71"/>
                  </a:cubicBezTo>
                  <a:cubicBezTo>
                    <a:pt x="300" y="76"/>
                    <a:pt x="289" y="77"/>
                    <a:pt x="278" y="76"/>
                  </a:cubicBezTo>
                  <a:cubicBezTo>
                    <a:pt x="17" y="37"/>
                    <a:pt x="17" y="37"/>
                    <a:pt x="17" y="37"/>
                  </a:cubicBezTo>
                  <a:cubicBezTo>
                    <a:pt x="11" y="36"/>
                    <a:pt x="5" y="34"/>
                    <a:pt x="0" y="32"/>
                  </a:cubicBezTo>
                  <a:cubicBezTo>
                    <a:pt x="10" y="50"/>
                    <a:pt x="28" y="63"/>
                    <a:pt x="49" y="66"/>
                  </a:cubicBezTo>
                  <a:cubicBezTo>
                    <a:pt x="310" y="105"/>
                    <a:pt x="310" y="105"/>
                    <a:pt x="310" y="105"/>
                  </a:cubicBezTo>
                  <a:cubicBezTo>
                    <a:pt x="321" y="106"/>
                    <a:pt x="331" y="105"/>
                    <a:pt x="340" y="100"/>
                  </a:cubicBezTo>
                  <a:cubicBezTo>
                    <a:pt x="357" y="93"/>
                    <a:pt x="369" y="78"/>
                    <a:pt x="371" y="59"/>
                  </a:cubicBezTo>
                  <a:cubicBezTo>
                    <a:pt x="375" y="33"/>
                    <a:pt x="360" y="9"/>
                    <a:pt x="336" y="0"/>
                  </a:cubicBezTo>
                  <a:close/>
                </a:path>
              </a:pathLst>
            </a:custGeom>
            <a:solidFill>
              <a:srgbClr val="E6A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18" name="Freeform 133"/>
            <p:cNvSpPr>
              <a:spLocks/>
            </p:cNvSpPr>
            <p:nvPr/>
          </p:nvSpPr>
          <p:spPr bwMode="auto">
            <a:xfrm>
              <a:off x="4026895" y="3580297"/>
              <a:ext cx="48964" cy="129615"/>
            </a:xfrm>
            <a:custGeom>
              <a:avLst/>
              <a:gdLst>
                <a:gd name="T0" fmla="*/ 11 w 17"/>
                <a:gd name="T1" fmla="*/ 7 h 45"/>
                <a:gd name="T2" fmla="*/ 3 w 17"/>
                <a:gd name="T3" fmla="*/ 13 h 45"/>
                <a:gd name="T4" fmla="*/ 0 w 17"/>
                <a:gd name="T5" fmla="*/ 8 h 45"/>
                <a:gd name="T6" fmla="*/ 11 w 17"/>
                <a:gd name="T7" fmla="*/ 0 h 45"/>
                <a:gd name="T8" fmla="*/ 17 w 17"/>
                <a:gd name="T9" fmla="*/ 0 h 45"/>
                <a:gd name="T10" fmla="*/ 17 w 17"/>
                <a:gd name="T11" fmla="*/ 45 h 45"/>
                <a:gd name="T12" fmla="*/ 11 w 17"/>
                <a:gd name="T13" fmla="*/ 45 h 45"/>
                <a:gd name="T14" fmla="*/ 11 w 17"/>
                <a:gd name="T15" fmla="*/ 7 h 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 h="45">
                  <a:moveTo>
                    <a:pt x="11" y="7"/>
                  </a:moveTo>
                  <a:lnTo>
                    <a:pt x="3" y="13"/>
                  </a:lnTo>
                  <a:lnTo>
                    <a:pt x="0" y="8"/>
                  </a:lnTo>
                  <a:lnTo>
                    <a:pt x="11" y="0"/>
                  </a:lnTo>
                  <a:lnTo>
                    <a:pt x="17" y="0"/>
                  </a:lnTo>
                  <a:lnTo>
                    <a:pt x="17" y="45"/>
                  </a:lnTo>
                  <a:lnTo>
                    <a:pt x="11" y="45"/>
                  </a:lnTo>
                  <a:lnTo>
                    <a:pt x="11" y="7"/>
                  </a:ln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19" name="Freeform 134"/>
            <p:cNvSpPr>
              <a:spLocks/>
            </p:cNvSpPr>
            <p:nvPr/>
          </p:nvSpPr>
          <p:spPr bwMode="auto">
            <a:xfrm>
              <a:off x="4372533" y="3611981"/>
              <a:ext cx="46085" cy="132494"/>
            </a:xfrm>
            <a:custGeom>
              <a:avLst/>
              <a:gdLst>
                <a:gd name="T0" fmla="*/ 10 w 16"/>
                <a:gd name="T1" fmla="*/ 8 h 46"/>
                <a:gd name="T2" fmla="*/ 3 w 16"/>
                <a:gd name="T3" fmla="*/ 14 h 46"/>
                <a:gd name="T4" fmla="*/ 0 w 16"/>
                <a:gd name="T5" fmla="*/ 9 h 46"/>
                <a:gd name="T6" fmla="*/ 10 w 16"/>
                <a:gd name="T7" fmla="*/ 0 h 46"/>
                <a:gd name="T8" fmla="*/ 16 w 16"/>
                <a:gd name="T9" fmla="*/ 0 h 46"/>
                <a:gd name="T10" fmla="*/ 16 w 16"/>
                <a:gd name="T11" fmla="*/ 46 h 46"/>
                <a:gd name="T12" fmla="*/ 10 w 16"/>
                <a:gd name="T13" fmla="*/ 46 h 46"/>
                <a:gd name="T14" fmla="*/ 10 w 16"/>
                <a:gd name="T15" fmla="*/ 8 h 4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 h="46">
                  <a:moveTo>
                    <a:pt x="10" y="8"/>
                  </a:moveTo>
                  <a:lnTo>
                    <a:pt x="3" y="14"/>
                  </a:lnTo>
                  <a:lnTo>
                    <a:pt x="0" y="9"/>
                  </a:lnTo>
                  <a:lnTo>
                    <a:pt x="10" y="0"/>
                  </a:lnTo>
                  <a:lnTo>
                    <a:pt x="16" y="0"/>
                  </a:lnTo>
                  <a:lnTo>
                    <a:pt x="16" y="46"/>
                  </a:lnTo>
                  <a:lnTo>
                    <a:pt x="10" y="46"/>
                  </a:lnTo>
                  <a:lnTo>
                    <a:pt x="10" y="8"/>
                  </a:ln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20" name="Freeform 135"/>
            <p:cNvSpPr>
              <a:spLocks noEditPoints="1"/>
            </p:cNvSpPr>
            <p:nvPr/>
          </p:nvSpPr>
          <p:spPr bwMode="auto">
            <a:xfrm>
              <a:off x="4237157" y="3623502"/>
              <a:ext cx="89288" cy="132494"/>
            </a:xfrm>
            <a:custGeom>
              <a:avLst/>
              <a:gdLst>
                <a:gd name="T0" fmla="*/ 16 w 33"/>
                <a:gd name="T1" fmla="*/ 0 h 50"/>
                <a:gd name="T2" fmla="*/ 33 w 33"/>
                <a:gd name="T3" fmla="*/ 25 h 50"/>
                <a:gd name="T4" fmla="*/ 16 w 33"/>
                <a:gd name="T5" fmla="*/ 50 h 50"/>
                <a:gd name="T6" fmla="*/ 0 w 33"/>
                <a:gd name="T7" fmla="*/ 25 h 50"/>
                <a:gd name="T8" fmla="*/ 16 w 33"/>
                <a:gd name="T9" fmla="*/ 0 h 50"/>
                <a:gd name="T10" fmla="*/ 16 w 33"/>
                <a:gd name="T11" fmla="*/ 44 h 50"/>
                <a:gd name="T12" fmla="*/ 25 w 33"/>
                <a:gd name="T13" fmla="*/ 25 h 50"/>
                <a:gd name="T14" fmla="*/ 16 w 33"/>
                <a:gd name="T15" fmla="*/ 6 h 50"/>
                <a:gd name="T16" fmla="*/ 7 w 33"/>
                <a:gd name="T17" fmla="*/ 25 h 50"/>
                <a:gd name="T18" fmla="*/ 16 w 33"/>
                <a:gd name="T19" fmla="*/ 44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 h="50">
                  <a:moveTo>
                    <a:pt x="16" y="0"/>
                  </a:moveTo>
                  <a:cubicBezTo>
                    <a:pt x="30" y="0"/>
                    <a:pt x="33" y="15"/>
                    <a:pt x="33" y="25"/>
                  </a:cubicBezTo>
                  <a:cubicBezTo>
                    <a:pt x="33" y="36"/>
                    <a:pt x="30" y="50"/>
                    <a:pt x="16" y="50"/>
                  </a:cubicBezTo>
                  <a:cubicBezTo>
                    <a:pt x="3" y="50"/>
                    <a:pt x="0" y="36"/>
                    <a:pt x="0" y="25"/>
                  </a:cubicBezTo>
                  <a:cubicBezTo>
                    <a:pt x="0" y="15"/>
                    <a:pt x="3" y="0"/>
                    <a:pt x="16" y="0"/>
                  </a:cubicBezTo>
                  <a:close/>
                  <a:moveTo>
                    <a:pt x="16" y="44"/>
                  </a:moveTo>
                  <a:cubicBezTo>
                    <a:pt x="25" y="44"/>
                    <a:pt x="25" y="31"/>
                    <a:pt x="25" y="25"/>
                  </a:cubicBezTo>
                  <a:cubicBezTo>
                    <a:pt x="25" y="19"/>
                    <a:pt x="24" y="6"/>
                    <a:pt x="16" y="6"/>
                  </a:cubicBezTo>
                  <a:cubicBezTo>
                    <a:pt x="8" y="6"/>
                    <a:pt x="7" y="19"/>
                    <a:pt x="7" y="25"/>
                  </a:cubicBezTo>
                  <a:cubicBezTo>
                    <a:pt x="7" y="31"/>
                    <a:pt x="8" y="44"/>
                    <a:pt x="16" y="44"/>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21" name="Freeform 136"/>
            <p:cNvSpPr>
              <a:spLocks/>
            </p:cNvSpPr>
            <p:nvPr/>
          </p:nvSpPr>
          <p:spPr bwMode="auto">
            <a:xfrm>
              <a:off x="4372533" y="3611981"/>
              <a:ext cx="46085" cy="132494"/>
            </a:xfrm>
            <a:custGeom>
              <a:avLst/>
              <a:gdLst>
                <a:gd name="T0" fmla="*/ 10 w 16"/>
                <a:gd name="T1" fmla="*/ 8 h 46"/>
                <a:gd name="T2" fmla="*/ 3 w 16"/>
                <a:gd name="T3" fmla="*/ 14 h 46"/>
                <a:gd name="T4" fmla="*/ 0 w 16"/>
                <a:gd name="T5" fmla="*/ 9 h 46"/>
                <a:gd name="T6" fmla="*/ 10 w 16"/>
                <a:gd name="T7" fmla="*/ 0 h 46"/>
                <a:gd name="T8" fmla="*/ 16 w 16"/>
                <a:gd name="T9" fmla="*/ 0 h 46"/>
                <a:gd name="T10" fmla="*/ 16 w 16"/>
                <a:gd name="T11" fmla="*/ 46 h 46"/>
                <a:gd name="T12" fmla="*/ 10 w 16"/>
                <a:gd name="T13" fmla="*/ 46 h 46"/>
                <a:gd name="T14" fmla="*/ 10 w 16"/>
                <a:gd name="T15" fmla="*/ 8 h 4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 h="46">
                  <a:moveTo>
                    <a:pt x="10" y="8"/>
                  </a:moveTo>
                  <a:lnTo>
                    <a:pt x="3" y="14"/>
                  </a:lnTo>
                  <a:lnTo>
                    <a:pt x="0" y="9"/>
                  </a:lnTo>
                  <a:lnTo>
                    <a:pt x="10" y="0"/>
                  </a:lnTo>
                  <a:lnTo>
                    <a:pt x="16" y="0"/>
                  </a:lnTo>
                  <a:lnTo>
                    <a:pt x="16" y="46"/>
                  </a:lnTo>
                  <a:lnTo>
                    <a:pt x="10" y="46"/>
                  </a:lnTo>
                  <a:lnTo>
                    <a:pt x="10" y="8"/>
                  </a:ln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22" name="Freeform 137"/>
            <p:cNvSpPr>
              <a:spLocks noEditPoints="1"/>
            </p:cNvSpPr>
            <p:nvPr/>
          </p:nvSpPr>
          <p:spPr bwMode="auto">
            <a:xfrm>
              <a:off x="4237157" y="3623502"/>
              <a:ext cx="89288" cy="132494"/>
            </a:xfrm>
            <a:custGeom>
              <a:avLst/>
              <a:gdLst>
                <a:gd name="T0" fmla="*/ 16 w 33"/>
                <a:gd name="T1" fmla="*/ 0 h 50"/>
                <a:gd name="T2" fmla="*/ 33 w 33"/>
                <a:gd name="T3" fmla="*/ 25 h 50"/>
                <a:gd name="T4" fmla="*/ 16 w 33"/>
                <a:gd name="T5" fmla="*/ 50 h 50"/>
                <a:gd name="T6" fmla="*/ 0 w 33"/>
                <a:gd name="T7" fmla="*/ 25 h 50"/>
                <a:gd name="T8" fmla="*/ 16 w 33"/>
                <a:gd name="T9" fmla="*/ 0 h 50"/>
                <a:gd name="T10" fmla="*/ 16 w 33"/>
                <a:gd name="T11" fmla="*/ 44 h 50"/>
                <a:gd name="T12" fmla="*/ 25 w 33"/>
                <a:gd name="T13" fmla="*/ 25 h 50"/>
                <a:gd name="T14" fmla="*/ 16 w 33"/>
                <a:gd name="T15" fmla="*/ 6 h 50"/>
                <a:gd name="T16" fmla="*/ 7 w 33"/>
                <a:gd name="T17" fmla="*/ 25 h 50"/>
                <a:gd name="T18" fmla="*/ 16 w 33"/>
                <a:gd name="T19" fmla="*/ 44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 h="50">
                  <a:moveTo>
                    <a:pt x="16" y="0"/>
                  </a:moveTo>
                  <a:cubicBezTo>
                    <a:pt x="30" y="0"/>
                    <a:pt x="33" y="15"/>
                    <a:pt x="33" y="25"/>
                  </a:cubicBezTo>
                  <a:cubicBezTo>
                    <a:pt x="33" y="36"/>
                    <a:pt x="30" y="50"/>
                    <a:pt x="16" y="50"/>
                  </a:cubicBezTo>
                  <a:cubicBezTo>
                    <a:pt x="3" y="50"/>
                    <a:pt x="0" y="36"/>
                    <a:pt x="0" y="25"/>
                  </a:cubicBezTo>
                  <a:cubicBezTo>
                    <a:pt x="0" y="15"/>
                    <a:pt x="3" y="0"/>
                    <a:pt x="16" y="0"/>
                  </a:cubicBezTo>
                  <a:close/>
                  <a:moveTo>
                    <a:pt x="16" y="44"/>
                  </a:moveTo>
                  <a:cubicBezTo>
                    <a:pt x="25" y="44"/>
                    <a:pt x="25" y="31"/>
                    <a:pt x="25" y="25"/>
                  </a:cubicBezTo>
                  <a:cubicBezTo>
                    <a:pt x="25" y="19"/>
                    <a:pt x="24" y="6"/>
                    <a:pt x="16" y="6"/>
                  </a:cubicBezTo>
                  <a:cubicBezTo>
                    <a:pt x="8" y="6"/>
                    <a:pt x="7" y="19"/>
                    <a:pt x="7" y="25"/>
                  </a:cubicBezTo>
                  <a:cubicBezTo>
                    <a:pt x="7" y="31"/>
                    <a:pt x="8" y="44"/>
                    <a:pt x="16" y="44"/>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93" name="Freeform 158"/>
            <p:cNvSpPr>
              <a:spLocks/>
            </p:cNvSpPr>
            <p:nvPr/>
          </p:nvSpPr>
          <p:spPr bwMode="auto">
            <a:xfrm>
              <a:off x="3465231" y="4265812"/>
              <a:ext cx="169941" cy="187219"/>
            </a:xfrm>
            <a:custGeom>
              <a:avLst/>
              <a:gdLst>
                <a:gd name="T0" fmla="*/ 64 w 64"/>
                <a:gd name="T1" fmla="*/ 36 h 70"/>
                <a:gd name="T2" fmla="*/ 28 w 64"/>
                <a:gd name="T3" fmla="*/ 69 h 70"/>
                <a:gd name="T4" fmla="*/ 0 w 64"/>
                <a:gd name="T5" fmla="*/ 34 h 70"/>
                <a:gd name="T6" fmla="*/ 30 w 64"/>
                <a:gd name="T7" fmla="*/ 0 h 70"/>
                <a:gd name="T8" fmla="*/ 64 w 64"/>
                <a:gd name="T9" fmla="*/ 36 h 70"/>
              </a:gdLst>
              <a:ahLst/>
              <a:cxnLst>
                <a:cxn ang="0">
                  <a:pos x="T0" y="T1"/>
                </a:cxn>
                <a:cxn ang="0">
                  <a:pos x="T2" y="T3"/>
                </a:cxn>
                <a:cxn ang="0">
                  <a:pos x="T4" y="T5"/>
                </a:cxn>
                <a:cxn ang="0">
                  <a:pos x="T6" y="T7"/>
                </a:cxn>
                <a:cxn ang="0">
                  <a:pos x="T8" y="T9"/>
                </a:cxn>
              </a:cxnLst>
              <a:rect l="0" t="0" r="r" b="b"/>
              <a:pathLst>
                <a:path w="64" h="70">
                  <a:moveTo>
                    <a:pt x="64" y="36"/>
                  </a:moveTo>
                  <a:cubicBezTo>
                    <a:pt x="63" y="55"/>
                    <a:pt x="47" y="70"/>
                    <a:pt x="28" y="69"/>
                  </a:cubicBezTo>
                  <a:cubicBezTo>
                    <a:pt x="9" y="69"/>
                    <a:pt x="0" y="53"/>
                    <a:pt x="0" y="34"/>
                  </a:cubicBezTo>
                  <a:cubicBezTo>
                    <a:pt x="1" y="15"/>
                    <a:pt x="11" y="0"/>
                    <a:pt x="30" y="0"/>
                  </a:cubicBezTo>
                  <a:cubicBezTo>
                    <a:pt x="49" y="1"/>
                    <a:pt x="64" y="17"/>
                    <a:pt x="64" y="36"/>
                  </a:cubicBezTo>
                  <a:close/>
                </a:path>
              </a:pathLst>
            </a:custGeom>
            <a:solidFill>
              <a:srgbClr val="2139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94" name="Freeform 159"/>
            <p:cNvSpPr>
              <a:spLocks/>
            </p:cNvSpPr>
            <p:nvPr/>
          </p:nvSpPr>
          <p:spPr bwMode="auto">
            <a:xfrm>
              <a:off x="3456593" y="4357982"/>
              <a:ext cx="178581" cy="397482"/>
            </a:xfrm>
            <a:custGeom>
              <a:avLst/>
              <a:gdLst>
                <a:gd name="T0" fmla="*/ 53 w 62"/>
                <a:gd name="T1" fmla="*/ 138 h 138"/>
                <a:gd name="T2" fmla="*/ 0 w 62"/>
                <a:gd name="T3" fmla="*/ 137 h 138"/>
                <a:gd name="T4" fmla="*/ 3 w 62"/>
                <a:gd name="T5" fmla="*/ 0 h 138"/>
                <a:gd name="T6" fmla="*/ 62 w 62"/>
                <a:gd name="T7" fmla="*/ 2 h 138"/>
                <a:gd name="T8" fmla="*/ 53 w 62"/>
                <a:gd name="T9" fmla="*/ 138 h 138"/>
              </a:gdLst>
              <a:ahLst/>
              <a:cxnLst>
                <a:cxn ang="0">
                  <a:pos x="T0" y="T1"/>
                </a:cxn>
                <a:cxn ang="0">
                  <a:pos x="T2" y="T3"/>
                </a:cxn>
                <a:cxn ang="0">
                  <a:pos x="T4" y="T5"/>
                </a:cxn>
                <a:cxn ang="0">
                  <a:pos x="T6" y="T7"/>
                </a:cxn>
                <a:cxn ang="0">
                  <a:pos x="T8" y="T9"/>
                </a:cxn>
              </a:cxnLst>
              <a:rect l="0" t="0" r="r" b="b"/>
              <a:pathLst>
                <a:path w="62" h="138">
                  <a:moveTo>
                    <a:pt x="53" y="138"/>
                  </a:moveTo>
                  <a:lnTo>
                    <a:pt x="0" y="137"/>
                  </a:lnTo>
                  <a:lnTo>
                    <a:pt x="3" y="0"/>
                  </a:lnTo>
                  <a:lnTo>
                    <a:pt x="62" y="2"/>
                  </a:lnTo>
                  <a:lnTo>
                    <a:pt x="53" y="138"/>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95" name="Freeform 160"/>
            <p:cNvSpPr>
              <a:spLocks/>
            </p:cNvSpPr>
            <p:nvPr/>
          </p:nvSpPr>
          <p:spPr bwMode="auto">
            <a:xfrm>
              <a:off x="3289532" y="4280213"/>
              <a:ext cx="334118" cy="273630"/>
            </a:xfrm>
            <a:custGeom>
              <a:avLst/>
              <a:gdLst>
                <a:gd name="T0" fmla="*/ 0 w 125"/>
                <a:gd name="T1" fmla="*/ 102 h 102"/>
                <a:gd name="T2" fmla="*/ 57 w 125"/>
                <a:gd name="T3" fmla="*/ 87 h 102"/>
                <a:gd name="T4" fmla="*/ 113 w 125"/>
                <a:gd name="T5" fmla="*/ 102 h 102"/>
                <a:gd name="T6" fmla="*/ 125 w 125"/>
                <a:gd name="T7" fmla="*/ 0 h 102"/>
                <a:gd name="T8" fmla="*/ 0 w 125"/>
                <a:gd name="T9" fmla="*/ 0 h 102"/>
                <a:gd name="T10" fmla="*/ 0 w 125"/>
                <a:gd name="T11" fmla="*/ 102 h 102"/>
              </a:gdLst>
              <a:ahLst/>
              <a:cxnLst>
                <a:cxn ang="0">
                  <a:pos x="T0" y="T1"/>
                </a:cxn>
                <a:cxn ang="0">
                  <a:pos x="T2" y="T3"/>
                </a:cxn>
                <a:cxn ang="0">
                  <a:pos x="T4" y="T5"/>
                </a:cxn>
                <a:cxn ang="0">
                  <a:pos x="T6" y="T7"/>
                </a:cxn>
                <a:cxn ang="0">
                  <a:pos x="T8" y="T9"/>
                </a:cxn>
                <a:cxn ang="0">
                  <a:pos x="T10" y="T11"/>
                </a:cxn>
              </a:cxnLst>
              <a:rect l="0" t="0" r="r" b="b"/>
              <a:pathLst>
                <a:path w="125" h="102">
                  <a:moveTo>
                    <a:pt x="0" y="102"/>
                  </a:moveTo>
                  <a:cubicBezTo>
                    <a:pt x="0" y="97"/>
                    <a:pt x="26" y="87"/>
                    <a:pt x="57" y="87"/>
                  </a:cubicBezTo>
                  <a:cubicBezTo>
                    <a:pt x="88" y="87"/>
                    <a:pt x="113" y="97"/>
                    <a:pt x="113" y="102"/>
                  </a:cubicBezTo>
                  <a:cubicBezTo>
                    <a:pt x="125" y="0"/>
                    <a:pt x="125" y="0"/>
                    <a:pt x="125" y="0"/>
                  </a:cubicBezTo>
                  <a:cubicBezTo>
                    <a:pt x="0" y="0"/>
                    <a:pt x="0" y="0"/>
                    <a:pt x="0" y="0"/>
                  </a:cubicBezTo>
                  <a:lnTo>
                    <a:pt x="0" y="102"/>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96" name="Freeform 161"/>
            <p:cNvSpPr>
              <a:spLocks/>
            </p:cNvSpPr>
            <p:nvPr/>
          </p:nvSpPr>
          <p:spPr bwMode="auto">
            <a:xfrm>
              <a:off x="3223285" y="3730073"/>
              <a:ext cx="270751" cy="711438"/>
            </a:xfrm>
            <a:custGeom>
              <a:avLst/>
              <a:gdLst>
                <a:gd name="T0" fmla="*/ 70 w 94"/>
                <a:gd name="T1" fmla="*/ 247 h 247"/>
                <a:gd name="T2" fmla="*/ 0 w 94"/>
                <a:gd name="T3" fmla="*/ 240 h 247"/>
                <a:gd name="T4" fmla="*/ 14 w 94"/>
                <a:gd name="T5" fmla="*/ 142 h 247"/>
                <a:gd name="T6" fmla="*/ 29 w 94"/>
                <a:gd name="T7" fmla="*/ 27 h 247"/>
                <a:gd name="T8" fmla="*/ 48 w 94"/>
                <a:gd name="T9" fmla="*/ 5 h 247"/>
                <a:gd name="T10" fmla="*/ 94 w 94"/>
                <a:gd name="T11" fmla="*/ 0 h 247"/>
                <a:gd name="T12" fmla="*/ 82 w 94"/>
                <a:gd name="T13" fmla="*/ 211 h 247"/>
                <a:gd name="T14" fmla="*/ 70 w 94"/>
                <a:gd name="T15" fmla="*/ 247 h 2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4" h="247">
                  <a:moveTo>
                    <a:pt x="70" y="247"/>
                  </a:moveTo>
                  <a:lnTo>
                    <a:pt x="0" y="240"/>
                  </a:lnTo>
                  <a:lnTo>
                    <a:pt x="14" y="142"/>
                  </a:lnTo>
                  <a:lnTo>
                    <a:pt x="29" y="27"/>
                  </a:lnTo>
                  <a:lnTo>
                    <a:pt x="48" y="5"/>
                  </a:lnTo>
                  <a:lnTo>
                    <a:pt x="94" y="0"/>
                  </a:lnTo>
                  <a:lnTo>
                    <a:pt x="82" y="211"/>
                  </a:lnTo>
                  <a:lnTo>
                    <a:pt x="70" y="247"/>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97" name="Freeform 162"/>
            <p:cNvSpPr>
              <a:spLocks/>
            </p:cNvSpPr>
            <p:nvPr/>
          </p:nvSpPr>
          <p:spPr bwMode="auto">
            <a:xfrm>
              <a:off x="3257848" y="4271571"/>
              <a:ext cx="207383" cy="190103"/>
            </a:xfrm>
            <a:custGeom>
              <a:avLst/>
              <a:gdLst>
                <a:gd name="T0" fmla="*/ 1 w 77"/>
                <a:gd name="T1" fmla="*/ 33 h 71"/>
                <a:gd name="T2" fmla="*/ 33 w 77"/>
                <a:gd name="T3" fmla="*/ 70 h 71"/>
                <a:gd name="T4" fmla="*/ 76 w 77"/>
                <a:gd name="T5" fmla="*/ 38 h 71"/>
                <a:gd name="T6" fmla="*/ 38 w 77"/>
                <a:gd name="T7" fmla="*/ 1 h 71"/>
                <a:gd name="T8" fmla="*/ 1 w 77"/>
                <a:gd name="T9" fmla="*/ 33 h 71"/>
              </a:gdLst>
              <a:ahLst/>
              <a:cxnLst>
                <a:cxn ang="0">
                  <a:pos x="T0" y="T1"/>
                </a:cxn>
                <a:cxn ang="0">
                  <a:pos x="T2" y="T3"/>
                </a:cxn>
                <a:cxn ang="0">
                  <a:pos x="T4" y="T5"/>
                </a:cxn>
                <a:cxn ang="0">
                  <a:pos x="T6" y="T7"/>
                </a:cxn>
                <a:cxn ang="0">
                  <a:pos x="T8" y="T9"/>
                </a:cxn>
              </a:cxnLst>
              <a:rect l="0" t="0" r="r" b="b"/>
              <a:pathLst>
                <a:path w="77" h="71">
                  <a:moveTo>
                    <a:pt x="1" y="33"/>
                  </a:moveTo>
                  <a:cubicBezTo>
                    <a:pt x="0" y="52"/>
                    <a:pt x="14" y="69"/>
                    <a:pt x="33" y="70"/>
                  </a:cubicBezTo>
                  <a:cubicBezTo>
                    <a:pt x="52" y="71"/>
                    <a:pt x="74" y="57"/>
                    <a:pt x="76" y="38"/>
                  </a:cubicBezTo>
                  <a:cubicBezTo>
                    <a:pt x="77" y="19"/>
                    <a:pt x="57" y="2"/>
                    <a:pt x="38" y="1"/>
                  </a:cubicBezTo>
                  <a:cubicBezTo>
                    <a:pt x="19" y="0"/>
                    <a:pt x="2" y="14"/>
                    <a:pt x="1" y="33"/>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98" name="Freeform 163"/>
            <p:cNvSpPr>
              <a:spLocks/>
            </p:cNvSpPr>
            <p:nvPr/>
          </p:nvSpPr>
          <p:spPr bwMode="auto">
            <a:xfrm>
              <a:off x="3252089" y="4360861"/>
              <a:ext cx="210263" cy="403245"/>
            </a:xfrm>
            <a:custGeom>
              <a:avLst/>
              <a:gdLst>
                <a:gd name="T0" fmla="*/ 0 w 73"/>
                <a:gd name="T1" fmla="*/ 137 h 140"/>
                <a:gd name="T2" fmla="*/ 53 w 73"/>
                <a:gd name="T3" fmla="*/ 140 h 140"/>
                <a:gd name="T4" fmla="*/ 73 w 73"/>
                <a:gd name="T5" fmla="*/ 5 h 140"/>
                <a:gd name="T6" fmla="*/ 3 w 73"/>
                <a:gd name="T7" fmla="*/ 0 h 140"/>
                <a:gd name="T8" fmla="*/ 0 w 73"/>
                <a:gd name="T9" fmla="*/ 137 h 140"/>
              </a:gdLst>
              <a:ahLst/>
              <a:cxnLst>
                <a:cxn ang="0">
                  <a:pos x="T0" y="T1"/>
                </a:cxn>
                <a:cxn ang="0">
                  <a:pos x="T2" y="T3"/>
                </a:cxn>
                <a:cxn ang="0">
                  <a:pos x="T4" y="T5"/>
                </a:cxn>
                <a:cxn ang="0">
                  <a:pos x="T6" y="T7"/>
                </a:cxn>
                <a:cxn ang="0">
                  <a:pos x="T8" y="T9"/>
                </a:cxn>
              </a:cxnLst>
              <a:rect l="0" t="0" r="r" b="b"/>
              <a:pathLst>
                <a:path w="73" h="140">
                  <a:moveTo>
                    <a:pt x="0" y="137"/>
                  </a:moveTo>
                  <a:lnTo>
                    <a:pt x="53" y="140"/>
                  </a:lnTo>
                  <a:lnTo>
                    <a:pt x="73" y="5"/>
                  </a:lnTo>
                  <a:lnTo>
                    <a:pt x="3" y="0"/>
                  </a:lnTo>
                  <a:lnTo>
                    <a:pt x="0" y="137"/>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99" name="Freeform 164"/>
            <p:cNvSpPr>
              <a:spLocks/>
            </p:cNvSpPr>
            <p:nvPr/>
          </p:nvSpPr>
          <p:spPr bwMode="auto">
            <a:xfrm>
              <a:off x="3269372" y="5138548"/>
              <a:ext cx="97931" cy="112332"/>
            </a:xfrm>
            <a:custGeom>
              <a:avLst/>
              <a:gdLst>
                <a:gd name="T0" fmla="*/ 34 w 34"/>
                <a:gd name="T1" fmla="*/ 39 h 39"/>
                <a:gd name="T2" fmla="*/ 0 w 34"/>
                <a:gd name="T3" fmla="*/ 37 h 39"/>
                <a:gd name="T4" fmla="*/ 2 w 34"/>
                <a:gd name="T5" fmla="*/ 0 h 39"/>
                <a:gd name="T6" fmla="*/ 33 w 34"/>
                <a:gd name="T7" fmla="*/ 1 h 39"/>
                <a:gd name="T8" fmla="*/ 34 w 34"/>
                <a:gd name="T9" fmla="*/ 39 h 39"/>
              </a:gdLst>
              <a:ahLst/>
              <a:cxnLst>
                <a:cxn ang="0">
                  <a:pos x="T0" y="T1"/>
                </a:cxn>
                <a:cxn ang="0">
                  <a:pos x="T2" y="T3"/>
                </a:cxn>
                <a:cxn ang="0">
                  <a:pos x="T4" y="T5"/>
                </a:cxn>
                <a:cxn ang="0">
                  <a:pos x="T6" y="T7"/>
                </a:cxn>
                <a:cxn ang="0">
                  <a:pos x="T8" y="T9"/>
                </a:cxn>
              </a:cxnLst>
              <a:rect l="0" t="0" r="r" b="b"/>
              <a:pathLst>
                <a:path w="34" h="39">
                  <a:moveTo>
                    <a:pt x="34" y="39"/>
                  </a:moveTo>
                  <a:lnTo>
                    <a:pt x="0" y="37"/>
                  </a:lnTo>
                  <a:lnTo>
                    <a:pt x="2" y="0"/>
                  </a:lnTo>
                  <a:lnTo>
                    <a:pt x="33" y="1"/>
                  </a:lnTo>
                  <a:lnTo>
                    <a:pt x="34" y="39"/>
                  </a:lnTo>
                  <a:close/>
                </a:path>
              </a:pathLst>
            </a:custGeom>
            <a:solidFill>
              <a:srgbClr val="0011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800" name="Freeform 165"/>
            <p:cNvSpPr>
              <a:spLocks/>
            </p:cNvSpPr>
            <p:nvPr/>
          </p:nvSpPr>
          <p:spPr bwMode="auto">
            <a:xfrm>
              <a:off x="3090791" y="5196153"/>
              <a:ext cx="282270" cy="106573"/>
            </a:xfrm>
            <a:custGeom>
              <a:avLst/>
              <a:gdLst>
                <a:gd name="T0" fmla="*/ 104 w 105"/>
                <a:gd name="T1" fmla="*/ 39 h 40"/>
                <a:gd name="T2" fmla="*/ 73 w 105"/>
                <a:gd name="T3" fmla="*/ 40 h 40"/>
                <a:gd name="T4" fmla="*/ 72 w 105"/>
                <a:gd name="T5" fmla="*/ 35 h 40"/>
                <a:gd name="T6" fmla="*/ 29 w 105"/>
                <a:gd name="T7" fmla="*/ 40 h 40"/>
                <a:gd name="T8" fmla="*/ 2 w 105"/>
                <a:gd name="T9" fmla="*/ 37 h 40"/>
                <a:gd name="T10" fmla="*/ 0 w 105"/>
                <a:gd name="T11" fmla="*/ 33 h 40"/>
                <a:gd name="T12" fmla="*/ 64 w 105"/>
                <a:gd name="T13" fmla="*/ 0 h 40"/>
                <a:gd name="T14" fmla="*/ 66 w 105"/>
                <a:gd name="T15" fmla="*/ 0 h 40"/>
                <a:gd name="T16" fmla="*/ 81 w 105"/>
                <a:gd name="T17" fmla="*/ 10 h 40"/>
                <a:gd name="T18" fmla="*/ 100 w 105"/>
                <a:gd name="T19" fmla="*/ 0 h 40"/>
                <a:gd name="T20" fmla="*/ 104 w 105"/>
                <a:gd name="T21" fmla="*/ 39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5" h="40">
                  <a:moveTo>
                    <a:pt x="104" y="39"/>
                  </a:moveTo>
                  <a:cubicBezTo>
                    <a:pt x="73" y="40"/>
                    <a:pt x="73" y="40"/>
                    <a:pt x="73" y="40"/>
                  </a:cubicBezTo>
                  <a:cubicBezTo>
                    <a:pt x="72" y="35"/>
                    <a:pt x="72" y="35"/>
                    <a:pt x="72" y="35"/>
                  </a:cubicBezTo>
                  <a:cubicBezTo>
                    <a:pt x="62" y="37"/>
                    <a:pt x="40" y="40"/>
                    <a:pt x="29" y="40"/>
                  </a:cubicBezTo>
                  <a:cubicBezTo>
                    <a:pt x="21" y="40"/>
                    <a:pt x="8" y="40"/>
                    <a:pt x="2" y="37"/>
                  </a:cubicBezTo>
                  <a:cubicBezTo>
                    <a:pt x="1" y="36"/>
                    <a:pt x="0" y="34"/>
                    <a:pt x="0" y="33"/>
                  </a:cubicBezTo>
                  <a:cubicBezTo>
                    <a:pt x="1" y="20"/>
                    <a:pt x="51" y="15"/>
                    <a:pt x="64" y="0"/>
                  </a:cubicBezTo>
                  <a:cubicBezTo>
                    <a:pt x="66" y="0"/>
                    <a:pt x="66" y="0"/>
                    <a:pt x="66" y="0"/>
                  </a:cubicBezTo>
                  <a:cubicBezTo>
                    <a:pt x="69" y="3"/>
                    <a:pt x="73" y="10"/>
                    <a:pt x="81" y="10"/>
                  </a:cubicBezTo>
                  <a:cubicBezTo>
                    <a:pt x="89" y="10"/>
                    <a:pt x="97" y="3"/>
                    <a:pt x="100" y="0"/>
                  </a:cubicBezTo>
                  <a:cubicBezTo>
                    <a:pt x="105" y="4"/>
                    <a:pt x="105" y="39"/>
                    <a:pt x="104" y="39"/>
                  </a:cubicBez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801" name="Freeform 166"/>
            <p:cNvSpPr>
              <a:spLocks/>
            </p:cNvSpPr>
            <p:nvPr/>
          </p:nvSpPr>
          <p:spPr bwMode="auto">
            <a:xfrm>
              <a:off x="3249208" y="4680578"/>
              <a:ext cx="158417" cy="158417"/>
            </a:xfrm>
            <a:custGeom>
              <a:avLst/>
              <a:gdLst>
                <a:gd name="T0" fmla="*/ 58 w 59"/>
                <a:gd name="T1" fmla="*/ 31 h 59"/>
                <a:gd name="T2" fmla="*/ 31 w 59"/>
                <a:gd name="T3" fmla="*/ 1 h 59"/>
                <a:gd name="T4" fmla="*/ 1 w 59"/>
                <a:gd name="T5" fmla="*/ 28 h 59"/>
                <a:gd name="T6" fmla="*/ 28 w 59"/>
                <a:gd name="T7" fmla="*/ 59 h 59"/>
                <a:gd name="T8" fmla="*/ 58 w 59"/>
                <a:gd name="T9" fmla="*/ 31 h 59"/>
              </a:gdLst>
              <a:ahLst/>
              <a:cxnLst>
                <a:cxn ang="0">
                  <a:pos x="T0" y="T1"/>
                </a:cxn>
                <a:cxn ang="0">
                  <a:pos x="T2" y="T3"/>
                </a:cxn>
                <a:cxn ang="0">
                  <a:pos x="T4" y="T5"/>
                </a:cxn>
                <a:cxn ang="0">
                  <a:pos x="T6" y="T7"/>
                </a:cxn>
                <a:cxn ang="0">
                  <a:pos x="T8" y="T9"/>
                </a:cxn>
              </a:cxnLst>
              <a:rect l="0" t="0" r="r" b="b"/>
              <a:pathLst>
                <a:path w="59" h="59">
                  <a:moveTo>
                    <a:pt x="58" y="31"/>
                  </a:moveTo>
                  <a:cubicBezTo>
                    <a:pt x="59" y="15"/>
                    <a:pt x="47" y="2"/>
                    <a:pt x="31" y="1"/>
                  </a:cubicBezTo>
                  <a:cubicBezTo>
                    <a:pt x="15" y="0"/>
                    <a:pt x="2" y="13"/>
                    <a:pt x="1" y="28"/>
                  </a:cubicBezTo>
                  <a:cubicBezTo>
                    <a:pt x="0" y="44"/>
                    <a:pt x="12" y="58"/>
                    <a:pt x="28" y="59"/>
                  </a:cubicBezTo>
                  <a:cubicBezTo>
                    <a:pt x="44" y="59"/>
                    <a:pt x="57" y="47"/>
                    <a:pt x="58" y="31"/>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802" name="Freeform 167"/>
            <p:cNvSpPr>
              <a:spLocks/>
            </p:cNvSpPr>
            <p:nvPr/>
          </p:nvSpPr>
          <p:spPr bwMode="auto">
            <a:xfrm>
              <a:off x="3237686" y="4755466"/>
              <a:ext cx="167057" cy="478132"/>
            </a:xfrm>
            <a:custGeom>
              <a:avLst/>
              <a:gdLst>
                <a:gd name="T0" fmla="*/ 58 w 58"/>
                <a:gd name="T1" fmla="*/ 3 h 166"/>
                <a:gd name="T2" fmla="*/ 5 w 58"/>
                <a:gd name="T3" fmla="*/ 0 h 166"/>
                <a:gd name="T4" fmla="*/ 0 w 58"/>
                <a:gd name="T5" fmla="*/ 161 h 166"/>
                <a:gd name="T6" fmla="*/ 49 w 58"/>
                <a:gd name="T7" fmla="*/ 166 h 166"/>
                <a:gd name="T8" fmla="*/ 58 w 58"/>
                <a:gd name="T9" fmla="*/ 3 h 166"/>
              </a:gdLst>
              <a:ahLst/>
              <a:cxnLst>
                <a:cxn ang="0">
                  <a:pos x="T0" y="T1"/>
                </a:cxn>
                <a:cxn ang="0">
                  <a:pos x="T2" y="T3"/>
                </a:cxn>
                <a:cxn ang="0">
                  <a:pos x="T4" y="T5"/>
                </a:cxn>
                <a:cxn ang="0">
                  <a:pos x="T6" y="T7"/>
                </a:cxn>
                <a:cxn ang="0">
                  <a:pos x="T8" y="T9"/>
                </a:cxn>
              </a:cxnLst>
              <a:rect l="0" t="0" r="r" b="b"/>
              <a:pathLst>
                <a:path w="58" h="166">
                  <a:moveTo>
                    <a:pt x="58" y="3"/>
                  </a:moveTo>
                  <a:lnTo>
                    <a:pt x="5" y="0"/>
                  </a:lnTo>
                  <a:lnTo>
                    <a:pt x="0" y="161"/>
                  </a:lnTo>
                  <a:lnTo>
                    <a:pt x="49" y="166"/>
                  </a:lnTo>
                  <a:lnTo>
                    <a:pt x="58" y="3"/>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803" name="Freeform 168"/>
            <p:cNvSpPr>
              <a:spLocks/>
            </p:cNvSpPr>
            <p:nvPr/>
          </p:nvSpPr>
          <p:spPr bwMode="auto">
            <a:xfrm>
              <a:off x="3456593" y="5132787"/>
              <a:ext cx="97931" cy="109452"/>
            </a:xfrm>
            <a:custGeom>
              <a:avLst/>
              <a:gdLst>
                <a:gd name="T0" fmla="*/ 0 w 34"/>
                <a:gd name="T1" fmla="*/ 37 h 38"/>
                <a:gd name="T2" fmla="*/ 33 w 34"/>
                <a:gd name="T3" fmla="*/ 38 h 38"/>
                <a:gd name="T4" fmla="*/ 34 w 34"/>
                <a:gd name="T5" fmla="*/ 0 h 38"/>
                <a:gd name="T6" fmla="*/ 3 w 34"/>
                <a:gd name="T7" fmla="*/ 0 h 38"/>
                <a:gd name="T8" fmla="*/ 0 w 34"/>
                <a:gd name="T9" fmla="*/ 37 h 38"/>
              </a:gdLst>
              <a:ahLst/>
              <a:cxnLst>
                <a:cxn ang="0">
                  <a:pos x="T0" y="T1"/>
                </a:cxn>
                <a:cxn ang="0">
                  <a:pos x="T2" y="T3"/>
                </a:cxn>
                <a:cxn ang="0">
                  <a:pos x="T4" y="T5"/>
                </a:cxn>
                <a:cxn ang="0">
                  <a:pos x="T6" y="T7"/>
                </a:cxn>
                <a:cxn ang="0">
                  <a:pos x="T8" y="T9"/>
                </a:cxn>
              </a:cxnLst>
              <a:rect l="0" t="0" r="r" b="b"/>
              <a:pathLst>
                <a:path w="34" h="38">
                  <a:moveTo>
                    <a:pt x="0" y="37"/>
                  </a:moveTo>
                  <a:lnTo>
                    <a:pt x="33" y="38"/>
                  </a:lnTo>
                  <a:lnTo>
                    <a:pt x="34" y="0"/>
                  </a:lnTo>
                  <a:lnTo>
                    <a:pt x="3" y="0"/>
                  </a:lnTo>
                  <a:lnTo>
                    <a:pt x="0" y="37"/>
                  </a:lnTo>
                  <a:close/>
                </a:path>
              </a:pathLst>
            </a:custGeom>
            <a:solidFill>
              <a:srgbClr val="0011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804" name="Freeform 169"/>
            <p:cNvSpPr>
              <a:spLocks/>
            </p:cNvSpPr>
            <p:nvPr/>
          </p:nvSpPr>
          <p:spPr bwMode="auto">
            <a:xfrm>
              <a:off x="3445071" y="5199037"/>
              <a:ext cx="285152" cy="109452"/>
            </a:xfrm>
            <a:custGeom>
              <a:avLst/>
              <a:gdLst>
                <a:gd name="T0" fmla="*/ 1 w 106"/>
                <a:gd name="T1" fmla="*/ 38 h 41"/>
                <a:gd name="T2" fmla="*/ 32 w 106"/>
                <a:gd name="T3" fmla="*/ 39 h 41"/>
                <a:gd name="T4" fmla="*/ 34 w 106"/>
                <a:gd name="T5" fmla="*/ 35 h 41"/>
                <a:gd name="T6" fmla="*/ 76 w 106"/>
                <a:gd name="T7" fmla="*/ 41 h 41"/>
                <a:gd name="T8" fmla="*/ 103 w 106"/>
                <a:gd name="T9" fmla="*/ 38 h 41"/>
                <a:gd name="T10" fmla="*/ 105 w 106"/>
                <a:gd name="T11" fmla="*/ 34 h 41"/>
                <a:gd name="T12" fmla="*/ 42 w 106"/>
                <a:gd name="T13" fmla="*/ 0 h 41"/>
                <a:gd name="T14" fmla="*/ 40 w 106"/>
                <a:gd name="T15" fmla="*/ 0 h 41"/>
                <a:gd name="T16" fmla="*/ 25 w 106"/>
                <a:gd name="T17" fmla="*/ 10 h 41"/>
                <a:gd name="T18" fmla="*/ 6 w 106"/>
                <a:gd name="T19" fmla="*/ 0 h 41"/>
                <a:gd name="T20" fmla="*/ 1 w 106"/>
                <a:gd name="T21" fmla="*/ 38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6" h="41">
                  <a:moveTo>
                    <a:pt x="1" y="38"/>
                  </a:moveTo>
                  <a:cubicBezTo>
                    <a:pt x="32" y="39"/>
                    <a:pt x="32" y="39"/>
                    <a:pt x="32" y="39"/>
                  </a:cubicBezTo>
                  <a:cubicBezTo>
                    <a:pt x="34" y="35"/>
                    <a:pt x="34" y="35"/>
                    <a:pt x="34" y="35"/>
                  </a:cubicBezTo>
                  <a:cubicBezTo>
                    <a:pt x="43" y="37"/>
                    <a:pt x="66" y="40"/>
                    <a:pt x="76" y="41"/>
                  </a:cubicBezTo>
                  <a:cubicBezTo>
                    <a:pt x="85" y="41"/>
                    <a:pt x="97" y="41"/>
                    <a:pt x="103" y="38"/>
                  </a:cubicBezTo>
                  <a:cubicBezTo>
                    <a:pt x="104" y="37"/>
                    <a:pt x="106" y="35"/>
                    <a:pt x="105" y="34"/>
                  </a:cubicBezTo>
                  <a:cubicBezTo>
                    <a:pt x="104" y="21"/>
                    <a:pt x="54" y="15"/>
                    <a:pt x="42" y="0"/>
                  </a:cubicBezTo>
                  <a:cubicBezTo>
                    <a:pt x="40" y="0"/>
                    <a:pt x="40" y="0"/>
                    <a:pt x="40" y="0"/>
                  </a:cubicBezTo>
                  <a:cubicBezTo>
                    <a:pt x="37" y="3"/>
                    <a:pt x="33" y="10"/>
                    <a:pt x="25" y="10"/>
                  </a:cubicBezTo>
                  <a:cubicBezTo>
                    <a:pt x="17" y="10"/>
                    <a:pt x="9" y="2"/>
                    <a:pt x="6" y="0"/>
                  </a:cubicBezTo>
                  <a:cubicBezTo>
                    <a:pt x="1" y="3"/>
                    <a:pt x="0" y="38"/>
                    <a:pt x="1" y="38"/>
                  </a:cubicBez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805" name="Freeform 170"/>
            <p:cNvSpPr>
              <a:spLocks/>
            </p:cNvSpPr>
            <p:nvPr/>
          </p:nvSpPr>
          <p:spPr bwMode="auto">
            <a:xfrm>
              <a:off x="3453710" y="4674816"/>
              <a:ext cx="155535" cy="158417"/>
            </a:xfrm>
            <a:custGeom>
              <a:avLst/>
              <a:gdLst>
                <a:gd name="T0" fmla="*/ 0 w 58"/>
                <a:gd name="T1" fmla="*/ 29 h 59"/>
                <a:gd name="T2" fmla="*/ 30 w 58"/>
                <a:gd name="T3" fmla="*/ 1 h 59"/>
                <a:gd name="T4" fmla="*/ 58 w 58"/>
                <a:gd name="T5" fmla="*/ 30 h 59"/>
                <a:gd name="T6" fmla="*/ 28 w 58"/>
                <a:gd name="T7" fmla="*/ 58 h 59"/>
                <a:gd name="T8" fmla="*/ 0 w 58"/>
                <a:gd name="T9" fmla="*/ 29 h 59"/>
              </a:gdLst>
              <a:ahLst/>
              <a:cxnLst>
                <a:cxn ang="0">
                  <a:pos x="T0" y="T1"/>
                </a:cxn>
                <a:cxn ang="0">
                  <a:pos x="T2" y="T3"/>
                </a:cxn>
                <a:cxn ang="0">
                  <a:pos x="T4" y="T5"/>
                </a:cxn>
                <a:cxn ang="0">
                  <a:pos x="T6" y="T7"/>
                </a:cxn>
                <a:cxn ang="0">
                  <a:pos x="T8" y="T9"/>
                </a:cxn>
              </a:cxnLst>
              <a:rect l="0" t="0" r="r" b="b"/>
              <a:pathLst>
                <a:path w="58" h="59">
                  <a:moveTo>
                    <a:pt x="0" y="29"/>
                  </a:moveTo>
                  <a:cubicBezTo>
                    <a:pt x="1" y="13"/>
                    <a:pt x="14" y="0"/>
                    <a:pt x="30" y="1"/>
                  </a:cubicBezTo>
                  <a:cubicBezTo>
                    <a:pt x="46" y="1"/>
                    <a:pt x="58" y="14"/>
                    <a:pt x="58" y="30"/>
                  </a:cubicBezTo>
                  <a:cubicBezTo>
                    <a:pt x="57" y="46"/>
                    <a:pt x="44" y="59"/>
                    <a:pt x="28" y="58"/>
                  </a:cubicBezTo>
                  <a:cubicBezTo>
                    <a:pt x="13" y="58"/>
                    <a:pt x="0" y="45"/>
                    <a:pt x="0" y="29"/>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806" name="Freeform 171"/>
            <p:cNvSpPr>
              <a:spLocks/>
            </p:cNvSpPr>
            <p:nvPr/>
          </p:nvSpPr>
          <p:spPr bwMode="auto">
            <a:xfrm>
              <a:off x="3447951" y="4752584"/>
              <a:ext cx="161298" cy="472373"/>
            </a:xfrm>
            <a:custGeom>
              <a:avLst/>
              <a:gdLst>
                <a:gd name="T0" fmla="*/ 2 w 56"/>
                <a:gd name="T1" fmla="*/ 0 h 164"/>
                <a:gd name="T2" fmla="*/ 56 w 56"/>
                <a:gd name="T3" fmla="*/ 1 h 164"/>
                <a:gd name="T4" fmla="*/ 48 w 56"/>
                <a:gd name="T5" fmla="*/ 161 h 164"/>
                <a:gd name="T6" fmla="*/ 0 w 56"/>
                <a:gd name="T7" fmla="*/ 164 h 164"/>
                <a:gd name="T8" fmla="*/ 2 w 56"/>
                <a:gd name="T9" fmla="*/ 0 h 164"/>
              </a:gdLst>
              <a:ahLst/>
              <a:cxnLst>
                <a:cxn ang="0">
                  <a:pos x="T0" y="T1"/>
                </a:cxn>
                <a:cxn ang="0">
                  <a:pos x="T2" y="T3"/>
                </a:cxn>
                <a:cxn ang="0">
                  <a:pos x="T4" y="T5"/>
                </a:cxn>
                <a:cxn ang="0">
                  <a:pos x="T6" y="T7"/>
                </a:cxn>
                <a:cxn ang="0">
                  <a:pos x="T8" y="T9"/>
                </a:cxn>
              </a:cxnLst>
              <a:rect l="0" t="0" r="r" b="b"/>
              <a:pathLst>
                <a:path w="56" h="164">
                  <a:moveTo>
                    <a:pt x="2" y="0"/>
                  </a:moveTo>
                  <a:lnTo>
                    <a:pt x="56" y="1"/>
                  </a:lnTo>
                  <a:lnTo>
                    <a:pt x="48" y="161"/>
                  </a:lnTo>
                  <a:lnTo>
                    <a:pt x="0" y="164"/>
                  </a:lnTo>
                  <a:lnTo>
                    <a:pt x="2"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807" name="Freeform 172"/>
            <p:cNvSpPr>
              <a:spLocks/>
            </p:cNvSpPr>
            <p:nvPr/>
          </p:nvSpPr>
          <p:spPr bwMode="auto">
            <a:xfrm>
              <a:off x="3612128" y="3724312"/>
              <a:ext cx="221784" cy="198741"/>
            </a:xfrm>
            <a:custGeom>
              <a:avLst/>
              <a:gdLst>
                <a:gd name="T0" fmla="*/ 77 w 77"/>
                <a:gd name="T1" fmla="*/ 44 h 69"/>
                <a:gd name="T2" fmla="*/ 65 w 77"/>
                <a:gd name="T3" fmla="*/ 0 h 69"/>
                <a:gd name="T4" fmla="*/ 0 w 77"/>
                <a:gd name="T5" fmla="*/ 9 h 69"/>
                <a:gd name="T6" fmla="*/ 19 w 77"/>
                <a:gd name="T7" fmla="*/ 69 h 69"/>
                <a:gd name="T8" fmla="*/ 77 w 77"/>
                <a:gd name="T9" fmla="*/ 44 h 69"/>
              </a:gdLst>
              <a:ahLst/>
              <a:cxnLst>
                <a:cxn ang="0">
                  <a:pos x="T0" y="T1"/>
                </a:cxn>
                <a:cxn ang="0">
                  <a:pos x="T2" y="T3"/>
                </a:cxn>
                <a:cxn ang="0">
                  <a:pos x="T4" y="T5"/>
                </a:cxn>
                <a:cxn ang="0">
                  <a:pos x="T6" y="T7"/>
                </a:cxn>
                <a:cxn ang="0">
                  <a:pos x="T8" y="T9"/>
                </a:cxn>
              </a:cxnLst>
              <a:rect l="0" t="0" r="r" b="b"/>
              <a:pathLst>
                <a:path w="77" h="69">
                  <a:moveTo>
                    <a:pt x="77" y="44"/>
                  </a:moveTo>
                  <a:lnTo>
                    <a:pt x="65" y="0"/>
                  </a:lnTo>
                  <a:lnTo>
                    <a:pt x="0" y="9"/>
                  </a:lnTo>
                  <a:lnTo>
                    <a:pt x="19" y="69"/>
                  </a:lnTo>
                  <a:lnTo>
                    <a:pt x="77" y="4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808" name="Freeform 173"/>
            <p:cNvSpPr>
              <a:spLocks/>
            </p:cNvSpPr>
            <p:nvPr/>
          </p:nvSpPr>
          <p:spPr bwMode="auto">
            <a:xfrm>
              <a:off x="3537241" y="3735832"/>
              <a:ext cx="204504" cy="201620"/>
            </a:xfrm>
            <a:custGeom>
              <a:avLst/>
              <a:gdLst>
                <a:gd name="T0" fmla="*/ 49 w 77"/>
                <a:gd name="T1" fmla="*/ 70 h 76"/>
                <a:gd name="T2" fmla="*/ 6 w 77"/>
                <a:gd name="T3" fmla="*/ 49 h 76"/>
                <a:gd name="T4" fmla="*/ 28 w 77"/>
                <a:gd name="T5" fmla="*/ 6 h 76"/>
                <a:gd name="T6" fmla="*/ 71 w 77"/>
                <a:gd name="T7" fmla="*/ 27 h 76"/>
                <a:gd name="T8" fmla="*/ 49 w 77"/>
                <a:gd name="T9" fmla="*/ 70 h 76"/>
              </a:gdLst>
              <a:ahLst/>
              <a:cxnLst>
                <a:cxn ang="0">
                  <a:pos x="T0" y="T1"/>
                </a:cxn>
                <a:cxn ang="0">
                  <a:pos x="T2" y="T3"/>
                </a:cxn>
                <a:cxn ang="0">
                  <a:pos x="T4" y="T5"/>
                </a:cxn>
                <a:cxn ang="0">
                  <a:pos x="T6" y="T7"/>
                </a:cxn>
                <a:cxn ang="0">
                  <a:pos x="T8" y="T9"/>
                </a:cxn>
              </a:cxnLst>
              <a:rect l="0" t="0" r="r" b="b"/>
              <a:pathLst>
                <a:path w="77" h="76">
                  <a:moveTo>
                    <a:pt x="49" y="70"/>
                  </a:moveTo>
                  <a:cubicBezTo>
                    <a:pt x="32" y="76"/>
                    <a:pt x="12" y="67"/>
                    <a:pt x="6" y="49"/>
                  </a:cubicBezTo>
                  <a:cubicBezTo>
                    <a:pt x="0" y="31"/>
                    <a:pt x="10" y="12"/>
                    <a:pt x="28" y="6"/>
                  </a:cubicBezTo>
                  <a:cubicBezTo>
                    <a:pt x="46" y="0"/>
                    <a:pt x="65" y="9"/>
                    <a:pt x="71" y="27"/>
                  </a:cubicBezTo>
                  <a:cubicBezTo>
                    <a:pt x="77" y="45"/>
                    <a:pt x="67" y="64"/>
                    <a:pt x="49" y="70"/>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809" name="Freeform 174"/>
            <p:cNvSpPr>
              <a:spLocks/>
            </p:cNvSpPr>
            <p:nvPr/>
          </p:nvSpPr>
          <p:spPr bwMode="auto">
            <a:xfrm>
              <a:off x="3442190" y="3730073"/>
              <a:ext cx="247707" cy="725837"/>
            </a:xfrm>
            <a:custGeom>
              <a:avLst/>
              <a:gdLst>
                <a:gd name="T0" fmla="*/ 0 w 86"/>
                <a:gd name="T1" fmla="*/ 247 h 252"/>
                <a:gd name="T2" fmla="*/ 65 w 86"/>
                <a:gd name="T3" fmla="*/ 252 h 252"/>
                <a:gd name="T4" fmla="*/ 86 w 86"/>
                <a:gd name="T5" fmla="*/ 46 h 252"/>
                <a:gd name="T6" fmla="*/ 77 w 86"/>
                <a:gd name="T7" fmla="*/ 6 h 252"/>
                <a:gd name="T8" fmla="*/ 18 w 86"/>
                <a:gd name="T9" fmla="*/ 0 h 252"/>
                <a:gd name="T10" fmla="*/ 6 w 86"/>
                <a:gd name="T11" fmla="*/ 211 h 252"/>
                <a:gd name="T12" fmla="*/ 0 w 86"/>
                <a:gd name="T13" fmla="*/ 247 h 252"/>
              </a:gdLst>
              <a:ahLst/>
              <a:cxnLst>
                <a:cxn ang="0">
                  <a:pos x="T0" y="T1"/>
                </a:cxn>
                <a:cxn ang="0">
                  <a:pos x="T2" y="T3"/>
                </a:cxn>
                <a:cxn ang="0">
                  <a:pos x="T4" y="T5"/>
                </a:cxn>
                <a:cxn ang="0">
                  <a:pos x="T6" y="T7"/>
                </a:cxn>
                <a:cxn ang="0">
                  <a:pos x="T8" y="T9"/>
                </a:cxn>
                <a:cxn ang="0">
                  <a:pos x="T10" y="T11"/>
                </a:cxn>
                <a:cxn ang="0">
                  <a:pos x="T12" y="T13"/>
                </a:cxn>
              </a:cxnLst>
              <a:rect l="0" t="0" r="r" b="b"/>
              <a:pathLst>
                <a:path w="86" h="252">
                  <a:moveTo>
                    <a:pt x="0" y="247"/>
                  </a:moveTo>
                  <a:lnTo>
                    <a:pt x="65" y="252"/>
                  </a:lnTo>
                  <a:lnTo>
                    <a:pt x="86" y="46"/>
                  </a:lnTo>
                  <a:lnTo>
                    <a:pt x="77" y="6"/>
                  </a:lnTo>
                  <a:lnTo>
                    <a:pt x="18" y="0"/>
                  </a:lnTo>
                  <a:lnTo>
                    <a:pt x="6" y="211"/>
                  </a:lnTo>
                  <a:lnTo>
                    <a:pt x="0" y="247"/>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810" name="Freeform 175"/>
            <p:cNvSpPr>
              <a:spLocks/>
            </p:cNvSpPr>
            <p:nvPr/>
          </p:nvSpPr>
          <p:spPr bwMode="auto">
            <a:xfrm>
              <a:off x="3430668" y="3637901"/>
              <a:ext cx="129614" cy="149777"/>
            </a:xfrm>
            <a:custGeom>
              <a:avLst/>
              <a:gdLst>
                <a:gd name="T0" fmla="*/ 45 w 48"/>
                <a:gd name="T1" fmla="*/ 40 h 57"/>
                <a:gd name="T2" fmla="*/ 48 w 48"/>
                <a:gd name="T3" fmla="*/ 4 h 57"/>
                <a:gd name="T4" fmla="*/ 4 w 48"/>
                <a:gd name="T5" fmla="*/ 0 h 57"/>
                <a:gd name="T6" fmla="*/ 1 w 48"/>
                <a:gd name="T7" fmla="*/ 36 h 57"/>
                <a:gd name="T8" fmla="*/ 21 w 48"/>
                <a:gd name="T9" fmla="*/ 55 h 57"/>
                <a:gd name="T10" fmla="*/ 45 w 48"/>
                <a:gd name="T11" fmla="*/ 40 h 57"/>
              </a:gdLst>
              <a:ahLst/>
              <a:cxnLst>
                <a:cxn ang="0">
                  <a:pos x="T0" y="T1"/>
                </a:cxn>
                <a:cxn ang="0">
                  <a:pos x="T2" y="T3"/>
                </a:cxn>
                <a:cxn ang="0">
                  <a:pos x="T4" y="T5"/>
                </a:cxn>
                <a:cxn ang="0">
                  <a:pos x="T6" y="T7"/>
                </a:cxn>
                <a:cxn ang="0">
                  <a:pos x="T8" y="T9"/>
                </a:cxn>
                <a:cxn ang="0">
                  <a:pos x="T10" y="T11"/>
                </a:cxn>
              </a:cxnLst>
              <a:rect l="0" t="0" r="r" b="b"/>
              <a:pathLst>
                <a:path w="48" h="57">
                  <a:moveTo>
                    <a:pt x="45" y="40"/>
                  </a:moveTo>
                  <a:cubicBezTo>
                    <a:pt x="48" y="4"/>
                    <a:pt x="48" y="4"/>
                    <a:pt x="48" y="4"/>
                  </a:cubicBezTo>
                  <a:cubicBezTo>
                    <a:pt x="4" y="0"/>
                    <a:pt x="4" y="0"/>
                    <a:pt x="4" y="0"/>
                  </a:cubicBezTo>
                  <a:cubicBezTo>
                    <a:pt x="1" y="36"/>
                    <a:pt x="1" y="36"/>
                    <a:pt x="1" y="36"/>
                  </a:cubicBezTo>
                  <a:cubicBezTo>
                    <a:pt x="0" y="45"/>
                    <a:pt x="5" y="54"/>
                    <a:pt x="21" y="55"/>
                  </a:cubicBezTo>
                  <a:cubicBezTo>
                    <a:pt x="37" y="57"/>
                    <a:pt x="44" y="48"/>
                    <a:pt x="45" y="40"/>
                  </a:cubicBez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811" name="Freeform 176"/>
            <p:cNvSpPr>
              <a:spLocks/>
            </p:cNvSpPr>
            <p:nvPr/>
          </p:nvSpPr>
          <p:spPr bwMode="auto">
            <a:xfrm>
              <a:off x="3430668" y="3614860"/>
              <a:ext cx="129614" cy="118093"/>
            </a:xfrm>
            <a:custGeom>
              <a:avLst/>
              <a:gdLst>
                <a:gd name="T0" fmla="*/ 0 w 48"/>
                <a:gd name="T1" fmla="*/ 9 h 44"/>
                <a:gd name="T2" fmla="*/ 45 w 48"/>
                <a:gd name="T3" fmla="*/ 44 h 44"/>
                <a:gd name="T4" fmla="*/ 48 w 48"/>
                <a:gd name="T5" fmla="*/ 10 h 44"/>
                <a:gd name="T6" fmla="*/ 0 w 48"/>
                <a:gd name="T7" fmla="*/ 0 h 44"/>
                <a:gd name="T8" fmla="*/ 0 w 48"/>
                <a:gd name="T9" fmla="*/ 9 h 44"/>
              </a:gdLst>
              <a:ahLst/>
              <a:cxnLst>
                <a:cxn ang="0">
                  <a:pos x="T0" y="T1"/>
                </a:cxn>
                <a:cxn ang="0">
                  <a:pos x="T2" y="T3"/>
                </a:cxn>
                <a:cxn ang="0">
                  <a:pos x="T4" y="T5"/>
                </a:cxn>
                <a:cxn ang="0">
                  <a:pos x="T6" y="T7"/>
                </a:cxn>
                <a:cxn ang="0">
                  <a:pos x="T8" y="T9"/>
                </a:cxn>
              </a:cxnLst>
              <a:rect l="0" t="0" r="r" b="b"/>
              <a:pathLst>
                <a:path w="48" h="44">
                  <a:moveTo>
                    <a:pt x="0" y="9"/>
                  </a:moveTo>
                  <a:cubicBezTo>
                    <a:pt x="12" y="27"/>
                    <a:pt x="24" y="36"/>
                    <a:pt x="45" y="44"/>
                  </a:cubicBezTo>
                  <a:cubicBezTo>
                    <a:pt x="48" y="10"/>
                    <a:pt x="48" y="10"/>
                    <a:pt x="48" y="10"/>
                  </a:cubicBezTo>
                  <a:cubicBezTo>
                    <a:pt x="0" y="0"/>
                    <a:pt x="0" y="0"/>
                    <a:pt x="0" y="0"/>
                  </a:cubicBezTo>
                  <a:lnTo>
                    <a:pt x="0" y="9"/>
                  </a:lnTo>
                  <a:close/>
                </a:path>
              </a:pathLst>
            </a:custGeom>
            <a:solidFill>
              <a:srgbClr val="BA8C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812" name="Freeform 177"/>
            <p:cNvSpPr>
              <a:spLocks/>
            </p:cNvSpPr>
            <p:nvPr/>
          </p:nvSpPr>
          <p:spPr bwMode="auto">
            <a:xfrm>
              <a:off x="3347141" y="3442040"/>
              <a:ext cx="276510" cy="299555"/>
            </a:xfrm>
            <a:custGeom>
              <a:avLst/>
              <a:gdLst>
                <a:gd name="T0" fmla="*/ 101 w 103"/>
                <a:gd name="T1" fmla="*/ 70 h 112"/>
                <a:gd name="T2" fmla="*/ 91 w 103"/>
                <a:gd name="T3" fmla="*/ 48 h 112"/>
                <a:gd name="T4" fmla="*/ 92 w 103"/>
                <a:gd name="T5" fmla="*/ 45 h 112"/>
                <a:gd name="T6" fmla="*/ 97 w 103"/>
                <a:gd name="T7" fmla="*/ 43 h 112"/>
                <a:gd name="T8" fmla="*/ 98 w 103"/>
                <a:gd name="T9" fmla="*/ 39 h 112"/>
                <a:gd name="T10" fmla="*/ 87 w 103"/>
                <a:gd name="T11" fmla="*/ 25 h 112"/>
                <a:gd name="T12" fmla="*/ 84 w 103"/>
                <a:gd name="T13" fmla="*/ 21 h 112"/>
                <a:gd name="T14" fmla="*/ 75 w 103"/>
                <a:gd name="T15" fmla="*/ 0 h 112"/>
                <a:gd name="T16" fmla="*/ 6 w 103"/>
                <a:gd name="T17" fmla="*/ 15 h 112"/>
                <a:gd name="T18" fmla="*/ 8 w 103"/>
                <a:gd name="T19" fmla="*/ 25 h 112"/>
                <a:gd name="T20" fmla="*/ 0 w 103"/>
                <a:gd name="T21" fmla="*/ 27 h 112"/>
                <a:gd name="T22" fmla="*/ 98 w 103"/>
                <a:gd name="T23" fmla="*/ 77 h 112"/>
                <a:gd name="T24" fmla="*/ 101 w 103"/>
                <a:gd name="T25" fmla="*/ 70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3" h="112">
                  <a:moveTo>
                    <a:pt x="101" y="70"/>
                  </a:moveTo>
                  <a:cubicBezTo>
                    <a:pt x="95" y="64"/>
                    <a:pt x="91" y="48"/>
                    <a:pt x="91" y="48"/>
                  </a:cubicBezTo>
                  <a:cubicBezTo>
                    <a:pt x="90" y="46"/>
                    <a:pt x="91" y="45"/>
                    <a:pt x="92" y="45"/>
                  </a:cubicBezTo>
                  <a:cubicBezTo>
                    <a:pt x="97" y="43"/>
                    <a:pt x="97" y="43"/>
                    <a:pt x="97" y="43"/>
                  </a:cubicBezTo>
                  <a:cubicBezTo>
                    <a:pt x="98" y="42"/>
                    <a:pt x="99" y="40"/>
                    <a:pt x="98" y="39"/>
                  </a:cubicBezTo>
                  <a:cubicBezTo>
                    <a:pt x="87" y="25"/>
                    <a:pt x="87" y="25"/>
                    <a:pt x="87" y="25"/>
                  </a:cubicBezTo>
                  <a:cubicBezTo>
                    <a:pt x="86" y="24"/>
                    <a:pt x="85" y="23"/>
                    <a:pt x="84" y="21"/>
                  </a:cubicBezTo>
                  <a:cubicBezTo>
                    <a:pt x="75" y="0"/>
                    <a:pt x="75" y="0"/>
                    <a:pt x="75" y="0"/>
                  </a:cubicBezTo>
                  <a:cubicBezTo>
                    <a:pt x="6" y="15"/>
                    <a:pt x="6" y="15"/>
                    <a:pt x="6" y="15"/>
                  </a:cubicBezTo>
                  <a:cubicBezTo>
                    <a:pt x="8" y="25"/>
                    <a:pt x="8" y="25"/>
                    <a:pt x="8" y="25"/>
                  </a:cubicBezTo>
                  <a:cubicBezTo>
                    <a:pt x="0" y="27"/>
                    <a:pt x="0" y="27"/>
                    <a:pt x="0" y="27"/>
                  </a:cubicBezTo>
                  <a:cubicBezTo>
                    <a:pt x="0" y="27"/>
                    <a:pt x="2" y="112"/>
                    <a:pt x="98" y="77"/>
                  </a:cubicBezTo>
                  <a:cubicBezTo>
                    <a:pt x="101" y="76"/>
                    <a:pt x="103" y="73"/>
                    <a:pt x="101" y="70"/>
                  </a:cubicBez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813" name="Freeform 178"/>
            <p:cNvSpPr>
              <a:spLocks/>
            </p:cNvSpPr>
            <p:nvPr/>
          </p:nvSpPr>
          <p:spPr bwMode="auto">
            <a:xfrm>
              <a:off x="3329858" y="3372914"/>
              <a:ext cx="241946" cy="288033"/>
            </a:xfrm>
            <a:custGeom>
              <a:avLst/>
              <a:gdLst>
                <a:gd name="T0" fmla="*/ 16 w 90"/>
                <a:gd name="T1" fmla="*/ 24 h 108"/>
                <a:gd name="T2" fmla="*/ 63 w 90"/>
                <a:gd name="T3" fmla="*/ 2 h 108"/>
                <a:gd name="T4" fmla="*/ 87 w 90"/>
                <a:gd name="T5" fmla="*/ 13 h 108"/>
                <a:gd name="T6" fmla="*/ 67 w 90"/>
                <a:gd name="T7" fmla="*/ 32 h 108"/>
                <a:gd name="T8" fmla="*/ 57 w 90"/>
                <a:gd name="T9" fmla="*/ 34 h 108"/>
                <a:gd name="T10" fmla="*/ 53 w 90"/>
                <a:gd name="T11" fmla="*/ 43 h 108"/>
                <a:gd name="T12" fmla="*/ 63 w 90"/>
                <a:gd name="T13" fmla="*/ 64 h 108"/>
                <a:gd name="T14" fmla="*/ 58 w 90"/>
                <a:gd name="T15" fmla="*/ 67 h 108"/>
                <a:gd name="T16" fmla="*/ 55 w 90"/>
                <a:gd name="T17" fmla="*/ 67 h 108"/>
                <a:gd name="T18" fmla="*/ 39 w 90"/>
                <a:gd name="T19" fmla="*/ 60 h 108"/>
                <a:gd name="T20" fmla="*/ 39 w 90"/>
                <a:gd name="T21" fmla="*/ 76 h 108"/>
                <a:gd name="T22" fmla="*/ 49 w 90"/>
                <a:gd name="T23" fmla="*/ 85 h 108"/>
                <a:gd name="T24" fmla="*/ 41 w 90"/>
                <a:gd name="T25" fmla="*/ 108 h 108"/>
                <a:gd name="T26" fmla="*/ 8 w 90"/>
                <a:gd name="T27" fmla="*/ 78 h 108"/>
                <a:gd name="T28" fmla="*/ 9 w 90"/>
                <a:gd name="T29" fmla="*/ 33 h 108"/>
                <a:gd name="T30" fmla="*/ 16 w 90"/>
                <a:gd name="T31" fmla="*/ 24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0" h="108">
                  <a:moveTo>
                    <a:pt x="16" y="24"/>
                  </a:moveTo>
                  <a:cubicBezTo>
                    <a:pt x="26" y="15"/>
                    <a:pt x="44" y="6"/>
                    <a:pt x="63" y="2"/>
                  </a:cubicBezTo>
                  <a:cubicBezTo>
                    <a:pt x="74" y="0"/>
                    <a:pt x="85" y="2"/>
                    <a:pt x="87" y="13"/>
                  </a:cubicBezTo>
                  <a:cubicBezTo>
                    <a:pt x="90" y="28"/>
                    <a:pt x="74" y="31"/>
                    <a:pt x="67" y="32"/>
                  </a:cubicBezTo>
                  <a:cubicBezTo>
                    <a:pt x="57" y="34"/>
                    <a:pt x="57" y="34"/>
                    <a:pt x="57" y="34"/>
                  </a:cubicBezTo>
                  <a:cubicBezTo>
                    <a:pt x="54" y="35"/>
                    <a:pt x="51" y="39"/>
                    <a:pt x="53" y="43"/>
                  </a:cubicBezTo>
                  <a:cubicBezTo>
                    <a:pt x="63" y="64"/>
                    <a:pt x="63" y="64"/>
                    <a:pt x="63" y="64"/>
                  </a:cubicBezTo>
                  <a:cubicBezTo>
                    <a:pt x="58" y="67"/>
                    <a:pt x="58" y="67"/>
                    <a:pt x="58" y="67"/>
                  </a:cubicBezTo>
                  <a:cubicBezTo>
                    <a:pt x="57" y="68"/>
                    <a:pt x="56" y="68"/>
                    <a:pt x="55" y="67"/>
                  </a:cubicBezTo>
                  <a:cubicBezTo>
                    <a:pt x="52" y="63"/>
                    <a:pt x="46" y="56"/>
                    <a:pt x="39" y="60"/>
                  </a:cubicBezTo>
                  <a:cubicBezTo>
                    <a:pt x="32" y="65"/>
                    <a:pt x="35" y="72"/>
                    <a:pt x="39" y="76"/>
                  </a:cubicBezTo>
                  <a:cubicBezTo>
                    <a:pt x="43" y="79"/>
                    <a:pt x="48" y="80"/>
                    <a:pt x="49" y="85"/>
                  </a:cubicBezTo>
                  <a:cubicBezTo>
                    <a:pt x="50" y="87"/>
                    <a:pt x="55" y="101"/>
                    <a:pt x="41" y="108"/>
                  </a:cubicBezTo>
                  <a:cubicBezTo>
                    <a:pt x="23" y="102"/>
                    <a:pt x="13" y="89"/>
                    <a:pt x="8" y="78"/>
                  </a:cubicBezTo>
                  <a:cubicBezTo>
                    <a:pt x="0" y="64"/>
                    <a:pt x="1" y="47"/>
                    <a:pt x="9" y="33"/>
                  </a:cubicBezTo>
                  <a:cubicBezTo>
                    <a:pt x="11" y="29"/>
                    <a:pt x="13" y="26"/>
                    <a:pt x="16" y="24"/>
                  </a:cubicBezTo>
                  <a:close/>
                </a:path>
              </a:pathLst>
            </a:custGeom>
            <a:solidFill>
              <a:srgbClr val="301D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814" name="Freeform 179"/>
            <p:cNvSpPr>
              <a:spLocks/>
            </p:cNvSpPr>
            <p:nvPr/>
          </p:nvSpPr>
          <p:spPr bwMode="auto">
            <a:xfrm>
              <a:off x="3540121" y="3508287"/>
              <a:ext cx="17283" cy="17283"/>
            </a:xfrm>
            <a:custGeom>
              <a:avLst/>
              <a:gdLst>
                <a:gd name="T0" fmla="*/ 7 w 7"/>
                <a:gd name="T1" fmla="*/ 2 h 6"/>
                <a:gd name="T2" fmla="*/ 4 w 7"/>
                <a:gd name="T3" fmla="*/ 6 h 6"/>
                <a:gd name="T4" fmla="*/ 1 w 7"/>
                <a:gd name="T5" fmla="*/ 3 h 6"/>
                <a:gd name="T6" fmla="*/ 3 w 7"/>
                <a:gd name="T7" fmla="*/ 0 h 6"/>
                <a:gd name="T8" fmla="*/ 7 w 7"/>
                <a:gd name="T9" fmla="*/ 2 h 6"/>
              </a:gdLst>
              <a:ahLst/>
              <a:cxnLst>
                <a:cxn ang="0">
                  <a:pos x="T0" y="T1"/>
                </a:cxn>
                <a:cxn ang="0">
                  <a:pos x="T2" y="T3"/>
                </a:cxn>
                <a:cxn ang="0">
                  <a:pos x="T4" y="T5"/>
                </a:cxn>
                <a:cxn ang="0">
                  <a:pos x="T6" y="T7"/>
                </a:cxn>
                <a:cxn ang="0">
                  <a:pos x="T8" y="T9"/>
                </a:cxn>
              </a:cxnLst>
              <a:rect l="0" t="0" r="r" b="b"/>
              <a:pathLst>
                <a:path w="7" h="6">
                  <a:moveTo>
                    <a:pt x="7" y="2"/>
                  </a:moveTo>
                  <a:cubicBezTo>
                    <a:pt x="7" y="4"/>
                    <a:pt x="6" y="5"/>
                    <a:pt x="4" y="6"/>
                  </a:cubicBezTo>
                  <a:cubicBezTo>
                    <a:pt x="3" y="6"/>
                    <a:pt x="1" y="5"/>
                    <a:pt x="1" y="3"/>
                  </a:cubicBezTo>
                  <a:cubicBezTo>
                    <a:pt x="0" y="2"/>
                    <a:pt x="1" y="0"/>
                    <a:pt x="3" y="0"/>
                  </a:cubicBezTo>
                  <a:cubicBezTo>
                    <a:pt x="5" y="0"/>
                    <a:pt x="6" y="1"/>
                    <a:pt x="7" y="2"/>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815" name="Freeform 180"/>
            <p:cNvSpPr>
              <a:spLocks/>
            </p:cNvSpPr>
            <p:nvPr/>
          </p:nvSpPr>
          <p:spPr bwMode="auto">
            <a:xfrm>
              <a:off x="3470992" y="3735832"/>
              <a:ext cx="112332" cy="429166"/>
            </a:xfrm>
            <a:custGeom>
              <a:avLst/>
              <a:gdLst>
                <a:gd name="T0" fmla="*/ 7 w 39"/>
                <a:gd name="T1" fmla="*/ 14 h 149"/>
                <a:gd name="T2" fmla="*/ 0 w 39"/>
                <a:gd name="T3" fmla="*/ 149 h 149"/>
                <a:gd name="T4" fmla="*/ 21 w 39"/>
                <a:gd name="T5" fmla="*/ 65 h 149"/>
                <a:gd name="T6" fmla="*/ 39 w 39"/>
                <a:gd name="T7" fmla="*/ 6 h 149"/>
                <a:gd name="T8" fmla="*/ 37 w 39"/>
                <a:gd name="T9" fmla="*/ 0 h 149"/>
                <a:gd name="T10" fmla="*/ 7 w 39"/>
                <a:gd name="T11" fmla="*/ 14 h 149"/>
              </a:gdLst>
              <a:ahLst/>
              <a:cxnLst>
                <a:cxn ang="0">
                  <a:pos x="T0" y="T1"/>
                </a:cxn>
                <a:cxn ang="0">
                  <a:pos x="T2" y="T3"/>
                </a:cxn>
                <a:cxn ang="0">
                  <a:pos x="T4" y="T5"/>
                </a:cxn>
                <a:cxn ang="0">
                  <a:pos x="T6" y="T7"/>
                </a:cxn>
                <a:cxn ang="0">
                  <a:pos x="T8" y="T9"/>
                </a:cxn>
                <a:cxn ang="0">
                  <a:pos x="T10" y="T11"/>
                </a:cxn>
              </a:cxnLst>
              <a:rect l="0" t="0" r="r" b="b"/>
              <a:pathLst>
                <a:path w="39" h="149">
                  <a:moveTo>
                    <a:pt x="7" y="14"/>
                  </a:moveTo>
                  <a:lnTo>
                    <a:pt x="0" y="149"/>
                  </a:lnTo>
                  <a:lnTo>
                    <a:pt x="21" y="65"/>
                  </a:lnTo>
                  <a:lnTo>
                    <a:pt x="39" y="6"/>
                  </a:lnTo>
                  <a:lnTo>
                    <a:pt x="37" y="0"/>
                  </a:lnTo>
                  <a:lnTo>
                    <a:pt x="7" y="14"/>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816" name="Freeform 181"/>
            <p:cNvSpPr>
              <a:spLocks/>
            </p:cNvSpPr>
            <p:nvPr/>
          </p:nvSpPr>
          <p:spPr bwMode="auto">
            <a:xfrm>
              <a:off x="3404745" y="3721433"/>
              <a:ext cx="86409" cy="443569"/>
            </a:xfrm>
            <a:custGeom>
              <a:avLst/>
              <a:gdLst>
                <a:gd name="T0" fmla="*/ 30 w 30"/>
                <a:gd name="T1" fmla="*/ 19 h 154"/>
                <a:gd name="T2" fmla="*/ 23 w 30"/>
                <a:gd name="T3" fmla="*/ 154 h 154"/>
                <a:gd name="T4" fmla="*/ 8 w 30"/>
                <a:gd name="T5" fmla="*/ 71 h 154"/>
                <a:gd name="T6" fmla="*/ 0 w 30"/>
                <a:gd name="T7" fmla="*/ 6 h 154"/>
                <a:gd name="T8" fmla="*/ 3 w 30"/>
                <a:gd name="T9" fmla="*/ 0 h 154"/>
                <a:gd name="T10" fmla="*/ 30 w 30"/>
                <a:gd name="T11" fmla="*/ 19 h 154"/>
              </a:gdLst>
              <a:ahLst/>
              <a:cxnLst>
                <a:cxn ang="0">
                  <a:pos x="T0" y="T1"/>
                </a:cxn>
                <a:cxn ang="0">
                  <a:pos x="T2" y="T3"/>
                </a:cxn>
                <a:cxn ang="0">
                  <a:pos x="T4" y="T5"/>
                </a:cxn>
                <a:cxn ang="0">
                  <a:pos x="T6" y="T7"/>
                </a:cxn>
                <a:cxn ang="0">
                  <a:pos x="T8" y="T9"/>
                </a:cxn>
                <a:cxn ang="0">
                  <a:pos x="T10" y="T11"/>
                </a:cxn>
              </a:cxnLst>
              <a:rect l="0" t="0" r="r" b="b"/>
              <a:pathLst>
                <a:path w="30" h="154">
                  <a:moveTo>
                    <a:pt x="30" y="19"/>
                  </a:moveTo>
                  <a:lnTo>
                    <a:pt x="23" y="154"/>
                  </a:lnTo>
                  <a:lnTo>
                    <a:pt x="8" y="71"/>
                  </a:lnTo>
                  <a:lnTo>
                    <a:pt x="0" y="6"/>
                  </a:lnTo>
                  <a:lnTo>
                    <a:pt x="3" y="0"/>
                  </a:lnTo>
                  <a:lnTo>
                    <a:pt x="30" y="1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817" name="Freeform 182"/>
            <p:cNvSpPr>
              <a:spLocks/>
            </p:cNvSpPr>
            <p:nvPr/>
          </p:nvSpPr>
          <p:spPr bwMode="auto">
            <a:xfrm>
              <a:off x="3413385" y="3698390"/>
              <a:ext cx="77769" cy="109452"/>
            </a:xfrm>
            <a:custGeom>
              <a:avLst/>
              <a:gdLst>
                <a:gd name="T0" fmla="*/ 27 w 27"/>
                <a:gd name="T1" fmla="*/ 27 h 38"/>
                <a:gd name="T2" fmla="*/ 7 w 27"/>
                <a:gd name="T3" fmla="*/ 0 h 38"/>
                <a:gd name="T4" fmla="*/ 0 w 27"/>
                <a:gd name="T5" fmla="*/ 8 h 38"/>
                <a:gd name="T6" fmla="*/ 4 w 27"/>
                <a:gd name="T7" fmla="*/ 38 h 38"/>
                <a:gd name="T8" fmla="*/ 21 w 27"/>
                <a:gd name="T9" fmla="*/ 23 h 38"/>
                <a:gd name="T10" fmla="*/ 27 w 27"/>
                <a:gd name="T11" fmla="*/ 27 h 38"/>
              </a:gdLst>
              <a:ahLst/>
              <a:cxnLst>
                <a:cxn ang="0">
                  <a:pos x="T0" y="T1"/>
                </a:cxn>
                <a:cxn ang="0">
                  <a:pos x="T2" y="T3"/>
                </a:cxn>
                <a:cxn ang="0">
                  <a:pos x="T4" y="T5"/>
                </a:cxn>
                <a:cxn ang="0">
                  <a:pos x="T6" y="T7"/>
                </a:cxn>
                <a:cxn ang="0">
                  <a:pos x="T8" y="T9"/>
                </a:cxn>
                <a:cxn ang="0">
                  <a:pos x="T10" y="T11"/>
                </a:cxn>
              </a:cxnLst>
              <a:rect l="0" t="0" r="r" b="b"/>
              <a:pathLst>
                <a:path w="27" h="38">
                  <a:moveTo>
                    <a:pt x="27" y="27"/>
                  </a:moveTo>
                  <a:lnTo>
                    <a:pt x="7" y="0"/>
                  </a:lnTo>
                  <a:lnTo>
                    <a:pt x="0" y="8"/>
                  </a:lnTo>
                  <a:lnTo>
                    <a:pt x="4" y="38"/>
                  </a:lnTo>
                  <a:lnTo>
                    <a:pt x="21" y="23"/>
                  </a:lnTo>
                  <a:lnTo>
                    <a:pt x="27" y="27"/>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818" name="Freeform 183"/>
            <p:cNvSpPr>
              <a:spLocks/>
            </p:cNvSpPr>
            <p:nvPr/>
          </p:nvSpPr>
          <p:spPr bwMode="auto">
            <a:xfrm>
              <a:off x="3491156" y="3709911"/>
              <a:ext cx="89288" cy="109452"/>
            </a:xfrm>
            <a:custGeom>
              <a:avLst/>
              <a:gdLst>
                <a:gd name="T0" fmla="*/ 0 w 31"/>
                <a:gd name="T1" fmla="*/ 23 h 38"/>
                <a:gd name="T2" fmla="*/ 24 w 31"/>
                <a:gd name="T3" fmla="*/ 0 h 38"/>
                <a:gd name="T4" fmla="*/ 31 w 31"/>
                <a:gd name="T5" fmla="*/ 9 h 38"/>
                <a:gd name="T6" fmla="*/ 20 w 31"/>
                <a:gd name="T7" fmla="*/ 38 h 38"/>
                <a:gd name="T8" fmla="*/ 6 w 31"/>
                <a:gd name="T9" fmla="*/ 20 h 38"/>
                <a:gd name="T10" fmla="*/ 0 w 31"/>
                <a:gd name="T11" fmla="*/ 23 h 38"/>
              </a:gdLst>
              <a:ahLst/>
              <a:cxnLst>
                <a:cxn ang="0">
                  <a:pos x="T0" y="T1"/>
                </a:cxn>
                <a:cxn ang="0">
                  <a:pos x="T2" y="T3"/>
                </a:cxn>
                <a:cxn ang="0">
                  <a:pos x="T4" y="T5"/>
                </a:cxn>
                <a:cxn ang="0">
                  <a:pos x="T6" y="T7"/>
                </a:cxn>
                <a:cxn ang="0">
                  <a:pos x="T8" y="T9"/>
                </a:cxn>
                <a:cxn ang="0">
                  <a:pos x="T10" y="T11"/>
                </a:cxn>
              </a:cxnLst>
              <a:rect l="0" t="0" r="r" b="b"/>
              <a:pathLst>
                <a:path w="31" h="38">
                  <a:moveTo>
                    <a:pt x="0" y="23"/>
                  </a:moveTo>
                  <a:lnTo>
                    <a:pt x="24" y="0"/>
                  </a:lnTo>
                  <a:lnTo>
                    <a:pt x="31" y="9"/>
                  </a:lnTo>
                  <a:lnTo>
                    <a:pt x="20" y="38"/>
                  </a:lnTo>
                  <a:lnTo>
                    <a:pt x="6" y="20"/>
                  </a:lnTo>
                  <a:lnTo>
                    <a:pt x="0" y="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819" name="Freeform 184"/>
            <p:cNvSpPr>
              <a:spLocks/>
            </p:cNvSpPr>
            <p:nvPr/>
          </p:nvSpPr>
          <p:spPr bwMode="auto">
            <a:xfrm>
              <a:off x="3468113" y="3764637"/>
              <a:ext cx="46085" cy="40326"/>
            </a:xfrm>
            <a:custGeom>
              <a:avLst/>
              <a:gdLst>
                <a:gd name="T0" fmla="*/ 2 w 16"/>
                <a:gd name="T1" fmla="*/ 0 h 14"/>
                <a:gd name="T2" fmla="*/ 0 w 16"/>
                <a:gd name="T3" fmla="*/ 2 h 14"/>
                <a:gd name="T4" fmla="*/ 4 w 16"/>
                <a:gd name="T5" fmla="*/ 14 h 14"/>
                <a:gd name="T6" fmla="*/ 10 w 16"/>
                <a:gd name="T7" fmla="*/ 14 h 14"/>
                <a:gd name="T8" fmla="*/ 16 w 16"/>
                <a:gd name="T9" fmla="*/ 4 h 14"/>
                <a:gd name="T10" fmla="*/ 14 w 16"/>
                <a:gd name="T11" fmla="*/ 2 h 14"/>
                <a:gd name="T12" fmla="*/ 2 w 16"/>
                <a:gd name="T13" fmla="*/ 0 h 14"/>
              </a:gdLst>
              <a:ahLst/>
              <a:cxnLst>
                <a:cxn ang="0">
                  <a:pos x="T0" y="T1"/>
                </a:cxn>
                <a:cxn ang="0">
                  <a:pos x="T2" y="T3"/>
                </a:cxn>
                <a:cxn ang="0">
                  <a:pos x="T4" y="T5"/>
                </a:cxn>
                <a:cxn ang="0">
                  <a:pos x="T6" y="T7"/>
                </a:cxn>
                <a:cxn ang="0">
                  <a:pos x="T8" y="T9"/>
                </a:cxn>
                <a:cxn ang="0">
                  <a:pos x="T10" y="T11"/>
                </a:cxn>
                <a:cxn ang="0">
                  <a:pos x="T12" y="T13"/>
                </a:cxn>
              </a:cxnLst>
              <a:rect l="0" t="0" r="r" b="b"/>
              <a:pathLst>
                <a:path w="16" h="14">
                  <a:moveTo>
                    <a:pt x="2" y="0"/>
                  </a:moveTo>
                  <a:lnTo>
                    <a:pt x="0" y="2"/>
                  </a:lnTo>
                  <a:lnTo>
                    <a:pt x="4" y="14"/>
                  </a:lnTo>
                  <a:lnTo>
                    <a:pt x="10" y="14"/>
                  </a:lnTo>
                  <a:lnTo>
                    <a:pt x="16" y="4"/>
                  </a:lnTo>
                  <a:lnTo>
                    <a:pt x="14" y="2"/>
                  </a:lnTo>
                  <a:lnTo>
                    <a:pt x="2" y="0"/>
                  </a:ln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820" name="Freeform 185"/>
            <p:cNvSpPr>
              <a:spLocks/>
            </p:cNvSpPr>
            <p:nvPr/>
          </p:nvSpPr>
          <p:spPr bwMode="auto">
            <a:xfrm>
              <a:off x="3456593" y="3804959"/>
              <a:ext cx="40326" cy="365802"/>
            </a:xfrm>
            <a:custGeom>
              <a:avLst/>
              <a:gdLst>
                <a:gd name="T0" fmla="*/ 8 w 14"/>
                <a:gd name="T1" fmla="*/ 0 h 127"/>
                <a:gd name="T2" fmla="*/ 0 w 14"/>
                <a:gd name="T3" fmla="*/ 106 h 127"/>
                <a:gd name="T4" fmla="*/ 5 w 14"/>
                <a:gd name="T5" fmla="*/ 127 h 127"/>
                <a:gd name="T6" fmla="*/ 12 w 14"/>
                <a:gd name="T7" fmla="*/ 115 h 127"/>
                <a:gd name="T8" fmla="*/ 14 w 14"/>
                <a:gd name="T9" fmla="*/ 0 h 127"/>
                <a:gd name="T10" fmla="*/ 8 w 14"/>
                <a:gd name="T11" fmla="*/ 0 h 127"/>
              </a:gdLst>
              <a:ahLst/>
              <a:cxnLst>
                <a:cxn ang="0">
                  <a:pos x="T0" y="T1"/>
                </a:cxn>
                <a:cxn ang="0">
                  <a:pos x="T2" y="T3"/>
                </a:cxn>
                <a:cxn ang="0">
                  <a:pos x="T4" y="T5"/>
                </a:cxn>
                <a:cxn ang="0">
                  <a:pos x="T6" y="T7"/>
                </a:cxn>
                <a:cxn ang="0">
                  <a:pos x="T8" y="T9"/>
                </a:cxn>
                <a:cxn ang="0">
                  <a:pos x="T10" y="T11"/>
                </a:cxn>
              </a:cxnLst>
              <a:rect l="0" t="0" r="r" b="b"/>
              <a:pathLst>
                <a:path w="14" h="127">
                  <a:moveTo>
                    <a:pt x="8" y="0"/>
                  </a:moveTo>
                  <a:lnTo>
                    <a:pt x="0" y="106"/>
                  </a:lnTo>
                  <a:lnTo>
                    <a:pt x="5" y="127"/>
                  </a:lnTo>
                  <a:lnTo>
                    <a:pt x="12" y="115"/>
                  </a:lnTo>
                  <a:lnTo>
                    <a:pt x="14" y="0"/>
                  </a:lnTo>
                  <a:lnTo>
                    <a:pt x="8" y="0"/>
                  </a:ln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821" name="Freeform 186"/>
            <p:cNvSpPr>
              <a:spLocks/>
            </p:cNvSpPr>
            <p:nvPr/>
          </p:nvSpPr>
          <p:spPr bwMode="auto">
            <a:xfrm>
              <a:off x="3468113" y="3735832"/>
              <a:ext cx="155535" cy="455091"/>
            </a:xfrm>
            <a:custGeom>
              <a:avLst/>
              <a:gdLst>
                <a:gd name="T0" fmla="*/ 58 w 58"/>
                <a:gd name="T1" fmla="*/ 15 h 171"/>
                <a:gd name="T2" fmla="*/ 50 w 58"/>
                <a:gd name="T3" fmla="*/ 24 h 171"/>
                <a:gd name="T4" fmla="*/ 55 w 58"/>
                <a:gd name="T5" fmla="*/ 27 h 171"/>
                <a:gd name="T6" fmla="*/ 0 w 58"/>
                <a:gd name="T7" fmla="*/ 171 h 171"/>
                <a:gd name="T8" fmla="*/ 2 w 58"/>
                <a:gd name="T9" fmla="*/ 157 h 171"/>
                <a:gd name="T10" fmla="*/ 40 w 58"/>
                <a:gd name="T11" fmla="*/ 0 h 171"/>
                <a:gd name="T12" fmla="*/ 58 w 58"/>
                <a:gd name="T13" fmla="*/ 15 h 171"/>
              </a:gdLst>
              <a:ahLst/>
              <a:cxnLst>
                <a:cxn ang="0">
                  <a:pos x="T0" y="T1"/>
                </a:cxn>
                <a:cxn ang="0">
                  <a:pos x="T2" y="T3"/>
                </a:cxn>
                <a:cxn ang="0">
                  <a:pos x="T4" y="T5"/>
                </a:cxn>
                <a:cxn ang="0">
                  <a:pos x="T6" y="T7"/>
                </a:cxn>
                <a:cxn ang="0">
                  <a:pos x="T8" y="T9"/>
                </a:cxn>
                <a:cxn ang="0">
                  <a:pos x="T10" y="T11"/>
                </a:cxn>
                <a:cxn ang="0">
                  <a:pos x="T12" y="T13"/>
                </a:cxn>
              </a:cxnLst>
              <a:rect l="0" t="0" r="r" b="b"/>
              <a:pathLst>
                <a:path w="58" h="171">
                  <a:moveTo>
                    <a:pt x="58" y="15"/>
                  </a:moveTo>
                  <a:cubicBezTo>
                    <a:pt x="50" y="24"/>
                    <a:pt x="50" y="24"/>
                    <a:pt x="50" y="24"/>
                  </a:cubicBezTo>
                  <a:cubicBezTo>
                    <a:pt x="55" y="27"/>
                    <a:pt x="55" y="27"/>
                    <a:pt x="55" y="27"/>
                  </a:cubicBezTo>
                  <a:cubicBezTo>
                    <a:pt x="38" y="69"/>
                    <a:pt x="0" y="171"/>
                    <a:pt x="0" y="171"/>
                  </a:cubicBezTo>
                  <a:cubicBezTo>
                    <a:pt x="2" y="157"/>
                    <a:pt x="2" y="157"/>
                    <a:pt x="2" y="157"/>
                  </a:cubicBezTo>
                  <a:cubicBezTo>
                    <a:pt x="13" y="120"/>
                    <a:pt x="40" y="0"/>
                    <a:pt x="40" y="0"/>
                  </a:cubicBezTo>
                  <a:lnTo>
                    <a:pt x="58" y="15"/>
                  </a:lnTo>
                  <a:close/>
                </a:path>
              </a:pathLst>
            </a:custGeom>
            <a:solidFill>
              <a:srgbClr val="0011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822" name="Freeform 187"/>
            <p:cNvSpPr>
              <a:spLocks/>
            </p:cNvSpPr>
            <p:nvPr/>
          </p:nvSpPr>
          <p:spPr bwMode="auto">
            <a:xfrm>
              <a:off x="3358658" y="3718552"/>
              <a:ext cx="115213" cy="472373"/>
            </a:xfrm>
            <a:custGeom>
              <a:avLst/>
              <a:gdLst>
                <a:gd name="T0" fmla="*/ 0 w 43"/>
                <a:gd name="T1" fmla="*/ 13 h 177"/>
                <a:gd name="T2" fmla="*/ 7 w 43"/>
                <a:gd name="T3" fmla="*/ 22 h 177"/>
                <a:gd name="T4" fmla="*/ 1 w 43"/>
                <a:gd name="T5" fmla="*/ 25 h 177"/>
                <a:gd name="T6" fmla="*/ 41 w 43"/>
                <a:gd name="T7" fmla="*/ 177 h 177"/>
                <a:gd name="T8" fmla="*/ 43 w 43"/>
                <a:gd name="T9" fmla="*/ 163 h 177"/>
                <a:gd name="T10" fmla="*/ 20 w 43"/>
                <a:gd name="T11" fmla="*/ 0 h 177"/>
                <a:gd name="T12" fmla="*/ 0 w 43"/>
                <a:gd name="T13" fmla="*/ 13 h 177"/>
              </a:gdLst>
              <a:ahLst/>
              <a:cxnLst>
                <a:cxn ang="0">
                  <a:pos x="T0" y="T1"/>
                </a:cxn>
                <a:cxn ang="0">
                  <a:pos x="T2" y="T3"/>
                </a:cxn>
                <a:cxn ang="0">
                  <a:pos x="T4" y="T5"/>
                </a:cxn>
                <a:cxn ang="0">
                  <a:pos x="T6" y="T7"/>
                </a:cxn>
                <a:cxn ang="0">
                  <a:pos x="T8" y="T9"/>
                </a:cxn>
                <a:cxn ang="0">
                  <a:pos x="T10" y="T11"/>
                </a:cxn>
                <a:cxn ang="0">
                  <a:pos x="T12" y="T13"/>
                </a:cxn>
              </a:cxnLst>
              <a:rect l="0" t="0" r="r" b="b"/>
              <a:pathLst>
                <a:path w="43" h="177">
                  <a:moveTo>
                    <a:pt x="0" y="13"/>
                  </a:moveTo>
                  <a:cubicBezTo>
                    <a:pt x="7" y="22"/>
                    <a:pt x="7" y="22"/>
                    <a:pt x="7" y="22"/>
                  </a:cubicBezTo>
                  <a:cubicBezTo>
                    <a:pt x="1" y="25"/>
                    <a:pt x="1" y="25"/>
                    <a:pt x="1" y="25"/>
                  </a:cubicBezTo>
                  <a:cubicBezTo>
                    <a:pt x="11" y="69"/>
                    <a:pt x="41" y="177"/>
                    <a:pt x="41" y="177"/>
                  </a:cubicBezTo>
                  <a:cubicBezTo>
                    <a:pt x="43" y="163"/>
                    <a:pt x="43" y="163"/>
                    <a:pt x="43" y="163"/>
                  </a:cubicBezTo>
                  <a:cubicBezTo>
                    <a:pt x="38" y="125"/>
                    <a:pt x="20" y="0"/>
                    <a:pt x="20" y="0"/>
                  </a:cubicBezTo>
                  <a:lnTo>
                    <a:pt x="0" y="13"/>
                  </a:lnTo>
                  <a:close/>
                </a:path>
              </a:pathLst>
            </a:custGeom>
            <a:solidFill>
              <a:srgbClr val="0011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823" name="Freeform 188"/>
            <p:cNvSpPr>
              <a:spLocks/>
            </p:cNvSpPr>
            <p:nvPr/>
          </p:nvSpPr>
          <p:spPr bwMode="auto">
            <a:xfrm>
              <a:off x="3260732" y="4340701"/>
              <a:ext cx="365802" cy="132494"/>
            </a:xfrm>
            <a:custGeom>
              <a:avLst/>
              <a:gdLst>
                <a:gd name="T0" fmla="*/ 0 w 127"/>
                <a:gd name="T1" fmla="*/ 29 h 46"/>
                <a:gd name="T2" fmla="*/ 60 w 127"/>
                <a:gd name="T3" fmla="*/ 35 h 46"/>
                <a:gd name="T4" fmla="*/ 68 w 127"/>
                <a:gd name="T5" fmla="*/ 0 h 46"/>
                <a:gd name="T6" fmla="*/ 66 w 127"/>
                <a:gd name="T7" fmla="*/ 35 h 46"/>
                <a:gd name="T8" fmla="*/ 127 w 127"/>
                <a:gd name="T9" fmla="*/ 40 h 46"/>
                <a:gd name="T10" fmla="*/ 127 w 127"/>
                <a:gd name="T11" fmla="*/ 45 h 46"/>
                <a:gd name="T12" fmla="*/ 66 w 127"/>
                <a:gd name="T13" fmla="*/ 43 h 46"/>
                <a:gd name="T14" fmla="*/ 62 w 127"/>
                <a:gd name="T15" fmla="*/ 35 h 46"/>
                <a:gd name="T16" fmla="*/ 58 w 127"/>
                <a:gd name="T17" fmla="*/ 43 h 46"/>
                <a:gd name="T18" fmla="*/ 0 w 127"/>
                <a:gd name="T19" fmla="*/ 46 h 46"/>
                <a:gd name="T20" fmla="*/ 0 w 127"/>
                <a:gd name="T21" fmla="*/ 29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7" h="46">
                  <a:moveTo>
                    <a:pt x="0" y="29"/>
                  </a:moveTo>
                  <a:lnTo>
                    <a:pt x="60" y="35"/>
                  </a:lnTo>
                  <a:lnTo>
                    <a:pt x="68" y="0"/>
                  </a:lnTo>
                  <a:lnTo>
                    <a:pt x="66" y="35"/>
                  </a:lnTo>
                  <a:lnTo>
                    <a:pt x="127" y="40"/>
                  </a:lnTo>
                  <a:lnTo>
                    <a:pt x="127" y="45"/>
                  </a:lnTo>
                  <a:lnTo>
                    <a:pt x="66" y="43"/>
                  </a:lnTo>
                  <a:lnTo>
                    <a:pt x="62" y="35"/>
                  </a:lnTo>
                  <a:lnTo>
                    <a:pt x="58" y="43"/>
                  </a:lnTo>
                  <a:lnTo>
                    <a:pt x="0" y="46"/>
                  </a:lnTo>
                  <a:lnTo>
                    <a:pt x="0" y="29"/>
                  </a:lnTo>
                  <a:close/>
                </a:path>
              </a:pathLst>
            </a:custGeom>
            <a:solidFill>
              <a:srgbClr val="0011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824" name="Freeform 189"/>
            <p:cNvSpPr>
              <a:spLocks/>
            </p:cNvSpPr>
            <p:nvPr/>
          </p:nvSpPr>
          <p:spPr bwMode="auto">
            <a:xfrm>
              <a:off x="3465231" y="4176524"/>
              <a:ext cx="14403" cy="17283"/>
            </a:xfrm>
            <a:custGeom>
              <a:avLst/>
              <a:gdLst>
                <a:gd name="T0" fmla="*/ 6 w 6"/>
                <a:gd name="T1" fmla="*/ 4 h 7"/>
                <a:gd name="T2" fmla="*/ 3 w 6"/>
                <a:gd name="T3" fmla="*/ 7 h 7"/>
                <a:gd name="T4" fmla="*/ 0 w 6"/>
                <a:gd name="T5" fmla="*/ 3 h 7"/>
                <a:gd name="T6" fmla="*/ 3 w 6"/>
                <a:gd name="T7" fmla="*/ 1 h 7"/>
                <a:gd name="T8" fmla="*/ 6 w 6"/>
                <a:gd name="T9" fmla="*/ 4 h 7"/>
              </a:gdLst>
              <a:ahLst/>
              <a:cxnLst>
                <a:cxn ang="0">
                  <a:pos x="T0" y="T1"/>
                </a:cxn>
                <a:cxn ang="0">
                  <a:pos x="T2" y="T3"/>
                </a:cxn>
                <a:cxn ang="0">
                  <a:pos x="T4" y="T5"/>
                </a:cxn>
                <a:cxn ang="0">
                  <a:pos x="T6" y="T7"/>
                </a:cxn>
                <a:cxn ang="0">
                  <a:pos x="T8" y="T9"/>
                </a:cxn>
              </a:cxnLst>
              <a:rect l="0" t="0" r="r" b="b"/>
              <a:pathLst>
                <a:path w="6" h="7">
                  <a:moveTo>
                    <a:pt x="6" y="4"/>
                  </a:moveTo>
                  <a:cubicBezTo>
                    <a:pt x="6" y="6"/>
                    <a:pt x="5" y="7"/>
                    <a:pt x="3" y="7"/>
                  </a:cubicBezTo>
                  <a:cubicBezTo>
                    <a:pt x="1" y="7"/>
                    <a:pt x="0" y="5"/>
                    <a:pt x="0" y="3"/>
                  </a:cubicBezTo>
                  <a:cubicBezTo>
                    <a:pt x="0" y="2"/>
                    <a:pt x="2" y="0"/>
                    <a:pt x="3" y="1"/>
                  </a:cubicBezTo>
                  <a:cubicBezTo>
                    <a:pt x="5" y="1"/>
                    <a:pt x="6" y="2"/>
                    <a:pt x="6" y="4"/>
                  </a:cubicBez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825" name="Freeform 190"/>
            <p:cNvSpPr>
              <a:spLocks/>
            </p:cNvSpPr>
            <p:nvPr/>
          </p:nvSpPr>
          <p:spPr bwMode="auto">
            <a:xfrm>
              <a:off x="3453710" y="4291735"/>
              <a:ext cx="17283" cy="14403"/>
            </a:xfrm>
            <a:custGeom>
              <a:avLst/>
              <a:gdLst>
                <a:gd name="T0" fmla="*/ 7 w 7"/>
                <a:gd name="T1" fmla="*/ 3 h 6"/>
                <a:gd name="T2" fmla="*/ 3 w 7"/>
                <a:gd name="T3" fmla="*/ 6 h 6"/>
                <a:gd name="T4" fmla="*/ 0 w 7"/>
                <a:gd name="T5" fmla="*/ 3 h 6"/>
                <a:gd name="T6" fmla="*/ 4 w 7"/>
                <a:gd name="T7" fmla="*/ 0 h 6"/>
                <a:gd name="T8" fmla="*/ 7 w 7"/>
                <a:gd name="T9" fmla="*/ 3 h 6"/>
              </a:gdLst>
              <a:ahLst/>
              <a:cxnLst>
                <a:cxn ang="0">
                  <a:pos x="T0" y="T1"/>
                </a:cxn>
                <a:cxn ang="0">
                  <a:pos x="T2" y="T3"/>
                </a:cxn>
                <a:cxn ang="0">
                  <a:pos x="T4" y="T5"/>
                </a:cxn>
                <a:cxn ang="0">
                  <a:pos x="T6" y="T7"/>
                </a:cxn>
                <a:cxn ang="0">
                  <a:pos x="T8" y="T9"/>
                </a:cxn>
              </a:cxnLst>
              <a:rect l="0" t="0" r="r" b="b"/>
              <a:pathLst>
                <a:path w="7" h="6">
                  <a:moveTo>
                    <a:pt x="7" y="3"/>
                  </a:moveTo>
                  <a:cubicBezTo>
                    <a:pt x="7" y="5"/>
                    <a:pt x="5" y="6"/>
                    <a:pt x="3" y="6"/>
                  </a:cubicBezTo>
                  <a:cubicBezTo>
                    <a:pt x="2" y="6"/>
                    <a:pt x="0" y="4"/>
                    <a:pt x="0" y="3"/>
                  </a:cubicBezTo>
                  <a:cubicBezTo>
                    <a:pt x="1" y="1"/>
                    <a:pt x="2" y="0"/>
                    <a:pt x="4" y="0"/>
                  </a:cubicBezTo>
                  <a:cubicBezTo>
                    <a:pt x="6" y="0"/>
                    <a:pt x="7" y="2"/>
                    <a:pt x="7" y="3"/>
                  </a:cubicBez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826" name="Freeform 191"/>
            <p:cNvSpPr>
              <a:spLocks/>
            </p:cNvSpPr>
            <p:nvPr/>
          </p:nvSpPr>
          <p:spPr bwMode="auto">
            <a:xfrm>
              <a:off x="3545881" y="3591819"/>
              <a:ext cx="63368" cy="31684"/>
            </a:xfrm>
            <a:custGeom>
              <a:avLst/>
              <a:gdLst>
                <a:gd name="T0" fmla="*/ 19 w 23"/>
                <a:gd name="T1" fmla="*/ 0 h 12"/>
                <a:gd name="T2" fmla="*/ 0 w 23"/>
                <a:gd name="T3" fmla="*/ 8 h 12"/>
                <a:gd name="T4" fmla="*/ 23 w 23"/>
                <a:gd name="T5" fmla="*/ 8 h 12"/>
                <a:gd name="T6" fmla="*/ 19 w 23"/>
                <a:gd name="T7" fmla="*/ 0 h 12"/>
              </a:gdLst>
              <a:ahLst/>
              <a:cxnLst>
                <a:cxn ang="0">
                  <a:pos x="T0" y="T1"/>
                </a:cxn>
                <a:cxn ang="0">
                  <a:pos x="T2" y="T3"/>
                </a:cxn>
                <a:cxn ang="0">
                  <a:pos x="T4" y="T5"/>
                </a:cxn>
                <a:cxn ang="0">
                  <a:pos x="T6" y="T7"/>
                </a:cxn>
              </a:cxnLst>
              <a:rect l="0" t="0" r="r" b="b"/>
              <a:pathLst>
                <a:path w="23" h="12">
                  <a:moveTo>
                    <a:pt x="19" y="0"/>
                  </a:moveTo>
                  <a:cubicBezTo>
                    <a:pt x="0" y="8"/>
                    <a:pt x="0" y="8"/>
                    <a:pt x="0" y="8"/>
                  </a:cubicBezTo>
                  <a:cubicBezTo>
                    <a:pt x="0" y="8"/>
                    <a:pt x="10" y="12"/>
                    <a:pt x="23" y="8"/>
                  </a:cubicBezTo>
                  <a:lnTo>
                    <a:pt x="19" y="0"/>
                  </a:lnTo>
                  <a:close/>
                </a:path>
              </a:pathLst>
            </a:custGeom>
            <a:solidFill>
              <a:srgbClr val="CB8C8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827" name="Freeform 192"/>
            <p:cNvSpPr>
              <a:spLocks/>
            </p:cNvSpPr>
            <p:nvPr/>
          </p:nvSpPr>
          <p:spPr bwMode="auto">
            <a:xfrm>
              <a:off x="3545881" y="3591819"/>
              <a:ext cx="60488" cy="28804"/>
            </a:xfrm>
            <a:custGeom>
              <a:avLst/>
              <a:gdLst>
                <a:gd name="T0" fmla="*/ 19 w 22"/>
                <a:gd name="T1" fmla="*/ 0 h 11"/>
                <a:gd name="T2" fmla="*/ 0 w 22"/>
                <a:gd name="T3" fmla="*/ 8 h 11"/>
                <a:gd name="T4" fmla="*/ 22 w 22"/>
                <a:gd name="T5" fmla="*/ 6 h 11"/>
                <a:gd name="T6" fmla="*/ 19 w 22"/>
                <a:gd name="T7" fmla="*/ 0 h 11"/>
              </a:gdLst>
              <a:ahLst/>
              <a:cxnLst>
                <a:cxn ang="0">
                  <a:pos x="T0" y="T1"/>
                </a:cxn>
                <a:cxn ang="0">
                  <a:pos x="T2" y="T3"/>
                </a:cxn>
                <a:cxn ang="0">
                  <a:pos x="T4" y="T5"/>
                </a:cxn>
                <a:cxn ang="0">
                  <a:pos x="T6" y="T7"/>
                </a:cxn>
              </a:cxnLst>
              <a:rect l="0" t="0" r="r" b="b"/>
              <a:pathLst>
                <a:path w="22" h="11">
                  <a:moveTo>
                    <a:pt x="19" y="0"/>
                  </a:moveTo>
                  <a:cubicBezTo>
                    <a:pt x="0" y="8"/>
                    <a:pt x="0" y="8"/>
                    <a:pt x="0" y="8"/>
                  </a:cubicBezTo>
                  <a:cubicBezTo>
                    <a:pt x="0" y="8"/>
                    <a:pt x="10" y="11"/>
                    <a:pt x="22" y="6"/>
                  </a:cubicBezTo>
                  <a:lnTo>
                    <a:pt x="1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828" name="Freeform 193"/>
            <p:cNvSpPr>
              <a:spLocks/>
            </p:cNvSpPr>
            <p:nvPr/>
          </p:nvSpPr>
          <p:spPr bwMode="auto">
            <a:xfrm>
              <a:off x="3384583" y="3672465"/>
              <a:ext cx="305314" cy="230425"/>
            </a:xfrm>
            <a:custGeom>
              <a:avLst/>
              <a:gdLst>
                <a:gd name="T0" fmla="*/ 106 w 106"/>
                <a:gd name="T1" fmla="*/ 43 h 80"/>
                <a:gd name="T2" fmla="*/ 92 w 106"/>
                <a:gd name="T3" fmla="*/ 0 h 80"/>
                <a:gd name="T4" fmla="*/ 0 w 106"/>
                <a:gd name="T5" fmla="*/ 19 h 80"/>
                <a:gd name="T6" fmla="*/ 14 w 106"/>
                <a:gd name="T7" fmla="*/ 80 h 80"/>
                <a:gd name="T8" fmla="*/ 106 w 106"/>
                <a:gd name="T9" fmla="*/ 43 h 80"/>
              </a:gdLst>
              <a:ahLst/>
              <a:cxnLst>
                <a:cxn ang="0">
                  <a:pos x="T0" y="T1"/>
                </a:cxn>
                <a:cxn ang="0">
                  <a:pos x="T2" y="T3"/>
                </a:cxn>
                <a:cxn ang="0">
                  <a:pos x="T4" y="T5"/>
                </a:cxn>
                <a:cxn ang="0">
                  <a:pos x="T6" y="T7"/>
                </a:cxn>
                <a:cxn ang="0">
                  <a:pos x="T8" y="T9"/>
                </a:cxn>
              </a:cxnLst>
              <a:rect l="0" t="0" r="r" b="b"/>
              <a:pathLst>
                <a:path w="106" h="80">
                  <a:moveTo>
                    <a:pt x="106" y="43"/>
                  </a:moveTo>
                  <a:lnTo>
                    <a:pt x="92" y="0"/>
                  </a:lnTo>
                  <a:lnTo>
                    <a:pt x="0" y="19"/>
                  </a:lnTo>
                  <a:lnTo>
                    <a:pt x="14" y="80"/>
                  </a:lnTo>
                  <a:lnTo>
                    <a:pt x="106" y="43"/>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829" name="Freeform 194"/>
            <p:cNvSpPr>
              <a:spLocks/>
            </p:cNvSpPr>
            <p:nvPr/>
          </p:nvSpPr>
          <p:spPr bwMode="auto">
            <a:xfrm>
              <a:off x="3295295" y="3715670"/>
              <a:ext cx="207383" cy="204504"/>
            </a:xfrm>
            <a:custGeom>
              <a:avLst/>
              <a:gdLst>
                <a:gd name="T0" fmla="*/ 49 w 77"/>
                <a:gd name="T1" fmla="*/ 70 h 76"/>
                <a:gd name="T2" fmla="*/ 6 w 77"/>
                <a:gd name="T3" fmla="*/ 48 h 76"/>
                <a:gd name="T4" fmla="*/ 28 w 77"/>
                <a:gd name="T5" fmla="*/ 5 h 76"/>
                <a:gd name="T6" fmla="*/ 71 w 77"/>
                <a:gd name="T7" fmla="*/ 28 h 76"/>
                <a:gd name="T8" fmla="*/ 49 w 77"/>
                <a:gd name="T9" fmla="*/ 70 h 76"/>
              </a:gdLst>
              <a:ahLst/>
              <a:cxnLst>
                <a:cxn ang="0">
                  <a:pos x="T0" y="T1"/>
                </a:cxn>
                <a:cxn ang="0">
                  <a:pos x="T2" y="T3"/>
                </a:cxn>
                <a:cxn ang="0">
                  <a:pos x="T4" y="T5"/>
                </a:cxn>
                <a:cxn ang="0">
                  <a:pos x="T6" y="T7"/>
                </a:cxn>
                <a:cxn ang="0">
                  <a:pos x="T8" y="T9"/>
                </a:cxn>
              </a:cxnLst>
              <a:rect l="0" t="0" r="r" b="b"/>
              <a:pathLst>
                <a:path w="77" h="76">
                  <a:moveTo>
                    <a:pt x="49" y="70"/>
                  </a:moveTo>
                  <a:cubicBezTo>
                    <a:pt x="31" y="76"/>
                    <a:pt x="12" y="66"/>
                    <a:pt x="6" y="48"/>
                  </a:cubicBezTo>
                  <a:cubicBezTo>
                    <a:pt x="0" y="30"/>
                    <a:pt x="10" y="11"/>
                    <a:pt x="28" y="5"/>
                  </a:cubicBezTo>
                  <a:cubicBezTo>
                    <a:pt x="46" y="0"/>
                    <a:pt x="65" y="10"/>
                    <a:pt x="71" y="28"/>
                  </a:cubicBezTo>
                  <a:cubicBezTo>
                    <a:pt x="77" y="46"/>
                    <a:pt x="67" y="65"/>
                    <a:pt x="49" y="70"/>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830" name="Freeform 195"/>
            <p:cNvSpPr>
              <a:spLocks/>
            </p:cNvSpPr>
            <p:nvPr/>
          </p:nvSpPr>
          <p:spPr bwMode="auto">
            <a:xfrm>
              <a:off x="3741743" y="3286505"/>
              <a:ext cx="195861" cy="267867"/>
            </a:xfrm>
            <a:custGeom>
              <a:avLst/>
              <a:gdLst>
                <a:gd name="T0" fmla="*/ 51 w 73"/>
                <a:gd name="T1" fmla="*/ 74 h 100"/>
                <a:gd name="T2" fmla="*/ 71 w 73"/>
                <a:gd name="T3" fmla="*/ 33 h 100"/>
                <a:gd name="T4" fmla="*/ 66 w 73"/>
                <a:gd name="T5" fmla="*/ 22 h 100"/>
                <a:gd name="T6" fmla="*/ 61 w 73"/>
                <a:gd name="T7" fmla="*/ 9 h 100"/>
                <a:gd name="T8" fmla="*/ 56 w 73"/>
                <a:gd name="T9" fmla="*/ 0 h 100"/>
                <a:gd name="T10" fmla="*/ 52 w 73"/>
                <a:gd name="T11" fmla="*/ 9 h 100"/>
                <a:gd name="T12" fmla="*/ 43 w 73"/>
                <a:gd name="T13" fmla="*/ 15 h 100"/>
                <a:gd name="T14" fmla="*/ 38 w 73"/>
                <a:gd name="T15" fmla="*/ 26 h 100"/>
                <a:gd name="T16" fmla="*/ 29 w 73"/>
                <a:gd name="T17" fmla="*/ 17 h 100"/>
                <a:gd name="T18" fmla="*/ 26 w 73"/>
                <a:gd name="T19" fmla="*/ 48 h 100"/>
                <a:gd name="T20" fmla="*/ 26 w 73"/>
                <a:gd name="T21" fmla="*/ 54 h 100"/>
                <a:gd name="T22" fmla="*/ 0 w 73"/>
                <a:gd name="T23" fmla="*/ 94 h 100"/>
                <a:gd name="T24" fmla="*/ 35 w 73"/>
                <a:gd name="T25" fmla="*/ 100 h 100"/>
                <a:gd name="T26" fmla="*/ 51 w 73"/>
                <a:gd name="T27" fmla="*/ 74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3" h="100">
                  <a:moveTo>
                    <a:pt x="51" y="74"/>
                  </a:moveTo>
                  <a:cubicBezTo>
                    <a:pt x="65" y="59"/>
                    <a:pt x="67" y="51"/>
                    <a:pt x="71" y="33"/>
                  </a:cubicBezTo>
                  <a:cubicBezTo>
                    <a:pt x="73" y="22"/>
                    <a:pt x="70" y="18"/>
                    <a:pt x="66" y="22"/>
                  </a:cubicBezTo>
                  <a:cubicBezTo>
                    <a:pt x="71" y="12"/>
                    <a:pt x="64" y="3"/>
                    <a:pt x="61" y="9"/>
                  </a:cubicBezTo>
                  <a:cubicBezTo>
                    <a:pt x="61" y="7"/>
                    <a:pt x="60" y="1"/>
                    <a:pt x="56" y="0"/>
                  </a:cubicBezTo>
                  <a:cubicBezTo>
                    <a:pt x="53" y="0"/>
                    <a:pt x="52" y="6"/>
                    <a:pt x="52" y="9"/>
                  </a:cubicBezTo>
                  <a:cubicBezTo>
                    <a:pt x="49" y="6"/>
                    <a:pt x="44" y="6"/>
                    <a:pt x="43" y="15"/>
                  </a:cubicBezTo>
                  <a:cubicBezTo>
                    <a:pt x="42" y="22"/>
                    <a:pt x="38" y="26"/>
                    <a:pt x="38" y="26"/>
                  </a:cubicBezTo>
                  <a:cubicBezTo>
                    <a:pt x="37" y="18"/>
                    <a:pt x="33" y="15"/>
                    <a:pt x="29" y="17"/>
                  </a:cubicBezTo>
                  <a:cubicBezTo>
                    <a:pt x="29" y="25"/>
                    <a:pt x="26" y="37"/>
                    <a:pt x="26" y="48"/>
                  </a:cubicBezTo>
                  <a:cubicBezTo>
                    <a:pt x="26" y="50"/>
                    <a:pt x="26" y="52"/>
                    <a:pt x="26" y="54"/>
                  </a:cubicBezTo>
                  <a:cubicBezTo>
                    <a:pt x="0" y="94"/>
                    <a:pt x="0" y="94"/>
                    <a:pt x="0" y="94"/>
                  </a:cubicBezTo>
                  <a:cubicBezTo>
                    <a:pt x="35" y="100"/>
                    <a:pt x="35" y="100"/>
                    <a:pt x="35" y="100"/>
                  </a:cubicBezTo>
                  <a:lnTo>
                    <a:pt x="51" y="74"/>
                  </a:ln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831" name="Freeform 196"/>
            <p:cNvSpPr>
              <a:spLocks/>
            </p:cNvSpPr>
            <p:nvPr/>
          </p:nvSpPr>
          <p:spPr bwMode="auto">
            <a:xfrm>
              <a:off x="3594846" y="3652305"/>
              <a:ext cx="152656" cy="152656"/>
            </a:xfrm>
            <a:custGeom>
              <a:avLst/>
              <a:gdLst>
                <a:gd name="T0" fmla="*/ 8 w 57"/>
                <a:gd name="T1" fmla="*/ 15 h 57"/>
                <a:gd name="T2" fmla="*/ 42 w 57"/>
                <a:gd name="T3" fmla="*/ 8 h 57"/>
                <a:gd name="T4" fmla="*/ 49 w 57"/>
                <a:gd name="T5" fmla="*/ 42 h 57"/>
                <a:gd name="T6" fmla="*/ 15 w 57"/>
                <a:gd name="T7" fmla="*/ 49 h 57"/>
                <a:gd name="T8" fmla="*/ 8 w 57"/>
                <a:gd name="T9" fmla="*/ 15 h 57"/>
              </a:gdLst>
              <a:ahLst/>
              <a:cxnLst>
                <a:cxn ang="0">
                  <a:pos x="T0" y="T1"/>
                </a:cxn>
                <a:cxn ang="0">
                  <a:pos x="T2" y="T3"/>
                </a:cxn>
                <a:cxn ang="0">
                  <a:pos x="T4" y="T5"/>
                </a:cxn>
                <a:cxn ang="0">
                  <a:pos x="T6" y="T7"/>
                </a:cxn>
                <a:cxn ang="0">
                  <a:pos x="T8" y="T9"/>
                </a:cxn>
              </a:cxnLst>
              <a:rect l="0" t="0" r="r" b="b"/>
              <a:pathLst>
                <a:path w="57" h="57">
                  <a:moveTo>
                    <a:pt x="8" y="15"/>
                  </a:moveTo>
                  <a:cubicBezTo>
                    <a:pt x="15" y="4"/>
                    <a:pt x="31" y="0"/>
                    <a:pt x="42" y="8"/>
                  </a:cubicBezTo>
                  <a:cubicBezTo>
                    <a:pt x="53" y="15"/>
                    <a:pt x="57" y="31"/>
                    <a:pt x="49" y="42"/>
                  </a:cubicBezTo>
                  <a:cubicBezTo>
                    <a:pt x="42" y="53"/>
                    <a:pt x="26" y="57"/>
                    <a:pt x="15" y="49"/>
                  </a:cubicBezTo>
                  <a:cubicBezTo>
                    <a:pt x="3" y="42"/>
                    <a:pt x="0" y="26"/>
                    <a:pt x="8" y="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832" name="Freeform 197"/>
            <p:cNvSpPr>
              <a:spLocks/>
            </p:cNvSpPr>
            <p:nvPr/>
          </p:nvSpPr>
          <p:spPr bwMode="auto">
            <a:xfrm>
              <a:off x="3617891" y="3491006"/>
              <a:ext cx="239067" cy="273630"/>
            </a:xfrm>
            <a:custGeom>
              <a:avLst/>
              <a:gdLst>
                <a:gd name="T0" fmla="*/ 83 w 83"/>
                <a:gd name="T1" fmla="*/ 21 h 95"/>
                <a:gd name="T2" fmla="*/ 50 w 83"/>
                <a:gd name="T3" fmla="*/ 0 h 95"/>
                <a:gd name="T4" fmla="*/ 0 w 83"/>
                <a:gd name="T5" fmla="*/ 70 h 95"/>
                <a:gd name="T6" fmla="*/ 38 w 83"/>
                <a:gd name="T7" fmla="*/ 95 h 95"/>
                <a:gd name="T8" fmla="*/ 83 w 83"/>
                <a:gd name="T9" fmla="*/ 21 h 95"/>
              </a:gdLst>
              <a:ahLst/>
              <a:cxnLst>
                <a:cxn ang="0">
                  <a:pos x="T0" y="T1"/>
                </a:cxn>
                <a:cxn ang="0">
                  <a:pos x="T2" y="T3"/>
                </a:cxn>
                <a:cxn ang="0">
                  <a:pos x="T4" y="T5"/>
                </a:cxn>
                <a:cxn ang="0">
                  <a:pos x="T6" y="T7"/>
                </a:cxn>
                <a:cxn ang="0">
                  <a:pos x="T8" y="T9"/>
                </a:cxn>
              </a:cxnLst>
              <a:rect l="0" t="0" r="r" b="b"/>
              <a:pathLst>
                <a:path w="83" h="95">
                  <a:moveTo>
                    <a:pt x="83" y="21"/>
                  </a:moveTo>
                  <a:lnTo>
                    <a:pt x="50" y="0"/>
                  </a:lnTo>
                  <a:lnTo>
                    <a:pt x="0" y="70"/>
                  </a:lnTo>
                  <a:lnTo>
                    <a:pt x="38" y="95"/>
                  </a:lnTo>
                  <a:lnTo>
                    <a:pt x="83" y="21"/>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833" name="Freeform 198"/>
            <p:cNvSpPr>
              <a:spLocks/>
            </p:cNvSpPr>
            <p:nvPr/>
          </p:nvSpPr>
          <p:spPr bwMode="auto">
            <a:xfrm>
              <a:off x="3764786" y="3465083"/>
              <a:ext cx="106573" cy="86409"/>
            </a:xfrm>
            <a:custGeom>
              <a:avLst/>
              <a:gdLst>
                <a:gd name="T0" fmla="*/ 37 w 37"/>
                <a:gd name="T1" fmla="*/ 21 h 30"/>
                <a:gd name="T2" fmla="*/ 6 w 37"/>
                <a:gd name="T3" fmla="*/ 0 h 30"/>
                <a:gd name="T4" fmla="*/ 0 w 37"/>
                <a:gd name="T5" fmla="*/ 9 h 30"/>
                <a:gd name="T6" fmla="*/ 31 w 37"/>
                <a:gd name="T7" fmla="*/ 30 h 30"/>
                <a:gd name="T8" fmla="*/ 37 w 37"/>
                <a:gd name="T9" fmla="*/ 21 h 30"/>
              </a:gdLst>
              <a:ahLst/>
              <a:cxnLst>
                <a:cxn ang="0">
                  <a:pos x="T0" y="T1"/>
                </a:cxn>
                <a:cxn ang="0">
                  <a:pos x="T2" y="T3"/>
                </a:cxn>
                <a:cxn ang="0">
                  <a:pos x="T4" y="T5"/>
                </a:cxn>
                <a:cxn ang="0">
                  <a:pos x="T6" y="T7"/>
                </a:cxn>
                <a:cxn ang="0">
                  <a:pos x="T8" y="T9"/>
                </a:cxn>
              </a:cxnLst>
              <a:rect l="0" t="0" r="r" b="b"/>
              <a:pathLst>
                <a:path w="37" h="30">
                  <a:moveTo>
                    <a:pt x="37" y="21"/>
                  </a:moveTo>
                  <a:lnTo>
                    <a:pt x="6" y="0"/>
                  </a:lnTo>
                  <a:lnTo>
                    <a:pt x="0" y="9"/>
                  </a:lnTo>
                  <a:lnTo>
                    <a:pt x="31" y="30"/>
                  </a:lnTo>
                  <a:lnTo>
                    <a:pt x="37" y="21"/>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grpSp>
        <p:nvGrpSpPr>
          <p:cNvPr id="60" name="Group 59"/>
          <p:cNvGrpSpPr/>
          <p:nvPr/>
        </p:nvGrpSpPr>
        <p:grpSpPr>
          <a:xfrm>
            <a:off x="9113498" y="4589978"/>
            <a:ext cx="912191" cy="913350"/>
            <a:chOff x="9012716" y="2112885"/>
            <a:chExt cx="1099940" cy="1101339"/>
          </a:xfrm>
        </p:grpSpPr>
        <p:sp>
          <p:nvSpPr>
            <p:cNvPr id="95" name="Freeform 96"/>
            <p:cNvSpPr>
              <a:spLocks/>
            </p:cNvSpPr>
            <p:nvPr/>
          </p:nvSpPr>
          <p:spPr bwMode="auto">
            <a:xfrm>
              <a:off x="9352321" y="2112885"/>
              <a:ext cx="760335" cy="874958"/>
            </a:xfrm>
            <a:custGeom>
              <a:avLst/>
              <a:gdLst>
                <a:gd name="T0" fmla="*/ 819 w 819"/>
                <a:gd name="T1" fmla="*/ 761 h 947"/>
                <a:gd name="T2" fmla="*/ 540 w 819"/>
                <a:gd name="T3" fmla="*/ 856 h 947"/>
                <a:gd name="T4" fmla="*/ 292 w 819"/>
                <a:gd name="T5" fmla="*/ 941 h 947"/>
                <a:gd name="T6" fmla="*/ 250 w 819"/>
                <a:gd name="T7" fmla="*/ 920 h 947"/>
                <a:gd name="T8" fmla="*/ 0 w 819"/>
                <a:gd name="T9" fmla="*/ 191 h 947"/>
                <a:gd name="T10" fmla="*/ 558 w 819"/>
                <a:gd name="T11" fmla="*/ 0 h 947"/>
                <a:gd name="T12" fmla="*/ 688 w 819"/>
                <a:gd name="T13" fmla="*/ 380 h 947"/>
                <a:gd name="T14" fmla="*/ 819 w 819"/>
                <a:gd name="T15" fmla="*/ 761 h 9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19" h="947">
                  <a:moveTo>
                    <a:pt x="819" y="761"/>
                  </a:moveTo>
                  <a:cubicBezTo>
                    <a:pt x="540" y="856"/>
                    <a:pt x="540" y="856"/>
                    <a:pt x="540" y="856"/>
                  </a:cubicBezTo>
                  <a:cubicBezTo>
                    <a:pt x="292" y="941"/>
                    <a:pt x="292" y="941"/>
                    <a:pt x="292" y="941"/>
                  </a:cubicBezTo>
                  <a:cubicBezTo>
                    <a:pt x="275" y="947"/>
                    <a:pt x="256" y="938"/>
                    <a:pt x="250" y="920"/>
                  </a:cubicBezTo>
                  <a:cubicBezTo>
                    <a:pt x="0" y="191"/>
                    <a:pt x="0" y="191"/>
                    <a:pt x="0" y="191"/>
                  </a:cubicBezTo>
                  <a:cubicBezTo>
                    <a:pt x="558" y="0"/>
                    <a:pt x="558" y="0"/>
                    <a:pt x="558" y="0"/>
                  </a:cubicBezTo>
                  <a:cubicBezTo>
                    <a:pt x="688" y="380"/>
                    <a:pt x="688" y="380"/>
                    <a:pt x="688" y="380"/>
                  </a:cubicBezTo>
                  <a:cubicBezTo>
                    <a:pt x="819" y="761"/>
                    <a:pt x="819" y="761"/>
                    <a:pt x="819" y="76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96" name="Freeform 97"/>
            <p:cNvSpPr>
              <a:spLocks/>
            </p:cNvSpPr>
            <p:nvPr/>
          </p:nvSpPr>
          <p:spPr bwMode="auto">
            <a:xfrm>
              <a:off x="9575836" y="2984021"/>
              <a:ext cx="215874" cy="184353"/>
            </a:xfrm>
            <a:custGeom>
              <a:avLst/>
              <a:gdLst>
                <a:gd name="T0" fmla="*/ 163 w 232"/>
                <a:gd name="T1" fmla="*/ 188 h 199"/>
                <a:gd name="T2" fmla="*/ 112 w 232"/>
                <a:gd name="T3" fmla="*/ 192 h 199"/>
                <a:gd name="T4" fmla="*/ 0 w 232"/>
                <a:gd name="T5" fmla="*/ 145 h 199"/>
                <a:gd name="T6" fmla="*/ 0 w 232"/>
                <a:gd name="T7" fmla="*/ 0 h 199"/>
                <a:gd name="T8" fmla="*/ 232 w 232"/>
                <a:gd name="T9" fmla="*/ 0 h 199"/>
                <a:gd name="T10" fmla="*/ 232 w 232"/>
                <a:gd name="T11" fmla="*/ 160 h 199"/>
                <a:gd name="T12" fmla="*/ 163 w 232"/>
                <a:gd name="T13" fmla="*/ 188 h 199"/>
              </a:gdLst>
              <a:ahLst/>
              <a:cxnLst>
                <a:cxn ang="0">
                  <a:pos x="T0" y="T1"/>
                </a:cxn>
                <a:cxn ang="0">
                  <a:pos x="T2" y="T3"/>
                </a:cxn>
                <a:cxn ang="0">
                  <a:pos x="T4" y="T5"/>
                </a:cxn>
                <a:cxn ang="0">
                  <a:pos x="T6" y="T7"/>
                </a:cxn>
                <a:cxn ang="0">
                  <a:pos x="T8" y="T9"/>
                </a:cxn>
                <a:cxn ang="0">
                  <a:pos x="T10" y="T11"/>
                </a:cxn>
                <a:cxn ang="0">
                  <a:pos x="T12" y="T13"/>
                </a:cxn>
              </a:cxnLst>
              <a:rect l="0" t="0" r="r" b="b"/>
              <a:pathLst>
                <a:path w="232" h="199">
                  <a:moveTo>
                    <a:pt x="163" y="188"/>
                  </a:moveTo>
                  <a:cubicBezTo>
                    <a:pt x="112" y="192"/>
                    <a:pt x="112" y="192"/>
                    <a:pt x="112" y="192"/>
                  </a:cubicBezTo>
                  <a:cubicBezTo>
                    <a:pt x="39" y="199"/>
                    <a:pt x="2" y="149"/>
                    <a:pt x="0" y="145"/>
                  </a:cubicBezTo>
                  <a:cubicBezTo>
                    <a:pt x="0" y="0"/>
                    <a:pt x="0" y="0"/>
                    <a:pt x="0" y="0"/>
                  </a:cubicBezTo>
                  <a:cubicBezTo>
                    <a:pt x="232" y="0"/>
                    <a:pt x="232" y="0"/>
                    <a:pt x="232" y="0"/>
                  </a:cubicBezTo>
                  <a:cubicBezTo>
                    <a:pt x="232" y="160"/>
                    <a:pt x="232" y="160"/>
                    <a:pt x="232" y="160"/>
                  </a:cubicBezTo>
                  <a:cubicBezTo>
                    <a:pt x="163" y="188"/>
                    <a:pt x="163" y="188"/>
                    <a:pt x="163" y="188"/>
                  </a:cubicBezTo>
                </a:path>
              </a:pathLst>
            </a:custGeom>
            <a:solidFill>
              <a:srgbClr val="6B3C1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98" name="Rectangle 98"/>
            <p:cNvSpPr>
              <a:spLocks noChangeArrowheads="1"/>
            </p:cNvSpPr>
            <p:nvPr/>
          </p:nvSpPr>
          <p:spPr bwMode="auto">
            <a:xfrm>
              <a:off x="9755413" y="2699373"/>
              <a:ext cx="34387" cy="155698"/>
            </a:xfrm>
            <a:prstGeom prst="rect">
              <a:avLst/>
            </a:prstGeom>
            <a:solidFill>
              <a:srgbClr val="F0AE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99" name="Rectangle 99"/>
            <p:cNvSpPr>
              <a:spLocks noChangeArrowheads="1"/>
            </p:cNvSpPr>
            <p:nvPr/>
          </p:nvSpPr>
          <p:spPr bwMode="auto">
            <a:xfrm>
              <a:off x="9755413" y="2699373"/>
              <a:ext cx="34387" cy="1556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00" name="Freeform 100"/>
            <p:cNvSpPr>
              <a:spLocks noEditPoints="1"/>
            </p:cNvSpPr>
            <p:nvPr/>
          </p:nvSpPr>
          <p:spPr bwMode="auto">
            <a:xfrm>
              <a:off x="9454526" y="2153959"/>
              <a:ext cx="582669" cy="744096"/>
            </a:xfrm>
            <a:custGeom>
              <a:avLst/>
              <a:gdLst>
                <a:gd name="T0" fmla="*/ 627 w 627"/>
                <a:gd name="T1" fmla="*/ 745 h 806"/>
                <a:gd name="T2" fmla="*/ 606 w 627"/>
                <a:gd name="T3" fmla="*/ 752 h 806"/>
                <a:gd name="T4" fmla="*/ 606 w 627"/>
                <a:gd name="T5" fmla="*/ 793 h 806"/>
                <a:gd name="T6" fmla="*/ 486 w 627"/>
                <a:gd name="T7" fmla="*/ 793 h 806"/>
                <a:gd name="T8" fmla="*/ 448 w 627"/>
                <a:gd name="T9" fmla="*/ 806 h 806"/>
                <a:gd name="T10" fmla="*/ 597 w 627"/>
                <a:gd name="T11" fmla="*/ 806 h 806"/>
                <a:gd name="T12" fmla="*/ 627 w 627"/>
                <a:gd name="T13" fmla="*/ 776 h 806"/>
                <a:gd name="T14" fmla="*/ 627 w 627"/>
                <a:gd name="T15" fmla="*/ 745 h 806"/>
                <a:gd name="T16" fmla="*/ 0 w 627"/>
                <a:gd name="T17" fmla="*/ 468 h 806"/>
                <a:gd name="T18" fmla="*/ 0 w 627"/>
                <a:gd name="T19" fmla="*/ 770 h 806"/>
                <a:gd name="T20" fmla="*/ 36 w 627"/>
                <a:gd name="T21" fmla="*/ 806 h 806"/>
                <a:gd name="T22" fmla="*/ 116 w 627"/>
                <a:gd name="T23" fmla="*/ 806 h 806"/>
                <a:gd name="T24" fmla="*/ 111 w 627"/>
                <a:gd name="T25" fmla="*/ 793 h 806"/>
                <a:gd name="T26" fmla="*/ 50 w 627"/>
                <a:gd name="T27" fmla="*/ 793 h 806"/>
                <a:gd name="T28" fmla="*/ 17 w 627"/>
                <a:gd name="T29" fmla="*/ 760 h 806"/>
                <a:gd name="T30" fmla="*/ 17 w 627"/>
                <a:gd name="T31" fmla="*/ 517 h 806"/>
                <a:gd name="T32" fmla="*/ 0 w 627"/>
                <a:gd name="T33" fmla="*/ 468 h 806"/>
                <a:gd name="T34" fmla="*/ 606 w 627"/>
                <a:gd name="T35" fmla="*/ 0 h 806"/>
                <a:gd name="T36" fmla="*/ 606 w 627"/>
                <a:gd name="T37" fmla="*/ 391 h 806"/>
                <a:gd name="T38" fmla="*/ 606 w 627"/>
                <a:gd name="T39" fmla="*/ 417 h 806"/>
                <a:gd name="T40" fmla="*/ 627 w 627"/>
                <a:gd name="T41" fmla="*/ 479 h 806"/>
                <a:gd name="T42" fmla="*/ 627 w 627"/>
                <a:gd name="T43" fmla="*/ 26 h 806"/>
                <a:gd name="T44" fmla="*/ 606 w 627"/>
                <a:gd name="T45" fmla="*/ 0 h 8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627" h="806">
                  <a:moveTo>
                    <a:pt x="627" y="745"/>
                  </a:moveTo>
                  <a:cubicBezTo>
                    <a:pt x="606" y="752"/>
                    <a:pt x="606" y="752"/>
                    <a:pt x="606" y="752"/>
                  </a:cubicBezTo>
                  <a:cubicBezTo>
                    <a:pt x="606" y="793"/>
                    <a:pt x="606" y="793"/>
                    <a:pt x="606" y="793"/>
                  </a:cubicBezTo>
                  <a:cubicBezTo>
                    <a:pt x="486" y="793"/>
                    <a:pt x="486" y="793"/>
                    <a:pt x="486" y="793"/>
                  </a:cubicBezTo>
                  <a:cubicBezTo>
                    <a:pt x="448" y="806"/>
                    <a:pt x="448" y="806"/>
                    <a:pt x="448" y="806"/>
                  </a:cubicBezTo>
                  <a:cubicBezTo>
                    <a:pt x="597" y="806"/>
                    <a:pt x="597" y="806"/>
                    <a:pt x="597" y="806"/>
                  </a:cubicBezTo>
                  <a:cubicBezTo>
                    <a:pt x="613" y="806"/>
                    <a:pt x="627" y="793"/>
                    <a:pt x="627" y="776"/>
                  </a:cubicBezTo>
                  <a:cubicBezTo>
                    <a:pt x="627" y="745"/>
                    <a:pt x="627" y="745"/>
                    <a:pt x="627" y="745"/>
                  </a:cubicBezTo>
                  <a:moveTo>
                    <a:pt x="0" y="468"/>
                  </a:moveTo>
                  <a:cubicBezTo>
                    <a:pt x="0" y="770"/>
                    <a:pt x="0" y="770"/>
                    <a:pt x="0" y="770"/>
                  </a:cubicBezTo>
                  <a:cubicBezTo>
                    <a:pt x="0" y="790"/>
                    <a:pt x="16" y="806"/>
                    <a:pt x="36" y="806"/>
                  </a:cubicBezTo>
                  <a:cubicBezTo>
                    <a:pt x="116" y="806"/>
                    <a:pt x="116" y="806"/>
                    <a:pt x="116" y="806"/>
                  </a:cubicBezTo>
                  <a:cubicBezTo>
                    <a:pt x="111" y="793"/>
                    <a:pt x="111" y="793"/>
                    <a:pt x="111" y="793"/>
                  </a:cubicBezTo>
                  <a:cubicBezTo>
                    <a:pt x="50" y="793"/>
                    <a:pt x="50" y="793"/>
                    <a:pt x="50" y="793"/>
                  </a:cubicBezTo>
                  <a:cubicBezTo>
                    <a:pt x="32" y="793"/>
                    <a:pt x="17" y="778"/>
                    <a:pt x="17" y="760"/>
                  </a:cubicBezTo>
                  <a:cubicBezTo>
                    <a:pt x="17" y="517"/>
                    <a:pt x="17" y="517"/>
                    <a:pt x="17" y="517"/>
                  </a:cubicBezTo>
                  <a:cubicBezTo>
                    <a:pt x="0" y="468"/>
                    <a:pt x="0" y="468"/>
                    <a:pt x="0" y="468"/>
                  </a:cubicBezTo>
                  <a:moveTo>
                    <a:pt x="606" y="0"/>
                  </a:moveTo>
                  <a:cubicBezTo>
                    <a:pt x="606" y="391"/>
                    <a:pt x="606" y="391"/>
                    <a:pt x="606" y="391"/>
                  </a:cubicBezTo>
                  <a:cubicBezTo>
                    <a:pt x="606" y="417"/>
                    <a:pt x="606" y="417"/>
                    <a:pt x="606" y="417"/>
                  </a:cubicBezTo>
                  <a:cubicBezTo>
                    <a:pt x="627" y="479"/>
                    <a:pt x="627" y="479"/>
                    <a:pt x="627" y="479"/>
                  </a:cubicBezTo>
                  <a:cubicBezTo>
                    <a:pt x="627" y="26"/>
                    <a:pt x="627" y="26"/>
                    <a:pt x="627" y="26"/>
                  </a:cubicBezTo>
                  <a:cubicBezTo>
                    <a:pt x="627" y="13"/>
                    <a:pt x="618" y="3"/>
                    <a:pt x="606" y="0"/>
                  </a:cubicBezTo>
                </a:path>
              </a:pathLst>
            </a:custGeom>
            <a:solidFill>
              <a:srgbClr val="E5E5E5"/>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01" name="Freeform 101"/>
            <p:cNvSpPr>
              <a:spLocks noEditPoints="1"/>
            </p:cNvSpPr>
            <p:nvPr/>
          </p:nvSpPr>
          <p:spPr bwMode="auto">
            <a:xfrm>
              <a:off x="9454526" y="2270492"/>
              <a:ext cx="582669" cy="627563"/>
            </a:xfrm>
            <a:custGeom>
              <a:avLst/>
              <a:gdLst>
                <a:gd name="T0" fmla="*/ 263 w 610"/>
                <a:gd name="T1" fmla="*/ 645 h 657"/>
                <a:gd name="T2" fmla="*/ 108 w 610"/>
                <a:gd name="T3" fmla="*/ 645 h 657"/>
                <a:gd name="T4" fmla="*/ 113 w 610"/>
                <a:gd name="T5" fmla="*/ 657 h 657"/>
                <a:gd name="T6" fmla="*/ 263 w 610"/>
                <a:gd name="T7" fmla="*/ 657 h 657"/>
                <a:gd name="T8" fmla="*/ 263 w 610"/>
                <a:gd name="T9" fmla="*/ 645 h 657"/>
                <a:gd name="T10" fmla="*/ 472 w 610"/>
                <a:gd name="T11" fmla="*/ 645 h 657"/>
                <a:gd name="T12" fmla="*/ 353 w 610"/>
                <a:gd name="T13" fmla="*/ 645 h 657"/>
                <a:gd name="T14" fmla="*/ 353 w 610"/>
                <a:gd name="T15" fmla="*/ 657 h 657"/>
                <a:gd name="T16" fmla="*/ 436 w 610"/>
                <a:gd name="T17" fmla="*/ 657 h 657"/>
                <a:gd name="T18" fmla="*/ 472 w 610"/>
                <a:gd name="T19" fmla="*/ 645 h 657"/>
                <a:gd name="T20" fmla="*/ 589 w 610"/>
                <a:gd name="T21" fmla="*/ 281 h 657"/>
                <a:gd name="T22" fmla="*/ 589 w 610"/>
                <a:gd name="T23" fmla="*/ 605 h 657"/>
                <a:gd name="T24" fmla="*/ 610 w 610"/>
                <a:gd name="T25" fmla="*/ 598 h 657"/>
                <a:gd name="T26" fmla="*/ 610 w 610"/>
                <a:gd name="T27" fmla="*/ 341 h 657"/>
                <a:gd name="T28" fmla="*/ 589 w 610"/>
                <a:gd name="T29" fmla="*/ 281 h 657"/>
                <a:gd name="T30" fmla="*/ 17 w 610"/>
                <a:gd name="T31" fmla="*/ 0 h 657"/>
                <a:gd name="T32" fmla="*/ 0 w 610"/>
                <a:gd name="T33" fmla="*/ 16 h 657"/>
                <a:gd name="T34" fmla="*/ 0 w 610"/>
                <a:gd name="T35" fmla="*/ 330 h 657"/>
                <a:gd name="T36" fmla="*/ 17 w 610"/>
                <a:gd name="T37" fmla="*/ 378 h 657"/>
                <a:gd name="T38" fmla="*/ 17 w 610"/>
                <a:gd name="T39" fmla="*/ 0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10" h="657">
                  <a:moveTo>
                    <a:pt x="263" y="645"/>
                  </a:moveTo>
                  <a:lnTo>
                    <a:pt x="108" y="645"/>
                  </a:lnTo>
                  <a:lnTo>
                    <a:pt x="113" y="657"/>
                  </a:lnTo>
                  <a:lnTo>
                    <a:pt x="263" y="657"/>
                  </a:lnTo>
                  <a:lnTo>
                    <a:pt x="263" y="645"/>
                  </a:lnTo>
                  <a:close/>
                  <a:moveTo>
                    <a:pt x="472" y="645"/>
                  </a:moveTo>
                  <a:lnTo>
                    <a:pt x="353" y="645"/>
                  </a:lnTo>
                  <a:lnTo>
                    <a:pt x="353" y="657"/>
                  </a:lnTo>
                  <a:lnTo>
                    <a:pt x="436" y="657"/>
                  </a:lnTo>
                  <a:lnTo>
                    <a:pt x="472" y="645"/>
                  </a:lnTo>
                  <a:close/>
                  <a:moveTo>
                    <a:pt x="589" y="281"/>
                  </a:moveTo>
                  <a:lnTo>
                    <a:pt x="589" y="605"/>
                  </a:lnTo>
                  <a:lnTo>
                    <a:pt x="610" y="598"/>
                  </a:lnTo>
                  <a:lnTo>
                    <a:pt x="610" y="341"/>
                  </a:lnTo>
                  <a:lnTo>
                    <a:pt x="589" y="281"/>
                  </a:lnTo>
                  <a:close/>
                  <a:moveTo>
                    <a:pt x="17" y="0"/>
                  </a:moveTo>
                  <a:lnTo>
                    <a:pt x="0" y="16"/>
                  </a:lnTo>
                  <a:lnTo>
                    <a:pt x="0" y="330"/>
                  </a:lnTo>
                  <a:lnTo>
                    <a:pt x="17" y="378"/>
                  </a:lnTo>
                  <a:lnTo>
                    <a:pt x="17" y="0"/>
                  </a:lnTo>
                  <a:close/>
                </a:path>
              </a:pathLst>
            </a:custGeom>
            <a:solidFill>
              <a:srgbClr val="E5E5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02" name="Freeform 102"/>
            <p:cNvSpPr>
              <a:spLocks noEditPoints="1"/>
            </p:cNvSpPr>
            <p:nvPr/>
          </p:nvSpPr>
          <p:spPr bwMode="auto">
            <a:xfrm>
              <a:off x="9454526" y="2270492"/>
              <a:ext cx="582669" cy="627563"/>
            </a:xfrm>
            <a:custGeom>
              <a:avLst/>
              <a:gdLst>
                <a:gd name="T0" fmla="*/ 263 w 610"/>
                <a:gd name="T1" fmla="*/ 645 h 657"/>
                <a:gd name="T2" fmla="*/ 108 w 610"/>
                <a:gd name="T3" fmla="*/ 645 h 657"/>
                <a:gd name="T4" fmla="*/ 113 w 610"/>
                <a:gd name="T5" fmla="*/ 657 h 657"/>
                <a:gd name="T6" fmla="*/ 263 w 610"/>
                <a:gd name="T7" fmla="*/ 657 h 657"/>
                <a:gd name="T8" fmla="*/ 263 w 610"/>
                <a:gd name="T9" fmla="*/ 645 h 657"/>
                <a:gd name="T10" fmla="*/ 472 w 610"/>
                <a:gd name="T11" fmla="*/ 645 h 657"/>
                <a:gd name="T12" fmla="*/ 353 w 610"/>
                <a:gd name="T13" fmla="*/ 645 h 657"/>
                <a:gd name="T14" fmla="*/ 353 w 610"/>
                <a:gd name="T15" fmla="*/ 657 h 657"/>
                <a:gd name="T16" fmla="*/ 436 w 610"/>
                <a:gd name="T17" fmla="*/ 657 h 657"/>
                <a:gd name="T18" fmla="*/ 472 w 610"/>
                <a:gd name="T19" fmla="*/ 645 h 657"/>
                <a:gd name="T20" fmla="*/ 589 w 610"/>
                <a:gd name="T21" fmla="*/ 281 h 657"/>
                <a:gd name="T22" fmla="*/ 589 w 610"/>
                <a:gd name="T23" fmla="*/ 605 h 657"/>
                <a:gd name="T24" fmla="*/ 610 w 610"/>
                <a:gd name="T25" fmla="*/ 598 h 657"/>
                <a:gd name="T26" fmla="*/ 610 w 610"/>
                <a:gd name="T27" fmla="*/ 341 h 657"/>
                <a:gd name="T28" fmla="*/ 589 w 610"/>
                <a:gd name="T29" fmla="*/ 281 h 657"/>
                <a:gd name="T30" fmla="*/ 17 w 610"/>
                <a:gd name="T31" fmla="*/ 0 h 657"/>
                <a:gd name="T32" fmla="*/ 0 w 610"/>
                <a:gd name="T33" fmla="*/ 16 h 657"/>
                <a:gd name="T34" fmla="*/ 0 w 610"/>
                <a:gd name="T35" fmla="*/ 330 h 657"/>
                <a:gd name="T36" fmla="*/ 17 w 610"/>
                <a:gd name="T37" fmla="*/ 378 h 657"/>
                <a:gd name="T38" fmla="*/ 17 w 610"/>
                <a:gd name="T39" fmla="*/ 0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10" h="657">
                  <a:moveTo>
                    <a:pt x="263" y="645"/>
                  </a:moveTo>
                  <a:lnTo>
                    <a:pt x="108" y="645"/>
                  </a:lnTo>
                  <a:lnTo>
                    <a:pt x="113" y="657"/>
                  </a:lnTo>
                  <a:lnTo>
                    <a:pt x="263" y="657"/>
                  </a:lnTo>
                  <a:lnTo>
                    <a:pt x="263" y="645"/>
                  </a:lnTo>
                  <a:moveTo>
                    <a:pt x="472" y="645"/>
                  </a:moveTo>
                  <a:lnTo>
                    <a:pt x="353" y="645"/>
                  </a:lnTo>
                  <a:lnTo>
                    <a:pt x="353" y="657"/>
                  </a:lnTo>
                  <a:lnTo>
                    <a:pt x="436" y="657"/>
                  </a:lnTo>
                  <a:lnTo>
                    <a:pt x="472" y="645"/>
                  </a:lnTo>
                  <a:moveTo>
                    <a:pt x="589" y="281"/>
                  </a:moveTo>
                  <a:lnTo>
                    <a:pt x="589" y="605"/>
                  </a:lnTo>
                  <a:lnTo>
                    <a:pt x="610" y="598"/>
                  </a:lnTo>
                  <a:lnTo>
                    <a:pt x="610" y="341"/>
                  </a:lnTo>
                  <a:lnTo>
                    <a:pt x="589" y="281"/>
                  </a:lnTo>
                  <a:moveTo>
                    <a:pt x="17" y="0"/>
                  </a:moveTo>
                  <a:lnTo>
                    <a:pt x="0" y="16"/>
                  </a:lnTo>
                  <a:lnTo>
                    <a:pt x="0" y="330"/>
                  </a:lnTo>
                  <a:lnTo>
                    <a:pt x="17" y="378"/>
                  </a:lnTo>
                  <a:lnTo>
                    <a:pt x="1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03" name="Freeform 103"/>
            <p:cNvSpPr>
              <a:spLocks/>
            </p:cNvSpPr>
            <p:nvPr/>
          </p:nvSpPr>
          <p:spPr bwMode="auto">
            <a:xfrm>
              <a:off x="9470765" y="2143451"/>
              <a:ext cx="546371" cy="743141"/>
            </a:xfrm>
            <a:custGeom>
              <a:avLst/>
              <a:gdLst>
                <a:gd name="T0" fmla="*/ 589 w 589"/>
                <a:gd name="T1" fmla="*/ 804 h 804"/>
                <a:gd name="T2" fmla="*/ 294 w 589"/>
                <a:gd name="T3" fmla="*/ 804 h 804"/>
                <a:gd name="T4" fmla="*/ 33 w 589"/>
                <a:gd name="T5" fmla="*/ 804 h 804"/>
                <a:gd name="T6" fmla="*/ 0 w 589"/>
                <a:gd name="T7" fmla="*/ 771 h 804"/>
                <a:gd name="T8" fmla="*/ 0 w 589"/>
                <a:gd name="T9" fmla="*/ 134 h 804"/>
                <a:gd name="T10" fmla="*/ 127 w 589"/>
                <a:gd name="T11" fmla="*/ 0 h 804"/>
                <a:gd name="T12" fmla="*/ 589 w 589"/>
                <a:gd name="T13" fmla="*/ 0 h 804"/>
                <a:gd name="T14" fmla="*/ 589 w 589"/>
                <a:gd name="T15" fmla="*/ 402 h 804"/>
                <a:gd name="T16" fmla="*/ 589 w 589"/>
                <a:gd name="T17" fmla="*/ 804 h 8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89" h="804">
                  <a:moveTo>
                    <a:pt x="589" y="804"/>
                  </a:moveTo>
                  <a:cubicBezTo>
                    <a:pt x="294" y="804"/>
                    <a:pt x="294" y="804"/>
                    <a:pt x="294" y="804"/>
                  </a:cubicBezTo>
                  <a:cubicBezTo>
                    <a:pt x="33" y="804"/>
                    <a:pt x="33" y="804"/>
                    <a:pt x="33" y="804"/>
                  </a:cubicBezTo>
                  <a:cubicBezTo>
                    <a:pt x="15" y="804"/>
                    <a:pt x="0" y="789"/>
                    <a:pt x="0" y="771"/>
                  </a:cubicBezTo>
                  <a:cubicBezTo>
                    <a:pt x="0" y="134"/>
                    <a:pt x="0" y="134"/>
                    <a:pt x="0" y="134"/>
                  </a:cubicBezTo>
                  <a:cubicBezTo>
                    <a:pt x="127" y="0"/>
                    <a:pt x="127" y="0"/>
                    <a:pt x="127" y="0"/>
                  </a:cubicBezTo>
                  <a:cubicBezTo>
                    <a:pt x="589" y="0"/>
                    <a:pt x="589" y="0"/>
                    <a:pt x="589" y="0"/>
                  </a:cubicBezTo>
                  <a:cubicBezTo>
                    <a:pt x="589" y="402"/>
                    <a:pt x="589" y="402"/>
                    <a:pt x="589" y="402"/>
                  </a:cubicBezTo>
                  <a:cubicBezTo>
                    <a:pt x="589" y="804"/>
                    <a:pt x="589" y="804"/>
                    <a:pt x="589" y="80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13" name="Freeform 104"/>
            <p:cNvSpPr>
              <a:spLocks/>
            </p:cNvSpPr>
            <p:nvPr/>
          </p:nvSpPr>
          <p:spPr bwMode="auto">
            <a:xfrm>
              <a:off x="9470765" y="2143451"/>
              <a:ext cx="117490" cy="124176"/>
            </a:xfrm>
            <a:custGeom>
              <a:avLst/>
              <a:gdLst>
                <a:gd name="T0" fmla="*/ 123 w 123"/>
                <a:gd name="T1" fmla="*/ 0 h 130"/>
                <a:gd name="T2" fmla="*/ 123 w 123"/>
                <a:gd name="T3" fmla="*/ 130 h 130"/>
                <a:gd name="T4" fmla="*/ 0 w 123"/>
                <a:gd name="T5" fmla="*/ 130 h 130"/>
                <a:gd name="T6" fmla="*/ 123 w 123"/>
                <a:gd name="T7" fmla="*/ 0 h 130"/>
              </a:gdLst>
              <a:ahLst/>
              <a:cxnLst>
                <a:cxn ang="0">
                  <a:pos x="T0" y="T1"/>
                </a:cxn>
                <a:cxn ang="0">
                  <a:pos x="T2" y="T3"/>
                </a:cxn>
                <a:cxn ang="0">
                  <a:pos x="T4" y="T5"/>
                </a:cxn>
                <a:cxn ang="0">
                  <a:pos x="T6" y="T7"/>
                </a:cxn>
              </a:cxnLst>
              <a:rect l="0" t="0" r="r" b="b"/>
              <a:pathLst>
                <a:path w="123" h="130">
                  <a:moveTo>
                    <a:pt x="123" y="0"/>
                  </a:moveTo>
                  <a:lnTo>
                    <a:pt x="123" y="130"/>
                  </a:lnTo>
                  <a:lnTo>
                    <a:pt x="0" y="130"/>
                  </a:lnTo>
                  <a:lnTo>
                    <a:pt x="123" y="0"/>
                  </a:lnTo>
                  <a:close/>
                </a:path>
              </a:pathLst>
            </a:custGeom>
            <a:solidFill>
              <a:srgbClr val="D1D1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14" name="Freeform 105"/>
            <p:cNvSpPr>
              <a:spLocks/>
            </p:cNvSpPr>
            <p:nvPr/>
          </p:nvSpPr>
          <p:spPr bwMode="auto">
            <a:xfrm>
              <a:off x="10017137" y="2143451"/>
              <a:ext cx="20060" cy="743141"/>
            </a:xfrm>
            <a:custGeom>
              <a:avLst/>
              <a:gdLst>
                <a:gd name="T0" fmla="*/ 0 w 21"/>
                <a:gd name="T1" fmla="*/ 804 h 804"/>
                <a:gd name="T2" fmla="*/ 0 w 21"/>
                <a:gd name="T3" fmla="*/ 804 h 804"/>
                <a:gd name="T4" fmla="*/ 0 w 21"/>
                <a:gd name="T5" fmla="*/ 0 h 804"/>
                <a:gd name="T6" fmla="*/ 0 w 21"/>
                <a:gd name="T7" fmla="*/ 0 h 804"/>
                <a:gd name="T8" fmla="*/ 21 w 21"/>
                <a:gd name="T9" fmla="*/ 21 h 804"/>
                <a:gd name="T10" fmla="*/ 21 w 21"/>
                <a:gd name="T11" fmla="*/ 783 h 804"/>
                <a:gd name="T12" fmla="*/ 0 w 21"/>
                <a:gd name="T13" fmla="*/ 804 h 804"/>
              </a:gdLst>
              <a:ahLst/>
              <a:cxnLst>
                <a:cxn ang="0">
                  <a:pos x="T0" y="T1"/>
                </a:cxn>
                <a:cxn ang="0">
                  <a:pos x="T2" y="T3"/>
                </a:cxn>
                <a:cxn ang="0">
                  <a:pos x="T4" y="T5"/>
                </a:cxn>
                <a:cxn ang="0">
                  <a:pos x="T6" y="T7"/>
                </a:cxn>
                <a:cxn ang="0">
                  <a:pos x="T8" y="T9"/>
                </a:cxn>
                <a:cxn ang="0">
                  <a:pos x="T10" y="T11"/>
                </a:cxn>
                <a:cxn ang="0">
                  <a:pos x="T12" y="T13"/>
                </a:cxn>
              </a:cxnLst>
              <a:rect l="0" t="0" r="r" b="b"/>
              <a:pathLst>
                <a:path w="21" h="804">
                  <a:moveTo>
                    <a:pt x="0" y="804"/>
                  </a:moveTo>
                  <a:cubicBezTo>
                    <a:pt x="0" y="804"/>
                    <a:pt x="0" y="804"/>
                    <a:pt x="0" y="804"/>
                  </a:cubicBezTo>
                  <a:cubicBezTo>
                    <a:pt x="0" y="0"/>
                    <a:pt x="0" y="0"/>
                    <a:pt x="0" y="0"/>
                  </a:cubicBezTo>
                  <a:cubicBezTo>
                    <a:pt x="0" y="0"/>
                    <a:pt x="0" y="0"/>
                    <a:pt x="0" y="0"/>
                  </a:cubicBezTo>
                  <a:cubicBezTo>
                    <a:pt x="12" y="0"/>
                    <a:pt x="21" y="9"/>
                    <a:pt x="21" y="21"/>
                  </a:cubicBezTo>
                  <a:cubicBezTo>
                    <a:pt x="21" y="783"/>
                    <a:pt x="21" y="783"/>
                    <a:pt x="21" y="783"/>
                  </a:cubicBezTo>
                  <a:cubicBezTo>
                    <a:pt x="21" y="795"/>
                    <a:pt x="12" y="804"/>
                    <a:pt x="0" y="804"/>
                  </a:cubicBezTo>
                  <a:close/>
                </a:path>
              </a:pathLst>
            </a:custGeom>
            <a:solidFill>
              <a:srgbClr val="D1D1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15" name="Freeform 106"/>
            <p:cNvSpPr>
              <a:spLocks/>
            </p:cNvSpPr>
            <p:nvPr/>
          </p:nvSpPr>
          <p:spPr bwMode="auto">
            <a:xfrm>
              <a:off x="9489869" y="2363147"/>
              <a:ext cx="492880" cy="266500"/>
            </a:xfrm>
            <a:custGeom>
              <a:avLst/>
              <a:gdLst>
                <a:gd name="T0" fmla="*/ 0 w 516"/>
                <a:gd name="T1" fmla="*/ 0 h 279"/>
                <a:gd name="T2" fmla="*/ 0 w 516"/>
                <a:gd name="T3" fmla="*/ 279 h 279"/>
                <a:gd name="T4" fmla="*/ 516 w 516"/>
                <a:gd name="T5" fmla="*/ 279 h 279"/>
                <a:gd name="T6" fmla="*/ 516 w 516"/>
                <a:gd name="T7" fmla="*/ 275 h 279"/>
                <a:gd name="T8" fmla="*/ 4 w 516"/>
                <a:gd name="T9" fmla="*/ 275 h 279"/>
                <a:gd name="T10" fmla="*/ 4 w 516"/>
                <a:gd name="T11" fmla="*/ 0 h 279"/>
                <a:gd name="T12" fmla="*/ 0 w 516"/>
                <a:gd name="T13" fmla="*/ 0 h 279"/>
              </a:gdLst>
              <a:ahLst/>
              <a:cxnLst>
                <a:cxn ang="0">
                  <a:pos x="T0" y="T1"/>
                </a:cxn>
                <a:cxn ang="0">
                  <a:pos x="T2" y="T3"/>
                </a:cxn>
                <a:cxn ang="0">
                  <a:pos x="T4" y="T5"/>
                </a:cxn>
                <a:cxn ang="0">
                  <a:pos x="T6" y="T7"/>
                </a:cxn>
                <a:cxn ang="0">
                  <a:pos x="T8" y="T9"/>
                </a:cxn>
                <a:cxn ang="0">
                  <a:pos x="T10" y="T11"/>
                </a:cxn>
                <a:cxn ang="0">
                  <a:pos x="T12" y="T13"/>
                </a:cxn>
              </a:cxnLst>
              <a:rect l="0" t="0" r="r" b="b"/>
              <a:pathLst>
                <a:path w="516" h="279">
                  <a:moveTo>
                    <a:pt x="0" y="0"/>
                  </a:moveTo>
                  <a:lnTo>
                    <a:pt x="0" y="279"/>
                  </a:lnTo>
                  <a:lnTo>
                    <a:pt x="516" y="279"/>
                  </a:lnTo>
                  <a:lnTo>
                    <a:pt x="516" y="275"/>
                  </a:lnTo>
                  <a:lnTo>
                    <a:pt x="4" y="275"/>
                  </a:lnTo>
                  <a:lnTo>
                    <a:pt x="4" y="0"/>
                  </a:lnTo>
                  <a:lnTo>
                    <a:pt x="0" y="0"/>
                  </a:lnTo>
                  <a:close/>
                </a:path>
              </a:pathLst>
            </a:custGeom>
            <a:solidFill>
              <a:srgbClr val="D1D1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16" name="Freeform 107"/>
            <p:cNvSpPr>
              <a:spLocks/>
            </p:cNvSpPr>
            <p:nvPr/>
          </p:nvSpPr>
          <p:spPr bwMode="auto">
            <a:xfrm>
              <a:off x="9489869" y="2363147"/>
              <a:ext cx="492880" cy="266500"/>
            </a:xfrm>
            <a:custGeom>
              <a:avLst/>
              <a:gdLst>
                <a:gd name="T0" fmla="*/ 0 w 516"/>
                <a:gd name="T1" fmla="*/ 0 h 279"/>
                <a:gd name="T2" fmla="*/ 0 w 516"/>
                <a:gd name="T3" fmla="*/ 279 h 279"/>
                <a:gd name="T4" fmla="*/ 516 w 516"/>
                <a:gd name="T5" fmla="*/ 279 h 279"/>
                <a:gd name="T6" fmla="*/ 516 w 516"/>
                <a:gd name="T7" fmla="*/ 275 h 279"/>
                <a:gd name="T8" fmla="*/ 4 w 516"/>
                <a:gd name="T9" fmla="*/ 275 h 279"/>
                <a:gd name="T10" fmla="*/ 4 w 516"/>
                <a:gd name="T11" fmla="*/ 0 h 279"/>
                <a:gd name="T12" fmla="*/ 0 w 516"/>
                <a:gd name="T13" fmla="*/ 0 h 279"/>
              </a:gdLst>
              <a:ahLst/>
              <a:cxnLst>
                <a:cxn ang="0">
                  <a:pos x="T0" y="T1"/>
                </a:cxn>
                <a:cxn ang="0">
                  <a:pos x="T2" y="T3"/>
                </a:cxn>
                <a:cxn ang="0">
                  <a:pos x="T4" y="T5"/>
                </a:cxn>
                <a:cxn ang="0">
                  <a:pos x="T6" y="T7"/>
                </a:cxn>
                <a:cxn ang="0">
                  <a:pos x="T8" y="T9"/>
                </a:cxn>
                <a:cxn ang="0">
                  <a:pos x="T10" y="T11"/>
                </a:cxn>
                <a:cxn ang="0">
                  <a:pos x="T12" y="T13"/>
                </a:cxn>
              </a:cxnLst>
              <a:rect l="0" t="0" r="r" b="b"/>
              <a:pathLst>
                <a:path w="516" h="279">
                  <a:moveTo>
                    <a:pt x="0" y="0"/>
                  </a:moveTo>
                  <a:lnTo>
                    <a:pt x="0" y="279"/>
                  </a:lnTo>
                  <a:lnTo>
                    <a:pt x="516" y="279"/>
                  </a:lnTo>
                  <a:lnTo>
                    <a:pt x="516" y="275"/>
                  </a:lnTo>
                  <a:lnTo>
                    <a:pt x="4" y="275"/>
                  </a:lnTo>
                  <a:lnTo>
                    <a:pt x="4"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20" name="Rectangle 108"/>
            <p:cNvSpPr>
              <a:spLocks noChangeArrowheads="1"/>
            </p:cNvSpPr>
            <p:nvPr/>
          </p:nvSpPr>
          <p:spPr bwMode="auto">
            <a:xfrm>
              <a:off x="9641745" y="2494963"/>
              <a:ext cx="57311" cy="132772"/>
            </a:xfrm>
            <a:prstGeom prst="rect">
              <a:avLst/>
            </a:prstGeom>
            <a:solidFill>
              <a:srgbClr val="001A4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21" name="Rectangle 109"/>
            <p:cNvSpPr>
              <a:spLocks noChangeArrowheads="1"/>
            </p:cNvSpPr>
            <p:nvPr/>
          </p:nvSpPr>
          <p:spPr bwMode="auto">
            <a:xfrm>
              <a:off x="9713385" y="2449113"/>
              <a:ext cx="57311" cy="178621"/>
            </a:xfrm>
            <a:prstGeom prst="rect">
              <a:avLst/>
            </a:prstGeom>
            <a:solidFill>
              <a:srgbClr val="001A4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22" name="Rectangle 110"/>
            <p:cNvSpPr>
              <a:spLocks noChangeArrowheads="1"/>
            </p:cNvSpPr>
            <p:nvPr/>
          </p:nvSpPr>
          <p:spPr bwMode="auto">
            <a:xfrm>
              <a:off x="9713385" y="2449113"/>
              <a:ext cx="57311" cy="1786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23" name="Rectangle 111"/>
            <p:cNvSpPr>
              <a:spLocks noChangeArrowheads="1"/>
            </p:cNvSpPr>
            <p:nvPr/>
          </p:nvSpPr>
          <p:spPr bwMode="auto">
            <a:xfrm>
              <a:off x="9785024" y="2404219"/>
              <a:ext cx="56357" cy="223515"/>
            </a:xfrm>
            <a:prstGeom prst="rect">
              <a:avLst/>
            </a:prstGeom>
            <a:solidFill>
              <a:srgbClr val="001A4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24" name="Rectangle 112"/>
            <p:cNvSpPr>
              <a:spLocks noChangeArrowheads="1"/>
            </p:cNvSpPr>
            <p:nvPr/>
          </p:nvSpPr>
          <p:spPr bwMode="auto">
            <a:xfrm>
              <a:off x="9785024" y="2404219"/>
              <a:ext cx="56357" cy="2235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25" name="Rectangle 113"/>
            <p:cNvSpPr>
              <a:spLocks noChangeArrowheads="1"/>
            </p:cNvSpPr>
            <p:nvPr/>
          </p:nvSpPr>
          <p:spPr bwMode="auto">
            <a:xfrm>
              <a:off x="9510885" y="2592392"/>
              <a:ext cx="19103" cy="35342"/>
            </a:xfrm>
            <a:prstGeom prst="rect">
              <a:avLst/>
            </a:prstGeom>
            <a:solidFill>
              <a:srgbClr val="001A4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26" name="Rectangle 114"/>
            <p:cNvSpPr>
              <a:spLocks noChangeArrowheads="1"/>
            </p:cNvSpPr>
            <p:nvPr/>
          </p:nvSpPr>
          <p:spPr bwMode="auto">
            <a:xfrm>
              <a:off x="9972243" y="2572333"/>
              <a:ext cx="19103" cy="55400"/>
            </a:xfrm>
            <a:prstGeom prst="rect">
              <a:avLst/>
            </a:prstGeom>
            <a:solidFill>
              <a:srgbClr val="001A4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27" name="Rectangle 115"/>
            <p:cNvSpPr>
              <a:spLocks noChangeArrowheads="1"/>
            </p:cNvSpPr>
            <p:nvPr/>
          </p:nvSpPr>
          <p:spPr bwMode="auto">
            <a:xfrm>
              <a:off x="9939766" y="2572333"/>
              <a:ext cx="19103" cy="55400"/>
            </a:xfrm>
            <a:prstGeom prst="rect">
              <a:avLst/>
            </a:prstGeom>
            <a:solidFill>
              <a:srgbClr val="001A4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28" name="Rectangle 116"/>
            <p:cNvSpPr>
              <a:spLocks noChangeArrowheads="1"/>
            </p:cNvSpPr>
            <p:nvPr/>
          </p:nvSpPr>
          <p:spPr bwMode="auto">
            <a:xfrm>
              <a:off x="9542405" y="2572333"/>
              <a:ext cx="19103" cy="55400"/>
            </a:xfrm>
            <a:prstGeom prst="rect">
              <a:avLst/>
            </a:prstGeom>
            <a:solidFill>
              <a:srgbClr val="001A4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00" name="Freeform 179"/>
            <p:cNvSpPr>
              <a:spLocks/>
            </p:cNvSpPr>
            <p:nvPr/>
          </p:nvSpPr>
          <p:spPr bwMode="auto">
            <a:xfrm>
              <a:off x="9705742" y="2797760"/>
              <a:ext cx="85968" cy="416464"/>
            </a:xfrm>
            <a:custGeom>
              <a:avLst/>
              <a:gdLst>
                <a:gd name="T0" fmla="*/ 92 w 92"/>
                <a:gd name="T1" fmla="*/ 0 h 451"/>
                <a:gd name="T2" fmla="*/ 0 w 92"/>
                <a:gd name="T3" fmla="*/ 0 h 451"/>
                <a:gd name="T4" fmla="*/ 0 w 92"/>
                <a:gd name="T5" fmla="*/ 433 h 451"/>
                <a:gd name="T6" fmla="*/ 18 w 92"/>
                <a:gd name="T7" fmla="*/ 451 h 451"/>
                <a:gd name="T8" fmla="*/ 73 w 92"/>
                <a:gd name="T9" fmla="*/ 451 h 451"/>
                <a:gd name="T10" fmla="*/ 92 w 92"/>
                <a:gd name="T11" fmla="*/ 433 h 451"/>
                <a:gd name="T12" fmla="*/ 92 w 92"/>
                <a:gd name="T13" fmla="*/ 0 h 451"/>
              </a:gdLst>
              <a:ahLst/>
              <a:cxnLst>
                <a:cxn ang="0">
                  <a:pos x="T0" y="T1"/>
                </a:cxn>
                <a:cxn ang="0">
                  <a:pos x="T2" y="T3"/>
                </a:cxn>
                <a:cxn ang="0">
                  <a:pos x="T4" y="T5"/>
                </a:cxn>
                <a:cxn ang="0">
                  <a:pos x="T6" y="T7"/>
                </a:cxn>
                <a:cxn ang="0">
                  <a:pos x="T8" y="T9"/>
                </a:cxn>
                <a:cxn ang="0">
                  <a:pos x="T10" y="T11"/>
                </a:cxn>
                <a:cxn ang="0">
                  <a:pos x="T12" y="T13"/>
                </a:cxn>
              </a:cxnLst>
              <a:rect l="0" t="0" r="r" b="b"/>
              <a:pathLst>
                <a:path w="92" h="451">
                  <a:moveTo>
                    <a:pt x="92" y="0"/>
                  </a:moveTo>
                  <a:cubicBezTo>
                    <a:pt x="0" y="0"/>
                    <a:pt x="0" y="0"/>
                    <a:pt x="0" y="0"/>
                  </a:cubicBezTo>
                  <a:cubicBezTo>
                    <a:pt x="0" y="433"/>
                    <a:pt x="0" y="433"/>
                    <a:pt x="0" y="433"/>
                  </a:cubicBezTo>
                  <a:cubicBezTo>
                    <a:pt x="0" y="443"/>
                    <a:pt x="8" y="451"/>
                    <a:pt x="18" y="451"/>
                  </a:cubicBezTo>
                  <a:cubicBezTo>
                    <a:pt x="73" y="451"/>
                    <a:pt x="73" y="451"/>
                    <a:pt x="73" y="451"/>
                  </a:cubicBezTo>
                  <a:cubicBezTo>
                    <a:pt x="84" y="451"/>
                    <a:pt x="92" y="443"/>
                    <a:pt x="92" y="433"/>
                  </a:cubicBezTo>
                  <a:cubicBezTo>
                    <a:pt x="92" y="0"/>
                    <a:pt x="92" y="0"/>
                    <a:pt x="92" y="0"/>
                  </a:cubicBezTo>
                </a:path>
              </a:pathLst>
            </a:custGeom>
            <a:solidFill>
              <a:srgbClr val="001A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01" name="Freeform 180"/>
            <p:cNvSpPr>
              <a:spLocks noEditPoints="1"/>
            </p:cNvSpPr>
            <p:nvPr/>
          </p:nvSpPr>
          <p:spPr bwMode="auto">
            <a:xfrm>
              <a:off x="9705742" y="2797760"/>
              <a:ext cx="24835" cy="416464"/>
            </a:xfrm>
            <a:custGeom>
              <a:avLst/>
              <a:gdLst>
                <a:gd name="T0" fmla="*/ 0 w 26"/>
                <a:gd name="T1" fmla="*/ 270 h 451"/>
                <a:gd name="T2" fmla="*/ 0 w 26"/>
                <a:gd name="T3" fmla="*/ 433 h 451"/>
                <a:gd name="T4" fmla="*/ 18 w 26"/>
                <a:gd name="T5" fmla="*/ 451 h 451"/>
                <a:gd name="T6" fmla="*/ 26 w 26"/>
                <a:gd name="T7" fmla="*/ 451 h 451"/>
                <a:gd name="T8" fmla="*/ 26 w 26"/>
                <a:gd name="T9" fmla="*/ 382 h 451"/>
                <a:gd name="T10" fmla="*/ 8 w 26"/>
                <a:gd name="T11" fmla="*/ 356 h 451"/>
                <a:gd name="T12" fmla="*/ 8 w 26"/>
                <a:gd name="T13" fmla="*/ 355 h 451"/>
                <a:gd name="T14" fmla="*/ 8 w 26"/>
                <a:gd name="T15" fmla="*/ 355 h 451"/>
                <a:gd name="T16" fmla="*/ 8 w 26"/>
                <a:gd name="T17" fmla="*/ 355 h 451"/>
                <a:gd name="T18" fmla="*/ 26 w 26"/>
                <a:gd name="T19" fmla="*/ 329 h 451"/>
                <a:gd name="T20" fmla="*/ 26 w 26"/>
                <a:gd name="T21" fmla="*/ 321 h 451"/>
                <a:gd name="T22" fmla="*/ 16 w 26"/>
                <a:gd name="T23" fmla="*/ 298 h 451"/>
                <a:gd name="T24" fmla="*/ 16 w 26"/>
                <a:gd name="T25" fmla="*/ 298 h 451"/>
                <a:gd name="T26" fmla="*/ 16 w 26"/>
                <a:gd name="T27" fmla="*/ 298 h 451"/>
                <a:gd name="T28" fmla="*/ 16 w 26"/>
                <a:gd name="T29" fmla="*/ 298 h 451"/>
                <a:gd name="T30" fmla="*/ 26 w 26"/>
                <a:gd name="T31" fmla="*/ 276 h 451"/>
                <a:gd name="T32" fmla="*/ 26 w 26"/>
                <a:gd name="T33" fmla="*/ 270 h 451"/>
                <a:gd name="T34" fmla="*/ 1 w 26"/>
                <a:gd name="T35" fmla="*/ 270 h 451"/>
                <a:gd name="T36" fmla="*/ 0 w 26"/>
                <a:gd name="T37" fmla="*/ 270 h 451"/>
                <a:gd name="T38" fmla="*/ 26 w 26"/>
                <a:gd name="T39" fmla="*/ 209 h 451"/>
                <a:gd name="T40" fmla="*/ 0 w 26"/>
                <a:gd name="T41" fmla="*/ 209 h 451"/>
                <a:gd name="T42" fmla="*/ 0 w 26"/>
                <a:gd name="T43" fmla="*/ 213 h 451"/>
                <a:gd name="T44" fmla="*/ 1 w 26"/>
                <a:gd name="T45" fmla="*/ 213 h 451"/>
                <a:gd name="T46" fmla="*/ 26 w 26"/>
                <a:gd name="T47" fmla="*/ 213 h 451"/>
                <a:gd name="T48" fmla="*/ 26 w 26"/>
                <a:gd name="T49" fmla="*/ 209 h 451"/>
                <a:gd name="T50" fmla="*/ 26 w 26"/>
                <a:gd name="T51" fmla="*/ 0 h 451"/>
                <a:gd name="T52" fmla="*/ 0 w 26"/>
                <a:gd name="T53" fmla="*/ 0 h 451"/>
                <a:gd name="T54" fmla="*/ 0 w 26"/>
                <a:gd name="T55" fmla="*/ 152 h 451"/>
                <a:gd name="T56" fmla="*/ 26 w 26"/>
                <a:gd name="T57" fmla="*/ 152 h 451"/>
                <a:gd name="T58" fmla="*/ 26 w 26"/>
                <a:gd name="T59" fmla="*/ 0 h 4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6" h="451">
                  <a:moveTo>
                    <a:pt x="0" y="270"/>
                  </a:moveTo>
                  <a:cubicBezTo>
                    <a:pt x="0" y="433"/>
                    <a:pt x="0" y="433"/>
                    <a:pt x="0" y="433"/>
                  </a:cubicBezTo>
                  <a:cubicBezTo>
                    <a:pt x="0" y="443"/>
                    <a:pt x="8" y="451"/>
                    <a:pt x="18" y="451"/>
                  </a:cubicBezTo>
                  <a:cubicBezTo>
                    <a:pt x="26" y="451"/>
                    <a:pt x="26" y="451"/>
                    <a:pt x="26" y="451"/>
                  </a:cubicBezTo>
                  <a:cubicBezTo>
                    <a:pt x="26" y="382"/>
                    <a:pt x="26" y="382"/>
                    <a:pt x="26" y="382"/>
                  </a:cubicBezTo>
                  <a:cubicBezTo>
                    <a:pt x="16" y="378"/>
                    <a:pt x="8" y="368"/>
                    <a:pt x="8" y="356"/>
                  </a:cubicBezTo>
                  <a:cubicBezTo>
                    <a:pt x="8" y="355"/>
                    <a:pt x="8" y="355"/>
                    <a:pt x="8" y="355"/>
                  </a:cubicBezTo>
                  <a:cubicBezTo>
                    <a:pt x="8" y="355"/>
                    <a:pt x="8" y="355"/>
                    <a:pt x="8" y="355"/>
                  </a:cubicBezTo>
                  <a:cubicBezTo>
                    <a:pt x="8" y="355"/>
                    <a:pt x="8" y="355"/>
                    <a:pt x="8" y="355"/>
                  </a:cubicBezTo>
                  <a:cubicBezTo>
                    <a:pt x="8" y="343"/>
                    <a:pt x="16" y="333"/>
                    <a:pt x="26" y="329"/>
                  </a:cubicBezTo>
                  <a:cubicBezTo>
                    <a:pt x="26" y="321"/>
                    <a:pt x="26" y="321"/>
                    <a:pt x="26" y="321"/>
                  </a:cubicBezTo>
                  <a:cubicBezTo>
                    <a:pt x="20" y="315"/>
                    <a:pt x="16" y="307"/>
                    <a:pt x="16" y="298"/>
                  </a:cubicBezTo>
                  <a:cubicBezTo>
                    <a:pt x="16" y="298"/>
                    <a:pt x="16" y="298"/>
                    <a:pt x="16" y="298"/>
                  </a:cubicBezTo>
                  <a:cubicBezTo>
                    <a:pt x="16" y="298"/>
                    <a:pt x="16" y="298"/>
                    <a:pt x="16" y="298"/>
                  </a:cubicBezTo>
                  <a:cubicBezTo>
                    <a:pt x="16" y="298"/>
                    <a:pt x="16" y="298"/>
                    <a:pt x="16" y="298"/>
                  </a:cubicBezTo>
                  <a:cubicBezTo>
                    <a:pt x="16" y="289"/>
                    <a:pt x="20" y="281"/>
                    <a:pt x="26" y="276"/>
                  </a:cubicBezTo>
                  <a:cubicBezTo>
                    <a:pt x="26" y="270"/>
                    <a:pt x="26" y="270"/>
                    <a:pt x="26" y="270"/>
                  </a:cubicBezTo>
                  <a:cubicBezTo>
                    <a:pt x="1" y="270"/>
                    <a:pt x="1" y="270"/>
                    <a:pt x="1" y="270"/>
                  </a:cubicBezTo>
                  <a:cubicBezTo>
                    <a:pt x="0" y="270"/>
                    <a:pt x="0" y="270"/>
                    <a:pt x="0" y="270"/>
                  </a:cubicBezTo>
                  <a:moveTo>
                    <a:pt x="26" y="209"/>
                  </a:moveTo>
                  <a:cubicBezTo>
                    <a:pt x="0" y="209"/>
                    <a:pt x="0" y="209"/>
                    <a:pt x="0" y="209"/>
                  </a:cubicBezTo>
                  <a:cubicBezTo>
                    <a:pt x="0" y="213"/>
                    <a:pt x="0" y="213"/>
                    <a:pt x="0" y="213"/>
                  </a:cubicBezTo>
                  <a:cubicBezTo>
                    <a:pt x="0" y="213"/>
                    <a:pt x="0" y="213"/>
                    <a:pt x="1" y="213"/>
                  </a:cubicBezTo>
                  <a:cubicBezTo>
                    <a:pt x="26" y="213"/>
                    <a:pt x="26" y="213"/>
                    <a:pt x="26" y="213"/>
                  </a:cubicBezTo>
                  <a:cubicBezTo>
                    <a:pt x="26" y="209"/>
                    <a:pt x="26" y="209"/>
                    <a:pt x="26" y="209"/>
                  </a:cubicBezTo>
                  <a:moveTo>
                    <a:pt x="26" y="0"/>
                  </a:moveTo>
                  <a:cubicBezTo>
                    <a:pt x="0" y="0"/>
                    <a:pt x="0" y="0"/>
                    <a:pt x="0" y="0"/>
                  </a:cubicBezTo>
                  <a:cubicBezTo>
                    <a:pt x="0" y="152"/>
                    <a:pt x="0" y="152"/>
                    <a:pt x="0" y="152"/>
                  </a:cubicBezTo>
                  <a:cubicBezTo>
                    <a:pt x="26" y="152"/>
                    <a:pt x="26" y="152"/>
                    <a:pt x="26" y="152"/>
                  </a:cubicBezTo>
                  <a:cubicBezTo>
                    <a:pt x="26" y="0"/>
                    <a:pt x="26" y="0"/>
                    <a:pt x="26" y="0"/>
                  </a:cubicBezTo>
                </a:path>
              </a:pathLst>
            </a:custGeom>
            <a:solidFill>
              <a:srgbClr val="6676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02" name="Freeform 181"/>
            <p:cNvSpPr>
              <a:spLocks noEditPoints="1"/>
            </p:cNvSpPr>
            <p:nvPr/>
          </p:nvSpPr>
          <p:spPr bwMode="auto">
            <a:xfrm>
              <a:off x="9766876" y="2797760"/>
              <a:ext cx="24835" cy="196769"/>
            </a:xfrm>
            <a:custGeom>
              <a:avLst/>
              <a:gdLst>
                <a:gd name="T0" fmla="*/ 26 w 26"/>
                <a:gd name="T1" fmla="*/ 202 h 206"/>
                <a:gd name="T2" fmla="*/ 0 w 26"/>
                <a:gd name="T3" fmla="*/ 202 h 206"/>
                <a:gd name="T4" fmla="*/ 0 w 26"/>
                <a:gd name="T5" fmla="*/ 206 h 206"/>
                <a:gd name="T6" fmla="*/ 26 w 26"/>
                <a:gd name="T7" fmla="*/ 206 h 206"/>
                <a:gd name="T8" fmla="*/ 26 w 26"/>
                <a:gd name="T9" fmla="*/ 202 h 206"/>
                <a:gd name="T10" fmla="*/ 26 w 26"/>
                <a:gd name="T11" fmla="*/ 0 h 206"/>
                <a:gd name="T12" fmla="*/ 0 w 26"/>
                <a:gd name="T13" fmla="*/ 0 h 206"/>
                <a:gd name="T14" fmla="*/ 0 w 26"/>
                <a:gd name="T15" fmla="*/ 147 h 206"/>
                <a:gd name="T16" fmla="*/ 26 w 26"/>
                <a:gd name="T17" fmla="*/ 147 h 206"/>
                <a:gd name="T18" fmla="*/ 26 w 26"/>
                <a:gd name="T19" fmla="*/ 0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206">
                  <a:moveTo>
                    <a:pt x="26" y="202"/>
                  </a:moveTo>
                  <a:lnTo>
                    <a:pt x="0" y="202"/>
                  </a:lnTo>
                  <a:lnTo>
                    <a:pt x="0" y="206"/>
                  </a:lnTo>
                  <a:lnTo>
                    <a:pt x="26" y="206"/>
                  </a:lnTo>
                  <a:lnTo>
                    <a:pt x="26" y="202"/>
                  </a:lnTo>
                  <a:close/>
                  <a:moveTo>
                    <a:pt x="26" y="0"/>
                  </a:moveTo>
                  <a:lnTo>
                    <a:pt x="0" y="0"/>
                  </a:lnTo>
                  <a:lnTo>
                    <a:pt x="0" y="147"/>
                  </a:lnTo>
                  <a:lnTo>
                    <a:pt x="26" y="147"/>
                  </a:lnTo>
                  <a:lnTo>
                    <a:pt x="26" y="0"/>
                  </a:lnTo>
                  <a:close/>
                </a:path>
              </a:pathLst>
            </a:custGeom>
            <a:solidFill>
              <a:srgbClr val="000A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03" name="Freeform 182"/>
            <p:cNvSpPr>
              <a:spLocks noEditPoints="1"/>
            </p:cNvSpPr>
            <p:nvPr/>
          </p:nvSpPr>
          <p:spPr bwMode="auto">
            <a:xfrm>
              <a:off x="9766876" y="2797760"/>
              <a:ext cx="24835" cy="196769"/>
            </a:xfrm>
            <a:custGeom>
              <a:avLst/>
              <a:gdLst>
                <a:gd name="T0" fmla="*/ 26 w 26"/>
                <a:gd name="T1" fmla="*/ 202 h 206"/>
                <a:gd name="T2" fmla="*/ 0 w 26"/>
                <a:gd name="T3" fmla="*/ 202 h 206"/>
                <a:gd name="T4" fmla="*/ 0 w 26"/>
                <a:gd name="T5" fmla="*/ 206 h 206"/>
                <a:gd name="T6" fmla="*/ 26 w 26"/>
                <a:gd name="T7" fmla="*/ 206 h 206"/>
                <a:gd name="T8" fmla="*/ 26 w 26"/>
                <a:gd name="T9" fmla="*/ 202 h 206"/>
                <a:gd name="T10" fmla="*/ 26 w 26"/>
                <a:gd name="T11" fmla="*/ 0 h 206"/>
                <a:gd name="T12" fmla="*/ 0 w 26"/>
                <a:gd name="T13" fmla="*/ 0 h 206"/>
                <a:gd name="T14" fmla="*/ 0 w 26"/>
                <a:gd name="T15" fmla="*/ 147 h 206"/>
                <a:gd name="T16" fmla="*/ 26 w 26"/>
                <a:gd name="T17" fmla="*/ 147 h 206"/>
                <a:gd name="T18" fmla="*/ 26 w 26"/>
                <a:gd name="T19" fmla="*/ 0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206">
                  <a:moveTo>
                    <a:pt x="26" y="202"/>
                  </a:moveTo>
                  <a:lnTo>
                    <a:pt x="0" y="202"/>
                  </a:lnTo>
                  <a:lnTo>
                    <a:pt x="0" y="206"/>
                  </a:lnTo>
                  <a:lnTo>
                    <a:pt x="26" y="206"/>
                  </a:lnTo>
                  <a:lnTo>
                    <a:pt x="26" y="202"/>
                  </a:lnTo>
                  <a:moveTo>
                    <a:pt x="26" y="0"/>
                  </a:moveTo>
                  <a:lnTo>
                    <a:pt x="0" y="0"/>
                  </a:lnTo>
                  <a:lnTo>
                    <a:pt x="0" y="147"/>
                  </a:lnTo>
                  <a:lnTo>
                    <a:pt x="26" y="147"/>
                  </a:lnTo>
                  <a:lnTo>
                    <a:pt x="2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04" name="Freeform 183"/>
            <p:cNvSpPr>
              <a:spLocks/>
            </p:cNvSpPr>
            <p:nvPr/>
          </p:nvSpPr>
          <p:spPr bwMode="auto">
            <a:xfrm>
              <a:off x="9766876" y="3152136"/>
              <a:ext cx="24835" cy="62087"/>
            </a:xfrm>
            <a:custGeom>
              <a:avLst/>
              <a:gdLst>
                <a:gd name="T0" fmla="*/ 27 w 27"/>
                <a:gd name="T1" fmla="*/ 0 h 67"/>
                <a:gd name="T2" fmla="*/ 13 w 27"/>
                <a:gd name="T3" fmla="*/ 0 h 67"/>
                <a:gd name="T4" fmla="*/ 0 w 27"/>
                <a:gd name="T5" fmla="*/ 0 h 67"/>
                <a:gd name="T6" fmla="*/ 0 w 27"/>
                <a:gd name="T7" fmla="*/ 67 h 67"/>
                <a:gd name="T8" fmla="*/ 8 w 27"/>
                <a:gd name="T9" fmla="*/ 67 h 67"/>
                <a:gd name="T10" fmla="*/ 27 w 27"/>
                <a:gd name="T11" fmla="*/ 49 h 67"/>
                <a:gd name="T12" fmla="*/ 27 w 27"/>
                <a:gd name="T13" fmla="*/ 0 h 67"/>
              </a:gdLst>
              <a:ahLst/>
              <a:cxnLst>
                <a:cxn ang="0">
                  <a:pos x="T0" y="T1"/>
                </a:cxn>
                <a:cxn ang="0">
                  <a:pos x="T2" y="T3"/>
                </a:cxn>
                <a:cxn ang="0">
                  <a:pos x="T4" y="T5"/>
                </a:cxn>
                <a:cxn ang="0">
                  <a:pos x="T6" y="T7"/>
                </a:cxn>
                <a:cxn ang="0">
                  <a:pos x="T8" y="T9"/>
                </a:cxn>
                <a:cxn ang="0">
                  <a:pos x="T10" y="T11"/>
                </a:cxn>
                <a:cxn ang="0">
                  <a:pos x="T12" y="T13"/>
                </a:cxn>
              </a:cxnLst>
              <a:rect l="0" t="0" r="r" b="b"/>
              <a:pathLst>
                <a:path w="27" h="67">
                  <a:moveTo>
                    <a:pt x="27" y="0"/>
                  </a:moveTo>
                  <a:cubicBezTo>
                    <a:pt x="13" y="0"/>
                    <a:pt x="13" y="0"/>
                    <a:pt x="13" y="0"/>
                  </a:cubicBezTo>
                  <a:cubicBezTo>
                    <a:pt x="0" y="0"/>
                    <a:pt x="0" y="0"/>
                    <a:pt x="0" y="0"/>
                  </a:cubicBezTo>
                  <a:cubicBezTo>
                    <a:pt x="0" y="67"/>
                    <a:pt x="0" y="67"/>
                    <a:pt x="0" y="67"/>
                  </a:cubicBezTo>
                  <a:cubicBezTo>
                    <a:pt x="8" y="67"/>
                    <a:pt x="8" y="67"/>
                    <a:pt x="8" y="67"/>
                  </a:cubicBezTo>
                  <a:cubicBezTo>
                    <a:pt x="19" y="67"/>
                    <a:pt x="27" y="59"/>
                    <a:pt x="27" y="49"/>
                  </a:cubicBezTo>
                  <a:cubicBezTo>
                    <a:pt x="27" y="0"/>
                    <a:pt x="27" y="0"/>
                    <a:pt x="27" y="0"/>
                  </a:cubicBezTo>
                </a:path>
              </a:pathLst>
            </a:custGeom>
            <a:solidFill>
              <a:srgbClr val="000A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05" name="Freeform 184"/>
            <p:cNvSpPr>
              <a:spLocks/>
            </p:cNvSpPr>
            <p:nvPr/>
          </p:nvSpPr>
          <p:spPr bwMode="auto">
            <a:xfrm>
              <a:off x="9713385" y="3099600"/>
              <a:ext cx="116534" cy="52537"/>
            </a:xfrm>
            <a:custGeom>
              <a:avLst/>
              <a:gdLst>
                <a:gd name="T0" fmla="*/ 0 w 125"/>
                <a:gd name="T1" fmla="*/ 29 h 57"/>
                <a:gd name="T2" fmla="*/ 29 w 125"/>
                <a:gd name="T3" fmla="*/ 57 h 57"/>
                <a:gd name="T4" fmla="*/ 70 w 125"/>
                <a:gd name="T5" fmla="*/ 57 h 57"/>
                <a:gd name="T6" fmla="*/ 97 w 125"/>
                <a:gd name="T7" fmla="*/ 57 h 57"/>
                <a:gd name="T8" fmla="*/ 125 w 125"/>
                <a:gd name="T9" fmla="*/ 28 h 57"/>
                <a:gd name="T10" fmla="*/ 125 w 125"/>
                <a:gd name="T11" fmla="*/ 24 h 57"/>
                <a:gd name="T12" fmla="*/ 101 w 125"/>
                <a:gd name="T13" fmla="*/ 0 h 57"/>
                <a:gd name="T14" fmla="*/ 70 w 125"/>
                <a:gd name="T15" fmla="*/ 0 h 57"/>
                <a:gd name="T16" fmla="*/ 29 w 125"/>
                <a:gd name="T17" fmla="*/ 0 h 57"/>
                <a:gd name="T18" fmla="*/ 0 w 125"/>
                <a:gd name="T19" fmla="*/ 28 h 57"/>
                <a:gd name="T20" fmla="*/ 0 w 125"/>
                <a:gd name="T21" fmla="*/ 28 h 57"/>
                <a:gd name="T22" fmla="*/ 0 w 125"/>
                <a:gd name="T23" fmla="*/ 29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5" h="57">
                  <a:moveTo>
                    <a:pt x="0" y="29"/>
                  </a:moveTo>
                  <a:cubicBezTo>
                    <a:pt x="0" y="44"/>
                    <a:pt x="13" y="57"/>
                    <a:pt x="29" y="57"/>
                  </a:cubicBezTo>
                  <a:cubicBezTo>
                    <a:pt x="70" y="57"/>
                    <a:pt x="70" y="57"/>
                    <a:pt x="70" y="57"/>
                  </a:cubicBezTo>
                  <a:cubicBezTo>
                    <a:pt x="97" y="57"/>
                    <a:pt x="97" y="57"/>
                    <a:pt x="97" y="57"/>
                  </a:cubicBezTo>
                  <a:cubicBezTo>
                    <a:pt x="113" y="57"/>
                    <a:pt x="125" y="44"/>
                    <a:pt x="125" y="28"/>
                  </a:cubicBezTo>
                  <a:cubicBezTo>
                    <a:pt x="125" y="24"/>
                    <a:pt x="125" y="24"/>
                    <a:pt x="125" y="24"/>
                  </a:cubicBezTo>
                  <a:cubicBezTo>
                    <a:pt x="125" y="11"/>
                    <a:pt x="115" y="0"/>
                    <a:pt x="101" y="0"/>
                  </a:cubicBezTo>
                  <a:cubicBezTo>
                    <a:pt x="70" y="0"/>
                    <a:pt x="70" y="0"/>
                    <a:pt x="70" y="0"/>
                  </a:cubicBezTo>
                  <a:cubicBezTo>
                    <a:pt x="29" y="0"/>
                    <a:pt x="29" y="0"/>
                    <a:pt x="29" y="0"/>
                  </a:cubicBezTo>
                  <a:cubicBezTo>
                    <a:pt x="13" y="0"/>
                    <a:pt x="0" y="12"/>
                    <a:pt x="0" y="28"/>
                  </a:cubicBezTo>
                  <a:cubicBezTo>
                    <a:pt x="0" y="28"/>
                    <a:pt x="0" y="28"/>
                    <a:pt x="0" y="28"/>
                  </a:cubicBezTo>
                  <a:cubicBezTo>
                    <a:pt x="0" y="29"/>
                    <a:pt x="0" y="29"/>
                    <a:pt x="0" y="29"/>
                  </a:cubicBezTo>
                </a:path>
              </a:pathLst>
            </a:custGeom>
            <a:solidFill>
              <a:srgbClr val="6B3C1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06" name="Freeform 185"/>
            <p:cNvSpPr>
              <a:spLocks/>
            </p:cNvSpPr>
            <p:nvPr/>
          </p:nvSpPr>
          <p:spPr bwMode="auto">
            <a:xfrm>
              <a:off x="9791711" y="3099600"/>
              <a:ext cx="38208" cy="27701"/>
            </a:xfrm>
            <a:custGeom>
              <a:avLst/>
              <a:gdLst>
                <a:gd name="T0" fmla="*/ 17 w 41"/>
                <a:gd name="T1" fmla="*/ 0 h 30"/>
                <a:gd name="T2" fmla="*/ 0 w 41"/>
                <a:gd name="T3" fmla="*/ 0 h 30"/>
                <a:gd name="T4" fmla="*/ 17 w 41"/>
                <a:gd name="T5" fmla="*/ 0 h 30"/>
                <a:gd name="T6" fmla="*/ 41 w 41"/>
                <a:gd name="T7" fmla="*/ 24 h 30"/>
                <a:gd name="T8" fmla="*/ 41 w 41"/>
                <a:gd name="T9" fmla="*/ 28 h 30"/>
                <a:gd name="T10" fmla="*/ 41 w 41"/>
                <a:gd name="T11" fmla="*/ 29 h 30"/>
                <a:gd name="T12" fmla="*/ 41 w 41"/>
                <a:gd name="T13" fmla="*/ 30 h 30"/>
                <a:gd name="T14" fmla="*/ 41 w 41"/>
                <a:gd name="T15" fmla="*/ 28 h 30"/>
                <a:gd name="T16" fmla="*/ 41 w 41"/>
                <a:gd name="T17" fmla="*/ 24 h 30"/>
                <a:gd name="T18" fmla="*/ 17 w 41"/>
                <a:gd name="T19"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30">
                  <a:moveTo>
                    <a:pt x="17" y="0"/>
                  </a:moveTo>
                  <a:cubicBezTo>
                    <a:pt x="0" y="0"/>
                    <a:pt x="0" y="0"/>
                    <a:pt x="0" y="0"/>
                  </a:cubicBezTo>
                  <a:cubicBezTo>
                    <a:pt x="17" y="0"/>
                    <a:pt x="17" y="0"/>
                    <a:pt x="17" y="0"/>
                  </a:cubicBezTo>
                  <a:cubicBezTo>
                    <a:pt x="31" y="0"/>
                    <a:pt x="41" y="11"/>
                    <a:pt x="41" y="24"/>
                  </a:cubicBezTo>
                  <a:cubicBezTo>
                    <a:pt x="41" y="28"/>
                    <a:pt x="41" y="28"/>
                    <a:pt x="41" y="28"/>
                  </a:cubicBezTo>
                  <a:cubicBezTo>
                    <a:pt x="41" y="29"/>
                    <a:pt x="41" y="29"/>
                    <a:pt x="41" y="29"/>
                  </a:cubicBezTo>
                  <a:cubicBezTo>
                    <a:pt x="41" y="29"/>
                    <a:pt x="41" y="30"/>
                    <a:pt x="41" y="30"/>
                  </a:cubicBezTo>
                  <a:cubicBezTo>
                    <a:pt x="41" y="28"/>
                    <a:pt x="41" y="28"/>
                    <a:pt x="41" y="28"/>
                  </a:cubicBezTo>
                  <a:cubicBezTo>
                    <a:pt x="41" y="24"/>
                    <a:pt x="41" y="24"/>
                    <a:pt x="41" y="24"/>
                  </a:cubicBezTo>
                  <a:cubicBezTo>
                    <a:pt x="41" y="11"/>
                    <a:pt x="31" y="0"/>
                    <a:pt x="17" y="0"/>
                  </a:cubicBezTo>
                </a:path>
              </a:pathLst>
            </a:custGeom>
            <a:solidFill>
              <a:srgbClr val="FFC7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07" name="Freeform 186"/>
            <p:cNvSpPr>
              <a:spLocks/>
            </p:cNvSpPr>
            <p:nvPr/>
          </p:nvSpPr>
          <p:spPr bwMode="auto">
            <a:xfrm>
              <a:off x="9713385" y="3099600"/>
              <a:ext cx="116534" cy="28655"/>
            </a:xfrm>
            <a:custGeom>
              <a:avLst/>
              <a:gdLst>
                <a:gd name="T0" fmla="*/ 101 w 125"/>
                <a:gd name="T1" fmla="*/ 0 h 31"/>
                <a:gd name="T2" fmla="*/ 84 w 125"/>
                <a:gd name="T3" fmla="*/ 0 h 31"/>
                <a:gd name="T4" fmla="*/ 70 w 125"/>
                <a:gd name="T5" fmla="*/ 0 h 31"/>
                <a:gd name="T6" fmla="*/ 57 w 125"/>
                <a:gd name="T7" fmla="*/ 0 h 31"/>
                <a:gd name="T8" fmla="*/ 29 w 125"/>
                <a:gd name="T9" fmla="*/ 0 h 31"/>
                <a:gd name="T10" fmla="*/ 18 w 125"/>
                <a:gd name="T11" fmla="*/ 2 h 31"/>
                <a:gd name="T12" fmla="*/ 0 w 125"/>
                <a:gd name="T13" fmla="*/ 28 h 31"/>
                <a:gd name="T14" fmla="*/ 0 w 125"/>
                <a:gd name="T15" fmla="*/ 28 h 31"/>
                <a:gd name="T16" fmla="*/ 0 w 125"/>
                <a:gd name="T17" fmla="*/ 29 h 31"/>
                <a:gd name="T18" fmla="*/ 1 w 125"/>
                <a:gd name="T19" fmla="*/ 31 h 31"/>
                <a:gd name="T20" fmla="*/ 29 w 125"/>
                <a:gd name="T21" fmla="*/ 6 h 31"/>
                <a:gd name="T22" fmla="*/ 70 w 125"/>
                <a:gd name="T23" fmla="*/ 6 h 31"/>
                <a:gd name="T24" fmla="*/ 101 w 125"/>
                <a:gd name="T25" fmla="*/ 6 h 31"/>
                <a:gd name="T26" fmla="*/ 125 w 125"/>
                <a:gd name="T27" fmla="*/ 29 h 31"/>
                <a:gd name="T28" fmla="*/ 125 w 125"/>
                <a:gd name="T29" fmla="*/ 28 h 31"/>
                <a:gd name="T30" fmla="*/ 125 w 125"/>
                <a:gd name="T31" fmla="*/ 24 h 31"/>
                <a:gd name="T32" fmla="*/ 101 w 125"/>
                <a:gd name="T33"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5" h="31">
                  <a:moveTo>
                    <a:pt x="101" y="0"/>
                  </a:moveTo>
                  <a:cubicBezTo>
                    <a:pt x="84" y="0"/>
                    <a:pt x="84" y="0"/>
                    <a:pt x="84" y="0"/>
                  </a:cubicBezTo>
                  <a:cubicBezTo>
                    <a:pt x="70" y="0"/>
                    <a:pt x="70" y="0"/>
                    <a:pt x="70" y="0"/>
                  </a:cubicBezTo>
                  <a:cubicBezTo>
                    <a:pt x="57" y="0"/>
                    <a:pt x="57" y="0"/>
                    <a:pt x="57" y="0"/>
                  </a:cubicBezTo>
                  <a:cubicBezTo>
                    <a:pt x="29" y="0"/>
                    <a:pt x="29" y="0"/>
                    <a:pt x="29" y="0"/>
                  </a:cubicBezTo>
                  <a:cubicBezTo>
                    <a:pt x="25" y="0"/>
                    <a:pt x="22" y="0"/>
                    <a:pt x="18" y="2"/>
                  </a:cubicBezTo>
                  <a:cubicBezTo>
                    <a:pt x="8" y="6"/>
                    <a:pt x="0" y="16"/>
                    <a:pt x="0" y="28"/>
                  </a:cubicBezTo>
                  <a:cubicBezTo>
                    <a:pt x="0" y="28"/>
                    <a:pt x="0" y="28"/>
                    <a:pt x="0" y="28"/>
                  </a:cubicBezTo>
                  <a:cubicBezTo>
                    <a:pt x="0" y="29"/>
                    <a:pt x="0" y="29"/>
                    <a:pt x="0" y="29"/>
                  </a:cubicBezTo>
                  <a:cubicBezTo>
                    <a:pt x="0" y="30"/>
                    <a:pt x="0" y="30"/>
                    <a:pt x="1" y="31"/>
                  </a:cubicBezTo>
                  <a:cubicBezTo>
                    <a:pt x="2" y="17"/>
                    <a:pt x="14" y="6"/>
                    <a:pt x="29" y="6"/>
                  </a:cubicBezTo>
                  <a:cubicBezTo>
                    <a:pt x="70" y="6"/>
                    <a:pt x="70" y="6"/>
                    <a:pt x="70" y="6"/>
                  </a:cubicBezTo>
                  <a:cubicBezTo>
                    <a:pt x="101" y="6"/>
                    <a:pt x="101" y="6"/>
                    <a:pt x="101" y="6"/>
                  </a:cubicBezTo>
                  <a:cubicBezTo>
                    <a:pt x="114" y="6"/>
                    <a:pt x="125" y="16"/>
                    <a:pt x="125" y="29"/>
                  </a:cubicBezTo>
                  <a:cubicBezTo>
                    <a:pt x="125" y="29"/>
                    <a:pt x="125" y="29"/>
                    <a:pt x="125" y="28"/>
                  </a:cubicBezTo>
                  <a:cubicBezTo>
                    <a:pt x="125" y="24"/>
                    <a:pt x="125" y="24"/>
                    <a:pt x="125" y="24"/>
                  </a:cubicBezTo>
                  <a:cubicBezTo>
                    <a:pt x="125" y="11"/>
                    <a:pt x="115" y="0"/>
                    <a:pt x="101" y="0"/>
                  </a:cubicBezTo>
                </a:path>
              </a:pathLst>
            </a:custGeom>
            <a:solidFill>
              <a:srgbClr val="8963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08" name="Freeform 187"/>
            <p:cNvSpPr>
              <a:spLocks/>
            </p:cNvSpPr>
            <p:nvPr/>
          </p:nvSpPr>
          <p:spPr bwMode="auto">
            <a:xfrm>
              <a:off x="9721027" y="3047064"/>
              <a:ext cx="140413" cy="52537"/>
            </a:xfrm>
            <a:custGeom>
              <a:avLst/>
              <a:gdLst>
                <a:gd name="T0" fmla="*/ 0 w 151"/>
                <a:gd name="T1" fmla="*/ 28 h 57"/>
                <a:gd name="T2" fmla="*/ 28 w 151"/>
                <a:gd name="T3" fmla="*/ 57 h 57"/>
                <a:gd name="T4" fmla="*/ 95 w 151"/>
                <a:gd name="T5" fmla="*/ 57 h 57"/>
                <a:gd name="T6" fmla="*/ 122 w 151"/>
                <a:gd name="T7" fmla="*/ 57 h 57"/>
                <a:gd name="T8" fmla="*/ 151 w 151"/>
                <a:gd name="T9" fmla="*/ 28 h 57"/>
                <a:gd name="T10" fmla="*/ 151 w 151"/>
                <a:gd name="T11" fmla="*/ 24 h 57"/>
                <a:gd name="T12" fmla="*/ 127 w 151"/>
                <a:gd name="T13" fmla="*/ 0 h 57"/>
                <a:gd name="T14" fmla="*/ 95 w 151"/>
                <a:gd name="T15" fmla="*/ 0 h 57"/>
                <a:gd name="T16" fmla="*/ 28 w 151"/>
                <a:gd name="T17" fmla="*/ 0 h 57"/>
                <a:gd name="T18" fmla="*/ 0 w 151"/>
                <a:gd name="T19" fmla="*/ 28 h 57"/>
                <a:gd name="T20" fmla="*/ 0 w 151"/>
                <a:gd name="T21" fmla="*/ 28 h 57"/>
                <a:gd name="T22" fmla="*/ 0 w 151"/>
                <a:gd name="T23" fmla="*/ 28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1" h="57">
                  <a:moveTo>
                    <a:pt x="0" y="28"/>
                  </a:moveTo>
                  <a:cubicBezTo>
                    <a:pt x="0" y="44"/>
                    <a:pt x="12" y="57"/>
                    <a:pt x="28" y="57"/>
                  </a:cubicBezTo>
                  <a:cubicBezTo>
                    <a:pt x="95" y="57"/>
                    <a:pt x="95" y="57"/>
                    <a:pt x="95" y="57"/>
                  </a:cubicBezTo>
                  <a:cubicBezTo>
                    <a:pt x="122" y="57"/>
                    <a:pt x="122" y="57"/>
                    <a:pt x="122" y="57"/>
                  </a:cubicBezTo>
                  <a:cubicBezTo>
                    <a:pt x="138" y="57"/>
                    <a:pt x="151" y="44"/>
                    <a:pt x="151" y="28"/>
                  </a:cubicBezTo>
                  <a:cubicBezTo>
                    <a:pt x="151" y="24"/>
                    <a:pt x="151" y="24"/>
                    <a:pt x="151" y="24"/>
                  </a:cubicBezTo>
                  <a:cubicBezTo>
                    <a:pt x="151" y="10"/>
                    <a:pt x="140" y="0"/>
                    <a:pt x="127" y="0"/>
                  </a:cubicBezTo>
                  <a:cubicBezTo>
                    <a:pt x="95" y="0"/>
                    <a:pt x="95" y="0"/>
                    <a:pt x="95" y="0"/>
                  </a:cubicBezTo>
                  <a:cubicBezTo>
                    <a:pt x="28" y="0"/>
                    <a:pt x="28" y="0"/>
                    <a:pt x="28" y="0"/>
                  </a:cubicBezTo>
                  <a:cubicBezTo>
                    <a:pt x="12" y="0"/>
                    <a:pt x="0" y="12"/>
                    <a:pt x="0" y="28"/>
                  </a:cubicBezTo>
                  <a:cubicBezTo>
                    <a:pt x="0" y="28"/>
                    <a:pt x="0" y="28"/>
                    <a:pt x="0" y="28"/>
                  </a:cubicBezTo>
                  <a:cubicBezTo>
                    <a:pt x="0" y="28"/>
                    <a:pt x="0" y="28"/>
                    <a:pt x="0" y="28"/>
                  </a:cubicBezTo>
                </a:path>
              </a:pathLst>
            </a:custGeom>
            <a:solidFill>
              <a:srgbClr val="6B3C1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09" name="Freeform 188"/>
            <p:cNvSpPr>
              <a:spLocks/>
            </p:cNvSpPr>
            <p:nvPr/>
          </p:nvSpPr>
          <p:spPr bwMode="auto">
            <a:xfrm>
              <a:off x="9791711" y="3047064"/>
              <a:ext cx="69729" cy="27701"/>
            </a:xfrm>
            <a:custGeom>
              <a:avLst/>
              <a:gdLst>
                <a:gd name="T0" fmla="*/ 51 w 75"/>
                <a:gd name="T1" fmla="*/ 0 h 30"/>
                <a:gd name="T2" fmla="*/ 19 w 75"/>
                <a:gd name="T3" fmla="*/ 0 h 30"/>
                <a:gd name="T4" fmla="*/ 0 w 75"/>
                <a:gd name="T5" fmla="*/ 0 h 30"/>
                <a:gd name="T6" fmla="*/ 19 w 75"/>
                <a:gd name="T7" fmla="*/ 0 h 30"/>
                <a:gd name="T8" fmla="*/ 51 w 75"/>
                <a:gd name="T9" fmla="*/ 0 h 30"/>
                <a:gd name="T10" fmla="*/ 75 w 75"/>
                <a:gd name="T11" fmla="*/ 24 h 30"/>
                <a:gd name="T12" fmla="*/ 75 w 75"/>
                <a:gd name="T13" fmla="*/ 28 h 30"/>
                <a:gd name="T14" fmla="*/ 75 w 75"/>
                <a:gd name="T15" fmla="*/ 29 h 30"/>
                <a:gd name="T16" fmla="*/ 75 w 75"/>
                <a:gd name="T17" fmla="*/ 30 h 30"/>
                <a:gd name="T18" fmla="*/ 75 w 75"/>
                <a:gd name="T19" fmla="*/ 28 h 30"/>
                <a:gd name="T20" fmla="*/ 75 w 75"/>
                <a:gd name="T21" fmla="*/ 24 h 30"/>
                <a:gd name="T22" fmla="*/ 51 w 75"/>
                <a:gd name="T23"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5" h="30">
                  <a:moveTo>
                    <a:pt x="51" y="0"/>
                  </a:moveTo>
                  <a:cubicBezTo>
                    <a:pt x="19" y="0"/>
                    <a:pt x="19" y="0"/>
                    <a:pt x="19" y="0"/>
                  </a:cubicBezTo>
                  <a:cubicBezTo>
                    <a:pt x="0" y="0"/>
                    <a:pt x="0" y="0"/>
                    <a:pt x="0" y="0"/>
                  </a:cubicBezTo>
                  <a:cubicBezTo>
                    <a:pt x="19" y="0"/>
                    <a:pt x="19" y="0"/>
                    <a:pt x="19" y="0"/>
                  </a:cubicBezTo>
                  <a:cubicBezTo>
                    <a:pt x="51" y="0"/>
                    <a:pt x="51" y="0"/>
                    <a:pt x="51" y="0"/>
                  </a:cubicBezTo>
                  <a:cubicBezTo>
                    <a:pt x="64" y="0"/>
                    <a:pt x="75" y="10"/>
                    <a:pt x="75" y="24"/>
                  </a:cubicBezTo>
                  <a:cubicBezTo>
                    <a:pt x="75" y="28"/>
                    <a:pt x="75" y="28"/>
                    <a:pt x="75" y="28"/>
                  </a:cubicBezTo>
                  <a:cubicBezTo>
                    <a:pt x="75" y="29"/>
                    <a:pt x="75" y="29"/>
                    <a:pt x="75" y="29"/>
                  </a:cubicBezTo>
                  <a:cubicBezTo>
                    <a:pt x="75" y="29"/>
                    <a:pt x="75" y="30"/>
                    <a:pt x="75" y="30"/>
                  </a:cubicBezTo>
                  <a:cubicBezTo>
                    <a:pt x="75" y="28"/>
                    <a:pt x="75" y="28"/>
                    <a:pt x="75" y="28"/>
                  </a:cubicBezTo>
                  <a:cubicBezTo>
                    <a:pt x="75" y="24"/>
                    <a:pt x="75" y="24"/>
                    <a:pt x="75" y="24"/>
                  </a:cubicBezTo>
                  <a:cubicBezTo>
                    <a:pt x="75" y="10"/>
                    <a:pt x="64" y="0"/>
                    <a:pt x="51" y="0"/>
                  </a:cubicBezTo>
                </a:path>
              </a:pathLst>
            </a:custGeom>
            <a:solidFill>
              <a:srgbClr val="FFC7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10" name="Freeform 189"/>
            <p:cNvSpPr>
              <a:spLocks/>
            </p:cNvSpPr>
            <p:nvPr/>
          </p:nvSpPr>
          <p:spPr bwMode="auto">
            <a:xfrm>
              <a:off x="9730578" y="3047064"/>
              <a:ext cx="36298" cy="5732"/>
            </a:xfrm>
            <a:custGeom>
              <a:avLst/>
              <a:gdLst>
                <a:gd name="T0" fmla="*/ 39 w 39"/>
                <a:gd name="T1" fmla="*/ 0 h 6"/>
                <a:gd name="T2" fmla="*/ 18 w 39"/>
                <a:gd name="T3" fmla="*/ 0 h 6"/>
                <a:gd name="T4" fmla="*/ 0 w 39"/>
                <a:gd name="T5" fmla="*/ 6 h 6"/>
                <a:gd name="T6" fmla="*/ 0 w 39"/>
                <a:gd name="T7" fmla="*/ 6 h 6"/>
                <a:gd name="T8" fmla="*/ 18 w 39"/>
                <a:gd name="T9" fmla="*/ 0 h 6"/>
                <a:gd name="T10" fmla="*/ 39 w 39"/>
                <a:gd name="T11" fmla="*/ 0 h 6"/>
              </a:gdLst>
              <a:ahLst/>
              <a:cxnLst>
                <a:cxn ang="0">
                  <a:pos x="T0" y="T1"/>
                </a:cxn>
                <a:cxn ang="0">
                  <a:pos x="T2" y="T3"/>
                </a:cxn>
                <a:cxn ang="0">
                  <a:pos x="T4" y="T5"/>
                </a:cxn>
                <a:cxn ang="0">
                  <a:pos x="T6" y="T7"/>
                </a:cxn>
                <a:cxn ang="0">
                  <a:pos x="T8" y="T9"/>
                </a:cxn>
                <a:cxn ang="0">
                  <a:pos x="T10" y="T11"/>
                </a:cxn>
              </a:cxnLst>
              <a:rect l="0" t="0" r="r" b="b"/>
              <a:pathLst>
                <a:path w="39" h="6">
                  <a:moveTo>
                    <a:pt x="39" y="0"/>
                  </a:moveTo>
                  <a:cubicBezTo>
                    <a:pt x="18" y="0"/>
                    <a:pt x="18" y="0"/>
                    <a:pt x="18" y="0"/>
                  </a:cubicBezTo>
                  <a:cubicBezTo>
                    <a:pt x="11" y="0"/>
                    <a:pt x="5" y="2"/>
                    <a:pt x="0" y="6"/>
                  </a:cubicBezTo>
                  <a:cubicBezTo>
                    <a:pt x="0" y="6"/>
                    <a:pt x="0" y="6"/>
                    <a:pt x="0" y="6"/>
                  </a:cubicBezTo>
                  <a:cubicBezTo>
                    <a:pt x="5" y="2"/>
                    <a:pt x="11" y="0"/>
                    <a:pt x="18" y="0"/>
                  </a:cubicBezTo>
                  <a:cubicBezTo>
                    <a:pt x="39" y="0"/>
                    <a:pt x="39" y="0"/>
                    <a:pt x="39" y="0"/>
                  </a:cubicBezTo>
                </a:path>
              </a:pathLst>
            </a:custGeom>
            <a:solidFill>
              <a:srgbClr val="3348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11" name="Freeform 190"/>
            <p:cNvSpPr>
              <a:spLocks/>
            </p:cNvSpPr>
            <p:nvPr/>
          </p:nvSpPr>
          <p:spPr bwMode="auto">
            <a:xfrm>
              <a:off x="9721027" y="3052796"/>
              <a:ext cx="9553" cy="20060"/>
            </a:xfrm>
            <a:custGeom>
              <a:avLst/>
              <a:gdLst>
                <a:gd name="T0" fmla="*/ 10 w 10"/>
                <a:gd name="T1" fmla="*/ 0 h 22"/>
                <a:gd name="T2" fmla="*/ 0 w 10"/>
                <a:gd name="T3" fmla="*/ 22 h 22"/>
                <a:gd name="T4" fmla="*/ 0 w 10"/>
                <a:gd name="T5" fmla="*/ 22 h 22"/>
                <a:gd name="T6" fmla="*/ 10 w 10"/>
                <a:gd name="T7" fmla="*/ 0 h 22"/>
                <a:gd name="T8" fmla="*/ 10 w 10"/>
                <a:gd name="T9" fmla="*/ 0 h 22"/>
              </a:gdLst>
              <a:ahLst/>
              <a:cxnLst>
                <a:cxn ang="0">
                  <a:pos x="T0" y="T1"/>
                </a:cxn>
                <a:cxn ang="0">
                  <a:pos x="T2" y="T3"/>
                </a:cxn>
                <a:cxn ang="0">
                  <a:pos x="T4" y="T5"/>
                </a:cxn>
                <a:cxn ang="0">
                  <a:pos x="T6" y="T7"/>
                </a:cxn>
                <a:cxn ang="0">
                  <a:pos x="T8" y="T9"/>
                </a:cxn>
              </a:cxnLst>
              <a:rect l="0" t="0" r="r" b="b"/>
              <a:pathLst>
                <a:path w="10" h="22">
                  <a:moveTo>
                    <a:pt x="10" y="0"/>
                  </a:moveTo>
                  <a:cubicBezTo>
                    <a:pt x="4" y="5"/>
                    <a:pt x="0" y="13"/>
                    <a:pt x="0" y="22"/>
                  </a:cubicBezTo>
                  <a:cubicBezTo>
                    <a:pt x="0" y="22"/>
                    <a:pt x="0" y="22"/>
                    <a:pt x="0" y="22"/>
                  </a:cubicBezTo>
                  <a:cubicBezTo>
                    <a:pt x="0" y="13"/>
                    <a:pt x="4" y="5"/>
                    <a:pt x="10" y="0"/>
                  </a:cubicBezTo>
                  <a:cubicBezTo>
                    <a:pt x="10" y="0"/>
                    <a:pt x="10" y="0"/>
                    <a:pt x="10" y="0"/>
                  </a:cubicBezTo>
                </a:path>
              </a:pathLst>
            </a:custGeom>
            <a:solidFill>
              <a:srgbClr val="8591A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12" name="Freeform 191"/>
            <p:cNvSpPr>
              <a:spLocks/>
            </p:cNvSpPr>
            <p:nvPr/>
          </p:nvSpPr>
          <p:spPr bwMode="auto">
            <a:xfrm>
              <a:off x="9721027" y="3047064"/>
              <a:ext cx="140413" cy="28655"/>
            </a:xfrm>
            <a:custGeom>
              <a:avLst/>
              <a:gdLst>
                <a:gd name="T0" fmla="*/ 127 w 151"/>
                <a:gd name="T1" fmla="*/ 0 h 31"/>
                <a:gd name="T2" fmla="*/ 95 w 151"/>
                <a:gd name="T3" fmla="*/ 0 h 31"/>
                <a:gd name="T4" fmla="*/ 76 w 151"/>
                <a:gd name="T5" fmla="*/ 0 h 31"/>
                <a:gd name="T6" fmla="*/ 49 w 151"/>
                <a:gd name="T7" fmla="*/ 0 h 31"/>
                <a:gd name="T8" fmla="*/ 28 w 151"/>
                <a:gd name="T9" fmla="*/ 0 h 31"/>
                <a:gd name="T10" fmla="*/ 10 w 151"/>
                <a:gd name="T11" fmla="*/ 6 h 31"/>
                <a:gd name="T12" fmla="*/ 0 w 151"/>
                <a:gd name="T13" fmla="*/ 28 h 31"/>
                <a:gd name="T14" fmla="*/ 0 w 151"/>
                <a:gd name="T15" fmla="*/ 28 h 31"/>
                <a:gd name="T16" fmla="*/ 0 w 151"/>
                <a:gd name="T17" fmla="*/ 28 h 31"/>
                <a:gd name="T18" fmla="*/ 0 w 151"/>
                <a:gd name="T19" fmla="*/ 31 h 31"/>
                <a:gd name="T20" fmla="*/ 28 w 151"/>
                <a:gd name="T21" fmla="*/ 6 h 31"/>
                <a:gd name="T22" fmla="*/ 95 w 151"/>
                <a:gd name="T23" fmla="*/ 6 h 31"/>
                <a:gd name="T24" fmla="*/ 127 w 151"/>
                <a:gd name="T25" fmla="*/ 6 h 31"/>
                <a:gd name="T26" fmla="*/ 151 w 151"/>
                <a:gd name="T27" fmla="*/ 29 h 31"/>
                <a:gd name="T28" fmla="*/ 151 w 151"/>
                <a:gd name="T29" fmla="*/ 28 h 31"/>
                <a:gd name="T30" fmla="*/ 151 w 151"/>
                <a:gd name="T31" fmla="*/ 24 h 31"/>
                <a:gd name="T32" fmla="*/ 127 w 151"/>
                <a:gd name="T33"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1" h="31">
                  <a:moveTo>
                    <a:pt x="127" y="0"/>
                  </a:moveTo>
                  <a:cubicBezTo>
                    <a:pt x="95" y="0"/>
                    <a:pt x="95" y="0"/>
                    <a:pt x="95" y="0"/>
                  </a:cubicBezTo>
                  <a:cubicBezTo>
                    <a:pt x="76" y="0"/>
                    <a:pt x="76" y="0"/>
                    <a:pt x="76" y="0"/>
                  </a:cubicBezTo>
                  <a:cubicBezTo>
                    <a:pt x="49" y="0"/>
                    <a:pt x="49" y="0"/>
                    <a:pt x="49" y="0"/>
                  </a:cubicBezTo>
                  <a:cubicBezTo>
                    <a:pt x="28" y="0"/>
                    <a:pt x="28" y="0"/>
                    <a:pt x="28" y="0"/>
                  </a:cubicBezTo>
                  <a:cubicBezTo>
                    <a:pt x="21" y="0"/>
                    <a:pt x="15" y="2"/>
                    <a:pt x="10" y="6"/>
                  </a:cubicBezTo>
                  <a:cubicBezTo>
                    <a:pt x="4" y="11"/>
                    <a:pt x="0" y="19"/>
                    <a:pt x="0" y="28"/>
                  </a:cubicBezTo>
                  <a:cubicBezTo>
                    <a:pt x="0" y="28"/>
                    <a:pt x="0" y="28"/>
                    <a:pt x="0" y="28"/>
                  </a:cubicBezTo>
                  <a:cubicBezTo>
                    <a:pt x="0" y="28"/>
                    <a:pt x="0" y="28"/>
                    <a:pt x="0" y="28"/>
                  </a:cubicBezTo>
                  <a:cubicBezTo>
                    <a:pt x="0" y="29"/>
                    <a:pt x="0" y="30"/>
                    <a:pt x="0" y="31"/>
                  </a:cubicBezTo>
                  <a:cubicBezTo>
                    <a:pt x="1" y="17"/>
                    <a:pt x="13" y="6"/>
                    <a:pt x="28" y="6"/>
                  </a:cubicBezTo>
                  <a:cubicBezTo>
                    <a:pt x="95" y="6"/>
                    <a:pt x="95" y="6"/>
                    <a:pt x="95" y="6"/>
                  </a:cubicBezTo>
                  <a:cubicBezTo>
                    <a:pt x="127" y="6"/>
                    <a:pt x="127" y="6"/>
                    <a:pt x="127" y="6"/>
                  </a:cubicBezTo>
                  <a:cubicBezTo>
                    <a:pt x="140" y="6"/>
                    <a:pt x="150" y="16"/>
                    <a:pt x="151" y="29"/>
                  </a:cubicBezTo>
                  <a:cubicBezTo>
                    <a:pt x="151" y="29"/>
                    <a:pt x="151" y="29"/>
                    <a:pt x="151" y="28"/>
                  </a:cubicBezTo>
                  <a:cubicBezTo>
                    <a:pt x="151" y="24"/>
                    <a:pt x="151" y="24"/>
                    <a:pt x="151" y="24"/>
                  </a:cubicBezTo>
                  <a:cubicBezTo>
                    <a:pt x="151" y="10"/>
                    <a:pt x="140" y="0"/>
                    <a:pt x="127" y="0"/>
                  </a:cubicBezTo>
                </a:path>
              </a:pathLst>
            </a:custGeom>
            <a:solidFill>
              <a:srgbClr val="8963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14" name="Freeform 192"/>
            <p:cNvSpPr>
              <a:spLocks/>
            </p:cNvSpPr>
            <p:nvPr/>
          </p:nvSpPr>
          <p:spPr bwMode="auto">
            <a:xfrm>
              <a:off x="9679953" y="2994529"/>
              <a:ext cx="188173" cy="52537"/>
            </a:xfrm>
            <a:custGeom>
              <a:avLst/>
              <a:gdLst>
                <a:gd name="T0" fmla="*/ 0 w 202"/>
                <a:gd name="T1" fmla="*/ 28 h 57"/>
                <a:gd name="T2" fmla="*/ 29 w 202"/>
                <a:gd name="T3" fmla="*/ 57 h 57"/>
                <a:gd name="T4" fmla="*/ 137 w 202"/>
                <a:gd name="T5" fmla="*/ 57 h 57"/>
                <a:gd name="T6" fmla="*/ 173 w 202"/>
                <a:gd name="T7" fmla="*/ 57 h 57"/>
                <a:gd name="T8" fmla="*/ 202 w 202"/>
                <a:gd name="T9" fmla="*/ 28 h 57"/>
                <a:gd name="T10" fmla="*/ 202 w 202"/>
                <a:gd name="T11" fmla="*/ 24 h 57"/>
                <a:gd name="T12" fmla="*/ 178 w 202"/>
                <a:gd name="T13" fmla="*/ 0 h 57"/>
                <a:gd name="T14" fmla="*/ 137 w 202"/>
                <a:gd name="T15" fmla="*/ 0 h 57"/>
                <a:gd name="T16" fmla="*/ 29 w 202"/>
                <a:gd name="T17" fmla="*/ 0 h 57"/>
                <a:gd name="T18" fmla="*/ 0 w 202"/>
                <a:gd name="T19" fmla="*/ 28 h 57"/>
                <a:gd name="T20" fmla="*/ 0 w 202"/>
                <a:gd name="T21" fmla="*/ 28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2" h="57">
                  <a:moveTo>
                    <a:pt x="0" y="28"/>
                  </a:moveTo>
                  <a:cubicBezTo>
                    <a:pt x="0" y="44"/>
                    <a:pt x="13" y="57"/>
                    <a:pt x="29" y="57"/>
                  </a:cubicBezTo>
                  <a:cubicBezTo>
                    <a:pt x="137" y="57"/>
                    <a:pt x="137" y="57"/>
                    <a:pt x="137" y="57"/>
                  </a:cubicBezTo>
                  <a:cubicBezTo>
                    <a:pt x="173" y="57"/>
                    <a:pt x="173" y="57"/>
                    <a:pt x="173" y="57"/>
                  </a:cubicBezTo>
                  <a:cubicBezTo>
                    <a:pt x="189" y="57"/>
                    <a:pt x="202" y="44"/>
                    <a:pt x="202" y="28"/>
                  </a:cubicBezTo>
                  <a:cubicBezTo>
                    <a:pt x="202" y="24"/>
                    <a:pt x="202" y="24"/>
                    <a:pt x="202" y="24"/>
                  </a:cubicBezTo>
                  <a:cubicBezTo>
                    <a:pt x="202" y="10"/>
                    <a:pt x="191" y="0"/>
                    <a:pt x="178" y="0"/>
                  </a:cubicBezTo>
                  <a:cubicBezTo>
                    <a:pt x="137" y="0"/>
                    <a:pt x="137" y="0"/>
                    <a:pt x="137" y="0"/>
                  </a:cubicBezTo>
                  <a:cubicBezTo>
                    <a:pt x="29" y="0"/>
                    <a:pt x="29" y="0"/>
                    <a:pt x="29" y="0"/>
                  </a:cubicBezTo>
                  <a:cubicBezTo>
                    <a:pt x="13" y="0"/>
                    <a:pt x="0" y="12"/>
                    <a:pt x="0" y="28"/>
                  </a:cubicBezTo>
                  <a:cubicBezTo>
                    <a:pt x="0" y="28"/>
                    <a:pt x="0" y="28"/>
                    <a:pt x="0" y="28"/>
                  </a:cubicBezTo>
                </a:path>
              </a:pathLst>
            </a:custGeom>
            <a:solidFill>
              <a:srgbClr val="6B3C1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16" name="Freeform 193"/>
            <p:cNvSpPr>
              <a:spLocks/>
            </p:cNvSpPr>
            <p:nvPr/>
          </p:nvSpPr>
          <p:spPr bwMode="auto">
            <a:xfrm>
              <a:off x="9675177" y="2994529"/>
              <a:ext cx="30566" cy="25789"/>
            </a:xfrm>
            <a:custGeom>
              <a:avLst/>
              <a:gdLst>
                <a:gd name="T0" fmla="*/ 33 w 33"/>
                <a:gd name="T1" fmla="*/ 0 h 28"/>
                <a:gd name="T2" fmla="*/ 5 w 33"/>
                <a:gd name="T3" fmla="*/ 28 h 28"/>
                <a:gd name="T4" fmla="*/ 0 w 33"/>
                <a:gd name="T5" fmla="*/ 28 h 28"/>
                <a:gd name="T6" fmla="*/ 5 w 33"/>
                <a:gd name="T7" fmla="*/ 28 h 28"/>
                <a:gd name="T8" fmla="*/ 5 w 33"/>
                <a:gd name="T9" fmla="*/ 28 h 28"/>
                <a:gd name="T10" fmla="*/ 33 w 33"/>
                <a:gd name="T11" fmla="*/ 0 h 28"/>
                <a:gd name="T12" fmla="*/ 33 w 33"/>
                <a:gd name="T13" fmla="*/ 0 h 28"/>
              </a:gdLst>
              <a:ahLst/>
              <a:cxnLst>
                <a:cxn ang="0">
                  <a:pos x="T0" y="T1"/>
                </a:cxn>
                <a:cxn ang="0">
                  <a:pos x="T2" y="T3"/>
                </a:cxn>
                <a:cxn ang="0">
                  <a:pos x="T4" y="T5"/>
                </a:cxn>
                <a:cxn ang="0">
                  <a:pos x="T6" y="T7"/>
                </a:cxn>
                <a:cxn ang="0">
                  <a:pos x="T8" y="T9"/>
                </a:cxn>
                <a:cxn ang="0">
                  <a:pos x="T10" y="T11"/>
                </a:cxn>
                <a:cxn ang="0">
                  <a:pos x="T12" y="T13"/>
                </a:cxn>
              </a:cxnLst>
              <a:rect l="0" t="0" r="r" b="b"/>
              <a:pathLst>
                <a:path w="33" h="28">
                  <a:moveTo>
                    <a:pt x="33" y="0"/>
                  </a:moveTo>
                  <a:cubicBezTo>
                    <a:pt x="18" y="0"/>
                    <a:pt x="5" y="13"/>
                    <a:pt x="5" y="28"/>
                  </a:cubicBezTo>
                  <a:cubicBezTo>
                    <a:pt x="0" y="28"/>
                    <a:pt x="0" y="28"/>
                    <a:pt x="0" y="28"/>
                  </a:cubicBezTo>
                  <a:cubicBezTo>
                    <a:pt x="5" y="28"/>
                    <a:pt x="5" y="28"/>
                    <a:pt x="5" y="28"/>
                  </a:cubicBezTo>
                  <a:cubicBezTo>
                    <a:pt x="5" y="28"/>
                    <a:pt x="5" y="28"/>
                    <a:pt x="5" y="28"/>
                  </a:cubicBezTo>
                  <a:cubicBezTo>
                    <a:pt x="5" y="13"/>
                    <a:pt x="18" y="0"/>
                    <a:pt x="33" y="0"/>
                  </a:cubicBezTo>
                  <a:cubicBezTo>
                    <a:pt x="33" y="0"/>
                    <a:pt x="33" y="0"/>
                    <a:pt x="33" y="0"/>
                  </a:cubicBezTo>
                </a:path>
              </a:pathLst>
            </a:custGeom>
            <a:solidFill>
              <a:srgbClr val="8963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17" name="Freeform 194"/>
            <p:cNvSpPr>
              <a:spLocks/>
            </p:cNvSpPr>
            <p:nvPr/>
          </p:nvSpPr>
          <p:spPr bwMode="auto">
            <a:xfrm>
              <a:off x="9868126" y="3016498"/>
              <a:ext cx="0" cy="5732"/>
            </a:xfrm>
            <a:custGeom>
              <a:avLst/>
              <a:gdLst>
                <a:gd name="T0" fmla="*/ 0 h 6"/>
                <a:gd name="T1" fmla="*/ 0 h 6"/>
                <a:gd name="T2" fmla="*/ 4 h 6"/>
                <a:gd name="T3" fmla="*/ 5 h 6"/>
                <a:gd name="T4" fmla="*/ 6 h 6"/>
                <a:gd name="T5" fmla="*/ 4 h 6"/>
                <a:gd name="T6" fmla="*/ 0 h 6"/>
                <a:gd name="T7" fmla="*/ 0 h 6"/>
              </a:gdLst>
              <a:ahLst/>
              <a:cxnLst>
                <a:cxn ang="0">
                  <a:pos x="0" y="T0"/>
                </a:cxn>
                <a:cxn ang="0">
                  <a:pos x="0" y="T1"/>
                </a:cxn>
                <a:cxn ang="0">
                  <a:pos x="0" y="T2"/>
                </a:cxn>
                <a:cxn ang="0">
                  <a:pos x="0" y="T3"/>
                </a:cxn>
                <a:cxn ang="0">
                  <a:pos x="0" y="T4"/>
                </a:cxn>
                <a:cxn ang="0">
                  <a:pos x="0" y="T5"/>
                </a:cxn>
                <a:cxn ang="0">
                  <a:pos x="0" y="T6"/>
                </a:cxn>
                <a:cxn ang="0">
                  <a:pos x="0" y="T7"/>
                </a:cxn>
              </a:cxnLst>
              <a:rect l="0" t="0" r="r" b="b"/>
              <a:pathLst>
                <a:path h="6">
                  <a:moveTo>
                    <a:pt x="0" y="0"/>
                  </a:moveTo>
                  <a:cubicBezTo>
                    <a:pt x="0" y="0"/>
                    <a:pt x="0" y="0"/>
                    <a:pt x="0" y="0"/>
                  </a:cubicBezTo>
                  <a:cubicBezTo>
                    <a:pt x="0" y="4"/>
                    <a:pt x="0" y="4"/>
                    <a:pt x="0" y="4"/>
                  </a:cubicBezTo>
                  <a:cubicBezTo>
                    <a:pt x="0" y="4"/>
                    <a:pt x="0" y="5"/>
                    <a:pt x="0" y="5"/>
                  </a:cubicBezTo>
                  <a:cubicBezTo>
                    <a:pt x="0" y="5"/>
                    <a:pt x="0" y="6"/>
                    <a:pt x="0" y="6"/>
                  </a:cubicBezTo>
                  <a:cubicBezTo>
                    <a:pt x="0" y="4"/>
                    <a:pt x="0" y="4"/>
                    <a:pt x="0" y="4"/>
                  </a:cubicBezTo>
                  <a:cubicBezTo>
                    <a:pt x="0" y="0"/>
                    <a:pt x="0" y="0"/>
                    <a:pt x="0" y="0"/>
                  </a:cubicBezTo>
                  <a:cubicBezTo>
                    <a:pt x="0" y="0"/>
                    <a:pt x="0" y="0"/>
                    <a:pt x="0" y="0"/>
                  </a:cubicBezTo>
                </a:path>
              </a:pathLst>
            </a:custGeom>
            <a:solidFill>
              <a:srgbClr val="FFC7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18" name="Freeform 195"/>
            <p:cNvSpPr>
              <a:spLocks/>
            </p:cNvSpPr>
            <p:nvPr/>
          </p:nvSpPr>
          <p:spPr bwMode="auto">
            <a:xfrm>
              <a:off x="9679953" y="2994529"/>
              <a:ext cx="188173" cy="28655"/>
            </a:xfrm>
            <a:custGeom>
              <a:avLst/>
              <a:gdLst>
                <a:gd name="T0" fmla="*/ 178 w 202"/>
                <a:gd name="T1" fmla="*/ 0 h 31"/>
                <a:gd name="T2" fmla="*/ 137 w 202"/>
                <a:gd name="T3" fmla="*/ 0 h 31"/>
                <a:gd name="T4" fmla="*/ 120 w 202"/>
                <a:gd name="T5" fmla="*/ 0 h 31"/>
                <a:gd name="T6" fmla="*/ 93 w 202"/>
                <a:gd name="T7" fmla="*/ 0 h 31"/>
                <a:gd name="T8" fmla="*/ 54 w 202"/>
                <a:gd name="T9" fmla="*/ 0 h 31"/>
                <a:gd name="T10" fmla="*/ 29 w 202"/>
                <a:gd name="T11" fmla="*/ 0 h 31"/>
                <a:gd name="T12" fmla="*/ 28 w 202"/>
                <a:gd name="T13" fmla="*/ 0 h 31"/>
                <a:gd name="T14" fmla="*/ 28 w 202"/>
                <a:gd name="T15" fmla="*/ 0 h 31"/>
                <a:gd name="T16" fmla="*/ 0 w 202"/>
                <a:gd name="T17" fmla="*/ 28 h 31"/>
                <a:gd name="T18" fmla="*/ 0 w 202"/>
                <a:gd name="T19" fmla="*/ 28 h 31"/>
                <a:gd name="T20" fmla="*/ 0 w 202"/>
                <a:gd name="T21" fmla="*/ 31 h 31"/>
                <a:gd name="T22" fmla="*/ 29 w 202"/>
                <a:gd name="T23" fmla="*/ 6 h 31"/>
                <a:gd name="T24" fmla="*/ 137 w 202"/>
                <a:gd name="T25" fmla="*/ 6 h 31"/>
                <a:gd name="T26" fmla="*/ 178 w 202"/>
                <a:gd name="T27" fmla="*/ 6 h 31"/>
                <a:gd name="T28" fmla="*/ 202 w 202"/>
                <a:gd name="T29" fmla="*/ 29 h 31"/>
                <a:gd name="T30" fmla="*/ 202 w 202"/>
                <a:gd name="T31" fmla="*/ 28 h 31"/>
                <a:gd name="T32" fmla="*/ 202 w 202"/>
                <a:gd name="T33" fmla="*/ 24 h 31"/>
                <a:gd name="T34" fmla="*/ 202 w 202"/>
                <a:gd name="T35" fmla="*/ 24 h 31"/>
                <a:gd name="T36" fmla="*/ 179 w 202"/>
                <a:gd name="T37" fmla="*/ 0 h 31"/>
                <a:gd name="T38" fmla="*/ 178 w 202"/>
                <a:gd name="T39"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2" h="31">
                  <a:moveTo>
                    <a:pt x="178" y="0"/>
                  </a:moveTo>
                  <a:cubicBezTo>
                    <a:pt x="137" y="0"/>
                    <a:pt x="137" y="0"/>
                    <a:pt x="137" y="0"/>
                  </a:cubicBezTo>
                  <a:cubicBezTo>
                    <a:pt x="120" y="0"/>
                    <a:pt x="120" y="0"/>
                    <a:pt x="120" y="0"/>
                  </a:cubicBezTo>
                  <a:cubicBezTo>
                    <a:pt x="93" y="0"/>
                    <a:pt x="93" y="0"/>
                    <a:pt x="93" y="0"/>
                  </a:cubicBezTo>
                  <a:cubicBezTo>
                    <a:pt x="54" y="0"/>
                    <a:pt x="54" y="0"/>
                    <a:pt x="54" y="0"/>
                  </a:cubicBezTo>
                  <a:cubicBezTo>
                    <a:pt x="29" y="0"/>
                    <a:pt x="29" y="0"/>
                    <a:pt x="29" y="0"/>
                  </a:cubicBezTo>
                  <a:cubicBezTo>
                    <a:pt x="28" y="0"/>
                    <a:pt x="28" y="0"/>
                    <a:pt x="28" y="0"/>
                  </a:cubicBezTo>
                  <a:cubicBezTo>
                    <a:pt x="28" y="0"/>
                    <a:pt x="28" y="0"/>
                    <a:pt x="28" y="0"/>
                  </a:cubicBezTo>
                  <a:cubicBezTo>
                    <a:pt x="13" y="0"/>
                    <a:pt x="0" y="13"/>
                    <a:pt x="0" y="28"/>
                  </a:cubicBezTo>
                  <a:cubicBezTo>
                    <a:pt x="0" y="28"/>
                    <a:pt x="0" y="28"/>
                    <a:pt x="0" y="28"/>
                  </a:cubicBezTo>
                  <a:cubicBezTo>
                    <a:pt x="0" y="29"/>
                    <a:pt x="0" y="30"/>
                    <a:pt x="0" y="31"/>
                  </a:cubicBezTo>
                  <a:cubicBezTo>
                    <a:pt x="2" y="17"/>
                    <a:pt x="14" y="6"/>
                    <a:pt x="29" y="6"/>
                  </a:cubicBezTo>
                  <a:cubicBezTo>
                    <a:pt x="137" y="6"/>
                    <a:pt x="137" y="6"/>
                    <a:pt x="137" y="6"/>
                  </a:cubicBezTo>
                  <a:cubicBezTo>
                    <a:pt x="178" y="6"/>
                    <a:pt x="178" y="6"/>
                    <a:pt x="178" y="6"/>
                  </a:cubicBezTo>
                  <a:cubicBezTo>
                    <a:pt x="191" y="6"/>
                    <a:pt x="201" y="16"/>
                    <a:pt x="202" y="29"/>
                  </a:cubicBezTo>
                  <a:cubicBezTo>
                    <a:pt x="202" y="29"/>
                    <a:pt x="202" y="28"/>
                    <a:pt x="202" y="28"/>
                  </a:cubicBezTo>
                  <a:cubicBezTo>
                    <a:pt x="202" y="24"/>
                    <a:pt x="202" y="24"/>
                    <a:pt x="202" y="24"/>
                  </a:cubicBezTo>
                  <a:cubicBezTo>
                    <a:pt x="202" y="24"/>
                    <a:pt x="202" y="24"/>
                    <a:pt x="202" y="24"/>
                  </a:cubicBezTo>
                  <a:cubicBezTo>
                    <a:pt x="202" y="11"/>
                    <a:pt x="192" y="0"/>
                    <a:pt x="179" y="0"/>
                  </a:cubicBezTo>
                  <a:cubicBezTo>
                    <a:pt x="179" y="0"/>
                    <a:pt x="178" y="0"/>
                    <a:pt x="178" y="0"/>
                  </a:cubicBezTo>
                </a:path>
              </a:pathLst>
            </a:custGeom>
            <a:solidFill>
              <a:srgbClr val="8963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19" name="Freeform 196"/>
            <p:cNvSpPr>
              <a:spLocks noEditPoints="1"/>
            </p:cNvSpPr>
            <p:nvPr/>
          </p:nvSpPr>
          <p:spPr bwMode="auto">
            <a:xfrm>
              <a:off x="9542405" y="2328757"/>
              <a:ext cx="414554" cy="411690"/>
            </a:xfrm>
            <a:custGeom>
              <a:avLst/>
              <a:gdLst>
                <a:gd name="T0" fmla="*/ 223 w 446"/>
                <a:gd name="T1" fmla="*/ 0 h 446"/>
                <a:gd name="T2" fmla="*/ 0 w 446"/>
                <a:gd name="T3" fmla="*/ 223 h 446"/>
                <a:gd name="T4" fmla="*/ 223 w 446"/>
                <a:gd name="T5" fmla="*/ 446 h 446"/>
                <a:gd name="T6" fmla="*/ 446 w 446"/>
                <a:gd name="T7" fmla="*/ 223 h 446"/>
                <a:gd name="T8" fmla="*/ 223 w 446"/>
                <a:gd name="T9" fmla="*/ 0 h 446"/>
                <a:gd name="T10" fmla="*/ 223 w 446"/>
                <a:gd name="T11" fmla="*/ 383 h 446"/>
                <a:gd name="T12" fmla="*/ 42 w 446"/>
                <a:gd name="T13" fmla="*/ 202 h 446"/>
                <a:gd name="T14" fmla="*/ 223 w 446"/>
                <a:gd name="T15" fmla="*/ 21 h 446"/>
                <a:gd name="T16" fmla="*/ 404 w 446"/>
                <a:gd name="T17" fmla="*/ 202 h 446"/>
                <a:gd name="T18" fmla="*/ 223 w 446"/>
                <a:gd name="T19" fmla="*/ 383 h 4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6" h="446">
                  <a:moveTo>
                    <a:pt x="223" y="0"/>
                  </a:moveTo>
                  <a:cubicBezTo>
                    <a:pt x="100" y="0"/>
                    <a:pt x="0" y="100"/>
                    <a:pt x="0" y="223"/>
                  </a:cubicBezTo>
                  <a:cubicBezTo>
                    <a:pt x="0" y="346"/>
                    <a:pt x="100" y="446"/>
                    <a:pt x="223" y="446"/>
                  </a:cubicBezTo>
                  <a:cubicBezTo>
                    <a:pt x="346" y="446"/>
                    <a:pt x="446" y="346"/>
                    <a:pt x="446" y="223"/>
                  </a:cubicBezTo>
                  <a:cubicBezTo>
                    <a:pt x="446" y="100"/>
                    <a:pt x="346" y="0"/>
                    <a:pt x="223" y="0"/>
                  </a:cubicBezTo>
                  <a:moveTo>
                    <a:pt x="223" y="383"/>
                  </a:moveTo>
                  <a:cubicBezTo>
                    <a:pt x="123" y="383"/>
                    <a:pt x="42" y="302"/>
                    <a:pt x="42" y="202"/>
                  </a:cubicBezTo>
                  <a:cubicBezTo>
                    <a:pt x="42" y="102"/>
                    <a:pt x="123" y="21"/>
                    <a:pt x="223" y="21"/>
                  </a:cubicBezTo>
                  <a:cubicBezTo>
                    <a:pt x="323" y="21"/>
                    <a:pt x="404" y="102"/>
                    <a:pt x="404" y="202"/>
                  </a:cubicBezTo>
                  <a:cubicBezTo>
                    <a:pt x="404" y="302"/>
                    <a:pt x="323" y="383"/>
                    <a:pt x="223" y="383"/>
                  </a:cubicBezTo>
                </a:path>
              </a:pathLst>
            </a:custGeom>
            <a:solidFill>
              <a:srgbClr val="CE910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20" name="Freeform 197"/>
            <p:cNvSpPr>
              <a:spLocks noEditPoints="1"/>
            </p:cNvSpPr>
            <p:nvPr/>
          </p:nvSpPr>
          <p:spPr bwMode="auto">
            <a:xfrm>
              <a:off x="9542405" y="2315386"/>
              <a:ext cx="414554" cy="398317"/>
            </a:xfrm>
            <a:custGeom>
              <a:avLst/>
              <a:gdLst>
                <a:gd name="T0" fmla="*/ 223 w 446"/>
                <a:gd name="T1" fmla="*/ 431 h 431"/>
                <a:gd name="T2" fmla="*/ 446 w 446"/>
                <a:gd name="T3" fmla="*/ 208 h 431"/>
                <a:gd name="T4" fmla="*/ 223 w 446"/>
                <a:gd name="T5" fmla="*/ 0 h 431"/>
                <a:gd name="T6" fmla="*/ 0 w 446"/>
                <a:gd name="T7" fmla="*/ 208 h 431"/>
                <a:gd name="T8" fmla="*/ 223 w 446"/>
                <a:gd name="T9" fmla="*/ 431 h 431"/>
                <a:gd name="T10" fmla="*/ 223 w 446"/>
                <a:gd name="T11" fmla="*/ 48 h 431"/>
                <a:gd name="T12" fmla="*/ 404 w 446"/>
                <a:gd name="T13" fmla="*/ 229 h 431"/>
                <a:gd name="T14" fmla="*/ 223 w 446"/>
                <a:gd name="T15" fmla="*/ 410 h 431"/>
                <a:gd name="T16" fmla="*/ 42 w 446"/>
                <a:gd name="T17" fmla="*/ 229 h 431"/>
                <a:gd name="T18" fmla="*/ 223 w 446"/>
                <a:gd name="T19" fmla="*/ 48 h 4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6" h="431">
                  <a:moveTo>
                    <a:pt x="223" y="431"/>
                  </a:moveTo>
                  <a:cubicBezTo>
                    <a:pt x="346" y="431"/>
                    <a:pt x="446" y="331"/>
                    <a:pt x="446" y="208"/>
                  </a:cubicBezTo>
                  <a:cubicBezTo>
                    <a:pt x="446" y="103"/>
                    <a:pt x="346" y="0"/>
                    <a:pt x="223" y="0"/>
                  </a:cubicBezTo>
                  <a:cubicBezTo>
                    <a:pt x="100" y="0"/>
                    <a:pt x="0" y="107"/>
                    <a:pt x="0" y="208"/>
                  </a:cubicBezTo>
                  <a:cubicBezTo>
                    <a:pt x="0" y="331"/>
                    <a:pt x="100" y="431"/>
                    <a:pt x="223" y="431"/>
                  </a:cubicBezTo>
                  <a:moveTo>
                    <a:pt x="223" y="48"/>
                  </a:moveTo>
                  <a:cubicBezTo>
                    <a:pt x="323" y="48"/>
                    <a:pt x="404" y="129"/>
                    <a:pt x="404" y="229"/>
                  </a:cubicBezTo>
                  <a:cubicBezTo>
                    <a:pt x="404" y="329"/>
                    <a:pt x="323" y="410"/>
                    <a:pt x="223" y="410"/>
                  </a:cubicBezTo>
                  <a:cubicBezTo>
                    <a:pt x="123" y="410"/>
                    <a:pt x="42" y="329"/>
                    <a:pt x="42" y="229"/>
                  </a:cubicBezTo>
                  <a:cubicBezTo>
                    <a:pt x="42" y="129"/>
                    <a:pt x="123" y="48"/>
                    <a:pt x="223" y="48"/>
                  </a:cubicBezTo>
                </a:path>
              </a:pathLst>
            </a:custGeom>
            <a:solidFill>
              <a:srgbClr val="CE910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21" name="Freeform 198"/>
            <p:cNvSpPr>
              <a:spLocks noEditPoints="1"/>
            </p:cNvSpPr>
            <p:nvPr/>
          </p:nvSpPr>
          <p:spPr bwMode="auto">
            <a:xfrm>
              <a:off x="9542405" y="2308700"/>
              <a:ext cx="414554" cy="412643"/>
            </a:xfrm>
            <a:custGeom>
              <a:avLst/>
              <a:gdLst>
                <a:gd name="T0" fmla="*/ 223 w 446"/>
                <a:gd name="T1" fmla="*/ 0 h 446"/>
                <a:gd name="T2" fmla="*/ 0 w 446"/>
                <a:gd name="T3" fmla="*/ 223 h 446"/>
                <a:gd name="T4" fmla="*/ 223 w 446"/>
                <a:gd name="T5" fmla="*/ 446 h 446"/>
                <a:gd name="T6" fmla="*/ 446 w 446"/>
                <a:gd name="T7" fmla="*/ 223 h 446"/>
                <a:gd name="T8" fmla="*/ 223 w 446"/>
                <a:gd name="T9" fmla="*/ 0 h 446"/>
                <a:gd name="T10" fmla="*/ 223 w 446"/>
                <a:gd name="T11" fmla="*/ 404 h 446"/>
                <a:gd name="T12" fmla="*/ 42 w 446"/>
                <a:gd name="T13" fmla="*/ 223 h 446"/>
                <a:gd name="T14" fmla="*/ 223 w 446"/>
                <a:gd name="T15" fmla="*/ 42 h 446"/>
                <a:gd name="T16" fmla="*/ 404 w 446"/>
                <a:gd name="T17" fmla="*/ 223 h 446"/>
                <a:gd name="T18" fmla="*/ 223 w 446"/>
                <a:gd name="T19" fmla="*/ 404 h 4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6" h="446">
                  <a:moveTo>
                    <a:pt x="223" y="0"/>
                  </a:moveTo>
                  <a:cubicBezTo>
                    <a:pt x="100" y="0"/>
                    <a:pt x="0" y="100"/>
                    <a:pt x="0" y="223"/>
                  </a:cubicBezTo>
                  <a:cubicBezTo>
                    <a:pt x="0" y="346"/>
                    <a:pt x="100" y="446"/>
                    <a:pt x="223" y="446"/>
                  </a:cubicBezTo>
                  <a:cubicBezTo>
                    <a:pt x="346" y="446"/>
                    <a:pt x="446" y="346"/>
                    <a:pt x="446" y="223"/>
                  </a:cubicBezTo>
                  <a:cubicBezTo>
                    <a:pt x="446" y="100"/>
                    <a:pt x="346" y="0"/>
                    <a:pt x="223" y="0"/>
                  </a:cubicBezTo>
                  <a:moveTo>
                    <a:pt x="223" y="404"/>
                  </a:moveTo>
                  <a:cubicBezTo>
                    <a:pt x="123" y="404"/>
                    <a:pt x="42" y="323"/>
                    <a:pt x="42" y="223"/>
                  </a:cubicBezTo>
                  <a:cubicBezTo>
                    <a:pt x="42" y="123"/>
                    <a:pt x="123" y="42"/>
                    <a:pt x="223" y="42"/>
                  </a:cubicBezTo>
                  <a:cubicBezTo>
                    <a:pt x="323" y="42"/>
                    <a:pt x="404" y="123"/>
                    <a:pt x="404" y="223"/>
                  </a:cubicBezTo>
                  <a:cubicBezTo>
                    <a:pt x="404" y="323"/>
                    <a:pt x="323" y="404"/>
                    <a:pt x="223" y="404"/>
                  </a:cubicBezTo>
                </a:path>
              </a:pathLst>
            </a:custGeom>
            <a:solidFill>
              <a:srgbClr val="F0AE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22" name="Freeform 199"/>
            <p:cNvSpPr>
              <a:spLocks noEditPoints="1"/>
            </p:cNvSpPr>
            <p:nvPr/>
          </p:nvSpPr>
          <p:spPr bwMode="auto">
            <a:xfrm>
              <a:off x="9542405" y="2308700"/>
              <a:ext cx="414554" cy="412643"/>
            </a:xfrm>
            <a:custGeom>
              <a:avLst/>
              <a:gdLst>
                <a:gd name="T0" fmla="*/ 223 w 446"/>
                <a:gd name="T1" fmla="*/ 0 h 446"/>
                <a:gd name="T2" fmla="*/ 0 w 446"/>
                <a:gd name="T3" fmla="*/ 223 h 446"/>
                <a:gd name="T4" fmla="*/ 223 w 446"/>
                <a:gd name="T5" fmla="*/ 446 h 446"/>
                <a:gd name="T6" fmla="*/ 446 w 446"/>
                <a:gd name="T7" fmla="*/ 223 h 446"/>
                <a:gd name="T8" fmla="*/ 223 w 446"/>
                <a:gd name="T9" fmla="*/ 0 h 446"/>
                <a:gd name="T10" fmla="*/ 223 w 446"/>
                <a:gd name="T11" fmla="*/ 404 h 446"/>
                <a:gd name="T12" fmla="*/ 42 w 446"/>
                <a:gd name="T13" fmla="*/ 223 h 446"/>
                <a:gd name="T14" fmla="*/ 223 w 446"/>
                <a:gd name="T15" fmla="*/ 42 h 446"/>
                <a:gd name="T16" fmla="*/ 404 w 446"/>
                <a:gd name="T17" fmla="*/ 223 h 446"/>
                <a:gd name="T18" fmla="*/ 223 w 446"/>
                <a:gd name="T19" fmla="*/ 404 h 4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6" h="446">
                  <a:moveTo>
                    <a:pt x="223" y="0"/>
                  </a:moveTo>
                  <a:cubicBezTo>
                    <a:pt x="100" y="0"/>
                    <a:pt x="0" y="100"/>
                    <a:pt x="0" y="223"/>
                  </a:cubicBezTo>
                  <a:cubicBezTo>
                    <a:pt x="0" y="346"/>
                    <a:pt x="100" y="446"/>
                    <a:pt x="223" y="446"/>
                  </a:cubicBezTo>
                  <a:cubicBezTo>
                    <a:pt x="346" y="446"/>
                    <a:pt x="446" y="346"/>
                    <a:pt x="446" y="223"/>
                  </a:cubicBezTo>
                  <a:cubicBezTo>
                    <a:pt x="446" y="100"/>
                    <a:pt x="346" y="0"/>
                    <a:pt x="223" y="0"/>
                  </a:cubicBezTo>
                  <a:moveTo>
                    <a:pt x="223" y="404"/>
                  </a:moveTo>
                  <a:cubicBezTo>
                    <a:pt x="123" y="404"/>
                    <a:pt x="42" y="323"/>
                    <a:pt x="42" y="223"/>
                  </a:cubicBezTo>
                  <a:cubicBezTo>
                    <a:pt x="42" y="123"/>
                    <a:pt x="123" y="42"/>
                    <a:pt x="223" y="42"/>
                  </a:cubicBezTo>
                  <a:cubicBezTo>
                    <a:pt x="323" y="42"/>
                    <a:pt x="404" y="123"/>
                    <a:pt x="404" y="223"/>
                  </a:cubicBezTo>
                  <a:cubicBezTo>
                    <a:pt x="404" y="323"/>
                    <a:pt x="323" y="404"/>
                    <a:pt x="223" y="404"/>
                  </a:cubicBezTo>
                </a:path>
              </a:pathLst>
            </a:custGeom>
            <a:solidFill>
              <a:srgbClr val="F0AE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23" name="Freeform 200"/>
            <p:cNvSpPr>
              <a:spLocks noEditPoints="1"/>
            </p:cNvSpPr>
            <p:nvPr/>
          </p:nvSpPr>
          <p:spPr bwMode="auto">
            <a:xfrm>
              <a:off x="9542405" y="2515020"/>
              <a:ext cx="414554" cy="956"/>
            </a:xfrm>
            <a:custGeom>
              <a:avLst/>
              <a:gdLst>
                <a:gd name="T0" fmla="*/ 0 w 446"/>
                <a:gd name="T1" fmla="*/ 0 h 1"/>
                <a:gd name="T2" fmla="*/ 0 w 446"/>
                <a:gd name="T3" fmla="*/ 1 h 1"/>
                <a:gd name="T4" fmla="*/ 0 w 446"/>
                <a:gd name="T5" fmla="*/ 0 h 1"/>
                <a:gd name="T6" fmla="*/ 446 w 446"/>
                <a:gd name="T7" fmla="*/ 0 h 1"/>
                <a:gd name="T8" fmla="*/ 446 w 446"/>
                <a:gd name="T9" fmla="*/ 1 h 1"/>
                <a:gd name="T10" fmla="*/ 446 w 446"/>
                <a:gd name="T11" fmla="*/ 0 h 1"/>
              </a:gdLst>
              <a:ahLst/>
              <a:cxnLst>
                <a:cxn ang="0">
                  <a:pos x="T0" y="T1"/>
                </a:cxn>
                <a:cxn ang="0">
                  <a:pos x="T2" y="T3"/>
                </a:cxn>
                <a:cxn ang="0">
                  <a:pos x="T4" y="T5"/>
                </a:cxn>
                <a:cxn ang="0">
                  <a:pos x="T6" y="T7"/>
                </a:cxn>
                <a:cxn ang="0">
                  <a:pos x="T8" y="T9"/>
                </a:cxn>
                <a:cxn ang="0">
                  <a:pos x="T10" y="T11"/>
                </a:cxn>
              </a:cxnLst>
              <a:rect l="0" t="0" r="r" b="b"/>
              <a:pathLst>
                <a:path w="446" h="1">
                  <a:moveTo>
                    <a:pt x="0" y="0"/>
                  </a:moveTo>
                  <a:cubicBezTo>
                    <a:pt x="0" y="0"/>
                    <a:pt x="0" y="1"/>
                    <a:pt x="0" y="1"/>
                  </a:cubicBezTo>
                  <a:cubicBezTo>
                    <a:pt x="0" y="1"/>
                    <a:pt x="0" y="0"/>
                    <a:pt x="0" y="0"/>
                  </a:cubicBezTo>
                  <a:moveTo>
                    <a:pt x="446" y="0"/>
                  </a:moveTo>
                  <a:cubicBezTo>
                    <a:pt x="446" y="0"/>
                    <a:pt x="446" y="1"/>
                    <a:pt x="446" y="1"/>
                  </a:cubicBezTo>
                  <a:cubicBezTo>
                    <a:pt x="446" y="1"/>
                    <a:pt x="446" y="0"/>
                    <a:pt x="446"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88" name="Freeform 201"/>
            <p:cNvSpPr>
              <a:spLocks/>
            </p:cNvSpPr>
            <p:nvPr/>
          </p:nvSpPr>
          <p:spPr bwMode="auto">
            <a:xfrm>
              <a:off x="9542405" y="2308700"/>
              <a:ext cx="414554" cy="214919"/>
            </a:xfrm>
            <a:custGeom>
              <a:avLst/>
              <a:gdLst>
                <a:gd name="T0" fmla="*/ 223 w 446"/>
                <a:gd name="T1" fmla="*/ 0 h 232"/>
                <a:gd name="T2" fmla="*/ 0 w 446"/>
                <a:gd name="T3" fmla="*/ 223 h 232"/>
                <a:gd name="T4" fmla="*/ 0 w 446"/>
                <a:gd name="T5" fmla="*/ 223 h 232"/>
                <a:gd name="T6" fmla="*/ 0 w 446"/>
                <a:gd name="T7" fmla="*/ 224 h 232"/>
                <a:gd name="T8" fmla="*/ 0 w 446"/>
                <a:gd name="T9" fmla="*/ 232 h 232"/>
                <a:gd name="T10" fmla="*/ 223 w 446"/>
                <a:gd name="T11" fmla="*/ 17 h 232"/>
                <a:gd name="T12" fmla="*/ 446 w 446"/>
                <a:gd name="T13" fmla="*/ 232 h 232"/>
                <a:gd name="T14" fmla="*/ 446 w 446"/>
                <a:gd name="T15" fmla="*/ 224 h 232"/>
                <a:gd name="T16" fmla="*/ 446 w 446"/>
                <a:gd name="T17" fmla="*/ 223 h 232"/>
                <a:gd name="T18" fmla="*/ 446 w 446"/>
                <a:gd name="T19" fmla="*/ 223 h 232"/>
                <a:gd name="T20" fmla="*/ 223 w 446"/>
                <a:gd name="T21" fmla="*/ 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46" h="232">
                  <a:moveTo>
                    <a:pt x="223" y="0"/>
                  </a:moveTo>
                  <a:cubicBezTo>
                    <a:pt x="100" y="0"/>
                    <a:pt x="0" y="100"/>
                    <a:pt x="0" y="223"/>
                  </a:cubicBezTo>
                  <a:cubicBezTo>
                    <a:pt x="0" y="223"/>
                    <a:pt x="0" y="223"/>
                    <a:pt x="0" y="223"/>
                  </a:cubicBezTo>
                  <a:cubicBezTo>
                    <a:pt x="0" y="223"/>
                    <a:pt x="0" y="224"/>
                    <a:pt x="0" y="224"/>
                  </a:cubicBezTo>
                  <a:cubicBezTo>
                    <a:pt x="0" y="226"/>
                    <a:pt x="0" y="229"/>
                    <a:pt x="0" y="232"/>
                  </a:cubicBezTo>
                  <a:cubicBezTo>
                    <a:pt x="5" y="112"/>
                    <a:pt x="103" y="17"/>
                    <a:pt x="223" y="17"/>
                  </a:cubicBezTo>
                  <a:cubicBezTo>
                    <a:pt x="343" y="17"/>
                    <a:pt x="442" y="112"/>
                    <a:pt x="446" y="232"/>
                  </a:cubicBezTo>
                  <a:cubicBezTo>
                    <a:pt x="446" y="229"/>
                    <a:pt x="446" y="226"/>
                    <a:pt x="446" y="224"/>
                  </a:cubicBezTo>
                  <a:cubicBezTo>
                    <a:pt x="446" y="224"/>
                    <a:pt x="446" y="223"/>
                    <a:pt x="446" y="223"/>
                  </a:cubicBezTo>
                  <a:cubicBezTo>
                    <a:pt x="446" y="223"/>
                    <a:pt x="446" y="223"/>
                    <a:pt x="446" y="223"/>
                  </a:cubicBezTo>
                  <a:cubicBezTo>
                    <a:pt x="446" y="100"/>
                    <a:pt x="346" y="0"/>
                    <a:pt x="223" y="0"/>
                  </a:cubicBezTo>
                </a:path>
              </a:pathLst>
            </a:custGeom>
            <a:solidFill>
              <a:srgbClr val="F5C6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89" name="Rectangle 202"/>
            <p:cNvSpPr>
              <a:spLocks noChangeArrowheads="1"/>
            </p:cNvSpPr>
            <p:nvPr/>
          </p:nvSpPr>
          <p:spPr bwMode="auto">
            <a:xfrm>
              <a:off x="9730578" y="2729940"/>
              <a:ext cx="36298" cy="67819"/>
            </a:xfrm>
            <a:prstGeom prst="rect">
              <a:avLst/>
            </a:prstGeom>
            <a:solidFill>
              <a:srgbClr val="F0AE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90" name="Rectangle 203"/>
            <p:cNvSpPr>
              <a:spLocks noChangeArrowheads="1"/>
            </p:cNvSpPr>
            <p:nvPr/>
          </p:nvSpPr>
          <p:spPr bwMode="auto">
            <a:xfrm>
              <a:off x="9730578" y="2729940"/>
              <a:ext cx="36298" cy="678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91" name="Rectangle 204"/>
            <p:cNvSpPr>
              <a:spLocks noChangeArrowheads="1"/>
            </p:cNvSpPr>
            <p:nvPr/>
          </p:nvSpPr>
          <p:spPr bwMode="auto">
            <a:xfrm>
              <a:off x="9730578" y="2783431"/>
              <a:ext cx="36298" cy="14329"/>
            </a:xfrm>
            <a:prstGeom prst="rect">
              <a:avLst/>
            </a:prstGeom>
            <a:solidFill>
              <a:srgbClr val="A87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92" name="Rectangle 205"/>
            <p:cNvSpPr>
              <a:spLocks noChangeArrowheads="1"/>
            </p:cNvSpPr>
            <p:nvPr/>
          </p:nvSpPr>
          <p:spPr bwMode="auto">
            <a:xfrm>
              <a:off x="9730578" y="2783431"/>
              <a:ext cx="36298" cy="143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93" name="Freeform 206"/>
            <p:cNvSpPr>
              <a:spLocks/>
            </p:cNvSpPr>
            <p:nvPr/>
          </p:nvSpPr>
          <p:spPr bwMode="auto">
            <a:xfrm>
              <a:off x="9676132" y="2938172"/>
              <a:ext cx="176711" cy="52537"/>
            </a:xfrm>
            <a:custGeom>
              <a:avLst/>
              <a:gdLst>
                <a:gd name="T0" fmla="*/ 0 w 190"/>
                <a:gd name="T1" fmla="*/ 29 h 57"/>
                <a:gd name="T2" fmla="*/ 28 w 190"/>
                <a:gd name="T3" fmla="*/ 57 h 57"/>
                <a:gd name="T4" fmla="*/ 125 w 190"/>
                <a:gd name="T5" fmla="*/ 57 h 57"/>
                <a:gd name="T6" fmla="*/ 162 w 190"/>
                <a:gd name="T7" fmla="*/ 57 h 57"/>
                <a:gd name="T8" fmla="*/ 190 w 190"/>
                <a:gd name="T9" fmla="*/ 29 h 57"/>
                <a:gd name="T10" fmla="*/ 190 w 190"/>
                <a:gd name="T11" fmla="*/ 24 h 57"/>
                <a:gd name="T12" fmla="*/ 166 w 190"/>
                <a:gd name="T13" fmla="*/ 0 h 57"/>
                <a:gd name="T14" fmla="*/ 125 w 190"/>
                <a:gd name="T15" fmla="*/ 0 h 57"/>
                <a:gd name="T16" fmla="*/ 28 w 190"/>
                <a:gd name="T17" fmla="*/ 0 h 57"/>
                <a:gd name="T18" fmla="*/ 0 w 190"/>
                <a:gd name="T19" fmla="*/ 29 h 57"/>
                <a:gd name="T20" fmla="*/ 0 w 190"/>
                <a:gd name="T21" fmla="*/ 29 h 57"/>
                <a:gd name="T22" fmla="*/ 0 w 190"/>
                <a:gd name="T23" fmla="*/ 29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0" h="57">
                  <a:moveTo>
                    <a:pt x="0" y="29"/>
                  </a:moveTo>
                  <a:cubicBezTo>
                    <a:pt x="0" y="45"/>
                    <a:pt x="12" y="57"/>
                    <a:pt x="28" y="57"/>
                  </a:cubicBezTo>
                  <a:cubicBezTo>
                    <a:pt x="125" y="57"/>
                    <a:pt x="125" y="57"/>
                    <a:pt x="125" y="57"/>
                  </a:cubicBezTo>
                  <a:cubicBezTo>
                    <a:pt x="162" y="57"/>
                    <a:pt x="162" y="57"/>
                    <a:pt x="162" y="57"/>
                  </a:cubicBezTo>
                  <a:cubicBezTo>
                    <a:pt x="177" y="57"/>
                    <a:pt x="190" y="45"/>
                    <a:pt x="190" y="29"/>
                  </a:cubicBezTo>
                  <a:cubicBezTo>
                    <a:pt x="190" y="24"/>
                    <a:pt x="190" y="24"/>
                    <a:pt x="190" y="24"/>
                  </a:cubicBezTo>
                  <a:cubicBezTo>
                    <a:pt x="190" y="11"/>
                    <a:pt x="179" y="0"/>
                    <a:pt x="166" y="0"/>
                  </a:cubicBezTo>
                  <a:cubicBezTo>
                    <a:pt x="125" y="0"/>
                    <a:pt x="125" y="0"/>
                    <a:pt x="125" y="0"/>
                  </a:cubicBezTo>
                  <a:cubicBezTo>
                    <a:pt x="28" y="0"/>
                    <a:pt x="28" y="0"/>
                    <a:pt x="28" y="0"/>
                  </a:cubicBezTo>
                  <a:cubicBezTo>
                    <a:pt x="12" y="0"/>
                    <a:pt x="0" y="13"/>
                    <a:pt x="0" y="29"/>
                  </a:cubicBezTo>
                  <a:cubicBezTo>
                    <a:pt x="0" y="29"/>
                    <a:pt x="0" y="29"/>
                    <a:pt x="0" y="29"/>
                  </a:cubicBezTo>
                  <a:cubicBezTo>
                    <a:pt x="0" y="29"/>
                    <a:pt x="0" y="29"/>
                    <a:pt x="0" y="29"/>
                  </a:cubicBezTo>
                </a:path>
              </a:pathLst>
            </a:custGeom>
            <a:solidFill>
              <a:srgbClr val="6B3C1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94" name="Freeform 207"/>
            <p:cNvSpPr>
              <a:spLocks/>
            </p:cNvSpPr>
            <p:nvPr/>
          </p:nvSpPr>
          <p:spPr bwMode="auto">
            <a:xfrm>
              <a:off x="9791711" y="2938172"/>
              <a:ext cx="61132" cy="28655"/>
            </a:xfrm>
            <a:custGeom>
              <a:avLst/>
              <a:gdLst>
                <a:gd name="T0" fmla="*/ 42 w 66"/>
                <a:gd name="T1" fmla="*/ 0 h 31"/>
                <a:gd name="T2" fmla="*/ 1 w 66"/>
                <a:gd name="T3" fmla="*/ 0 h 31"/>
                <a:gd name="T4" fmla="*/ 0 w 66"/>
                <a:gd name="T5" fmla="*/ 0 h 31"/>
                <a:gd name="T6" fmla="*/ 1 w 66"/>
                <a:gd name="T7" fmla="*/ 0 h 31"/>
                <a:gd name="T8" fmla="*/ 42 w 66"/>
                <a:gd name="T9" fmla="*/ 0 h 31"/>
                <a:gd name="T10" fmla="*/ 66 w 66"/>
                <a:gd name="T11" fmla="*/ 24 h 31"/>
                <a:gd name="T12" fmla="*/ 66 w 66"/>
                <a:gd name="T13" fmla="*/ 29 h 31"/>
                <a:gd name="T14" fmla="*/ 66 w 66"/>
                <a:gd name="T15" fmla="*/ 30 h 31"/>
                <a:gd name="T16" fmla="*/ 66 w 66"/>
                <a:gd name="T17" fmla="*/ 31 h 31"/>
                <a:gd name="T18" fmla="*/ 66 w 66"/>
                <a:gd name="T19" fmla="*/ 29 h 31"/>
                <a:gd name="T20" fmla="*/ 66 w 66"/>
                <a:gd name="T21" fmla="*/ 24 h 31"/>
                <a:gd name="T22" fmla="*/ 42 w 66"/>
                <a:gd name="T23"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6" h="31">
                  <a:moveTo>
                    <a:pt x="42" y="0"/>
                  </a:moveTo>
                  <a:cubicBezTo>
                    <a:pt x="1" y="0"/>
                    <a:pt x="1" y="0"/>
                    <a:pt x="1" y="0"/>
                  </a:cubicBezTo>
                  <a:cubicBezTo>
                    <a:pt x="0" y="0"/>
                    <a:pt x="0" y="0"/>
                    <a:pt x="0" y="0"/>
                  </a:cubicBezTo>
                  <a:cubicBezTo>
                    <a:pt x="1" y="0"/>
                    <a:pt x="1" y="0"/>
                    <a:pt x="1" y="0"/>
                  </a:cubicBezTo>
                  <a:cubicBezTo>
                    <a:pt x="42" y="0"/>
                    <a:pt x="42" y="0"/>
                    <a:pt x="42" y="0"/>
                  </a:cubicBezTo>
                  <a:cubicBezTo>
                    <a:pt x="55" y="0"/>
                    <a:pt x="66" y="11"/>
                    <a:pt x="66" y="24"/>
                  </a:cubicBezTo>
                  <a:cubicBezTo>
                    <a:pt x="66" y="29"/>
                    <a:pt x="66" y="29"/>
                    <a:pt x="66" y="29"/>
                  </a:cubicBezTo>
                  <a:cubicBezTo>
                    <a:pt x="66" y="29"/>
                    <a:pt x="66" y="30"/>
                    <a:pt x="66" y="30"/>
                  </a:cubicBezTo>
                  <a:cubicBezTo>
                    <a:pt x="66" y="30"/>
                    <a:pt x="66" y="30"/>
                    <a:pt x="66" y="31"/>
                  </a:cubicBezTo>
                  <a:cubicBezTo>
                    <a:pt x="66" y="29"/>
                    <a:pt x="66" y="29"/>
                    <a:pt x="66" y="29"/>
                  </a:cubicBezTo>
                  <a:cubicBezTo>
                    <a:pt x="66" y="24"/>
                    <a:pt x="66" y="24"/>
                    <a:pt x="66" y="24"/>
                  </a:cubicBezTo>
                  <a:cubicBezTo>
                    <a:pt x="66" y="11"/>
                    <a:pt x="55" y="0"/>
                    <a:pt x="42" y="0"/>
                  </a:cubicBezTo>
                </a:path>
              </a:pathLst>
            </a:custGeom>
            <a:solidFill>
              <a:srgbClr val="FFC7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95" name="Freeform 208"/>
            <p:cNvSpPr>
              <a:spLocks/>
            </p:cNvSpPr>
            <p:nvPr/>
          </p:nvSpPr>
          <p:spPr bwMode="auto">
            <a:xfrm>
              <a:off x="9676132" y="2938172"/>
              <a:ext cx="176711" cy="29611"/>
            </a:xfrm>
            <a:custGeom>
              <a:avLst/>
              <a:gdLst>
                <a:gd name="T0" fmla="*/ 166 w 190"/>
                <a:gd name="T1" fmla="*/ 0 h 32"/>
                <a:gd name="T2" fmla="*/ 125 w 190"/>
                <a:gd name="T3" fmla="*/ 0 h 32"/>
                <a:gd name="T4" fmla="*/ 124 w 190"/>
                <a:gd name="T5" fmla="*/ 0 h 32"/>
                <a:gd name="T6" fmla="*/ 97 w 190"/>
                <a:gd name="T7" fmla="*/ 0 h 32"/>
                <a:gd name="T8" fmla="*/ 58 w 190"/>
                <a:gd name="T9" fmla="*/ 0 h 32"/>
                <a:gd name="T10" fmla="*/ 32 w 190"/>
                <a:gd name="T11" fmla="*/ 0 h 32"/>
                <a:gd name="T12" fmla="*/ 28 w 190"/>
                <a:gd name="T13" fmla="*/ 0 h 32"/>
                <a:gd name="T14" fmla="*/ 0 w 190"/>
                <a:gd name="T15" fmla="*/ 29 h 32"/>
                <a:gd name="T16" fmla="*/ 0 w 190"/>
                <a:gd name="T17" fmla="*/ 29 h 32"/>
                <a:gd name="T18" fmla="*/ 0 w 190"/>
                <a:gd name="T19" fmla="*/ 29 h 32"/>
                <a:gd name="T20" fmla="*/ 0 w 190"/>
                <a:gd name="T21" fmla="*/ 32 h 32"/>
                <a:gd name="T22" fmla="*/ 28 w 190"/>
                <a:gd name="T23" fmla="*/ 7 h 32"/>
                <a:gd name="T24" fmla="*/ 125 w 190"/>
                <a:gd name="T25" fmla="*/ 7 h 32"/>
                <a:gd name="T26" fmla="*/ 166 w 190"/>
                <a:gd name="T27" fmla="*/ 7 h 32"/>
                <a:gd name="T28" fmla="*/ 190 w 190"/>
                <a:gd name="T29" fmla="*/ 30 h 32"/>
                <a:gd name="T30" fmla="*/ 190 w 190"/>
                <a:gd name="T31" fmla="*/ 29 h 32"/>
                <a:gd name="T32" fmla="*/ 190 w 190"/>
                <a:gd name="T33" fmla="*/ 24 h 32"/>
                <a:gd name="T34" fmla="*/ 166 w 190"/>
                <a:gd name="T35"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90" h="32">
                  <a:moveTo>
                    <a:pt x="166" y="0"/>
                  </a:moveTo>
                  <a:cubicBezTo>
                    <a:pt x="125" y="0"/>
                    <a:pt x="125" y="0"/>
                    <a:pt x="125" y="0"/>
                  </a:cubicBezTo>
                  <a:cubicBezTo>
                    <a:pt x="124" y="0"/>
                    <a:pt x="124" y="0"/>
                    <a:pt x="124" y="0"/>
                  </a:cubicBezTo>
                  <a:cubicBezTo>
                    <a:pt x="97" y="0"/>
                    <a:pt x="97" y="0"/>
                    <a:pt x="97" y="0"/>
                  </a:cubicBezTo>
                  <a:cubicBezTo>
                    <a:pt x="58" y="0"/>
                    <a:pt x="58" y="0"/>
                    <a:pt x="58" y="0"/>
                  </a:cubicBezTo>
                  <a:cubicBezTo>
                    <a:pt x="32" y="0"/>
                    <a:pt x="32" y="0"/>
                    <a:pt x="32" y="0"/>
                  </a:cubicBezTo>
                  <a:cubicBezTo>
                    <a:pt x="28" y="0"/>
                    <a:pt x="28" y="0"/>
                    <a:pt x="28" y="0"/>
                  </a:cubicBezTo>
                  <a:cubicBezTo>
                    <a:pt x="12" y="0"/>
                    <a:pt x="0" y="13"/>
                    <a:pt x="0" y="29"/>
                  </a:cubicBezTo>
                  <a:cubicBezTo>
                    <a:pt x="0" y="29"/>
                    <a:pt x="0" y="29"/>
                    <a:pt x="0" y="29"/>
                  </a:cubicBezTo>
                  <a:cubicBezTo>
                    <a:pt x="0" y="29"/>
                    <a:pt x="0" y="29"/>
                    <a:pt x="0" y="29"/>
                  </a:cubicBezTo>
                  <a:cubicBezTo>
                    <a:pt x="0" y="30"/>
                    <a:pt x="0" y="31"/>
                    <a:pt x="0" y="32"/>
                  </a:cubicBezTo>
                  <a:cubicBezTo>
                    <a:pt x="1" y="18"/>
                    <a:pt x="13" y="7"/>
                    <a:pt x="28" y="7"/>
                  </a:cubicBezTo>
                  <a:cubicBezTo>
                    <a:pt x="125" y="7"/>
                    <a:pt x="125" y="7"/>
                    <a:pt x="125" y="7"/>
                  </a:cubicBezTo>
                  <a:cubicBezTo>
                    <a:pt x="166" y="7"/>
                    <a:pt x="166" y="7"/>
                    <a:pt x="166" y="7"/>
                  </a:cubicBezTo>
                  <a:cubicBezTo>
                    <a:pt x="179" y="7"/>
                    <a:pt x="190" y="17"/>
                    <a:pt x="190" y="30"/>
                  </a:cubicBezTo>
                  <a:cubicBezTo>
                    <a:pt x="190" y="30"/>
                    <a:pt x="190" y="29"/>
                    <a:pt x="190" y="29"/>
                  </a:cubicBezTo>
                  <a:cubicBezTo>
                    <a:pt x="190" y="24"/>
                    <a:pt x="190" y="24"/>
                    <a:pt x="190" y="24"/>
                  </a:cubicBezTo>
                  <a:cubicBezTo>
                    <a:pt x="190" y="11"/>
                    <a:pt x="179" y="0"/>
                    <a:pt x="166" y="0"/>
                  </a:cubicBezTo>
                </a:path>
              </a:pathLst>
            </a:custGeom>
            <a:solidFill>
              <a:srgbClr val="8963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96" name="Freeform 209"/>
            <p:cNvSpPr>
              <a:spLocks/>
            </p:cNvSpPr>
            <p:nvPr/>
          </p:nvSpPr>
          <p:spPr bwMode="auto">
            <a:xfrm>
              <a:off x="9373336" y="2938172"/>
              <a:ext cx="464224" cy="185309"/>
            </a:xfrm>
            <a:custGeom>
              <a:avLst/>
              <a:gdLst>
                <a:gd name="T0" fmla="*/ 163 w 500"/>
                <a:gd name="T1" fmla="*/ 0 h 201"/>
                <a:gd name="T2" fmla="*/ 262 w 500"/>
                <a:gd name="T3" fmla="*/ 0 h 201"/>
                <a:gd name="T4" fmla="*/ 381 w 500"/>
                <a:gd name="T5" fmla="*/ 0 h 201"/>
                <a:gd name="T6" fmla="*/ 500 w 500"/>
                <a:gd name="T7" fmla="*/ 53 h 201"/>
                <a:gd name="T8" fmla="*/ 481 w 500"/>
                <a:gd name="T9" fmla="*/ 80 h 201"/>
                <a:gd name="T10" fmla="*/ 411 w 500"/>
                <a:gd name="T11" fmla="*/ 88 h 201"/>
                <a:gd name="T12" fmla="*/ 331 w 500"/>
                <a:gd name="T13" fmla="*/ 86 h 201"/>
                <a:gd name="T14" fmla="*/ 163 w 500"/>
                <a:gd name="T15" fmla="*/ 99 h 201"/>
                <a:gd name="T16" fmla="*/ 163 w 500"/>
                <a:gd name="T17" fmla="*/ 195 h 201"/>
                <a:gd name="T18" fmla="*/ 0 w 500"/>
                <a:gd name="T19"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0" h="201">
                  <a:moveTo>
                    <a:pt x="163" y="0"/>
                  </a:moveTo>
                  <a:cubicBezTo>
                    <a:pt x="262" y="0"/>
                    <a:pt x="262" y="0"/>
                    <a:pt x="262" y="0"/>
                  </a:cubicBezTo>
                  <a:cubicBezTo>
                    <a:pt x="381" y="0"/>
                    <a:pt x="381" y="0"/>
                    <a:pt x="381" y="0"/>
                  </a:cubicBezTo>
                  <a:cubicBezTo>
                    <a:pt x="500" y="53"/>
                    <a:pt x="500" y="53"/>
                    <a:pt x="500" y="53"/>
                  </a:cubicBezTo>
                  <a:cubicBezTo>
                    <a:pt x="500" y="53"/>
                    <a:pt x="498" y="67"/>
                    <a:pt x="481" y="80"/>
                  </a:cubicBezTo>
                  <a:cubicBezTo>
                    <a:pt x="461" y="95"/>
                    <a:pt x="434" y="98"/>
                    <a:pt x="411" y="88"/>
                  </a:cubicBezTo>
                  <a:cubicBezTo>
                    <a:pt x="387" y="79"/>
                    <a:pt x="356" y="63"/>
                    <a:pt x="331" y="86"/>
                  </a:cubicBezTo>
                  <a:cubicBezTo>
                    <a:pt x="331" y="86"/>
                    <a:pt x="252" y="166"/>
                    <a:pt x="163" y="99"/>
                  </a:cubicBezTo>
                  <a:cubicBezTo>
                    <a:pt x="163" y="195"/>
                    <a:pt x="163" y="195"/>
                    <a:pt x="163" y="195"/>
                  </a:cubicBezTo>
                  <a:cubicBezTo>
                    <a:pt x="0" y="201"/>
                    <a:pt x="0" y="201"/>
                    <a:pt x="0" y="201"/>
                  </a:cubicBezTo>
                </a:path>
              </a:pathLst>
            </a:custGeom>
            <a:solidFill>
              <a:srgbClr val="8E5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97" name="Freeform 210"/>
            <p:cNvSpPr>
              <a:spLocks/>
            </p:cNvSpPr>
            <p:nvPr/>
          </p:nvSpPr>
          <p:spPr bwMode="auto">
            <a:xfrm>
              <a:off x="9443063" y="2938172"/>
              <a:ext cx="394495" cy="185309"/>
            </a:xfrm>
            <a:custGeom>
              <a:avLst/>
              <a:gdLst>
                <a:gd name="T0" fmla="*/ 81 w 425"/>
                <a:gd name="T1" fmla="*/ 0 h 201"/>
                <a:gd name="T2" fmla="*/ 187 w 425"/>
                <a:gd name="T3" fmla="*/ 0 h 201"/>
                <a:gd name="T4" fmla="*/ 306 w 425"/>
                <a:gd name="T5" fmla="*/ 0 h 201"/>
                <a:gd name="T6" fmla="*/ 425 w 425"/>
                <a:gd name="T7" fmla="*/ 53 h 201"/>
                <a:gd name="T8" fmla="*/ 406 w 425"/>
                <a:gd name="T9" fmla="*/ 80 h 201"/>
                <a:gd name="T10" fmla="*/ 336 w 425"/>
                <a:gd name="T11" fmla="*/ 88 h 201"/>
                <a:gd name="T12" fmla="*/ 256 w 425"/>
                <a:gd name="T13" fmla="*/ 86 h 201"/>
                <a:gd name="T14" fmla="*/ 88 w 425"/>
                <a:gd name="T15" fmla="*/ 99 h 201"/>
                <a:gd name="T16" fmla="*/ 88 w 425"/>
                <a:gd name="T17" fmla="*/ 195 h 201"/>
                <a:gd name="T18" fmla="*/ 0 w 425"/>
                <a:gd name="T19"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25" h="201">
                  <a:moveTo>
                    <a:pt x="81" y="0"/>
                  </a:moveTo>
                  <a:cubicBezTo>
                    <a:pt x="187" y="0"/>
                    <a:pt x="187" y="0"/>
                    <a:pt x="187" y="0"/>
                  </a:cubicBezTo>
                  <a:cubicBezTo>
                    <a:pt x="306" y="0"/>
                    <a:pt x="306" y="0"/>
                    <a:pt x="306" y="0"/>
                  </a:cubicBezTo>
                  <a:cubicBezTo>
                    <a:pt x="425" y="53"/>
                    <a:pt x="425" y="53"/>
                    <a:pt x="425" y="53"/>
                  </a:cubicBezTo>
                  <a:cubicBezTo>
                    <a:pt x="425" y="53"/>
                    <a:pt x="423" y="67"/>
                    <a:pt x="406" y="80"/>
                  </a:cubicBezTo>
                  <a:cubicBezTo>
                    <a:pt x="386" y="95"/>
                    <a:pt x="359" y="98"/>
                    <a:pt x="336" y="88"/>
                  </a:cubicBezTo>
                  <a:cubicBezTo>
                    <a:pt x="312" y="79"/>
                    <a:pt x="281" y="63"/>
                    <a:pt x="256" y="86"/>
                  </a:cubicBezTo>
                  <a:cubicBezTo>
                    <a:pt x="256" y="86"/>
                    <a:pt x="177" y="166"/>
                    <a:pt x="88" y="99"/>
                  </a:cubicBezTo>
                  <a:cubicBezTo>
                    <a:pt x="88" y="195"/>
                    <a:pt x="88" y="195"/>
                    <a:pt x="88" y="195"/>
                  </a:cubicBezTo>
                  <a:cubicBezTo>
                    <a:pt x="0" y="201"/>
                    <a:pt x="0" y="201"/>
                    <a:pt x="0" y="201"/>
                  </a:cubicBezTo>
                </a:path>
              </a:pathLst>
            </a:custGeom>
            <a:solidFill>
              <a:srgbClr val="8E5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98" name="Freeform 211"/>
            <p:cNvSpPr>
              <a:spLocks/>
            </p:cNvSpPr>
            <p:nvPr/>
          </p:nvSpPr>
          <p:spPr bwMode="auto">
            <a:xfrm>
              <a:off x="9419184" y="3123479"/>
              <a:ext cx="20060" cy="956"/>
            </a:xfrm>
            <a:custGeom>
              <a:avLst/>
              <a:gdLst>
                <a:gd name="T0" fmla="*/ 21 w 21"/>
                <a:gd name="T1" fmla="*/ 0 h 1"/>
                <a:gd name="T2" fmla="*/ 0 w 21"/>
                <a:gd name="T3" fmla="*/ 1 h 1"/>
                <a:gd name="T4" fmla="*/ 21 w 21"/>
                <a:gd name="T5" fmla="*/ 1 h 1"/>
                <a:gd name="T6" fmla="*/ 21 w 21"/>
                <a:gd name="T7" fmla="*/ 0 h 1"/>
              </a:gdLst>
              <a:ahLst/>
              <a:cxnLst>
                <a:cxn ang="0">
                  <a:pos x="T0" y="T1"/>
                </a:cxn>
                <a:cxn ang="0">
                  <a:pos x="T2" y="T3"/>
                </a:cxn>
                <a:cxn ang="0">
                  <a:pos x="T4" y="T5"/>
                </a:cxn>
                <a:cxn ang="0">
                  <a:pos x="T6" y="T7"/>
                </a:cxn>
              </a:cxnLst>
              <a:rect l="0" t="0" r="r" b="b"/>
              <a:pathLst>
                <a:path w="21" h="1">
                  <a:moveTo>
                    <a:pt x="21" y="0"/>
                  </a:moveTo>
                  <a:lnTo>
                    <a:pt x="0" y="1"/>
                  </a:lnTo>
                  <a:lnTo>
                    <a:pt x="21" y="1"/>
                  </a:lnTo>
                  <a:lnTo>
                    <a:pt x="21" y="0"/>
                  </a:lnTo>
                  <a:close/>
                </a:path>
              </a:pathLst>
            </a:custGeom>
            <a:solidFill>
              <a:srgbClr val="B281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99" name="Freeform 212"/>
            <p:cNvSpPr>
              <a:spLocks/>
            </p:cNvSpPr>
            <p:nvPr/>
          </p:nvSpPr>
          <p:spPr bwMode="auto">
            <a:xfrm>
              <a:off x="9419184" y="3123479"/>
              <a:ext cx="20060" cy="956"/>
            </a:xfrm>
            <a:custGeom>
              <a:avLst/>
              <a:gdLst>
                <a:gd name="T0" fmla="*/ 21 w 21"/>
                <a:gd name="T1" fmla="*/ 0 h 1"/>
                <a:gd name="T2" fmla="*/ 0 w 21"/>
                <a:gd name="T3" fmla="*/ 1 h 1"/>
                <a:gd name="T4" fmla="*/ 21 w 21"/>
                <a:gd name="T5" fmla="*/ 1 h 1"/>
                <a:gd name="T6" fmla="*/ 21 w 21"/>
                <a:gd name="T7" fmla="*/ 0 h 1"/>
              </a:gdLst>
              <a:ahLst/>
              <a:cxnLst>
                <a:cxn ang="0">
                  <a:pos x="T0" y="T1"/>
                </a:cxn>
                <a:cxn ang="0">
                  <a:pos x="T2" y="T3"/>
                </a:cxn>
                <a:cxn ang="0">
                  <a:pos x="T4" y="T5"/>
                </a:cxn>
                <a:cxn ang="0">
                  <a:pos x="T6" y="T7"/>
                </a:cxn>
              </a:cxnLst>
              <a:rect l="0" t="0" r="r" b="b"/>
              <a:pathLst>
                <a:path w="21" h="1">
                  <a:moveTo>
                    <a:pt x="21" y="0"/>
                  </a:moveTo>
                  <a:lnTo>
                    <a:pt x="0" y="1"/>
                  </a:lnTo>
                  <a:lnTo>
                    <a:pt x="21" y="1"/>
                  </a:lnTo>
                  <a:lnTo>
                    <a:pt x="2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00" name="Rectangle 213"/>
            <p:cNvSpPr>
              <a:spLocks noChangeArrowheads="1"/>
            </p:cNvSpPr>
            <p:nvPr/>
          </p:nvSpPr>
          <p:spPr bwMode="auto">
            <a:xfrm>
              <a:off x="9501332" y="3007902"/>
              <a:ext cx="74505" cy="109847"/>
            </a:xfrm>
            <a:prstGeom prst="rect">
              <a:avLst/>
            </a:prstGeom>
            <a:solidFill>
              <a:srgbClr val="8E562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01" name="Freeform 214"/>
            <p:cNvSpPr>
              <a:spLocks noEditPoints="1"/>
            </p:cNvSpPr>
            <p:nvPr/>
          </p:nvSpPr>
          <p:spPr bwMode="auto">
            <a:xfrm>
              <a:off x="9636969" y="2359325"/>
              <a:ext cx="280827" cy="274142"/>
            </a:xfrm>
            <a:custGeom>
              <a:avLst/>
              <a:gdLst>
                <a:gd name="T0" fmla="*/ 254 w 303"/>
                <a:gd name="T1" fmla="*/ 292 h 296"/>
                <a:gd name="T2" fmla="*/ 246 w 303"/>
                <a:gd name="T3" fmla="*/ 292 h 296"/>
                <a:gd name="T4" fmla="*/ 250 w 303"/>
                <a:gd name="T5" fmla="*/ 296 h 296"/>
                <a:gd name="T6" fmla="*/ 254 w 303"/>
                <a:gd name="T7" fmla="*/ 292 h 296"/>
                <a:gd name="T8" fmla="*/ 122 w 303"/>
                <a:gd name="T9" fmla="*/ 0 h 296"/>
                <a:gd name="T10" fmla="*/ 0 w 303"/>
                <a:gd name="T11" fmla="*/ 47 h 296"/>
                <a:gd name="T12" fmla="*/ 83 w 303"/>
                <a:gd name="T13" fmla="*/ 129 h 296"/>
                <a:gd name="T14" fmla="*/ 83 w 303"/>
                <a:gd name="T15" fmla="*/ 97 h 296"/>
                <a:gd name="T16" fmla="*/ 144 w 303"/>
                <a:gd name="T17" fmla="*/ 97 h 296"/>
                <a:gd name="T18" fmla="*/ 144 w 303"/>
                <a:gd name="T19" fmla="*/ 190 h 296"/>
                <a:gd name="T20" fmla="*/ 160 w 303"/>
                <a:gd name="T21" fmla="*/ 207 h 296"/>
                <a:gd name="T22" fmla="*/ 160 w 303"/>
                <a:gd name="T23" fmla="*/ 48 h 296"/>
                <a:gd name="T24" fmla="*/ 221 w 303"/>
                <a:gd name="T25" fmla="*/ 48 h 296"/>
                <a:gd name="T26" fmla="*/ 221 w 303"/>
                <a:gd name="T27" fmla="*/ 268 h 296"/>
                <a:gd name="T28" fmla="*/ 241 w 303"/>
                <a:gd name="T29" fmla="*/ 288 h 296"/>
                <a:gd name="T30" fmla="*/ 258 w 303"/>
                <a:gd name="T31" fmla="*/ 288 h 296"/>
                <a:gd name="T32" fmla="*/ 303 w 303"/>
                <a:gd name="T33" fmla="*/ 174 h 296"/>
                <a:gd name="T34" fmla="*/ 122 w 303"/>
                <a:gd name="T35" fmla="*/ 0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03" h="296">
                  <a:moveTo>
                    <a:pt x="254" y="292"/>
                  </a:moveTo>
                  <a:cubicBezTo>
                    <a:pt x="246" y="292"/>
                    <a:pt x="246" y="292"/>
                    <a:pt x="246" y="292"/>
                  </a:cubicBezTo>
                  <a:cubicBezTo>
                    <a:pt x="250" y="296"/>
                    <a:pt x="250" y="296"/>
                    <a:pt x="250" y="296"/>
                  </a:cubicBezTo>
                  <a:cubicBezTo>
                    <a:pt x="252" y="295"/>
                    <a:pt x="253" y="293"/>
                    <a:pt x="254" y="292"/>
                  </a:cubicBezTo>
                  <a:moveTo>
                    <a:pt x="122" y="0"/>
                  </a:moveTo>
                  <a:cubicBezTo>
                    <a:pt x="75" y="0"/>
                    <a:pt x="32" y="17"/>
                    <a:pt x="0" y="47"/>
                  </a:cubicBezTo>
                  <a:cubicBezTo>
                    <a:pt x="83" y="129"/>
                    <a:pt x="83" y="129"/>
                    <a:pt x="83" y="129"/>
                  </a:cubicBezTo>
                  <a:cubicBezTo>
                    <a:pt x="83" y="97"/>
                    <a:pt x="83" y="97"/>
                    <a:pt x="83" y="97"/>
                  </a:cubicBezTo>
                  <a:cubicBezTo>
                    <a:pt x="144" y="97"/>
                    <a:pt x="144" y="97"/>
                    <a:pt x="144" y="97"/>
                  </a:cubicBezTo>
                  <a:cubicBezTo>
                    <a:pt x="144" y="190"/>
                    <a:pt x="144" y="190"/>
                    <a:pt x="144" y="190"/>
                  </a:cubicBezTo>
                  <a:cubicBezTo>
                    <a:pt x="160" y="207"/>
                    <a:pt x="160" y="207"/>
                    <a:pt x="160" y="207"/>
                  </a:cubicBezTo>
                  <a:cubicBezTo>
                    <a:pt x="160" y="48"/>
                    <a:pt x="160" y="48"/>
                    <a:pt x="160" y="48"/>
                  </a:cubicBezTo>
                  <a:cubicBezTo>
                    <a:pt x="221" y="48"/>
                    <a:pt x="221" y="48"/>
                    <a:pt x="221" y="48"/>
                  </a:cubicBezTo>
                  <a:cubicBezTo>
                    <a:pt x="221" y="268"/>
                    <a:pt x="221" y="268"/>
                    <a:pt x="221" y="268"/>
                  </a:cubicBezTo>
                  <a:cubicBezTo>
                    <a:pt x="241" y="288"/>
                    <a:pt x="241" y="288"/>
                    <a:pt x="241" y="288"/>
                  </a:cubicBezTo>
                  <a:cubicBezTo>
                    <a:pt x="258" y="288"/>
                    <a:pt x="258" y="288"/>
                    <a:pt x="258" y="288"/>
                  </a:cubicBezTo>
                  <a:cubicBezTo>
                    <a:pt x="285" y="257"/>
                    <a:pt x="302" y="218"/>
                    <a:pt x="303" y="174"/>
                  </a:cubicBezTo>
                  <a:cubicBezTo>
                    <a:pt x="300" y="77"/>
                    <a:pt x="220" y="0"/>
                    <a:pt x="12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02" name="Freeform 215"/>
            <p:cNvSpPr>
              <a:spLocks/>
            </p:cNvSpPr>
            <p:nvPr/>
          </p:nvSpPr>
          <p:spPr bwMode="auto">
            <a:xfrm>
              <a:off x="9860484" y="2625823"/>
              <a:ext cx="15283" cy="3821"/>
            </a:xfrm>
            <a:custGeom>
              <a:avLst/>
              <a:gdLst>
                <a:gd name="T0" fmla="*/ 17 w 17"/>
                <a:gd name="T1" fmla="*/ 0 h 4"/>
                <a:gd name="T2" fmla="*/ 0 w 17"/>
                <a:gd name="T3" fmla="*/ 0 h 4"/>
                <a:gd name="T4" fmla="*/ 5 w 17"/>
                <a:gd name="T5" fmla="*/ 4 h 4"/>
                <a:gd name="T6" fmla="*/ 13 w 17"/>
                <a:gd name="T7" fmla="*/ 4 h 4"/>
                <a:gd name="T8" fmla="*/ 17 w 17"/>
                <a:gd name="T9" fmla="*/ 0 h 4"/>
              </a:gdLst>
              <a:ahLst/>
              <a:cxnLst>
                <a:cxn ang="0">
                  <a:pos x="T0" y="T1"/>
                </a:cxn>
                <a:cxn ang="0">
                  <a:pos x="T2" y="T3"/>
                </a:cxn>
                <a:cxn ang="0">
                  <a:pos x="T4" y="T5"/>
                </a:cxn>
                <a:cxn ang="0">
                  <a:pos x="T6" y="T7"/>
                </a:cxn>
                <a:cxn ang="0">
                  <a:pos x="T8" y="T9"/>
                </a:cxn>
              </a:cxnLst>
              <a:rect l="0" t="0" r="r" b="b"/>
              <a:pathLst>
                <a:path w="17" h="4">
                  <a:moveTo>
                    <a:pt x="17" y="0"/>
                  </a:moveTo>
                  <a:cubicBezTo>
                    <a:pt x="0" y="0"/>
                    <a:pt x="0" y="0"/>
                    <a:pt x="0" y="0"/>
                  </a:cubicBezTo>
                  <a:cubicBezTo>
                    <a:pt x="5" y="4"/>
                    <a:pt x="5" y="4"/>
                    <a:pt x="5" y="4"/>
                  </a:cubicBezTo>
                  <a:cubicBezTo>
                    <a:pt x="13" y="4"/>
                    <a:pt x="13" y="4"/>
                    <a:pt x="13" y="4"/>
                  </a:cubicBezTo>
                  <a:cubicBezTo>
                    <a:pt x="15" y="3"/>
                    <a:pt x="16" y="1"/>
                    <a:pt x="17" y="0"/>
                  </a:cubicBezTo>
                </a:path>
              </a:pathLst>
            </a:custGeom>
            <a:solidFill>
              <a:srgbClr val="E8E8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03" name="Freeform 216"/>
            <p:cNvSpPr>
              <a:spLocks/>
            </p:cNvSpPr>
            <p:nvPr/>
          </p:nvSpPr>
          <p:spPr bwMode="auto">
            <a:xfrm>
              <a:off x="9713385" y="2449113"/>
              <a:ext cx="57311" cy="85968"/>
            </a:xfrm>
            <a:custGeom>
              <a:avLst/>
              <a:gdLst>
                <a:gd name="T0" fmla="*/ 60 w 60"/>
                <a:gd name="T1" fmla="*/ 0 h 90"/>
                <a:gd name="T2" fmla="*/ 0 w 60"/>
                <a:gd name="T3" fmla="*/ 0 h 90"/>
                <a:gd name="T4" fmla="*/ 0 w 60"/>
                <a:gd name="T5" fmla="*/ 31 h 90"/>
                <a:gd name="T6" fmla="*/ 60 w 60"/>
                <a:gd name="T7" fmla="*/ 90 h 90"/>
                <a:gd name="T8" fmla="*/ 60 w 60"/>
                <a:gd name="T9" fmla="*/ 0 h 90"/>
              </a:gdLst>
              <a:ahLst/>
              <a:cxnLst>
                <a:cxn ang="0">
                  <a:pos x="T0" y="T1"/>
                </a:cxn>
                <a:cxn ang="0">
                  <a:pos x="T2" y="T3"/>
                </a:cxn>
                <a:cxn ang="0">
                  <a:pos x="T4" y="T5"/>
                </a:cxn>
                <a:cxn ang="0">
                  <a:pos x="T6" y="T7"/>
                </a:cxn>
                <a:cxn ang="0">
                  <a:pos x="T8" y="T9"/>
                </a:cxn>
              </a:cxnLst>
              <a:rect l="0" t="0" r="r" b="b"/>
              <a:pathLst>
                <a:path w="60" h="90">
                  <a:moveTo>
                    <a:pt x="60" y="0"/>
                  </a:moveTo>
                  <a:lnTo>
                    <a:pt x="0" y="0"/>
                  </a:lnTo>
                  <a:lnTo>
                    <a:pt x="0" y="31"/>
                  </a:lnTo>
                  <a:lnTo>
                    <a:pt x="60" y="90"/>
                  </a:lnTo>
                  <a:lnTo>
                    <a:pt x="60" y="0"/>
                  </a:lnTo>
                  <a:close/>
                </a:path>
              </a:pathLst>
            </a:custGeom>
            <a:solidFill>
              <a:srgbClr val="808D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04" name="Freeform 217"/>
            <p:cNvSpPr>
              <a:spLocks/>
            </p:cNvSpPr>
            <p:nvPr/>
          </p:nvSpPr>
          <p:spPr bwMode="auto">
            <a:xfrm>
              <a:off x="9713385" y="2449113"/>
              <a:ext cx="57311" cy="85968"/>
            </a:xfrm>
            <a:custGeom>
              <a:avLst/>
              <a:gdLst>
                <a:gd name="T0" fmla="*/ 60 w 60"/>
                <a:gd name="T1" fmla="*/ 0 h 90"/>
                <a:gd name="T2" fmla="*/ 0 w 60"/>
                <a:gd name="T3" fmla="*/ 0 h 90"/>
                <a:gd name="T4" fmla="*/ 0 w 60"/>
                <a:gd name="T5" fmla="*/ 31 h 90"/>
                <a:gd name="T6" fmla="*/ 60 w 60"/>
                <a:gd name="T7" fmla="*/ 90 h 90"/>
                <a:gd name="T8" fmla="*/ 60 w 60"/>
                <a:gd name="T9" fmla="*/ 0 h 90"/>
              </a:gdLst>
              <a:ahLst/>
              <a:cxnLst>
                <a:cxn ang="0">
                  <a:pos x="T0" y="T1"/>
                </a:cxn>
                <a:cxn ang="0">
                  <a:pos x="T2" y="T3"/>
                </a:cxn>
                <a:cxn ang="0">
                  <a:pos x="T4" y="T5"/>
                </a:cxn>
                <a:cxn ang="0">
                  <a:pos x="T6" y="T7"/>
                </a:cxn>
                <a:cxn ang="0">
                  <a:pos x="T8" y="T9"/>
                </a:cxn>
              </a:cxnLst>
              <a:rect l="0" t="0" r="r" b="b"/>
              <a:pathLst>
                <a:path w="60" h="90">
                  <a:moveTo>
                    <a:pt x="60" y="0"/>
                  </a:moveTo>
                  <a:lnTo>
                    <a:pt x="0" y="0"/>
                  </a:lnTo>
                  <a:lnTo>
                    <a:pt x="0" y="31"/>
                  </a:lnTo>
                  <a:lnTo>
                    <a:pt x="60" y="90"/>
                  </a:lnTo>
                  <a:lnTo>
                    <a:pt x="6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05" name="Freeform 218"/>
            <p:cNvSpPr>
              <a:spLocks/>
            </p:cNvSpPr>
            <p:nvPr/>
          </p:nvSpPr>
          <p:spPr bwMode="auto">
            <a:xfrm>
              <a:off x="9785024" y="2404219"/>
              <a:ext cx="56357" cy="203456"/>
            </a:xfrm>
            <a:custGeom>
              <a:avLst/>
              <a:gdLst>
                <a:gd name="T0" fmla="*/ 59 w 59"/>
                <a:gd name="T1" fmla="*/ 0 h 213"/>
                <a:gd name="T2" fmla="*/ 0 w 59"/>
                <a:gd name="T3" fmla="*/ 0 h 213"/>
                <a:gd name="T4" fmla="*/ 0 w 59"/>
                <a:gd name="T5" fmla="*/ 154 h 213"/>
                <a:gd name="T6" fmla="*/ 59 w 59"/>
                <a:gd name="T7" fmla="*/ 213 h 213"/>
                <a:gd name="T8" fmla="*/ 59 w 59"/>
                <a:gd name="T9" fmla="*/ 0 h 213"/>
              </a:gdLst>
              <a:ahLst/>
              <a:cxnLst>
                <a:cxn ang="0">
                  <a:pos x="T0" y="T1"/>
                </a:cxn>
                <a:cxn ang="0">
                  <a:pos x="T2" y="T3"/>
                </a:cxn>
                <a:cxn ang="0">
                  <a:pos x="T4" y="T5"/>
                </a:cxn>
                <a:cxn ang="0">
                  <a:pos x="T6" y="T7"/>
                </a:cxn>
                <a:cxn ang="0">
                  <a:pos x="T8" y="T9"/>
                </a:cxn>
              </a:cxnLst>
              <a:rect l="0" t="0" r="r" b="b"/>
              <a:pathLst>
                <a:path w="59" h="213">
                  <a:moveTo>
                    <a:pt x="59" y="0"/>
                  </a:moveTo>
                  <a:lnTo>
                    <a:pt x="0" y="0"/>
                  </a:lnTo>
                  <a:lnTo>
                    <a:pt x="0" y="154"/>
                  </a:lnTo>
                  <a:lnTo>
                    <a:pt x="59" y="213"/>
                  </a:lnTo>
                  <a:lnTo>
                    <a:pt x="59" y="0"/>
                  </a:lnTo>
                  <a:close/>
                </a:path>
              </a:pathLst>
            </a:custGeom>
            <a:solidFill>
              <a:srgbClr val="808D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06" name="Freeform 219"/>
            <p:cNvSpPr>
              <a:spLocks/>
            </p:cNvSpPr>
            <p:nvPr/>
          </p:nvSpPr>
          <p:spPr bwMode="auto">
            <a:xfrm>
              <a:off x="9785024" y="2404219"/>
              <a:ext cx="56357" cy="203456"/>
            </a:xfrm>
            <a:custGeom>
              <a:avLst/>
              <a:gdLst>
                <a:gd name="T0" fmla="*/ 59 w 59"/>
                <a:gd name="T1" fmla="*/ 0 h 213"/>
                <a:gd name="T2" fmla="*/ 0 w 59"/>
                <a:gd name="T3" fmla="*/ 0 h 213"/>
                <a:gd name="T4" fmla="*/ 0 w 59"/>
                <a:gd name="T5" fmla="*/ 154 h 213"/>
                <a:gd name="T6" fmla="*/ 59 w 59"/>
                <a:gd name="T7" fmla="*/ 213 h 213"/>
                <a:gd name="T8" fmla="*/ 59 w 59"/>
                <a:gd name="T9" fmla="*/ 0 h 213"/>
              </a:gdLst>
              <a:ahLst/>
              <a:cxnLst>
                <a:cxn ang="0">
                  <a:pos x="T0" y="T1"/>
                </a:cxn>
                <a:cxn ang="0">
                  <a:pos x="T2" y="T3"/>
                </a:cxn>
                <a:cxn ang="0">
                  <a:pos x="T4" y="T5"/>
                </a:cxn>
                <a:cxn ang="0">
                  <a:pos x="T6" y="T7"/>
                </a:cxn>
                <a:cxn ang="0">
                  <a:pos x="T8" y="T9"/>
                </a:cxn>
              </a:cxnLst>
              <a:rect l="0" t="0" r="r" b="b"/>
              <a:pathLst>
                <a:path w="59" h="213">
                  <a:moveTo>
                    <a:pt x="59" y="0"/>
                  </a:moveTo>
                  <a:lnTo>
                    <a:pt x="0" y="0"/>
                  </a:lnTo>
                  <a:lnTo>
                    <a:pt x="0" y="154"/>
                  </a:lnTo>
                  <a:lnTo>
                    <a:pt x="59" y="213"/>
                  </a:lnTo>
                  <a:lnTo>
                    <a:pt x="5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07" name="Freeform 220"/>
            <p:cNvSpPr>
              <a:spLocks/>
            </p:cNvSpPr>
            <p:nvPr/>
          </p:nvSpPr>
          <p:spPr bwMode="auto">
            <a:xfrm>
              <a:off x="9631238" y="2347862"/>
              <a:ext cx="286558" cy="172890"/>
            </a:xfrm>
            <a:custGeom>
              <a:avLst/>
              <a:gdLst>
                <a:gd name="T0" fmla="*/ 128 w 309"/>
                <a:gd name="T1" fmla="*/ 0 h 187"/>
                <a:gd name="T2" fmla="*/ 0 w 309"/>
                <a:gd name="T3" fmla="*/ 53 h 187"/>
                <a:gd name="T4" fmla="*/ 6 w 309"/>
                <a:gd name="T5" fmla="*/ 60 h 187"/>
                <a:gd name="T6" fmla="*/ 128 w 309"/>
                <a:gd name="T7" fmla="*/ 13 h 187"/>
                <a:gd name="T8" fmla="*/ 309 w 309"/>
                <a:gd name="T9" fmla="*/ 187 h 187"/>
                <a:gd name="T10" fmla="*/ 309 w 309"/>
                <a:gd name="T11" fmla="*/ 181 h 187"/>
                <a:gd name="T12" fmla="*/ 309 w 309"/>
                <a:gd name="T13" fmla="*/ 181 h 187"/>
                <a:gd name="T14" fmla="*/ 256 w 309"/>
                <a:gd name="T15" fmla="*/ 53 h 187"/>
                <a:gd name="T16" fmla="*/ 128 w 309"/>
                <a:gd name="T17" fmla="*/ 0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9" h="187">
                  <a:moveTo>
                    <a:pt x="128" y="0"/>
                  </a:moveTo>
                  <a:cubicBezTo>
                    <a:pt x="82" y="0"/>
                    <a:pt x="35" y="18"/>
                    <a:pt x="0" y="53"/>
                  </a:cubicBezTo>
                  <a:cubicBezTo>
                    <a:pt x="6" y="60"/>
                    <a:pt x="6" y="60"/>
                    <a:pt x="6" y="60"/>
                  </a:cubicBezTo>
                  <a:cubicBezTo>
                    <a:pt x="38" y="30"/>
                    <a:pt x="81" y="13"/>
                    <a:pt x="128" y="13"/>
                  </a:cubicBezTo>
                  <a:cubicBezTo>
                    <a:pt x="226" y="13"/>
                    <a:pt x="306" y="90"/>
                    <a:pt x="309" y="187"/>
                  </a:cubicBezTo>
                  <a:cubicBezTo>
                    <a:pt x="309" y="185"/>
                    <a:pt x="309" y="183"/>
                    <a:pt x="309" y="181"/>
                  </a:cubicBezTo>
                  <a:cubicBezTo>
                    <a:pt x="309" y="181"/>
                    <a:pt x="309" y="181"/>
                    <a:pt x="309" y="181"/>
                  </a:cubicBezTo>
                  <a:cubicBezTo>
                    <a:pt x="309" y="135"/>
                    <a:pt x="291" y="89"/>
                    <a:pt x="256" y="53"/>
                  </a:cubicBezTo>
                  <a:cubicBezTo>
                    <a:pt x="221" y="18"/>
                    <a:pt x="174" y="0"/>
                    <a:pt x="128" y="0"/>
                  </a:cubicBezTo>
                </a:path>
              </a:pathLst>
            </a:custGeom>
            <a:solidFill>
              <a:srgbClr val="E7C88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08" name="Freeform 221"/>
            <p:cNvSpPr>
              <a:spLocks/>
            </p:cNvSpPr>
            <p:nvPr/>
          </p:nvSpPr>
          <p:spPr bwMode="auto">
            <a:xfrm>
              <a:off x="9869082" y="2515020"/>
              <a:ext cx="48715" cy="118444"/>
            </a:xfrm>
            <a:custGeom>
              <a:avLst/>
              <a:gdLst>
                <a:gd name="T0" fmla="*/ 53 w 53"/>
                <a:gd name="T1" fmla="*/ 0 h 128"/>
                <a:gd name="T2" fmla="*/ 53 w 53"/>
                <a:gd name="T3" fmla="*/ 0 h 128"/>
                <a:gd name="T4" fmla="*/ 53 w 53"/>
                <a:gd name="T5" fmla="*/ 0 h 128"/>
                <a:gd name="T6" fmla="*/ 53 w 53"/>
                <a:gd name="T7" fmla="*/ 6 h 128"/>
                <a:gd name="T8" fmla="*/ 8 w 53"/>
                <a:gd name="T9" fmla="*/ 120 h 128"/>
                <a:gd name="T10" fmla="*/ 4 w 53"/>
                <a:gd name="T11" fmla="*/ 124 h 128"/>
                <a:gd name="T12" fmla="*/ 0 w 53"/>
                <a:gd name="T13" fmla="*/ 128 h 128"/>
                <a:gd name="T14" fmla="*/ 0 w 53"/>
                <a:gd name="T15" fmla="*/ 128 h 128"/>
                <a:gd name="T16" fmla="*/ 53 w 53"/>
                <a:gd name="T17" fmla="*/ 0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3" h="128">
                  <a:moveTo>
                    <a:pt x="53" y="0"/>
                  </a:moveTo>
                  <a:cubicBezTo>
                    <a:pt x="53" y="0"/>
                    <a:pt x="53" y="0"/>
                    <a:pt x="53" y="0"/>
                  </a:cubicBezTo>
                  <a:cubicBezTo>
                    <a:pt x="53" y="0"/>
                    <a:pt x="53" y="0"/>
                    <a:pt x="53" y="0"/>
                  </a:cubicBezTo>
                  <a:cubicBezTo>
                    <a:pt x="53" y="2"/>
                    <a:pt x="53" y="4"/>
                    <a:pt x="53" y="6"/>
                  </a:cubicBezTo>
                  <a:cubicBezTo>
                    <a:pt x="52" y="50"/>
                    <a:pt x="35" y="89"/>
                    <a:pt x="8" y="120"/>
                  </a:cubicBezTo>
                  <a:cubicBezTo>
                    <a:pt x="7" y="121"/>
                    <a:pt x="6" y="123"/>
                    <a:pt x="4" y="124"/>
                  </a:cubicBezTo>
                  <a:cubicBezTo>
                    <a:pt x="3" y="125"/>
                    <a:pt x="2" y="127"/>
                    <a:pt x="0" y="128"/>
                  </a:cubicBezTo>
                  <a:cubicBezTo>
                    <a:pt x="0" y="128"/>
                    <a:pt x="0" y="128"/>
                    <a:pt x="0" y="128"/>
                  </a:cubicBezTo>
                  <a:cubicBezTo>
                    <a:pt x="36" y="93"/>
                    <a:pt x="53" y="46"/>
                    <a:pt x="53" y="0"/>
                  </a:cubicBezTo>
                </a:path>
              </a:pathLst>
            </a:custGeom>
            <a:solidFill>
              <a:srgbClr val="F8D7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09" name="Freeform 222"/>
            <p:cNvSpPr>
              <a:spLocks/>
            </p:cNvSpPr>
            <p:nvPr/>
          </p:nvSpPr>
          <p:spPr bwMode="auto">
            <a:xfrm>
              <a:off x="9443063" y="3100556"/>
              <a:ext cx="21970" cy="22924"/>
            </a:xfrm>
            <a:custGeom>
              <a:avLst/>
              <a:gdLst>
                <a:gd name="T0" fmla="*/ 0 w 23"/>
                <a:gd name="T1" fmla="*/ 24 h 24"/>
                <a:gd name="T2" fmla="*/ 0 w 23"/>
                <a:gd name="T3" fmla="*/ 0 h 24"/>
                <a:gd name="T4" fmla="*/ 23 w 23"/>
                <a:gd name="T5" fmla="*/ 22 h 24"/>
                <a:gd name="T6" fmla="*/ 0 w 23"/>
                <a:gd name="T7" fmla="*/ 24 h 24"/>
              </a:gdLst>
              <a:ahLst/>
              <a:cxnLst>
                <a:cxn ang="0">
                  <a:pos x="T0" y="T1"/>
                </a:cxn>
                <a:cxn ang="0">
                  <a:pos x="T2" y="T3"/>
                </a:cxn>
                <a:cxn ang="0">
                  <a:pos x="T4" y="T5"/>
                </a:cxn>
                <a:cxn ang="0">
                  <a:pos x="T6" y="T7"/>
                </a:cxn>
              </a:cxnLst>
              <a:rect l="0" t="0" r="r" b="b"/>
              <a:pathLst>
                <a:path w="23" h="24">
                  <a:moveTo>
                    <a:pt x="0" y="24"/>
                  </a:moveTo>
                  <a:lnTo>
                    <a:pt x="0" y="0"/>
                  </a:lnTo>
                  <a:lnTo>
                    <a:pt x="23" y="22"/>
                  </a:lnTo>
                  <a:lnTo>
                    <a:pt x="0" y="24"/>
                  </a:lnTo>
                  <a:close/>
                </a:path>
              </a:pathLst>
            </a:custGeom>
            <a:solidFill>
              <a:srgbClr val="8E5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10" name="Freeform 223"/>
            <p:cNvSpPr>
              <a:spLocks/>
            </p:cNvSpPr>
            <p:nvPr/>
          </p:nvSpPr>
          <p:spPr bwMode="auto">
            <a:xfrm>
              <a:off x="9443063" y="3100556"/>
              <a:ext cx="21970" cy="22924"/>
            </a:xfrm>
            <a:custGeom>
              <a:avLst/>
              <a:gdLst>
                <a:gd name="T0" fmla="*/ 0 w 23"/>
                <a:gd name="T1" fmla="*/ 24 h 24"/>
                <a:gd name="T2" fmla="*/ 0 w 23"/>
                <a:gd name="T3" fmla="*/ 0 h 24"/>
                <a:gd name="T4" fmla="*/ 23 w 23"/>
                <a:gd name="T5" fmla="*/ 22 h 24"/>
              </a:gdLst>
              <a:ahLst/>
              <a:cxnLst>
                <a:cxn ang="0">
                  <a:pos x="T0" y="T1"/>
                </a:cxn>
                <a:cxn ang="0">
                  <a:pos x="T2" y="T3"/>
                </a:cxn>
                <a:cxn ang="0">
                  <a:pos x="T4" y="T5"/>
                </a:cxn>
              </a:cxnLst>
              <a:rect l="0" t="0" r="r" b="b"/>
              <a:pathLst>
                <a:path w="23" h="24">
                  <a:moveTo>
                    <a:pt x="0" y="24"/>
                  </a:moveTo>
                  <a:lnTo>
                    <a:pt x="0" y="0"/>
                  </a:lnTo>
                  <a:lnTo>
                    <a:pt x="23" y="2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11" name="Freeform 224"/>
            <p:cNvSpPr>
              <a:spLocks/>
            </p:cNvSpPr>
            <p:nvPr/>
          </p:nvSpPr>
          <p:spPr bwMode="auto">
            <a:xfrm>
              <a:off x="9396261" y="2938172"/>
              <a:ext cx="124176" cy="189129"/>
            </a:xfrm>
            <a:custGeom>
              <a:avLst/>
              <a:gdLst>
                <a:gd name="T0" fmla="*/ 0 w 134"/>
                <a:gd name="T1" fmla="*/ 205 h 205"/>
                <a:gd name="T2" fmla="*/ 0 w 134"/>
                <a:gd name="T3" fmla="*/ 8 h 205"/>
                <a:gd name="T4" fmla="*/ 107 w 134"/>
                <a:gd name="T5" fmla="*/ 1 h 205"/>
                <a:gd name="T6" fmla="*/ 122 w 134"/>
                <a:gd name="T7" fmla="*/ 0 h 205"/>
                <a:gd name="T8" fmla="*/ 134 w 134"/>
                <a:gd name="T9" fmla="*/ 0 h 205"/>
                <a:gd name="T10" fmla="*/ 134 w 134"/>
                <a:gd name="T11" fmla="*/ 162 h 205"/>
                <a:gd name="T12" fmla="*/ 99 w 134"/>
                <a:gd name="T13" fmla="*/ 199 h 205"/>
                <a:gd name="T14" fmla="*/ 38 w 134"/>
                <a:gd name="T15" fmla="*/ 203 h 205"/>
                <a:gd name="T16" fmla="*/ 26 w 134"/>
                <a:gd name="T17" fmla="*/ 204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4" h="205">
                  <a:moveTo>
                    <a:pt x="0" y="205"/>
                  </a:moveTo>
                  <a:cubicBezTo>
                    <a:pt x="0" y="8"/>
                    <a:pt x="0" y="8"/>
                    <a:pt x="0" y="8"/>
                  </a:cubicBezTo>
                  <a:cubicBezTo>
                    <a:pt x="107" y="1"/>
                    <a:pt x="107" y="1"/>
                    <a:pt x="107" y="1"/>
                  </a:cubicBezTo>
                  <a:cubicBezTo>
                    <a:pt x="112" y="1"/>
                    <a:pt x="117" y="0"/>
                    <a:pt x="122" y="0"/>
                  </a:cubicBezTo>
                  <a:cubicBezTo>
                    <a:pt x="134" y="0"/>
                    <a:pt x="134" y="0"/>
                    <a:pt x="134" y="0"/>
                  </a:cubicBezTo>
                  <a:cubicBezTo>
                    <a:pt x="134" y="162"/>
                    <a:pt x="134" y="162"/>
                    <a:pt x="134" y="162"/>
                  </a:cubicBezTo>
                  <a:cubicBezTo>
                    <a:pt x="134" y="182"/>
                    <a:pt x="119" y="198"/>
                    <a:pt x="99" y="199"/>
                  </a:cubicBezTo>
                  <a:cubicBezTo>
                    <a:pt x="38" y="203"/>
                    <a:pt x="38" y="203"/>
                    <a:pt x="38" y="203"/>
                  </a:cubicBezTo>
                  <a:cubicBezTo>
                    <a:pt x="26" y="204"/>
                    <a:pt x="26" y="204"/>
                    <a:pt x="26" y="20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72" name="Freeform: Shape 471"/>
            <p:cNvSpPr/>
            <p:nvPr/>
          </p:nvSpPr>
          <p:spPr bwMode="auto">
            <a:xfrm>
              <a:off x="9012716" y="2938194"/>
              <a:ext cx="459004" cy="210678"/>
            </a:xfrm>
            <a:custGeom>
              <a:avLst/>
              <a:gdLst>
                <a:gd name="connsiteX0" fmla="*/ 378030 w 378030"/>
                <a:gd name="connsiteY0" fmla="*/ 0 h 210678"/>
                <a:gd name="connsiteX1" fmla="*/ 378030 w 378030"/>
                <a:gd name="connsiteY1" fmla="*/ 94187 h 210678"/>
                <a:gd name="connsiteX2" fmla="*/ 378030 w 378030"/>
                <a:gd name="connsiteY2" fmla="*/ 185604 h 210678"/>
                <a:gd name="connsiteX3" fmla="*/ 98240 w 378030"/>
                <a:gd name="connsiteY3" fmla="*/ 204162 h 210678"/>
                <a:gd name="connsiteX4" fmla="*/ 0 w 378030"/>
                <a:gd name="connsiteY4" fmla="*/ 210678 h 210678"/>
                <a:gd name="connsiteX5" fmla="*/ 0 w 378030"/>
                <a:gd name="connsiteY5" fmla="*/ 807 h 210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8030" h="210678">
                  <a:moveTo>
                    <a:pt x="378030" y="0"/>
                  </a:moveTo>
                  <a:cubicBezTo>
                    <a:pt x="378030" y="0"/>
                    <a:pt x="378030" y="0"/>
                    <a:pt x="378030" y="94187"/>
                  </a:cubicBezTo>
                  <a:cubicBezTo>
                    <a:pt x="378030" y="94187"/>
                    <a:pt x="378030" y="94187"/>
                    <a:pt x="378030" y="185604"/>
                  </a:cubicBezTo>
                  <a:cubicBezTo>
                    <a:pt x="378030" y="185604"/>
                    <a:pt x="378030" y="185604"/>
                    <a:pt x="98240" y="204162"/>
                  </a:cubicBezTo>
                  <a:lnTo>
                    <a:pt x="0" y="210678"/>
                  </a:lnTo>
                  <a:lnTo>
                    <a:pt x="0" y="807"/>
                  </a:lnTo>
                  <a:close/>
                </a:path>
              </a:pathLst>
            </a:custGeom>
            <a:solidFill>
              <a:srgbClr val="001A41"/>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7919" tIns="44808" rIns="17919" bIns="89592" numCol="1" spcCol="1270" anchor="t" anchorCtr="0">
              <a:noAutofit/>
            </a:bodyPr>
            <a:lstStyle/>
            <a:p>
              <a:pPr marL="0" marR="0" lvl="0" indent="0" algn="ctr" defTabSz="710682" eaLnBrk="1" fontAlgn="auto" latinLnBrk="0" hangingPunct="1">
                <a:lnSpc>
                  <a:spcPct val="100000"/>
                </a:lnSpc>
                <a:spcBef>
                  <a:spcPct val="0"/>
                </a:spcBef>
                <a:spcAft>
                  <a:spcPct val="35000"/>
                </a:spcAft>
                <a:buClrTx/>
                <a:buSzTx/>
                <a:buFontTx/>
                <a:buNone/>
                <a:tabLst/>
                <a:defRPr/>
              </a:pPr>
              <a:endParaRPr kumimoji="0" lang="en-US" sz="1567" b="1" i="0" u="none" strike="noStrike" kern="0" cap="none" spc="-29"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cs typeface="Segoe UI Semilight" panose="020B0402040204020203" pitchFamily="34" charset="0"/>
              </a:endParaRPr>
            </a:p>
            <a:p>
              <a:pPr marL="0" marR="0" lvl="0" indent="0" algn="ctr" defTabSz="710682" eaLnBrk="1" fontAlgn="auto" latinLnBrk="0" hangingPunct="1">
                <a:lnSpc>
                  <a:spcPct val="100000"/>
                </a:lnSpc>
                <a:spcBef>
                  <a:spcPct val="0"/>
                </a:spcBef>
                <a:spcAft>
                  <a:spcPct val="35000"/>
                </a:spcAft>
                <a:buClrTx/>
                <a:buSzTx/>
                <a:buFontTx/>
                <a:buNone/>
                <a:tabLst/>
                <a:defRPr/>
              </a:pPr>
              <a:endParaRPr kumimoji="0" lang="en-US" sz="1567" b="1" i="0" u="none" strike="noStrike" kern="0" cap="none" spc="-29"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cs typeface="Segoe UI Semilight" panose="020B0402040204020203" pitchFamily="34" charset="0"/>
              </a:endParaRPr>
            </a:p>
          </p:txBody>
        </p:sp>
      </p:grpSp>
      <p:grpSp>
        <p:nvGrpSpPr>
          <p:cNvPr id="458" name="Group 457"/>
          <p:cNvGrpSpPr/>
          <p:nvPr/>
        </p:nvGrpSpPr>
        <p:grpSpPr>
          <a:xfrm>
            <a:off x="5039361" y="4241434"/>
            <a:ext cx="792254" cy="300769"/>
            <a:chOff x="5272568" y="1054571"/>
            <a:chExt cx="792254" cy="300769"/>
          </a:xfrm>
          <a:solidFill>
            <a:schemeClr val="bg1"/>
          </a:solidFill>
        </p:grpSpPr>
        <p:sp>
          <p:nvSpPr>
            <p:cNvPr id="459" name="Isosceles Triangle 458"/>
            <p:cNvSpPr/>
            <p:nvPr/>
          </p:nvSpPr>
          <p:spPr bwMode="auto">
            <a:xfrm>
              <a:off x="5272568" y="1054571"/>
              <a:ext cx="792254" cy="261223"/>
            </a:xfrm>
            <a:prstGeom prst="triangle">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5439">
                      <a:srgbClr val="F8F8F8"/>
                    </a:gs>
                    <a:gs pos="10000">
                      <a:srgbClr val="F8F8F8"/>
                    </a:gs>
                  </a:gsLst>
                  <a:lin ang="5400000" scaled="0"/>
                </a:gradFill>
                <a:effectLst/>
                <a:uLnTx/>
                <a:uFillTx/>
              </a:endParaRPr>
            </a:p>
          </p:txBody>
        </p:sp>
        <p:sp>
          <p:nvSpPr>
            <p:cNvPr id="460" name="Isosceles Triangle 459"/>
            <p:cNvSpPr/>
            <p:nvPr/>
          </p:nvSpPr>
          <p:spPr bwMode="auto">
            <a:xfrm>
              <a:off x="5375169" y="1161777"/>
              <a:ext cx="587053" cy="193563"/>
            </a:xfrm>
            <a:prstGeom prst="triangl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5439">
                      <a:srgbClr val="F8F8F8"/>
                    </a:gs>
                    <a:gs pos="10000">
                      <a:srgbClr val="F8F8F8"/>
                    </a:gs>
                  </a:gsLst>
                  <a:lin ang="5400000" scaled="0"/>
                </a:gradFill>
                <a:effectLst/>
                <a:uLnTx/>
                <a:uFillTx/>
              </a:endParaRPr>
            </a:p>
          </p:txBody>
        </p:sp>
      </p:grpSp>
      <p:grpSp>
        <p:nvGrpSpPr>
          <p:cNvPr id="461" name="Group 460"/>
          <p:cNvGrpSpPr/>
          <p:nvPr/>
        </p:nvGrpSpPr>
        <p:grpSpPr>
          <a:xfrm rot="10800000">
            <a:off x="8009617" y="4448317"/>
            <a:ext cx="792254" cy="300769"/>
            <a:chOff x="5272568" y="1054571"/>
            <a:chExt cx="792254" cy="300769"/>
          </a:xfrm>
          <a:solidFill>
            <a:schemeClr val="bg1"/>
          </a:solidFill>
        </p:grpSpPr>
        <p:sp>
          <p:nvSpPr>
            <p:cNvPr id="462" name="Isosceles Triangle 461"/>
            <p:cNvSpPr/>
            <p:nvPr/>
          </p:nvSpPr>
          <p:spPr bwMode="auto">
            <a:xfrm>
              <a:off x="5272568" y="1054571"/>
              <a:ext cx="792254" cy="261223"/>
            </a:xfrm>
            <a:prstGeom prst="triangle">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5439">
                      <a:srgbClr val="F8F8F8"/>
                    </a:gs>
                    <a:gs pos="10000">
                      <a:srgbClr val="F8F8F8"/>
                    </a:gs>
                  </a:gsLst>
                  <a:lin ang="5400000" scaled="0"/>
                </a:gradFill>
                <a:effectLst/>
                <a:uLnTx/>
                <a:uFillTx/>
              </a:endParaRPr>
            </a:p>
          </p:txBody>
        </p:sp>
        <p:sp>
          <p:nvSpPr>
            <p:cNvPr id="463" name="Isosceles Triangle 462"/>
            <p:cNvSpPr/>
            <p:nvPr/>
          </p:nvSpPr>
          <p:spPr bwMode="auto">
            <a:xfrm>
              <a:off x="5375169" y="1161777"/>
              <a:ext cx="587053" cy="193563"/>
            </a:xfrm>
            <a:prstGeom prst="triangl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5439">
                      <a:srgbClr val="F8F8F8"/>
                    </a:gs>
                    <a:gs pos="10000">
                      <a:srgbClr val="F8F8F8"/>
                    </a:gs>
                  </a:gsLst>
                  <a:lin ang="5400000" scaled="0"/>
                </a:gradFill>
                <a:effectLst/>
                <a:uLnTx/>
                <a:uFillTx/>
              </a:endParaRPr>
            </a:p>
          </p:txBody>
        </p:sp>
      </p:grpSp>
      <p:grpSp>
        <p:nvGrpSpPr>
          <p:cNvPr id="464" name="Group 463"/>
          <p:cNvGrpSpPr/>
          <p:nvPr/>
        </p:nvGrpSpPr>
        <p:grpSpPr>
          <a:xfrm rot="5400000">
            <a:off x="4585484" y="5169399"/>
            <a:ext cx="792254" cy="300769"/>
            <a:chOff x="5272568" y="1054571"/>
            <a:chExt cx="792254" cy="300769"/>
          </a:xfrm>
          <a:solidFill>
            <a:schemeClr val="bg1"/>
          </a:solidFill>
        </p:grpSpPr>
        <p:sp>
          <p:nvSpPr>
            <p:cNvPr id="465" name="Isosceles Triangle 464"/>
            <p:cNvSpPr/>
            <p:nvPr/>
          </p:nvSpPr>
          <p:spPr bwMode="auto">
            <a:xfrm>
              <a:off x="5272568" y="1054571"/>
              <a:ext cx="792254" cy="261223"/>
            </a:xfrm>
            <a:prstGeom prst="triangle">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5439">
                      <a:srgbClr val="F8F8F8"/>
                    </a:gs>
                    <a:gs pos="10000">
                      <a:srgbClr val="F8F8F8"/>
                    </a:gs>
                  </a:gsLst>
                  <a:lin ang="5400000" scaled="0"/>
                </a:gradFill>
                <a:effectLst/>
                <a:uLnTx/>
                <a:uFillTx/>
              </a:endParaRPr>
            </a:p>
          </p:txBody>
        </p:sp>
        <p:sp>
          <p:nvSpPr>
            <p:cNvPr id="466" name="Isosceles Triangle 465"/>
            <p:cNvSpPr/>
            <p:nvPr/>
          </p:nvSpPr>
          <p:spPr bwMode="auto">
            <a:xfrm>
              <a:off x="5375169" y="1161777"/>
              <a:ext cx="587053" cy="193563"/>
            </a:xfrm>
            <a:prstGeom prst="triangle">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5439">
                      <a:srgbClr val="F8F8F8"/>
                    </a:gs>
                    <a:gs pos="10000">
                      <a:srgbClr val="F8F8F8"/>
                    </a:gs>
                  </a:gsLst>
                  <a:lin ang="5400000" scaled="0"/>
                </a:gradFill>
                <a:effectLst/>
                <a:uLnTx/>
                <a:uFillTx/>
              </a:endParaRPr>
            </a:p>
          </p:txBody>
        </p:sp>
      </p:grpSp>
      <p:grpSp>
        <p:nvGrpSpPr>
          <p:cNvPr id="467" name="Group 466"/>
          <p:cNvGrpSpPr/>
          <p:nvPr/>
        </p:nvGrpSpPr>
        <p:grpSpPr>
          <a:xfrm>
            <a:off x="9342044" y="3500236"/>
            <a:ext cx="792254" cy="300769"/>
            <a:chOff x="5272568" y="1054571"/>
            <a:chExt cx="792254" cy="300769"/>
          </a:xfrm>
        </p:grpSpPr>
        <p:sp>
          <p:nvSpPr>
            <p:cNvPr id="468" name="Isosceles Triangle 467"/>
            <p:cNvSpPr/>
            <p:nvPr/>
          </p:nvSpPr>
          <p:spPr bwMode="auto">
            <a:xfrm>
              <a:off x="5272568" y="1054571"/>
              <a:ext cx="792254" cy="261223"/>
            </a:xfrm>
            <a:prstGeom prst="triangle">
              <a:avLst/>
            </a:prstGeom>
            <a:solidFill>
              <a:srgbClr val="F8F8F8"/>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5439">
                      <a:srgbClr val="F8F8F8"/>
                    </a:gs>
                    <a:gs pos="10000">
                      <a:srgbClr val="F8F8F8"/>
                    </a:gs>
                  </a:gsLst>
                  <a:lin ang="5400000" scaled="0"/>
                </a:gradFill>
                <a:effectLst/>
                <a:uLnTx/>
                <a:uFillTx/>
              </a:endParaRPr>
            </a:p>
          </p:txBody>
        </p:sp>
        <p:sp>
          <p:nvSpPr>
            <p:cNvPr id="469" name="Isosceles Triangle 468"/>
            <p:cNvSpPr/>
            <p:nvPr/>
          </p:nvSpPr>
          <p:spPr bwMode="auto">
            <a:xfrm>
              <a:off x="5375169" y="1161777"/>
              <a:ext cx="587053" cy="193563"/>
            </a:xfrm>
            <a:prstGeom prst="triangle">
              <a:avLst/>
            </a:prstGeom>
            <a:solidFill>
              <a:schemeClr val="accent6"/>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5439">
                      <a:srgbClr val="F8F8F8"/>
                    </a:gs>
                    <a:gs pos="10000">
                      <a:srgbClr val="F8F8F8"/>
                    </a:gs>
                  </a:gsLst>
                  <a:lin ang="5400000" scaled="0"/>
                </a:gradFill>
                <a:effectLst/>
                <a:uLnTx/>
                <a:uFillTx/>
              </a:endParaRPr>
            </a:p>
          </p:txBody>
        </p:sp>
      </p:grpSp>
      <p:grpSp>
        <p:nvGrpSpPr>
          <p:cNvPr id="432" name="Group 431"/>
          <p:cNvGrpSpPr/>
          <p:nvPr/>
        </p:nvGrpSpPr>
        <p:grpSpPr>
          <a:xfrm rot="5400000">
            <a:off x="4585484" y="2751607"/>
            <a:ext cx="792254" cy="300769"/>
            <a:chOff x="5272568" y="1054571"/>
            <a:chExt cx="792254" cy="300769"/>
          </a:xfrm>
          <a:solidFill>
            <a:schemeClr val="bg1"/>
          </a:solidFill>
        </p:grpSpPr>
        <p:sp>
          <p:nvSpPr>
            <p:cNvPr id="433" name="Isosceles Triangle 432"/>
            <p:cNvSpPr/>
            <p:nvPr/>
          </p:nvSpPr>
          <p:spPr bwMode="auto">
            <a:xfrm>
              <a:off x="5272568" y="1054571"/>
              <a:ext cx="792254" cy="261223"/>
            </a:xfrm>
            <a:prstGeom prst="triangle">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5439">
                      <a:srgbClr val="F8F8F8"/>
                    </a:gs>
                    <a:gs pos="10000">
                      <a:srgbClr val="F8F8F8"/>
                    </a:gs>
                  </a:gsLst>
                  <a:lin ang="5400000" scaled="0"/>
                </a:gradFill>
                <a:effectLst/>
                <a:uLnTx/>
                <a:uFillTx/>
              </a:endParaRPr>
            </a:p>
          </p:txBody>
        </p:sp>
        <p:sp>
          <p:nvSpPr>
            <p:cNvPr id="434" name="Isosceles Triangle 433"/>
            <p:cNvSpPr/>
            <p:nvPr/>
          </p:nvSpPr>
          <p:spPr bwMode="auto">
            <a:xfrm>
              <a:off x="5375169" y="1161777"/>
              <a:ext cx="587053" cy="193563"/>
            </a:xfrm>
            <a:prstGeom prst="triangle">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5439">
                      <a:srgbClr val="F8F8F8"/>
                    </a:gs>
                    <a:gs pos="10000">
                      <a:srgbClr val="F8F8F8"/>
                    </a:gs>
                  </a:gsLst>
                  <a:lin ang="5400000" scaled="0"/>
                </a:gradFill>
                <a:effectLst/>
                <a:uLnTx/>
                <a:uFillTx/>
              </a:endParaRPr>
            </a:p>
          </p:txBody>
        </p:sp>
      </p:grpSp>
      <p:grpSp>
        <p:nvGrpSpPr>
          <p:cNvPr id="435" name="Group 434"/>
          <p:cNvGrpSpPr/>
          <p:nvPr/>
        </p:nvGrpSpPr>
        <p:grpSpPr>
          <a:xfrm rot="5400000">
            <a:off x="8732376" y="4834626"/>
            <a:ext cx="792254" cy="300769"/>
            <a:chOff x="5272568" y="1054571"/>
            <a:chExt cx="792254" cy="300769"/>
          </a:xfrm>
          <a:solidFill>
            <a:schemeClr val="bg1"/>
          </a:solidFill>
        </p:grpSpPr>
        <p:sp>
          <p:nvSpPr>
            <p:cNvPr id="436" name="Isosceles Triangle 435"/>
            <p:cNvSpPr/>
            <p:nvPr/>
          </p:nvSpPr>
          <p:spPr bwMode="auto">
            <a:xfrm>
              <a:off x="5272568" y="1054571"/>
              <a:ext cx="792254" cy="261223"/>
            </a:xfrm>
            <a:prstGeom prst="triangle">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5439">
                      <a:srgbClr val="F8F8F8"/>
                    </a:gs>
                    <a:gs pos="10000">
                      <a:srgbClr val="F8F8F8"/>
                    </a:gs>
                  </a:gsLst>
                  <a:lin ang="5400000" scaled="0"/>
                </a:gradFill>
                <a:effectLst/>
                <a:uLnTx/>
                <a:uFillTx/>
              </a:endParaRPr>
            </a:p>
          </p:txBody>
        </p:sp>
        <p:sp>
          <p:nvSpPr>
            <p:cNvPr id="437" name="Isosceles Triangle 436"/>
            <p:cNvSpPr/>
            <p:nvPr/>
          </p:nvSpPr>
          <p:spPr bwMode="auto">
            <a:xfrm>
              <a:off x="5375169" y="1161777"/>
              <a:ext cx="587053" cy="193563"/>
            </a:xfrm>
            <a:prstGeom prst="triangl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5439">
                      <a:srgbClr val="F8F8F8"/>
                    </a:gs>
                    <a:gs pos="10000">
                      <a:srgbClr val="F8F8F8"/>
                    </a:gs>
                  </a:gsLst>
                  <a:lin ang="5400000" scaled="0"/>
                </a:gradFill>
                <a:effectLst/>
                <a:uLnTx/>
                <a:uFillTx/>
              </a:endParaRPr>
            </a:p>
          </p:txBody>
        </p:sp>
      </p:grpSp>
      <p:grpSp>
        <p:nvGrpSpPr>
          <p:cNvPr id="438" name="Group 437"/>
          <p:cNvGrpSpPr/>
          <p:nvPr/>
        </p:nvGrpSpPr>
        <p:grpSpPr>
          <a:xfrm rot="5400000">
            <a:off x="8732376" y="2207076"/>
            <a:ext cx="792254" cy="300769"/>
            <a:chOff x="5272568" y="1054571"/>
            <a:chExt cx="792254" cy="300769"/>
          </a:xfrm>
          <a:solidFill>
            <a:schemeClr val="bg1"/>
          </a:solidFill>
        </p:grpSpPr>
        <p:sp>
          <p:nvSpPr>
            <p:cNvPr id="439" name="Isosceles Triangle 438"/>
            <p:cNvSpPr/>
            <p:nvPr/>
          </p:nvSpPr>
          <p:spPr bwMode="auto">
            <a:xfrm>
              <a:off x="5272568" y="1054571"/>
              <a:ext cx="792254" cy="261223"/>
            </a:xfrm>
            <a:prstGeom prst="triangle">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5439">
                      <a:srgbClr val="F8F8F8"/>
                    </a:gs>
                    <a:gs pos="10000">
                      <a:srgbClr val="F8F8F8"/>
                    </a:gs>
                  </a:gsLst>
                  <a:lin ang="5400000" scaled="0"/>
                </a:gradFill>
                <a:effectLst/>
                <a:uLnTx/>
                <a:uFillTx/>
              </a:endParaRPr>
            </a:p>
          </p:txBody>
        </p:sp>
        <p:sp>
          <p:nvSpPr>
            <p:cNvPr id="440" name="Isosceles Triangle 439"/>
            <p:cNvSpPr/>
            <p:nvPr/>
          </p:nvSpPr>
          <p:spPr bwMode="auto">
            <a:xfrm>
              <a:off x="5375169" y="1161777"/>
              <a:ext cx="587053" cy="193563"/>
            </a:xfrm>
            <a:prstGeom prst="triangl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5439">
                      <a:srgbClr val="F8F8F8"/>
                    </a:gs>
                    <a:gs pos="10000">
                      <a:srgbClr val="F8F8F8"/>
                    </a:gs>
                  </a:gsLst>
                  <a:lin ang="5400000" scaled="0"/>
                </a:gradFill>
                <a:effectLst/>
                <a:uLnTx/>
                <a:uFillTx/>
              </a:endParaRPr>
            </a:p>
          </p:txBody>
        </p:sp>
      </p:grpSp>
      <p:grpSp>
        <p:nvGrpSpPr>
          <p:cNvPr id="470" name="Group 469"/>
          <p:cNvGrpSpPr/>
          <p:nvPr/>
        </p:nvGrpSpPr>
        <p:grpSpPr>
          <a:xfrm>
            <a:off x="828886" y="5082516"/>
            <a:ext cx="623960" cy="407524"/>
            <a:chOff x="1057037" y="2169270"/>
            <a:chExt cx="2742588" cy="1791250"/>
          </a:xfrm>
        </p:grpSpPr>
        <p:sp>
          <p:nvSpPr>
            <p:cNvPr id="471" name="Rectangle 470"/>
            <p:cNvSpPr/>
            <p:nvPr/>
          </p:nvSpPr>
          <p:spPr bwMode="auto">
            <a:xfrm>
              <a:off x="1618343" y="2169270"/>
              <a:ext cx="2181282" cy="1791250"/>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5439">
                      <a:srgbClr val="F8F8F8"/>
                    </a:gs>
                    <a:gs pos="10000">
                      <a:srgbClr val="F8F8F8"/>
                    </a:gs>
                  </a:gsLst>
                  <a:lin ang="5400000" scaled="0"/>
                </a:gradFill>
                <a:effectLst/>
                <a:uLnTx/>
                <a:uFillTx/>
              </a:endParaRPr>
            </a:p>
          </p:txBody>
        </p:sp>
        <p:sp>
          <p:nvSpPr>
            <p:cNvPr id="473" name="Rectangle 10"/>
            <p:cNvSpPr>
              <a:spLocks noChangeArrowheads="1"/>
            </p:cNvSpPr>
            <p:nvPr/>
          </p:nvSpPr>
          <p:spPr bwMode="auto">
            <a:xfrm>
              <a:off x="2028650" y="3819477"/>
              <a:ext cx="84626" cy="14104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74" name="Freeform 11"/>
            <p:cNvSpPr>
              <a:spLocks noEditPoints="1"/>
            </p:cNvSpPr>
            <p:nvPr/>
          </p:nvSpPr>
          <p:spPr bwMode="auto">
            <a:xfrm>
              <a:off x="1908764" y="3516234"/>
              <a:ext cx="324400" cy="324400"/>
            </a:xfrm>
            <a:custGeom>
              <a:avLst/>
              <a:gdLst>
                <a:gd name="T0" fmla="*/ 8 w 16"/>
                <a:gd name="T1" fmla="*/ 16 h 16"/>
                <a:gd name="T2" fmla="*/ 0 w 16"/>
                <a:gd name="T3" fmla="*/ 8 h 16"/>
                <a:gd name="T4" fmla="*/ 8 w 16"/>
                <a:gd name="T5" fmla="*/ 0 h 16"/>
                <a:gd name="T6" fmla="*/ 16 w 16"/>
                <a:gd name="T7" fmla="*/ 8 h 16"/>
                <a:gd name="T8" fmla="*/ 8 w 16"/>
                <a:gd name="T9" fmla="*/ 16 h 16"/>
                <a:gd name="T10" fmla="*/ 8 w 16"/>
                <a:gd name="T11" fmla="*/ 4 h 16"/>
                <a:gd name="T12" fmla="*/ 4 w 16"/>
                <a:gd name="T13" fmla="*/ 8 h 16"/>
                <a:gd name="T14" fmla="*/ 8 w 16"/>
                <a:gd name="T15" fmla="*/ 12 h 16"/>
                <a:gd name="T16" fmla="*/ 12 w 16"/>
                <a:gd name="T17" fmla="*/ 8 h 16"/>
                <a:gd name="T18" fmla="*/ 8 w 16"/>
                <a:gd name="T19" fmla="*/ 4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 h="16">
                  <a:moveTo>
                    <a:pt x="8" y="16"/>
                  </a:moveTo>
                  <a:cubicBezTo>
                    <a:pt x="4" y="16"/>
                    <a:pt x="0" y="12"/>
                    <a:pt x="0" y="8"/>
                  </a:cubicBezTo>
                  <a:cubicBezTo>
                    <a:pt x="0" y="4"/>
                    <a:pt x="4" y="0"/>
                    <a:pt x="8" y="0"/>
                  </a:cubicBezTo>
                  <a:cubicBezTo>
                    <a:pt x="13" y="0"/>
                    <a:pt x="16" y="4"/>
                    <a:pt x="16" y="8"/>
                  </a:cubicBezTo>
                  <a:cubicBezTo>
                    <a:pt x="16" y="12"/>
                    <a:pt x="13" y="16"/>
                    <a:pt x="8" y="16"/>
                  </a:cubicBezTo>
                  <a:close/>
                  <a:moveTo>
                    <a:pt x="8" y="4"/>
                  </a:moveTo>
                  <a:cubicBezTo>
                    <a:pt x="6" y="4"/>
                    <a:pt x="4" y="6"/>
                    <a:pt x="4" y="8"/>
                  </a:cubicBezTo>
                  <a:cubicBezTo>
                    <a:pt x="4" y="10"/>
                    <a:pt x="6" y="12"/>
                    <a:pt x="8" y="12"/>
                  </a:cubicBezTo>
                  <a:cubicBezTo>
                    <a:pt x="11" y="12"/>
                    <a:pt x="12" y="10"/>
                    <a:pt x="12" y="8"/>
                  </a:cubicBezTo>
                  <a:cubicBezTo>
                    <a:pt x="12" y="6"/>
                    <a:pt x="11" y="4"/>
                    <a:pt x="8" y="4"/>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75" name="Rectangle 12"/>
            <p:cNvSpPr>
              <a:spLocks noChangeArrowheads="1"/>
            </p:cNvSpPr>
            <p:nvPr/>
          </p:nvSpPr>
          <p:spPr bwMode="auto">
            <a:xfrm>
              <a:off x="2395363" y="3777164"/>
              <a:ext cx="84626" cy="18335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76" name="Oval 13"/>
            <p:cNvSpPr>
              <a:spLocks noChangeArrowheads="1"/>
            </p:cNvSpPr>
            <p:nvPr/>
          </p:nvSpPr>
          <p:spPr bwMode="auto">
            <a:xfrm>
              <a:off x="2317789" y="3551495"/>
              <a:ext cx="239774" cy="246826"/>
            </a:xfrm>
            <a:prstGeom prst="ellipse">
              <a:avLst/>
            </a:pr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77" name="Rectangle 14"/>
            <p:cNvSpPr>
              <a:spLocks noChangeArrowheads="1"/>
            </p:cNvSpPr>
            <p:nvPr/>
          </p:nvSpPr>
          <p:spPr bwMode="auto">
            <a:xfrm>
              <a:off x="2740920" y="3777164"/>
              <a:ext cx="77574" cy="18335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78" name="Oval 15"/>
            <p:cNvSpPr>
              <a:spLocks noChangeArrowheads="1"/>
            </p:cNvSpPr>
            <p:nvPr/>
          </p:nvSpPr>
          <p:spPr bwMode="auto">
            <a:xfrm>
              <a:off x="2656294" y="3551495"/>
              <a:ext cx="246826" cy="246826"/>
            </a:xfrm>
            <a:prstGeom prst="ellipse">
              <a:avLst/>
            </a:pr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79" name="Rectangle 16"/>
            <p:cNvSpPr>
              <a:spLocks noChangeArrowheads="1"/>
            </p:cNvSpPr>
            <p:nvPr/>
          </p:nvSpPr>
          <p:spPr bwMode="auto">
            <a:xfrm>
              <a:off x="3023006" y="2394940"/>
              <a:ext cx="585330" cy="58533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80" name="Freeform 17"/>
            <p:cNvSpPr>
              <a:spLocks/>
            </p:cNvSpPr>
            <p:nvPr/>
          </p:nvSpPr>
          <p:spPr bwMode="auto">
            <a:xfrm>
              <a:off x="3382667" y="3205939"/>
              <a:ext cx="225669" cy="571225"/>
            </a:xfrm>
            <a:custGeom>
              <a:avLst/>
              <a:gdLst>
                <a:gd name="T0" fmla="*/ 0 w 11"/>
                <a:gd name="T1" fmla="*/ 23 h 28"/>
                <a:gd name="T2" fmla="*/ 5 w 11"/>
                <a:gd name="T3" fmla="*/ 28 h 28"/>
                <a:gd name="T4" fmla="*/ 5 w 11"/>
                <a:gd name="T5" fmla="*/ 28 h 28"/>
                <a:gd name="T6" fmla="*/ 11 w 11"/>
                <a:gd name="T7" fmla="*/ 23 h 28"/>
                <a:gd name="T8" fmla="*/ 11 w 11"/>
                <a:gd name="T9" fmla="*/ 6 h 28"/>
                <a:gd name="T10" fmla="*/ 5 w 11"/>
                <a:gd name="T11" fmla="*/ 0 h 28"/>
                <a:gd name="T12" fmla="*/ 5 w 11"/>
                <a:gd name="T13" fmla="*/ 0 h 28"/>
                <a:gd name="T14" fmla="*/ 0 w 11"/>
                <a:gd name="T15" fmla="*/ 6 h 28"/>
                <a:gd name="T16" fmla="*/ 0 w 11"/>
                <a:gd name="T17" fmla="*/ 23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 h="28">
                  <a:moveTo>
                    <a:pt x="0" y="23"/>
                  </a:moveTo>
                  <a:cubicBezTo>
                    <a:pt x="0" y="26"/>
                    <a:pt x="2" y="28"/>
                    <a:pt x="5" y="28"/>
                  </a:cubicBezTo>
                  <a:cubicBezTo>
                    <a:pt x="5" y="28"/>
                    <a:pt x="5" y="28"/>
                    <a:pt x="5" y="28"/>
                  </a:cubicBezTo>
                  <a:cubicBezTo>
                    <a:pt x="8" y="28"/>
                    <a:pt x="11" y="26"/>
                    <a:pt x="11" y="23"/>
                  </a:cubicBezTo>
                  <a:cubicBezTo>
                    <a:pt x="11" y="6"/>
                    <a:pt x="11" y="6"/>
                    <a:pt x="11" y="6"/>
                  </a:cubicBezTo>
                  <a:cubicBezTo>
                    <a:pt x="11" y="3"/>
                    <a:pt x="8" y="0"/>
                    <a:pt x="5" y="0"/>
                  </a:cubicBezTo>
                  <a:cubicBezTo>
                    <a:pt x="5" y="0"/>
                    <a:pt x="5" y="0"/>
                    <a:pt x="5" y="0"/>
                  </a:cubicBezTo>
                  <a:cubicBezTo>
                    <a:pt x="2" y="0"/>
                    <a:pt x="0" y="3"/>
                    <a:pt x="0" y="6"/>
                  </a:cubicBezTo>
                  <a:lnTo>
                    <a:pt x="0" y="23"/>
                  </a:lnTo>
                  <a:close/>
                </a:path>
              </a:pathLst>
            </a:custGeom>
            <a:solidFill>
              <a:srgbClr val="DD5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81" name="Freeform 18"/>
            <p:cNvSpPr>
              <a:spLocks/>
            </p:cNvSpPr>
            <p:nvPr/>
          </p:nvSpPr>
          <p:spPr bwMode="auto">
            <a:xfrm>
              <a:off x="3044163" y="3205939"/>
              <a:ext cx="218617" cy="571225"/>
            </a:xfrm>
            <a:custGeom>
              <a:avLst/>
              <a:gdLst>
                <a:gd name="T0" fmla="*/ 0 w 11"/>
                <a:gd name="T1" fmla="*/ 23 h 28"/>
                <a:gd name="T2" fmla="*/ 5 w 11"/>
                <a:gd name="T3" fmla="*/ 28 h 28"/>
                <a:gd name="T4" fmla="*/ 5 w 11"/>
                <a:gd name="T5" fmla="*/ 28 h 28"/>
                <a:gd name="T6" fmla="*/ 11 w 11"/>
                <a:gd name="T7" fmla="*/ 23 h 28"/>
                <a:gd name="T8" fmla="*/ 11 w 11"/>
                <a:gd name="T9" fmla="*/ 6 h 28"/>
                <a:gd name="T10" fmla="*/ 5 w 11"/>
                <a:gd name="T11" fmla="*/ 0 h 28"/>
                <a:gd name="T12" fmla="*/ 5 w 11"/>
                <a:gd name="T13" fmla="*/ 0 h 28"/>
                <a:gd name="T14" fmla="*/ 0 w 11"/>
                <a:gd name="T15" fmla="*/ 6 h 28"/>
                <a:gd name="T16" fmla="*/ 0 w 11"/>
                <a:gd name="T17" fmla="*/ 23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 h="28">
                  <a:moveTo>
                    <a:pt x="0" y="23"/>
                  </a:moveTo>
                  <a:cubicBezTo>
                    <a:pt x="0" y="26"/>
                    <a:pt x="2" y="28"/>
                    <a:pt x="5" y="28"/>
                  </a:cubicBezTo>
                  <a:cubicBezTo>
                    <a:pt x="5" y="28"/>
                    <a:pt x="5" y="28"/>
                    <a:pt x="5" y="28"/>
                  </a:cubicBezTo>
                  <a:cubicBezTo>
                    <a:pt x="8" y="28"/>
                    <a:pt x="11" y="26"/>
                    <a:pt x="11" y="23"/>
                  </a:cubicBezTo>
                  <a:cubicBezTo>
                    <a:pt x="11" y="6"/>
                    <a:pt x="11" y="6"/>
                    <a:pt x="11" y="6"/>
                  </a:cubicBezTo>
                  <a:cubicBezTo>
                    <a:pt x="11" y="3"/>
                    <a:pt x="8" y="0"/>
                    <a:pt x="5" y="0"/>
                  </a:cubicBezTo>
                  <a:cubicBezTo>
                    <a:pt x="5" y="0"/>
                    <a:pt x="5" y="0"/>
                    <a:pt x="5" y="0"/>
                  </a:cubicBezTo>
                  <a:cubicBezTo>
                    <a:pt x="2" y="0"/>
                    <a:pt x="0" y="3"/>
                    <a:pt x="0" y="6"/>
                  </a:cubicBezTo>
                  <a:lnTo>
                    <a:pt x="0" y="23"/>
                  </a:lnTo>
                  <a:close/>
                </a:path>
              </a:pathLst>
            </a:custGeom>
            <a:solidFill>
              <a:srgbClr val="DD5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82" name="Oval 19"/>
            <p:cNvSpPr>
              <a:spLocks noChangeArrowheads="1"/>
            </p:cNvSpPr>
            <p:nvPr/>
          </p:nvSpPr>
          <p:spPr bwMode="auto">
            <a:xfrm>
              <a:off x="2317789" y="3184782"/>
              <a:ext cx="239774" cy="246826"/>
            </a:xfrm>
            <a:prstGeom prst="ellipse">
              <a:avLst/>
            </a:pr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83" name="Oval 20"/>
            <p:cNvSpPr>
              <a:spLocks noChangeArrowheads="1"/>
            </p:cNvSpPr>
            <p:nvPr/>
          </p:nvSpPr>
          <p:spPr bwMode="auto">
            <a:xfrm>
              <a:off x="1972233" y="3184782"/>
              <a:ext cx="260930" cy="246826"/>
            </a:xfrm>
            <a:prstGeom prst="ellipse">
              <a:avLst/>
            </a:pr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84" name="Oval 21"/>
            <p:cNvSpPr>
              <a:spLocks noChangeArrowheads="1"/>
            </p:cNvSpPr>
            <p:nvPr/>
          </p:nvSpPr>
          <p:spPr bwMode="auto">
            <a:xfrm>
              <a:off x="2317789" y="2818070"/>
              <a:ext cx="239774" cy="246826"/>
            </a:xfrm>
            <a:prstGeom prst="ellipse">
              <a:avLst/>
            </a:pr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85" name="Rectangle 22"/>
            <p:cNvSpPr>
              <a:spLocks noChangeArrowheads="1"/>
            </p:cNvSpPr>
            <p:nvPr/>
          </p:nvSpPr>
          <p:spPr bwMode="auto">
            <a:xfrm>
              <a:off x="2740920" y="2169270"/>
              <a:ext cx="77574" cy="79689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87" name="Freeform 23"/>
            <p:cNvSpPr>
              <a:spLocks noEditPoints="1"/>
            </p:cNvSpPr>
            <p:nvPr/>
          </p:nvSpPr>
          <p:spPr bwMode="auto">
            <a:xfrm>
              <a:off x="2621033" y="2945009"/>
              <a:ext cx="317348" cy="324400"/>
            </a:xfrm>
            <a:custGeom>
              <a:avLst/>
              <a:gdLst>
                <a:gd name="T0" fmla="*/ 8 w 16"/>
                <a:gd name="T1" fmla="*/ 16 h 16"/>
                <a:gd name="T2" fmla="*/ 0 w 16"/>
                <a:gd name="T3" fmla="*/ 8 h 16"/>
                <a:gd name="T4" fmla="*/ 8 w 16"/>
                <a:gd name="T5" fmla="*/ 0 h 16"/>
                <a:gd name="T6" fmla="*/ 16 w 16"/>
                <a:gd name="T7" fmla="*/ 8 h 16"/>
                <a:gd name="T8" fmla="*/ 8 w 16"/>
                <a:gd name="T9" fmla="*/ 16 h 16"/>
                <a:gd name="T10" fmla="*/ 8 w 16"/>
                <a:gd name="T11" fmla="*/ 4 h 16"/>
                <a:gd name="T12" fmla="*/ 4 w 16"/>
                <a:gd name="T13" fmla="*/ 8 h 16"/>
                <a:gd name="T14" fmla="*/ 8 w 16"/>
                <a:gd name="T15" fmla="*/ 12 h 16"/>
                <a:gd name="T16" fmla="*/ 12 w 16"/>
                <a:gd name="T17" fmla="*/ 8 h 16"/>
                <a:gd name="T18" fmla="*/ 8 w 16"/>
                <a:gd name="T19" fmla="*/ 4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 h="16">
                  <a:moveTo>
                    <a:pt x="8" y="16"/>
                  </a:moveTo>
                  <a:cubicBezTo>
                    <a:pt x="3" y="16"/>
                    <a:pt x="0" y="12"/>
                    <a:pt x="0" y="8"/>
                  </a:cubicBezTo>
                  <a:cubicBezTo>
                    <a:pt x="0" y="4"/>
                    <a:pt x="3" y="0"/>
                    <a:pt x="8" y="0"/>
                  </a:cubicBezTo>
                  <a:cubicBezTo>
                    <a:pt x="12" y="0"/>
                    <a:pt x="16" y="4"/>
                    <a:pt x="16" y="8"/>
                  </a:cubicBezTo>
                  <a:cubicBezTo>
                    <a:pt x="16" y="12"/>
                    <a:pt x="12" y="16"/>
                    <a:pt x="8" y="16"/>
                  </a:cubicBezTo>
                  <a:close/>
                  <a:moveTo>
                    <a:pt x="8" y="4"/>
                  </a:moveTo>
                  <a:cubicBezTo>
                    <a:pt x="5" y="4"/>
                    <a:pt x="4" y="6"/>
                    <a:pt x="4" y="8"/>
                  </a:cubicBezTo>
                  <a:cubicBezTo>
                    <a:pt x="4" y="10"/>
                    <a:pt x="5" y="12"/>
                    <a:pt x="8" y="12"/>
                  </a:cubicBezTo>
                  <a:cubicBezTo>
                    <a:pt x="10" y="12"/>
                    <a:pt x="12" y="10"/>
                    <a:pt x="12" y="8"/>
                  </a:cubicBezTo>
                  <a:cubicBezTo>
                    <a:pt x="12" y="6"/>
                    <a:pt x="10" y="4"/>
                    <a:pt x="8" y="4"/>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88" name="Rectangle 24"/>
            <p:cNvSpPr>
              <a:spLocks noChangeArrowheads="1"/>
            </p:cNvSpPr>
            <p:nvPr/>
          </p:nvSpPr>
          <p:spPr bwMode="auto">
            <a:xfrm>
              <a:off x="2395363" y="2169270"/>
              <a:ext cx="84626" cy="267982"/>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89" name="Freeform 25"/>
            <p:cNvSpPr>
              <a:spLocks noEditPoints="1"/>
            </p:cNvSpPr>
            <p:nvPr/>
          </p:nvSpPr>
          <p:spPr bwMode="auto">
            <a:xfrm>
              <a:off x="2275476" y="2394940"/>
              <a:ext cx="324400" cy="324400"/>
            </a:xfrm>
            <a:custGeom>
              <a:avLst/>
              <a:gdLst>
                <a:gd name="T0" fmla="*/ 8 w 16"/>
                <a:gd name="T1" fmla="*/ 16 h 16"/>
                <a:gd name="T2" fmla="*/ 0 w 16"/>
                <a:gd name="T3" fmla="*/ 8 h 16"/>
                <a:gd name="T4" fmla="*/ 8 w 16"/>
                <a:gd name="T5" fmla="*/ 0 h 16"/>
                <a:gd name="T6" fmla="*/ 16 w 16"/>
                <a:gd name="T7" fmla="*/ 8 h 16"/>
                <a:gd name="T8" fmla="*/ 8 w 16"/>
                <a:gd name="T9" fmla="*/ 16 h 16"/>
                <a:gd name="T10" fmla="*/ 8 w 16"/>
                <a:gd name="T11" fmla="*/ 4 h 16"/>
                <a:gd name="T12" fmla="*/ 4 w 16"/>
                <a:gd name="T13" fmla="*/ 8 h 16"/>
                <a:gd name="T14" fmla="*/ 8 w 16"/>
                <a:gd name="T15" fmla="*/ 12 h 16"/>
                <a:gd name="T16" fmla="*/ 13 w 16"/>
                <a:gd name="T17" fmla="*/ 8 h 16"/>
                <a:gd name="T18" fmla="*/ 8 w 16"/>
                <a:gd name="T19" fmla="*/ 4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 h="16">
                  <a:moveTo>
                    <a:pt x="8" y="16"/>
                  </a:moveTo>
                  <a:cubicBezTo>
                    <a:pt x="4" y="16"/>
                    <a:pt x="0" y="13"/>
                    <a:pt x="0" y="8"/>
                  </a:cubicBezTo>
                  <a:cubicBezTo>
                    <a:pt x="0" y="4"/>
                    <a:pt x="4" y="0"/>
                    <a:pt x="8" y="0"/>
                  </a:cubicBezTo>
                  <a:cubicBezTo>
                    <a:pt x="13" y="0"/>
                    <a:pt x="16" y="4"/>
                    <a:pt x="16" y="8"/>
                  </a:cubicBezTo>
                  <a:cubicBezTo>
                    <a:pt x="16" y="13"/>
                    <a:pt x="13" y="16"/>
                    <a:pt x="8" y="16"/>
                  </a:cubicBezTo>
                  <a:close/>
                  <a:moveTo>
                    <a:pt x="8" y="4"/>
                  </a:moveTo>
                  <a:cubicBezTo>
                    <a:pt x="6" y="4"/>
                    <a:pt x="4" y="6"/>
                    <a:pt x="4" y="8"/>
                  </a:cubicBezTo>
                  <a:cubicBezTo>
                    <a:pt x="4" y="11"/>
                    <a:pt x="6" y="12"/>
                    <a:pt x="8" y="12"/>
                  </a:cubicBezTo>
                  <a:cubicBezTo>
                    <a:pt x="11" y="12"/>
                    <a:pt x="13" y="11"/>
                    <a:pt x="13" y="8"/>
                  </a:cubicBezTo>
                  <a:cubicBezTo>
                    <a:pt x="13" y="6"/>
                    <a:pt x="11" y="4"/>
                    <a:pt x="8" y="4"/>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90" name="Rectangle 489"/>
            <p:cNvSpPr/>
            <p:nvPr/>
          </p:nvSpPr>
          <p:spPr bwMode="auto">
            <a:xfrm>
              <a:off x="1618343" y="2451093"/>
              <a:ext cx="212847" cy="1227605"/>
            </a:xfrm>
            <a:prstGeom prst="rect">
              <a:avLst/>
            </a:prstGeom>
            <a:solidFill>
              <a:srgbClr val="DD590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5439">
                      <a:srgbClr val="F8F8F8"/>
                    </a:gs>
                    <a:gs pos="10000">
                      <a:srgbClr val="F8F8F8"/>
                    </a:gs>
                  </a:gsLst>
                  <a:lin ang="5400000" scaled="0"/>
                </a:gradFill>
                <a:effectLst/>
                <a:uLnTx/>
                <a:uFillTx/>
              </a:endParaRPr>
            </a:p>
          </p:txBody>
        </p:sp>
        <p:sp>
          <p:nvSpPr>
            <p:cNvPr id="491" name="Rectangle 22"/>
            <p:cNvSpPr>
              <a:spLocks noChangeArrowheads="1"/>
            </p:cNvSpPr>
            <p:nvPr/>
          </p:nvSpPr>
          <p:spPr bwMode="auto">
            <a:xfrm rot="16200000">
              <a:off x="1342449" y="2236967"/>
              <a:ext cx="77574" cy="64839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92" name="Rectangle 22"/>
            <p:cNvSpPr>
              <a:spLocks noChangeArrowheads="1"/>
            </p:cNvSpPr>
            <p:nvPr/>
          </p:nvSpPr>
          <p:spPr bwMode="auto">
            <a:xfrm rot="16200000">
              <a:off x="1342449" y="2572786"/>
              <a:ext cx="77574" cy="64839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93" name="Rectangle 22"/>
            <p:cNvSpPr>
              <a:spLocks noChangeArrowheads="1"/>
            </p:cNvSpPr>
            <p:nvPr/>
          </p:nvSpPr>
          <p:spPr bwMode="auto">
            <a:xfrm rot="16200000">
              <a:off x="1342449" y="2908605"/>
              <a:ext cx="77574" cy="64839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94" name="Rectangle 22"/>
            <p:cNvSpPr>
              <a:spLocks noChangeArrowheads="1"/>
            </p:cNvSpPr>
            <p:nvPr/>
          </p:nvSpPr>
          <p:spPr bwMode="auto">
            <a:xfrm rot="16200000">
              <a:off x="1342449" y="3244424"/>
              <a:ext cx="77574" cy="64839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grpSp>
        <p:nvGrpSpPr>
          <p:cNvPr id="6" name="Group 5"/>
          <p:cNvGrpSpPr/>
          <p:nvPr/>
        </p:nvGrpSpPr>
        <p:grpSpPr>
          <a:xfrm>
            <a:off x="6184689" y="5162984"/>
            <a:ext cx="1532580" cy="620546"/>
            <a:chOff x="5876126" y="5116030"/>
            <a:chExt cx="2137562" cy="865503"/>
          </a:xfrm>
        </p:grpSpPr>
        <p:sp>
          <p:nvSpPr>
            <p:cNvPr id="776" name="Freeform 5"/>
            <p:cNvSpPr>
              <a:spLocks noEditPoints="1"/>
            </p:cNvSpPr>
            <p:nvPr/>
          </p:nvSpPr>
          <p:spPr bwMode="auto">
            <a:xfrm>
              <a:off x="5876126" y="5116030"/>
              <a:ext cx="1011516" cy="796054"/>
            </a:xfrm>
            <a:custGeom>
              <a:avLst/>
              <a:gdLst>
                <a:gd name="T0" fmla="*/ 3752 w 5983"/>
                <a:gd name="T1" fmla="*/ 2549 h 4697"/>
                <a:gd name="T2" fmla="*/ 2693 w 5983"/>
                <a:gd name="T3" fmla="*/ 4063 h 4697"/>
                <a:gd name="T4" fmla="*/ 2651 w 5983"/>
                <a:gd name="T5" fmla="*/ 4087 h 4697"/>
                <a:gd name="T6" fmla="*/ 2627 w 5983"/>
                <a:gd name="T7" fmla="*/ 4081 h 4697"/>
                <a:gd name="T8" fmla="*/ 2603 w 5983"/>
                <a:gd name="T9" fmla="*/ 4021 h 4697"/>
                <a:gd name="T10" fmla="*/ 2878 w 5983"/>
                <a:gd name="T11" fmla="*/ 3117 h 4697"/>
                <a:gd name="T12" fmla="*/ 2262 w 5983"/>
                <a:gd name="T13" fmla="*/ 3117 h 4697"/>
                <a:gd name="T14" fmla="*/ 2214 w 5983"/>
                <a:gd name="T15" fmla="*/ 3087 h 4697"/>
                <a:gd name="T16" fmla="*/ 2220 w 5983"/>
                <a:gd name="T17" fmla="*/ 3034 h 4697"/>
                <a:gd name="T18" fmla="*/ 3249 w 5983"/>
                <a:gd name="T19" fmla="*/ 1538 h 4697"/>
                <a:gd name="T20" fmla="*/ 3291 w 5983"/>
                <a:gd name="T21" fmla="*/ 1514 h 4697"/>
                <a:gd name="T22" fmla="*/ 3315 w 5983"/>
                <a:gd name="T23" fmla="*/ 1520 h 4697"/>
                <a:gd name="T24" fmla="*/ 3339 w 5983"/>
                <a:gd name="T25" fmla="*/ 1580 h 4697"/>
                <a:gd name="T26" fmla="*/ 3075 w 5983"/>
                <a:gd name="T27" fmla="*/ 2465 h 4697"/>
                <a:gd name="T28" fmla="*/ 3710 w 5983"/>
                <a:gd name="T29" fmla="*/ 2465 h 4697"/>
                <a:gd name="T30" fmla="*/ 3763 w 5983"/>
                <a:gd name="T31" fmla="*/ 2519 h 4697"/>
                <a:gd name="T32" fmla="*/ 3752 w 5983"/>
                <a:gd name="T33" fmla="*/ 2549 h 4697"/>
                <a:gd name="T34" fmla="*/ 5750 w 5983"/>
                <a:gd name="T35" fmla="*/ 754 h 4697"/>
                <a:gd name="T36" fmla="*/ 0 w 5983"/>
                <a:gd name="T37" fmla="*/ 754 h 4697"/>
                <a:gd name="T38" fmla="*/ 0 w 5983"/>
                <a:gd name="T39" fmla="*/ 4326 h 4697"/>
                <a:gd name="T40" fmla="*/ 371 w 5983"/>
                <a:gd name="T41" fmla="*/ 4697 h 4697"/>
                <a:gd name="T42" fmla="*/ 5612 w 5983"/>
                <a:gd name="T43" fmla="*/ 4697 h 4697"/>
                <a:gd name="T44" fmla="*/ 5983 w 5983"/>
                <a:gd name="T45" fmla="*/ 4326 h 4697"/>
                <a:gd name="T46" fmla="*/ 5983 w 5983"/>
                <a:gd name="T47" fmla="*/ 1095 h 4697"/>
                <a:gd name="T48" fmla="*/ 5750 w 5983"/>
                <a:gd name="T49" fmla="*/ 754 h 4697"/>
                <a:gd name="T50" fmla="*/ 3536 w 5983"/>
                <a:gd name="T51" fmla="*/ 485 h 4697"/>
                <a:gd name="T52" fmla="*/ 3363 w 5983"/>
                <a:gd name="T53" fmla="*/ 186 h 4697"/>
                <a:gd name="T54" fmla="*/ 3040 w 5983"/>
                <a:gd name="T55" fmla="*/ 0 h 4697"/>
                <a:gd name="T56" fmla="*/ 371 w 5983"/>
                <a:gd name="T57" fmla="*/ 0 h 4697"/>
                <a:gd name="T58" fmla="*/ 0 w 5983"/>
                <a:gd name="T59" fmla="*/ 371 h 4697"/>
                <a:gd name="T60" fmla="*/ 0 w 5983"/>
                <a:gd name="T61" fmla="*/ 563 h 4697"/>
                <a:gd name="T62" fmla="*/ 3602 w 5983"/>
                <a:gd name="T63" fmla="*/ 563 h 4697"/>
                <a:gd name="T64" fmla="*/ 3536 w 5983"/>
                <a:gd name="T65" fmla="*/ 485 h 46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983" h="4697">
                  <a:moveTo>
                    <a:pt x="3752" y="2549"/>
                  </a:moveTo>
                  <a:lnTo>
                    <a:pt x="2693" y="4063"/>
                  </a:lnTo>
                  <a:cubicBezTo>
                    <a:pt x="2681" y="4075"/>
                    <a:pt x="2669" y="4087"/>
                    <a:pt x="2651" y="4087"/>
                  </a:cubicBezTo>
                  <a:cubicBezTo>
                    <a:pt x="2645" y="4087"/>
                    <a:pt x="2633" y="4087"/>
                    <a:pt x="2627" y="4081"/>
                  </a:cubicBezTo>
                  <a:cubicBezTo>
                    <a:pt x="2603" y="4069"/>
                    <a:pt x="2591" y="4045"/>
                    <a:pt x="2603" y="4021"/>
                  </a:cubicBezTo>
                  <a:lnTo>
                    <a:pt x="2878" y="3117"/>
                  </a:lnTo>
                  <a:lnTo>
                    <a:pt x="2262" y="3117"/>
                  </a:lnTo>
                  <a:cubicBezTo>
                    <a:pt x="2244" y="3117"/>
                    <a:pt x="2226" y="3105"/>
                    <a:pt x="2214" y="3087"/>
                  </a:cubicBezTo>
                  <a:cubicBezTo>
                    <a:pt x="2208" y="3070"/>
                    <a:pt x="2208" y="3052"/>
                    <a:pt x="2220" y="3034"/>
                  </a:cubicBezTo>
                  <a:lnTo>
                    <a:pt x="3249" y="1538"/>
                  </a:lnTo>
                  <a:cubicBezTo>
                    <a:pt x="3261" y="1526"/>
                    <a:pt x="3273" y="1514"/>
                    <a:pt x="3291" y="1514"/>
                  </a:cubicBezTo>
                  <a:cubicBezTo>
                    <a:pt x="3297" y="1514"/>
                    <a:pt x="3303" y="1514"/>
                    <a:pt x="3315" y="1520"/>
                  </a:cubicBezTo>
                  <a:cubicBezTo>
                    <a:pt x="3339" y="1532"/>
                    <a:pt x="3351" y="1556"/>
                    <a:pt x="3339" y="1580"/>
                  </a:cubicBezTo>
                  <a:lnTo>
                    <a:pt x="3075" y="2465"/>
                  </a:lnTo>
                  <a:lnTo>
                    <a:pt x="3710" y="2465"/>
                  </a:lnTo>
                  <a:cubicBezTo>
                    <a:pt x="3740" y="2465"/>
                    <a:pt x="3763" y="2489"/>
                    <a:pt x="3763" y="2519"/>
                  </a:cubicBezTo>
                  <a:cubicBezTo>
                    <a:pt x="3763" y="2531"/>
                    <a:pt x="3758" y="2537"/>
                    <a:pt x="3752" y="2549"/>
                  </a:cubicBezTo>
                  <a:close/>
                  <a:moveTo>
                    <a:pt x="5750" y="754"/>
                  </a:moveTo>
                  <a:lnTo>
                    <a:pt x="0" y="754"/>
                  </a:lnTo>
                  <a:lnTo>
                    <a:pt x="0" y="4326"/>
                  </a:lnTo>
                  <a:cubicBezTo>
                    <a:pt x="0" y="4529"/>
                    <a:pt x="168" y="4697"/>
                    <a:pt x="371" y="4697"/>
                  </a:cubicBezTo>
                  <a:lnTo>
                    <a:pt x="5612" y="4697"/>
                  </a:lnTo>
                  <a:cubicBezTo>
                    <a:pt x="5816" y="4697"/>
                    <a:pt x="5983" y="4529"/>
                    <a:pt x="5983" y="4326"/>
                  </a:cubicBezTo>
                  <a:lnTo>
                    <a:pt x="5983" y="1095"/>
                  </a:lnTo>
                  <a:cubicBezTo>
                    <a:pt x="5983" y="946"/>
                    <a:pt x="5887" y="814"/>
                    <a:pt x="5750" y="754"/>
                  </a:cubicBezTo>
                  <a:close/>
                  <a:moveTo>
                    <a:pt x="3536" y="485"/>
                  </a:moveTo>
                  <a:lnTo>
                    <a:pt x="3363" y="186"/>
                  </a:lnTo>
                  <a:cubicBezTo>
                    <a:pt x="3297" y="72"/>
                    <a:pt x="3171" y="0"/>
                    <a:pt x="3040" y="0"/>
                  </a:cubicBezTo>
                  <a:lnTo>
                    <a:pt x="371" y="0"/>
                  </a:lnTo>
                  <a:cubicBezTo>
                    <a:pt x="168" y="0"/>
                    <a:pt x="0" y="168"/>
                    <a:pt x="0" y="371"/>
                  </a:cubicBezTo>
                  <a:lnTo>
                    <a:pt x="0" y="563"/>
                  </a:lnTo>
                  <a:lnTo>
                    <a:pt x="3602" y="563"/>
                  </a:lnTo>
                  <a:cubicBezTo>
                    <a:pt x="3572" y="545"/>
                    <a:pt x="3554" y="515"/>
                    <a:pt x="3536" y="485"/>
                  </a:cubicBezTo>
                  <a:close/>
                </a:path>
              </a:pathLst>
            </a:custGeom>
            <a:solidFill>
              <a:schemeClr val="bg1"/>
            </a:solidFill>
            <a:ln w="0">
              <a:noFill/>
              <a:prstDash val="solid"/>
              <a:round/>
              <a:headEnd/>
              <a:tailEnd/>
            </a:ln>
          </p:spPr>
          <p:txBody>
            <a:bodyPr vert="horz" wrap="square" lIns="74702" tIns="37351" rIns="74702" bIns="37351" numCol="1" anchor="t" anchorCtr="0" compatLnSpc="1">
              <a:prstTxWarp prst="textNoShape">
                <a:avLst/>
              </a:prstTxWarp>
            </a:bodyPr>
            <a:lstStyle/>
            <a:p>
              <a:pPr marL="0" marR="0" lvl="0" indent="0" defTabSz="896350" eaLnBrk="1" fontAlgn="base" latinLnBrk="0" hangingPunct="1">
                <a:lnSpc>
                  <a:spcPct val="100000"/>
                </a:lnSpc>
                <a:spcBef>
                  <a:spcPct val="0"/>
                </a:spcBef>
                <a:spcAft>
                  <a:spcPct val="0"/>
                </a:spcAft>
                <a:buClrTx/>
                <a:buSzTx/>
                <a:buFontTx/>
                <a:buNone/>
                <a:tabLst/>
                <a:defRPr/>
              </a:pPr>
              <a:endParaRPr kumimoji="0" lang="en-US" sz="2353" b="0" i="0" u="none" strike="noStrike" kern="0" cap="none" spc="0" normalizeH="0" baseline="0" noProof="0">
                <a:ln>
                  <a:noFill/>
                </a:ln>
                <a:solidFill>
                  <a:prstClr val="white"/>
                </a:solidFill>
                <a:effectLst/>
                <a:uLnTx/>
                <a:uFillTx/>
              </a:endParaRPr>
            </a:p>
          </p:txBody>
        </p:sp>
        <p:sp>
          <p:nvSpPr>
            <p:cNvPr id="525" name="Freeform: Shape 524"/>
            <p:cNvSpPr/>
            <p:nvPr/>
          </p:nvSpPr>
          <p:spPr bwMode="auto">
            <a:xfrm>
              <a:off x="7025767" y="5722118"/>
              <a:ext cx="59474" cy="175782"/>
            </a:xfrm>
            <a:custGeom>
              <a:avLst/>
              <a:gdLst>
                <a:gd name="connsiteX0" fmla="*/ 52039 w 59474"/>
                <a:gd name="connsiteY0" fmla="*/ 0 h 175782"/>
                <a:gd name="connsiteX1" fmla="*/ 59474 w 59474"/>
                <a:gd name="connsiteY1" fmla="*/ 0 h 175782"/>
                <a:gd name="connsiteX2" fmla="*/ 59474 w 59474"/>
                <a:gd name="connsiteY2" fmla="*/ 175782 h 175782"/>
                <a:gd name="connsiteX3" fmla="*/ 39809 w 59474"/>
                <a:gd name="connsiteY3" fmla="*/ 175782 h 175782"/>
                <a:gd name="connsiteX4" fmla="*/ 39809 w 59474"/>
                <a:gd name="connsiteY4" fmla="*/ 27219 h 175782"/>
                <a:gd name="connsiteX5" fmla="*/ 33154 w 59474"/>
                <a:gd name="connsiteY5" fmla="*/ 32435 h 175782"/>
                <a:gd name="connsiteX6" fmla="*/ 23322 w 59474"/>
                <a:gd name="connsiteY6" fmla="*/ 38250 h 175782"/>
                <a:gd name="connsiteX7" fmla="*/ 11811 w 59474"/>
                <a:gd name="connsiteY7" fmla="*/ 43646 h 175782"/>
                <a:gd name="connsiteX8" fmla="*/ 0 w 59474"/>
                <a:gd name="connsiteY8" fmla="*/ 47603 h 175782"/>
                <a:gd name="connsiteX9" fmla="*/ 0 w 59474"/>
                <a:gd name="connsiteY9" fmla="*/ 27698 h 175782"/>
                <a:gd name="connsiteX10" fmla="*/ 13730 w 59474"/>
                <a:gd name="connsiteY10" fmla="*/ 22843 h 175782"/>
                <a:gd name="connsiteX11" fmla="*/ 27998 w 59474"/>
                <a:gd name="connsiteY11" fmla="*/ 16008 h 175782"/>
                <a:gd name="connsiteX12" fmla="*/ 41248 w 59474"/>
                <a:gd name="connsiteY12" fmla="*/ 8094 h 175782"/>
                <a:gd name="connsiteX13" fmla="*/ 52039 w 59474"/>
                <a:gd name="connsiteY13" fmla="*/ 0 h 1757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9474" h="175782">
                  <a:moveTo>
                    <a:pt x="52039" y="0"/>
                  </a:moveTo>
                  <a:lnTo>
                    <a:pt x="59474" y="0"/>
                  </a:lnTo>
                  <a:lnTo>
                    <a:pt x="59474" y="175782"/>
                  </a:lnTo>
                  <a:lnTo>
                    <a:pt x="39809" y="175782"/>
                  </a:lnTo>
                  <a:lnTo>
                    <a:pt x="39809" y="27219"/>
                  </a:lnTo>
                  <a:cubicBezTo>
                    <a:pt x="38290" y="28738"/>
                    <a:pt x="36072" y="30476"/>
                    <a:pt x="33154" y="32435"/>
                  </a:cubicBezTo>
                  <a:cubicBezTo>
                    <a:pt x="30237" y="34393"/>
                    <a:pt x="26960" y="36332"/>
                    <a:pt x="23322" y="38250"/>
                  </a:cubicBezTo>
                  <a:cubicBezTo>
                    <a:pt x="19685" y="40168"/>
                    <a:pt x="15848" y="41967"/>
                    <a:pt x="11811" y="43646"/>
                  </a:cubicBezTo>
                  <a:cubicBezTo>
                    <a:pt x="7774" y="45325"/>
                    <a:pt x="3838" y="46644"/>
                    <a:pt x="0" y="47603"/>
                  </a:cubicBezTo>
                  <a:lnTo>
                    <a:pt x="0" y="27698"/>
                  </a:lnTo>
                  <a:cubicBezTo>
                    <a:pt x="4317" y="26499"/>
                    <a:pt x="8893" y="24881"/>
                    <a:pt x="13730" y="22843"/>
                  </a:cubicBezTo>
                  <a:cubicBezTo>
                    <a:pt x="18566" y="20804"/>
                    <a:pt x="23322" y="18526"/>
                    <a:pt x="27998" y="16008"/>
                  </a:cubicBezTo>
                  <a:cubicBezTo>
                    <a:pt x="32675" y="13490"/>
                    <a:pt x="37092" y="10852"/>
                    <a:pt x="41248" y="8094"/>
                  </a:cubicBezTo>
                  <a:cubicBezTo>
                    <a:pt x="45405" y="5336"/>
                    <a:pt x="49002" y="2638"/>
                    <a:pt x="52039" y="0"/>
                  </a:cubicBezTo>
                  <a:close/>
                </a:path>
              </a:pathLst>
            </a:cu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5439">
                      <a:srgbClr val="F8F8F8"/>
                    </a:gs>
                    <a:gs pos="10000">
                      <a:srgbClr val="F8F8F8"/>
                    </a:gs>
                  </a:gsLst>
                  <a:lin ang="5400000" scaled="0"/>
                </a:gradFill>
                <a:effectLst/>
                <a:uLnTx/>
                <a:uFillTx/>
              </a:endParaRPr>
            </a:p>
          </p:txBody>
        </p:sp>
        <p:sp>
          <p:nvSpPr>
            <p:cNvPr id="524" name="Freeform: Shape 523"/>
            <p:cNvSpPr/>
            <p:nvPr/>
          </p:nvSpPr>
          <p:spPr bwMode="auto">
            <a:xfrm>
              <a:off x="7454602" y="5680414"/>
              <a:ext cx="59474" cy="175782"/>
            </a:xfrm>
            <a:custGeom>
              <a:avLst/>
              <a:gdLst>
                <a:gd name="connsiteX0" fmla="*/ 52039 w 59474"/>
                <a:gd name="connsiteY0" fmla="*/ 0 h 175782"/>
                <a:gd name="connsiteX1" fmla="*/ 59474 w 59474"/>
                <a:gd name="connsiteY1" fmla="*/ 0 h 175782"/>
                <a:gd name="connsiteX2" fmla="*/ 59474 w 59474"/>
                <a:gd name="connsiteY2" fmla="*/ 175782 h 175782"/>
                <a:gd name="connsiteX3" fmla="*/ 39809 w 59474"/>
                <a:gd name="connsiteY3" fmla="*/ 175782 h 175782"/>
                <a:gd name="connsiteX4" fmla="*/ 39809 w 59474"/>
                <a:gd name="connsiteY4" fmla="*/ 27219 h 175782"/>
                <a:gd name="connsiteX5" fmla="*/ 33154 w 59474"/>
                <a:gd name="connsiteY5" fmla="*/ 32435 h 175782"/>
                <a:gd name="connsiteX6" fmla="*/ 23322 w 59474"/>
                <a:gd name="connsiteY6" fmla="*/ 38250 h 175782"/>
                <a:gd name="connsiteX7" fmla="*/ 11811 w 59474"/>
                <a:gd name="connsiteY7" fmla="*/ 43646 h 175782"/>
                <a:gd name="connsiteX8" fmla="*/ 0 w 59474"/>
                <a:gd name="connsiteY8" fmla="*/ 47603 h 175782"/>
                <a:gd name="connsiteX9" fmla="*/ 0 w 59474"/>
                <a:gd name="connsiteY9" fmla="*/ 27698 h 175782"/>
                <a:gd name="connsiteX10" fmla="*/ 13729 w 59474"/>
                <a:gd name="connsiteY10" fmla="*/ 22843 h 175782"/>
                <a:gd name="connsiteX11" fmla="*/ 27998 w 59474"/>
                <a:gd name="connsiteY11" fmla="*/ 16008 h 175782"/>
                <a:gd name="connsiteX12" fmla="*/ 41248 w 59474"/>
                <a:gd name="connsiteY12" fmla="*/ 8094 h 175782"/>
                <a:gd name="connsiteX13" fmla="*/ 52039 w 59474"/>
                <a:gd name="connsiteY13" fmla="*/ 0 h 1757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9474" h="175782">
                  <a:moveTo>
                    <a:pt x="52039" y="0"/>
                  </a:moveTo>
                  <a:lnTo>
                    <a:pt x="59474" y="0"/>
                  </a:lnTo>
                  <a:lnTo>
                    <a:pt x="59474" y="175782"/>
                  </a:lnTo>
                  <a:lnTo>
                    <a:pt x="39809" y="175782"/>
                  </a:lnTo>
                  <a:lnTo>
                    <a:pt x="39809" y="27219"/>
                  </a:lnTo>
                  <a:cubicBezTo>
                    <a:pt x="38290" y="28738"/>
                    <a:pt x="36071" y="30476"/>
                    <a:pt x="33154" y="32435"/>
                  </a:cubicBezTo>
                  <a:cubicBezTo>
                    <a:pt x="30237" y="34393"/>
                    <a:pt x="26959" y="36332"/>
                    <a:pt x="23322" y="38250"/>
                  </a:cubicBezTo>
                  <a:cubicBezTo>
                    <a:pt x="19685" y="40168"/>
                    <a:pt x="15847" y="41967"/>
                    <a:pt x="11811" y="43646"/>
                  </a:cubicBezTo>
                  <a:cubicBezTo>
                    <a:pt x="7774" y="45325"/>
                    <a:pt x="3837" y="46644"/>
                    <a:pt x="0" y="47603"/>
                  </a:cubicBezTo>
                  <a:lnTo>
                    <a:pt x="0" y="27698"/>
                  </a:lnTo>
                  <a:cubicBezTo>
                    <a:pt x="4317" y="26499"/>
                    <a:pt x="8893" y="24881"/>
                    <a:pt x="13729" y="22843"/>
                  </a:cubicBezTo>
                  <a:cubicBezTo>
                    <a:pt x="18566" y="20804"/>
                    <a:pt x="23322" y="18526"/>
                    <a:pt x="27998" y="16008"/>
                  </a:cubicBezTo>
                  <a:cubicBezTo>
                    <a:pt x="32675" y="13490"/>
                    <a:pt x="37091" y="10852"/>
                    <a:pt x="41248" y="8094"/>
                  </a:cubicBezTo>
                  <a:cubicBezTo>
                    <a:pt x="45404" y="5336"/>
                    <a:pt x="49002" y="2638"/>
                    <a:pt x="52039" y="0"/>
                  </a:cubicBezTo>
                  <a:close/>
                </a:path>
              </a:pathLst>
            </a:cu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5439">
                      <a:srgbClr val="F8F8F8"/>
                    </a:gs>
                    <a:gs pos="10000">
                      <a:srgbClr val="F8F8F8"/>
                    </a:gs>
                  </a:gsLst>
                  <a:lin ang="5400000" scaled="0"/>
                </a:gradFill>
                <a:effectLst/>
                <a:uLnTx/>
                <a:uFillTx/>
              </a:endParaRPr>
            </a:p>
          </p:txBody>
        </p:sp>
        <p:sp>
          <p:nvSpPr>
            <p:cNvPr id="517" name="Freeform: Shape 516"/>
            <p:cNvSpPr/>
            <p:nvPr/>
          </p:nvSpPr>
          <p:spPr bwMode="auto">
            <a:xfrm>
              <a:off x="7954215" y="5712793"/>
              <a:ext cx="59473" cy="175782"/>
            </a:xfrm>
            <a:custGeom>
              <a:avLst/>
              <a:gdLst>
                <a:gd name="connsiteX0" fmla="*/ 52039 w 59473"/>
                <a:gd name="connsiteY0" fmla="*/ 0 h 175782"/>
                <a:gd name="connsiteX1" fmla="*/ 59473 w 59473"/>
                <a:gd name="connsiteY1" fmla="*/ 0 h 175782"/>
                <a:gd name="connsiteX2" fmla="*/ 59473 w 59473"/>
                <a:gd name="connsiteY2" fmla="*/ 175782 h 175782"/>
                <a:gd name="connsiteX3" fmla="*/ 39808 w 59473"/>
                <a:gd name="connsiteY3" fmla="*/ 175782 h 175782"/>
                <a:gd name="connsiteX4" fmla="*/ 39808 w 59473"/>
                <a:gd name="connsiteY4" fmla="*/ 27219 h 175782"/>
                <a:gd name="connsiteX5" fmla="*/ 33154 w 59473"/>
                <a:gd name="connsiteY5" fmla="*/ 32435 h 175782"/>
                <a:gd name="connsiteX6" fmla="*/ 23321 w 59473"/>
                <a:gd name="connsiteY6" fmla="*/ 38250 h 175782"/>
                <a:gd name="connsiteX7" fmla="*/ 11811 w 59473"/>
                <a:gd name="connsiteY7" fmla="*/ 43646 h 175782"/>
                <a:gd name="connsiteX8" fmla="*/ 0 w 59473"/>
                <a:gd name="connsiteY8" fmla="*/ 47603 h 175782"/>
                <a:gd name="connsiteX9" fmla="*/ 0 w 59473"/>
                <a:gd name="connsiteY9" fmla="*/ 27698 h 175782"/>
                <a:gd name="connsiteX10" fmla="*/ 13729 w 59473"/>
                <a:gd name="connsiteY10" fmla="*/ 22843 h 175782"/>
                <a:gd name="connsiteX11" fmla="*/ 27997 w 59473"/>
                <a:gd name="connsiteY11" fmla="*/ 16008 h 175782"/>
                <a:gd name="connsiteX12" fmla="*/ 41247 w 59473"/>
                <a:gd name="connsiteY12" fmla="*/ 8094 h 175782"/>
                <a:gd name="connsiteX13" fmla="*/ 52039 w 59473"/>
                <a:gd name="connsiteY13" fmla="*/ 0 h 1757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9473" h="175782">
                  <a:moveTo>
                    <a:pt x="52039" y="0"/>
                  </a:moveTo>
                  <a:lnTo>
                    <a:pt x="59473" y="0"/>
                  </a:lnTo>
                  <a:lnTo>
                    <a:pt x="59473" y="175782"/>
                  </a:lnTo>
                  <a:lnTo>
                    <a:pt x="39808" y="175782"/>
                  </a:lnTo>
                  <a:lnTo>
                    <a:pt x="39808" y="27219"/>
                  </a:lnTo>
                  <a:cubicBezTo>
                    <a:pt x="38290" y="28738"/>
                    <a:pt x="36071" y="30476"/>
                    <a:pt x="33154" y="32435"/>
                  </a:cubicBezTo>
                  <a:cubicBezTo>
                    <a:pt x="30236" y="34393"/>
                    <a:pt x="26959" y="36332"/>
                    <a:pt x="23321" y="38250"/>
                  </a:cubicBezTo>
                  <a:cubicBezTo>
                    <a:pt x="19684" y="40168"/>
                    <a:pt x="15847" y="41967"/>
                    <a:pt x="11811" y="43646"/>
                  </a:cubicBezTo>
                  <a:cubicBezTo>
                    <a:pt x="7773" y="45325"/>
                    <a:pt x="3837" y="46644"/>
                    <a:pt x="0" y="47603"/>
                  </a:cubicBezTo>
                  <a:lnTo>
                    <a:pt x="0" y="27698"/>
                  </a:lnTo>
                  <a:cubicBezTo>
                    <a:pt x="4316" y="26499"/>
                    <a:pt x="8893" y="24881"/>
                    <a:pt x="13729" y="22843"/>
                  </a:cubicBezTo>
                  <a:cubicBezTo>
                    <a:pt x="18565" y="20804"/>
                    <a:pt x="23321" y="18526"/>
                    <a:pt x="27997" y="16008"/>
                  </a:cubicBezTo>
                  <a:cubicBezTo>
                    <a:pt x="32674" y="13490"/>
                    <a:pt x="37090" y="10852"/>
                    <a:pt x="41247" y="8094"/>
                  </a:cubicBezTo>
                  <a:cubicBezTo>
                    <a:pt x="45404" y="5336"/>
                    <a:pt x="49001" y="2638"/>
                    <a:pt x="52039" y="0"/>
                  </a:cubicBezTo>
                  <a:close/>
                </a:path>
              </a:pathLst>
            </a:cu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5439">
                      <a:srgbClr val="F8F8F8"/>
                    </a:gs>
                    <a:gs pos="10000">
                      <a:srgbClr val="F8F8F8"/>
                    </a:gs>
                  </a:gsLst>
                  <a:lin ang="5400000" scaled="0"/>
                </a:gradFill>
                <a:effectLst/>
                <a:uLnTx/>
                <a:uFillTx/>
              </a:endParaRPr>
            </a:p>
          </p:txBody>
        </p:sp>
        <p:sp>
          <p:nvSpPr>
            <p:cNvPr id="501" name="Freeform: Shape 500"/>
            <p:cNvSpPr/>
            <p:nvPr/>
          </p:nvSpPr>
          <p:spPr bwMode="auto">
            <a:xfrm>
              <a:off x="7139199" y="5597321"/>
              <a:ext cx="111993" cy="177820"/>
            </a:xfrm>
            <a:custGeom>
              <a:avLst/>
              <a:gdLst>
                <a:gd name="connsiteX0" fmla="*/ 57915 w 111993"/>
                <a:gd name="connsiteY0" fmla="*/ 0 h 177820"/>
                <a:gd name="connsiteX1" fmla="*/ 111993 w 111993"/>
                <a:gd name="connsiteY1" fmla="*/ 88130 h 177820"/>
                <a:gd name="connsiteX2" fmla="*/ 108096 w 111993"/>
                <a:gd name="connsiteY2" fmla="*/ 126380 h 177820"/>
                <a:gd name="connsiteX3" fmla="*/ 96825 w 111993"/>
                <a:gd name="connsiteY3" fmla="*/ 154499 h 177820"/>
                <a:gd name="connsiteX4" fmla="*/ 78719 w 111993"/>
                <a:gd name="connsiteY4" fmla="*/ 171885 h 177820"/>
                <a:gd name="connsiteX5" fmla="*/ 54318 w 111993"/>
                <a:gd name="connsiteY5" fmla="*/ 177820 h 177820"/>
                <a:gd name="connsiteX6" fmla="*/ 31236 w 111993"/>
                <a:gd name="connsiteY6" fmla="*/ 172124 h 177820"/>
                <a:gd name="connsiteX7" fmla="*/ 14149 w 111993"/>
                <a:gd name="connsiteY7" fmla="*/ 155518 h 177820"/>
                <a:gd name="connsiteX8" fmla="*/ 3597 w 111993"/>
                <a:gd name="connsiteY8" fmla="*/ 128719 h 177820"/>
                <a:gd name="connsiteX9" fmla="*/ 0 w 111993"/>
                <a:gd name="connsiteY9" fmla="*/ 92327 h 177820"/>
                <a:gd name="connsiteX10" fmla="*/ 3778 w 111993"/>
                <a:gd name="connsiteY10" fmla="*/ 52518 h 177820"/>
                <a:gd name="connsiteX11" fmla="*/ 14869 w 111993"/>
                <a:gd name="connsiteY11" fmla="*/ 23561 h 177820"/>
                <a:gd name="connsiteX12" fmla="*/ 33035 w 111993"/>
                <a:gd name="connsiteY12" fmla="*/ 5935 h 177820"/>
                <a:gd name="connsiteX13" fmla="*/ 57915 w 111993"/>
                <a:gd name="connsiteY13" fmla="*/ 0 h 177820"/>
                <a:gd name="connsiteX14" fmla="*/ 56956 w 111993"/>
                <a:gd name="connsiteY14" fmla="*/ 16667 h 177820"/>
                <a:gd name="connsiteX15" fmla="*/ 20145 w 111993"/>
                <a:gd name="connsiteY15" fmla="*/ 91368 h 177820"/>
                <a:gd name="connsiteX16" fmla="*/ 56237 w 111993"/>
                <a:gd name="connsiteY16" fmla="*/ 161033 h 177820"/>
                <a:gd name="connsiteX17" fmla="*/ 91849 w 111993"/>
                <a:gd name="connsiteY17" fmla="*/ 90049 h 177820"/>
                <a:gd name="connsiteX18" fmla="*/ 56956 w 111993"/>
                <a:gd name="connsiteY18" fmla="*/ 16667 h 1778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11993" h="177820">
                  <a:moveTo>
                    <a:pt x="57915" y="0"/>
                  </a:moveTo>
                  <a:cubicBezTo>
                    <a:pt x="93967" y="0"/>
                    <a:pt x="111993" y="29377"/>
                    <a:pt x="111993" y="88130"/>
                  </a:cubicBezTo>
                  <a:cubicBezTo>
                    <a:pt x="111993" y="102519"/>
                    <a:pt x="110694" y="115269"/>
                    <a:pt x="108096" y="126380"/>
                  </a:cubicBezTo>
                  <a:cubicBezTo>
                    <a:pt x="105498" y="137492"/>
                    <a:pt x="101741" y="146864"/>
                    <a:pt x="96825" y="154499"/>
                  </a:cubicBezTo>
                  <a:cubicBezTo>
                    <a:pt x="91908" y="162132"/>
                    <a:pt x="85873" y="167927"/>
                    <a:pt x="78719" y="171885"/>
                  </a:cubicBezTo>
                  <a:cubicBezTo>
                    <a:pt x="71564" y="175842"/>
                    <a:pt x="63431" y="177820"/>
                    <a:pt x="54318" y="177820"/>
                  </a:cubicBezTo>
                  <a:cubicBezTo>
                    <a:pt x="45685" y="177820"/>
                    <a:pt x="37991" y="175921"/>
                    <a:pt x="31236" y="172124"/>
                  </a:cubicBezTo>
                  <a:cubicBezTo>
                    <a:pt x="24481" y="168328"/>
                    <a:pt x="18786" y="162792"/>
                    <a:pt x="14149" y="155518"/>
                  </a:cubicBezTo>
                  <a:cubicBezTo>
                    <a:pt x="9513" y="148243"/>
                    <a:pt x="5996" y="139310"/>
                    <a:pt x="3597" y="128719"/>
                  </a:cubicBezTo>
                  <a:cubicBezTo>
                    <a:pt x="1200" y="118127"/>
                    <a:pt x="0" y="105997"/>
                    <a:pt x="0" y="92327"/>
                  </a:cubicBezTo>
                  <a:cubicBezTo>
                    <a:pt x="0" y="77299"/>
                    <a:pt x="1259" y="64029"/>
                    <a:pt x="3778" y="52518"/>
                  </a:cubicBezTo>
                  <a:cubicBezTo>
                    <a:pt x="6296" y="41007"/>
                    <a:pt x="9993" y="31355"/>
                    <a:pt x="14869" y="23561"/>
                  </a:cubicBezTo>
                  <a:cubicBezTo>
                    <a:pt x="19745" y="15768"/>
                    <a:pt x="25800" y="9892"/>
                    <a:pt x="33035" y="5935"/>
                  </a:cubicBezTo>
                  <a:cubicBezTo>
                    <a:pt x="40269" y="1978"/>
                    <a:pt x="48563" y="0"/>
                    <a:pt x="57915" y="0"/>
                  </a:cubicBezTo>
                  <a:close/>
                  <a:moveTo>
                    <a:pt x="56956" y="16667"/>
                  </a:moveTo>
                  <a:cubicBezTo>
                    <a:pt x="32415" y="16667"/>
                    <a:pt x="20145" y="41567"/>
                    <a:pt x="20145" y="91368"/>
                  </a:cubicBezTo>
                  <a:cubicBezTo>
                    <a:pt x="20145" y="137812"/>
                    <a:pt x="32175" y="161033"/>
                    <a:pt x="56237" y="161033"/>
                  </a:cubicBezTo>
                  <a:cubicBezTo>
                    <a:pt x="79978" y="161033"/>
                    <a:pt x="91849" y="137372"/>
                    <a:pt x="91849" y="90049"/>
                  </a:cubicBezTo>
                  <a:cubicBezTo>
                    <a:pt x="91849" y="41128"/>
                    <a:pt x="80217" y="16667"/>
                    <a:pt x="56956" y="16667"/>
                  </a:cubicBezTo>
                  <a:close/>
                </a:path>
              </a:pathLst>
            </a:cu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5439">
                      <a:srgbClr val="F8F8F8"/>
                    </a:gs>
                    <a:gs pos="10000">
                      <a:srgbClr val="F8F8F8"/>
                    </a:gs>
                  </a:gsLst>
                  <a:lin ang="5400000" scaled="0"/>
                </a:gradFill>
                <a:effectLst/>
                <a:uLnTx/>
                <a:uFillTx/>
              </a:endParaRPr>
            </a:p>
          </p:txBody>
        </p:sp>
        <p:sp>
          <p:nvSpPr>
            <p:cNvPr id="500" name="Freeform: Shape 499"/>
            <p:cNvSpPr/>
            <p:nvPr/>
          </p:nvSpPr>
          <p:spPr bwMode="auto">
            <a:xfrm>
              <a:off x="7806729" y="5642676"/>
              <a:ext cx="111992" cy="177820"/>
            </a:xfrm>
            <a:custGeom>
              <a:avLst/>
              <a:gdLst>
                <a:gd name="connsiteX0" fmla="*/ 57914 w 111992"/>
                <a:gd name="connsiteY0" fmla="*/ 0 h 177820"/>
                <a:gd name="connsiteX1" fmla="*/ 111992 w 111992"/>
                <a:gd name="connsiteY1" fmla="*/ 88130 h 177820"/>
                <a:gd name="connsiteX2" fmla="*/ 108095 w 111992"/>
                <a:gd name="connsiteY2" fmla="*/ 126380 h 177820"/>
                <a:gd name="connsiteX3" fmla="*/ 96824 w 111992"/>
                <a:gd name="connsiteY3" fmla="*/ 154499 h 177820"/>
                <a:gd name="connsiteX4" fmla="*/ 78718 w 111992"/>
                <a:gd name="connsiteY4" fmla="*/ 171885 h 177820"/>
                <a:gd name="connsiteX5" fmla="*/ 54318 w 111992"/>
                <a:gd name="connsiteY5" fmla="*/ 177820 h 177820"/>
                <a:gd name="connsiteX6" fmla="*/ 31235 w 111992"/>
                <a:gd name="connsiteY6" fmla="*/ 172124 h 177820"/>
                <a:gd name="connsiteX7" fmla="*/ 14149 w 111992"/>
                <a:gd name="connsiteY7" fmla="*/ 155518 h 177820"/>
                <a:gd name="connsiteX8" fmla="*/ 3597 w 111992"/>
                <a:gd name="connsiteY8" fmla="*/ 128719 h 177820"/>
                <a:gd name="connsiteX9" fmla="*/ 0 w 111992"/>
                <a:gd name="connsiteY9" fmla="*/ 92327 h 177820"/>
                <a:gd name="connsiteX10" fmla="*/ 3777 w 111992"/>
                <a:gd name="connsiteY10" fmla="*/ 52518 h 177820"/>
                <a:gd name="connsiteX11" fmla="*/ 14868 w 111992"/>
                <a:gd name="connsiteY11" fmla="*/ 23561 h 177820"/>
                <a:gd name="connsiteX12" fmla="*/ 33035 w 111992"/>
                <a:gd name="connsiteY12" fmla="*/ 5935 h 177820"/>
                <a:gd name="connsiteX13" fmla="*/ 57914 w 111992"/>
                <a:gd name="connsiteY13" fmla="*/ 0 h 177820"/>
                <a:gd name="connsiteX14" fmla="*/ 56956 w 111992"/>
                <a:gd name="connsiteY14" fmla="*/ 16667 h 177820"/>
                <a:gd name="connsiteX15" fmla="*/ 20145 w 111992"/>
                <a:gd name="connsiteY15" fmla="*/ 91368 h 177820"/>
                <a:gd name="connsiteX16" fmla="*/ 56236 w 111992"/>
                <a:gd name="connsiteY16" fmla="*/ 161033 h 177820"/>
                <a:gd name="connsiteX17" fmla="*/ 91848 w 111992"/>
                <a:gd name="connsiteY17" fmla="*/ 90049 h 177820"/>
                <a:gd name="connsiteX18" fmla="*/ 56956 w 111992"/>
                <a:gd name="connsiteY18" fmla="*/ 16667 h 1778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11992" h="177820">
                  <a:moveTo>
                    <a:pt x="57914" y="0"/>
                  </a:moveTo>
                  <a:cubicBezTo>
                    <a:pt x="93966" y="0"/>
                    <a:pt x="111992" y="29377"/>
                    <a:pt x="111992" y="88130"/>
                  </a:cubicBezTo>
                  <a:cubicBezTo>
                    <a:pt x="111992" y="102519"/>
                    <a:pt x="110694" y="115269"/>
                    <a:pt x="108095" y="126380"/>
                  </a:cubicBezTo>
                  <a:cubicBezTo>
                    <a:pt x="105497" y="137492"/>
                    <a:pt x="101740" y="146864"/>
                    <a:pt x="96824" y="154499"/>
                  </a:cubicBezTo>
                  <a:cubicBezTo>
                    <a:pt x="91908" y="162132"/>
                    <a:pt x="85873" y="167927"/>
                    <a:pt x="78718" y="171885"/>
                  </a:cubicBezTo>
                  <a:cubicBezTo>
                    <a:pt x="71564" y="175842"/>
                    <a:pt x="63430" y="177820"/>
                    <a:pt x="54318" y="177820"/>
                  </a:cubicBezTo>
                  <a:cubicBezTo>
                    <a:pt x="45684" y="177820"/>
                    <a:pt x="37990" y="175921"/>
                    <a:pt x="31235" y="172124"/>
                  </a:cubicBezTo>
                  <a:cubicBezTo>
                    <a:pt x="24481" y="168328"/>
                    <a:pt x="18785" y="162792"/>
                    <a:pt x="14149" y="155518"/>
                  </a:cubicBezTo>
                  <a:cubicBezTo>
                    <a:pt x="9512" y="148243"/>
                    <a:pt x="5996" y="139310"/>
                    <a:pt x="3597" y="128719"/>
                  </a:cubicBezTo>
                  <a:cubicBezTo>
                    <a:pt x="1199" y="118127"/>
                    <a:pt x="0" y="105997"/>
                    <a:pt x="0" y="92327"/>
                  </a:cubicBezTo>
                  <a:cubicBezTo>
                    <a:pt x="0" y="77299"/>
                    <a:pt x="1259" y="64029"/>
                    <a:pt x="3777" y="52518"/>
                  </a:cubicBezTo>
                  <a:cubicBezTo>
                    <a:pt x="6295" y="41007"/>
                    <a:pt x="9992" y="31355"/>
                    <a:pt x="14868" y="23561"/>
                  </a:cubicBezTo>
                  <a:cubicBezTo>
                    <a:pt x="19744" y="15768"/>
                    <a:pt x="25800" y="9892"/>
                    <a:pt x="33035" y="5935"/>
                  </a:cubicBezTo>
                  <a:cubicBezTo>
                    <a:pt x="40269" y="1978"/>
                    <a:pt x="48562" y="0"/>
                    <a:pt x="57914" y="0"/>
                  </a:cubicBezTo>
                  <a:close/>
                  <a:moveTo>
                    <a:pt x="56956" y="16667"/>
                  </a:moveTo>
                  <a:cubicBezTo>
                    <a:pt x="32415" y="16667"/>
                    <a:pt x="20145" y="41567"/>
                    <a:pt x="20145" y="91368"/>
                  </a:cubicBezTo>
                  <a:cubicBezTo>
                    <a:pt x="20145" y="137812"/>
                    <a:pt x="32175" y="161033"/>
                    <a:pt x="56236" y="161033"/>
                  </a:cubicBezTo>
                  <a:cubicBezTo>
                    <a:pt x="79978" y="161033"/>
                    <a:pt x="91848" y="137372"/>
                    <a:pt x="91848" y="90049"/>
                  </a:cubicBezTo>
                  <a:cubicBezTo>
                    <a:pt x="91848" y="41128"/>
                    <a:pt x="80217" y="16667"/>
                    <a:pt x="56956" y="16667"/>
                  </a:cubicBezTo>
                  <a:close/>
                </a:path>
              </a:pathLst>
            </a:cu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5439">
                      <a:srgbClr val="F8F8F8"/>
                    </a:gs>
                    <a:gs pos="10000">
                      <a:srgbClr val="F8F8F8"/>
                    </a:gs>
                  </a:gsLst>
                  <a:lin ang="5400000" scaled="0"/>
                </a:gradFill>
                <a:effectLst/>
                <a:uLnTx/>
                <a:uFillTx/>
              </a:endParaRPr>
            </a:p>
          </p:txBody>
        </p:sp>
        <p:sp>
          <p:nvSpPr>
            <p:cNvPr id="578" name="Freeform: Shape 577"/>
            <p:cNvSpPr/>
            <p:nvPr/>
          </p:nvSpPr>
          <p:spPr bwMode="auto">
            <a:xfrm>
              <a:off x="7059142" y="5426640"/>
              <a:ext cx="59473" cy="175782"/>
            </a:xfrm>
            <a:custGeom>
              <a:avLst/>
              <a:gdLst>
                <a:gd name="connsiteX0" fmla="*/ 52039 w 59473"/>
                <a:gd name="connsiteY0" fmla="*/ 0 h 175782"/>
                <a:gd name="connsiteX1" fmla="*/ 59473 w 59473"/>
                <a:gd name="connsiteY1" fmla="*/ 0 h 175782"/>
                <a:gd name="connsiteX2" fmla="*/ 59473 w 59473"/>
                <a:gd name="connsiteY2" fmla="*/ 175782 h 175782"/>
                <a:gd name="connsiteX3" fmla="*/ 39808 w 59473"/>
                <a:gd name="connsiteY3" fmla="*/ 175782 h 175782"/>
                <a:gd name="connsiteX4" fmla="*/ 39808 w 59473"/>
                <a:gd name="connsiteY4" fmla="*/ 27219 h 175782"/>
                <a:gd name="connsiteX5" fmla="*/ 33154 w 59473"/>
                <a:gd name="connsiteY5" fmla="*/ 32435 h 175782"/>
                <a:gd name="connsiteX6" fmla="*/ 23321 w 59473"/>
                <a:gd name="connsiteY6" fmla="*/ 38250 h 175782"/>
                <a:gd name="connsiteX7" fmla="*/ 11811 w 59473"/>
                <a:gd name="connsiteY7" fmla="*/ 43646 h 175782"/>
                <a:gd name="connsiteX8" fmla="*/ 0 w 59473"/>
                <a:gd name="connsiteY8" fmla="*/ 47603 h 175782"/>
                <a:gd name="connsiteX9" fmla="*/ 0 w 59473"/>
                <a:gd name="connsiteY9" fmla="*/ 27698 h 175782"/>
                <a:gd name="connsiteX10" fmla="*/ 13729 w 59473"/>
                <a:gd name="connsiteY10" fmla="*/ 22843 h 175782"/>
                <a:gd name="connsiteX11" fmla="*/ 27997 w 59473"/>
                <a:gd name="connsiteY11" fmla="*/ 16008 h 175782"/>
                <a:gd name="connsiteX12" fmla="*/ 41247 w 59473"/>
                <a:gd name="connsiteY12" fmla="*/ 8094 h 175782"/>
                <a:gd name="connsiteX13" fmla="*/ 52039 w 59473"/>
                <a:gd name="connsiteY13" fmla="*/ 0 h 1757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9473" h="175782">
                  <a:moveTo>
                    <a:pt x="52039" y="0"/>
                  </a:moveTo>
                  <a:lnTo>
                    <a:pt x="59473" y="0"/>
                  </a:lnTo>
                  <a:lnTo>
                    <a:pt x="59473" y="175782"/>
                  </a:lnTo>
                  <a:lnTo>
                    <a:pt x="39808" y="175782"/>
                  </a:lnTo>
                  <a:lnTo>
                    <a:pt x="39808" y="27219"/>
                  </a:lnTo>
                  <a:cubicBezTo>
                    <a:pt x="38290" y="28738"/>
                    <a:pt x="36071" y="30476"/>
                    <a:pt x="33154" y="32435"/>
                  </a:cubicBezTo>
                  <a:cubicBezTo>
                    <a:pt x="30236" y="34393"/>
                    <a:pt x="26959" y="36332"/>
                    <a:pt x="23321" y="38250"/>
                  </a:cubicBezTo>
                  <a:cubicBezTo>
                    <a:pt x="19684" y="40168"/>
                    <a:pt x="15847" y="41967"/>
                    <a:pt x="11811" y="43646"/>
                  </a:cubicBezTo>
                  <a:cubicBezTo>
                    <a:pt x="7773" y="45325"/>
                    <a:pt x="3837" y="46644"/>
                    <a:pt x="0" y="47603"/>
                  </a:cubicBezTo>
                  <a:lnTo>
                    <a:pt x="0" y="27698"/>
                  </a:lnTo>
                  <a:cubicBezTo>
                    <a:pt x="4316" y="26499"/>
                    <a:pt x="8893" y="24881"/>
                    <a:pt x="13729" y="22843"/>
                  </a:cubicBezTo>
                  <a:cubicBezTo>
                    <a:pt x="18565" y="20804"/>
                    <a:pt x="23321" y="18526"/>
                    <a:pt x="27997" y="16008"/>
                  </a:cubicBezTo>
                  <a:cubicBezTo>
                    <a:pt x="32674" y="13490"/>
                    <a:pt x="37090" y="10852"/>
                    <a:pt x="41247" y="8094"/>
                  </a:cubicBezTo>
                  <a:cubicBezTo>
                    <a:pt x="45404" y="5336"/>
                    <a:pt x="49001" y="2638"/>
                    <a:pt x="52039" y="0"/>
                  </a:cubicBezTo>
                  <a:close/>
                </a:path>
              </a:pathLst>
            </a:cu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5439">
                      <a:srgbClr val="F8F8F8"/>
                    </a:gs>
                    <a:gs pos="10000">
                      <a:srgbClr val="F8F8F8"/>
                    </a:gs>
                  </a:gsLst>
                  <a:lin ang="5400000" scaled="0"/>
                </a:gradFill>
                <a:effectLst/>
                <a:uLnTx/>
                <a:uFillTx/>
              </a:endParaRPr>
            </a:p>
          </p:txBody>
        </p:sp>
        <p:sp>
          <p:nvSpPr>
            <p:cNvPr id="579" name="Freeform: Shape 578"/>
            <p:cNvSpPr/>
            <p:nvPr/>
          </p:nvSpPr>
          <p:spPr bwMode="auto">
            <a:xfrm>
              <a:off x="7498987" y="5416575"/>
              <a:ext cx="111993" cy="177820"/>
            </a:xfrm>
            <a:custGeom>
              <a:avLst/>
              <a:gdLst>
                <a:gd name="connsiteX0" fmla="*/ 57915 w 111993"/>
                <a:gd name="connsiteY0" fmla="*/ 0 h 177820"/>
                <a:gd name="connsiteX1" fmla="*/ 111993 w 111993"/>
                <a:gd name="connsiteY1" fmla="*/ 88130 h 177820"/>
                <a:gd name="connsiteX2" fmla="*/ 108096 w 111993"/>
                <a:gd name="connsiteY2" fmla="*/ 126380 h 177820"/>
                <a:gd name="connsiteX3" fmla="*/ 96825 w 111993"/>
                <a:gd name="connsiteY3" fmla="*/ 154499 h 177820"/>
                <a:gd name="connsiteX4" fmla="*/ 78719 w 111993"/>
                <a:gd name="connsiteY4" fmla="*/ 171885 h 177820"/>
                <a:gd name="connsiteX5" fmla="*/ 54318 w 111993"/>
                <a:gd name="connsiteY5" fmla="*/ 177820 h 177820"/>
                <a:gd name="connsiteX6" fmla="*/ 31236 w 111993"/>
                <a:gd name="connsiteY6" fmla="*/ 172124 h 177820"/>
                <a:gd name="connsiteX7" fmla="*/ 14149 w 111993"/>
                <a:gd name="connsiteY7" fmla="*/ 155518 h 177820"/>
                <a:gd name="connsiteX8" fmla="*/ 3597 w 111993"/>
                <a:gd name="connsiteY8" fmla="*/ 128719 h 177820"/>
                <a:gd name="connsiteX9" fmla="*/ 0 w 111993"/>
                <a:gd name="connsiteY9" fmla="*/ 92327 h 177820"/>
                <a:gd name="connsiteX10" fmla="*/ 3778 w 111993"/>
                <a:gd name="connsiteY10" fmla="*/ 52518 h 177820"/>
                <a:gd name="connsiteX11" fmla="*/ 14869 w 111993"/>
                <a:gd name="connsiteY11" fmla="*/ 23561 h 177820"/>
                <a:gd name="connsiteX12" fmla="*/ 33035 w 111993"/>
                <a:gd name="connsiteY12" fmla="*/ 5935 h 177820"/>
                <a:gd name="connsiteX13" fmla="*/ 57915 w 111993"/>
                <a:gd name="connsiteY13" fmla="*/ 0 h 177820"/>
                <a:gd name="connsiteX14" fmla="*/ 56956 w 111993"/>
                <a:gd name="connsiteY14" fmla="*/ 16667 h 177820"/>
                <a:gd name="connsiteX15" fmla="*/ 20145 w 111993"/>
                <a:gd name="connsiteY15" fmla="*/ 91368 h 177820"/>
                <a:gd name="connsiteX16" fmla="*/ 56237 w 111993"/>
                <a:gd name="connsiteY16" fmla="*/ 161033 h 177820"/>
                <a:gd name="connsiteX17" fmla="*/ 91849 w 111993"/>
                <a:gd name="connsiteY17" fmla="*/ 90049 h 177820"/>
                <a:gd name="connsiteX18" fmla="*/ 56956 w 111993"/>
                <a:gd name="connsiteY18" fmla="*/ 16667 h 1778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11993" h="177820">
                  <a:moveTo>
                    <a:pt x="57915" y="0"/>
                  </a:moveTo>
                  <a:cubicBezTo>
                    <a:pt x="93967" y="0"/>
                    <a:pt x="111993" y="29377"/>
                    <a:pt x="111993" y="88130"/>
                  </a:cubicBezTo>
                  <a:cubicBezTo>
                    <a:pt x="111993" y="102519"/>
                    <a:pt x="110694" y="115269"/>
                    <a:pt x="108096" y="126380"/>
                  </a:cubicBezTo>
                  <a:cubicBezTo>
                    <a:pt x="105498" y="137492"/>
                    <a:pt x="101741" y="146864"/>
                    <a:pt x="96825" y="154499"/>
                  </a:cubicBezTo>
                  <a:cubicBezTo>
                    <a:pt x="91908" y="162132"/>
                    <a:pt x="85873" y="167927"/>
                    <a:pt x="78719" y="171885"/>
                  </a:cubicBezTo>
                  <a:cubicBezTo>
                    <a:pt x="71564" y="175842"/>
                    <a:pt x="63431" y="177820"/>
                    <a:pt x="54318" y="177820"/>
                  </a:cubicBezTo>
                  <a:cubicBezTo>
                    <a:pt x="45685" y="177820"/>
                    <a:pt x="37991" y="175921"/>
                    <a:pt x="31236" y="172124"/>
                  </a:cubicBezTo>
                  <a:cubicBezTo>
                    <a:pt x="24481" y="168328"/>
                    <a:pt x="18786" y="162792"/>
                    <a:pt x="14149" y="155518"/>
                  </a:cubicBezTo>
                  <a:cubicBezTo>
                    <a:pt x="9513" y="148243"/>
                    <a:pt x="5996" y="139310"/>
                    <a:pt x="3597" y="128719"/>
                  </a:cubicBezTo>
                  <a:cubicBezTo>
                    <a:pt x="1200" y="118127"/>
                    <a:pt x="0" y="105997"/>
                    <a:pt x="0" y="92327"/>
                  </a:cubicBezTo>
                  <a:cubicBezTo>
                    <a:pt x="0" y="77299"/>
                    <a:pt x="1259" y="64029"/>
                    <a:pt x="3778" y="52518"/>
                  </a:cubicBezTo>
                  <a:cubicBezTo>
                    <a:pt x="6296" y="41007"/>
                    <a:pt x="9993" y="31355"/>
                    <a:pt x="14869" y="23561"/>
                  </a:cubicBezTo>
                  <a:cubicBezTo>
                    <a:pt x="19745" y="15768"/>
                    <a:pt x="25800" y="9892"/>
                    <a:pt x="33035" y="5935"/>
                  </a:cubicBezTo>
                  <a:cubicBezTo>
                    <a:pt x="40269" y="1978"/>
                    <a:pt x="48563" y="0"/>
                    <a:pt x="57915" y="0"/>
                  </a:cubicBezTo>
                  <a:close/>
                  <a:moveTo>
                    <a:pt x="56956" y="16667"/>
                  </a:moveTo>
                  <a:cubicBezTo>
                    <a:pt x="32415" y="16667"/>
                    <a:pt x="20145" y="41567"/>
                    <a:pt x="20145" y="91368"/>
                  </a:cubicBezTo>
                  <a:cubicBezTo>
                    <a:pt x="20145" y="137812"/>
                    <a:pt x="32175" y="161033"/>
                    <a:pt x="56237" y="161033"/>
                  </a:cubicBezTo>
                  <a:cubicBezTo>
                    <a:pt x="79978" y="161033"/>
                    <a:pt x="91849" y="137372"/>
                    <a:pt x="91849" y="90049"/>
                  </a:cubicBezTo>
                  <a:cubicBezTo>
                    <a:pt x="91849" y="41128"/>
                    <a:pt x="80217" y="16667"/>
                    <a:pt x="56956" y="16667"/>
                  </a:cubicBezTo>
                  <a:close/>
                </a:path>
              </a:pathLst>
            </a:cu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5439">
                      <a:srgbClr val="F8F8F8"/>
                    </a:gs>
                    <a:gs pos="10000">
                      <a:srgbClr val="F8F8F8"/>
                    </a:gs>
                  </a:gsLst>
                  <a:lin ang="5400000" scaled="0"/>
                </a:gradFill>
                <a:effectLst/>
                <a:uLnTx/>
                <a:uFillTx/>
              </a:endParaRPr>
            </a:p>
          </p:txBody>
        </p:sp>
        <p:sp>
          <p:nvSpPr>
            <p:cNvPr id="580" name="Freeform: Shape 579"/>
            <p:cNvSpPr/>
            <p:nvPr/>
          </p:nvSpPr>
          <p:spPr bwMode="auto">
            <a:xfrm>
              <a:off x="7335398" y="5329702"/>
              <a:ext cx="59473" cy="175782"/>
            </a:xfrm>
            <a:custGeom>
              <a:avLst/>
              <a:gdLst>
                <a:gd name="connsiteX0" fmla="*/ 52039 w 59473"/>
                <a:gd name="connsiteY0" fmla="*/ 0 h 175782"/>
                <a:gd name="connsiteX1" fmla="*/ 59473 w 59473"/>
                <a:gd name="connsiteY1" fmla="*/ 0 h 175782"/>
                <a:gd name="connsiteX2" fmla="*/ 59473 w 59473"/>
                <a:gd name="connsiteY2" fmla="*/ 175782 h 175782"/>
                <a:gd name="connsiteX3" fmla="*/ 39808 w 59473"/>
                <a:gd name="connsiteY3" fmla="*/ 175782 h 175782"/>
                <a:gd name="connsiteX4" fmla="*/ 39808 w 59473"/>
                <a:gd name="connsiteY4" fmla="*/ 27219 h 175782"/>
                <a:gd name="connsiteX5" fmla="*/ 33154 w 59473"/>
                <a:gd name="connsiteY5" fmla="*/ 32435 h 175782"/>
                <a:gd name="connsiteX6" fmla="*/ 23321 w 59473"/>
                <a:gd name="connsiteY6" fmla="*/ 38250 h 175782"/>
                <a:gd name="connsiteX7" fmla="*/ 11811 w 59473"/>
                <a:gd name="connsiteY7" fmla="*/ 43646 h 175782"/>
                <a:gd name="connsiteX8" fmla="*/ 0 w 59473"/>
                <a:gd name="connsiteY8" fmla="*/ 47603 h 175782"/>
                <a:gd name="connsiteX9" fmla="*/ 0 w 59473"/>
                <a:gd name="connsiteY9" fmla="*/ 27698 h 175782"/>
                <a:gd name="connsiteX10" fmla="*/ 13729 w 59473"/>
                <a:gd name="connsiteY10" fmla="*/ 22843 h 175782"/>
                <a:gd name="connsiteX11" fmla="*/ 27997 w 59473"/>
                <a:gd name="connsiteY11" fmla="*/ 16008 h 175782"/>
                <a:gd name="connsiteX12" fmla="*/ 41247 w 59473"/>
                <a:gd name="connsiteY12" fmla="*/ 8094 h 175782"/>
                <a:gd name="connsiteX13" fmla="*/ 52039 w 59473"/>
                <a:gd name="connsiteY13" fmla="*/ 0 h 1757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9473" h="175782">
                  <a:moveTo>
                    <a:pt x="52039" y="0"/>
                  </a:moveTo>
                  <a:lnTo>
                    <a:pt x="59473" y="0"/>
                  </a:lnTo>
                  <a:lnTo>
                    <a:pt x="59473" y="175782"/>
                  </a:lnTo>
                  <a:lnTo>
                    <a:pt x="39808" y="175782"/>
                  </a:lnTo>
                  <a:lnTo>
                    <a:pt x="39808" y="27219"/>
                  </a:lnTo>
                  <a:cubicBezTo>
                    <a:pt x="38290" y="28738"/>
                    <a:pt x="36071" y="30476"/>
                    <a:pt x="33154" y="32435"/>
                  </a:cubicBezTo>
                  <a:cubicBezTo>
                    <a:pt x="30236" y="34393"/>
                    <a:pt x="26959" y="36332"/>
                    <a:pt x="23321" y="38250"/>
                  </a:cubicBezTo>
                  <a:cubicBezTo>
                    <a:pt x="19684" y="40168"/>
                    <a:pt x="15847" y="41967"/>
                    <a:pt x="11811" y="43646"/>
                  </a:cubicBezTo>
                  <a:cubicBezTo>
                    <a:pt x="7773" y="45325"/>
                    <a:pt x="3837" y="46644"/>
                    <a:pt x="0" y="47603"/>
                  </a:cubicBezTo>
                  <a:lnTo>
                    <a:pt x="0" y="27698"/>
                  </a:lnTo>
                  <a:cubicBezTo>
                    <a:pt x="4316" y="26499"/>
                    <a:pt x="8893" y="24881"/>
                    <a:pt x="13729" y="22843"/>
                  </a:cubicBezTo>
                  <a:cubicBezTo>
                    <a:pt x="18565" y="20804"/>
                    <a:pt x="23321" y="18526"/>
                    <a:pt x="27997" y="16008"/>
                  </a:cubicBezTo>
                  <a:cubicBezTo>
                    <a:pt x="32674" y="13490"/>
                    <a:pt x="37090" y="10852"/>
                    <a:pt x="41247" y="8094"/>
                  </a:cubicBezTo>
                  <a:cubicBezTo>
                    <a:pt x="45404" y="5336"/>
                    <a:pt x="49001" y="2638"/>
                    <a:pt x="52039" y="0"/>
                  </a:cubicBezTo>
                  <a:close/>
                </a:path>
              </a:pathLst>
            </a:cu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5439">
                      <a:srgbClr val="F8F8F8"/>
                    </a:gs>
                    <a:gs pos="10000">
                      <a:srgbClr val="F8F8F8"/>
                    </a:gs>
                  </a:gsLst>
                  <a:lin ang="5400000" scaled="0"/>
                </a:gradFill>
                <a:effectLst/>
                <a:uLnTx/>
                <a:uFillTx/>
              </a:endParaRPr>
            </a:p>
          </p:txBody>
        </p:sp>
        <p:sp>
          <p:nvSpPr>
            <p:cNvPr id="582" name="Freeform: Shape 581"/>
            <p:cNvSpPr/>
            <p:nvPr/>
          </p:nvSpPr>
          <p:spPr bwMode="auto">
            <a:xfrm>
              <a:off x="7211563" y="5805751"/>
              <a:ext cx="59473" cy="175782"/>
            </a:xfrm>
            <a:custGeom>
              <a:avLst/>
              <a:gdLst>
                <a:gd name="connsiteX0" fmla="*/ 52039 w 59473"/>
                <a:gd name="connsiteY0" fmla="*/ 0 h 175782"/>
                <a:gd name="connsiteX1" fmla="*/ 59473 w 59473"/>
                <a:gd name="connsiteY1" fmla="*/ 0 h 175782"/>
                <a:gd name="connsiteX2" fmla="*/ 59473 w 59473"/>
                <a:gd name="connsiteY2" fmla="*/ 175782 h 175782"/>
                <a:gd name="connsiteX3" fmla="*/ 39808 w 59473"/>
                <a:gd name="connsiteY3" fmla="*/ 175782 h 175782"/>
                <a:gd name="connsiteX4" fmla="*/ 39808 w 59473"/>
                <a:gd name="connsiteY4" fmla="*/ 27219 h 175782"/>
                <a:gd name="connsiteX5" fmla="*/ 33154 w 59473"/>
                <a:gd name="connsiteY5" fmla="*/ 32435 h 175782"/>
                <a:gd name="connsiteX6" fmla="*/ 23321 w 59473"/>
                <a:gd name="connsiteY6" fmla="*/ 38250 h 175782"/>
                <a:gd name="connsiteX7" fmla="*/ 11811 w 59473"/>
                <a:gd name="connsiteY7" fmla="*/ 43646 h 175782"/>
                <a:gd name="connsiteX8" fmla="*/ 0 w 59473"/>
                <a:gd name="connsiteY8" fmla="*/ 47603 h 175782"/>
                <a:gd name="connsiteX9" fmla="*/ 0 w 59473"/>
                <a:gd name="connsiteY9" fmla="*/ 27698 h 175782"/>
                <a:gd name="connsiteX10" fmla="*/ 13729 w 59473"/>
                <a:gd name="connsiteY10" fmla="*/ 22843 h 175782"/>
                <a:gd name="connsiteX11" fmla="*/ 27997 w 59473"/>
                <a:gd name="connsiteY11" fmla="*/ 16008 h 175782"/>
                <a:gd name="connsiteX12" fmla="*/ 41247 w 59473"/>
                <a:gd name="connsiteY12" fmla="*/ 8094 h 175782"/>
                <a:gd name="connsiteX13" fmla="*/ 52039 w 59473"/>
                <a:gd name="connsiteY13" fmla="*/ 0 h 1757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9473" h="175782">
                  <a:moveTo>
                    <a:pt x="52039" y="0"/>
                  </a:moveTo>
                  <a:lnTo>
                    <a:pt x="59473" y="0"/>
                  </a:lnTo>
                  <a:lnTo>
                    <a:pt x="59473" y="175782"/>
                  </a:lnTo>
                  <a:lnTo>
                    <a:pt x="39808" y="175782"/>
                  </a:lnTo>
                  <a:lnTo>
                    <a:pt x="39808" y="27219"/>
                  </a:lnTo>
                  <a:cubicBezTo>
                    <a:pt x="38290" y="28738"/>
                    <a:pt x="36071" y="30476"/>
                    <a:pt x="33154" y="32435"/>
                  </a:cubicBezTo>
                  <a:cubicBezTo>
                    <a:pt x="30236" y="34393"/>
                    <a:pt x="26959" y="36332"/>
                    <a:pt x="23321" y="38250"/>
                  </a:cubicBezTo>
                  <a:cubicBezTo>
                    <a:pt x="19684" y="40168"/>
                    <a:pt x="15847" y="41967"/>
                    <a:pt x="11811" y="43646"/>
                  </a:cubicBezTo>
                  <a:cubicBezTo>
                    <a:pt x="7773" y="45325"/>
                    <a:pt x="3837" y="46644"/>
                    <a:pt x="0" y="47603"/>
                  </a:cubicBezTo>
                  <a:lnTo>
                    <a:pt x="0" y="27698"/>
                  </a:lnTo>
                  <a:cubicBezTo>
                    <a:pt x="4316" y="26499"/>
                    <a:pt x="8893" y="24881"/>
                    <a:pt x="13729" y="22843"/>
                  </a:cubicBezTo>
                  <a:cubicBezTo>
                    <a:pt x="18565" y="20804"/>
                    <a:pt x="23321" y="18526"/>
                    <a:pt x="27997" y="16008"/>
                  </a:cubicBezTo>
                  <a:cubicBezTo>
                    <a:pt x="32674" y="13490"/>
                    <a:pt x="37090" y="10852"/>
                    <a:pt x="41247" y="8094"/>
                  </a:cubicBezTo>
                  <a:cubicBezTo>
                    <a:pt x="45404" y="5336"/>
                    <a:pt x="49001" y="2638"/>
                    <a:pt x="52039" y="0"/>
                  </a:cubicBezTo>
                  <a:close/>
                </a:path>
              </a:pathLst>
            </a:cu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5439">
                      <a:srgbClr val="F8F8F8"/>
                    </a:gs>
                    <a:gs pos="10000">
                      <a:srgbClr val="F8F8F8"/>
                    </a:gs>
                  </a:gsLst>
                  <a:lin ang="5400000" scaled="0"/>
                </a:gradFill>
                <a:effectLst/>
                <a:uLnTx/>
                <a:uFillTx/>
              </a:endParaRPr>
            </a:p>
          </p:txBody>
        </p:sp>
        <p:sp>
          <p:nvSpPr>
            <p:cNvPr id="583" name="Freeform: Shape 582"/>
            <p:cNvSpPr/>
            <p:nvPr/>
          </p:nvSpPr>
          <p:spPr bwMode="auto">
            <a:xfrm>
              <a:off x="7930177" y="5466665"/>
              <a:ext cx="59473" cy="175782"/>
            </a:xfrm>
            <a:custGeom>
              <a:avLst/>
              <a:gdLst>
                <a:gd name="connsiteX0" fmla="*/ 52039 w 59473"/>
                <a:gd name="connsiteY0" fmla="*/ 0 h 175782"/>
                <a:gd name="connsiteX1" fmla="*/ 59473 w 59473"/>
                <a:gd name="connsiteY1" fmla="*/ 0 h 175782"/>
                <a:gd name="connsiteX2" fmla="*/ 59473 w 59473"/>
                <a:gd name="connsiteY2" fmla="*/ 175782 h 175782"/>
                <a:gd name="connsiteX3" fmla="*/ 39809 w 59473"/>
                <a:gd name="connsiteY3" fmla="*/ 175782 h 175782"/>
                <a:gd name="connsiteX4" fmla="*/ 39809 w 59473"/>
                <a:gd name="connsiteY4" fmla="*/ 27219 h 175782"/>
                <a:gd name="connsiteX5" fmla="*/ 33154 w 59473"/>
                <a:gd name="connsiteY5" fmla="*/ 32435 h 175782"/>
                <a:gd name="connsiteX6" fmla="*/ 23322 w 59473"/>
                <a:gd name="connsiteY6" fmla="*/ 38250 h 175782"/>
                <a:gd name="connsiteX7" fmla="*/ 11811 w 59473"/>
                <a:gd name="connsiteY7" fmla="*/ 43646 h 175782"/>
                <a:gd name="connsiteX8" fmla="*/ 0 w 59473"/>
                <a:gd name="connsiteY8" fmla="*/ 47603 h 175782"/>
                <a:gd name="connsiteX9" fmla="*/ 0 w 59473"/>
                <a:gd name="connsiteY9" fmla="*/ 27698 h 175782"/>
                <a:gd name="connsiteX10" fmla="*/ 13729 w 59473"/>
                <a:gd name="connsiteY10" fmla="*/ 22843 h 175782"/>
                <a:gd name="connsiteX11" fmla="*/ 27998 w 59473"/>
                <a:gd name="connsiteY11" fmla="*/ 16008 h 175782"/>
                <a:gd name="connsiteX12" fmla="*/ 41248 w 59473"/>
                <a:gd name="connsiteY12" fmla="*/ 8094 h 175782"/>
                <a:gd name="connsiteX13" fmla="*/ 52039 w 59473"/>
                <a:gd name="connsiteY13" fmla="*/ 0 h 1757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9473" h="175782">
                  <a:moveTo>
                    <a:pt x="52039" y="0"/>
                  </a:moveTo>
                  <a:lnTo>
                    <a:pt x="59473" y="0"/>
                  </a:lnTo>
                  <a:lnTo>
                    <a:pt x="59473" y="175782"/>
                  </a:lnTo>
                  <a:lnTo>
                    <a:pt x="39809" y="175782"/>
                  </a:lnTo>
                  <a:lnTo>
                    <a:pt x="39809" y="27219"/>
                  </a:lnTo>
                  <a:cubicBezTo>
                    <a:pt x="38290" y="28738"/>
                    <a:pt x="36071" y="30476"/>
                    <a:pt x="33154" y="32435"/>
                  </a:cubicBezTo>
                  <a:cubicBezTo>
                    <a:pt x="30237" y="34393"/>
                    <a:pt x="26959" y="36332"/>
                    <a:pt x="23322" y="38250"/>
                  </a:cubicBezTo>
                  <a:cubicBezTo>
                    <a:pt x="19685" y="40168"/>
                    <a:pt x="15847" y="41967"/>
                    <a:pt x="11811" y="43646"/>
                  </a:cubicBezTo>
                  <a:cubicBezTo>
                    <a:pt x="7774" y="45325"/>
                    <a:pt x="3837" y="46644"/>
                    <a:pt x="0" y="47603"/>
                  </a:cubicBezTo>
                  <a:lnTo>
                    <a:pt x="0" y="27698"/>
                  </a:lnTo>
                  <a:cubicBezTo>
                    <a:pt x="4317" y="26499"/>
                    <a:pt x="8893" y="24881"/>
                    <a:pt x="13729" y="22843"/>
                  </a:cubicBezTo>
                  <a:cubicBezTo>
                    <a:pt x="18566" y="20804"/>
                    <a:pt x="23322" y="18526"/>
                    <a:pt x="27998" y="16008"/>
                  </a:cubicBezTo>
                  <a:cubicBezTo>
                    <a:pt x="32675" y="13490"/>
                    <a:pt x="37091" y="10852"/>
                    <a:pt x="41248" y="8094"/>
                  </a:cubicBezTo>
                  <a:cubicBezTo>
                    <a:pt x="45404" y="5336"/>
                    <a:pt x="49001" y="2638"/>
                    <a:pt x="52039" y="0"/>
                  </a:cubicBezTo>
                  <a:close/>
                </a:path>
              </a:pathLst>
            </a:cu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5439">
                      <a:srgbClr val="F8F8F8"/>
                    </a:gs>
                    <a:gs pos="10000">
                      <a:srgbClr val="F8F8F8"/>
                    </a:gs>
                  </a:gsLst>
                  <a:lin ang="5400000" scaled="0"/>
                </a:gradFill>
                <a:effectLst/>
                <a:uLnTx/>
                <a:uFillTx/>
              </a:endParaRPr>
            </a:p>
          </p:txBody>
        </p:sp>
        <p:sp>
          <p:nvSpPr>
            <p:cNvPr id="584" name="Freeform 206"/>
            <p:cNvSpPr/>
            <p:nvPr/>
          </p:nvSpPr>
          <p:spPr>
            <a:xfrm>
              <a:off x="7633738" y="5322439"/>
              <a:ext cx="206348" cy="148164"/>
            </a:xfrm>
            <a:custGeom>
              <a:avLst/>
              <a:gdLst>
                <a:gd name="connsiteX0" fmla="*/ 3620186 w 5996789"/>
                <a:gd name="connsiteY0" fmla="*/ 3312946 h 4305921"/>
                <a:gd name="connsiteX1" fmla="*/ 3776214 w 5996789"/>
                <a:gd name="connsiteY1" fmla="*/ 3646776 h 4305921"/>
                <a:gd name="connsiteX2" fmla="*/ 3756257 w 5996789"/>
                <a:gd name="connsiteY2" fmla="*/ 3915289 h 4305921"/>
                <a:gd name="connsiteX3" fmla="*/ 3816129 w 5996789"/>
                <a:gd name="connsiteY3" fmla="*/ 4107603 h 4305921"/>
                <a:gd name="connsiteX4" fmla="*/ 3482300 w 5996789"/>
                <a:gd name="connsiteY4" fmla="*/ 4180175 h 4305921"/>
                <a:gd name="connsiteX5" fmla="*/ 3148472 w 5996789"/>
                <a:gd name="connsiteY5" fmla="*/ 4111232 h 4305921"/>
                <a:gd name="connsiteX6" fmla="*/ 3620186 w 5996789"/>
                <a:gd name="connsiteY6" fmla="*/ 3312946 h 4305921"/>
                <a:gd name="connsiteX7" fmla="*/ 365356 w 5996789"/>
                <a:gd name="connsiteY7" fmla="*/ 2979119 h 4305921"/>
                <a:gd name="connsiteX8" fmla="*/ 706442 w 5996789"/>
                <a:gd name="connsiteY8" fmla="*/ 3683062 h 4305921"/>
                <a:gd name="connsiteX9" fmla="*/ 525013 w 5996789"/>
                <a:gd name="connsiteY9" fmla="*/ 3830018 h 4305921"/>
                <a:gd name="connsiteX10" fmla="*/ 87771 w 5996789"/>
                <a:gd name="connsiteY10" fmla="*/ 3390962 h 4305921"/>
                <a:gd name="connsiteX11" fmla="*/ 365356 w 5996789"/>
                <a:gd name="connsiteY11" fmla="*/ 2979119 h 4305921"/>
                <a:gd name="connsiteX12" fmla="*/ 4139073 w 5996789"/>
                <a:gd name="connsiteY12" fmla="*/ 1036923 h 4305921"/>
                <a:gd name="connsiteX13" fmla="*/ 3651029 w 5996789"/>
                <a:gd name="connsiteY13" fmla="*/ 1406131 h 4305921"/>
                <a:gd name="connsiteX14" fmla="*/ 3748999 w 5996789"/>
                <a:gd name="connsiteY14" fmla="*/ 1323583 h 4305921"/>
                <a:gd name="connsiteX15" fmla="*/ 3907276 w 5996789"/>
                <a:gd name="connsiteY15" fmla="*/ 1465171 h 4305921"/>
                <a:gd name="connsiteX16" fmla="*/ 3805244 w 5996789"/>
                <a:gd name="connsiteY16" fmla="*/ 1620218 h 4305921"/>
                <a:gd name="connsiteX17" fmla="*/ 4338644 w 5996789"/>
                <a:gd name="connsiteY17" fmla="*/ 1230145 h 4305921"/>
                <a:gd name="connsiteX18" fmla="*/ 4198682 w 5996789"/>
                <a:gd name="connsiteY18" fmla="*/ 1265252 h 4305921"/>
                <a:gd name="connsiteX19" fmla="*/ 4057883 w 5996789"/>
                <a:gd name="connsiteY19" fmla="*/ 1094980 h 4305921"/>
                <a:gd name="connsiteX20" fmla="*/ 4139073 w 5996789"/>
                <a:gd name="connsiteY20" fmla="*/ 1036923 h 4305921"/>
                <a:gd name="connsiteX21" fmla="*/ 3598662 w 5996789"/>
                <a:gd name="connsiteY21" fmla="*/ 703111 h 4305921"/>
                <a:gd name="connsiteX22" fmla="*/ 3426057 w 5996789"/>
                <a:gd name="connsiteY22" fmla="*/ 1114030 h 4305921"/>
                <a:gd name="connsiteX23" fmla="*/ 3810686 w 5996789"/>
                <a:gd name="connsiteY23" fmla="*/ 729401 h 4305921"/>
                <a:gd name="connsiteX24" fmla="*/ 3645133 w 5996789"/>
                <a:gd name="connsiteY24" fmla="*/ 703859 h 4305921"/>
                <a:gd name="connsiteX25" fmla="*/ 3598662 w 5996789"/>
                <a:gd name="connsiteY25" fmla="*/ 703111 h 4305921"/>
                <a:gd name="connsiteX26" fmla="*/ 5685617 w 5996789"/>
                <a:gd name="connsiteY26" fmla="*/ 254049 h 4305921"/>
                <a:gd name="connsiteX27" fmla="*/ 5497832 w 5996789"/>
                <a:gd name="connsiteY27" fmla="*/ 442881 h 4305921"/>
                <a:gd name="connsiteX28" fmla="*/ 5271218 w 5996789"/>
                <a:gd name="connsiteY28" fmla="*/ 577718 h 4305921"/>
                <a:gd name="connsiteX29" fmla="*/ 5518876 w 5996789"/>
                <a:gd name="connsiteY29" fmla="*/ 537204 h 4305921"/>
                <a:gd name="connsiteX30" fmla="*/ 5685617 w 5996789"/>
                <a:gd name="connsiteY30" fmla="*/ 254049 h 4305921"/>
                <a:gd name="connsiteX31" fmla="*/ 3607485 w 5996789"/>
                <a:gd name="connsiteY31" fmla="*/ 63 h 4305921"/>
                <a:gd name="connsiteX32" fmla="*/ 4469272 w 5996789"/>
                <a:gd name="connsiteY32" fmla="*/ 528019 h 4305921"/>
                <a:gd name="connsiteX33" fmla="*/ 4312109 w 5996789"/>
                <a:gd name="connsiteY33" fmla="*/ 576495 h 4305921"/>
                <a:gd name="connsiteX34" fmla="*/ 4311926 w 5996789"/>
                <a:gd name="connsiteY34" fmla="*/ 576976 h 4305921"/>
                <a:gd name="connsiteX35" fmla="*/ 4334277 w 5996789"/>
                <a:gd name="connsiteY35" fmla="*/ 578166 h 4305921"/>
                <a:gd name="connsiteX36" fmla="*/ 4576315 w 5996789"/>
                <a:gd name="connsiteY36" fmla="*/ 607845 h 4305921"/>
                <a:gd name="connsiteX37" fmla="*/ 4808543 w 5996789"/>
                <a:gd name="connsiteY37" fmla="*/ 903574 h 4305921"/>
                <a:gd name="connsiteX38" fmla="*/ 4579944 w 5996789"/>
                <a:gd name="connsiteY38" fmla="*/ 956188 h 4305921"/>
                <a:gd name="connsiteX39" fmla="*/ 4532643 w 5996789"/>
                <a:gd name="connsiteY39" fmla="*/ 970068 h 4305921"/>
                <a:gd name="connsiteX40" fmla="*/ 4501091 w 5996789"/>
                <a:gd name="connsiteY40" fmla="*/ 981396 h 4305921"/>
                <a:gd name="connsiteX41" fmla="*/ 4539462 w 5996789"/>
                <a:gd name="connsiteY41" fmla="*/ 981135 h 4305921"/>
                <a:gd name="connsiteX42" fmla="*/ 4677915 w 5996789"/>
                <a:gd name="connsiteY42" fmla="*/ 1045089 h 4305921"/>
                <a:gd name="connsiteX43" fmla="*/ 4608972 w 5996789"/>
                <a:gd name="connsiteY43" fmla="*/ 1202932 h 4305921"/>
                <a:gd name="connsiteX44" fmla="*/ 4848457 w 5996789"/>
                <a:gd name="connsiteY44" fmla="*/ 1204746 h 4305921"/>
                <a:gd name="connsiteX45" fmla="*/ 4821243 w 5996789"/>
                <a:gd name="connsiteY45" fmla="*/ 1417018 h 4305921"/>
                <a:gd name="connsiteX46" fmla="*/ 5077057 w 5996789"/>
                <a:gd name="connsiteY46" fmla="*/ 1368032 h 4305921"/>
                <a:gd name="connsiteX47" fmla="*/ 5011488 w 5996789"/>
                <a:gd name="connsiteY47" fmla="*/ 1756176 h 4305921"/>
                <a:gd name="connsiteX48" fmla="*/ 5005149 w 5996789"/>
                <a:gd name="connsiteY48" fmla="*/ 1768400 h 4305921"/>
                <a:gd name="connsiteX49" fmla="*/ 5035260 w 5996789"/>
                <a:gd name="connsiteY49" fmla="*/ 1744642 h 4305921"/>
                <a:gd name="connsiteX50" fmla="*/ 5207688 w 5996789"/>
                <a:gd name="connsiteY50" fmla="*/ 508059 h 4305921"/>
                <a:gd name="connsiteX51" fmla="*/ 5483459 w 5996789"/>
                <a:gd name="connsiteY51" fmla="*/ 368360 h 4305921"/>
                <a:gd name="connsiteX52" fmla="*/ 5672145 w 5996789"/>
                <a:gd name="connsiteY52" fmla="*/ 150645 h 4305921"/>
                <a:gd name="connsiteX53" fmla="*/ 5430845 w 5996789"/>
                <a:gd name="connsiteY53" fmla="*/ 2532803 h 4305921"/>
                <a:gd name="connsiteX54" fmla="*/ 3971108 w 5996789"/>
                <a:gd name="connsiteY54" fmla="*/ 2163716 h 4305921"/>
                <a:gd name="connsiteX55" fmla="*/ 3935466 w 5996789"/>
                <a:gd name="connsiteY55" fmla="*/ 2124873 h 4305921"/>
                <a:gd name="connsiteX56" fmla="*/ 3916664 w 5996789"/>
                <a:gd name="connsiteY56" fmla="*/ 2222014 h 4305921"/>
                <a:gd name="connsiteX57" fmla="*/ 4481972 w 5996789"/>
                <a:gd name="connsiteY57" fmla="*/ 2672504 h 4305921"/>
                <a:gd name="connsiteX58" fmla="*/ 4549100 w 5996789"/>
                <a:gd name="connsiteY58" fmla="*/ 2677947 h 4305921"/>
                <a:gd name="connsiteX59" fmla="*/ 4122743 w 5996789"/>
                <a:gd name="connsiteY59" fmla="*/ 3051690 h 4305921"/>
                <a:gd name="connsiteX60" fmla="*/ 3689129 w 5996789"/>
                <a:gd name="connsiteY60" fmla="*/ 2757776 h 4305921"/>
                <a:gd name="connsiteX61" fmla="*/ 3299285 w 5996789"/>
                <a:gd name="connsiteY61" fmla="*/ 2541933 h 4305921"/>
                <a:gd name="connsiteX62" fmla="*/ 3246026 w 5996789"/>
                <a:gd name="connsiteY62" fmla="*/ 2508407 h 4305921"/>
                <a:gd name="connsiteX63" fmla="*/ 3249973 w 5996789"/>
                <a:gd name="connsiteY63" fmla="*/ 2518743 h 4305921"/>
                <a:gd name="connsiteX64" fmla="*/ 3592971 w 5996789"/>
                <a:gd name="connsiteY64" fmla="*/ 2890218 h 4305921"/>
                <a:gd name="connsiteX65" fmla="*/ 3204714 w 5996789"/>
                <a:gd name="connsiteY65" fmla="*/ 3741118 h 4305921"/>
                <a:gd name="connsiteX66" fmla="*/ 2491699 w 5996789"/>
                <a:gd name="connsiteY66" fmla="*/ 4305361 h 4305921"/>
                <a:gd name="connsiteX67" fmla="*/ 2107071 w 5996789"/>
                <a:gd name="connsiteY67" fmla="*/ 3839089 h 4305921"/>
                <a:gd name="connsiteX68" fmla="*/ 2453599 w 5996789"/>
                <a:gd name="connsiteY68" fmla="*/ 3581461 h 4305921"/>
                <a:gd name="connsiteX69" fmla="*/ 2435456 w 5996789"/>
                <a:gd name="connsiteY69" fmla="*/ 3302061 h 4305921"/>
                <a:gd name="connsiteX70" fmla="*/ 1634637 w 5996789"/>
                <a:gd name="connsiteY70" fmla="*/ 3346858 h 4305921"/>
                <a:gd name="connsiteX71" fmla="*/ 1602322 w 5996789"/>
                <a:gd name="connsiteY71" fmla="*/ 3309232 h 4305921"/>
                <a:gd name="connsiteX72" fmla="*/ 1606556 w 5996789"/>
                <a:gd name="connsiteY72" fmla="*/ 3424752 h 4305921"/>
                <a:gd name="connsiteX73" fmla="*/ 1600886 w 5996789"/>
                <a:gd name="connsiteY73" fmla="*/ 3732046 h 4305921"/>
                <a:gd name="connsiteX74" fmla="*/ 1466629 w 5996789"/>
                <a:gd name="connsiteY74" fmla="*/ 4020518 h 4305921"/>
                <a:gd name="connsiteX75" fmla="*/ 1443043 w 5996789"/>
                <a:gd name="connsiteY75" fmla="*/ 4241861 h 4305921"/>
                <a:gd name="connsiteX76" fmla="*/ 748172 w 5996789"/>
                <a:gd name="connsiteY76" fmla="*/ 4107603 h 4305921"/>
                <a:gd name="connsiteX77" fmla="*/ 815300 w 5996789"/>
                <a:gd name="connsiteY77" fmla="*/ 3877189 h 4305921"/>
                <a:gd name="connsiteX78" fmla="*/ 843790 w 5996789"/>
                <a:gd name="connsiteY78" fmla="*/ 3603771 h 4305921"/>
                <a:gd name="connsiteX79" fmla="*/ 844480 w 5996789"/>
                <a:gd name="connsiteY79" fmla="*/ 3586118 h 4305921"/>
                <a:gd name="connsiteX80" fmla="*/ 824913 w 5996789"/>
                <a:gd name="connsiteY80" fmla="*/ 3548501 h 4305921"/>
                <a:gd name="connsiteX81" fmla="*/ 454256 w 5996789"/>
                <a:gd name="connsiteY81" fmla="*/ 2111888 h 4305921"/>
                <a:gd name="connsiteX82" fmla="*/ 56504 w 5996789"/>
                <a:gd name="connsiteY82" fmla="*/ 1830221 h 4305921"/>
                <a:gd name="connsiteX83" fmla="*/ 54019 w 5996789"/>
                <a:gd name="connsiteY83" fmla="*/ 1806341 h 4305921"/>
                <a:gd name="connsiteX84" fmla="*/ 37275 w 5996789"/>
                <a:gd name="connsiteY84" fmla="*/ 1798303 h 4305921"/>
                <a:gd name="connsiteX85" fmla="*/ 243799 w 5996789"/>
                <a:gd name="connsiteY85" fmla="*/ 1386174 h 4305921"/>
                <a:gd name="connsiteX86" fmla="*/ 163929 w 5996789"/>
                <a:gd name="connsiteY86" fmla="*/ 1788332 h 4305921"/>
                <a:gd name="connsiteX87" fmla="*/ 142519 w 5996789"/>
                <a:gd name="connsiteY87" fmla="*/ 1800347 h 4305921"/>
                <a:gd name="connsiteX88" fmla="*/ 215750 w 5996789"/>
                <a:gd name="connsiteY88" fmla="*/ 1866280 h 4305921"/>
                <a:gd name="connsiteX89" fmla="*/ 1833113 w 5996789"/>
                <a:gd name="connsiteY89" fmla="*/ 909016 h 4305921"/>
                <a:gd name="connsiteX90" fmla="*/ 1221699 w 5996789"/>
                <a:gd name="connsiteY90" fmla="*/ 1841560 h 4305921"/>
                <a:gd name="connsiteX91" fmla="*/ 1566414 w 5996789"/>
                <a:gd name="connsiteY91" fmla="*/ 2387660 h 4305921"/>
                <a:gd name="connsiteX92" fmla="*/ 1443596 w 5996789"/>
                <a:gd name="connsiteY92" fmla="*/ 2565531 h 4305921"/>
                <a:gd name="connsiteX93" fmla="*/ 1408805 w 5996789"/>
                <a:gd name="connsiteY93" fmla="*/ 2623667 h 4305921"/>
                <a:gd name="connsiteX94" fmla="*/ 1418054 w 5996789"/>
                <a:gd name="connsiteY94" fmla="*/ 2635650 h 4305921"/>
                <a:gd name="connsiteX95" fmla="*/ 1869399 w 5996789"/>
                <a:gd name="connsiteY95" fmla="*/ 2993632 h 4305921"/>
                <a:gd name="connsiteX96" fmla="*/ 2661931 w 5996789"/>
                <a:gd name="connsiteY96" fmla="*/ 2671568 h 4305921"/>
                <a:gd name="connsiteX97" fmla="*/ 2673961 w 5996789"/>
                <a:gd name="connsiteY97" fmla="*/ 2670522 h 4305921"/>
                <a:gd name="connsiteX98" fmla="*/ 2693882 w 5996789"/>
                <a:gd name="connsiteY98" fmla="*/ 2665877 h 4305921"/>
                <a:gd name="connsiteX99" fmla="*/ 2830675 w 5996789"/>
                <a:gd name="connsiteY99" fmla="*/ 2670514 h 4305921"/>
                <a:gd name="connsiteX100" fmla="*/ 2846154 w 5996789"/>
                <a:gd name="connsiteY100" fmla="*/ 2674100 h 4305921"/>
                <a:gd name="connsiteX101" fmla="*/ 2901383 w 5996789"/>
                <a:gd name="connsiteY101" fmla="*/ 2682721 h 4305921"/>
                <a:gd name="connsiteX102" fmla="*/ 2955302 w 5996789"/>
                <a:gd name="connsiteY102" fmla="*/ 2696508 h 4305921"/>
                <a:gd name="connsiteX103" fmla="*/ 2997886 w 5996789"/>
                <a:gd name="connsiteY103" fmla="*/ 2703485 h 4305921"/>
                <a:gd name="connsiteX104" fmla="*/ 2983232 w 5996789"/>
                <a:gd name="connsiteY104" fmla="*/ 1129662 h 4305921"/>
                <a:gd name="connsiteX105" fmla="*/ 2857209 w 5996789"/>
                <a:gd name="connsiteY105" fmla="*/ 2524708 h 4305921"/>
                <a:gd name="connsiteX106" fmla="*/ 2505517 w 5996789"/>
                <a:gd name="connsiteY106" fmla="*/ 2559877 h 4305921"/>
                <a:gd name="connsiteX107" fmla="*/ 1956905 w 5996789"/>
                <a:gd name="connsiteY107" fmla="*/ 2831462 h 4305921"/>
                <a:gd name="connsiteX108" fmla="*/ 1635078 w 5996789"/>
                <a:gd name="connsiteY108" fmla="*/ 2641939 h 4305921"/>
                <a:gd name="connsiteX109" fmla="*/ 1977978 w 5996789"/>
                <a:gd name="connsiteY109" fmla="*/ 1932693 h 4305921"/>
                <a:gd name="connsiteX110" fmla="*/ 1684901 w 5996789"/>
                <a:gd name="connsiteY110" fmla="*/ 2266800 h 4305921"/>
                <a:gd name="connsiteX111" fmla="*/ 1402431 w 5996789"/>
                <a:gd name="connsiteY111" fmla="*/ 1820068 h 4305921"/>
                <a:gd name="connsiteX112" fmla="*/ 2341394 w 5996789"/>
                <a:gd name="connsiteY112" fmla="*/ 602123 h 4305921"/>
                <a:gd name="connsiteX113" fmla="*/ 2838365 w 5996789"/>
                <a:gd name="connsiteY113" fmla="*/ 498745 h 4305921"/>
                <a:gd name="connsiteX114" fmla="*/ 2887056 w 5996789"/>
                <a:gd name="connsiteY114" fmla="*/ 485499 h 4305921"/>
                <a:gd name="connsiteX115" fmla="*/ 2875393 w 5996789"/>
                <a:gd name="connsiteY115" fmla="*/ 483824 h 4305921"/>
                <a:gd name="connsiteX116" fmla="*/ 2587857 w 5996789"/>
                <a:gd name="connsiteY116" fmla="*/ 477219 h 4305921"/>
                <a:gd name="connsiteX117" fmla="*/ 3607485 w 5996789"/>
                <a:gd name="connsiteY117" fmla="*/ 63 h 43059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Lst>
              <a:rect l="l" t="t" r="r" b="b"/>
              <a:pathLst>
                <a:path w="5996789" h="4305921">
                  <a:moveTo>
                    <a:pt x="3620186" y="3312946"/>
                  </a:moveTo>
                  <a:cubicBezTo>
                    <a:pt x="3686709" y="3387937"/>
                    <a:pt x="3753536" y="3546386"/>
                    <a:pt x="3776214" y="3646776"/>
                  </a:cubicBezTo>
                  <a:cubicBezTo>
                    <a:pt x="3798892" y="3747166"/>
                    <a:pt x="3740533" y="3840299"/>
                    <a:pt x="3756257" y="3915289"/>
                  </a:cubicBezTo>
                  <a:cubicBezTo>
                    <a:pt x="3787099" y="3983627"/>
                    <a:pt x="3836087" y="4037451"/>
                    <a:pt x="3816129" y="4107603"/>
                  </a:cubicBezTo>
                  <a:cubicBezTo>
                    <a:pt x="3786497" y="4209505"/>
                    <a:pt x="3593576" y="4179570"/>
                    <a:pt x="3482300" y="4180175"/>
                  </a:cubicBezTo>
                  <a:cubicBezTo>
                    <a:pt x="3371024" y="4180780"/>
                    <a:pt x="3120653" y="4260608"/>
                    <a:pt x="3148472" y="4111232"/>
                  </a:cubicBezTo>
                  <a:cubicBezTo>
                    <a:pt x="3423638" y="3906823"/>
                    <a:pt x="3528262" y="3677012"/>
                    <a:pt x="3620186" y="3312946"/>
                  </a:cubicBezTo>
                  <a:close/>
                  <a:moveTo>
                    <a:pt x="365356" y="2979119"/>
                  </a:moveTo>
                  <a:cubicBezTo>
                    <a:pt x="473608" y="3331695"/>
                    <a:pt x="541947" y="3450228"/>
                    <a:pt x="706442" y="3683062"/>
                  </a:cubicBezTo>
                  <a:cubicBezTo>
                    <a:pt x="655037" y="3770753"/>
                    <a:pt x="643546" y="3833041"/>
                    <a:pt x="525013" y="3830018"/>
                  </a:cubicBezTo>
                  <a:cubicBezTo>
                    <a:pt x="381683" y="3816715"/>
                    <a:pt x="93213" y="3498609"/>
                    <a:pt x="87771" y="3390962"/>
                  </a:cubicBezTo>
                  <a:cubicBezTo>
                    <a:pt x="87769" y="3304481"/>
                    <a:pt x="267385" y="3091000"/>
                    <a:pt x="365356" y="2979119"/>
                  </a:cubicBezTo>
                  <a:close/>
                  <a:moveTo>
                    <a:pt x="4139073" y="1036923"/>
                  </a:moveTo>
                  <a:cubicBezTo>
                    <a:pt x="3934664" y="1099819"/>
                    <a:pt x="3797380" y="1118266"/>
                    <a:pt x="3651029" y="1406131"/>
                  </a:cubicBezTo>
                  <a:cubicBezTo>
                    <a:pt x="3734335" y="1321918"/>
                    <a:pt x="3743481" y="1326606"/>
                    <a:pt x="3748999" y="1323583"/>
                  </a:cubicBezTo>
                  <a:cubicBezTo>
                    <a:pt x="3790873" y="1427021"/>
                    <a:pt x="3816418" y="1434302"/>
                    <a:pt x="3907276" y="1465171"/>
                  </a:cubicBezTo>
                  <a:cubicBezTo>
                    <a:pt x="3906901" y="1466512"/>
                    <a:pt x="3860126" y="1512268"/>
                    <a:pt x="3805244" y="1620218"/>
                  </a:cubicBezTo>
                  <a:cubicBezTo>
                    <a:pt x="3978809" y="1428509"/>
                    <a:pt x="4099763" y="1325697"/>
                    <a:pt x="4338644" y="1230145"/>
                  </a:cubicBezTo>
                  <a:cubicBezTo>
                    <a:pt x="4233417" y="1239897"/>
                    <a:pt x="4203027" y="1264420"/>
                    <a:pt x="4198682" y="1265252"/>
                  </a:cubicBezTo>
                  <a:cubicBezTo>
                    <a:pt x="4182588" y="1154672"/>
                    <a:pt x="4150175" y="1125735"/>
                    <a:pt x="4057883" y="1094980"/>
                  </a:cubicBezTo>
                  <a:cubicBezTo>
                    <a:pt x="4080185" y="1062019"/>
                    <a:pt x="4138315" y="1040402"/>
                    <a:pt x="4139073" y="1036923"/>
                  </a:cubicBezTo>
                  <a:close/>
                  <a:moveTo>
                    <a:pt x="3598662" y="703111"/>
                  </a:moveTo>
                  <a:cubicBezTo>
                    <a:pt x="3498934" y="711015"/>
                    <a:pt x="3457807" y="794149"/>
                    <a:pt x="3426057" y="1114030"/>
                  </a:cubicBezTo>
                  <a:cubicBezTo>
                    <a:pt x="3521610" y="891478"/>
                    <a:pt x="3584505" y="765083"/>
                    <a:pt x="3810686" y="729401"/>
                  </a:cubicBezTo>
                  <a:cubicBezTo>
                    <a:pt x="3744163" y="719271"/>
                    <a:pt x="3689885" y="707781"/>
                    <a:pt x="3645133" y="703859"/>
                  </a:cubicBezTo>
                  <a:cubicBezTo>
                    <a:pt x="3628351" y="702389"/>
                    <a:pt x="3612908" y="701982"/>
                    <a:pt x="3598662" y="703111"/>
                  </a:cubicBezTo>
                  <a:close/>
                  <a:moveTo>
                    <a:pt x="5685617" y="254049"/>
                  </a:moveTo>
                  <a:cubicBezTo>
                    <a:pt x="5662652" y="233993"/>
                    <a:pt x="5566898" y="388936"/>
                    <a:pt x="5497832" y="442881"/>
                  </a:cubicBezTo>
                  <a:cubicBezTo>
                    <a:pt x="5428765" y="496826"/>
                    <a:pt x="5271791" y="542948"/>
                    <a:pt x="5271218" y="577718"/>
                  </a:cubicBezTo>
                  <a:cubicBezTo>
                    <a:pt x="5270644" y="612489"/>
                    <a:pt x="5418513" y="621084"/>
                    <a:pt x="5518876" y="537204"/>
                  </a:cubicBezTo>
                  <a:cubicBezTo>
                    <a:pt x="5619239" y="453324"/>
                    <a:pt x="5718107" y="295877"/>
                    <a:pt x="5685617" y="254049"/>
                  </a:cubicBezTo>
                  <a:close/>
                  <a:moveTo>
                    <a:pt x="3607485" y="63"/>
                  </a:moveTo>
                  <a:cubicBezTo>
                    <a:pt x="3892933" y="-4170"/>
                    <a:pt x="4223738" y="203867"/>
                    <a:pt x="4469272" y="528019"/>
                  </a:cubicBezTo>
                  <a:cubicBezTo>
                    <a:pt x="4410761" y="533462"/>
                    <a:pt x="4334901" y="545028"/>
                    <a:pt x="4312109" y="576495"/>
                  </a:cubicBezTo>
                  <a:lnTo>
                    <a:pt x="4311926" y="576976"/>
                  </a:lnTo>
                  <a:lnTo>
                    <a:pt x="4334277" y="578166"/>
                  </a:lnTo>
                  <a:cubicBezTo>
                    <a:pt x="4430264" y="584487"/>
                    <a:pt x="4535946" y="595145"/>
                    <a:pt x="4576315" y="607845"/>
                  </a:cubicBezTo>
                  <a:cubicBezTo>
                    <a:pt x="4651910" y="624778"/>
                    <a:pt x="4821848" y="835841"/>
                    <a:pt x="4808543" y="903574"/>
                  </a:cubicBezTo>
                  <a:cubicBezTo>
                    <a:pt x="4807938" y="965562"/>
                    <a:pt x="4688801" y="931393"/>
                    <a:pt x="4579944" y="956188"/>
                  </a:cubicBezTo>
                  <a:cubicBezTo>
                    <a:pt x="4566337" y="959287"/>
                    <a:pt x="4550335" y="964116"/>
                    <a:pt x="4532643" y="970068"/>
                  </a:cubicBezTo>
                  <a:lnTo>
                    <a:pt x="4501091" y="981396"/>
                  </a:lnTo>
                  <a:lnTo>
                    <a:pt x="4539462" y="981135"/>
                  </a:lnTo>
                  <a:cubicBezTo>
                    <a:pt x="4594798" y="976939"/>
                    <a:pt x="4622580" y="970703"/>
                    <a:pt x="4677915" y="1045089"/>
                  </a:cubicBezTo>
                  <a:cubicBezTo>
                    <a:pt x="4718434" y="1164831"/>
                    <a:pt x="4691825" y="1141247"/>
                    <a:pt x="4608972" y="1202932"/>
                  </a:cubicBezTo>
                  <a:cubicBezTo>
                    <a:pt x="4739600" y="1169066"/>
                    <a:pt x="4777701" y="1156970"/>
                    <a:pt x="4848457" y="1204746"/>
                  </a:cubicBezTo>
                  <a:cubicBezTo>
                    <a:pt x="4937357" y="1346260"/>
                    <a:pt x="4873857" y="1357147"/>
                    <a:pt x="4821243" y="1417018"/>
                  </a:cubicBezTo>
                  <a:cubicBezTo>
                    <a:pt x="4902885" y="1348075"/>
                    <a:pt x="4970015" y="1282761"/>
                    <a:pt x="5077057" y="1368032"/>
                  </a:cubicBezTo>
                  <a:cubicBezTo>
                    <a:pt x="5168225" y="1439243"/>
                    <a:pt x="5087943" y="1608425"/>
                    <a:pt x="5011488" y="1756176"/>
                  </a:cubicBezTo>
                  <a:lnTo>
                    <a:pt x="5005149" y="1768400"/>
                  </a:lnTo>
                  <a:lnTo>
                    <a:pt x="5035260" y="1744642"/>
                  </a:lnTo>
                  <a:cubicBezTo>
                    <a:pt x="5438762" y="1362546"/>
                    <a:pt x="5121509" y="633925"/>
                    <a:pt x="5207688" y="508059"/>
                  </a:cubicBezTo>
                  <a:cubicBezTo>
                    <a:pt x="5251230" y="440931"/>
                    <a:pt x="5321988" y="453632"/>
                    <a:pt x="5483459" y="368360"/>
                  </a:cubicBezTo>
                  <a:cubicBezTo>
                    <a:pt x="5536074" y="337517"/>
                    <a:pt x="5592014" y="130991"/>
                    <a:pt x="5672145" y="150645"/>
                  </a:cubicBezTo>
                  <a:cubicBezTo>
                    <a:pt x="6022604" y="236603"/>
                    <a:pt x="6267836" y="2016941"/>
                    <a:pt x="5430845" y="2532803"/>
                  </a:cubicBezTo>
                  <a:cubicBezTo>
                    <a:pt x="5125252" y="2699491"/>
                    <a:pt x="4586848" y="2791232"/>
                    <a:pt x="3971108" y="2163716"/>
                  </a:cubicBezTo>
                  <a:lnTo>
                    <a:pt x="3935466" y="2124873"/>
                  </a:lnTo>
                  <a:lnTo>
                    <a:pt x="3916664" y="2222014"/>
                  </a:lnTo>
                  <a:cubicBezTo>
                    <a:pt x="3847574" y="2718004"/>
                    <a:pt x="4173544" y="3189576"/>
                    <a:pt x="4481972" y="2672504"/>
                  </a:cubicBezTo>
                  <a:lnTo>
                    <a:pt x="4549100" y="2677947"/>
                  </a:lnTo>
                  <a:cubicBezTo>
                    <a:pt x="4476529" y="2891427"/>
                    <a:pt x="4329572" y="3086766"/>
                    <a:pt x="4122743" y="3051690"/>
                  </a:cubicBezTo>
                  <a:cubicBezTo>
                    <a:pt x="3880234" y="3020847"/>
                    <a:pt x="3777424" y="2859375"/>
                    <a:pt x="3689129" y="2757776"/>
                  </a:cubicBezTo>
                  <a:cubicBezTo>
                    <a:pt x="3569387" y="2729201"/>
                    <a:pt x="3433315" y="2631230"/>
                    <a:pt x="3299285" y="2541933"/>
                  </a:cubicBezTo>
                  <a:lnTo>
                    <a:pt x="3246026" y="2508407"/>
                  </a:lnTo>
                  <a:lnTo>
                    <a:pt x="3249973" y="2518743"/>
                  </a:lnTo>
                  <a:cubicBezTo>
                    <a:pt x="3337818" y="2713257"/>
                    <a:pt x="3488792" y="2837897"/>
                    <a:pt x="3592971" y="2890218"/>
                  </a:cubicBezTo>
                  <a:cubicBezTo>
                    <a:pt x="3490766" y="3257308"/>
                    <a:pt x="3264539" y="3686442"/>
                    <a:pt x="3204714" y="3741118"/>
                  </a:cubicBezTo>
                  <a:cubicBezTo>
                    <a:pt x="2818271" y="4094300"/>
                    <a:pt x="2606000" y="4318665"/>
                    <a:pt x="2491699" y="4305361"/>
                  </a:cubicBezTo>
                  <a:cubicBezTo>
                    <a:pt x="2334462" y="4291451"/>
                    <a:pt x="2088323" y="3903799"/>
                    <a:pt x="2107071" y="3839089"/>
                  </a:cubicBezTo>
                  <a:cubicBezTo>
                    <a:pt x="2169966" y="3684271"/>
                    <a:pt x="2401590" y="3665523"/>
                    <a:pt x="2453599" y="3581461"/>
                  </a:cubicBezTo>
                  <a:cubicBezTo>
                    <a:pt x="2471742" y="3448414"/>
                    <a:pt x="2437270" y="3407894"/>
                    <a:pt x="2435456" y="3302061"/>
                  </a:cubicBezTo>
                  <a:cubicBezTo>
                    <a:pt x="2286761" y="3631733"/>
                    <a:pt x="1843583" y="3559964"/>
                    <a:pt x="1634637" y="3346858"/>
                  </a:cubicBezTo>
                  <a:lnTo>
                    <a:pt x="1602322" y="3309232"/>
                  </a:lnTo>
                  <a:lnTo>
                    <a:pt x="1606556" y="3424752"/>
                  </a:lnTo>
                  <a:cubicBezTo>
                    <a:pt x="1610109" y="3534138"/>
                    <a:pt x="1611167" y="3639216"/>
                    <a:pt x="1600886" y="3732046"/>
                  </a:cubicBezTo>
                  <a:cubicBezTo>
                    <a:pt x="1585163" y="3848765"/>
                    <a:pt x="1478724" y="3938270"/>
                    <a:pt x="1466629" y="4020518"/>
                  </a:cubicBezTo>
                  <a:cubicBezTo>
                    <a:pt x="1458767" y="4094299"/>
                    <a:pt x="1470863" y="4197109"/>
                    <a:pt x="1443043" y="4241861"/>
                  </a:cubicBezTo>
                  <a:cubicBezTo>
                    <a:pt x="1347491" y="4371280"/>
                    <a:pt x="754824" y="4208599"/>
                    <a:pt x="748172" y="4107603"/>
                  </a:cubicBezTo>
                  <a:cubicBezTo>
                    <a:pt x="737891" y="3945527"/>
                    <a:pt x="792924" y="3953994"/>
                    <a:pt x="815300" y="3877189"/>
                  </a:cubicBezTo>
                  <a:cubicBezTo>
                    <a:pt x="823011" y="3779671"/>
                    <a:pt x="837866" y="3707668"/>
                    <a:pt x="843790" y="3603771"/>
                  </a:cubicBezTo>
                  <a:lnTo>
                    <a:pt x="844480" y="3586118"/>
                  </a:lnTo>
                  <a:lnTo>
                    <a:pt x="824913" y="3548501"/>
                  </a:lnTo>
                  <a:cubicBezTo>
                    <a:pt x="628087" y="3208189"/>
                    <a:pt x="316142" y="2844784"/>
                    <a:pt x="454256" y="2111888"/>
                  </a:cubicBezTo>
                  <a:cubicBezTo>
                    <a:pt x="133129" y="2189449"/>
                    <a:pt x="77340" y="2000650"/>
                    <a:pt x="56504" y="1830221"/>
                  </a:cubicBezTo>
                  <a:lnTo>
                    <a:pt x="54019" y="1806341"/>
                  </a:lnTo>
                  <a:lnTo>
                    <a:pt x="37275" y="1798303"/>
                  </a:lnTo>
                  <a:cubicBezTo>
                    <a:pt x="-57562" y="1715448"/>
                    <a:pt x="34778" y="1477191"/>
                    <a:pt x="243799" y="1386174"/>
                  </a:cubicBezTo>
                  <a:cubicBezTo>
                    <a:pt x="140083" y="1575616"/>
                    <a:pt x="293344" y="1701161"/>
                    <a:pt x="163929" y="1788332"/>
                  </a:cubicBezTo>
                  <a:lnTo>
                    <a:pt x="142519" y="1800347"/>
                  </a:lnTo>
                  <a:lnTo>
                    <a:pt x="215750" y="1866280"/>
                  </a:lnTo>
                  <a:cubicBezTo>
                    <a:pt x="566884" y="2113467"/>
                    <a:pt x="563114" y="1091049"/>
                    <a:pt x="1833113" y="909016"/>
                  </a:cubicBezTo>
                  <a:cubicBezTo>
                    <a:pt x="1355351" y="1394035"/>
                    <a:pt x="1316647" y="1570626"/>
                    <a:pt x="1221699" y="1841560"/>
                  </a:cubicBezTo>
                  <a:cubicBezTo>
                    <a:pt x="1280360" y="2103421"/>
                    <a:pt x="1487795" y="2176598"/>
                    <a:pt x="1566414" y="2387660"/>
                  </a:cubicBezTo>
                  <a:cubicBezTo>
                    <a:pt x="1521435" y="2448439"/>
                    <a:pt x="1480765" y="2507630"/>
                    <a:pt x="1443596" y="2565531"/>
                  </a:cubicBezTo>
                  <a:lnTo>
                    <a:pt x="1408805" y="2623667"/>
                  </a:lnTo>
                  <a:lnTo>
                    <a:pt x="1418054" y="2635650"/>
                  </a:lnTo>
                  <a:cubicBezTo>
                    <a:pt x="1537943" y="2781370"/>
                    <a:pt x="1741869" y="2968762"/>
                    <a:pt x="1869399" y="2993632"/>
                  </a:cubicBezTo>
                  <a:cubicBezTo>
                    <a:pt x="2297118" y="2948274"/>
                    <a:pt x="2395202" y="2713098"/>
                    <a:pt x="2661931" y="2671568"/>
                  </a:cubicBezTo>
                  <a:lnTo>
                    <a:pt x="2673961" y="2670522"/>
                  </a:lnTo>
                  <a:lnTo>
                    <a:pt x="2693882" y="2665877"/>
                  </a:lnTo>
                  <a:cubicBezTo>
                    <a:pt x="2744901" y="2657855"/>
                    <a:pt x="2788873" y="2662271"/>
                    <a:pt x="2830675" y="2670514"/>
                  </a:cubicBezTo>
                  <a:lnTo>
                    <a:pt x="2846154" y="2674100"/>
                  </a:lnTo>
                  <a:lnTo>
                    <a:pt x="2901383" y="2682721"/>
                  </a:lnTo>
                  <a:lnTo>
                    <a:pt x="2955302" y="2696508"/>
                  </a:lnTo>
                  <a:lnTo>
                    <a:pt x="2997886" y="2703485"/>
                  </a:lnTo>
                  <a:cubicBezTo>
                    <a:pt x="3265144" y="1718049"/>
                    <a:pt x="2888331" y="1717770"/>
                    <a:pt x="2983232" y="1129662"/>
                  </a:cubicBezTo>
                  <a:cubicBezTo>
                    <a:pt x="2716253" y="1857748"/>
                    <a:pt x="3104232" y="1854679"/>
                    <a:pt x="2857209" y="2524708"/>
                  </a:cubicBezTo>
                  <a:cubicBezTo>
                    <a:pt x="2739978" y="2536431"/>
                    <a:pt x="2686248" y="2484654"/>
                    <a:pt x="2505517" y="2559877"/>
                  </a:cubicBezTo>
                  <a:cubicBezTo>
                    <a:pt x="2322646" y="2650405"/>
                    <a:pt x="2147033" y="2806248"/>
                    <a:pt x="1956905" y="2831462"/>
                  </a:cubicBezTo>
                  <a:cubicBezTo>
                    <a:pt x="1778872" y="2833603"/>
                    <a:pt x="1720583" y="2766799"/>
                    <a:pt x="1635078" y="2641939"/>
                  </a:cubicBezTo>
                  <a:lnTo>
                    <a:pt x="1977978" y="1932693"/>
                  </a:lnTo>
                  <a:lnTo>
                    <a:pt x="1684901" y="2266800"/>
                  </a:lnTo>
                  <a:cubicBezTo>
                    <a:pt x="1501240" y="1883847"/>
                    <a:pt x="1485607" y="2037501"/>
                    <a:pt x="1402431" y="1820068"/>
                  </a:cubicBezTo>
                  <a:cubicBezTo>
                    <a:pt x="1434809" y="1410458"/>
                    <a:pt x="2220116" y="686976"/>
                    <a:pt x="2341394" y="602123"/>
                  </a:cubicBezTo>
                  <a:cubicBezTo>
                    <a:pt x="2399399" y="551690"/>
                    <a:pt x="2579641" y="560985"/>
                    <a:pt x="2838365" y="498745"/>
                  </a:cubicBezTo>
                  <a:lnTo>
                    <a:pt x="2887056" y="485499"/>
                  </a:lnTo>
                  <a:lnTo>
                    <a:pt x="2875393" y="483824"/>
                  </a:lnTo>
                  <a:cubicBezTo>
                    <a:pt x="2805647" y="476425"/>
                    <a:pt x="2712740" y="475858"/>
                    <a:pt x="2587857" y="477219"/>
                  </a:cubicBezTo>
                  <a:cubicBezTo>
                    <a:pt x="2832181" y="98638"/>
                    <a:pt x="3263375" y="10344"/>
                    <a:pt x="3607485" y="63"/>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tx1"/>
                </a:solidFill>
                <a:effectLst/>
                <a:uLnTx/>
                <a:uFillTx/>
              </a:endParaRPr>
            </a:p>
          </p:txBody>
        </p:sp>
        <p:sp>
          <p:nvSpPr>
            <p:cNvPr id="585" name="Freeform 206"/>
            <p:cNvSpPr/>
            <p:nvPr/>
          </p:nvSpPr>
          <p:spPr>
            <a:xfrm>
              <a:off x="7568730" y="5831293"/>
              <a:ext cx="206348" cy="148164"/>
            </a:xfrm>
            <a:custGeom>
              <a:avLst/>
              <a:gdLst>
                <a:gd name="connsiteX0" fmla="*/ 3620186 w 5996789"/>
                <a:gd name="connsiteY0" fmla="*/ 3312946 h 4305921"/>
                <a:gd name="connsiteX1" fmla="*/ 3776214 w 5996789"/>
                <a:gd name="connsiteY1" fmla="*/ 3646776 h 4305921"/>
                <a:gd name="connsiteX2" fmla="*/ 3756257 w 5996789"/>
                <a:gd name="connsiteY2" fmla="*/ 3915289 h 4305921"/>
                <a:gd name="connsiteX3" fmla="*/ 3816129 w 5996789"/>
                <a:gd name="connsiteY3" fmla="*/ 4107603 h 4305921"/>
                <a:gd name="connsiteX4" fmla="*/ 3482300 w 5996789"/>
                <a:gd name="connsiteY4" fmla="*/ 4180175 h 4305921"/>
                <a:gd name="connsiteX5" fmla="*/ 3148472 w 5996789"/>
                <a:gd name="connsiteY5" fmla="*/ 4111232 h 4305921"/>
                <a:gd name="connsiteX6" fmla="*/ 3620186 w 5996789"/>
                <a:gd name="connsiteY6" fmla="*/ 3312946 h 4305921"/>
                <a:gd name="connsiteX7" fmla="*/ 365356 w 5996789"/>
                <a:gd name="connsiteY7" fmla="*/ 2979119 h 4305921"/>
                <a:gd name="connsiteX8" fmla="*/ 706442 w 5996789"/>
                <a:gd name="connsiteY8" fmla="*/ 3683062 h 4305921"/>
                <a:gd name="connsiteX9" fmla="*/ 525013 w 5996789"/>
                <a:gd name="connsiteY9" fmla="*/ 3830018 h 4305921"/>
                <a:gd name="connsiteX10" fmla="*/ 87771 w 5996789"/>
                <a:gd name="connsiteY10" fmla="*/ 3390962 h 4305921"/>
                <a:gd name="connsiteX11" fmla="*/ 365356 w 5996789"/>
                <a:gd name="connsiteY11" fmla="*/ 2979119 h 4305921"/>
                <a:gd name="connsiteX12" fmla="*/ 4139073 w 5996789"/>
                <a:gd name="connsiteY12" fmla="*/ 1036923 h 4305921"/>
                <a:gd name="connsiteX13" fmla="*/ 3651029 w 5996789"/>
                <a:gd name="connsiteY13" fmla="*/ 1406131 h 4305921"/>
                <a:gd name="connsiteX14" fmla="*/ 3748999 w 5996789"/>
                <a:gd name="connsiteY14" fmla="*/ 1323583 h 4305921"/>
                <a:gd name="connsiteX15" fmla="*/ 3907276 w 5996789"/>
                <a:gd name="connsiteY15" fmla="*/ 1465171 h 4305921"/>
                <a:gd name="connsiteX16" fmla="*/ 3805244 w 5996789"/>
                <a:gd name="connsiteY16" fmla="*/ 1620218 h 4305921"/>
                <a:gd name="connsiteX17" fmla="*/ 4338644 w 5996789"/>
                <a:gd name="connsiteY17" fmla="*/ 1230145 h 4305921"/>
                <a:gd name="connsiteX18" fmla="*/ 4198682 w 5996789"/>
                <a:gd name="connsiteY18" fmla="*/ 1265252 h 4305921"/>
                <a:gd name="connsiteX19" fmla="*/ 4057883 w 5996789"/>
                <a:gd name="connsiteY19" fmla="*/ 1094980 h 4305921"/>
                <a:gd name="connsiteX20" fmla="*/ 4139073 w 5996789"/>
                <a:gd name="connsiteY20" fmla="*/ 1036923 h 4305921"/>
                <a:gd name="connsiteX21" fmla="*/ 3598662 w 5996789"/>
                <a:gd name="connsiteY21" fmla="*/ 703111 h 4305921"/>
                <a:gd name="connsiteX22" fmla="*/ 3426057 w 5996789"/>
                <a:gd name="connsiteY22" fmla="*/ 1114030 h 4305921"/>
                <a:gd name="connsiteX23" fmla="*/ 3810686 w 5996789"/>
                <a:gd name="connsiteY23" fmla="*/ 729401 h 4305921"/>
                <a:gd name="connsiteX24" fmla="*/ 3645133 w 5996789"/>
                <a:gd name="connsiteY24" fmla="*/ 703859 h 4305921"/>
                <a:gd name="connsiteX25" fmla="*/ 3598662 w 5996789"/>
                <a:gd name="connsiteY25" fmla="*/ 703111 h 4305921"/>
                <a:gd name="connsiteX26" fmla="*/ 5685617 w 5996789"/>
                <a:gd name="connsiteY26" fmla="*/ 254049 h 4305921"/>
                <a:gd name="connsiteX27" fmla="*/ 5497832 w 5996789"/>
                <a:gd name="connsiteY27" fmla="*/ 442881 h 4305921"/>
                <a:gd name="connsiteX28" fmla="*/ 5271218 w 5996789"/>
                <a:gd name="connsiteY28" fmla="*/ 577718 h 4305921"/>
                <a:gd name="connsiteX29" fmla="*/ 5518876 w 5996789"/>
                <a:gd name="connsiteY29" fmla="*/ 537204 h 4305921"/>
                <a:gd name="connsiteX30" fmla="*/ 5685617 w 5996789"/>
                <a:gd name="connsiteY30" fmla="*/ 254049 h 4305921"/>
                <a:gd name="connsiteX31" fmla="*/ 3607485 w 5996789"/>
                <a:gd name="connsiteY31" fmla="*/ 63 h 4305921"/>
                <a:gd name="connsiteX32" fmla="*/ 4469272 w 5996789"/>
                <a:gd name="connsiteY32" fmla="*/ 528019 h 4305921"/>
                <a:gd name="connsiteX33" fmla="*/ 4312109 w 5996789"/>
                <a:gd name="connsiteY33" fmla="*/ 576495 h 4305921"/>
                <a:gd name="connsiteX34" fmla="*/ 4311926 w 5996789"/>
                <a:gd name="connsiteY34" fmla="*/ 576976 h 4305921"/>
                <a:gd name="connsiteX35" fmla="*/ 4334277 w 5996789"/>
                <a:gd name="connsiteY35" fmla="*/ 578166 h 4305921"/>
                <a:gd name="connsiteX36" fmla="*/ 4576315 w 5996789"/>
                <a:gd name="connsiteY36" fmla="*/ 607845 h 4305921"/>
                <a:gd name="connsiteX37" fmla="*/ 4808543 w 5996789"/>
                <a:gd name="connsiteY37" fmla="*/ 903574 h 4305921"/>
                <a:gd name="connsiteX38" fmla="*/ 4579944 w 5996789"/>
                <a:gd name="connsiteY38" fmla="*/ 956188 h 4305921"/>
                <a:gd name="connsiteX39" fmla="*/ 4532643 w 5996789"/>
                <a:gd name="connsiteY39" fmla="*/ 970068 h 4305921"/>
                <a:gd name="connsiteX40" fmla="*/ 4501091 w 5996789"/>
                <a:gd name="connsiteY40" fmla="*/ 981396 h 4305921"/>
                <a:gd name="connsiteX41" fmla="*/ 4539462 w 5996789"/>
                <a:gd name="connsiteY41" fmla="*/ 981135 h 4305921"/>
                <a:gd name="connsiteX42" fmla="*/ 4677915 w 5996789"/>
                <a:gd name="connsiteY42" fmla="*/ 1045089 h 4305921"/>
                <a:gd name="connsiteX43" fmla="*/ 4608972 w 5996789"/>
                <a:gd name="connsiteY43" fmla="*/ 1202932 h 4305921"/>
                <a:gd name="connsiteX44" fmla="*/ 4848457 w 5996789"/>
                <a:gd name="connsiteY44" fmla="*/ 1204746 h 4305921"/>
                <a:gd name="connsiteX45" fmla="*/ 4821243 w 5996789"/>
                <a:gd name="connsiteY45" fmla="*/ 1417018 h 4305921"/>
                <a:gd name="connsiteX46" fmla="*/ 5077057 w 5996789"/>
                <a:gd name="connsiteY46" fmla="*/ 1368032 h 4305921"/>
                <a:gd name="connsiteX47" fmla="*/ 5011488 w 5996789"/>
                <a:gd name="connsiteY47" fmla="*/ 1756176 h 4305921"/>
                <a:gd name="connsiteX48" fmla="*/ 5005149 w 5996789"/>
                <a:gd name="connsiteY48" fmla="*/ 1768400 h 4305921"/>
                <a:gd name="connsiteX49" fmla="*/ 5035260 w 5996789"/>
                <a:gd name="connsiteY49" fmla="*/ 1744642 h 4305921"/>
                <a:gd name="connsiteX50" fmla="*/ 5207688 w 5996789"/>
                <a:gd name="connsiteY50" fmla="*/ 508059 h 4305921"/>
                <a:gd name="connsiteX51" fmla="*/ 5483459 w 5996789"/>
                <a:gd name="connsiteY51" fmla="*/ 368360 h 4305921"/>
                <a:gd name="connsiteX52" fmla="*/ 5672145 w 5996789"/>
                <a:gd name="connsiteY52" fmla="*/ 150645 h 4305921"/>
                <a:gd name="connsiteX53" fmla="*/ 5430845 w 5996789"/>
                <a:gd name="connsiteY53" fmla="*/ 2532803 h 4305921"/>
                <a:gd name="connsiteX54" fmla="*/ 3971108 w 5996789"/>
                <a:gd name="connsiteY54" fmla="*/ 2163716 h 4305921"/>
                <a:gd name="connsiteX55" fmla="*/ 3935466 w 5996789"/>
                <a:gd name="connsiteY55" fmla="*/ 2124873 h 4305921"/>
                <a:gd name="connsiteX56" fmla="*/ 3916664 w 5996789"/>
                <a:gd name="connsiteY56" fmla="*/ 2222014 h 4305921"/>
                <a:gd name="connsiteX57" fmla="*/ 4481972 w 5996789"/>
                <a:gd name="connsiteY57" fmla="*/ 2672504 h 4305921"/>
                <a:gd name="connsiteX58" fmla="*/ 4549100 w 5996789"/>
                <a:gd name="connsiteY58" fmla="*/ 2677947 h 4305921"/>
                <a:gd name="connsiteX59" fmla="*/ 4122743 w 5996789"/>
                <a:gd name="connsiteY59" fmla="*/ 3051690 h 4305921"/>
                <a:gd name="connsiteX60" fmla="*/ 3689129 w 5996789"/>
                <a:gd name="connsiteY60" fmla="*/ 2757776 h 4305921"/>
                <a:gd name="connsiteX61" fmla="*/ 3299285 w 5996789"/>
                <a:gd name="connsiteY61" fmla="*/ 2541933 h 4305921"/>
                <a:gd name="connsiteX62" fmla="*/ 3246026 w 5996789"/>
                <a:gd name="connsiteY62" fmla="*/ 2508407 h 4305921"/>
                <a:gd name="connsiteX63" fmla="*/ 3249973 w 5996789"/>
                <a:gd name="connsiteY63" fmla="*/ 2518743 h 4305921"/>
                <a:gd name="connsiteX64" fmla="*/ 3592971 w 5996789"/>
                <a:gd name="connsiteY64" fmla="*/ 2890218 h 4305921"/>
                <a:gd name="connsiteX65" fmla="*/ 3204714 w 5996789"/>
                <a:gd name="connsiteY65" fmla="*/ 3741118 h 4305921"/>
                <a:gd name="connsiteX66" fmla="*/ 2491699 w 5996789"/>
                <a:gd name="connsiteY66" fmla="*/ 4305361 h 4305921"/>
                <a:gd name="connsiteX67" fmla="*/ 2107071 w 5996789"/>
                <a:gd name="connsiteY67" fmla="*/ 3839089 h 4305921"/>
                <a:gd name="connsiteX68" fmla="*/ 2453599 w 5996789"/>
                <a:gd name="connsiteY68" fmla="*/ 3581461 h 4305921"/>
                <a:gd name="connsiteX69" fmla="*/ 2435456 w 5996789"/>
                <a:gd name="connsiteY69" fmla="*/ 3302061 h 4305921"/>
                <a:gd name="connsiteX70" fmla="*/ 1634637 w 5996789"/>
                <a:gd name="connsiteY70" fmla="*/ 3346858 h 4305921"/>
                <a:gd name="connsiteX71" fmla="*/ 1602322 w 5996789"/>
                <a:gd name="connsiteY71" fmla="*/ 3309232 h 4305921"/>
                <a:gd name="connsiteX72" fmla="*/ 1606556 w 5996789"/>
                <a:gd name="connsiteY72" fmla="*/ 3424752 h 4305921"/>
                <a:gd name="connsiteX73" fmla="*/ 1600886 w 5996789"/>
                <a:gd name="connsiteY73" fmla="*/ 3732046 h 4305921"/>
                <a:gd name="connsiteX74" fmla="*/ 1466629 w 5996789"/>
                <a:gd name="connsiteY74" fmla="*/ 4020518 h 4305921"/>
                <a:gd name="connsiteX75" fmla="*/ 1443043 w 5996789"/>
                <a:gd name="connsiteY75" fmla="*/ 4241861 h 4305921"/>
                <a:gd name="connsiteX76" fmla="*/ 748172 w 5996789"/>
                <a:gd name="connsiteY76" fmla="*/ 4107603 h 4305921"/>
                <a:gd name="connsiteX77" fmla="*/ 815300 w 5996789"/>
                <a:gd name="connsiteY77" fmla="*/ 3877189 h 4305921"/>
                <a:gd name="connsiteX78" fmla="*/ 843790 w 5996789"/>
                <a:gd name="connsiteY78" fmla="*/ 3603771 h 4305921"/>
                <a:gd name="connsiteX79" fmla="*/ 844480 w 5996789"/>
                <a:gd name="connsiteY79" fmla="*/ 3586118 h 4305921"/>
                <a:gd name="connsiteX80" fmla="*/ 824913 w 5996789"/>
                <a:gd name="connsiteY80" fmla="*/ 3548501 h 4305921"/>
                <a:gd name="connsiteX81" fmla="*/ 454256 w 5996789"/>
                <a:gd name="connsiteY81" fmla="*/ 2111888 h 4305921"/>
                <a:gd name="connsiteX82" fmla="*/ 56504 w 5996789"/>
                <a:gd name="connsiteY82" fmla="*/ 1830221 h 4305921"/>
                <a:gd name="connsiteX83" fmla="*/ 54019 w 5996789"/>
                <a:gd name="connsiteY83" fmla="*/ 1806341 h 4305921"/>
                <a:gd name="connsiteX84" fmla="*/ 37275 w 5996789"/>
                <a:gd name="connsiteY84" fmla="*/ 1798303 h 4305921"/>
                <a:gd name="connsiteX85" fmla="*/ 243799 w 5996789"/>
                <a:gd name="connsiteY85" fmla="*/ 1386174 h 4305921"/>
                <a:gd name="connsiteX86" fmla="*/ 163929 w 5996789"/>
                <a:gd name="connsiteY86" fmla="*/ 1788332 h 4305921"/>
                <a:gd name="connsiteX87" fmla="*/ 142519 w 5996789"/>
                <a:gd name="connsiteY87" fmla="*/ 1800347 h 4305921"/>
                <a:gd name="connsiteX88" fmla="*/ 215750 w 5996789"/>
                <a:gd name="connsiteY88" fmla="*/ 1866280 h 4305921"/>
                <a:gd name="connsiteX89" fmla="*/ 1833113 w 5996789"/>
                <a:gd name="connsiteY89" fmla="*/ 909016 h 4305921"/>
                <a:gd name="connsiteX90" fmla="*/ 1221699 w 5996789"/>
                <a:gd name="connsiteY90" fmla="*/ 1841560 h 4305921"/>
                <a:gd name="connsiteX91" fmla="*/ 1566414 w 5996789"/>
                <a:gd name="connsiteY91" fmla="*/ 2387660 h 4305921"/>
                <a:gd name="connsiteX92" fmla="*/ 1443596 w 5996789"/>
                <a:gd name="connsiteY92" fmla="*/ 2565531 h 4305921"/>
                <a:gd name="connsiteX93" fmla="*/ 1408805 w 5996789"/>
                <a:gd name="connsiteY93" fmla="*/ 2623667 h 4305921"/>
                <a:gd name="connsiteX94" fmla="*/ 1418054 w 5996789"/>
                <a:gd name="connsiteY94" fmla="*/ 2635650 h 4305921"/>
                <a:gd name="connsiteX95" fmla="*/ 1869399 w 5996789"/>
                <a:gd name="connsiteY95" fmla="*/ 2993632 h 4305921"/>
                <a:gd name="connsiteX96" fmla="*/ 2661931 w 5996789"/>
                <a:gd name="connsiteY96" fmla="*/ 2671568 h 4305921"/>
                <a:gd name="connsiteX97" fmla="*/ 2673961 w 5996789"/>
                <a:gd name="connsiteY97" fmla="*/ 2670522 h 4305921"/>
                <a:gd name="connsiteX98" fmla="*/ 2693882 w 5996789"/>
                <a:gd name="connsiteY98" fmla="*/ 2665877 h 4305921"/>
                <a:gd name="connsiteX99" fmla="*/ 2830675 w 5996789"/>
                <a:gd name="connsiteY99" fmla="*/ 2670514 h 4305921"/>
                <a:gd name="connsiteX100" fmla="*/ 2846154 w 5996789"/>
                <a:gd name="connsiteY100" fmla="*/ 2674100 h 4305921"/>
                <a:gd name="connsiteX101" fmla="*/ 2901383 w 5996789"/>
                <a:gd name="connsiteY101" fmla="*/ 2682721 h 4305921"/>
                <a:gd name="connsiteX102" fmla="*/ 2955302 w 5996789"/>
                <a:gd name="connsiteY102" fmla="*/ 2696508 h 4305921"/>
                <a:gd name="connsiteX103" fmla="*/ 2997886 w 5996789"/>
                <a:gd name="connsiteY103" fmla="*/ 2703485 h 4305921"/>
                <a:gd name="connsiteX104" fmla="*/ 2983232 w 5996789"/>
                <a:gd name="connsiteY104" fmla="*/ 1129662 h 4305921"/>
                <a:gd name="connsiteX105" fmla="*/ 2857209 w 5996789"/>
                <a:gd name="connsiteY105" fmla="*/ 2524708 h 4305921"/>
                <a:gd name="connsiteX106" fmla="*/ 2505517 w 5996789"/>
                <a:gd name="connsiteY106" fmla="*/ 2559877 h 4305921"/>
                <a:gd name="connsiteX107" fmla="*/ 1956905 w 5996789"/>
                <a:gd name="connsiteY107" fmla="*/ 2831462 h 4305921"/>
                <a:gd name="connsiteX108" fmla="*/ 1635078 w 5996789"/>
                <a:gd name="connsiteY108" fmla="*/ 2641939 h 4305921"/>
                <a:gd name="connsiteX109" fmla="*/ 1977978 w 5996789"/>
                <a:gd name="connsiteY109" fmla="*/ 1932693 h 4305921"/>
                <a:gd name="connsiteX110" fmla="*/ 1684901 w 5996789"/>
                <a:gd name="connsiteY110" fmla="*/ 2266800 h 4305921"/>
                <a:gd name="connsiteX111" fmla="*/ 1402431 w 5996789"/>
                <a:gd name="connsiteY111" fmla="*/ 1820068 h 4305921"/>
                <a:gd name="connsiteX112" fmla="*/ 2341394 w 5996789"/>
                <a:gd name="connsiteY112" fmla="*/ 602123 h 4305921"/>
                <a:gd name="connsiteX113" fmla="*/ 2838365 w 5996789"/>
                <a:gd name="connsiteY113" fmla="*/ 498745 h 4305921"/>
                <a:gd name="connsiteX114" fmla="*/ 2887056 w 5996789"/>
                <a:gd name="connsiteY114" fmla="*/ 485499 h 4305921"/>
                <a:gd name="connsiteX115" fmla="*/ 2875393 w 5996789"/>
                <a:gd name="connsiteY115" fmla="*/ 483824 h 4305921"/>
                <a:gd name="connsiteX116" fmla="*/ 2587857 w 5996789"/>
                <a:gd name="connsiteY116" fmla="*/ 477219 h 4305921"/>
                <a:gd name="connsiteX117" fmla="*/ 3607485 w 5996789"/>
                <a:gd name="connsiteY117" fmla="*/ 63 h 43059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Lst>
              <a:rect l="l" t="t" r="r" b="b"/>
              <a:pathLst>
                <a:path w="5996789" h="4305921">
                  <a:moveTo>
                    <a:pt x="3620186" y="3312946"/>
                  </a:moveTo>
                  <a:cubicBezTo>
                    <a:pt x="3686709" y="3387937"/>
                    <a:pt x="3753536" y="3546386"/>
                    <a:pt x="3776214" y="3646776"/>
                  </a:cubicBezTo>
                  <a:cubicBezTo>
                    <a:pt x="3798892" y="3747166"/>
                    <a:pt x="3740533" y="3840299"/>
                    <a:pt x="3756257" y="3915289"/>
                  </a:cubicBezTo>
                  <a:cubicBezTo>
                    <a:pt x="3787099" y="3983627"/>
                    <a:pt x="3836087" y="4037451"/>
                    <a:pt x="3816129" y="4107603"/>
                  </a:cubicBezTo>
                  <a:cubicBezTo>
                    <a:pt x="3786497" y="4209505"/>
                    <a:pt x="3593576" y="4179570"/>
                    <a:pt x="3482300" y="4180175"/>
                  </a:cubicBezTo>
                  <a:cubicBezTo>
                    <a:pt x="3371024" y="4180780"/>
                    <a:pt x="3120653" y="4260608"/>
                    <a:pt x="3148472" y="4111232"/>
                  </a:cubicBezTo>
                  <a:cubicBezTo>
                    <a:pt x="3423638" y="3906823"/>
                    <a:pt x="3528262" y="3677012"/>
                    <a:pt x="3620186" y="3312946"/>
                  </a:cubicBezTo>
                  <a:close/>
                  <a:moveTo>
                    <a:pt x="365356" y="2979119"/>
                  </a:moveTo>
                  <a:cubicBezTo>
                    <a:pt x="473608" y="3331695"/>
                    <a:pt x="541947" y="3450228"/>
                    <a:pt x="706442" y="3683062"/>
                  </a:cubicBezTo>
                  <a:cubicBezTo>
                    <a:pt x="655037" y="3770753"/>
                    <a:pt x="643546" y="3833041"/>
                    <a:pt x="525013" y="3830018"/>
                  </a:cubicBezTo>
                  <a:cubicBezTo>
                    <a:pt x="381683" y="3816715"/>
                    <a:pt x="93213" y="3498609"/>
                    <a:pt x="87771" y="3390962"/>
                  </a:cubicBezTo>
                  <a:cubicBezTo>
                    <a:pt x="87769" y="3304481"/>
                    <a:pt x="267385" y="3091000"/>
                    <a:pt x="365356" y="2979119"/>
                  </a:cubicBezTo>
                  <a:close/>
                  <a:moveTo>
                    <a:pt x="4139073" y="1036923"/>
                  </a:moveTo>
                  <a:cubicBezTo>
                    <a:pt x="3934664" y="1099819"/>
                    <a:pt x="3797380" y="1118266"/>
                    <a:pt x="3651029" y="1406131"/>
                  </a:cubicBezTo>
                  <a:cubicBezTo>
                    <a:pt x="3734335" y="1321918"/>
                    <a:pt x="3743481" y="1326606"/>
                    <a:pt x="3748999" y="1323583"/>
                  </a:cubicBezTo>
                  <a:cubicBezTo>
                    <a:pt x="3790873" y="1427021"/>
                    <a:pt x="3816418" y="1434302"/>
                    <a:pt x="3907276" y="1465171"/>
                  </a:cubicBezTo>
                  <a:cubicBezTo>
                    <a:pt x="3906901" y="1466512"/>
                    <a:pt x="3860126" y="1512268"/>
                    <a:pt x="3805244" y="1620218"/>
                  </a:cubicBezTo>
                  <a:cubicBezTo>
                    <a:pt x="3978809" y="1428509"/>
                    <a:pt x="4099763" y="1325697"/>
                    <a:pt x="4338644" y="1230145"/>
                  </a:cubicBezTo>
                  <a:cubicBezTo>
                    <a:pt x="4233417" y="1239897"/>
                    <a:pt x="4203027" y="1264420"/>
                    <a:pt x="4198682" y="1265252"/>
                  </a:cubicBezTo>
                  <a:cubicBezTo>
                    <a:pt x="4182588" y="1154672"/>
                    <a:pt x="4150175" y="1125735"/>
                    <a:pt x="4057883" y="1094980"/>
                  </a:cubicBezTo>
                  <a:cubicBezTo>
                    <a:pt x="4080185" y="1062019"/>
                    <a:pt x="4138315" y="1040402"/>
                    <a:pt x="4139073" y="1036923"/>
                  </a:cubicBezTo>
                  <a:close/>
                  <a:moveTo>
                    <a:pt x="3598662" y="703111"/>
                  </a:moveTo>
                  <a:cubicBezTo>
                    <a:pt x="3498934" y="711015"/>
                    <a:pt x="3457807" y="794149"/>
                    <a:pt x="3426057" y="1114030"/>
                  </a:cubicBezTo>
                  <a:cubicBezTo>
                    <a:pt x="3521610" y="891478"/>
                    <a:pt x="3584505" y="765083"/>
                    <a:pt x="3810686" y="729401"/>
                  </a:cubicBezTo>
                  <a:cubicBezTo>
                    <a:pt x="3744163" y="719271"/>
                    <a:pt x="3689885" y="707781"/>
                    <a:pt x="3645133" y="703859"/>
                  </a:cubicBezTo>
                  <a:cubicBezTo>
                    <a:pt x="3628351" y="702389"/>
                    <a:pt x="3612908" y="701982"/>
                    <a:pt x="3598662" y="703111"/>
                  </a:cubicBezTo>
                  <a:close/>
                  <a:moveTo>
                    <a:pt x="5685617" y="254049"/>
                  </a:moveTo>
                  <a:cubicBezTo>
                    <a:pt x="5662652" y="233993"/>
                    <a:pt x="5566898" y="388936"/>
                    <a:pt x="5497832" y="442881"/>
                  </a:cubicBezTo>
                  <a:cubicBezTo>
                    <a:pt x="5428765" y="496826"/>
                    <a:pt x="5271791" y="542948"/>
                    <a:pt x="5271218" y="577718"/>
                  </a:cubicBezTo>
                  <a:cubicBezTo>
                    <a:pt x="5270644" y="612489"/>
                    <a:pt x="5418513" y="621084"/>
                    <a:pt x="5518876" y="537204"/>
                  </a:cubicBezTo>
                  <a:cubicBezTo>
                    <a:pt x="5619239" y="453324"/>
                    <a:pt x="5718107" y="295877"/>
                    <a:pt x="5685617" y="254049"/>
                  </a:cubicBezTo>
                  <a:close/>
                  <a:moveTo>
                    <a:pt x="3607485" y="63"/>
                  </a:moveTo>
                  <a:cubicBezTo>
                    <a:pt x="3892933" y="-4170"/>
                    <a:pt x="4223738" y="203867"/>
                    <a:pt x="4469272" y="528019"/>
                  </a:cubicBezTo>
                  <a:cubicBezTo>
                    <a:pt x="4410761" y="533462"/>
                    <a:pt x="4334901" y="545028"/>
                    <a:pt x="4312109" y="576495"/>
                  </a:cubicBezTo>
                  <a:lnTo>
                    <a:pt x="4311926" y="576976"/>
                  </a:lnTo>
                  <a:lnTo>
                    <a:pt x="4334277" y="578166"/>
                  </a:lnTo>
                  <a:cubicBezTo>
                    <a:pt x="4430264" y="584487"/>
                    <a:pt x="4535946" y="595145"/>
                    <a:pt x="4576315" y="607845"/>
                  </a:cubicBezTo>
                  <a:cubicBezTo>
                    <a:pt x="4651910" y="624778"/>
                    <a:pt x="4821848" y="835841"/>
                    <a:pt x="4808543" y="903574"/>
                  </a:cubicBezTo>
                  <a:cubicBezTo>
                    <a:pt x="4807938" y="965562"/>
                    <a:pt x="4688801" y="931393"/>
                    <a:pt x="4579944" y="956188"/>
                  </a:cubicBezTo>
                  <a:cubicBezTo>
                    <a:pt x="4566337" y="959287"/>
                    <a:pt x="4550335" y="964116"/>
                    <a:pt x="4532643" y="970068"/>
                  </a:cubicBezTo>
                  <a:lnTo>
                    <a:pt x="4501091" y="981396"/>
                  </a:lnTo>
                  <a:lnTo>
                    <a:pt x="4539462" y="981135"/>
                  </a:lnTo>
                  <a:cubicBezTo>
                    <a:pt x="4594798" y="976939"/>
                    <a:pt x="4622580" y="970703"/>
                    <a:pt x="4677915" y="1045089"/>
                  </a:cubicBezTo>
                  <a:cubicBezTo>
                    <a:pt x="4718434" y="1164831"/>
                    <a:pt x="4691825" y="1141247"/>
                    <a:pt x="4608972" y="1202932"/>
                  </a:cubicBezTo>
                  <a:cubicBezTo>
                    <a:pt x="4739600" y="1169066"/>
                    <a:pt x="4777701" y="1156970"/>
                    <a:pt x="4848457" y="1204746"/>
                  </a:cubicBezTo>
                  <a:cubicBezTo>
                    <a:pt x="4937357" y="1346260"/>
                    <a:pt x="4873857" y="1357147"/>
                    <a:pt x="4821243" y="1417018"/>
                  </a:cubicBezTo>
                  <a:cubicBezTo>
                    <a:pt x="4902885" y="1348075"/>
                    <a:pt x="4970015" y="1282761"/>
                    <a:pt x="5077057" y="1368032"/>
                  </a:cubicBezTo>
                  <a:cubicBezTo>
                    <a:pt x="5168225" y="1439243"/>
                    <a:pt x="5087943" y="1608425"/>
                    <a:pt x="5011488" y="1756176"/>
                  </a:cubicBezTo>
                  <a:lnTo>
                    <a:pt x="5005149" y="1768400"/>
                  </a:lnTo>
                  <a:lnTo>
                    <a:pt x="5035260" y="1744642"/>
                  </a:lnTo>
                  <a:cubicBezTo>
                    <a:pt x="5438762" y="1362546"/>
                    <a:pt x="5121509" y="633925"/>
                    <a:pt x="5207688" y="508059"/>
                  </a:cubicBezTo>
                  <a:cubicBezTo>
                    <a:pt x="5251230" y="440931"/>
                    <a:pt x="5321988" y="453632"/>
                    <a:pt x="5483459" y="368360"/>
                  </a:cubicBezTo>
                  <a:cubicBezTo>
                    <a:pt x="5536074" y="337517"/>
                    <a:pt x="5592014" y="130991"/>
                    <a:pt x="5672145" y="150645"/>
                  </a:cubicBezTo>
                  <a:cubicBezTo>
                    <a:pt x="6022604" y="236603"/>
                    <a:pt x="6267836" y="2016941"/>
                    <a:pt x="5430845" y="2532803"/>
                  </a:cubicBezTo>
                  <a:cubicBezTo>
                    <a:pt x="5125252" y="2699491"/>
                    <a:pt x="4586848" y="2791232"/>
                    <a:pt x="3971108" y="2163716"/>
                  </a:cubicBezTo>
                  <a:lnTo>
                    <a:pt x="3935466" y="2124873"/>
                  </a:lnTo>
                  <a:lnTo>
                    <a:pt x="3916664" y="2222014"/>
                  </a:lnTo>
                  <a:cubicBezTo>
                    <a:pt x="3847574" y="2718004"/>
                    <a:pt x="4173544" y="3189576"/>
                    <a:pt x="4481972" y="2672504"/>
                  </a:cubicBezTo>
                  <a:lnTo>
                    <a:pt x="4549100" y="2677947"/>
                  </a:lnTo>
                  <a:cubicBezTo>
                    <a:pt x="4476529" y="2891427"/>
                    <a:pt x="4329572" y="3086766"/>
                    <a:pt x="4122743" y="3051690"/>
                  </a:cubicBezTo>
                  <a:cubicBezTo>
                    <a:pt x="3880234" y="3020847"/>
                    <a:pt x="3777424" y="2859375"/>
                    <a:pt x="3689129" y="2757776"/>
                  </a:cubicBezTo>
                  <a:cubicBezTo>
                    <a:pt x="3569387" y="2729201"/>
                    <a:pt x="3433315" y="2631230"/>
                    <a:pt x="3299285" y="2541933"/>
                  </a:cubicBezTo>
                  <a:lnTo>
                    <a:pt x="3246026" y="2508407"/>
                  </a:lnTo>
                  <a:lnTo>
                    <a:pt x="3249973" y="2518743"/>
                  </a:lnTo>
                  <a:cubicBezTo>
                    <a:pt x="3337818" y="2713257"/>
                    <a:pt x="3488792" y="2837897"/>
                    <a:pt x="3592971" y="2890218"/>
                  </a:cubicBezTo>
                  <a:cubicBezTo>
                    <a:pt x="3490766" y="3257308"/>
                    <a:pt x="3264539" y="3686442"/>
                    <a:pt x="3204714" y="3741118"/>
                  </a:cubicBezTo>
                  <a:cubicBezTo>
                    <a:pt x="2818271" y="4094300"/>
                    <a:pt x="2606000" y="4318665"/>
                    <a:pt x="2491699" y="4305361"/>
                  </a:cubicBezTo>
                  <a:cubicBezTo>
                    <a:pt x="2334462" y="4291451"/>
                    <a:pt x="2088323" y="3903799"/>
                    <a:pt x="2107071" y="3839089"/>
                  </a:cubicBezTo>
                  <a:cubicBezTo>
                    <a:pt x="2169966" y="3684271"/>
                    <a:pt x="2401590" y="3665523"/>
                    <a:pt x="2453599" y="3581461"/>
                  </a:cubicBezTo>
                  <a:cubicBezTo>
                    <a:pt x="2471742" y="3448414"/>
                    <a:pt x="2437270" y="3407894"/>
                    <a:pt x="2435456" y="3302061"/>
                  </a:cubicBezTo>
                  <a:cubicBezTo>
                    <a:pt x="2286761" y="3631733"/>
                    <a:pt x="1843583" y="3559964"/>
                    <a:pt x="1634637" y="3346858"/>
                  </a:cubicBezTo>
                  <a:lnTo>
                    <a:pt x="1602322" y="3309232"/>
                  </a:lnTo>
                  <a:lnTo>
                    <a:pt x="1606556" y="3424752"/>
                  </a:lnTo>
                  <a:cubicBezTo>
                    <a:pt x="1610109" y="3534138"/>
                    <a:pt x="1611167" y="3639216"/>
                    <a:pt x="1600886" y="3732046"/>
                  </a:cubicBezTo>
                  <a:cubicBezTo>
                    <a:pt x="1585163" y="3848765"/>
                    <a:pt x="1478724" y="3938270"/>
                    <a:pt x="1466629" y="4020518"/>
                  </a:cubicBezTo>
                  <a:cubicBezTo>
                    <a:pt x="1458767" y="4094299"/>
                    <a:pt x="1470863" y="4197109"/>
                    <a:pt x="1443043" y="4241861"/>
                  </a:cubicBezTo>
                  <a:cubicBezTo>
                    <a:pt x="1347491" y="4371280"/>
                    <a:pt x="754824" y="4208599"/>
                    <a:pt x="748172" y="4107603"/>
                  </a:cubicBezTo>
                  <a:cubicBezTo>
                    <a:pt x="737891" y="3945527"/>
                    <a:pt x="792924" y="3953994"/>
                    <a:pt x="815300" y="3877189"/>
                  </a:cubicBezTo>
                  <a:cubicBezTo>
                    <a:pt x="823011" y="3779671"/>
                    <a:pt x="837866" y="3707668"/>
                    <a:pt x="843790" y="3603771"/>
                  </a:cubicBezTo>
                  <a:lnTo>
                    <a:pt x="844480" y="3586118"/>
                  </a:lnTo>
                  <a:lnTo>
                    <a:pt x="824913" y="3548501"/>
                  </a:lnTo>
                  <a:cubicBezTo>
                    <a:pt x="628087" y="3208189"/>
                    <a:pt x="316142" y="2844784"/>
                    <a:pt x="454256" y="2111888"/>
                  </a:cubicBezTo>
                  <a:cubicBezTo>
                    <a:pt x="133129" y="2189449"/>
                    <a:pt x="77340" y="2000650"/>
                    <a:pt x="56504" y="1830221"/>
                  </a:cubicBezTo>
                  <a:lnTo>
                    <a:pt x="54019" y="1806341"/>
                  </a:lnTo>
                  <a:lnTo>
                    <a:pt x="37275" y="1798303"/>
                  </a:lnTo>
                  <a:cubicBezTo>
                    <a:pt x="-57562" y="1715448"/>
                    <a:pt x="34778" y="1477191"/>
                    <a:pt x="243799" y="1386174"/>
                  </a:cubicBezTo>
                  <a:cubicBezTo>
                    <a:pt x="140083" y="1575616"/>
                    <a:pt x="293344" y="1701161"/>
                    <a:pt x="163929" y="1788332"/>
                  </a:cubicBezTo>
                  <a:lnTo>
                    <a:pt x="142519" y="1800347"/>
                  </a:lnTo>
                  <a:lnTo>
                    <a:pt x="215750" y="1866280"/>
                  </a:lnTo>
                  <a:cubicBezTo>
                    <a:pt x="566884" y="2113467"/>
                    <a:pt x="563114" y="1091049"/>
                    <a:pt x="1833113" y="909016"/>
                  </a:cubicBezTo>
                  <a:cubicBezTo>
                    <a:pt x="1355351" y="1394035"/>
                    <a:pt x="1316647" y="1570626"/>
                    <a:pt x="1221699" y="1841560"/>
                  </a:cubicBezTo>
                  <a:cubicBezTo>
                    <a:pt x="1280360" y="2103421"/>
                    <a:pt x="1487795" y="2176598"/>
                    <a:pt x="1566414" y="2387660"/>
                  </a:cubicBezTo>
                  <a:cubicBezTo>
                    <a:pt x="1521435" y="2448439"/>
                    <a:pt x="1480765" y="2507630"/>
                    <a:pt x="1443596" y="2565531"/>
                  </a:cubicBezTo>
                  <a:lnTo>
                    <a:pt x="1408805" y="2623667"/>
                  </a:lnTo>
                  <a:lnTo>
                    <a:pt x="1418054" y="2635650"/>
                  </a:lnTo>
                  <a:cubicBezTo>
                    <a:pt x="1537943" y="2781370"/>
                    <a:pt x="1741869" y="2968762"/>
                    <a:pt x="1869399" y="2993632"/>
                  </a:cubicBezTo>
                  <a:cubicBezTo>
                    <a:pt x="2297118" y="2948274"/>
                    <a:pt x="2395202" y="2713098"/>
                    <a:pt x="2661931" y="2671568"/>
                  </a:cubicBezTo>
                  <a:lnTo>
                    <a:pt x="2673961" y="2670522"/>
                  </a:lnTo>
                  <a:lnTo>
                    <a:pt x="2693882" y="2665877"/>
                  </a:lnTo>
                  <a:cubicBezTo>
                    <a:pt x="2744901" y="2657855"/>
                    <a:pt x="2788873" y="2662271"/>
                    <a:pt x="2830675" y="2670514"/>
                  </a:cubicBezTo>
                  <a:lnTo>
                    <a:pt x="2846154" y="2674100"/>
                  </a:lnTo>
                  <a:lnTo>
                    <a:pt x="2901383" y="2682721"/>
                  </a:lnTo>
                  <a:lnTo>
                    <a:pt x="2955302" y="2696508"/>
                  </a:lnTo>
                  <a:lnTo>
                    <a:pt x="2997886" y="2703485"/>
                  </a:lnTo>
                  <a:cubicBezTo>
                    <a:pt x="3265144" y="1718049"/>
                    <a:pt x="2888331" y="1717770"/>
                    <a:pt x="2983232" y="1129662"/>
                  </a:cubicBezTo>
                  <a:cubicBezTo>
                    <a:pt x="2716253" y="1857748"/>
                    <a:pt x="3104232" y="1854679"/>
                    <a:pt x="2857209" y="2524708"/>
                  </a:cubicBezTo>
                  <a:cubicBezTo>
                    <a:pt x="2739978" y="2536431"/>
                    <a:pt x="2686248" y="2484654"/>
                    <a:pt x="2505517" y="2559877"/>
                  </a:cubicBezTo>
                  <a:cubicBezTo>
                    <a:pt x="2322646" y="2650405"/>
                    <a:pt x="2147033" y="2806248"/>
                    <a:pt x="1956905" y="2831462"/>
                  </a:cubicBezTo>
                  <a:cubicBezTo>
                    <a:pt x="1778872" y="2833603"/>
                    <a:pt x="1720583" y="2766799"/>
                    <a:pt x="1635078" y="2641939"/>
                  </a:cubicBezTo>
                  <a:lnTo>
                    <a:pt x="1977978" y="1932693"/>
                  </a:lnTo>
                  <a:lnTo>
                    <a:pt x="1684901" y="2266800"/>
                  </a:lnTo>
                  <a:cubicBezTo>
                    <a:pt x="1501240" y="1883847"/>
                    <a:pt x="1485607" y="2037501"/>
                    <a:pt x="1402431" y="1820068"/>
                  </a:cubicBezTo>
                  <a:cubicBezTo>
                    <a:pt x="1434809" y="1410458"/>
                    <a:pt x="2220116" y="686976"/>
                    <a:pt x="2341394" y="602123"/>
                  </a:cubicBezTo>
                  <a:cubicBezTo>
                    <a:pt x="2399399" y="551690"/>
                    <a:pt x="2579641" y="560985"/>
                    <a:pt x="2838365" y="498745"/>
                  </a:cubicBezTo>
                  <a:lnTo>
                    <a:pt x="2887056" y="485499"/>
                  </a:lnTo>
                  <a:lnTo>
                    <a:pt x="2875393" y="483824"/>
                  </a:lnTo>
                  <a:cubicBezTo>
                    <a:pt x="2805647" y="476425"/>
                    <a:pt x="2712740" y="475858"/>
                    <a:pt x="2587857" y="477219"/>
                  </a:cubicBezTo>
                  <a:cubicBezTo>
                    <a:pt x="2832181" y="98638"/>
                    <a:pt x="3263375" y="10344"/>
                    <a:pt x="3607485" y="63"/>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tx1"/>
                </a:solidFill>
                <a:effectLst/>
                <a:uLnTx/>
                <a:uFillTx/>
              </a:endParaRPr>
            </a:p>
          </p:txBody>
        </p:sp>
        <p:sp>
          <p:nvSpPr>
            <p:cNvPr id="588" name="Freeform 206"/>
            <p:cNvSpPr/>
            <p:nvPr/>
          </p:nvSpPr>
          <p:spPr>
            <a:xfrm>
              <a:off x="7020125" y="5238873"/>
              <a:ext cx="206348" cy="148164"/>
            </a:xfrm>
            <a:custGeom>
              <a:avLst/>
              <a:gdLst>
                <a:gd name="connsiteX0" fmla="*/ 3620186 w 5996789"/>
                <a:gd name="connsiteY0" fmla="*/ 3312946 h 4305921"/>
                <a:gd name="connsiteX1" fmla="*/ 3776214 w 5996789"/>
                <a:gd name="connsiteY1" fmla="*/ 3646776 h 4305921"/>
                <a:gd name="connsiteX2" fmla="*/ 3756257 w 5996789"/>
                <a:gd name="connsiteY2" fmla="*/ 3915289 h 4305921"/>
                <a:gd name="connsiteX3" fmla="*/ 3816129 w 5996789"/>
                <a:gd name="connsiteY3" fmla="*/ 4107603 h 4305921"/>
                <a:gd name="connsiteX4" fmla="*/ 3482300 w 5996789"/>
                <a:gd name="connsiteY4" fmla="*/ 4180175 h 4305921"/>
                <a:gd name="connsiteX5" fmla="*/ 3148472 w 5996789"/>
                <a:gd name="connsiteY5" fmla="*/ 4111232 h 4305921"/>
                <a:gd name="connsiteX6" fmla="*/ 3620186 w 5996789"/>
                <a:gd name="connsiteY6" fmla="*/ 3312946 h 4305921"/>
                <a:gd name="connsiteX7" fmla="*/ 365356 w 5996789"/>
                <a:gd name="connsiteY7" fmla="*/ 2979119 h 4305921"/>
                <a:gd name="connsiteX8" fmla="*/ 706442 w 5996789"/>
                <a:gd name="connsiteY8" fmla="*/ 3683062 h 4305921"/>
                <a:gd name="connsiteX9" fmla="*/ 525013 w 5996789"/>
                <a:gd name="connsiteY9" fmla="*/ 3830018 h 4305921"/>
                <a:gd name="connsiteX10" fmla="*/ 87771 w 5996789"/>
                <a:gd name="connsiteY10" fmla="*/ 3390962 h 4305921"/>
                <a:gd name="connsiteX11" fmla="*/ 365356 w 5996789"/>
                <a:gd name="connsiteY11" fmla="*/ 2979119 h 4305921"/>
                <a:gd name="connsiteX12" fmla="*/ 4139073 w 5996789"/>
                <a:gd name="connsiteY12" fmla="*/ 1036923 h 4305921"/>
                <a:gd name="connsiteX13" fmla="*/ 3651029 w 5996789"/>
                <a:gd name="connsiteY13" fmla="*/ 1406131 h 4305921"/>
                <a:gd name="connsiteX14" fmla="*/ 3748999 w 5996789"/>
                <a:gd name="connsiteY14" fmla="*/ 1323583 h 4305921"/>
                <a:gd name="connsiteX15" fmla="*/ 3907276 w 5996789"/>
                <a:gd name="connsiteY15" fmla="*/ 1465171 h 4305921"/>
                <a:gd name="connsiteX16" fmla="*/ 3805244 w 5996789"/>
                <a:gd name="connsiteY16" fmla="*/ 1620218 h 4305921"/>
                <a:gd name="connsiteX17" fmla="*/ 4338644 w 5996789"/>
                <a:gd name="connsiteY17" fmla="*/ 1230145 h 4305921"/>
                <a:gd name="connsiteX18" fmla="*/ 4198682 w 5996789"/>
                <a:gd name="connsiteY18" fmla="*/ 1265252 h 4305921"/>
                <a:gd name="connsiteX19" fmla="*/ 4057883 w 5996789"/>
                <a:gd name="connsiteY19" fmla="*/ 1094980 h 4305921"/>
                <a:gd name="connsiteX20" fmla="*/ 4139073 w 5996789"/>
                <a:gd name="connsiteY20" fmla="*/ 1036923 h 4305921"/>
                <a:gd name="connsiteX21" fmla="*/ 3598662 w 5996789"/>
                <a:gd name="connsiteY21" fmla="*/ 703111 h 4305921"/>
                <a:gd name="connsiteX22" fmla="*/ 3426057 w 5996789"/>
                <a:gd name="connsiteY22" fmla="*/ 1114030 h 4305921"/>
                <a:gd name="connsiteX23" fmla="*/ 3810686 w 5996789"/>
                <a:gd name="connsiteY23" fmla="*/ 729401 h 4305921"/>
                <a:gd name="connsiteX24" fmla="*/ 3645133 w 5996789"/>
                <a:gd name="connsiteY24" fmla="*/ 703859 h 4305921"/>
                <a:gd name="connsiteX25" fmla="*/ 3598662 w 5996789"/>
                <a:gd name="connsiteY25" fmla="*/ 703111 h 4305921"/>
                <a:gd name="connsiteX26" fmla="*/ 5685617 w 5996789"/>
                <a:gd name="connsiteY26" fmla="*/ 254049 h 4305921"/>
                <a:gd name="connsiteX27" fmla="*/ 5497832 w 5996789"/>
                <a:gd name="connsiteY27" fmla="*/ 442881 h 4305921"/>
                <a:gd name="connsiteX28" fmla="*/ 5271218 w 5996789"/>
                <a:gd name="connsiteY28" fmla="*/ 577718 h 4305921"/>
                <a:gd name="connsiteX29" fmla="*/ 5518876 w 5996789"/>
                <a:gd name="connsiteY29" fmla="*/ 537204 h 4305921"/>
                <a:gd name="connsiteX30" fmla="*/ 5685617 w 5996789"/>
                <a:gd name="connsiteY30" fmla="*/ 254049 h 4305921"/>
                <a:gd name="connsiteX31" fmla="*/ 3607485 w 5996789"/>
                <a:gd name="connsiteY31" fmla="*/ 63 h 4305921"/>
                <a:gd name="connsiteX32" fmla="*/ 4469272 w 5996789"/>
                <a:gd name="connsiteY32" fmla="*/ 528019 h 4305921"/>
                <a:gd name="connsiteX33" fmla="*/ 4312109 w 5996789"/>
                <a:gd name="connsiteY33" fmla="*/ 576495 h 4305921"/>
                <a:gd name="connsiteX34" fmla="*/ 4311926 w 5996789"/>
                <a:gd name="connsiteY34" fmla="*/ 576976 h 4305921"/>
                <a:gd name="connsiteX35" fmla="*/ 4334277 w 5996789"/>
                <a:gd name="connsiteY35" fmla="*/ 578166 h 4305921"/>
                <a:gd name="connsiteX36" fmla="*/ 4576315 w 5996789"/>
                <a:gd name="connsiteY36" fmla="*/ 607845 h 4305921"/>
                <a:gd name="connsiteX37" fmla="*/ 4808543 w 5996789"/>
                <a:gd name="connsiteY37" fmla="*/ 903574 h 4305921"/>
                <a:gd name="connsiteX38" fmla="*/ 4579944 w 5996789"/>
                <a:gd name="connsiteY38" fmla="*/ 956188 h 4305921"/>
                <a:gd name="connsiteX39" fmla="*/ 4532643 w 5996789"/>
                <a:gd name="connsiteY39" fmla="*/ 970068 h 4305921"/>
                <a:gd name="connsiteX40" fmla="*/ 4501091 w 5996789"/>
                <a:gd name="connsiteY40" fmla="*/ 981396 h 4305921"/>
                <a:gd name="connsiteX41" fmla="*/ 4539462 w 5996789"/>
                <a:gd name="connsiteY41" fmla="*/ 981135 h 4305921"/>
                <a:gd name="connsiteX42" fmla="*/ 4677915 w 5996789"/>
                <a:gd name="connsiteY42" fmla="*/ 1045089 h 4305921"/>
                <a:gd name="connsiteX43" fmla="*/ 4608972 w 5996789"/>
                <a:gd name="connsiteY43" fmla="*/ 1202932 h 4305921"/>
                <a:gd name="connsiteX44" fmla="*/ 4848457 w 5996789"/>
                <a:gd name="connsiteY44" fmla="*/ 1204746 h 4305921"/>
                <a:gd name="connsiteX45" fmla="*/ 4821243 w 5996789"/>
                <a:gd name="connsiteY45" fmla="*/ 1417018 h 4305921"/>
                <a:gd name="connsiteX46" fmla="*/ 5077057 w 5996789"/>
                <a:gd name="connsiteY46" fmla="*/ 1368032 h 4305921"/>
                <a:gd name="connsiteX47" fmla="*/ 5011488 w 5996789"/>
                <a:gd name="connsiteY47" fmla="*/ 1756176 h 4305921"/>
                <a:gd name="connsiteX48" fmla="*/ 5005149 w 5996789"/>
                <a:gd name="connsiteY48" fmla="*/ 1768400 h 4305921"/>
                <a:gd name="connsiteX49" fmla="*/ 5035260 w 5996789"/>
                <a:gd name="connsiteY49" fmla="*/ 1744642 h 4305921"/>
                <a:gd name="connsiteX50" fmla="*/ 5207688 w 5996789"/>
                <a:gd name="connsiteY50" fmla="*/ 508059 h 4305921"/>
                <a:gd name="connsiteX51" fmla="*/ 5483459 w 5996789"/>
                <a:gd name="connsiteY51" fmla="*/ 368360 h 4305921"/>
                <a:gd name="connsiteX52" fmla="*/ 5672145 w 5996789"/>
                <a:gd name="connsiteY52" fmla="*/ 150645 h 4305921"/>
                <a:gd name="connsiteX53" fmla="*/ 5430845 w 5996789"/>
                <a:gd name="connsiteY53" fmla="*/ 2532803 h 4305921"/>
                <a:gd name="connsiteX54" fmla="*/ 3971108 w 5996789"/>
                <a:gd name="connsiteY54" fmla="*/ 2163716 h 4305921"/>
                <a:gd name="connsiteX55" fmla="*/ 3935466 w 5996789"/>
                <a:gd name="connsiteY55" fmla="*/ 2124873 h 4305921"/>
                <a:gd name="connsiteX56" fmla="*/ 3916664 w 5996789"/>
                <a:gd name="connsiteY56" fmla="*/ 2222014 h 4305921"/>
                <a:gd name="connsiteX57" fmla="*/ 4481972 w 5996789"/>
                <a:gd name="connsiteY57" fmla="*/ 2672504 h 4305921"/>
                <a:gd name="connsiteX58" fmla="*/ 4549100 w 5996789"/>
                <a:gd name="connsiteY58" fmla="*/ 2677947 h 4305921"/>
                <a:gd name="connsiteX59" fmla="*/ 4122743 w 5996789"/>
                <a:gd name="connsiteY59" fmla="*/ 3051690 h 4305921"/>
                <a:gd name="connsiteX60" fmla="*/ 3689129 w 5996789"/>
                <a:gd name="connsiteY60" fmla="*/ 2757776 h 4305921"/>
                <a:gd name="connsiteX61" fmla="*/ 3299285 w 5996789"/>
                <a:gd name="connsiteY61" fmla="*/ 2541933 h 4305921"/>
                <a:gd name="connsiteX62" fmla="*/ 3246026 w 5996789"/>
                <a:gd name="connsiteY62" fmla="*/ 2508407 h 4305921"/>
                <a:gd name="connsiteX63" fmla="*/ 3249973 w 5996789"/>
                <a:gd name="connsiteY63" fmla="*/ 2518743 h 4305921"/>
                <a:gd name="connsiteX64" fmla="*/ 3592971 w 5996789"/>
                <a:gd name="connsiteY64" fmla="*/ 2890218 h 4305921"/>
                <a:gd name="connsiteX65" fmla="*/ 3204714 w 5996789"/>
                <a:gd name="connsiteY65" fmla="*/ 3741118 h 4305921"/>
                <a:gd name="connsiteX66" fmla="*/ 2491699 w 5996789"/>
                <a:gd name="connsiteY66" fmla="*/ 4305361 h 4305921"/>
                <a:gd name="connsiteX67" fmla="*/ 2107071 w 5996789"/>
                <a:gd name="connsiteY67" fmla="*/ 3839089 h 4305921"/>
                <a:gd name="connsiteX68" fmla="*/ 2453599 w 5996789"/>
                <a:gd name="connsiteY68" fmla="*/ 3581461 h 4305921"/>
                <a:gd name="connsiteX69" fmla="*/ 2435456 w 5996789"/>
                <a:gd name="connsiteY69" fmla="*/ 3302061 h 4305921"/>
                <a:gd name="connsiteX70" fmla="*/ 1634637 w 5996789"/>
                <a:gd name="connsiteY70" fmla="*/ 3346858 h 4305921"/>
                <a:gd name="connsiteX71" fmla="*/ 1602322 w 5996789"/>
                <a:gd name="connsiteY71" fmla="*/ 3309232 h 4305921"/>
                <a:gd name="connsiteX72" fmla="*/ 1606556 w 5996789"/>
                <a:gd name="connsiteY72" fmla="*/ 3424752 h 4305921"/>
                <a:gd name="connsiteX73" fmla="*/ 1600886 w 5996789"/>
                <a:gd name="connsiteY73" fmla="*/ 3732046 h 4305921"/>
                <a:gd name="connsiteX74" fmla="*/ 1466629 w 5996789"/>
                <a:gd name="connsiteY74" fmla="*/ 4020518 h 4305921"/>
                <a:gd name="connsiteX75" fmla="*/ 1443043 w 5996789"/>
                <a:gd name="connsiteY75" fmla="*/ 4241861 h 4305921"/>
                <a:gd name="connsiteX76" fmla="*/ 748172 w 5996789"/>
                <a:gd name="connsiteY76" fmla="*/ 4107603 h 4305921"/>
                <a:gd name="connsiteX77" fmla="*/ 815300 w 5996789"/>
                <a:gd name="connsiteY77" fmla="*/ 3877189 h 4305921"/>
                <a:gd name="connsiteX78" fmla="*/ 843790 w 5996789"/>
                <a:gd name="connsiteY78" fmla="*/ 3603771 h 4305921"/>
                <a:gd name="connsiteX79" fmla="*/ 844480 w 5996789"/>
                <a:gd name="connsiteY79" fmla="*/ 3586118 h 4305921"/>
                <a:gd name="connsiteX80" fmla="*/ 824913 w 5996789"/>
                <a:gd name="connsiteY80" fmla="*/ 3548501 h 4305921"/>
                <a:gd name="connsiteX81" fmla="*/ 454256 w 5996789"/>
                <a:gd name="connsiteY81" fmla="*/ 2111888 h 4305921"/>
                <a:gd name="connsiteX82" fmla="*/ 56504 w 5996789"/>
                <a:gd name="connsiteY82" fmla="*/ 1830221 h 4305921"/>
                <a:gd name="connsiteX83" fmla="*/ 54019 w 5996789"/>
                <a:gd name="connsiteY83" fmla="*/ 1806341 h 4305921"/>
                <a:gd name="connsiteX84" fmla="*/ 37275 w 5996789"/>
                <a:gd name="connsiteY84" fmla="*/ 1798303 h 4305921"/>
                <a:gd name="connsiteX85" fmla="*/ 243799 w 5996789"/>
                <a:gd name="connsiteY85" fmla="*/ 1386174 h 4305921"/>
                <a:gd name="connsiteX86" fmla="*/ 163929 w 5996789"/>
                <a:gd name="connsiteY86" fmla="*/ 1788332 h 4305921"/>
                <a:gd name="connsiteX87" fmla="*/ 142519 w 5996789"/>
                <a:gd name="connsiteY87" fmla="*/ 1800347 h 4305921"/>
                <a:gd name="connsiteX88" fmla="*/ 215750 w 5996789"/>
                <a:gd name="connsiteY88" fmla="*/ 1866280 h 4305921"/>
                <a:gd name="connsiteX89" fmla="*/ 1833113 w 5996789"/>
                <a:gd name="connsiteY89" fmla="*/ 909016 h 4305921"/>
                <a:gd name="connsiteX90" fmla="*/ 1221699 w 5996789"/>
                <a:gd name="connsiteY90" fmla="*/ 1841560 h 4305921"/>
                <a:gd name="connsiteX91" fmla="*/ 1566414 w 5996789"/>
                <a:gd name="connsiteY91" fmla="*/ 2387660 h 4305921"/>
                <a:gd name="connsiteX92" fmla="*/ 1443596 w 5996789"/>
                <a:gd name="connsiteY92" fmla="*/ 2565531 h 4305921"/>
                <a:gd name="connsiteX93" fmla="*/ 1408805 w 5996789"/>
                <a:gd name="connsiteY93" fmla="*/ 2623667 h 4305921"/>
                <a:gd name="connsiteX94" fmla="*/ 1418054 w 5996789"/>
                <a:gd name="connsiteY94" fmla="*/ 2635650 h 4305921"/>
                <a:gd name="connsiteX95" fmla="*/ 1869399 w 5996789"/>
                <a:gd name="connsiteY95" fmla="*/ 2993632 h 4305921"/>
                <a:gd name="connsiteX96" fmla="*/ 2661931 w 5996789"/>
                <a:gd name="connsiteY96" fmla="*/ 2671568 h 4305921"/>
                <a:gd name="connsiteX97" fmla="*/ 2673961 w 5996789"/>
                <a:gd name="connsiteY97" fmla="*/ 2670522 h 4305921"/>
                <a:gd name="connsiteX98" fmla="*/ 2693882 w 5996789"/>
                <a:gd name="connsiteY98" fmla="*/ 2665877 h 4305921"/>
                <a:gd name="connsiteX99" fmla="*/ 2830675 w 5996789"/>
                <a:gd name="connsiteY99" fmla="*/ 2670514 h 4305921"/>
                <a:gd name="connsiteX100" fmla="*/ 2846154 w 5996789"/>
                <a:gd name="connsiteY100" fmla="*/ 2674100 h 4305921"/>
                <a:gd name="connsiteX101" fmla="*/ 2901383 w 5996789"/>
                <a:gd name="connsiteY101" fmla="*/ 2682721 h 4305921"/>
                <a:gd name="connsiteX102" fmla="*/ 2955302 w 5996789"/>
                <a:gd name="connsiteY102" fmla="*/ 2696508 h 4305921"/>
                <a:gd name="connsiteX103" fmla="*/ 2997886 w 5996789"/>
                <a:gd name="connsiteY103" fmla="*/ 2703485 h 4305921"/>
                <a:gd name="connsiteX104" fmla="*/ 2983232 w 5996789"/>
                <a:gd name="connsiteY104" fmla="*/ 1129662 h 4305921"/>
                <a:gd name="connsiteX105" fmla="*/ 2857209 w 5996789"/>
                <a:gd name="connsiteY105" fmla="*/ 2524708 h 4305921"/>
                <a:gd name="connsiteX106" fmla="*/ 2505517 w 5996789"/>
                <a:gd name="connsiteY106" fmla="*/ 2559877 h 4305921"/>
                <a:gd name="connsiteX107" fmla="*/ 1956905 w 5996789"/>
                <a:gd name="connsiteY107" fmla="*/ 2831462 h 4305921"/>
                <a:gd name="connsiteX108" fmla="*/ 1635078 w 5996789"/>
                <a:gd name="connsiteY108" fmla="*/ 2641939 h 4305921"/>
                <a:gd name="connsiteX109" fmla="*/ 1977978 w 5996789"/>
                <a:gd name="connsiteY109" fmla="*/ 1932693 h 4305921"/>
                <a:gd name="connsiteX110" fmla="*/ 1684901 w 5996789"/>
                <a:gd name="connsiteY110" fmla="*/ 2266800 h 4305921"/>
                <a:gd name="connsiteX111" fmla="*/ 1402431 w 5996789"/>
                <a:gd name="connsiteY111" fmla="*/ 1820068 h 4305921"/>
                <a:gd name="connsiteX112" fmla="*/ 2341394 w 5996789"/>
                <a:gd name="connsiteY112" fmla="*/ 602123 h 4305921"/>
                <a:gd name="connsiteX113" fmla="*/ 2838365 w 5996789"/>
                <a:gd name="connsiteY113" fmla="*/ 498745 h 4305921"/>
                <a:gd name="connsiteX114" fmla="*/ 2887056 w 5996789"/>
                <a:gd name="connsiteY114" fmla="*/ 485499 h 4305921"/>
                <a:gd name="connsiteX115" fmla="*/ 2875393 w 5996789"/>
                <a:gd name="connsiteY115" fmla="*/ 483824 h 4305921"/>
                <a:gd name="connsiteX116" fmla="*/ 2587857 w 5996789"/>
                <a:gd name="connsiteY116" fmla="*/ 477219 h 4305921"/>
                <a:gd name="connsiteX117" fmla="*/ 3607485 w 5996789"/>
                <a:gd name="connsiteY117" fmla="*/ 63 h 43059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Lst>
              <a:rect l="l" t="t" r="r" b="b"/>
              <a:pathLst>
                <a:path w="5996789" h="4305921">
                  <a:moveTo>
                    <a:pt x="3620186" y="3312946"/>
                  </a:moveTo>
                  <a:cubicBezTo>
                    <a:pt x="3686709" y="3387937"/>
                    <a:pt x="3753536" y="3546386"/>
                    <a:pt x="3776214" y="3646776"/>
                  </a:cubicBezTo>
                  <a:cubicBezTo>
                    <a:pt x="3798892" y="3747166"/>
                    <a:pt x="3740533" y="3840299"/>
                    <a:pt x="3756257" y="3915289"/>
                  </a:cubicBezTo>
                  <a:cubicBezTo>
                    <a:pt x="3787099" y="3983627"/>
                    <a:pt x="3836087" y="4037451"/>
                    <a:pt x="3816129" y="4107603"/>
                  </a:cubicBezTo>
                  <a:cubicBezTo>
                    <a:pt x="3786497" y="4209505"/>
                    <a:pt x="3593576" y="4179570"/>
                    <a:pt x="3482300" y="4180175"/>
                  </a:cubicBezTo>
                  <a:cubicBezTo>
                    <a:pt x="3371024" y="4180780"/>
                    <a:pt x="3120653" y="4260608"/>
                    <a:pt x="3148472" y="4111232"/>
                  </a:cubicBezTo>
                  <a:cubicBezTo>
                    <a:pt x="3423638" y="3906823"/>
                    <a:pt x="3528262" y="3677012"/>
                    <a:pt x="3620186" y="3312946"/>
                  </a:cubicBezTo>
                  <a:close/>
                  <a:moveTo>
                    <a:pt x="365356" y="2979119"/>
                  </a:moveTo>
                  <a:cubicBezTo>
                    <a:pt x="473608" y="3331695"/>
                    <a:pt x="541947" y="3450228"/>
                    <a:pt x="706442" y="3683062"/>
                  </a:cubicBezTo>
                  <a:cubicBezTo>
                    <a:pt x="655037" y="3770753"/>
                    <a:pt x="643546" y="3833041"/>
                    <a:pt x="525013" y="3830018"/>
                  </a:cubicBezTo>
                  <a:cubicBezTo>
                    <a:pt x="381683" y="3816715"/>
                    <a:pt x="93213" y="3498609"/>
                    <a:pt x="87771" y="3390962"/>
                  </a:cubicBezTo>
                  <a:cubicBezTo>
                    <a:pt x="87769" y="3304481"/>
                    <a:pt x="267385" y="3091000"/>
                    <a:pt x="365356" y="2979119"/>
                  </a:cubicBezTo>
                  <a:close/>
                  <a:moveTo>
                    <a:pt x="4139073" y="1036923"/>
                  </a:moveTo>
                  <a:cubicBezTo>
                    <a:pt x="3934664" y="1099819"/>
                    <a:pt x="3797380" y="1118266"/>
                    <a:pt x="3651029" y="1406131"/>
                  </a:cubicBezTo>
                  <a:cubicBezTo>
                    <a:pt x="3734335" y="1321918"/>
                    <a:pt x="3743481" y="1326606"/>
                    <a:pt x="3748999" y="1323583"/>
                  </a:cubicBezTo>
                  <a:cubicBezTo>
                    <a:pt x="3790873" y="1427021"/>
                    <a:pt x="3816418" y="1434302"/>
                    <a:pt x="3907276" y="1465171"/>
                  </a:cubicBezTo>
                  <a:cubicBezTo>
                    <a:pt x="3906901" y="1466512"/>
                    <a:pt x="3860126" y="1512268"/>
                    <a:pt x="3805244" y="1620218"/>
                  </a:cubicBezTo>
                  <a:cubicBezTo>
                    <a:pt x="3978809" y="1428509"/>
                    <a:pt x="4099763" y="1325697"/>
                    <a:pt x="4338644" y="1230145"/>
                  </a:cubicBezTo>
                  <a:cubicBezTo>
                    <a:pt x="4233417" y="1239897"/>
                    <a:pt x="4203027" y="1264420"/>
                    <a:pt x="4198682" y="1265252"/>
                  </a:cubicBezTo>
                  <a:cubicBezTo>
                    <a:pt x="4182588" y="1154672"/>
                    <a:pt x="4150175" y="1125735"/>
                    <a:pt x="4057883" y="1094980"/>
                  </a:cubicBezTo>
                  <a:cubicBezTo>
                    <a:pt x="4080185" y="1062019"/>
                    <a:pt x="4138315" y="1040402"/>
                    <a:pt x="4139073" y="1036923"/>
                  </a:cubicBezTo>
                  <a:close/>
                  <a:moveTo>
                    <a:pt x="3598662" y="703111"/>
                  </a:moveTo>
                  <a:cubicBezTo>
                    <a:pt x="3498934" y="711015"/>
                    <a:pt x="3457807" y="794149"/>
                    <a:pt x="3426057" y="1114030"/>
                  </a:cubicBezTo>
                  <a:cubicBezTo>
                    <a:pt x="3521610" y="891478"/>
                    <a:pt x="3584505" y="765083"/>
                    <a:pt x="3810686" y="729401"/>
                  </a:cubicBezTo>
                  <a:cubicBezTo>
                    <a:pt x="3744163" y="719271"/>
                    <a:pt x="3689885" y="707781"/>
                    <a:pt x="3645133" y="703859"/>
                  </a:cubicBezTo>
                  <a:cubicBezTo>
                    <a:pt x="3628351" y="702389"/>
                    <a:pt x="3612908" y="701982"/>
                    <a:pt x="3598662" y="703111"/>
                  </a:cubicBezTo>
                  <a:close/>
                  <a:moveTo>
                    <a:pt x="5685617" y="254049"/>
                  </a:moveTo>
                  <a:cubicBezTo>
                    <a:pt x="5662652" y="233993"/>
                    <a:pt x="5566898" y="388936"/>
                    <a:pt x="5497832" y="442881"/>
                  </a:cubicBezTo>
                  <a:cubicBezTo>
                    <a:pt x="5428765" y="496826"/>
                    <a:pt x="5271791" y="542948"/>
                    <a:pt x="5271218" y="577718"/>
                  </a:cubicBezTo>
                  <a:cubicBezTo>
                    <a:pt x="5270644" y="612489"/>
                    <a:pt x="5418513" y="621084"/>
                    <a:pt x="5518876" y="537204"/>
                  </a:cubicBezTo>
                  <a:cubicBezTo>
                    <a:pt x="5619239" y="453324"/>
                    <a:pt x="5718107" y="295877"/>
                    <a:pt x="5685617" y="254049"/>
                  </a:cubicBezTo>
                  <a:close/>
                  <a:moveTo>
                    <a:pt x="3607485" y="63"/>
                  </a:moveTo>
                  <a:cubicBezTo>
                    <a:pt x="3892933" y="-4170"/>
                    <a:pt x="4223738" y="203867"/>
                    <a:pt x="4469272" y="528019"/>
                  </a:cubicBezTo>
                  <a:cubicBezTo>
                    <a:pt x="4410761" y="533462"/>
                    <a:pt x="4334901" y="545028"/>
                    <a:pt x="4312109" y="576495"/>
                  </a:cubicBezTo>
                  <a:lnTo>
                    <a:pt x="4311926" y="576976"/>
                  </a:lnTo>
                  <a:lnTo>
                    <a:pt x="4334277" y="578166"/>
                  </a:lnTo>
                  <a:cubicBezTo>
                    <a:pt x="4430264" y="584487"/>
                    <a:pt x="4535946" y="595145"/>
                    <a:pt x="4576315" y="607845"/>
                  </a:cubicBezTo>
                  <a:cubicBezTo>
                    <a:pt x="4651910" y="624778"/>
                    <a:pt x="4821848" y="835841"/>
                    <a:pt x="4808543" y="903574"/>
                  </a:cubicBezTo>
                  <a:cubicBezTo>
                    <a:pt x="4807938" y="965562"/>
                    <a:pt x="4688801" y="931393"/>
                    <a:pt x="4579944" y="956188"/>
                  </a:cubicBezTo>
                  <a:cubicBezTo>
                    <a:pt x="4566337" y="959287"/>
                    <a:pt x="4550335" y="964116"/>
                    <a:pt x="4532643" y="970068"/>
                  </a:cubicBezTo>
                  <a:lnTo>
                    <a:pt x="4501091" y="981396"/>
                  </a:lnTo>
                  <a:lnTo>
                    <a:pt x="4539462" y="981135"/>
                  </a:lnTo>
                  <a:cubicBezTo>
                    <a:pt x="4594798" y="976939"/>
                    <a:pt x="4622580" y="970703"/>
                    <a:pt x="4677915" y="1045089"/>
                  </a:cubicBezTo>
                  <a:cubicBezTo>
                    <a:pt x="4718434" y="1164831"/>
                    <a:pt x="4691825" y="1141247"/>
                    <a:pt x="4608972" y="1202932"/>
                  </a:cubicBezTo>
                  <a:cubicBezTo>
                    <a:pt x="4739600" y="1169066"/>
                    <a:pt x="4777701" y="1156970"/>
                    <a:pt x="4848457" y="1204746"/>
                  </a:cubicBezTo>
                  <a:cubicBezTo>
                    <a:pt x="4937357" y="1346260"/>
                    <a:pt x="4873857" y="1357147"/>
                    <a:pt x="4821243" y="1417018"/>
                  </a:cubicBezTo>
                  <a:cubicBezTo>
                    <a:pt x="4902885" y="1348075"/>
                    <a:pt x="4970015" y="1282761"/>
                    <a:pt x="5077057" y="1368032"/>
                  </a:cubicBezTo>
                  <a:cubicBezTo>
                    <a:pt x="5168225" y="1439243"/>
                    <a:pt x="5087943" y="1608425"/>
                    <a:pt x="5011488" y="1756176"/>
                  </a:cubicBezTo>
                  <a:lnTo>
                    <a:pt x="5005149" y="1768400"/>
                  </a:lnTo>
                  <a:lnTo>
                    <a:pt x="5035260" y="1744642"/>
                  </a:lnTo>
                  <a:cubicBezTo>
                    <a:pt x="5438762" y="1362546"/>
                    <a:pt x="5121509" y="633925"/>
                    <a:pt x="5207688" y="508059"/>
                  </a:cubicBezTo>
                  <a:cubicBezTo>
                    <a:pt x="5251230" y="440931"/>
                    <a:pt x="5321988" y="453632"/>
                    <a:pt x="5483459" y="368360"/>
                  </a:cubicBezTo>
                  <a:cubicBezTo>
                    <a:pt x="5536074" y="337517"/>
                    <a:pt x="5592014" y="130991"/>
                    <a:pt x="5672145" y="150645"/>
                  </a:cubicBezTo>
                  <a:cubicBezTo>
                    <a:pt x="6022604" y="236603"/>
                    <a:pt x="6267836" y="2016941"/>
                    <a:pt x="5430845" y="2532803"/>
                  </a:cubicBezTo>
                  <a:cubicBezTo>
                    <a:pt x="5125252" y="2699491"/>
                    <a:pt x="4586848" y="2791232"/>
                    <a:pt x="3971108" y="2163716"/>
                  </a:cubicBezTo>
                  <a:lnTo>
                    <a:pt x="3935466" y="2124873"/>
                  </a:lnTo>
                  <a:lnTo>
                    <a:pt x="3916664" y="2222014"/>
                  </a:lnTo>
                  <a:cubicBezTo>
                    <a:pt x="3847574" y="2718004"/>
                    <a:pt x="4173544" y="3189576"/>
                    <a:pt x="4481972" y="2672504"/>
                  </a:cubicBezTo>
                  <a:lnTo>
                    <a:pt x="4549100" y="2677947"/>
                  </a:lnTo>
                  <a:cubicBezTo>
                    <a:pt x="4476529" y="2891427"/>
                    <a:pt x="4329572" y="3086766"/>
                    <a:pt x="4122743" y="3051690"/>
                  </a:cubicBezTo>
                  <a:cubicBezTo>
                    <a:pt x="3880234" y="3020847"/>
                    <a:pt x="3777424" y="2859375"/>
                    <a:pt x="3689129" y="2757776"/>
                  </a:cubicBezTo>
                  <a:cubicBezTo>
                    <a:pt x="3569387" y="2729201"/>
                    <a:pt x="3433315" y="2631230"/>
                    <a:pt x="3299285" y="2541933"/>
                  </a:cubicBezTo>
                  <a:lnTo>
                    <a:pt x="3246026" y="2508407"/>
                  </a:lnTo>
                  <a:lnTo>
                    <a:pt x="3249973" y="2518743"/>
                  </a:lnTo>
                  <a:cubicBezTo>
                    <a:pt x="3337818" y="2713257"/>
                    <a:pt x="3488792" y="2837897"/>
                    <a:pt x="3592971" y="2890218"/>
                  </a:cubicBezTo>
                  <a:cubicBezTo>
                    <a:pt x="3490766" y="3257308"/>
                    <a:pt x="3264539" y="3686442"/>
                    <a:pt x="3204714" y="3741118"/>
                  </a:cubicBezTo>
                  <a:cubicBezTo>
                    <a:pt x="2818271" y="4094300"/>
                    <a:pt x="2606000" y="4318665"/>
                    <a:pt x="2491699" y="4305361"/>
                  </a:cubicBezTo>
                  <a:cubicBezTo>
                    <a:pt x="2334462" y="4291451"/>
                    <a:pt x="2088323" y="3903799"/>
                    <a:pt x="2107071" y="3839089"/>
                  </a:cubicBezTo>
                  <a:cubicBezTo>
                    <a:pt x="2169966" y="3684271"/>
                    <a:pt x="2401590" y="3665523"/>
                    <a:pt x="2453599" y="3581461"/>
                  </a:cubicBezTo>
                  <a:cubicBezTo>
                    <a:pt x="2471742" y="3448414"/>
                    <a:pt x="2437270" y="3407894"/>
                    <a:pt x="2435456" y="3302061"/>
                  </a:cubicBezTo>
                  <a:cubicBezTo>
                    <a:pt x="2286761" y="3631733"/>
                    <a:pt x="1843583" y="3559964"/>
                    <a:pt x="1634637" y="3346858"/>
                  </a:cubicBezTo>
                  <a:lnTo>
                    <a:pt x="1602322" y="3309232"/>
                  </a:lnTo>
                  <a:lnTo>
                    <a:pt x="1606556" y="3424752"/>
                  </a:lnTo>
                  <a:cubicBezTo>
                    <a:pt x="1610109" y="3534138"/>
                    <a:pt x="1611167" y="3639216"/>
                    <a:pt x="1600886" y="3732046"/>
                  </a:cubicBezTo>
                  <a:cubicBezTo>
                    <a:pt x="1585163" y="3848765"/>
                    <a:pt x="1478724" y="3938270"/>
                    <a:pt x="1466629" y="4020518"/>
                  </a:cubicBezTo>
                  <a:cubicBezTo>
                    <a:pt x="1458767" y="4094299"/>
                    <a:pt x="1470863" y="4197109"/>
                    <a:pt x="1443043" y="4241861"/>
                  </a:cubicBezTo>
                  <a:cubicBezTo>
                    <a:pt x="1347491" y="4371280"/>
                    <a:pt x="754824" y="4208599"/>
                    <a:pt x="748172" y="4107603"/>
                  </a:cubicBezTo>
                  <a:cubicBezTo>
                    <a:pt x="737891" y="3945527"/>
                    <a:pt x="792924" y="3953994"/>
                    <a:pt x="815300" y="3877189"/>
                  </a:cubicBezTo>
                  <a:cubicBezTo>
                    <a:pt x="823011" y="3779671"/>
                    <a:pt x="837866" y="3707668"/>
                    <a:pt x="843790" y="3603771"/>
                  </a:cubicBezTo>
                  <a:lnTo>
                    <a:pt x="844480" y="3586118"/>
                  </a:lnTo>
                  <a:lnTo>
                    <a:pt x="824913" y="3548501"/>
                  </a:lnTo>
                  <a:cubicBezTo>
                    <a:pt x="628087" y="3208189"/>
                    <a:pt x="316142" y="2844784"/>
                    <a:pt x="454256" y="2111888"/>
                  </a:cubicBezTo>
                  <a:cubicBezTo>
                    <a:pt x="133129" y="2189449"/>
                    <a:pt x="77340" y="2000650"/>
                    <a:pt x="56504" y="1830221"/>
                  </a:cubicBezTo>
                  <a:lnTo>
                    <a:pt x="54019" y="1806341"/>
                  </a:lnTo>
                  <a:lnTo>
                    <a:pt x="37275" y="1798303"/>
                  </a:lnTo>
                  <a:cubicBezTo>
                    <a:pt x="-57562" y="1715448"/>
                    <a:pt x="34778" y="1477191"/>
                    <a:pt x="243799" y="1386174"/>
                  </a:cubicBezTo>
                  <a:cubicBezTo>
                    <a:pt x="140083" y="1575616"/>
                    <a:pt x="293344" y="1701161"/>
                    <a:pt x="163929" y="1788332"/>
                  </a:cubicBezTo>
                  <a:lnTo>
                    <a:pt x="142519" y="1800347"/>
                  </a:lnTo>
                  <a:lnTo>
                    <a:pt x="215750" y="1866280"/>
                  </a:lnTo>
                  <a:cubicBezTo>
                    <a:pt x="566884" y="2113467"/>
                    <a:pt x="563114" y="1091049"/>
                    <a:pt x="1833113" y="909016"/>
                  </a:cubicBezTo>
                  <a:cubicBezTo>
                    <a:pt x="1355351" y="1394035"/>
                    <a:pt x="1316647" y="1570626"/>
                    <a:pt x="1221699" y="1841560"/>
                  </a:cubicBezTo>
                  <a:cubicBezTo>
                    <a:pt x="1280360" y="2103421"/>
                    <a:pt x="1487795" y="2176598"/>
                    <a:pt x="1566414" y="2387660"/>
                  </a:cubicBezTo>
                  <a:cubicBezTo>
                    <a:pt x="1521435" y="2448439"/>
                    <a:pt x="1480765" y="2507630"/>
                    <a:pt x="1443596" y="2565531"/>
                  </a:cubicBezTo>
                  <a:lnTo>
                    <a:pt x="1408805" y="2623667"/>
                  </a:lnTo>
                  <a:lnTo>
                    <a:pt x="1418054" y="2635650"/>
                  </a:lnTo>
                  <a:cubicBezTo>
                    <a:pt x="1537943" y="2781370"/>
                    <a:pt x="1741869" y="2968762"/>
                    <a:pt x="1869399" y="2993632"/>
                  </a:cubicBezTo>
                  <a:cubicBezTo>
                    <a:pt x="2297118" y="2948274"/>
                    <a:pt x="2395202" y="2713098"/>
                    <a:pt x="2661931" y="2671568"/>
                  </a:cubicBezTo>
                  <a:lnTo>
                    <a:pt x="2673961" y="2670522"/>
                  </a:lnTo>
                  <a:lnTo>
                    <a:pt x="2693882" y="2665877"/>
                  </a:lnTo>
                  <a:cubicBezTo>
                    <a:pt x="2744901" y="2657855"/>
                    <a:pt x="2788873" y="2662271"/>
                    <a:pt x="2830675" y="2670514"/>
                  </a:cubicBezTo>
                  <a:lnTo>
                    <a:pt x="2846154" y="2674100"/>
                  </a:lnTo>
                  <a:lnTo>
                    <a:pt x="2901383" y="2682721"/>
                  </a:lnTo>
                  <a:lnTo>
                    <a:pt x="2955302" y="2696508"/>
                  </a:lnTo>
                  <a:lnTo>
                    <a:pt x="2997886" y="2703485"/>
                  </a:lnTo>
                  <a:cubicBezTo>
                    <a:pt x="3265144" y="1718049"/>
                    <a:pt x="2888331" y="1717770"/>
                    <a:pt x="2983232" y="1129662"/>
                  </a:cubicBezTo>
                  <a:cubicBezTo>
                    <a:pt x="2716253" y="1857748"/>
                    <a:pt x="3104232" y="1854679"/>
                    <a:pt x="2857209" y="2524708"/>
                  </a:cubicBezTo>
                  <a:cubicBezTo>
                    <a:pt x="2739978" y="2536431"/>
                    <a:pt x="2686248" y="2484654"/>
                    <a:pt x="2505517" y="2559877"/>
                  </a:cubicBezTo>
                  <a:cubicBezTo>
                    <a:pt x="2322646" y="2650405"/>
                    <a:pt x="2147033" y="2806248"/>
                    <a:pt x="1956905" y="2831462"/>
                  </a:cubicBezTo>
                  <a:cubicBezTo>
                    <a:pt x="1778872" y="2833603"/>
                    <a:pt x="1720583" y="2766799"/>
                    <a:pt x="1635078" y="2641939"/>
                  </a:cubicBezTo>
                  <a:lnTo>
                    <a:pt x="1977978" y="1932693"/>
                  </a:lnTo>
                  <a:lnTo>
                    <a:pt x="1684901" y="2266800"/>
                  </a:lnTo>
                  <a:cubicBezTo>
                    <a:pt x="1501240" y="1883847"/>
                    <a:pt x="1485607" y="2037501"/>
                    <a:pt x="1402431" y="1820068"/>
                  </a:cubicBezTo>
                  <a:cubicBezTo>
                    <a:pt x="1434809" y="1410458"/>
                    <a:pt x="2220116" y="686976"/>
                    <a:pt x="2341394" y="602123"/>
                  </a:cubicBezTo>
                  <a:cubicBezTo>
                    <a:pt x="2399399" y="551690"/>
                    <a:pt x="2579641" y="560985"/>
                    <a:pt x="2838365" y="498745"/>
                  </a:cubicBezTo>
                  <a:lnTo>
                    <a:pt x="2887056" y="485499"/>
                  </a:lnTo>
                  <a:lnTo>
                    <a:pt x="2875393" y="483824"/>
                  </a:lnTo>
                  <a:cubicBezTo>
                    <a:pt x="2805647" y="476425"/>
                    <a:pt x="2712740" y="475858"/>
                    <a:pt x="2587857" y="477219"/>
                  </a:cubicBezTo>
                  <a:cubicBezTo>
                    <a:pt x="2832181" y="98638"/>
                    <a:pt x="3263375" y="10344"/>
                    <a:pt x="3607485" y="63"/>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tx1"/>
                </a:solidFill>
                <a:effectLst/>
                <a:uLnTx/>
                <a:uFillTx/>
              </a:endParaRPr>
            </a:p>
          </p:txBody>
        </p:sp>
        <p:sp>
          <p:nvSpPr>
            <p:cNvPr id="107" name="Partial Circle 106"/>
            <p:cNvSpPr/>
            <p:nvPr/>
          </p:nvSpPr>
          <p:spPr bwMode="auto">
            <a:xfrm>
              <a:off x="7494091" y="5188726"/>
              <a:ext cx="149198" cy="149198"/>
            </a:xfrm>
            <a:prstGeom prst="pie">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5439">
                      <a:srgbClr val="F8F8F8"/>
                    </a:gs>
                    <a:gs pos="10000">
                      <a:srgbClr val="F8F8F8"/>
                    </a:gs>
                  </a:gsLst>
                  <a:lin ang="5400000" scaled="0"/>
                </a:gradFill>
                <a:effectLst/>
                <a:uLnTx/>
                <a:uFillTx/>
              </a:endParaRPr>
            </a:p>
          </p:txBody>
        </p:sp>
        <p:sp>
          <p:nvSpPr>
            <p:cNvPr id="591" name="Partial Circle 590"/>
            <p:cNvSpPr/>
            <p:nvPr/>
          </p:nvSpPr>
          <p:spPr bwMode="auto">
            <a:xfrm>
              <a:off x="7251750" y="5579076"/>
              <a:ext cx="149198" cy="149198"/>
            </a:xfrm>
            <a:prstGeom prst="pie">
              <a:avLst>
                <a:gd name="adj1" fmla="val 16379904"/>
                <a:gd name="adj2" fmla="val 2754266"/>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5439">
                      <a:srgbClr val="F8F8F8"/>
                    </a:gs>
                    <a:gs pos="10000">
                      <a:srgbClr val="F8F8F8"/>
                    </a:gs>
                  </a:gsLst>
                  <a:lin ang="5400000" scaled="0"/>
                </a:gradFill>
                <a:effectLst/>
                <a:uLnTx/>
                <a:uFillTx/>
              </a:endParaRPr>
            </a:p>
          </p:txBody>
        </p:sp>
        <p:sp>
          <p:nvSpPr>
            <p:cNvPr id="592" name="Partial Circle 591"/>
            <p:cNvSpPr/>
            <p:nvPr/>
          </p:nvSpPr>
          <p:spPr bwMode="auto">
            <a:xfrm>
              <a:off x="7607807" y="5610329"/>
              <a:ext cx="149198" cy="149198"/>
            </a:xfrm>
            <a:prstGeom prst="pie">
              <a:avLst>
                <a:gd name="adj1" fmla="val 2083626"/>
                <a:gd name="adj2" fmla="val 16200000"/>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5439">
                      <a:srgbClr val="F8F8F8"/>
                    </a:gs>
                    <a:gs pos="10000">
                      <a:srgbClr val="F8F8F8"/>
                    </a:gs>
                  </a:gsLst>
                  <a:lin ang="5400000" scaled="0"/>
                </a:gradFill>
                <a:effectLst/>
                <a:uLnTx/>
                <a:uFillTx/>
              </a:endParaRPr>
            </a:p>
          </p:txBody>
        </p:sp>
        <p:sp>
          <p:nvSpPr>
            <p:cNvPr id="593" name="Partial Circle 592"/>
            <p:cNvSpPr/>
            <p:nvPr/>
          </p:nvSpPr>
          <p:spPr bwMode="auto">
            <a:xfrm>
              <a:off x="7348582" y="5837485"/>
              <a:ext cx="125864" cy="125864"/>
            </a:xfrm>
            <a:prstGeom prst="pie">
              <a:avLst>
                <a:gd name="adj1" fmla="val 19519544"/>
                <a:gd name="adj2" fmla="val 16200000"/>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5439">
                      <a:srgbClr val="F8F8F8"/>
                    </a:gs>
                    <a:gs pos="10000">
                      <a:srgbClr val="F8F8F8"/>
                    </a:gs>
                  </a:gsLst>
                  <a:lin ang="5400000" scaled="0"/>
                </a:gradFill>
                <a:effectLst/>
                <a:uLnTx/>
                <a:uFillTx/>
              </a:endParaRPr>
            </a:p>
          </p:txBody>
        </p:sp>
      </p:grpSp>
      <p:grpSp>
        <p:nvGrpSpPr>
          <p:cNvPr id="2" name="Group 1"/>
          <p:cNvGrpSpPr/>
          <p:nvPr/>
        </p:nvGrpSpPr>
        <p:grpSpPr>
          <a:xfrm>
            <a:off x="682055" y="1673361"/>
            <a:ext cx="955156" cy="691498"/>
            <a:chOff x="500776" y="1461129"/>
            <a:chExt cx="1317714" cy="953978"/>
          </a:xfrm>
        </p:grpSpPr>
        <p:grpSp>
          <p:nvGrpSpPr>
            <p:cNvPr id="130" name="Group 129"/>
            <p:cNvGrpSpPr/>
            <p:nvPr/>
          </p:nvGrpSpPr>
          <p:grpSpPr>
            <a:xfrm>
              <a:off x="500776" y="1461129"/>
              <a:ext cx="1317714" cy="953978"/>
              <a:chOff x="500776" y="1461129"/>
              <a:chExt cx="1317714" cy="953978"/>
            </a:xfrm>
          </p:grpSpPr>
          <p:sp>
            <p:nvSpPr>
              <p:cNvPr id="14" name="Freeform 7"/>
              <p:cNvSpPr>
                <a:spLocks/>
              </p:cNvSpPr>
              <p:nvPr/>
            </p:nvSpPr>
            <p:spPr bwMode="auto">
              <a:xfrm>
                <a:off x="608698" y="1463794"/>
                <a:ext cx="1103202" cy="704825"/>
              </a:xfrm>
              <a:custGeom>
                <a:avLst/>
                <a:gdLst>
                  <a:gd name="T0" fmla="*/ 1207 w 1227"/>
                  <a:gd name="T1" fmla="*/ 0 h 788"/>
                  <a:gd name="T2" fmla="*/ 20 w 1227"/>
                  <a:gd name="T3" fmla="*/ 0 h 788"/>
                  <a:gd name="T4" fmla="*/ 0 w 1227"/>
                  <a:gd name="T5" fmla="*/ 21 h 788"/>
                  <a:gd name="T6" fmla="*/ 0 w 1227"/>
                  <a:gd name="T7" fmla="*/ 788 h 788"/>
                  <a:gd name="T8" fmla="*/ 1227 w 1227"/>
                  <a:gd name="T9" fmla="*/ 788 h 788"/>
                  <a:gd name="T10" fmla="*/ 1227 w 1227"/>
                  <a:gd name="T11" fmla="*/ 21 h 788"/>
                  <a:gd name="T12" fmla="*/ 1207 w 1227"/>
                  <a:gd name="T13" fmla="*/ 0 h 788"/>
                </a:gdLst>
                <a:ahLst/>
                <a:cxnLst>
                  <a:cxn ang="0">
                    <a:pos x="T0" y="T1"/>
                  </a:cxn>
                  <a:cxn ang="0">
                    <a:pos x="T2" y="T3"/>
                  </a:cxn>
                  <a:cxn ang="0">
                    <a:pos x="T4" y="T5"/>
                  </a:cxn>
                  <a:cxn ang="0">
                    <a:pos x="T6" y="T7"/>
                  </a:cxn>
                  <a:cxn ang="0">
                    <a:pos x="T8" y="T9"/>
                  </a:cxn>
                  <a:cxn ang="0">
                    <a:pos x="T10" y="T11"/>
                  </a:cxn>
                  <a:cxn ang="0">
                    <a:pos x="T12" y="T13"/>
                  </a:cxn>
                </a:cxnLst>
                <a:rect l="0" t="0" r="r" b="b"/>
                <a:pathLst>
                  <a:path w="1227" h="788">
                    <a:moveTo>
                      <a:pt x="1207" y="0"/>
                    </a:moveTo>
                    <a:cubicBezTo>
                      <a:pt x="20" y="0"/>
                      <a:pt x="20" y="0"/>
                      <a:pt x="20" y="0"/>
                    </a:cubicBezTo>
                    <a:cubicBezTo>
                      <a:pt x="9" y="0"/>
                      <a:pt x="0" y="9"/>
                      <a:pt x="0" y="21"/>
                    </a:cubicBezTo>
                    <a:cubicBezTo>
                      <a:pt x="0" y="788"/>
                      <a:pt x="0" y="788"/>
                      <a:pt x="0" y="788"/>
                    </a:cubicBezTo>
                    <a:cubicBezTo>
                      <a:pt x="1227" y="788"/>
                      <a:pt x="1227" y="788"/>
                      <a:pt x="1227" y="788"/>
                    </a:cubicBezTo>
                    <a:cubicBezTo>
                      <a:pt x="1227" y="21"/>
                      <a:pt x="1227" y="21"/>
                      <a:pt x="1227" y="21"/>
                    </a:cubicBezTo>
                    <a:cubicBezTo>
                      <a:pt x="1227" y="9"/>
                      <a:pt x="1218" y="0"/>
                      <a:pt x="1207" y="0"/>
                    </a:cubicBezTo>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5" name="Freeform 8"/>
              <p:cNvSpPr>
                <a:spLocks/>
              </p:cNvSpPr>
              <p:nvPr/>
            </p:nvSpPr>
            <p:spPr bwMode="auto">
              <a:xfrm>
                <a:off x="604701" y="1461129"/>
                <a:ext cx="1111197" cy="711486"/>
              </a:xfrm>
              <a:custGeom>
                <a:avLst/>
                <a:gdLst>
                  <a:gd name="T0" fmla="*/ 1211 w 1235"/>
                  <a:gd name="T1" fmla="*/ 4 h 796"/>
                  <a:gd name="T2" fmla="*/ 1211 w 1235"/>
                  <a:gd name="T3" fmla="*/ 0 h 796"/>
                  <a:gd name="T4" fmla="*/ 24 w 1235"/>
                  <a:gd name="T5" fmla="*/ 0 h 796"/>
                  <a:gd name="T6" fmla="*/ 7 w 1235"/>
                  <a:gd name="T7" fmla="*/ 7 h 796"/>
                  <a:gd name="T8" fmla="*/ 0 w 1235"/>
                  <a:gd name="T9" fmla="*/ 25 h 796"/>
                  <a:gd name="T10" fmla="*/ 0 w 1235"/>
                  <a:gd name="T11" fmla="*/ 796 h 796"/>
                  <a:gd name="T12" fmla="*/ 1235 w 1235"/>
                  <a:gd name="T13" fmla="*/ 796 h 796"/>
                  <a:gd name="T14" fmla="*/ 1235 w 1235"/>
                  <a:gd name="T15" fmla="*/ 25 h 796"/>
                  <a:gd name="T16" fmla="*/ 1228 w 1235"/>
                  <a:gd name="T17" fmla="*/ 7 h 796"/>
                  <a:gd name="T18" fmla="*/ 1211 w 1235"/>
                  <a:gd name="T19" fmla="*/ 0 h 796"/>
                  <a:gd name="T20" fmla="*/ 1211 w 1235"/>
                  <a:gd name="T21" fmla="*/ 4 h 796"/>
                  <a:gd name="T22" fmla="*/ 1211 w 1235"/>
                  <a:gd name="T23" fmla="*/ 8 h 796"/>
                  <a:gd name="T24" fmla="*/ 1222 w 1235"/>
                  <a:gd name="T25" fmla="*/ 13 h 796"/>
                  <a:gd name="T26" fmla="*/ 1226 w 1235"/>
                  <a:gd name="T27" fmla="*/ 25 h 796"/>
                  <a:gd name="T28" fmla="*/ 1226 w 1235"/>
                  <a:gd name="T29" fmla="*/ 788 h 796"/>
                  <a:gd name="T30" fmla="*/ 8 w 1235"/>
                  <a:gd name="T31" fmla="*/ 788 h 796"/>
                  <a:gd name="T32" fmla="*/ 8 w 1235"/>
                  <a:gd name="T33" fmla="*/ 25 h 796"/>
                  <a:gd name="T34" fmla="*/ 13 w 1235"/>
                  <a:gd name="T35" fmla="*/ 13 h 796"/>
                  <a:gd name="T36" fmla="*/ 24 w 1235"/>
                  <a:gd name="T37" fmla="*/ 8 h 796"/>
                  <a:gd name="T38" fmla="*/ 1211 w 1235"/>
                  <a:gd name="T39" fmla="*/ 8 h 796"/>
                  <a:gd name="T40" fmla="*/ 1211 w 1235"/>
                  <a:gd name="T41" fmla="*/ 4 h 7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35" h="796">
                    <a:moveTo>
                      <a:pt x="1211" y="4"/>
                    </a:moveTo>
                    <a:cubicBezTo>
                      <a:pt x="1211" y="0"/>
                      <a:pt x="1211" y="0"/>
                      <a:pt x="1211" y="0"/>
                    </a:cubicBezTo>
                    <a:cubicBezTo>
                      <a:pt x="24" y="0"/>
                      <a:pt x="24" y="0"/>
                      <a:pt x="24" y="0"/>
                    </a:cubicBezTo>
                    <a:cubicBezTo>
                      <a:pt x="17" y="0"/>
                      <a:pt x="11" y="3"/>
                      <a:pt x="7" y="7"/>
                    </a:cubicBezTo>
                    <a:cubicBezTo>
                      <a:pt x="2" y="12"/>
                      <a:pt x="0" y="18"/>
                      <a:pt x="0" y="25"/>
                    </a:cubicBezTo>
                    <a:cubicBezTo>
                      <a:pt x="0" y="796"/>
                      <a:pt x="0" y="796"/>
                      <a:pt x="0" y="796"/>
                    </a:cubicBezTo>
                    <a:cubicBezTo>
                      <a:pt x="1235" y="796"/>
                      <a:pt x="1235" y="796"/>
                      <a:pt x="1235" y="796"/>
                    </a:cubicBezTo>
                    <a:cubicBezTo>
                      <a:pt x="1235" y="25"/>
                      <a:pt x="1235" y="25"/>
                      <a:pt x="1235" y="25"/>
                    </a:cubicBezTo>
                    <a:cubicBezTo>
                      <a:pt x="1235" y="18"/>
                      <a:pt x="1232" y="12"/>
                      <a:pt x="1228" y="7"/>
                    </a:cubicBezTo>
                    <a:cubicBezTo>
                      <a:pt x="1224" y="3"/>
                      <a:pt x="1217" y="0"/>
                      <a:pt x="1211" y="0"/>
                    </a:cubicBezTo>
                    <a:cubicBezTo>
                      <a:pt x="1211" y="4"/>
                      <a:pt x="1211" y="4"/>
                      <a:pt x="1211" y="4"/>
                    </a:cubicBezTo>
                    <a:cubicBezTo>
                      <a:pt x="1211" y="8"/>
                      <a:pt x="1211" y="8"/>
                      <a:pt x="1211" y="8"/>
                    </a:cubicBezTo>
                    <a:cubicBezTo>
                      <a:pt x="1215" y="8"/>
                      <a:pt x="1219" y="10"/>
                      <a:pt x="1222" y="13"/>
                    </a:cubicBezTo>
                    <a:cubicBezTo>
                      <a:pt x="1225" y="16"/>
                      <a:pt x="1226" y="20"/>
                      <a:pt x="1226" y="25"/>
                    </a:cubicBezTo>
                    <a:cubicBezTo>
                      <a:pt x="1226" y="788"/>
                      <a:pt x="1226" y="788"/>
                      <a:pt x="1226" y="788"/>
                    </a:cubicBezTo>
                    <a:cubicBezTo>
                      <a:pt x="8" y="788"/>
                      <a:pt x="8" y="788"/>
                      <a:pt x="8" y="788"/>
                    </a:cubicBezTo>
                    <a:cubicBezTo>
                      <a:pt x="8" y="25"/>
                      <a:pt x="8" y="25"/>
                      <a:pt x="8" y="25"/>
                    </a:cubicBezTo>
                    <a:cubicBezTo>
                      <a:pt x="8" y="20"/>
                      <a:pt x="10" y="16"/>
                      <a:pt x="13" y="13"/>
                    </a:cubicBezTo>
                    <a:cubicBezTo>
                      <a:pt x="16" y="10"/>
                      <a:pt x="19" y="8"/>
                      <a:pt x="24" y="8"/>
                    </a:cubicBezTo>
                    <a:cubicBezTo>
                      <a:pt x="1211" y="8"/>
                      <a:pt x="1211" y="8"/>
                      <a:pt x="1211" y="8"/>
                    </a:cubicBezTo>
                    <a:cubicBezTo>
                      <a:pt x="1211" y="4"/>
                      <a:pt x="1211" y="4"/>
                      <a:pt x="1211" y="4"/>
                    </a:cubicBezTo>
                  </a:path>
                </a:pathLst>
              </a:custGeom>
              <a:solidFill>
                <a:srgbClr val="9E9E9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6" name="Rectangle 9"/>
              <p:cNvSpPr>
                <a:spLocks noChangeArrowheads="1"/>
              </p:cNvSpPr>
              <p:nvPr/>
            </p:nvSpPr>
            <p:spPr bwMode="auto">
              <a:xfrm>
                <a:off x="661993" y="1518421"/>
                <a:ext cx="995280" cy="614223"/>
              </a:xfrm>
              <a:prstGeom prst="rect">
                <a:avLst/>
              </a:prstGeom>
              <a:solidFill>
                <a:srgbClr val="006FC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9" name="Rectangle 10"/>
              <p:cNvSpPr>
                <a:spLocks noChangeArrowheads="1"/>
              </p:cNvSpPr>
              <p:nvPr/>
            </p:nvSpPr>
            <p:spPr bwMode="auto">
              <a:xfrm>
                <a:off x="661993" y="1518421"/>
                <a:ext cx="995280" cy="6142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3" name="Freeform 11"/>
              <p:cNvSpPr>
                <a:spLocks/>
              </p:cNvSpPr>
              <p:nvPr/>
            </p:nvSpPr>
            <p:spPr bwMode="auto">
              <a:xfrm>
                <a:off x="500776" y="2133977"/>
                <a:ext cx="1317714" cy="267807"/>
              </a:xfrm>
              <a:custGeom>
                <a:avLst/>
                <a:gdLst>
                  <a:gd name="T0" fmla="*/ 911 w 989"/>
                  <a:gd name="T1" fmla="*/ 0 h 201"/>
                  <a:gd name="T2" fmla="*/ 79 w 989"/>
                  <a:gd name="T3" fmla="*/ 0 h 201"/>
                  <a:gd name="T4" fmla="*/ 0 w 989"/>
                  <a:gd name="T5" fmla="*/ 201 h 201"/>
                  <a:gd name="T6" fmla="*/ 989 w 989"/>
                  <a:gd name="T7" fmla="*/ 201 h 201"/>
                  <a:gd name="T8" fmla="*/ 911 w 989"/>
                  <a:gd name="T9" fmla="*/ 0 h 201"/>
                </a:gdLst>
                <a:ahLst/>
                <a:cxnLst>
                  <a:cxn ang="0">
                    <a:pos x="T0" y="T1"/>
                  </a:cxn>
                  <a:cxn ang="0">
                    <a:pos x="T2" y="T3"/>
                  </a:cxn>
                  <a:cxn ang="0">
                    <a:pos x="T4" y="T5"/>
                  </a:cxn>
                  <a:cxn ang="0">
                    <a:pos x="T6" y="T7"/>
                  </a:cxn>
                  <a:cxn ang="0">
                    <a:pos x="T8" y="T9"/>
                  </a:cxn>
                </a:cxnLst>
                <a:rect l="0" t="0" r="r" b="b"/>
                <a:pathLst>
                  <a:path w="989" h="201">
                    <a:moveTo>
                      <a:pt x="911" y="0"/>
                    </a:moveTo>
                    <a:lnTo>
                      <a:pt x="79" y="0"/>
                    </a:lnTo>
                    <a:lnTo>
                      <a:pt x="0" y="201"/>
                    </a:lnTo>
                    <a:lnTo>
                      <a:pt x="989" y="201"/>
                    </a:lnTo>
                    <a:lnTo>
                      <a:pt x="911" y="0"/>
                    </a:lnTo>
                    <a:close/>
                  </a:path>
                </a:pathLst>
              </a:custGeom>
              <a:solidFill>
                <a:srgbClr val="40CD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4" name="Freeform 12"/>
              <p:cNvSpPr>
                <a:spLocks/>
              </p:cNvSpPr>
              <p:nvPr/>
            </p:nvSpPr>
            <p:spPr bwMode="auto">
              <a:xfrm>
                <a:off x="928467" y="2291196"/>
                <a:ext cx="459668" cy="99928"/>
              </a:xfrm>
              <a:custGeom>
                <a:avLst/>
                <a:gdLst>
                  <a:gd name="T0" fmla="*/ 510 w 511"/>
                  <a:gd name="T1" fmla="*/ 98 h 111"/>
                  <a:gd name="T2" fmla="*/ 500 w 511"/>
                  <a:gd name="T3" fmla="*/ 10 h 111"/>
                  <a:gd name="T4" fmla="*/ 489 w 511"/>
                  <a:gd name="T5" fmla="*/ 0 h 111"/>
                  <a:gd name="T6" fmla="*/ 27 w 511"/>
                  <a:gd name="T7" fmla="*/ 0 h 111"/>
                  <a:gd name="T8" fmla="*/ 16 w 511"/>
                  <a:gd name="T9" fmla="*/ 9 h 111"/>
                  <a:gd name="T10" fmla="*/ 1 w 511"/>
                  <a:gd name="T11" fmla="*/ 97 h 111"/>
                  <a:gd name="T12" fmla="*/ 12 w 511"/>
                  <a:gd name="T13" fmla="*/ 111 h 111"/>
                  <a:gd name="T14" fmla="*/ 499 w 511"/>
                  <a:gd name="T15" fmla="*/ 111 h 111"/>
                  <a:gd name="T16" fmla="*/ 510 w 511"/>
                  <a:gd name="T17" fmla="*/ 98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11" h="111">
                    <a:moveTo>
                      <a:pt x="510" y="98"/>
                    </a:moveTo>
                    <a:cubicBezTo>
                      <a:pt x="500" y="10"/>
                      <a:pt x="500" y="10"/>
                      <a:pt x="500" y="10"/>
                    </a:cubicBezTo>
                    <a:cubicBezTo>
                      <a:pt x="500" y="4"/>
                      <a:pt x="495" y="0"/>
                      <a:pt x="489" y="0"/>
                    </a:cubicBezTo>
                    <a:cubicBezTo>
                      <a:pt x="27" y="0"/>
                      <a:pt x="27" y="0"/>
                      <a:pt x="27" y="0"/>
                    </a:cubicBezTo>
                    <a:cubicBezTo>
                      <a:pt x="22" y="0"/>
                      <a:pt x="17" y="4"/>
                      <a:pt x="16" y="9"/>
                    </a:cubicBezTo>
                    <a:cubicBezTo>
                      <a:pt x="1" y="97"/>
                      <a:pt x="1" y="97"/>
                      <a:pt x="1" y="97"/>
                    </a:cubicBezTo>
                    <a:cubicBezTo>
                      <a:pt x="0" y="104"/>
                      <a:pt x="5" y="111"/>
                      <a:pt x="12" y="111"/>
                    </a:cubicBezTo>
                    <a:cubicBezTo>
                      <a:pt x="499" y="111"/>
                      <a:pt x="499" y="111"/>
                      <a:pt x="499" y="111"/>
                    </a:cubicBezTo>
                    <a:cubicBezTo>
                      <a:pt x="506" y="111"/>
                      <a:pt x="511" y="105"/>
                      <a:pt x="510" y="98"/>
                    </a:cubicBez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5" name="Freeform 13"/>
              <p:cNvSpPr>
                <a:spLocks/>
              </p:cNvSpPr>
              <p:nvPr/>
            </p:nvSpPr>
            <p:spPr bwMode="auto">
              <a:xfrm>
                <a:off x="500776" y="2401783"/>
                <a:ext cx="1317714" cy="13324"/>
              </a:xfrm>
              <a:custGeom>
                <a:avLst/>
                <a:gdLst>
                  <a:gd name="T0" fmla="*/ 1421 w 1466"/>
                  <a:gd name="T1" fmla="*/ 15 h 15"/>
                  <a:gd name="T2" fmla="*/ 45 w 1466"/>
                  <a:gd name="T3" fmla="*/ 15 h 15"/>
                  <a:gd name="T4" fmla="*/ 0 w 1466"/>
                  <a:gd name="T5" fmla="*/ 1 h 15"/>
                  <a:gd name="T6" fmla="*/ 0 w 1466"/>
                  <a:gd name="T7" fmla="*/ 0 h 15"/>
                  <a:gd name="T8" fmla="*/ 1466 w 1466"/>
                  <a:gd name="T9" fmla="*/ 0 h 15"/>
                  <a:gd name="T10" fmla="*/ 1466 w 1466"/>
                  <a:gd name="T11" fmla="*/ 1 h 15"/>
                  <a:gd name="T12" fmla="*/ 1421 w 1466"/>
                  <a:gd name="T13" fmla="*/ 15 h 15"/>
                </a:gdLst>
                <a:ahLst/>
                <a:cxnLst>
                  <a:cxn ang="0">
                    <a:pos x="T0" y="T1"/>
                  </a:cxn>
                  <a:cxn ang="0">
                    <a:pos x="T2" y="T3"/>
                  </a:cxn>
                  <a:cxn ang="0">
                    <a:pos x="T4" y="T5"/>
                  </a:cxn>
                  <a:cxn ang="0">
                    <a:pos x="T6" y="T7"/>
                  </a:cxn>
                  <a:cxn ang="0">
                    <a:pos x="T8" y="T9"/>
                  </a:cxn>
                  <a:cxn ang="0">
                    <a:pos x="T10" y="T11"/>
                  </a:cxn>
                  <a:cxn ang="0">
                    <a:pos x="T12" y="T13"/>
                  </a:cxn>
                </a:cxnLst>
                <a:rect l="0" t="0" r="r" b="b"/>
                <a:pathLst>
                  <a:path w="1466" h="15">
                    <a:moveTo>
                      <a:pt x="1421" y="15"/>
                    </a:moveTo>
                    <a:cubicBezTo>
                      <a:pt x="45" y="15"/>
                      <a:pt x="45" y="15"/>
                      <a:pt x="45" y="15"/>
                    </a:cubicBezTo>
                    <a:cubicBezTo>
                      <a:pt x="20" y="15"/>
                      <a:pt x="0" y="8"/>
                      <a:pt x="0" y="1"/>
                    </a:cubicBezTo>
                    <a:cubicBezTo>
                      <a:pt x="0" y="0"/>
                      <a:pt x="0" y="0"/>
                      <a:pt x="0" y="0"/>
                    </a:cubicBezTo>
                    <a:cubicBezTo>
                      <a:pt x="1466" y="0"/>
                      <a:pt x="1466" y="0"/>
                      <a:pt x="1466" y="0"/>
                    </a:cubicBezTo>
                    <a:cubicBezTo>
                      <a:pt x="1466" y="1"/>
                      <a:pt x="1466" y="1"/>
                      <a:pt x="1466" y="1"/>
                    </a:cubicBezTo>
                    <a:cubicBezTo>
                      <a:pt x="1466" y="8"/>
                      <a:pt x="1446" y="15"/>
                      <a:pt x="1421" y="15"/>
                    </a:cubicBez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6" name="Freeform 14"/>
              <p:cNvSpPr>
                <a:spLocks/>
              </p:cNvSpPr>
              <p:nvPr/>
            </p:nvSpPr>
            <p:spPr bwMode="auto">
              <a:xfrm>
                <a:off x="1013738" y="2192601"/>
                <a:ext cx="54627" cy="38639"/>
              </a:xfrm>
              <a:custGeom>
                <a:avLst/>
                <a:gdLst>
                  <a:gd name="T0" fmla="*/ 0 w 41"/>
                  <a:gd name="T1" fmla="*/ 29 h 29"/>
                  <a:gd name="T2" fmla="*/ 40 w 41"/>
                  <a:gd name="T3" fmla="*/ 29 h 29"/>
                  <a:gd name="T4" fmla="*/ 41 w 41"/>
                  <a:gd name="T5" fmla="*/ 0 h 29"/>
                  <a:gd name="T6" fmla="*/ 2 w 41"/>
                  <a:gd name="T7" fmla="*/ 0 h 29"/>
                  <a:gd name="T8" fmla="*/ 0 w 41"/>
                  <a:gd name="T9" fmla="*/ 29 h 29"/>
                </a:gdLst>
                <a:ahLst/>
                <a:cxnLst>
                  <a:cxn ang="0">
                    <a:pos x="T0" y="T1"/>
                  </a:cxn>
                  <a:cxn ang="0">
                    <a:pos x="T2" y="T3"/>
                  </a:cxn>
                  <a:cxn ang="0">
                    <a:pos x="T4" y="T5"/>
                  </a:cxn>
                  <a:cxn ang="0">
                    <a:pos x="T6" y="T7"/>
                  </a:cxn>
                  <a:cxn ang="0">
                    <a:pos x="T8" y="T9"/>
                  </a:cxn>
                </a:cxnLst>
                <a:rect l="0" t="0" r="r" b="b"/>
                <a:pathLst>
                  <a:path w="41" h="29">
                    <a:moveTo>
                      <a:pt x="0" y="29"/>
                    </a:moveTo>
                    <a:lnTo>
                      <a:pt x="40" y="29"/>
                    </a:lnTo>
                    <a:lnTo>
                      <a:pt x="41" y="0"/>
                    </a:lnTo>
                    <a:lnTo>
                      <a:pt x="2" y="0"/>
                    </a:lnTo>
                    <a:lnTo>
                      <a:pt x="0" y="29"/>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7" name="Freeform 15"/>
              <p:cNvSpPr>
                <a:spLocks/>
              </p:cNvSpPr>
              <p:nvPr/>
            </p:nvSpPr>
            <p:spPr bwMode="auto">
              <a:xfrm>
                <a:off x="1017736" y="2151297"/>
                <a:ext cx="51962" cy="34642"/>
              </a:xfrm>
              <a:custGeom>
                <a:avLst/>
                <a:gdLst>
                  <a:gd name="T0" fmla="*/ 39 w 39"/>
                  <a:gd name="T1" fmla="*/ 0 h 26"/>
                  <a:gd name="T2" fmla="*/ 2 w 39"/>
                  <a:gd name="T3" fmla="*/ 0 h 26"/>
                  <a:gd name="T4" fmla="*/ 0 w 39"/>
                  <a:gd name="T5" fmla="*/ 26 h 26"/>
                  <a:gd name="T6" fmla="*/ 38 w 39"/>
                  <a:gd name="T7" fmla="*/ 26 h 26"/>
                  <a:gd name="T8" fmla="*/ 39 w 39"/>
                  <a:gd name="T9" fmla="*/ 0 h 26"/>
                </a:gdLst>
                <a:ahLst/>
                <a:cxnLst>
                  <a:cxn ang="0">
                    <a:pos x="T0" y="T1"/>
                  </a:cxn>
                  <a:cxn ang="0">
                    <a:pos x="T2" y="T3"/>
                  </a:cxn>
                  <a:cxn ang="0">
                    <a:pos x="T4" y="T5"/>
                  </a:cxn>
                  <a:cxn ang="0">
                    <a:pos x="T6" y="T7"/>
                  </a:cxn>
                  <a:cxn ang="0">
                    <a:pos x="T8" y="T9"/>
                  </a:cxn>
                </a:cxnLst>
                <a:rect l="0" t="0" r="r" b="b"/>
                <a:pathLst>
                  <a:path w="39" h="26">
                    <a:moveTo>
                      <a:pt x="39" y="0"/>
                    </a:moveTo>
                    <a:lnTo>
                      <a:pt x="2" y="0"/>
                    </a:lnTo>
                    <a:lnTo>
                      <a:pt x="0" y="26"/>
                    </a:lnTo>
                    <a:lnTo>
                      <a:pt x="38" y="26"/>
                    </a:lnTo>
                    <a:lnTo>
                      <a:pt x="39" y="0"/>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8" name="Freeform 16"/>
              <p:cNvSpPr>
                <a:spLocks/>
              </p:cNvSpPr>
              <p:nvPr/>
            </p:nvSpPr>
            <p:spPr bwMode="auto">
              <a:xfrm>
                <a:off x="1193608" y="2192601"/>
                <a:ext cx="53295" cy="38639"/>
              </a:xfrm>
              <a:custGeom>
                <a:avLst/>
                <a:gdLst>
                  <a:gd name="T0" fmla="*/ 0 w 40"/>
                  <a:gd name="T1" fmla="*/ 29 h 29"/>
                  <a:gd name="T2" fmla="*/ 40 w 40"/>
                  <a:gd name="T3" fmla="*/ 29 h 29"/>
                  <a:gd name="T4" fmla="*/ 39 w 40"/>
                  <a:gd name="T5" fmla="*/ 0 h 29"/>
                  <a:gd name="T6" fmla="*/ 0 w 40"/>
                  <a:gd name="T7" fmla="*/ 0 h 29"/>
                  <a:gd name="T8" fmla="*/ 0 w 40"/>
                  <a:gd name="T9" fmla="*/ 29 h 29"/>
                </a:gdLst>
                <a:ahLst/>
                <a:cxnLst>
                  <a:cxn ang="0">
                    <a:pos x="T0" y="T1"/>
                  </a:cxn>
                  <a:cxn ang="0">
                    <a:pos x="T2" y="T3"/>
                  </a:cxn>
                  <a:cxn ang="0">
                    <a:pos x="T4" y="T5"/>
                  </a:cxn>
                  <a:cxn ang="0">
                    <a:pos x="T6" y="T7"/>
                  </a:cxn>
                  <a:cxn ang="0">
                    <a:pos x="T8" y="T9"/>
                  </a:cxn>
                </a:cxnLst>
                <a:rect l="0" t="0" r="r" b="b"/>
                <a:pathLst>
                  <a:path w="40" h="29">
                    <a:moveTo>
                      <a:pt x="0" y="29"/>
                    </a:moveTo>
                    <a:lnTo>
                      <a:pt x="40" y="29"/>
                    </a:lnTo>
                    <a:lnTo>
                      <a:pt x="39" y="0"/>
                    </a:lnTo>
                    <a:lnTo>
                      <a:pt x="0" y="0"/>
                    </a:lnTo>
                    <a:lnTo>
                      <a:pt x="0" y="29"/>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9" name="Freeform 17"/>
              <p:cNvSpPr>
                <a:spLocks/>
              </p:cNvSpPr>
              <p:nvPr/>
            </p:nvSpPr>
            <p:spPr bwMode="auto">
              <a:xfrm>
                <a:off x="1193608" y="2151297"/>
                <a:ext cx="50630" cy="34642"/>
              </a:xfrm>
              <a:custGeom>
                <a:avLst/>
                <a:gdLst>
                  <a:gd name="T0" fmla="*/ 0 w 38"/>
                  <a:gd name="T1" fmla="*/ 26 h 26"/>
                  <a:gd name="T2" fmla="*/ 38 w 38"/>
                  <a:gd name="T3" fmla="*/ 26 h 26"/>
                  <a:gd name="T4" fmla="*/ 37 w 38"/>
                  <a:gd name="T5" fmla="*/ 0 h 26"/>
                  <a:gd name="T6" fmla="*/ 0 w 38"/>
                  <a:gd name="T7" fmla="*/ 0 h 26"/>
                  <a:gd name="T8" fmla="*/ 0 w 38"/>
                  <a:gd name="T9" fmla="*/ 26 h 26"/>
                </a:gdLst>
                <a:ahLst/>
                <a:cxnLst>
                  <a:cxn ang="0">
                    <a:pos x="T0" y="T1"/>
                  </a:cxn>
                  <a:cxn ang="0">
                    <a:pos x="T2" y="T3"/>
                  </a:cxn>
                  <a:cxn ang="0">
                    <a:pos x="T4" y="T5"/>
                  </a:cxn>
                  <a:cxn ang="0">
                    <a:pos x="T6" y="T7"/>
                  </a:cxn>
                  <a:cxn ang="0">
                    <a:pos x="T8" y="T9"/>
                  </a:cxn>
                </a:cxnLst>
                <a:rect l="0" t="0" r="r" b="b"/>
                <a:pathLst>
                  <a:path w="38" h="26">
                    <a:moveTo>
                      <a:pt x="0" y="26"/>
                    </a:moveTo>
                    <a:lnTo>
                      <a:pt x="38" y="26"/>
                    </a:lnTo>
                    <a:lnTo>
                      <a:pt x="37" y="0"/>
                    </a:lnTo>
                    <a:lnTo>
                      <a:pt x="0" y="0"/>
                    </a:lnTo>
                    <a:lnTo>
                      <a:pt x="0" y="26"/>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0" name="Freeform 18"/>
              <p:cNvSpPr>
                <a:spLocks/>
              </p:cNvSpPr>
              <p:nvPr/>
            </p:nvSpPr>
            <p:spPr bwMode="auto">
              <a:xfrm>
                <a:off x="1250900" y="2151297"/>
                <a:ext cx="51962" cy="34642"/>
              </a:xfrm>
              <a:custGeom>
                <a:avLst/>
                <a:gdLst>
                  <a:gd name="T0" fmla="*/ 1 w 39"/>
                  <a:gd name="T1" fmla="*/ 26 h 26"/>
                  <a:gd name="T2" fmla="*/ 39 w 39"/>
                  <a:gd name="T3" fmla="*/ 26 h 26"/>
                  <a:gd name="T4" fmla="*/ 37 w 39"/>
                  <a:gd name="T5" fmla="*/ 0 h 26"/>
                  <a:gd name="T6" fmla="*/ 0 w 39"/>
                  <a:gd name="T7" fmla="*/ 0 h 26"/>
                  <a:gd name="T8" fmla="*/ 1 w 39"/>
                  <a:gd name="T9" fmla="*/ 26 h 26"/>
                </a:gdLst>
                <a:ahLst/>
                <a:cxnLst>
                  <a:cxn ang="0">
                    <a:pos x="T0" y="T1"/>
                  </a:cxn>
                  <a:cxn ang="0">
                    <a:pos x="T2" y="T3"/>
                  </a:cxn>
                  <a:cxn ang="0">
                    <a:pos x="T4" y="T5"/>
                  </a:cxn>
                  <a:cxn ang="0">
                    <a:pos x="T6" y="T7"/>
                  </a:cxn>
                  <a:cxn ang="0">
                    <a:pos x="T8" y="T9"/>
                  </a:cxn>
                </a:cxnLst>
                <a:rect l="0" t="0" r="r" b="b"/>
                <a:pathLst>
                  <a:path w="39" h="26">
                    <a:moveTo>
                      <a:pt x="1" y="26"/>
                    </a:moveTo>
                    <a:lnTo>
                      <a:pt x="39" y="26"/>
                    </a:lnTo>
                    <a:lnTo>
                      <a:pt x="37" y="0"/>
                    </a:lnTo>
                    <a:lnTo>
                      <a:pt x="0" y="0"/>
                    </a:lnTo>
                    <a:lnTo>
                      <a:pt x="1" y="26"/>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1" name="Freeform 19"/>
              <p:cNvSpPr>
                <a:spLocks/>
              </p:cNvSpPr>
              <p:nvPr/>
            </p:nvSpPr>
            <p:spPr bwMode="auto">
              <a:xfrm>
                <a:off x="959111" y="2151297"/>
                <a:ext cx="54627" cy="34642"/>
              </a:xfrm>
              <a:custGeom>
                <a:avLst/>
                <a:gdLst>
                  <a:gd name="T0" fmla="*/ 41 w 41"/>
                  <a:gd name="T1" fmla="*/ 0 h 26"/>
                  <a:gd name="T2" fmla="*/ 4 w 41"/>
                  <a:gd name="T3" fmla="*/ 0 h 26"/>
                  <a:gd name="T4" fmla="*/ 0 w 41"/>
                  <a:gd name="T5" fmla="*/ 26 h 26"/>
                  <a:gd name="T6" fmla="*/ 38 w 41"/>
                  <a:gd name="T7" fmla="*/ 26 h 26"/>
                  <a:gd name="T8" fmla="*/ 41 w 41"/>
                  <a:gd name="T9" fmla="*/ 0 h 26"/>
                </a:gdLst>
                <a:ahLst/>
                <a:cxnLst>
                  <a:cxn ang="0">
                    <a:pos x="T0" y="T1"/>
                  </a:cxn>
                  <a:cxn ang="0">
                    <a:pos x="T2" y="T3"/>
                  </a:cxn>
                  <a:cxn ang="0">
                    <a:pos x="T4" y="T5"/>
                  </a:cxn>
                  <a:cxn ang="0">
                    <a:pos x="T6" y="T7"/>
                  </a:cxn>
                  <a:cxn ang="0">
                    <a:pos x="T8" y="T9"/>
                  </a:cxn>
                </a:cxnLst>
                <a:rect l="0" t="0" r="r" b="b"/>
                <a:pathLst>
                  <a:path w="41" h="26">
                    <a:moveTo>
                      <a:pt x="41" y="0"/>
                    </a:moveTo>
                    <a:lnTo>
                      <a:pt x="4" y="0"/>
                    </a:lnTo>
                    <a:lnTo>
                      <a:pt x="0" y="26"/>
                    </a:lnTo>
                    <a:lnTo>
                      <a:pt x="38" y="26"/>
                    </a:lnTo>
                    <a:lnTo>
                      <a:pt x="41" y="0"/>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24" name="Freeform 20"/>
              <p:cNvSpPr>
                <a:spLocks/>
              </p:cNvSpPr>
              <p:nvPr/>
            </p:nvSpPr>
            <p:spPr bwMode="auto">
              <a:xfrm>
                <a:off x="892493" y="2192601"/>
                <a:ext cx="57292" cy="38639"/>
              </a:xfrm>
              <a:custGeom>
                <a:avLst/>
                <a:gdLst>
                  <a:gd name="T0" fmla="*/ 0 w 43"/>
                  <a:gd name="T1" fmla="*/ 29 h 29"/>
                  <a:gd name="T2" fmla="*/ 40 w 43"/>
                  <a:gd name="T3" fmla="*/ 29 h 29"/>
                  <a:gd name="T4" fmla="*/ 43 w 43"/>
                  <a:gd name="T5" fmla="*/ 0 h 29"/>
                  <a:gd name="T6" fmla="*/ 5 w 43"/>
                  <a:gd name="T7" fmla="*/ 0 h 29"/>
                  <a:gd name="T8" fmla="*/ 0 w 43"/>
                  <a:gd name="T9" fmla="*/ 29 h 29"/>
                </a:gdLst>
                <a:ahLst/>
                <a:cxnLst>
                  <a:cxn ang="0">
                    <a:pos x="T0" y="T1"/>
                  </a:cxn>
                  <a:cxn ang="0">
                    <a:pos x="T2" y="T3"/>
                  </a:cxn>
                  <a:cxn ang="0">
                    <a:pos x="T4" y="T5"/>
                  </a:cxn>
                  <a:cxn ang="0">
                    <a:pos x="T6" y="T7"/>
                  </a:cxn>
                  <a:cxn ang="0">
                    <a:pos x="T8" y="T9"/>
                  </a:cxn>
                </a:cxnLst>
                <a:rect l="0" t="0" r="r" b="b"/>
                <a:pathLst>
                  <a:path w="43" h="29">
                    <a:moveTo>
                      <a:pt x="0" y="29"/>
                    </a:moveTo>
                    <a:lnTo>
                      <a:pt x="40" y="29"/>
                    </a:lnTo>
                    <a:lnTo>
                      <a:pt x="43" y="0"/>
                    </a:lnTo>
                    <a:lnTo>
                      <a:pt x="5" y="0"/>
                    </a:lnTo>
                    <a:lnTo>
                      <a:pt x="0" y="29"/>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25" name="Freeform 21"/>
              <p:cNvSpPr>
                <a:spLocks/>
              </p:cNvSpPr>
              <p:nvPr/>
            </p:nvSpPr>
            <p:spPr bwMode="auto">
              <a:xfrm>
                <a:off x="771247" y="2192601"/>
                <a:ext cx="62621" cy="38639"/>
              </a:xfrm>
              <a:custGeom>
                <a:avLst/>
                <a:gdLst>
                  <a:gd name="T0" fmla="*/ 47 w 47"/>
                  <a:gd name="T1" fmla="*/ 0 h 29"/>
                  <a:gd name="T2" fmla="*/ 8 w 47"/>
                  <a:gd name="T3" fmla="*/ 0 h 29"/>
                  <a:gd name="T4" fmla="*/ 0 w 47"/>
                  <a:gd name="T5" fmla="*/ 29 h 29"/>
                  <a:gd name="T6" fmla="*/ 40 w 47"/>
                  <a:gd name="T7" fmla="*/ 29 h 29"/>
                  <a:gd name="T8" fmla="*/ 47 w 47"/>
                  <a:gd name="T9" fmla="*/ 0 h 29"/>
                </a:gdLst>
                <a:ahLst/>
                <a:cxnLst>
                  <a:cxn ang="0">
                    <a:pos x="T0" y="T1"/>
                  </a:cxn>
                  <a:cxn ang="0">
                    <a:pos x="T2" y="T3"/>
                  </a:cxn>
                  <a:cxn ang="0">
                    <a:pos x="T4" y="T5"/>
                  </a:cxn>
                  <a:cxn ang="0">
                    <a:pos x="T6" y="T7"/>
                  </a:cxn>
                  <a:cxn ang="0">
                    <a:pos x="T8" y="T9"/>
                  </a:cxn>
                </a:cxnLst>
                <a:rect l="0" t="0" r="r" b="b"/>
                <a:pathLst>
                  <a:path w="47" h="29">
                    <a:moveTo>
                      <a:pt x="47" y="0"/>
                    </a:moveTo>
                    <a:lnTo>
                      <a:pt x="8" y="0"/>
                    </a:lnTo>
                    <a:lnTo>
                      <a:pt x="0" y="29"/>
                    </a:lnTo>
                    <a:lnTo>
                      <a:pt x="40" y="29"/>
                    </a:lnTo>
                    <a:lnTo>
                      <a:pt x="47" y="0"/>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28" name="Freeform 22"/>
              <p:cNvSpPr>
                <a:spLocks/>
              </p:cNvSpPr>
              <p:nvPr/>
            </p:nvSpPr>
            <p:spPr bwMode="auto">
              <a:xfrm>
                <a:off x="841863" y="2151297"/>
                <a:ext cx="57292" cy="34642"/>
              </a:xfrm>
              <a:custGeom>
                <a:avLst/>
                <a:gdLst>
                  <a:gd name="T0" fmla="*/ 0 w 43"/>
                  <a:gd name="T1" fmla="*/ 26 h 26"/>
                  <a:gd name="T2" fmla="*/ 38 w 43"/>
                  <a:gd name="T3" fmla="*/ 26 h 26"/>
                  <a:gd name="T4" fmla="*/ 43 w 43"/>
                  <a:gd name="T5" fmla="*/ 0 h 26"/>
                  <a:gd name="T6" fmla="*/ 6 w 43"/>
                  <a:gd name="T7" fmla="*/ 0 h 26"/>
                  <a:gd name="T8" fmla="*/ 0 w 43"/>
                  <a:gd name="T9" fmla="*/ 26 h 26"/>
                </a:gdLst>
                <a:ahLst/>
                <a:cxnLst>
                  <a:cxn ang="0">
                    <a:pos x="T0" y="T1"/>
                  </a:cxn>
                  <a:cxn ang="0">
                    <a:pos x="T2" y="T3"/>
                  </a:cxn>
                  <a:cxn ang="0">
                    <a:pos x="T4" y="T5"/>
                  </a:cxn>
                  <a:cxn ang="0">
                    <a:pos x="T6" y="T7"/>
                  </a:cxn>
                  <a:cxn ang="0">
                    <a:pos x="T8" y="T9"/>
                  </a:cxn>
                </a:cxnLst>
                <a:rect l="0" t="0" r="r" b="b"/>
                <a:pathLst>
                  <a:path w="43" h="26">
                    <a:moveTo>
                      <a:pt x="0" y="26"/>
                    </a:moveTo>
                    <a:lnTo>
                      <a:pt x="38" y="26"/>
                    </a:lnTo>
                    <a:lnTo>
                      <a:pt x="43" y="0"/>
                    </a:lnTo>
                    <a:lnTo>
                      <a:pt x="6" y="0"/>
                    </a:lnTo>
                    <a:lnTo>
                      <a:pt x="0" y="26"/>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30" name="Freeform 23"/>
              <p:cNvSpPr>
                <a:spLocks/>
              </p:cNvSpPr>
              <p:nvPr/>
            </p:nvSpPr>
            <p:spPr bwMode="auto">
              <a:xfrm>
                <a:off x="952449" y="2192601"/>
                <a:ext cx="57292" cy="38639"/>
              </a:xfrm>
              <a:custGeom>
                <a:avLst/>
                <a:gdLst>
                  <a:gd name="T0" fmla="*/ 0 w 43"/>
                  <a:gd name="T1" fmla="*/ 29 h 29"/>
                  <a:gd name="T2" fmla="*/ 40 w 43"/>
                  <a:gd name="T3" fmla="*/ 29 h 29"/>
                  <a:gd name="T4" fmla="*/ 43 w 43"/>
                  <a:gd name="T5" fmla="*/ 0 h 29"/>
                  <a:gd name="T6" fmla="*/ 5 w 43"/>
                  <a:gd name="T7" fmla="*/ 0 h 29"/>
                  <a:gd name="T8" fmla="*/ 0 w 43"/>
                  <a:gd name="T9" fmla="*/ 29 h 29"/>
                </a:gdLst>
                <a:ahLst/>
                <a:cxnLst>
                  <a:cxn ang="0">
                    <a:pos x="T0" y="T1"/>
                  </a:cxn>
                  <a:cxn ang="0">
                    <a:pos x="T2" y="T3"/>
                  </a:cxn>
                  <a:cxn ang="0">
                    <a:pos x="T4" y="T5"/>
                  </a:cxn>
                  <a:cxn ang="0">
                    <a:pos x="T6" y="T7"/>
                  </a:cxn>
                  <a:cxn ang="0">
                    <a:pos x="T8" y="T9"/>
                  </a:cxn>
                </a:cxnLst>
                <a:rect l="0" t="0" r="r" b="b"/>
                <a:pathLst>
                  <a:path w="43" h="29">
                    <a:moveTo>
                      <a:pt x="0" y="29"/>
                    </a:moveTo>
                    <a:lnTo>
                      <a:pt x="40" y="29"/>
                    </a:lnTo>
                    <a:lnTo>
                      <a:pt x="43" y="0"/>
                    </a:lnTo>
                    <a:lnTo>
                      <a:pt x="5" y="0"/>
                    </a:lnTo>
                    <a:lnTo>
                      <a:pt x="0" y="29"/>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33" name="Freeform 24"/>
              <p:cNvSpPr>
                <a:spLocks/>
              </p:cNvSpPr>
              <p:nvPr/>
            </p:nvSpPr>
            <p:spPr bwMode="auto">
              <a:xfrm>
                <a:off x="900487" y="2151297"/>
                <a:ext cx="55960" cy="34642"/>
              </a:xfrm>
              <a:custGeom>
                <a:avLst/>
                <a:gdLst>
                  <a:gd name="T0" fmla="*/ 0 w 42"/>
                  <a:gd name="T1" fmla="*/ 26 h 26"/>
                  <a:gd name="T2" fmla="*/ 38 w 42"/>
                  <a:gd name="T3" fmla="*/ 26 h 26"/>
                  <a:gd name="T4" fmla="*/ 42 w 42"/>
                  <a:gd name="T5" fmla="*/ 0 h 26"/>
                  <a:gd name="T6" fmla="*/ 5 w 42"/>
                  <a:gd name="T7" fmla="*/ 0 h 26"/>
                  <a:gd name="T8" fmla="*/ 0 w 42"/>
                  <a:gd name="T9" fmla="*/ 26 h 26"/>
                </a:gdLst>
                <a:ahLst/>
                <a:cxnLst>
                  <a:cxn ang="0">
                    <a:pos x="T0" y="T1"/>
                  </a:cxn>
                  <a:cxn ang="0">
                    <a:pos x="T2" y="T3"/>
                  </a:cxn>
                  <a:cxn ang="0">
                    <a:pos x="T4" y="T5"/>
                  </a:cxn>
                  <a:cxn ang="0">
                    <a:pos x="T6" y="T7"/>
                  </a:cxn>
                  <a:cxn ang="0">
                    <a:pos x="T8" y="T9"/>
                  </a:cxn>
                </a:cxnLst>
                <a:rect l="0" t="0" r="r" b="b"/>
                <a:pathLst>
                  <a:path w="42" h="26">
                    <a:moveTo>
                      <a:pt x="0" y="26"/>
                    </a:moveTo>
                    <a:lnTo>
                      <a:pt x="38" y="26"/>
                    </a:lnTo>
                    <a:lnTo>
                      <a:pt x="42" y="0"/>
                    </a:lnTo>
                    <a:lnTo>
                      <a:pt x="5" y="0"/>
                    </a:lnTo>
                    <a:lnTo>
                      <a:pt x="0" y="26"/>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34" name="Freeform 25"/>
              <p:cNvSpPr>
                <a:spLocks/>
              </p:cNvSpPr>
              <p:nvPr/>
            </p:nvSpPr>
            <p:spPr bwMode="auto">
              <a:xfrm>
                <a:off x="1546687" y="2192601"/>
                <a:ext cx="157220" cy="38639"/>
              </a:xfrm>
              <a:custGeom>
                <a:avLst/>
                <a:gdLst>
                  <a:gd name="T0" fmla="*/ 118 w 118"/>
                  <a:gd name="T1" fmla="*/ 29 h 29"/>
                  <a:gd name="T2" fmla="*/ 109 w 118"/>
                  <a:gd name="T3" fmla="*/ 0 h 29"/>
                  <a:gd name="T4" fmla="*/ 0 w 118"/>
                  <a:gd name="T5" fmla="*/ 0 h 29"/>
                  <a:gd name="T6" fmla="*/ 7 w 118"/>
                  <a:gd name="T7" fmla="*/ 29 h 29"/>
                  <a:gd name="T8" fmla="*/ 118 w 118"/>
                  <a:gd name="T9" fmla="*/ 29 h 29"/>
                </a:gdLst>
                <a:ahLst/>
                <a:cxnLst>
                  <a:cxn ang="0">
                    <a:pos x="T0" y="T1"/>
                  </a:cxn>
                  <a:cxn ang="0">
                    <a:pos x="T2" y="T3"/>
                  </a:cxn>
                  <a:cxn ang="0">
                    <a:pos x="T4" y="T5"/>
                  </a:cxn>
                  <a:cxn ang="0">
                    <a:pos x="T6" y="T7"/>
                  </a:cxn>
                  <a:cxn ang="0">
                    <a:pos x="T8" y="T9"/>
                  </a:cxn>
                </a:cxnLst>
                <a:rect l="0" t="0" r="r" b="b"/>
                <a:pathLst>
                  <a:path w="118" h="29">
                    <a:moveTo>
                      <a:pt x="118" y="29"/>
                    </a:moveTo>
                    <a:lnTo>
                      <a:pt x="109" y="0"/>
                    </a:lnTo>
                    <a:lnTo>
                      <a:pt x="0" y="0"/>
                    </a:lnTo>
                    <a:lnTo>
                      <a:pt x="7" y="29"/>
                    </a:lnTo>
                    <a:lnTo>
                      <a:pt x="118" y="29"/>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35" name="Freeform 26"/>
              <p:cNvSpPr>
                <a:spLocks/>
              </p:cNvSpPr>
              <p:nvPr/>
            </p:nvSpPr>
            <p:spPr bwMode="auto">
              <a:xfrm>
                <a:off x="1534695" y="2151297"/>
                <a:ext cx="59957" cy="34642"/>
              </a:xfrm>
              <a:custGeom>
                <a:avLst/>
                <a:gdLst>
                  <a:gd name="T0" fmla="*/ 8 w 45"/>
                  <a:gd name="T1" fmla="*/ 26 h 26"/>
                  <a:gd name="T2" fmla="*/ 45 w 45"/>
                  <a:gd name="T3" fmla="*/ 26 h 26"/>
                  <a:gd name="T4" fmla="*/ 37 w 45"/>
                  <a:gd name="T5" fmla="*/ 0 h 26"/>
                  <a:gd name="T6" fmla="*/ 0 w 45"/>
                  <a:gd name="T7" fmla="*/ 0 h 26"/>
                  <a:gd name="T8" fmla="*/ 8 w 45"/>
                  <a:gd name="T9" fmla="*/ 26 h 26"/>
                </a:gdLst>
                <a:ahLst/>
                <a:cxnLst>
                  <a:cxn ang="0">
                    <a:pos x="T0" y="T1"/>
                  </a:cxn>
                  <a:cxn ang="0">
                    <a:pos x="T2" y="T3"/>
                  </a:cxn>
                  <a:cxn ang="0">
                    <a:pos x="T4" y="T5"/>
                  </a:cxn>
                  <a:cxn ang="0">
                    <a:pos x="T6" y="T7"/>
                  </a:cxn>
                  <a:cxn ang="0">
                    <a:pos x="T8" y="T9"/>
                  </a:cxn>
                </a:cxnLst>
                <a:rect l="0" t="0" r="r" b="b"/>
                <a:pathLst>
                  <a:path w="45" h="26">
                    <a:moveTo>
                      <a:pt x="8" y="26"/>
                    </a:moveTo>
                    <a:lnTo>
                      <a:pt x="45" y="26"/>
                    </a:lnTo>
                    <a:lnTo>
                      <a:pt x="37" y="0"/>
                    </a:lnTo>
                    <a:lnTo>
                      <a:pt x="0" y="0"/>
                    </a:lnTo>
                    <a:lnTo>
                      <a:pt x="8" y="26"/>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36" name="Freeform 27"/>
              <p:cNvSpPr>
                <a:spLocks/>
              </p:cNvSpPr>
              <p:nvPr/>
            </p:nvSpPr>
            <p:spPr bwMode="auto">
              <a:xfrm>
                <a:off x="711290" y="2192601"/>
                <a:ext cx="62621" cy="38639"/>
              </a:xfrm>
              <a:custGeom>
                <a:avLst/>
                <a:gdLst>
                  <a:gd name="T0" fmla="*/ 0 w 47"/>
                  <a:gd name="T1" fmla="*/ 29 h 29"/>
                  <a:gd name="T2" fmla="*/ 40 w 47"/>
                  <a:gd name="T3" fmla="*/ 29 h 29"/>
                  <a:gd name="T4" fmla="*/ 47 w 47"/>
                  <a:gd name="T5" fmla="*/ 0 h 29"/>
                  <a:gd name="T6" fmla="*/ 9 w 47"/>
                  <a:gd name="T7" fmla="*/ 0 h 29"/>
                  <a:gd name="T8" fmla="*/ 0 w 47"/>
                  <a:gd name="T9" fmla="*/ 29 h 29"/>
                </a:gdLst>
                <a:ahLst/>
                <a:cxnLst>
                  <a:cxn ang="0">
                    <a:pos x="T0" y="T1"/>
                  </a:cxn>
                  <a:cxn ang="0">
                    <a:pos x="T2" y="T3"/>
                  </a:cxn>
                  <a:cxn ang="0">
                    <a:pos x="T4" y="T5"/>
                  </a:cxn>
                  <a:cxn ang="0">
                    <a:pos x="T6" y="T7"/>
                  </a:cxn>
                  <a:cxn ang="0">
                    <a:pos x="T8" y="T9"/>
                  </a:cxn>
                </a:cxnLst>
                <a:rect l="0" t="0" r="r" b="b"/>
                <a:pathLst>
                  <a:path w="47" h="29">
                    <a:moveTo>
                      <a:pt x="0" y="29"/>
                    </a:moveTo>
                    <a:lnTo>
                      <a:pt x="40" y="29"/>
                    </a:lnTo>
                    <a:lnTo>
                      <a:pt x="47" y="0"/>
                    </a:lnTo>
                    <a:lnTo>
                      <a:pt x="9" y="0"/>
                    </a:lnTo>
                    <a:lnTo>
                      <a:pt x="0" y="29"/>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37" name="Freeform 28"/>
              <p:cNvSpPr>
                <a:spLocks/>
              </p:cNvSpPr>
              <p:nvPr/>
            </p:nvSpPr>
            <p:spPr bwMode="auto">
              <a:xfrm>
                <a:off x="1591987" y="2151297"/>
                <a:ext cx="61289" cy="34642"/>
              </a:xfrm>
              <a:custGeom>
                <a:avLst/>
                <a:gdLst>
                  <a:gd name="T0" fmla="*/ 0 w 46"/>
                  <a:gd name="T1" fmla="*/ 0 h 26"/>
                  <a:gd name="T2" fmla="*/ 8 w 46"/>
                  <a:gd name="T3" fmla="*/ 26 h 26"/>
                  <a:gd name="T4" fmla="*/ 46 w 46"/>
                  <a:gd name="T5" fmla="*/ 26 h 26"/>
                  <a:gd name="T6" fmla="*/ 37 w 46"/>
                  <a:gd name="T7" fmla="*/ 0 h 26"/>
                  <a:gd name="T8" fmla="*/ 0 w 46"/>
                  <a:gd name="T9" fmla="*/ 0 h 26"/>
                </a:gdLst>
                <a:ahLst/>
                <a:cxnLst>
                  <a:cxn ang="0">
                    <a:pos x="T0" y="T1"/>
                  </a:cxn>
                  <a:cxn ang="0">
                    <a:pos x="T2" y="T3"/>
                  </a:cxn>
                  <a:cxn ang="0">
                    <a:pos x="T4" y="T5"/>
                  </a:cxn>
                  <a:cxn ang="0">
                    <a:pos x="T6" y="T7"/>
                  </a:cxn>
                  <a:cxn ang="0">
                    <a:pos x="T8" y="T9"/>
                  </a:cxn>
                </a:cxnLst>
                <a:rect l="0" t="0" r="r" b="b"/>
                <a:pathLst>
                  <a:path w="46" h="26">
                    <a:moveTo>
                      <a:pt x="0" y="0"/>
                    </a:moveTo>
                    <a:lnTo>
                      <a:pt x="8" y="26"/>
                    </a:lnTo>
                    <a:lnTo>
                      <a:pt x="46" y="26"/>
                    </a:lnTo>
                    <a:lnTo>
                      <a:pt x="37" y="0"/>
                    </a:lnTo>
                    <a:lnTo>
                      <a:pt x="0" y="0"/>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38" name="Freeform 29"/>
              <p:cNvSpPr>
                <a:spLocks/>
              </p:cNvSpPr>
              <p:nvPr/>
            </p:nvSpPr>
            <p:spPr bwMode="auto">
              <a:xfrm>
                <a:off x="1605311" y="2192601"/>
                <a:ext cx="63954" cy="38639"/>
              </a:xfrm>
              <a:custGeom>
                <a:avLst/>
                <a:gdLst>
                  <a:gd name="T0" fmla="*/ 48 w 48"/>
                  <a:gd name="T1" fmla="*/ 29 h 29"/>
                  <a:gd name="T2" fmla="*/ 38 w 48"/>
                  <a:gd name="T3" fmla="*/ 0 h 29"/>
                  <a:gd name="T4" fmla="*/ 0 w 48"/>
                  <a:gd name="T5" fmla="*/ 0 h 29"/>
                  <a:gd name="T6" fmla="*/ 9 w 48"/>
                  <a:gd name="T7" fmla="*/ 29 h 29"/>
                  <a:gd name="T8" fmla="*/ 48 w 48"/>
                  <a:gd name="T9" fmla="*/ 29 h 29"/>
                </a:gdLst>
                <a:ahLst/>
                <a:cxnLst>
                  <a:cxn ang="0">
                    <a:pos x="T0" y="T1"/>
                  </a:cxn>
                  <a:cxn ang="0">
                    <a:pos x="T2" y="T3"/>
                  </a:cxn>
                  <a:cxn ang="0">
                    <a:pos x="T4" y="T5"/>
                  </a:cxn>
                  <a:cxn ang="0">
                    <a:pos x="T6" y="T7"/>
                  </a:cxn>
                  <a:cxn ang="0">
                    <a:pos x="T8" y="T9"/>
                  </a:cxn>
                </a:cxnLst>
                <a:rect l="0" t="0" r="r" b="b"/>
                <a:pathLst>
                  <a:path w="48" h="29">
                    <a:moveTo>
                      <a:pt x="48" y="29"/>
                    </a:moveTo>
                    <a:lnTo>
                      <a:pt x="38" y="0"/>
                    </a:lnTo>
                    <a:lnTo>
                      <a:pt x="0" y="0"/>
                    </a:lnTo>
                    <a:lnTo>
                      <a:pt x="9" y="29"/>
                    </a:lnTo>
                    <a:lnTo>
                      <a:pt x="48" y="29"/>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39" name="Freeform 30"/>
              <p:cNvSpPr>
                <a:spLocks/>
              </p:cNvSpPr>
              <p:nvPr/>
            </p:nvSpPr>
            <p:spPr bwMode="auto">
              <a:xfrm>
                <a:off x="1429438" y="2192601"/>
                <a:ext cx="58624" cy="38639"/>
              </a:xfrm>
              <a:custGeom>
                <a:avLst/>
                <a:gdLst>
                  <a:gd name="T0" fmla="*/ 0 w 44"/>
                  <a:gd name="T1" fmla="*/ 0 h 29"/>
                  <a:gd name="T2" fmla="*/ 4 w 44"/>
                  <a:gd name="T3" fmla="*/ 29 h 29"/>
                  <a:gd name="T4" fmla="*/ 44 w 44"/>
                  <a:gd name="T5" fmla="*/ 29 h 29"/>
                  <a:gd name="T6" fmla="*/ 38 w 44"/>
                  <a:gd name="T7" fmla="*/ 0 h 29"/>
                  <a:gd name="T8" fmla="*/ 0 w 44"/>
                  <a:gd name="T9" fmla="*/ 0 h 29"/>
                </a:gdLst>
                <a:ahLst/>
                <a:cxnLst>
                  <a:cxn ang="0">
                    <a:pos x="T0" y="T1"/>
                  </a:cxn>
                  <a:cxn ang="0">
                    <a:pos x="T2" y="T3"/>
                  </a:cxn>
                  <a:cxn ang="0">
                    <a:pos x="T4" y="T5"/>
                  </a:cxn>
                  <a:cxn ang="0">
                    <a:pos x="T6" y="T7"/>
                  </a:cxn>
                  <a:cxn ang="0">
                    <a:pos x="T8" y="T9"/>
                  </a:cxn>
                </a:cxnLst>
                <a:rect l="0" t="0" r="r" b="b"/>
                <a:pathLst>
                  <a:path w="44" h="29">
                    <a:moveTo>
                      <a:pt x="0" y="0"/>
                    </a:moveTo>
                    <a:lnTo>
                      <a:pt x="4" y="29"/>
                    </a:lnTo>
                    <a:lnTo>
                      <a:pt x="44" y="29"/>
                    </a:lnTo>
                    <a:lnTo>
                      <a:pt x="38" y="0"/>
                    </a:lnTo>
                    <a:lnTo>
                      <a:pt x="0" y="0"/>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40" name="Freeform 31"/>
              <p:cNvSpPr>
                <a:spLocks/>
              </p:cNvSpPr>
              <p:nvPr/>
            </p:nvSpPr>
            <p:spPr bwMode="auto">
              <a:xfrm>
                <a:off x="1486730" y="2192601"/>
                <a:ext cx="62621" cy="38639"/>
              </a:xfrm>
              <a:custGeom>
                <a:avLst/>
                <a:gdLst>
                  <a:gd name="T0" fmla="*/ 47 w 47"/>
                  <a:gd name="T1" fmla="*/ 29 h 29"/>
                  <a:gd name="T2" fmla="*/ 39 w 47"/>
                  <a:gd name="T3" fmla="*/ 0 h 29"/>
                  <a:gd name="T4" fmla="*/ 0 w 47"/>
                  <a:gd name="T5" fmla="*/ 0 h 29"/>
                  <a:gd name="T6" fmla="*/ 7 w 47"/>
                  <a:gd name="T7" fmla="*/ 29 h 29"/>
                  <a:gd name="T8" fmla="*/ 47 w 47"/>
                  <a:gd name="T9" fmla="*/ 29 h 29"/>
                </a:gdLst>
                <a:ahLst/>
                <a:cxnLst>
                  <a:cxn ang="0">
                    <a:pos x="T0" y="T1"/>
                  </a:cxn>
                  <a:cxn ang="0">
                    <a:pos x="T2" y="T3"/>
                  </a:cxn>
                  <a:cxn ang="0">
                    <a:pos x="T4" y="T5"/>
                  </a:cxn>
                  <a:cxn ang="0">
                    <a:pos x="T6" y="T7"/>
                  </a:cxn>
                  <a:cxn ang="0">
                    <a:pos x="T8" y="T9"/>
                  </a:cxn>
                </a:cxnLst>
                <a:rect l="0" t="0" r="r" b="b"/>
                <a:pathLst>
                  <a:path w="47" h="29">
                    <a:moveTo>
                      <a:pt x="47" y="29"/>
                    </a:moveTo>
                    <a:lnTo>
                      <a:pt x="39" y="0"/>
                    </a:lnTo>
                    <a:lnTo>
                      <a:pt x="0" y="0"/>
                    </a:lnTo>
                    <a:lnTo>
                      <a:pt x="7" y="29"/>
                    </a:lnTo>
                    <a:lnTo>
                      <a:pt x="47" y="29"/>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41" name="Freeform 32"/>
              <p:cNvSpPr>
                <a:spLocks/>
              </p:cNvSpPr>
              <p:nvPr/>
            </p:nvSpPr>
            <p:spPr bwMode="auto">
              <a:xfrm>
                <a:off x="1370814" y="2192601"/>
                <a:ext cx="57292" cy="38639"/>
              </a:xfrm>
              <a:custGeom>
                <a:avLst/>
                <a:gdLst>
                  <a:gd name="T0" fmla="*/ 0 w 43"/>
                  <a:gd name="T1" fmla="*/ 0 h 29"/>
                  <a:gd name="T2" fmla="*/ 3 w 43"/>
                  <a:gd name="T3" fmla="*/ 29 h 29"/>
                  <a:gd name="T4" fmla="*/ 43 w 43"/>
                  <a:gd name="T5" fmla="*/ 29 h 29"/>
                  <a:gd name="T6" fmla="*/ 38 w 43"/>
                  <a:gd name="T7" fmla="*/ 0 h 29"/>
                  <a:gd name="T8" fmla="*/ 0 w 43"/>
                  <a:gd name="T9" fmla="*/ 0 h 29"/>
                </a:gdLst>
                <a:ahLst/>
                <a:cxnLst>
                  <a:cxn ang="0">
                    <a:pos x="T0" y="T1"/>
                  </a:cxn>
                  <a:cxn ang="0">
                    <a:pos x="T2" y="T3"/>
                  </a:cxn>
                  <a:cxn ang="0">
                    <a:pos x="T4" y="T5"/>
                  </a:cxn>
                  <a:cxn ang="0">
                    <a:pos x="T6" y="T7"/>
                  </a:cxn>
                  <a:cxn ang="0">
                    <a:pos x="T8" y="T9"/>
                  </a:cxn>
                </a:cxnLst>
                <a:rect l="0" t="0" r="r" b="b"/>
                <a:pathLst>
                  <a:path w="43" h="29">
                    <a:moveTo>
                      <a:pt x="0" y="0"/>
                    </a:moveTo>
                    <a:lnTo>
                      <a:pt x="3" y="29"/>
                    </a:lnTo>
                    <a:lnTo>
                      <a:pt x="43" y="29"/>
                    </a:lnTo>
                    <a:lnTo>
                      <a:pt x="38" y="0"/>
                    </a:lnTo>
                    <a:lnTo>
                      <a:pt x="0" y="0"/>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42" name="Freeform 33"/>
              <p:cNvSpPr>
                <a:spLocks/>
              </p:cNvSpPr>
              <p:nvPr/>
            </p:nvSpPr>
            <p:spPr bwMode="auto">
              <a:xfrm>
                <a:off x="1478736" y="2151297"/>
                <a:ext cx="58624" cy="34642"/>
              </a:xfrm>
              <a:custGeom>
                <a:avLst/>
                <a:gdLst>
                  <a:gd name="T0" fmla="*/ 6 w 44"/>
                  <a:gd name="T1" fmla="*/ 26 h 26"/>
                  <a:gd name="T2" fmla="*/ 44 w 44"/>
                  <a:gd name="T3" fmla="*/ 26 h 26"/>
                  <a:gd name="T4" fmla="*/ 37 w 44"/>
                  <a:gd name="T5" fmla="*/ 0 h 26"/>
                  <a:gd name="T6" fmla="*/ 0 w 44"/>
                  <a:gd name="T7" fmla="*/ 0 h 26"/>
                  <a:gd name="T8" fmla="*/ 6 w 44"/>
                  <a:gd name="T9" fmla="*/ 26 h 26"/>
                </a:gdLst>
                <a:ahLst/>
                <a:cxnLst>
                  <a:cxn ang="0">
                    <a:pos x="T0" y="T1"/>
                  </a:cxn>
                  <a:cxn ang="0">
                    <a:pos x="T2" y="T3"/>
                  </a:cxn>
                  <a:cxn ang="0">
                    <a:pos x="T4" y="T5"/>
                  </a:cxn>
                  <a:cxn ang="0">
                    <a:pos x="T6" y="T7"/>
                  </a:cxn>
                  <a:cxn ang="0">
                    <a:pos x="T8" y="T9"/>
                  </a:cxn>
                </a:cxnLst>
                <a:rect l="0" t="0" r="r" b="b"/>
                <a:pathLst>
                  <a:path w="44" h="26">
                    <a:moveTo>
                      <a:pt x="6" y="26"/>
                    </a:moveTo>
                    <a:lnTo>
                      <a:pt x="44" y="26"/>
                    </a:lnTo>
                    <a:lnTo>
                      <a:pt x="37" y="0"/>
                    </a:lnTo>
                    <a:lnTo>
                      <a:pt x="0" y="0"/>
                    </a:lnTo>
                    <a:lnTo>
                      <a:pt x="6" y="26"/>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43" name="Freeform 34"/>
              <p:cNvSpPr>
                <a:spLocks/>
              </p:cNvSpPr>
              <p:nvPr/>
            </p:nvSpPr>
            <p:spPr bwMode="auto">
              <a:xfrm>
                <a:off x="1364152" y="2151297"/>
                <a:ext cx="55960" cy="34642"/>
              </a:xfrm>
              <a:custGeom>
                <a:avLst/>
                <a:gdLst>
                  <a:gd name="T0" fmla="*/ 4 w 42"/>
                  <a:gd name="T1" fmla="*/ 26 h 26"/>
                  <a:gd name="T2" fmla="*/ 42 w 42"/>
                  <a:gd name="T3" fmla="*/ 26 h 26"/>
                  <a:gd name="T4" fmla="*/ 38 w 42"/>
                  <a:gd name="T5" fmla="*/ 0 h 26"/>
                  <a:gd name="T6" fmla="*/ 0 w 42"/>
                  <a:gd name="T7" fmla="*/ 0 h 26"/>
                  <a:gd name="T8" fmla="*/ 4 w 42"/>
                  <a:gd name="T9" fmla="*/ 26 h 26"/>
                </a:gdLst>
                <a:ahLst/>
                <a:cxnLst>
                  <a:cxn ang="0">
                    <a:pos x="T0" y="T1"/>
                  </a:cxn>
                  <a:cxn ang="0">
                    <a:pos x="T2" y="T3"/>
                  </a:cxn>
                  <a:cxn ang="0">
                    <a:pos x="T4" y="T5"/>
                  </a:cxn>
                  <a:cxn ang="0">
                    <a:pos x="T6" y="T7"/>
                  </a:cxn>
                  <a:cxn ang="0">
                    <a:pos x="T8" y="T9"/>
                  </a:cxn>
                </a:cxnLst>
                <a:rect l="0" t="0" r="r" b="b"/>
                <a:pathLst>
                  <a:path w="42" h="26">
                    <a:moveTo>
                      <a:pt x="4" y="26"/>
                    </a:moveTo>
                    <a:lnTo>
                      <a:pt x="42" y="26"/>
                    </a:lnTo>
                    <a:lnTo>
                      <a:pt x="38" y="0"/>
                    </a:lnTo>
                    <a:lnTo>
                      <a:pt x="0" y="0"/>
                    </a:lnTo>
                    <a:lnTo>
                      <a:pt x="4" y="26"/>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44" name="Freeform 35"/>
              <p:cNvSpPr>
                <a:spLocks/>
              </p:cNvSpPr>
              <p:nvPr/>
            </p:nvSpPr>
            <p:spPr bwMode="auto">
              <a:xfrm>
                <a:off x="1306860" y="2151297"/>
                <a:ext cx="54627" cy="34642"/>
              </a:xfrm>
              <a:custGeom>
                <a:avLst/>
                <a:gdLst>
                  <a:gd name="T0" fmla="*/ 3 w 41"/>
                  <a:gd name="T1" fmla="*/ 26 h 26"/>
                  <a:gd name="T2" fmla="*/ 41 w 41"/>
                  <a:gd name="T3" fmla="*/ 26 h 26"/>
                  <a:gd name="T4" fmla="*/ 38 w 41"/>
                  <a:gd name="T5" fmla="*/ 0 h 26"/>
                  <a:gd name="T6" fmla="*/ 0 w 41"/>
                  <a:gd name="T7" fmla="*/ 0 h 26"/>
                  <a:gd name="T8" fmla="*/ 3 w 41"/>
                  <a:gd name="T9" fmla="*/ 26 h 26"/>
                </a:gdLst>
                <a:ahLst/>
                <a:cxnLst>
                  <a:cxn ang="0">
                    <a:pos x="T0" y="T1"/>
                  </a:cxn>
                  <a:cxn ang="0">
                    <a:pos x="T2" y="T3"/>
                  </a:cxn>
                  <a:cxn ang="0">
                    <a:pos x="T4" y="T5"/>
                  </a:cxn>
                  <a:cxn ang="0">
                    <a:pos x="T6" y="T7"/>
                  </a:cxn>
                  <a:cxn ang="0">
                    <a:pos x="T8" y="T9"/>
                  </a:cxn>
                </a:cxnLst>
                <a:rect l="0" t="0" r="r" b="b"/>
                <a:pathLst>
                  <a:path w="41" h="26">
                    <a:moveTo>
                      <a:pt x="3" y="26"/>
                    </a:moveTo>
                    <a:lnTo>
                      <a:pt x="41" y="26"/>
                    </a:lnTo>
                    <a:lnTo>
                      <a:pt x="38" y="0"/>
                    </a:lnTo>
                    <a:lnTo>
                      <a:pt x="0" y="0"/>
                    </a:lnTo>
                    <a:lnTo>
                      <a:pt x="3" y="26"/>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45" name="Freeform 36"/>
              <p:cNvSpPr>
                <a:spLocks/>
              </p:cNvSpPr>
              <p:nvPr/>
            </p:nvSpPr>
            <p:spPr bwMode="auto">
              <a:xfrm>
                <a:off x="1310857" y="2192601"/>
                <a:ext cx="57292" cy="38639"/>
              </a:xfrm>
              <a:custGeom>
                <a:avLst/>
                <a:gdLst>
                  <a:gd name="T0" fmla="*/ 3 w 43"/>
                  <a:gd name="T1" fmla="*/ 29 h 29"/>
                  <a:gd name="T2" fmla="*/ 43 w 43"/>
                  <a:gd name="T3" fmla="*/ 29 h 29"/>
                  <a:gd name="T4" fmla="*/ 39 w 43"/>
                  <a:gd name="T5" fmla="*/ 0 h 29"/>
                  <a:gd name="T6" fmla="*/ 0 w 43"/>
                  <a:gd name="T7" fmla="*/ 0 h 29"/>
                  <a:gd name="T8" fmla="*/ 3 w 43"/>
                  <a:gd name="T9" fmla="*/ 29 h 29"/>
                </a:gdLst>
                <a:ahLst/>
                <a:cxnLst>
                  <a:cxn ang="0">
                    <a:pos x="T0" y="T1"/>
                  </a:cxn>
                  <a:cxn ang="0">
                    <a:pos x="T2" y="T3"/>
                  </a:cxn>
                  <a:cxn ang="0">
                    <a:pos x="T4" y="T5"/>
                  </a:cxn>
                  <a:cxn ang="0">
                    <a:pos x="T6" y="T7"/>
                  </a:cxn>
                  <a:cxn ang="0">
                    <a:pos x="T8" y="T9"/>
                  </a:cxn>
                </a:cxnLst>
                <a:rect l="0" t="0" r="r" b="b"/>
                <a:pathLst>
                  <a:path w="43" h="29">
                    <a:moveTo>
                      <a:pt x="3" y="29"/>
                    </a:moveTo>
                    <a:lnTo>
                      <a:pt x="43" y="29"/>
                    </a:lnTo>
                    <a:lnTo>
                      <a:pt x="39" y="0"/>
                    </a:lnTo>
                    <a:lnTo>
                      <a:pt x="0" y="0"/>
                    </a:lnTo>
                    <a:lnTo>
                      <a:pt x="3" y="29"/>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46" name="Freeform 37"/>
              <p:cNvSpPr>
                <a:spLocks/>
              </p:cNvSpPr>
              <p:nvPr/>
            </p:nvSpPr>
            <p:spPr bwMode="auto">
              <a:xfrm>
                <a:off x="1252233" y="2192601"/>
                <a:ext cx="54627" cy="38639"/>
              </a:xfrm>
              <a:custGeom>
                <a:avLst/>
                <a:gdLst>
                  <a:gd name="T0" fmla="*/ 2 w 41"/>
                  <a:gd name="T1" fmla="*/ 29 h 29"/>
                  <a:gd name="T2" fmla="*/ 41 w 41"/>
                  <a:gd name="T3" fmla="*/ 29 h 29"/>
                  <a:gd name="T4" fmla="*/ 39 w 41"/>
                  <a:gd name="T5" fmla="*/ 0 h 29"/>
                  <a:gd name="T6" fmla="*/ 0 w 41"/>
                  <a:gd name="T7" fmla="*/ 0 h 29"/>
                  <a:gd name="T8" fmla="*/ 2 w 41"/>
                  <a:gd name="T9" fmla="*/ 29 h 29"/>
                </a:gdLst>
                <a:ahLst/>
                <a:cxnLst>
                  <a:cxn ang="0">
                    <a:pos x="T0" y="T1"/>
                  </a:cxn>
                  <a:cxn ang="0">
                    <a:pos x="T2" y="T3"/>
                  </a:cxn>
                  <a:cxn ang="0">
                    <a:pos x="T4" y="T5"/>
                  </a:cxn>
                  <a:cxn ang="0">
                    <a:pos x="T6" y="T7"/>
                  </a:cxn>
                  <a:cxn ang="0">
                    <a:pos x="T8" y="T9"/>
                  </a:cxn>
                </a:cxnLst>
                <a:rect l="0" t="0" r="r" b="b"/>
                <a:pathLst>
                  <a:path w="41" h="29">
                    <a:moveTo>
                      <a:pt x="2" y="29"/>
                    </a:moveTo>
                    <a:lnTo>
                      <a:pt x="41" y="29"/>
                    </a:lnTo>
                    <a:lnTo>
                      <a:pt x="39" y="0"/>
                    </a:lnTo>
                    <a:lnTo>
                      <a:pt x="0" y="0"/>
                    </a:lnTo>
                    <a:lnTo>
                      <a:pt x="2" y="29"/>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47" name="Freeform 38"/>
              <p:cNvSpPr>
                <a:spLocks/>
              </p:cNvSpPr>
              <p:nvPr/>
            </p:nvSpPr>
            <p:spPr bwMode="auto">
              <a:xfrm>
                <a:off x="1421444" y="2151297"/>
                <a:ext cx="57292" cy="34642"/>
              </a:xfrm>
              <a:custGeom>
                <a:avLst/>
                <a:gdLst>
                  <a:gd name="T0" fmla="*/ 5 w 43"/>
                  <a:gd name="T1" fmla="*/ 26 h 26"/>
                  <a:gd name="T2" fmla="*/ 43 w 43"/>
                  <a:gd name="T3" fmla="*/ 26 h 26"/>
                  <a:gd name="T4" fmla="*/ 37 w 43"/>
                  <a:gd name="T5" fmla="*/ 0 h 26"/>
                  <a:gd name="T6" fmla="*/ 0 w 43"/>
                  <a:gd name="T7" fmla="*/ 0 h 26"/>
                  <a:gd name="T8" fmla="*/ 5 w 43"/>
                  <a:gd name="T9" fmla="*/ 26 h 26"/>
                </a:gdLst>
                <a:ahLst/>
                <a:cxnLst>
                  <a:cxn ang="0">
                    <a:pos x="T0" y="T1"/>
                  </a:cxn>
                  <a:cxn ang="0">
                    <a:pos x="T2" y="T3"/>
                  </a:cxn>
                  <a:cxn ang="0">
                    <a:pos x="T4" y="T5"/>
                  </a:cxn>
                  <a:cxn ang="0">
                    <a:pos x="T6" y="T7"/>
                  </a:cxn>
                  <a:cxn ang="0">
                    <a:pos x="T8" y="T9"/>
                  </a:cxn>
                </a:cxnLst>
                <a:rect l="0" t="0" r="r" b="b"/>
                <a:pathLst>
                  <a:path w="43" h="26">
                    <a:moveTo>
                      <a:pt x="5" y="26"/>
                    </a:moveTo>
                    <a:lnTo>
                      <a:pt x="43" y="26"/>
                    </a:lnTo>
                    <a:lnTo>
                      <a:pt x="37" y="0"/>
                    </a:lnTo>
                    <a:lnTo>
                      <a:pt x="0" y="0"/>
                    </a:lnTo>
                    <a:lnTo>
                      <a:pt x="5" y="26"/>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48" name="Freeform 39"/>
              <p:cNvSpPr>
                <a:spLocks/>
              </p:cNvSpPr>
              <p:nvPr/>
            </p:nvSpPr>
            <p:spPr bwMode="auto">
              <a:xfrm>
                <a:off x="1649279" y="2151297"/>
                <a:ext cx="65286" cy="34642"/>
              </a:xfrm>
              <a:custGeom>
                <a:avLst/>
                <a:gdLst>
                  <a:gd name="T0" fmla="*/ 9 w 49"/>
                  <a:gd name="T1" fmla="*/ 26 h 26"/>
                  <a:gd name="T2" fmla="*/ 49 w 49"/>
                  <a:gd name="T3" fmla="*/ 26 h 26"/>
                  <a:gd name="T4" fmla="*/ 38 w 49"/>
                  <a:gd name="T5" fmla="*/ 0 h 26"/>
                  <a:gd name="T6" fmla="*/ 0 w 49"/>
                  <a:gd name="T7" fmla="*/ 0 h 26"/>
                  <a:gd name="T8" fmla="*/ 9 w 49"/>
                  <a:gd name="T9" fmla="*/ 26 h 26"/>
                </a:gdLst>
                <a:ahLst/>
                <a:cxnLst>
                  <a:cxn ang="0">
                    <a:pos x="T0" y="T1"/>
                  </a:cxn>
                  <a:cxn ang="0">
                    <a:pos x="T2" y="T3"/>
                  </a:cxn>
                  <a:cxn ang="0">
                    <a:pos x="T4" y="T5"/>
                  </a:cxn>
                  <a:cxn ang="0">
                    <a:pos x="T6" y="T7"/>
                  </a:cxn>
                  <a:cxn ang="0">
                    <a:pos x="T8" y="T9"/>
                  </a:cxn>
                </a:cxnLst>
                <a:rect l="0" t="0" r="r" b="b"/>
                <a:pathLst>
                  <a:path w="49" h="26">
                    <a:moveTo>
                      <a:pt x="9" y="26"/>
                    </a:moveTo>
                    <a:lnTo>
                      <a:pt x="49" y="26"/>
                    </a:lnTo>
                    <a:lnTo>
                      <a:pt x="38" y="0"/>
                    </a:lnTo>
                    <a:lnTo>
                      <a:pt x="0" y="0"/>
                    </a:lnTo>
                    <a:lnTo>
                      <a:pt x="9" y="26"/>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49" name="Freeform 40"/>
              <p:cNvSpPr>
                <a:spLocks/>
              </p:cNvSpPr>
              <p:nvPr/>
            </p:nvSpPr>
            <p:spPr bwMode="auto">
              <a:xfrm>
                <a:off x="1072363" y="2239234"/>
                <a:ext cx="113251" cy="37306"/>
              </a:xfrm>
              <a:custGeom>
                <a:avLst/>
                <a:gdLst>
                  <a:gd name="T0" fmla="*/ 85 w 85"/>
                  <a:gd name="T1" fmla="*/ 0 h 28"/>
                  <a:gd name="T2" fmla="*/ 1 w 85"/>
                  <a:gd name="T3" fmla="*/ 0 h 28"/>
                  <a:gd name="T4" fmla="*/ 0 w 85"/>
                  <a:gd name="T5" fmla="*/ 28 h 28"/>
                  <a:gd name="T6" fmla="*/ 85 w 85"/>
                  <a:gd name="T7" fmla="*/ 28 h 28"/>
                  <a:gd name="T8" fmla="*/ 85 w 85"/>
                  <a:gd name="T9" fmla="*/ 0 h 28"/>
                </a:gdLst>
                <a:ahLst/>
                <a:cxnLst>
                  <a:cxn ang="0">
                    <a:pos x="T0" y="T1"/>
                  </a:cxn>
                  <a:cxn ang="0">
                    <a:pos x="T2" y="T3"/>
                  </a:cxn>
                  <a:cxn ang="0">
                    <a:pos x="T4" y="T5"/>
                  </a:cxn>
                  <a:cxn ang="0">
                    <a:pos x="T6" y="T7"/>
                  </a:cxn>
                  <a:cxn ang="0">
                    <a:pos x="T8" y="T9"/>
                  </a:cxn>
                </a:cxnLst>
                <a:rect l="0" t="0" r="r" b="b"/>
                <a:pathLst>
                  <a:path w="85" h="28">
                    <a:moveTo>
                      <a:pt x="85" y="0"/>
                    </a:moveTo>
                    <a:lnTo>
                      <a:pt x="1" y="0"/>
                    </a:lnTo>
                    <a:lnTo>
                      <a:pt x="0" y="28"/>
                    </a:lnTo>
                    <a:lnTo>
                      <a:pt x="85" y="28"/>
                    </a:lnTo>
                    <a:lnTo>
                      <a:pt x="85" y="0"/>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50" name="Freeform 41"/>
              <p:cNvSpPr>
                <a:spLocks/>
              </p:cNvSpPr>
              <p:nvPr/>
            </p:nvSpPr>
            <p:spPr bwMode="auto">
              <a:xfrm>
                <a:off x="1314854" y="2239234"/>
                <a:ext cx="58624" cy="37306"/>
              </a:xfrm>
              <a:custGeom>
                <a:avLst/>
                <a:gdLst>
                  <a:gd name="T0" fmla="*/ 40 w 44"/>
                  <a:gd name="T1" fmla="*/ 0 h 28"/>
                  <a:gd name="T2" fmla="*/ 0 w 44"/>
                  <a:gd name="T3" fmla="*/ 0 h 28"/>
                  <a:gd name="T4" fmla="*/ 3 w 44"/>
                  <a:gd name="T5" fmla="*/ 28 h 28"/>
                  <a:gd name="T6" fmla="*/ 44 w 44"/>
                  <a:gd name="T7" fmla="*/ 28 h 28"/>
                  <a:gd name="T8" fmla="*/ 40 w 44"/>
                  <a:gd name="T9" fmla="*/ 0 h 28"/>
                </a:gdLst>
                <a:ahLst/>
                <a:cxnLst>
                  <a:cxn ang="0">
                    <a:pos x="T0" y="T1"/>
                  </a:cxn>
                  <a:cxn ang="0">
                    <a:pos x="T2" y="T3"/>
                  </a:cxn>
                  <a:cxn ang="0">
                    <a:pos x="T4" y="T5"/>
                  </a:cxn>
                  <a:cxn ang="0">
                    <a:pos x="T6" y="T7"/>
                  </a:cxn>
                  <a:cxn ang="0">
                    <a:pos x="T8" y="T9"/>
                  </a:cxn>
                </a:cxnLst>
                <a:rect l="0" t="0" r="r" b="b"/>
                <a:pathLst>
                  <a:path w="44" h="28">
                    <a:moveTo>
                      <a:pt x="40" y="0"/>
                    </a:moveTo>
                    <a:lnTo>
                      <a:pt x="0" y="0"/>
                    </a:lnTo>
                    <a:lnTo>
                      <a:pt x="3" y="28"/>
                    </a:lnTo>
                    <a:lnTo>
                      <a:pt x="44" y="28"/>
                    </a:lnTo>
                    <a:lnTo>
                      <a:pt x="40" y="0"/>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51" name="Freeform 42"/>
              <p:cNvSpPr>
                <a:spLocks/>
              </p:cNvSpPr>
              <p:nvPr/>
            </p:nvSpPr>
            <p:spPr bwMode="auto">
              <a:xfrm>
                <a:off x="1437432" y="2239234"/>
                <a:ext cx="61289" cy="37306"/>
              </a:xfrm>
              <a:custGeom>
                <a:avLst/>
                <a:gdLst>
                  <a:gd name="T0" fmla="*/ 39 w 46"/>
                  <a:gd name="T1" fmla="*/ 0 h 28"/>
                  <a:gd name="T2" fmla="*/ 0 w 46"/>
                  <a:gd name="T3" fmla="*/ 0 h 28"/>
                  <a:gd name="T4" fmla="*/ 4 w 46"/>
                  <a:gd name="T5" fmla="*/ 28 h 28"/>
                  <a:gd name="T6" fmla="*/ 46 w 46"/>
                  <a:gd name="T7" fmla="*/ 28 h 28"/>
                  <a:gd name="T8" fmla="*/ 39 w 46"/>
                  <a:gd name="T9" fmla="*/ 0 h 28"/>
                </a:gdLst>
                <a:ahLst/>
                <a:cxnLst>
                  <a:cxn ang="0">
                    <a:pos x="T0" y="T1"/>
                  </a:cxn>
                  <a:cxn ang="0">
                    <a:pos x="T2" y="T3"/>
                  </a:cxn>
                  <a:cxn ang="0">
                    <a:pos x="T4" y="T5"/>
                  </a:cxn>
                  <a:cxn ang="0">
                    <a:pos x="T6" y="T7"/>
                  </a:cxn>
                  <a:cxn ang="0">
                    <a:pos x="T8" y="T9"/>
                  </a:cxn>
                </a:cxnLst>
                <a:rect l="0" t="0" r="r" b="b"/>
                <a:pathLst>
                  <a:path w="46" h="28">
                    <a:moveTo>
                      <a:pt x="39" y="0"/>
                    </a:moveTo>
                    <a:lnTo>
                      <a:pt x="0" y="0"/>
                    </a:lnTo>
                    <a:lnTo>
                      <a:pt x="4" y="28"/>
                    </a:lnTo>
                    <a:lnTo>
                      <a:pt x="46" y="28"/>
                    </a:lnTo>
                    <a:lnTo>
                      <a:pt x="39" y="0"/>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52" name="Freeform 43"/>
              <p:cNvSpPr>
                <a:spLocks/>
              </p:cNvSpPr>
              <p:nvPr/>
            </p:nvSpPr>
            <p:spPr bwMode="auto">
              <a:xfrm>
                <a:off x="1193608" y="2239234"/>
                <a:ext cx="55960" cy="37306"/>
              </a:xfrm>
              <a:custGeom>
                <a:avLst/>
                <a:gdLst>
                  <a:gd name="T0" fmla="*/ 40 w 42"/>
                  <a:gd name="T1" fmla="*/ 0 h 28"/>
                  <a:gd name="T2" fmla="*/ 0 w 42"/>
                  <a:gd name="T3" fmla="*/ 0 h 28"/>
                  <a:gd name="T4" fmla="*/ 0 w 42"/>
                  <a:gd name="T5" fmla="*/ 28 h 28"/>
                  <a:gd name="T6" fmla="*/ 42 w 42"/>
                  <a:gd name="T7" fmla="*/ 28 h 28"/>
                  <a:gd name="T8" fmla="*/ 40 w 42"/>
                  <a:gd name="T9" fmla="*/ 0 h 28"/>
                </a:gdLst>
                <a:ahLst/>
                <a:cxnLst>
                  <a:cxn ang="0">
                    <a:pos x="T0" y="T1"/>
                  </a:cxn>
                  <a:cxn ang="0">
                    <a:pos x="T2" y="T3"/>
                  </a:cxn>
                  <a:cxn ang="0">
                    <a:pos x="T4" y="T5"/>
                  </a:cxn>
                  <a:cxn ang="0">
                    <a:pos x="T6" y="T7"/>
                  </a:cxn>
                  <a:cxn ang="0">
                    <a:pos x="T8" y="T9"/>
                  </a:cxn>
                </a:cxnLst>
                <a:rect l="0" t="0" r="r" b="b"/>
                <a:pathLst>
                  <a:path w="42" h="28">
                    <a:moveTo>
                      <a:pt x="40" y="0"/>
                    </a:moveTo>
                    <a:lnTo>
                      <a:pt x="0" y="0"/>
                    </a:lnTo>
                    <a:lnTo>
                      <a:pt x="0" y="28"/>
                    </a:lnTo>
                    <a:lnTo>
                      <a:pt x="42" y="28"/>
                    </a:lnTo>
                    <a:lnTo>
                      <a:pt x="40" y="0"/>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53" name="Freeform 44"/>
              <p:cNvSpPr>
                <a:spLocks/>
              </p:cNvSpPr>
              <p:nvPr/>
            </p:nvSpPr>
            <p:spPr bwMode="auto">
              <a:xfrm>
                <a:off x="1254897" y="2239234"/>
                <a:ext cx="55960" cy="37306"/>
              </a:xfrm>
              <a:custGeom>
                <a:avLst/>
                <a:gdLst>
                  <a:gd name="T0" fmla="*/ 40 w 42"/>
                  <a:gd name="T1" fmla="*/ 0 h 28"/>
                  <a:gd name="T2" fmla="*/ 0 w 42"/>
                  <a:gd name="T3" fmla="*/ 0 h 28"/>
                  <a:gd name="T4" fmla="*/ 1 w 42"/>
                  <a:gd name="T5" fmla="*/ 28 h 28"/>
                  <a:gd name="T6" fmla="*/ 42 w 42"/>
                  <a:gd name="T7" fmla="*/ 28 h 28"/>
                  <a:gd name="T8" fmla="*/ 40 w 42"/>
                  <a:gd name="T9" fmla="*/ 0 h 28"/>
                </a:gdLst>
                <a:ahLst/>
                <a:cxnLst>
                  <a:cxn ang="0">
                    <a:pos x="T0" y="T1"/>
                  </a:cxn>
                  <a:cxn ang="0">
                    <a:pos x="T2" y="T3"/>
                  </a:cxn>
                  <a:cxn ang="0">
                    <a:pos x="T4" y="T5"/>
                  </a:cxn>
                  <a:cxn ang="0">
                    <a:pos x="T6" y="T7"/>
                  </a:cxn>
                  <a:cxn ang="0">
                    <a:pos x="T8" y="T9"/>
                  </a:cxn>
                </a:cxnLst>
                <a:rect l="0" t="0" r="r" b="b"/>
                <a:pathLst>
                  <a:path w="42" h="28">
                    <a:moveTo>
                      <a:pt x="40" y="0"/>
                    </a:moveTo>
                    <a:lnTo>
                      <a:pt x="0" y="0"/>
                    </a:lnTo>
                    <a:lnTo>
                      <a:pt x="1" y="28"/>
                    </a:lnTo>
                    <a:lnTo>
                      <a:pt x="42" y="28"/>
                    </a:lnTo>
                    <a:lnTo>
                      <a:pt x="40" y="0"/>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54" name="Freeform 45"/>
              <p:cNvSpPr>
                <a:spLocks/>
              </p:cNvSpPr>
              <p:nvPr/>
            </p:nvSpPr>
            <p:spPr bwMode="auto">
              <a:xfrm>
                <a:off x="1497389" y="2239234"/>
                <a:ext cx="63954" cy="37306"/>
              </a:xfrm>
              <a:custGeom>
                <a:avLst/>
                <a:gdLst>
                  <a:gd name="T0" fmla="*/ 40 w 48"/>
                  <a:gd name="T1" fmla="*/ 0 h 28"/>
                  <a:gd name="T2" fmla="*/ 0 w 48"/>
                  <a:gd name="T3" fmla="*/ 0 h 28"/>
                  <a:gd name="T4" fmla="*/ 7 w 48"/>
                  <a:gd name="T5" fmla="*/ 28 h 28"/>
                  <a:gd name="T6" fmla="*/ 48 w 48"/>
                  <a:gd name="T7" fmla="*/ 28 h 28"/>
                  <a:gd name="T8" fmla="*/ 40 w 48"/>
                  <a:gd name="T9" fmla="*/ 0 h 28"/>
                </a:gdLst>
                <a:ahLst/>
                <a:cxnLst>
                  <a:cxn ang="0">
                    <a:pos x="T0" y="T1"/>
                  </a:cxn>
                  <a:cxn ang="0">
                    <a:pos x="T2" y="T3"/>
                  </a:cxn>
                  <a:cxn ang="0">
                    <a:pos x="T4" y="T5"/>
                  </a:cxn>
                  <a:cxn ang="0">
                    <a:pos x="T6" y="T7"/>
                  </a:cxn>
                  <a:cxn ang="0">
                    <a:pos x="T8" y="T9"/>
                  </a:cxn>
                </a:cxnLst>
                <a:rect l="0" t="0" r="r" b="b"/>
                <a:pathLst>
                  <a:path w="48" h="28">
                    <a:moveTo>
                      <a:pt x="40" y="0"/>
                    </a:moveTo>
                    <a:lnTo>
                      <a:pt x="0" y="0"/>
                    </a:lnTo>
                    <a:lnTo>
                      <a:pt x="7" y="28"/>
                    </a:lnTo>
                    <a:lnTo>
                      <a:pt x="48" y="28"/>
                    </a:lnTo>
                    <a:lnTo>
                      <a:pt x="40" y="0"/>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55" name="Freeform 46"/>
              <p:cNvSpPr>
                <a:spLocks/>
              </p:cNvSpPr>
              <p:nvPr/>
            </p:nvSpPr>
            <p:spPr bwMode="auto">
              <a:xfrm>
                <a:off x="1376143" y="2239234"/>
                <a:ext cx="59957" cy="37306"/>
              </a:xfrm>
              <a:custGeom>
                <a:avLst/>
                <a:gdLst>
                  <a:gd name="T0" fmla="*/ 40 w 45"/>
                  <a:gd name="T1" fmla="*/ 0 h 28"/>
                  <a:gd name="T2" fmla="*/ 0 w 45"/>
                  <a:gd name="T3" fmla="*/ 0 h 28"/>
                  <a:gd name="T4" fmla="*/ 4 w 45"/>
                  <a:gd name="T5" fmla="*/ 28 h 28"/>
                  <a:gd name="T6" fmla="*/ 45 w 45"/>
                  <a:gd name="T7" fmla="*/ 28 h 28"/>
                  <a:gd name="T8" fmla="*/ 40 w 45"/>
                  <a:gd name="T9" fmla="*/ 0 h 28"/>
                </a:gdLst>
                <a:ahLst/>
                <a:cxnLst>
                  <a:cxn ang="0">
                    <a:pos x="T0" y="T1"/>
                  </a:cxn>
                  <a:cxn ang="0">
                    <a:pos x="T2" y="T3"/>
                  </a:cxn>
                  <a:cxn ang="0">
                    <a:pos x="T4" y="T5"/>
                  </a:cxn>
                  <a:cxn ang="0">
                    <a:pos x="T6" y="T7"/>
                  </a:cxn>
                  <a:cxn ang="0">
                    <a:pos x="T8" y="T9"/>
                  </a:cxn>
                </a:cxnLst>
                <a:rect l="0" t="0" r="r" b="b"/>
                <a:pathLst>
                  <a:path w="45" h="28">
                    <a:moveTo>
                      <a:pt x="40" y="0"/>
                    </a:moveTo>
                    <a:lnTo>
                      <a:pt x="0" y="0"/>
                    </a:lnTo>
                    <a:lnTo>
                      <a:pt x="4" y="28"/>
                    </a:lnTo>
                    <a:lnTo>
                      <a:pt x="45" y="28"/>
                    </a:lnTo>
                    <a:lnTo>
                      <a:pt x="40" y="0"/>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2" name="Freeform 47"/>
              <p:cNvSpPr>
                <a:spLocks/>
              </p:cNvSpPr>
              <p:nvPr/>
            </p:nvSpPr>
            <p:spPr bwMode="auto">
              <a:xfrm>
                <a:off x="563397" y="2239234"/>
                <a:ext cx="77277" cy="37306"/>
              </a:xfrm>
              <a:custGeom>
                <a:avLst/>
                <a:gdLst>
                  <a:gd name="T0" fmla="*/ 58 w 58"/>
                  <a:gd name="T1" fmla="*/ 0 h 28"/>
                  <a:gd name="T2" fmla="*/ 10 w 58"/>
                  <a:gd name="T3" fmla="*/ 0 h 28"/>
                  <a:gd name="T4" fmla="*/ 0 w 58"/>
                  <a:gd name="T5" fmla="*/ 28 h 28"/>
                  <a:gd name="T6" fmla="*/ 48 w 58"/>
                  <a:gd name="T7" fmla="*/ 28 h 28"/>
                  <a:gd name="T8" fmla="*/ 58 w 58"/>
                  <a:gd name="T9" fmla="*/ 0 h 28"/>
                </a:gdLst>
                <a:ahLst/>
                <a:cxnLst>
                  <a:cxn ang="0">
                    <a:pos x="T0" y="T1"/>
                  </a:cxn>
                  <a:cxn ang="0">
                    <a:pos x="T2" y="T3"/>
                  </a:cxn>
                  <a:cxn ang="0">
                    <a:pos x="T4" y="T5"/>
                  </a:cxn>
                  <a:cxn ang="0">
                    <a:pos x="T6" y="T7"/>
                  </a:cxn>
                  <a:cxn ang="0">
                    <a:pos x="T8" y="T9"/>
                  </a:cxn>
                </a:cxnLst>
                <a:rect l="0" t="0" r="r" b="b"/>
                <a:pathLst>
                  <a:path w="58" h="28">
                    <a:moveTo>
                      <a:pt x="58" y="0"/>
                    </a:moveTo>
                    <a:lnTo>
                      <a:pt x="10" y="0"/>
                    </a:lnTo>
                    <a:lnTo>
                      <a:pt x="0" y="28"/>
                    </a:lnTo>
                    <a:lnTo>
                      <a:pt x="48" y="28"/>
                    </a:lnTo>
                    <a:lnTo>
                      <a:pt x="58" y="0"/>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3" name="Freeform 48"/>
              <p:cNvSpPr>
                <a:spLocks/>
              </p:cNvSpPr>
              <p:nvPr/>
            </p:nvSpPr>
            <p:spPr bwMode="auto">
              <a:xfrm>
                <a:off x="1558678" y="2239234"/>
                <a:ext cx="63954" cy="37306"/>
              </a:xfrm>
              <a:custGeom>
                <a:avLst/>
                <a:gdLst>
                  <a:gd name="T0" fmla="*/ 40 w 48"/>
                  <a:gd name="T1" fmla="*/ 0 h 28"/>
                  <a:gd name="T2" fmla="*/ 0 w 48"/>
                  <a:gd name="T3" fmla="*/ 0 h 28"/>
                  <a:gd name="T4" fmla="*/ 7 w 48"/>
                  <a:gd name="T5" fmla="*/ 28 h 28"/>
                  <a:gd name="T6" fmla="*/ 48 w 48"/>
                  <a:gd name="T7" fmla="*/ 28 h 28"/>
                  <a:gd name="T8" fmla="*/ 40 w 48"/>
                  <a:gd name="T9" fmla="*/ 0 h 28"/>
                </a:gdLst>
                <a:ahLst/>
                <a:cxnLst>
                  <a:cxn ang="0">
                    <a:pos x="T0" y="T1"/>
                  </a:cxn>
                  <a:cxn ang="0">
                    <a:pos x="T2" y="T3"/>
                  </a:cxn>
                  <a:cxn ang="0">
                    <a:pos x="T4" y="T5"/>
                  </a:cxn>
                  <a:cxn ang="0">
                    <a:pos x="T6" y="T7"/>
                  </a:cxn>
                  <a:cxn ang="0">
                    <a:pos x="T8" y="T9"/>
                  </a:cxn>
                </a:cxnLst>
                <a:rect l="0" t="0" r="r" b="b"/>
                <a:pathLst>
                  <a:path w="48" h="28">
                    <a:moveTo>
                      <a:pt x="40" y="0"/>
                    </a:moveTo>
                    <a:lnTo>
                      <a:pt x="0" y="0"/>
                    </a:lnTo>
                    <a:lnTo>
                      <a:pt x="7" y="28"/>
                    </a:lnTo>
                    <a:lnTo>
                      <a:pt x="48" y="28"/>
                    </a:lnTo>
                    <a:lnTo>
                      <a:pt x="40" y="0"/>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4" name="Freeform 49"/>
              <p:cNvSpPr>
                <a:spLocks/>
              </p:cNvSpPr>
              <p:nvPr/>
            </p:nvSpPr>
            <p:spPr bwMode="auto">
              <a:xfrm>
                <a:off x="1679924" y="2239234"/>
                <a:ext cx="70616" cy="37306"/>
              </a:xfrm>
              <a:custGeom>
                <a:avLst/>
                <a:gdLst>
                  <a:gd name="T0" fmla="*/ 0 w 53"/>
                  <a:gd name="T1" fmla="*/ 0 h 28"/>
                  <a:gd name="T2" fmla="*/ 10 w 53"/>
                  <a:gd name="T3" fmla="*/ 28 h 28"/>
                  <a:gd name="T4" fmla="*/ 53 w 53"/>
                  <a:gd name="T5" fmla="*/ 28 h 28"/>
                  <a:gd name="T6" fmla="*/ 41 w 53"/>
                  <a:gd name="T7" fmla="*/ 0 h 28"/>
                  <a:gd name="T8" fmla="*/ 0 w 53"/>
                  <a:gd name="T9" fmla="*/ 0 h 28"/>
                </a:gdLst>
                <a:ahLst/>
                <a:cxnLst>
                  <a:cxn ang="0">
                    <a:pos x="T0" y="T1"/>
                  </a:cxn>
                  <a:cxn ang="0">
                    <a:pos x="T2" y="T3"/>
                  </a:cxn>
                  <a:cxn ang="0">
                    <a:pos x="T4" y="T5"/>
                  </a:cxn>
                  <a:cxn ang="0">
                    <a:pos x="T6" y="T7"/>
                  </a:cxn>
                  <a:cxn ang="0">
                    <a:pos x="T8" y="T9"/>
                  </a:cxn>
                </a:cxnLst>
                <a:rect l="0" t="0" r="r" b="b"/>
                <a:pathLst>
                  <a:path w="53" h="28">
                    <a:moveTo>
                      <a:pt x="0" y="0"/>
                    </a:moveTo>
                    <a:lnTo>
                      <a:pt x="10" y="28"/>
                    </a:lnTo>
                    <a:lnTo>
                      <a:pt x="53" y="28"/>
                    </a:lnTo>
                    <a:lnTo>
                      <a:pt x="41" y="0"/>
                    </a:lnTo>
                    <a:lnTo>
                      <a:pt x="0" y="0"/>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5" name="Freeform 50"/>
              <p:cNvSpPr>
                <a:spLocks/>
              </p:cNvSpPr>
              <p:nvPr/>
            </p:nvSpPr>
            <p:spPr bwMode="auto">
              <a:xfrm>
                <a:off x="606033" y="2151297"/>
                <a:ext cx="65286" cy="34642"/>
              </a:xfrm>
              <a:custGeom>
                <a:avLst/>
                <a:gdLst>
                  <a:gd name="T0" fmla="*/ 40 w 49"/>
                  <a:gd name="T1" fmla="*/ 26 h 26"/>
                  <a:gd name="T2" fmla="*/ 49 w 49"/>
                  <a:gd name="T3" fmla="*/ 0 h 26"/>
                  <a:gd name="T4" fmla="*/ 10 w 49"/>
                  <a:gd name="T5" fmla="*/ 0 h 26"/>
                  <a:gd name="T6" fmla="*/ 0 w 49"/>
                  <a:gd name="T7" fmla="*/ 26 h 26"/>
                  <a:gd name="T8" fmla="*/ 40 w 49"/>
                  <a:gd name="T9" fmla="*/ 26 h 26"/>
                </a:gdLst>
                <a:ahLst/>
                <a:cxnLst>
                  <a:cxn ang="0">
                    <a:pos x="T0" y="T1"/>
                  </a:cxn>
                  <a:cxn ang="0">
                    <a:pos x="T2" y="T3"/>
                  </a:cxn>
                  <a:cxn ang="0">
                    <a:pos x="T4" y="T5"/>
                  </a:cxn>
                  <a:cxn ang="0">
                    <a:pos x="T6" y="T7"/>
                  </a:cxn>
                  <a:cxn ang="0">
                    <a:pos x="T8" y="T9"/>
                  </a:cxn>
                </a:cxnLst>
                <a:rect l="0" t="0" r="r" b="b"/>
                <a:pathLst>
                  <a:path w="49" h="26">
                    <a:moveTo>
                      <a:pt x="40" y="26"/>
                    </a:moveTo>
                    <a:lnTo>
                      <a:pt x="49" y="0"/>
                    </a:lnTo>
                    <a:lnTo>
                      <a:pt x="10" y="0"/>
                    </a:lnTo>
                    <a:lnTo>
                      <a:pt x="0" y="26"/>
                    </a:lnTo>
                    <a:lnTo>
                      <a:pt x="40" y="26"/>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6" name="Freeform 51"/>
              <p:cNvSpPr>
                <a:spLocks/>
              </p:cNvSpPr>
              <p:nvPr/>
            </p:nvSpPr>
            <p:spPr bwMode="auto">
              <a:xfrm>
                <a:off x="1663935" y="2192601"/>
                <a:ext cx="67951" cy="38639"/>
              </a:xfrm>
              <a:custGeom>
                <a:avLst/>
                <a:gdLst>
                  <a:gd name="T0" fmla="*/ 40 w 51"/>
                  <a:gd name="T1" fmla="*/ 0 h 29"/>
                  <a:gd name="T2" fmla="*/ 0 w 51"/>
                  <a:gd name="T3" fmla="*/ 0 h 29"/>
                  <a:gd name="T4" fmla="*/ 10 w 51"/>
                  <a:gd name="T5" fmla="*/ 29 h 29"/>
                  <a:gd name="T6" fmla="*/ 51 w 51"/>
                  <a:gd name="T7" fmla="*/ 29 h 29"/>
                  <a:gd name="T8" fmla="*/ 40 w 51"/>
                  <a:gd name="T9" fmla="*/ 0 h 29"/>
                </a:gdLst>
                <a:ahLst/>
                <a:cxnLst>
                  <a:cxn ang="0">
                    <a:pos x="T0" y="T1"/>
                  </a:cxn>
                  <a:cxn ang="0">
                    <a:pos x="T2" y="T3"/>
                  </a:cxn>
                  <a:cxn ang="0">
                    <a:pos x="T4" y="T5"/>
                  </a:cxn>
                  <a:cxn ang="0">
                    <a:pos x="T6" y="T7"/>
                  </a:cxn>
                  <a:cxn ang="0">
                    <a:pos x="T8" y="T9"/>
                  </a:cxn>
                </a:cxnLst>
                <a:rect l="0" t="0" r="r" b="b"/>
                <a:pathLst>
                  <a:path w="51" h="29">
                    <a:moveTo>
                      <a:pt x="40" y="0"/>
                    </a:moveTo>
                    <a:lnTo>
                      <a:pt x="0" y="0"/>
                    </a:lnTo>
                    <a:lnTo>
                      <a:pt x="10" y="29"/>
                    </a:lnTo>
                    <a:lnTo>
                      <a:pt x="51" y="29"/>
                    </a:lnTo>
                    <a:lnTo>
                      <a:pt x="40" y="0"/>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8" name="Freeform 52"/>
              <p:cNvSpPr>
                <a:spLocks/>
              </p:cNvSpPr>
              <p:nvPr/>
            </p:nvSpPr>
            <p:spPr bwMode="auto">
              <a:xfrm>
                <a:off x="1619967" y="2239234"/>
                <a:ext cx="66619" cy="37306"/>
              </a:xfrm>
              <a:custGeom>
                <a:avLst/>
                <a:gdLst>
                  <a:gd name="T0" fmla="*/ 39 w 50"/>
                  <a:gd name="T1" fmla="*/ 0 h 28"/>
                  <a:gd name="T2" fmla="*/ 0 w 50"/>
                  <a:gd name="T3" fmla="*/ 0 h 28"/>
                  <a:gd name="T4" fmla="*/ 8 w 50"/>
                  <a:gd name="T5" fmla="*/ 28 h 28"/>
                  <a:gd name="T6" fmla="*/ 50 w 50"/>
                  <a:gd name="T7" fmla="*/ 28 h 28"/>
                  <a:gd name="T8" fmla="*/ 39 w 50"/>
                  <a:gd name="T9" fmla="*/ 0 h 28"/>
                </a:gdLst>
                <a:ahLst/>
                <a:cxnLst>
                  <a:cxn ang="0">
                    <a:pos x="T0" y="T1"/>
                  </a:cxn>
                  <a:cxn ang="0">
                    <a:pos x="T2" y="T3"/>
                  </a:cxn>
                  <a:cxn ang="0">
                    <a:pos x="T4" y="T5"/>
                  </a:cxn>
                  <a:cxn ang="0">
                    <a:pos x="T6" y="T7"/>
                  </a:cxn>
                  <a:cxn ang="0">
                    <a:pos x="T8" y="T9"/>
                  </a:cxn>
                </a:cxnLst>
                <a:rect l="0" t="0" r="r" b="b"/>
                <a:pathLst>
                  <a:path w="50" h="28">
                    <a:moveTo>
                      <a:pt x="39" y="0"/>
                    </a:moveTo>
                    <a:lnTo>
                      <a:pt x="0" y="0"/>
                    </a:lnTo>
                    <a:lnTo>
                      <a:pt x="8" y="28"/>
                    </a:lnTo>
                    <a:lnTo>
                      <a:pt x="50" y="28"/>
                    </a:lnTo>
                    <a:lnTo>
                      <a:pt x="39" y="0"/>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9" name="Freeform 53"/>
              <p:cNvSpPr>
                <a:spLocks/>
              </p:cNvSpPr>
              <p:nvPr/>
            </p:nvSpPr>
            <p:spPr bwMode="auto">
              <a:xfrm>
                <a:off x="832536" y="2192601"/>
                <a:ext cx="59957" cy="38639"/>
              </a:xfrm>
              <a:custGeom>
                <a:avLst/>
                <a:gdLst>
                  <a:gd name="T0" fmla="*/ 45 w 45"/>
                  <a:gd name="T1" fmla="*/ 0 h 29"/>
                  <a:gd name="T2" fmla="*/ 6 w 45"/>
                  <a:gd name="T3" fmla="*/ 0 h 29"/>
                  <a:gd name="T4" fmla="*/ 0 w 45"/>
                  <a:gd name="T5" fmla="*/ 29 h 29"/>
                  <a:gd name="T6" fmla="*/ 40 w 45"/>
                  <a:gd name="T7" fmla="*/ 29 h 29"/>
                  <a:gd name="T8" fmla="*/ 45 w 45"/>
                  <a:gd name="T9" fmla="*/ 0 h 29"/>
                </a:gdLst>
                <a:ahLst/>
                <a:cxnLst>
                  <a:cxn ang="0">
                    <a:pos x="T0" y="T1"/>
                  </a:cxn>
                  <a:cxn ang="0">
                    <a:pos x="T2" y="T3"/>
                  </a:cxn>
                  <a:cxn ang="0">
                    <a:pos x="T4" y="T5"/>
                  </a:cxn>
                  <a:cxn ang="0">
                    <a:pos x="T6" y="T7"/>
                  </a:cxn>
                  <a:cxn ang="0">
                    <a:pos x="T8" y="T9"/>
                  </a:cxn>
                </a:cxnLst>
                <a:rect l="0" t="0" r="r" b="b"/>
                <a:pathLst>
                  <a:path w="45" h="29">
                    <a:moveTo>
                      <a:pt x="45" y="0"/>
                    </a:moveTo>
                    <a:lnTo>
                      <a:pt x="6" y="0"/>
                    </a:lnTo>
                    <a:lnTo>
                      <a:pt x="0" y="29"/>
                    </a:lnTo>
                    <a:lnTo>
                      <a:pt x="40" y="29"/>
                    </a:lnTo>
                    <a:lnTo>
                      <a:pt x="45" y="0"/>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0" name="Freeform 54"/>
              <p:cNvSpPr>
                <a:spLocks/>
              </p:cNvSpPr>
              <p:nvPr/>
            </p:nvSpPr>
            <p:spPr bwMode="auto">
              <a:xfrm>
                <a:off x="651334" y="2192601"/>
                <a:ext cx="63954" cy="38639"/>
              </a:xfrm>
              <a:custGeom>
                <a:avLst/>
                <a:gdLst>
                  <a:gd name="T0" fmla="*/ 0 w 48"/>
                  <a:gd name="T1" fmla="*/ 29 h 29"/>
                  <a:gd name="T2" fmla="*/ 39 w 48"/>
                  <a:gd name="T3" fmla="*/ 29 h 29"/>
                  <a:gd name="T4" fmla="*/ 48 w 48"/>
                  <a:gd name="T5" fmla="*/ 0 h 29"/>
                  <a:gd name="T6" fmla="*/ 10 w 48"/>
                  <a:gd name="T7" fmla="*/ 0 h 29"/>
                  <a:gd name="T8" fmla="*/ 0 w 48"/>
                  <a:gd name="T9" fmla="*/ 29 h 29"/>
                </a:gdLst>
                <a:ahLst/>
                <a:cxnLst>
                  <a:cxn ang="0">
                    <a:pos x="T0" y="T1"/>
                  </a:cxn>
                  <a:cxn ang="0">
                    <a:pos x="T2" y="T3"/>
                  </a:cxn>
                  <a:cxn ang="0">
                    <a:pos x="T4" y="T5"/>
                  </a:cxn>
                  <a:cxn ang="0">
                    <a:pos x="T6" y="T7"/>
                  </a:cxn>
                  <a:cxn ang="0">
                    <a:pos x="T8" y="T9"/>
                  </a:cxn>
                </a:cxnLst>
                <a:rect l="0" t="0" r="r" b="b"/>
                <a:pathLst>
                  <a:path w="48" h="29">
                    <a:moveTo>
                      <a:pt x="0" y="29"/>
                    </a:moveTo>
                    <a:lnTo>
                      <a:pt x="39" y="29"/>
                    </a:lnTo>
                    <a:lnTo>
                      <a:pt x="48" y="0"/>
                    </a:lnTo>
                    <a:lnTo>
                      <a:pt x="10" y="0"/>
                    </a:lnTo>
                    <a:lnTo>
                      <a:pt x="0" y="29"/>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5" name="Freeform 55"/>
              <p:cNvSpPr>
                <a:spLocks/>
              </p:cNvSpPr>
              <p:nvPr/>
            </p:nvSpPr>
            <p:spPr bwMode="auto">
              <a:xfrm>
                <a:off x="1009741" y="2239234"/>
                <a:ext cx="57292" cy="37306"/>
              </a:xfrm>
              <a:custGeom>
                <a:avLst/>
                <a:gdLst>
                  <a:gd name="T0" fmla="*/ 43 w 43"/>
                  <a:gd name="T1" fmla="*/ 0 h 28"/>
                  <a:gd name="T2" fmla="*/ 2 w 43"/>
                  <a:gd name="T3" fmla="*/ 0 h 28"/>
                  <a:gd name="T4" fmla="*/ 0 w 43"/>
                  <a:gd name="T5" fmla="*/ 28 h 28"/>
                  <a:gd name="T6" fmla="*/ 41 w 43"/>
                  <a:gd name="T7" fmla="*/ 28 h 28"/>
                  <a:gd name="T8" fmla="*/ 43 w 43"/>
                  <a:gd name="T9" fmla="*/ 0 h 28"/>
                </a:gdLst>
                <a:ahLst/>
                <a:cxnLst>
                  <a:cxn ang="0">
                    <a:pos x="T0" y="T1"/>
                  </a:cxn>
                  <a:cxn ang="0">
                    <a:pos x="T2" y="T3"/>
                  </a:cxn>
                  <a:cxn ang="0">
                    <a:pos x="T4" y="T5"/>
                  </a:cxn>
                  <a:cxn ang="0">
                    <a:pos x="T6" y="T7"/>
                  </a:cxn>
                  <a:cxn ang="0">
                    <a:pos x="T8" y="T9"/>
                  </a:cxn>
                </a:cxnLst>
                <a:rect l="0" t="0" r="r" b="b"/>
                <a:pathLst>
                  <a:path w="43" h="28">
                    <a:moveTo>
                      <a:pt x="43" y="0"/>
                    </a:moveTo>
                    <a:lnTo>
                      <a:pt x="2" y="0"/>
                    </a:lnTo>
                    <a:lnTo>
                      <a:pt x="0" y="28"/>
                    </a:lnTo>
                    <a:lnTo>
                      <a:pt x="41" y="28"/>
                    </a:lnTo>
                    <a:lnTo>
                      <a:pt x="43" y="0"/>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6" name="Freeform 56"/>
              <p:cNvSpPr>
                <a:spLocks/>
              </p:cNvSpPr>
              <p:nvPr/>
            </p:nvSpPr>
            <p:spPr bwMode="auto">
              <a:xfrm>
                <a:off x="588712" y="2192601"/>
                <a:ext cx="67951" cy="38639"/>
              </a:xfrm>
              <a:custGeom>
                <a:avLst/>
                <a:gdLst>
                  <a:gd name="T0" fmla="*/ 0 w 51"/>
                  <a:gd name="T1" fmla="*/ 29 h 29"/>
                  <a:gd name="T2" fmla="*/ 41 w 51"/>
                  <a:gd name="T3" fmla="*/ 29 h 29"/>
                  <a:gd name="T4" fmla="*/ 51 w 51"/>
                  <a:gd name="T5" fmla="*/ 0 h 29"/>
                  <a:gd name="T6" fmla="*/ 11 w 51"/>
                  <a:gd name="T7" fmla="*/ 0 h 29"/>
                  <a:gd name="T8" fmla="*/ 0 w 51"/>
                  <a:gd name="T9" fmla="*/ 29 h 29"/>
                </a:gdLst>
                <a:ahLst/>
                <a:cxnLst>
                  <a:cxn ang="0">
                    <a:pos x="T0" y="T1"/>
                  </a:cxn>
                  <a:cxn ang="0">
                    <a:pos x="T2" y="T3"/>
                  </a:cxn>
                  <a:cxn ang="0">
                    <a:pos x="T4" y="T5"/>
                  </a:cxn>
                  <a:cxn ang="0">
                    <a:pos x="T6" y="T7"/>
                  </a:cxn>
                  <a:cxn ang="0">
                    <a:pos x="T8" y="T9"/>
                  </a:cxn>
                </a:cxnLst>
                <a:rect l="0" t="0" r="r" b="b"/>
                <a:pathLst>
                  <a:path w="51" h="29">
                    <a:moveTo>
                      <a:pt x="0" y="29"/>
                    </a:moveTo>
                    <a:lnTo>
                      <a:pt x="41" y="29"/>
                    </a:lnTo>
                    <a:lnTo>
                      <a:pt x="51" y="0"/>
                    </a:lnTo>
                    <a:lnTo>
                      <a:pt x="11" y="0"/>
                    </a:lnTo>
                    <a:lnTo>
                      <a:pt x="0" y="29"/>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7" name="Freeform 57"/>
              <p:cNvSpPr>
                <a:spLocks/>
              </p:cNvSpPr>
              <p:nvPr/>
            </p:nvSpPr>
            <p:spPr bwMode="auto">
              <a:xfrm>
                <a:off x="784571" y="2151297"/>
                <a:ext cx="57292" cy="34642"/>
              </a:xfrm>
              <a:custGeom>
                <a:avLst/>
                <a:gdLst>
                  <a:gd name="T0" fmla="*/ 0 w 43"/>
                  <a:gd name="T1" fmla="*/ 26 h 26"/>
                  <a:gd name="T2" fmla="*/ 37 w 43"/>
                  <a:gd name="T3" fmla="*/ 26 h 26"/>
                  <a:gd name="T4" fmla="*/ 43 w 43"/>
                  <a:gd name="T5" fmla="*/ 0 h 26"/>
                  <a:gd name="T6" fmla="*/ 6 w 43"/>
                  <a:gd name="T7" fmla="*/ 0 h 26"/>
                  <a:gd name="T8" fmla="*/ 0 w 43"/>
                  <a:gd name="T9" fmla="*/ 26 h 26"/>
                </a:gdLst>
                <a:ahLst/>
                <a:cxnLst>
                  <a:cxn ang="0">
                    <a:pos x="T0" y="T1"/>
                  </a:cxn>
                  <a:cxn ang="0">
                    <a:pos x="T2" y="T3"/>
                  </a:cxn>
                  <a:cxn ang="0">
                    <a:pos x="T4" y="T5"/>
                  </a:cxn>
                  <a:cxn ang="0">
                    <a:pos x="T6" y="T7"/>
                  </a:cxn>
                  <a:cxn ang="0">
                    <a:pos x="T8" y="T9"/>
                  </a:cxn>
                </a:cxnLst>
                <a:rect l="0" t="0" r="r" b="b"/>
                <a:pathLst>
                  <a:path w="43" h="26">
                    <a:moveTo>
                      <a:pt x="0" y="26"/>
                    </a:moveTo>
                    <a:lnTo>
                      <a:pt x="37" y="26"/>
                    </a:lnTo>
                    <a:lnTo>
                      <a:pt x="43" y="0"/>
                    </a:lnTo>
                    <a:lnTo>
                      <a:pt x="6" y="0"/>
                    </a:lnTo>
                    <a:lnTo>
                      <a:pt x="0" y="26"/>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8" name="Freeform 58"/>
              <p:cNvSpPr>
                <a:spLocks/>
              </p:cNvSpPr>
              <p:nvPr/>
            </p:nvSpPr>
            <p:spPr bwMode="auto">
              <a:xfrm>
                <a:off x="635345" y="2239234"/>
                <a:ext cx="65286" cy="37306"/>
              </a:xfrm>
              <a:custGeom>
                <a:avLst/>
                <a:gdLst>
                  <a:gd name="T0" fmla="*/ 41 w 49"/>
                  <a:gd name="T1" fmla="*/ 28 h 28"/>
                  <a:gd name="T2" fmla="*/ 49 w 49"/>
                  <a:gd name="T3" fmla="*/ 0 h 28"/>
                  <a:gd name="T4" fmla="*/ 10 w 49"/>
                  <a:gd name="T5" fmla="*/ 0 h 28"/>
                  <a:gd name="T6" fmla="*/ 0 w 49"/>
                  <a:gd name="T7" fmla="*/ 28 h 28"/>
                  <a:gd name="T8" fmla="*/ 41 w 49"/>
                  <a:gd name="T9" fmla="*/ 28 h 28"/>
                </a:gdLst>
                <a:ahLst/>
                <a:cxnLst>
                  <a:cxn ang="0">
                    <a:pos x="T0" y="T1"/>
                  </a:cxn>
                  <a:cxn ang="0">
                    <a:pos x="T2" y="T3"/>
                  </a:cxn>
                  <a:cxn ang="0">
                    <a:pos x="T4" y="T5"/>
                  </a:cxn>
                  <a:cxn ang="0">
                    <a:pos x="T6" y="T7"/>
                  </a:cxn>
                  <a:cxn ang="0">
                    <a:pos x="T8" y="T9"/>
                  </a:cxn>
                </a:cxnLst>
                <a:rect l="0" t="0" r="r" b="b"/>
                <a:pathLst>
                  <a:path w="49" h="28">
                    <a:moveTo>
                      <a:pt x="41" y="28"/>
                    </a:moveTo>
                    <a:lnTo>
                      <a:pt x="49" y="0"/>
                    </a:lnTo>
                    <a:lnTo>
                      <a:pt x="10" y="0"/>
                    </a:lnTo>
                    <a:lnTo>
                      <a:pt x="0" y="28"/>
                    </a:lnTo>
                    <a:lnTo>
                      <a:pt x="41" y="28"/>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9" name="Freeform 59"/>
              <p:cNvSpPr>
                <a:spLocks/>
              </p:cNvSpPr>
              <p:nvPr/>
            </p:nvSpPr>
            <p:spPr bwMode="auto">
              <a:xfrm>
                <a:off x="725947" y="2151297"/>
                <a:ext cx="59957" cy="34642"/>
              </a:xfrm>
              <a:custGeom>
                <a:avLst/>
                <a:gdLst>
                  <a:gd name="T0" fmla="*/ 0 w 45"/>
                  <a:gd name="T1" fmla="*/ 26 h 26"/>
                  <a:gd name="T2" fmla="*/ 37 w 45"/>
                  <a:gd name="T3" fmla="*/ 26 h 26"/>
                  <a:gd name="T4" fmla="*/ 45 w 45"/>
                  <a:gd name="T5" fmla="*/ 0 h 26"/>
                  <a:gd name="T6" fmla="*/ 8 w 45"/>
                  <a:gd name="T7" fmla="*/ 0 h 26"/>
                  <a:gd name="T8" fmla="*/ 0 w 45"/>
                  <a:gd name="T9" fmla="*/ 26 h 26"/>
                </a:gdLst>
                <a:ahLst/>
                <a:cxnLst>
                  <a:cxn ang="0">
                    <a:pos x="T0" y="T1"/>
                  </a:cxn>
                  <a:cxn ang="0">
                    <a:pos x="T2" y="T3"/>
                  </a:cxn>
                  <a:cxn ang="0">
                    <a:pos x="T4" y="T5"/>
                  </a:cxn>
                  <a:cxn ang="0">
                    <a:pos x="T6" y="T7"/>
                  </a:cxn>
                  <a:cxn ang="0">
                    <a:pos x="T8" y="T9"/>
                  </a:cxn>
                </a:cxnLst>
                <a:rect l="0" t="0" r="r" b="b"/>
                <a:pathLst>
                  <a:path w="45" h="26">
                    <a:moveTo>
                      <a:pt x="0" y="26"/>
                    </a:moveTo>
                    <a:lnTo>
                      <a:pt x="37" y="26"/>
                    </a:lnTo>
                    <a:lnTo>
                      <a:pt x="45" y="0"/>
                    </a:lnTo>
                    <a:lnTo>
                      <a:pt x="8" y="0"/>
                    </a:lnTo>
                    <a:lnTo>
                      <a:pt x="0" y="26"/>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0" name="Freeform 60"/>
              <p:cNvSpPr>
                <a:spLocks/>
              </p:cNvSpPr>
              <p:nvPr/>
            </p:nvSpPr>
            <p:spPr bwMode="auto">
              <a:xfrm>
                <a:off x="667322" y="2151297"/>
                <a:ext cx="61289" cy="34642"/>
              </a:xfrm>
              <a:custGeom>
                <a:avLst/>
                <a:gdLst>
                  <a:gd name="T0" fmla="*/ 0 w 46"/>
                  <a:gd name="T1" fmla="*/ 26 h 26"/>
                  <a:gd name="T2" fmla="*/ 38 w 46"/>
                  <a:gd name="T3" fmla="*/ 26 h 26"/>
                  <a:gd name="T4" fmla="*/ 46 w 46"/>
                  <a:gd name="T5" fmla="*/ 0 h 26"/>
                  <a:gd name="T6" fmla="*/ 9 w 46"/>
                  <a:gd name="T7" fmla="*/ 0 h 26"/>
                  <a:gd name="T8" fmla="*/ 0 w 46"/>
                  <a:gd name="T9" fmla="*/ 26 h 26"/>
                </a:gdLst>
                <a:ahLst/>
                <a:cxnLst>
                  <a:cxn ang="0">
                    <a:pos x="T0" y="T1"/>
                  </a:cxn>
                  <a:cxn ang="0">
                    <a:pos x="T2" y="T3"/>
                  </a:cxn>
                  <a:cxn ang="0">
                    <a:pos x="T4" y="T5"/>
                  </a:cxn>
                  <a:cxn ang="0">
                    <a:pos x="T6" y="T7"/>
                  </a:cxn>
                  <a:cxn ang="0">
                    <a:pos x="T8" y="T9"/>
                  </a:cxn>
                </a:cxnLst>
                <a:rect l="0" t="0" r="r" b="b"/>
                <a:pathLst>
                  <a:path w="46" h="26">
                    <a:moveTo>
                      <a:pt x="0" y="26"/>
                    </a:moveTo>
                    <a:lnTo>
                      <a:pt x="38" y="26"/>
                    </a:lnTo>
                    <a:lnTo>
                      <a:pt x="46" y="0"/>
                    </a:lnTo>
                    <a:lnTo>
                      <a:pt x="9" y="0"/>
                    </a:lnTo>
                    <a:lnTo>
                      <a:pt x="0" y="26"/>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1" name="Freeform 61"/>
              <p:cNvSpPr>
                <a:spLocks/>
              </p:cNvSpPr>
              <p:nvPr/>
            </p:nvSpPr>
            <p:spPr bwMode="auto">
              <a:xfrm>
                <a:off x="884499" y="2239234"/>
                <a:ext cx="59957" cy="37306"/>
              </a:xfrm>
              <a:custGeom>
                <a:avLst/>
                <a:gdLst>
                  <a:gd name="T0" fmla="*/ 45 w 45"/>
                  <a:gd name="T1" fmla="*/ 0 h 28"/>
                  <a:gd name="T2" fmla="*/ 5 w 45"/>
                  <a:gd name="T3" fmla="*/ 0 h 28"/>
                  <a:gd name="T4" fmla="*/ 0 w 45"/>
                  <a:gd name="T5" fmla="*/ 28 h 28"/>
                  <a:gd name="T6" fmla="*/ 41 w 45"/>
                  <a:gd name="T7" fmla="*/ 28 h 28"/>
                  <a:gd name="T8" fmla="*/ 45 w 45"/>
                  <a:gd name="T9" fmla="*/ 0 h 28"/>
                </a:gdLst>
                <a:ahLst/>
                <a:cxnLst>
                  <a:cxn ang="0">
                    <a:pos x="T0" y="T1"/>
                  </a:cxn>
                  <a:cxn ang="0">
                    <a:pos x="T2" y="T3"/>
                  </a:cxn>
                  <a:cxn ang="0">
                    <a:pos x="T4" y="T5"/>
                  </a:cxn>
                  <a:cxn ang="0">
                    <a:pos x="T6" y="T7"/>
                  </a:cxn>
                  <a:cxn ang="0">
                    <a:pos x="T8" y="T9"/>
                  </a:cxn>
                </a:cxnLst>
                <a:rect l="0" t="0" r="r" b="b"/>
                <a:pathLst>
                  <a:path w="45" h="28">
                    <a:moveTo>
                      <a:pt x="45" y="0"/>
                    </a:moveTo>
                    <a:lnTo>
                      <a:pt x="5" y="0"/>
                    </a:lnTo>
                    <a:lnTo>
                      <a:pt x="0" y="28"/>
                    </a:lnTo>
                    <a:lnTo>
                      <a:pt x="41" y="28"/>
                    </a:lnTo>
                    <a:lnTo>
                      <a:pt x="45" y="0"/>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2" name="Freeform 62"/>
              <p:cNvSpPr>
                <a:spLocks/>
              </p:cNvSpPr>
              <p:nvPr/>
            </p:nvSpPr>
            <p:spPr bwMode="auto">
              <a:xfrm>
                <a:off x="947120" y="2239234"/>
                <a:ext cx="398379" cy="37306"/>
              </a:xfrm>
              <a:custGeom>
                <a:avLst/>
                <a:gdLst>
                  <a:gd name="T0" fmla="*/ 299 w 299"/>
                  <a:gd name="T1" fmla="*/ 0 h 28"/>
                  <a:gd name="T2" fmla="*/ 4 w 299"/>
                  <a:gd name="T3" fmla="*/ 0 h 28"/>
                  <a:gd name="T4" fmla="*/ 0 w 299"/>
                  <a:gd name="T5" fmla="*/ 28 h 28"/>
                  <a:gd name="T6" fmla="*/ 297 w 299"/>
                  <a:gd name="T7" fmla="*/ 28 h 28"/>
                  <a:gd name="T8" fmla="*/ 299 w 299"/>
                  <a:gd name="T9" fmla="*/ 0 h 28"/>
                </a:gdLst>
                <a:ahLst/>
                <a:cxnLst>
                  <a:cxn ang="0">
                    <a:pos x="T0" y="T1"/>
                  </a:cxn>
                  <a:cxn ang="0">
                    <a:pos x="T2" y="T3"/>
                  </a:cxn>
                  <a:cxn ang="0">
                    <a:pos x="T4" y="T5"/>
                  </a:cxn>
                  <a:cxn ang="0">
                    <a:pos x="T6" y="T7"/>
                  </a:cxn>
                  <a:cxn ang="0">
                    <a:pos x="T8" y="T9"/>
                  </a:cxn>
                </a:cxnLst>
                <a:rect l="0" t="0" r="r" b="b"/>
                <a:pathLst>
                  <a:path w="299" h="28">
                    <a:moveTo>
                      <a:pt x="299" y="0"/>
                    </a:moveTo>
                    <a:lnTo>
                      <a:pt x="4" y="0"/>
                    </a:lnTo>
                    <a:lnTo>
                      <a:pt x="0" y="28"/>
                    </a:lnTo>
                    <a:lnTo>
                      <a:pt x="297" y="28"/>
                    </a:lnTo>
                    <a:lnTo>
                      <a:pt x="299" y="0"/>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3" name="Freeform 63"/>
              <p:cNvSpPr>
                <a:spLocks/>
              </p:cNvSpPr>
              <p:nvPr/>
            </p:nvSpPr>
            <p:spPr bwMode="auto">
              <a:xfrm>
                <a:off x="759256" y="2239234"/>
                <a:ext cx="63954" cy="37306"/>
              </a:xfrm>
              <a:custGeom>
                <a:avLst/>
                <a:gdLst>
                  <a:gd name="T0" fmla="*/ 48 w 48"/>
                  <a:gd name="T1" fmla="*/ 0 h 28"/>
                  <a:gd name="T2" fmla="*/ 8 w 48"/>
                  <a:gd name="T3" fmla="*/ 0 h 28"/>
                  <a:gd name="T4" fmla="*/ 0 w 48"/>
                  <a:gd name="T5" fmla="*/ 28 h 28"/>
                  <a:gd name="T6" fmla="*/ 42 w 48"/>
                  <a:gd name="T7" fmla="*/ 28 h 28"/>
                  <a:gd name="T8" fmla="*/ 48 w 48"/>
                  <a:gd name="T9" fmla="*/ 0 h 28"/>
                </a:gdLst>
                <a:ahLst/>
                <a:cxnLst>
                  <a:cxn ang="0">
                    <a:pos x="T0" y="T1"/>
                  </a:cxn>
                  <a:cxn ang="0">
                    <a:pos x="T2" y="T3"/>
                  </a:cxn>
                  <a:cxn ang="0">
                    <a:pos x="T4" y="T5"/>
                  </a:cxn>
                  <a:cxn ang="0">
                    <a:pos x="T6" y="T7"/>
                  </a:cxn>
                  <a:cxn ang="0">
                    <a:pos x="T8" y="T9"/>
                  </a:cxn>
                </a:cxnLst>
                <a:rect l="0" t="0" r="r" b="b"/>
                <a:pathLst>
                  <a:path w="48" h="28">
                    <a:moveTo>
                      <a:pt x="48" y="0"/>
                    </a:moveTo>
                    <a:lnTo>
                      <a:pt x="8" y="0"/>
                    </a:lnTo>
                    <a:lnTo>
                      <a:pt x="0" y="28"/>
                    </a:lnTo>
                    <a:lnTo>
                      <a:pt x="42" y="28"/>
                    </a:lnTo>
                    <a:lnTo>
                      <a:pt x="48" y="0"/>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4" name="Freeform 64"/>
              <p:cNvSpPr>
                <a:spLocks/>
              </p:cNvSpPr>
              <p:nvPr/>
            </p:nvSpPr>
            <p:spPr bwMode="auto">
              <a:xfrm>
                <a:off x="697967" y="2239234"/>
                <a:ext cx="63954" cy="37306"/>
              </a:xfrm>
              <a:custGeom>
                <a:avLst/>
                <a:gdLst>
                  <a:gd name="T0" fmla="*/ 48 w 48"/>
                  <a:gd name="T1" fmla="*/ 0 h 28"/>
                  <a:gd name="T2" fmla="*/ 9 w 48"/>
                  <a:gd name="T3" fmla="*/ 0 h 28"/>
                  <a:gd name="T4" fmla="*/ 0 w 48"/>
                  <a:gd name="T5" fmla="*/ 28 h 28"/>
                  <a:gd name="T6" fmla="*/ 41 w 48"/>
                  <a:gd name="T7" fmla="*/ 28 h 28"/>
                  <a:gd name="T8" fmla="*/ 48 w 48"/>
                  <a:gd name="T9" fmla="*/ 0 h 28"/>
                </a:gdLst>
                <a:ahLst/>
                <a:cxnLst>
                  <a:cxn ang="0">
                    <a:pos x="T0" y="T1"/>
                  </a:cxn>
                  <a:cxn ang="0">
                    <a:pos x="T2" y="T3"/>
                  </a:cxn>
                  <a:cxn ang="0">
                    <a:pos x="T4" y="T5"/>
                  </a:cxn>
                  <a:cxn ang="0">
                    <a:pos x="T6" y="T7"/>
                  </a:cxn>
                  <a:cxn ang="0">
                    <a:pos x="T8" y="T9"/>
                  </a:cxn>
                </a:cxnLst>
                <a:rect l="0" t="0" r="r" b="b"/>
                <a:pathLst>
                  <a:path w="48" h="28">
                    <a:moveTo>
                      <a:pt x="48" y="0"/>
                    </a:moveTo>
                    <a:lnTo>
                      <a:pt x="9" y="0"/>
                    </a:lnTo>
                    <a:lnTo>
                      <a:pt x="0" y="28"/>
                    </a:lnTo>
                    <a:lnTo>
                      <a:pt x="41" y="28"/>
                    </a:lnTo>
                    <a:lnTo>
                      <a:pt x="48" y="0"/>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5" name="Freeform 65"/>
              <p:cNvSpPr>
                <a:spLocks/>
              </p:cNvSpPr>
              <p:nvPr/>
            </p:nvSpPr>
            <p:spPr bwMode="auto">
              <a:xfrm>
                <a:off x="821877" y="2239234"/>
                <a:ext cx="61289" cy="37306"/>
              </a:xfrm>
              <a:custGeom>
                <a:avLst/>
                <a:gdLst>
                  <a:gd name="T0" fmla="*/ 46 w 46"/>
                  <a:gd name="T1" fmla="*/ 0 h 28"/>
                  <a:gd name="T2" fmla="*/ 7 w 46"/>
                  <a:gd name="T3" fmla="*/ 0 h 28"/>
                  <a:gd name="T4" fmla="*/ 0 w 46"/>
                  <a:gd name="T5" fmla="*/ 28 h 28"/>
                  <a:gd name="T6" fmla="*/ 42 w 46"/>
                  <a:gd name="T7" fmla="*/ 28 h 28"/>
                  <a:gd name="T8" fmla="*/ 46 w 46"/>
                  <a:gd name="T9" fmla="*/ 0 h 28"/>
                </a:gdLst>
                <a:ahLst/>
                <a:cxnLst>
                  <a:cxn ang="0">
                    <a:pos x="T0" y="T1"/>
                  </a:cxn>
                  <a:cxn ang="0">
                    <a:pos x="T2" y="T3"/>
                  </a:cxn>
                  <a:cxn ang="0">
                    <a:pos x="T4" y="T5"/>
                  </a:cxn>
                  <a:cxn ang="0">
                    <a:pos x="T6" y="T7"/>
                  </a:cxn>
                  <a:cxn ang="0">
                    <a:pos x="T8" y="T9"/>
                  </a:cxn>
                </a:cxnLst>
                <a:rect l="0" t="0" r="r" b="b"/>
                <a:pathLst>
                  <a:path w="46" h="28">
                    <a:moveTo>
                      <a:pt x="46" y="0"/>
                    </a:moveTo>
                    <a:lnTo>
                      <a:pt x="7" y="0"/>
                    </a:lnTo>
                    <a:lnTo>
                      <a:pt x="0" y="28"/>
                    </a:lnTo>
                    <a:lnTo>
                      <a:pt x="42" y="28"/>
                    </a:lnTo>
                    <a:lnTo>
                      <a:pt x="46" y="0"/>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6" name="Freeform 66"/>
              <p:cNvSpPr>
                <a:spLocks/>
              </p:cNvSpPr>
              <p:nvPr/>
            </p:nvSpPr>
            <p:spPr bwMode="auto">
              <a:xfrm>
                <a:off x="1076360" y="2151297"/>
                <a:ext cx="50630" cy="34642"/>
              </a:xfrm>
              <a:custGeom>
                <a:avLst/>
                <a:gdLst>
                  <a:gd name="T0" fmla="*/ 38 w 38"/>
                  <a:gd name="T1" fmla="*/ 0 h 26"/>
                  <a:gd name="T2" fmla="*/ 1 w 38"/>
                  <a:gd name="T3" fmla="*/ 0 h 26"/>
                  <a:gd name="T4" fmla="*/ 0 w 38"/>
                  <a:gd name="T5" fmla="*/ 26 h 26"/>
                  <a:gd name="T6" fmla="*/ 38 w 38"/>
                  <a:gd name="T7" fmla="*/ 26 h 26"/>
                  <a:gd name="T8" fmla="*/ 38 w 38"/>
                  <a:gd name="T9" fmla="*/ 0 h 26"/>
                </a:gdLst>
                <a:ahLst/>
                <a:cxnLst>
                  <a:cxn ang="0">
                    <a:pos x="T0" y="T1"/>
                  </a:cxn>
                  <a:cxn ang="0">
                    <a:pos x="T2" y="T3"/>
                  </a:cxn>
                  <a:cxn ang="0">
                    <a:pos x="T4" y="T5"/>
                  </a:cxn>
                  <a:cxn ang="0">
                    <a:pos x="T6" y="T7"/>
                  </a:cxn>
                  <a:cxn ang="0">
                    <a:pos x="T8" y="T9"/>
                  </a:cxn>
                </a:cxnLst>
                <a:rect l="0" t="0" r="r" b="b"/>
                <a:pathLst>
                  <a:path w="38" h="26">
                    <a:moveTo>
                      <a:pt x="38" y="0"/>
                    </a:moveTo>
                    <a:lnTo>
                      <a:pt x="1" y="0"/>
                    </a:lnTo>
                    <a:lnTo>
                      <a:pt x="0" y="26"/>
                    </a:lnTo>
                    <a:lnTo>
                      <a:pt x="38" y="26"/>
                    </a:lnTo>
                    <a:lnTo>
                      <a:pt x="38" y="0"/>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56" name="Rectangle 67"/>
              <p:cNvSpPr>
                <a:spLocks noChangeArrowheads="1"/>
              </p:cNvSpPr>
              <p:nvPr/>
            </p:nvSpPr>
            <p:spPr bwMode="auto">
              <a:xfrm>
                <a:off x="1133652" y="2151297"/>
                <a:ext cx="51962" cy="34642"/>
              </a:xfrm>
              <a:prstGeom prst="rect">
                <a:avLst/>
              </a:prstGeom>
              <a:solidFill>
                <a:srgbClr val="006FC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60" name="Freeform 68"/>
              <p:cNvSpPr>
                <a:spLocks/>
              </p:cNvSpPr>
              <p:nvPr/>
            </p:nvSpPr>
            <p:spPr bwMode="auto">
              <a:xfrm>
                <a:off x="1073695" y="2192601"/>
                <a:ext cx="111919" cy="38639"/>
              </a:xfrm>
              <a:custGeom>
                <a:avLst/>
                <a:gdLst>
                  <a:gd name="T0" fmla="*/ 45 w 84"/>
                  <a:gd name="T1" fmla="*/ 0 h 29"/>
                  <a:gd name="T2" fmla="*/ 45 w 84"/>
                  <a:gd name="T3" fmla="*/ 29 h 29"/>
                  <a:gd name="T4" fmla="*/ 40 w 84"/>
                  <a:gd name="T5" fmla="*/ 29 h 29"/>
                  <a:gd name="T6" fmla="*/ 40 w 84"/>
                  <a:gd name="T7" fmla="*/ 0 h 29"/>
                  <a:gd name="T8" fmla="*/ 1 w 84"/>
                  <a:gd name="T9" fmla="*/ 0 h 29"/>
                  <a:gd name="T10" fmla="*/ 0 w 84"/>
                  <a:gd name="T11" fmla="*/ 29 h 29"/>
                  <a:gd name="T12" fmla="*/ 84 w 84"/>
                  <a:gd name="T13" fmla="*/ 29 h 29"/>
                  <a:gd name="T14" fmla="*/ 84 w 84"/>
                  <a:gd name="T15" fmla="*/ 0 h 29"/>
                  <a:gd name="T16" fmla="*/ 45 w 84"/>
                  <a:gd name="T17"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4" h="29">
                    <a:moveTo>
                      <a:pt x="45" y="0"/>
                    </a:moveTo>
                    <a:lnTo>
                      <a:pt x="45" y="29"/>
                    </a:lnTo>
                    <a:lnTo>
                      <a:pt x="40" y="29"/>
                    </a:lnTo>
                    <a:lnTo>
                      <a:pt x="40" y="0"/>
                    </a:lnTo>
                    <a:lnTo>
                      <a:pt x="1" y="0"/>
                    </a:lnTo>
                    <a:lnTo>
                      <a:pt x="0" y="29"/>
                    </a:lnTo>
                    <a:lnTo>
                      <a:pt x="84" y="29"/>
                    </a:lnTo>
                    <a:lnTo>
                      <a:pt x="84" y="0"/>
                    </a:lnTo>
                    <a:lnTo>
                      <a:pt x="45" y="0"/>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grpSp>
          <p:nvGrpSpPr>
            <p:cNvPr id="118" name="Group 117"/>
            <p:cNvGrpSpPr/>
            <p:nvPr/>
          </p:nvGrpSpPr>
          <p:grpSpPr>
            <a:xfrm>
              <a:off x="1189835" y="1731991"/>
              <a:ext cx="426950" cy="376670"/>
              <a:chOff x="819212" y="1519753"/>
              <a:chExt cx="667518" cy="588908"/>
            </a:xfrm>
          </p:grpSpPr>
          <p:sp>
            <p:nvSpPr>
              <p:cNvPr id="261" name="Rectangle 69"/>
              <p:cNvSpPr>
                <a:spLocks noChangeArrowheads="1"/>
              </p:cNvSpPr>
              <p:nvPr/>
            </p:nvSpPr>
            <p:spPr bwMode="auto">
              <a:xfrm>
                <a:off x="964441" y="2078017"/>
                <a:ext cx="461000" cy="19986"/>
              </a:xfrm>
              <a:prstGeom prst="rect">
                <a:avLst/>
              </a:prstGeom>
              <a:solidFill>
                <a:srgbClr val="0064B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62" name="Freeform 70"/>
              <p:cNvSpPr>
                <a:spLocks/>
              </p:cNvSpPr>
              <p:nvPr/>
            </p:nvSpPr>
            <p:spPr bwMode="auto">
              <a:xfrm>
                <a:off x="1000415" y="1519753"/>
                <a:ext cx="381058" cy="294454"/>
              </a:xfrm>
              <a:custGeom>
                <a:avLst/>
                <a:gdLst>
                  <a:gd name="T0" fmla="*/ 212 w 424"/>
                  <a:gd name="T1" fmla="*/ 330 h 330"/>
                  <a:gd name="T2" fmla="*/ 0 w 424"/>
                  <a:gd name="T3" fmla="*/ 118 h 330"/>
                  <a:gd name="T4" fmla="*/ 424 w 424"/>
                  <a:gd name="T5" fmla="*/ 118 h 330"/>
                  <a:gd name="T6" fmla="*/ 212 w 424"/>
                  <a:gd name="T7" fmla="*/ 330 h 330"/>
                </a:gdLst>
                <a:ahLst/>
                <a:cxnLst>
                  <a:cxn ang="0">
                    <a:pos x="T0" y="T1"/>
                  </a:cxn>
                  <a:cxn ang="0">
                    <a:pos x="T2" y="T3"/>
                  </a:cxn>
                  <a:cxn ang="0">
                    <a:pos x="T4" y="T5"/>
                  </a:cxn>
                  <a:cxn ang="0">
                    <a:pos x="T6" y="T7"/>
                  </a:cxn>
                </a:cxnLst>
                <a:rect l="0" t="0" r="r" b="b"/>
                <a:pathLst>
                  <a:path w="424" h="330">
                    <a:moveTo>
                      <a:pt x="212" y="330"/>
                    </a:moveTo>
                    <a:cubicBezTo>
                      <a:pt x="0" y="118"/>
                      <a:pt x="0" y="118"/>
                      <a:pt x="0" y="118"/>
                    </a:cubicBezTo>
                    <a:cubicBezTo>
                      <a:pt x="117" y="0"/>
                      <a:pt x="307" y="0"/>
                      <a:pt x="424" y="118"/>
                    </a:cubicBezTo>
                    <a:lnTo>
                      <a:pt x="212" y="330"/>
                    </a:lnTo>
                    <a:close/>
                  </a:path>
                </a:pathLst>
              </a:custGeom>
              <a:solidFill>
                <a:srgbClr val="FF8B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63" name="Freeform 71"/>
              <p:cNvSpPr>
                <a:spLocks/>
              </p:cNvSpPr>
              <p:nvPr/>
            </p:nvSpPr>
            <p:spPr bwMode="auto">
              <a:xfrm>
                <a:off x="1000415" y="1814207"/>
                <a:ext cx="381058" cy="294454"/>
              </a:xfrm>
              <a:custGeom>
                <a:avLst/>
                <a:gdLst>
                  <a:gd name="T0" fmla="*/ 212 w 424"/>
                  <a:gd name="T1" fmla="*/ 0 h 329"/>
                  <a:gd name="T2" fmla="*/ 424 w 424"/>
                  <a:gd name="T3" fmla="*/ 212 h 329"/>
                  <a:gd name="T4" fmla="*/ 0 w 424"/>
                  <a:gd name="T5" fmla="*/ 212 h 329"/>
                  <a:gd name="T6" fmla="*/ 212 w 424"/>
                  <a:gd name="T7" fmla="*/ 0 h 329"/>
                </a:gdLst>
                <a:ahLst/>
                <a:cxnLst>
                  <a:cxn ang="0">
                    <a:pos x="T0" y="T1"/>
                  </a:cxn>
                  <a:cxn ang="0">
                    <a:pos x="T2" y="T3"/>
                  </a:cxn>
                  <a:cxn ang="0">
                    <a:pos x="T4" y="T5"/>
                  </a:cxn>
                  <a:cxn ang="0">
                    <a:pos x="T6" y="T7"/>
                  </a:cxn>
                </a:cxnLst>
                <a:rect l="0" t="0" r="r" b="b"/>
                <a:pathLst>
                  <a:path w="424" h="329">
                    <a:moveTo>
                      <a:pt x="212" y="0"/>
                    </a:moveTo>
                    <a:cubicBezTo>
                      <a:pt x="424" y="212"/>
                      <a:pt x="424" y="212"/>
                      <a:pt x="424" y="212"/>
                    </a:cubicBezTo>
                    <a:cubicBezTo>
                      <a:pt x="307" y="329"/>
                      <a:pt x="117" y="329"/>
                      <a:pt x="0" y="212"/>
                    </a:cubicBezTo>
                    <a:lnTo>
                      <a:pt x="212" y="0"/>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64" name="Freeform 72"/>
              <p:cNvSpPr>
                <a:spLocks/>
              </p:cNvSpPr>
              <p:nvPr/>
            </p:nvSpPr>
            <p:spPr bwMode="auto">
              <a:xfrm>
                <a:off x="1190944" y="1561057"/>
                <a:ext cx="190529" cy="253151"/>
              </a:xfrm>
              <a:custGeom>
                <a:avLst/>
                <a:gdLst>
                  <a:gd name="T0" fmla="*/ 0 w 212"/>
                  <a:gd name="T1" fmla="*/ 284 h 284"/>
                  <a:gd name="T2" fmla="*/ 212 w 212"/>
                  <a:gd name="T3" fmla="*/ 72 h 284"/>
                  <a:gd name="T4" fmla="*/ 99 w 212"/>
                  <a:gd name="T5" fmla="*/ 0 h 284"/>
                  <a:gd name="T6" fmla="*/ 0 w 212"/>
                  <a:gd name="T7" fmla="*/ 284 h 284"/>
                </a:gdLst>
                <a:ahLst/>
                <a:cxnLst>
                  <a:cxn ang="0">
                    <a:pos x="T0" y="T1"/>
                  </a:cxn>
                  <a:cxn ang="0">
                    <a:pos x="T2" y="T3"/>
                  </a:cxn>
                  <a:cxn ang="0">
                    <a:pos x="T4" y="T5"/>
                  </a:cxn>
                  <a:cxn ang="0">
                    <a:pos x="T6" y="T7"/>
                  </a:cxn>
                </a:cxnLst>
                <a:rect l="0" t="0" r="r" b="b"/>
                <a:pathLst>
                  <a:path w="212" h="284">
                    <a:moveTo>
                      <a:pt x="0" y="284"/>
                    </a:moveTo>
                    <a:cubicBezTo>
                      <a:pt x="212" y="72"/>
                      <a:pt x="212" y="72"/>
                      <a:pt x="212" y="72"/>
                    </a:cubicBezTo>
                    <a:cubicBezTo>
                      <a:pt x="179" y="39"/>
                      <a:pt x="140" y="15"/>
                      <a:pt x="99" y="0"/>
                    </a:cubicBezTo>
                    <a:lnTo>
                      <a:pt x="0" y="284"/>
                    </a:lnTo>
                    <a:close/>
                  </a:path>
                </a:pathLst>
              </a:custGeom>
              <a:solidFill>
                <a:srgbClr val="5C2D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66" name="Freeform 74"/>
              <p:cNvSpPr>
                <a:spLocks/>
              </p:cNvSpPr>
              <p:nvPr/>
            </p:nvSpPr>
            <p:spPr bwMode="auto">
              <a:xfrm>
                <a:off x="891160" y="1879494"/>
                <a:ext cx="118581" cy="54627"/>
              </a:xfrm>
              <a:custGeom>
                <a:avLst/>
                <a:gdLst>
                  <a:gd name="T0" fmla="*/ 0 w 132"/>
                  <a:gd name="T1" fmla="*/ 30 h 60"/>
                  <a:gd name="T2" fmla="*/ 30 w 132"/>
                  <a:gd name="T3" fmla="*/ 60 h 60"/>
                  <a:gd name="T4" fmla="*/ 73 w 132"/>
                  <a:gd name="T5" fmla="*/ 60 h 60"/>
                  <a:gd name="T6" fmla="*/ 106 w 132"/>
                  <a:gd name="T7" fmla="*/ 60 h 60"/>
                  <a:gd name="T8" fmla="*/ 132 w 132"/>
                  <a:gd name="T9" fmla="*/ 35 h 60"/>
                  <a:gd name="T10" fmla="*/ 132 w 132"/>
                  <a:gd name="T11" fmla="*/ 30 h 60"/>
                  <a:gd name="T12" fmla="*/ 132 w 132"/>
                  <a:gd name="T13" fmla="*/ 25 h 60"/>
                  <a:gd name="T14" fmla="*/ 106 w 132"/>
                  <a:gd name="T15" fmla="*/ 0 h 60"/>
                  <a:gd name="T16" fmla="*/ 73 w 132"/>
                  <a:gd name="T17" fmla="*/ 0 h 60"/>
                  <a:gd name="T18" fmla="*/ 30 w 132"/>
                  <a:gd name="T19" fmla="*/ 0 h 60"/>
                  <a:gd name="T20" fmla="*/ 0 w 132"/>
                  <a:gd name="T21" fmla="*/ 30 h 60"/>
                  <a:gd name="T22" fmla="*/ 0 w 132"/>
                  <a:gd name="T23" fmla="*/ 30 h 60"/>
                  <a:gd name="T24" fmla="*/ 0 w 132"/>
                  <a:gd name="T25" fmla="*/ 3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2" h="60">
                    <a:moveTo>
                      <a:pt x="0" y="30"/>
                    </a:moveTo>
                    <a:cubicBezTo>
                      <a:pt x="0" y="47"/>
                      <a:pt x="13" y="60"/>
                      <a:pt x="30" y="60"/>
                    </a:cubicBezTo>
                    <a:cubicBezTo>
                      <a:pt x="73" y="60"/>
                      <a:pt x="73" y="60"/>
                      <a:pt x="73" y="60"/>
                    </a:cubicBezTo>
                    <a:cubicBezTo>
                      <a:pt x="106" y="60"/>
                      <a:pt x="106" y="60"/>
                      <a:pt x="106" y="60"/>
                    </a:cubicBezTo>
                    <a:cubicBezTo>
                      <a:pt x="120" y="60"/>
                      <a:pt x="132" y="49"/>
                      <a:pt x="132" y="35"/>
                    </a:cubicBezTo>
                    <a:cubicBezTo>
                      <a:pt x="132" y="30"/>
                      <a:pt x="132" y="30"/>
                      <a:pt x="132" y="30"/>
                    </a:cubicBezTo>
                    <a:cubicBezTo>
                      <a:pt x="132" y="25"/>
                      <a:pt x="132" y="25"/>
                      <a:pt x="132" y="25"/>
                    </a:cubicBezTo>
                    <a:cubicBezTo>
                      <a:pt x="132" y="11"/>
                      <a:pt x="120" y="0"/>
                      <a:pt x="106" y="0"/>
                    </a:cubicBezTo>
                    <a:cubicBezTo>
                      <a:pt x="73" y="0"/>
                      <a:pt x="73" y="0"/>
                      <a:pt x="73" y="0"/>
                    </a:cubicBezTo>
                    <a:cubicBezTo>
                      <a:pt x="30" y="0"/>
                      <a:pt x="30" y="0"/>
                      <a:pt x="30" y="0"/>
                    </a:cubicBezTo>
                    <a:cubicBezTo>
                      <a:pt x="13" y="0"/>
                      <a:pt x="0" y="13"/>
                      <a:pt x="0" y="30"/>
                    </a:cubicBezTo>
                    <a:cubicBezTo>
                      <a:pt x="0" y="30"/>
                      <a:pt x="0" y="30"/>
                      <a:pt x="0" y="30"/>
                    </a:cubicBezTo>
                    <a:cubicBezTo>
                      <a:pt x="0" y="30"/>
                      <a:pt x="0" y="30"/>
                      <a:pt x="0" y="30"/>
                    </a:cubicBezTo>
                  </a:path>
                </a:pathLst>
              </a:custGeom>
              <a:solidFill>
                <a:srgbClr val="6B3C1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67" name="Freeform 75"/>
              <p:cNvSpPr>
                <a:spLocks/>
              </p:cNvSpPr>
              <p:nvPr/>
            </p:nvSpPr>
            <p:spPr bwMode="auto">
              <a:xfrm>
                <a:off x="897822" y="1822202"/>
                <a:ext cx="143896" cy="54627"/>
              </a:xfrm>
              <a:custGeom>
                <a:avLst/>
                <a:gdLst>
                  <a:gd name="T0" fmla="*/ 0 w 160"/>
                  <a:gd name="T1" fmla="*/ 31 h 60"/>
                  <a:gd name="T2" fmla="*/ 30 w 160"/>
                  <a:gd name="T3" fmla="*/ 60 h 60"/>
                  <a:gd name="T4" fmla="*/ 101 w 160"/>
                  <a:gd name="T5" fmla="*/ 60 h 60"/>
                  <a:gd name="T6" fmla="*/ 135 w 160"/>
                  <a:gd name="T7" fmla="*/ 60 h 60"/>
                  <a:gd name="T8" fmla="*/ 160 w 160"/>
                  <a:gd name="T9" fmla="*/ 35 h 60"/>
                  <a:gd name="T10" fmla="*/ 160 w 160"/>
                  <a:gd name="T11" fmla="*/ 30 h 60"/>
                  <a:gd name="T12" fmla="*/ 160 w 160"/>
                  <a:gd name="T13" fmla="*/ 26 h 60"/>
                  <a:gd name="T14" fmla="*/ 135 w 160"/>
                  <a:gd name="T15" fmla="*/ 0 h 60"/>
                  <a:gd name="T16" fmla="*/ 101 w 160"/>
                  <a:gd name="T17" fmla="*/ 0 h 60"/>
                  <a:gd name="T18" fmla="*/ 30 w 160"/>
                  <a:gd name="T19" fmla="*/ 0 h 60"/>
                  <a:gd name="T20" fmla="*/ 0 w 160"/>
                  <a:gd name="T21" fmla="*/ 30 h 60"/>
                  <a:gd name="T22" fmla="*/ 0 w 160"/>
                  <a:gd name="T23" fmla="*/ 30 h 60"/>
                  <a:gd name="T24" fmla="*/ 0 w 160"/>
                  <a:gd name="T25" fmla="*/ 31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0" h="60">
                    <a:moveTo>
                      <a:pt x="0" y="31"/>
                    </a:moveTo>
                    <a:cubicBezTo>
                      <a:pt x="0" y="47"/>
                      <a:pt x="14" y="60"/>
                      <a:pt x="30" y="60"/>
                    </a:cubicBezTo>
                    <a:cubicBezTo>
                      <a:pt x="101" y="60"/>
                      <a:pt x="101" y="60"/>
                      <a:pt x="101" y="60"/>
                    </a:cubicBezTo>
                    <a:cubicBezTo>
                      <a:pt x="135" y="60"/>
                      <a:pt x="135" y="60"/>
                      <a:pt x="135" y="60"/>
                    </a:cubicBezTo>
                    <a:cubicBezTo>
                      <a:pt x="149" y="60"/>
                      <a:pt x="160" y="49"/>
                      <a:pt x="160" y="35"/>
                    </a:cubicBezTo>
                    <a:cubicBezTo>
                      <a:pt x="160" y="30"/>
                      <a:pt x="160" y="30"/>
                      <a:pt x="160" y="30"/>
                    </a:cubicBezTo>
                    <a:cubicBezTo>
                      <a:pt x="160" y="26"/>
                      <a:pt x="160" y="26"/>
                      <a:pt x="160" y="26"/>
                    </a:cubicBezTo>
                    <a:cubicBezTo>
                      <a:pt x="160" y="12"/>
                      <a:pt x="149" y="0"/>
                      <a:pt x="135" y="0"/>
                    </a:cubicBezTo>
                    <a:cubicBezTo>
                      <a:pt x="101" y="0"/>
                      <a:pt x="101" y="0"/>
                      <a:pt x="101" y="0"/>
                    </a:cubicBezTo>
                    <a:cubicBezTo>
                      <a:pt x="30" y="0"/>
                      <a:pt x="30" y="0"/>
                      <a:pt x="30" y="0"/>
                    </a:cubicBezTo>
                    <a:cubicBezTo>
                      <a:pt x="14" y="0"/>
                      <a:pt x="0" y="14"/>
                      <a:pt x="0" y="30"/>
                    </a:cubicBezTo>
                    <a:cubicBezTo>
                      <a:pt x="0" y="30"/>
                      <a:pt x="0" y="30"/>
                      <a:pt x="0" y="30"/>
                    </a:cubicBezTo>
                    <a:cubicBezTo>
                      <a:pt x="0" y="31"/>
                      <a:pt x="0" y="31"/>
                      <a:pt x="0" y="31"/>
                    </a:cubicBezTo>
                  </a:path>
                </a:pathLst>
              </a:custGeom>
              <a:solidFill>
                <a:srgbClr val="6B3C1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68" name="Freeform 76"/>
              <p:cNvSpPr>
                <a:spLocks/>
              </p:cNvSpPr>
              <p:nvPr/>
            </p:nvSpPr>
            <p:spPr bwMode="auto">
              <a:xfrm>
                <a:off x="851189" y="1766242"/>
                <a:ext cx="197191" cy="53295"/>
              </a:xfrm>
              <a:custGeom>
                <a:avLst/>
                <a:gdLst>
                  <a:gd name="T0" fmla="*/ 6 w 219"/>
                  <a:gd name="T1" fmla="*/ 30 h 60"/>
                  <a:gd name="T2" fmla="*/ 36 w 219"/>
                  <a:gd name="T3" fmla="*/ 60 h 60"/>
                  <a:gd name="T4" fmla="*/ 150 w 219"/>
                  <a:gd name="T5" fmla="*/ 60 h 60"/>
                  <a:gd name="T6" fmla="*/ 193 w 219"/>
                  <a:gd name="T7" fmla="*/ 60 h 60"/>
                  <a:gd name="T8" fmla="*/ 219 w 219"/>
                  <a:gd name="T9" fmla="*/ 34 h 60"/>
                  <a:gd name="T10" fmla="*/ 219 w 219"/>
                  <a:gd name="T11" fmla="*/ 30 h 60"/>
                  <a:gd name="T12" fmla="*/ 219 w 219"/>
                  <a:gd name="T13" fmla="*/ 25 h 60"/>
                  <a:gd name="T14" fmla="*/ 193 w 219"/>
                  <a:gd name="T15" fmla="*/ 0 h 60"/>
                  <a:gd name="T16" fmla="*/ 150 w 219"/>
                  <a:gd name="T17" fmla="*/ 0 h 60"/>
                  <a:gd name="T18" fmla="*/ 36 w 219"/>
                  <a:gd name="T19" fmla="*/ 0 h 60"/>
                  <a:gd name="T20" fmla="*/ 6 w 219"/>
                  <a:gd name="T21" fmla="*/ 29 h 60"/>
                  <a:gd name="T22" fmla="*/ 0 w 219"/>
                  <a:gd name="T23" fmla="*/ 30 h 60"/>
                  <a:gd name="T24" fmla="*/ 6 w 219"/>
                  <a:gd name="T25" fmla="*/ 3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19" h="60">
                    <a:moveTo>
                      <a:pt x="6" y="30"/>
                    </a:moveTo>
                    <a:cubicBezTo>
                      <a:pt x="6" y="46"/>
                      <a:pt x="19" y="60"/>
                      <a:pt x="36" y="60"/>
                    </a:cubicBezTo>
                    <a:cubicBezTo>
                      <a:pt x="150" y="60"/>
                      <a:pt x="150" y="60"/>
                      <a:pt x="150" y="60"/>
                    </a:cubicBezTo>
                    <a:cubicBezTo>
                      <a:pt x="193" y="60"/>
                      <a:pt x="193" y="60"/>
                      <a:pt x="193" y="60"/>
                    </a:cubicBezTo>
                    <a:cubicBezTo>
                      <a:pt x="207" y="60"/>
                      <a:pt x="219" y="48"/>
                      <a:pt x="219" y="34"/>
                    </a:cubicBezTo>
                    <a:cubicBezTo>
                      <a:pt x="219" y="30"/>
                      <a:pt x="219" y="30"/>
                      <a:pt x="219" y="30"/>
                    </a:cubicBezTo>
                    <a:cubicBezTo>
                      <a:pt x="219" y="25"/>
                      <a:pt x="219" y="25"/>
                      <a:pt x="219" y="25"/>
                    </a:cubicBezTo>
                    <a:cubicBezTo>
                      <a:pt x="219" y="11"/>
                      <a:pt x="207" y="0"/>
                      <a:pt x="193" y="0"/>
                    </a:cubicBezTo>
                    <a:cubicBezTo>
                      <a:pt x="150" y="0"/>
                      <a:pt x="150" y="0"/>
                      <a:pt x="150" y="0"/>
                    </a:cubicBezTo>
                    <a:cubicBezTo>
                      <a:pt x="36" y="0"/>
                      <a:pt x="36" y="0"/>
                      <a:pt x="36" y="0"/>
                    </a:cubicBezTo>
                    <a:cubicBezTo>
                      <a:pt x="19" y="0"/>
                      <a:pt x="6" y="13"/>
                      <a:pt x="6" y="29"/>
                    </a:cubicBezTo>
                    <a:cubicBezTo>
                      <a:pt x="0" y="30"/>
                      <a:pt x="0" y="30"/>
                      <a:pt x="0" y="30"/>
                    </a:cubicBezTo>
                    <a:cubicBezTo>
                      <a:pt x="6" y="30"/>
                      <a:pt x="6" y="30"/>
                      <a:pt x="6" y="30"/>
                    </a:cubicBezTo>
                  </a:path>
                </a:pathLst>
              </a:custGeom>
              <a:solidFill>
                <a:srgbClr val="6B3C1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70" name="Freeform 78"/>
              <p:cNvSpPr>
                <a:spLocks noEditPoints="1"/>
              </p:cNvSpPr>
              <p:nvPr/>
            </p:nvSpPr>
            <p:spPr bwMode="auto">
              <a:xfrm>
                <a:off x="1025730" y="1715612"/>
                <a:ext cx="7994" cy="17321"/>
              </a:xfrm>
              <a:custGeom>
                <a:avLst/>
                <a:gdLst>
                  <a:gd name="T0" fmla="*/ 0 w 8"/>
                  <a:gd name="T1" fmla="*/ 0 h 20"/>
                  <a:gd name="T2" fmla="*/ 8 w 8"/>
                  <a:gd name="T3" fmla="*/ 18 h 20"/>
                  <a:gd name="T4" fmla="*/ 8 w 8"/>
                  <a:gd name="T5" fmla="*/ 20 h 20"/>
                  <a:gd name="T6" fmla="*/ 8 w 8"/>
                  <a:gd name="T7" fmla="*/ 18 h 20"/>
                  <a:gd name="T8" fmla="*/ 0 w 8"/>
                  <a:gd name="T9" fmla="*/ 0 h 20"/>
                  <a:gd name="T10" fmla="*/ 0 w 8"/>
                  <a:gd name="T11" fmla="*/ 0 h 20"/>
                  <a:gd name="T12" fmla="*/ 0 w 8"/>
                  <a:gd name="T13" fmla="*/ 0 h 20"/>
                  <a:gd name="T14" fmla="*/ 0 w 8"/>
                  <a:gd name="T15" fmla="*/ 0 h 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 h="20">
                    <a:moveTo>
                      <a:pt x="0" y="0"/>
                    </a:moveTo>
                    <a:cubicBezTo>
                      <a:pt x="5" y="5"/>
                      <a:pt x="8" y="11"/>
                      <a:pt x="8" y="18"/>
                    </a:cubicBezTo>
                    <a:cubicBezTo>
                      <a:pt x="8" y="20"/>
                      <a:pt x="8" y="20"/>
                      <a:pt x="8" y="20"/>
                    </a:cubicBezTo>
                    <a:cubicBezTo>
                      <a:pt x="8" y="18"/>
                      <a:pt x="8" y="18"/>
                      <a:pt x="8" y="18"/>
                    </a:cubicBezTo>
                    <a:cubicBezTo>
                      <a:pt x="8" y="11"/>
                      <a:pt x="5" y="5"/>
                      <a:pt x="0" y="0"/>
                    </a:cubicBezTo>
                    <a:moveTo>
                      <a:pt x="0" y="0"/>
                    </a:moveTo>
                    <a:cubicBezTo>
                      <a:pt x="0" y="0"/>
                      <a:pt x="0" y="0"/>
                      <a:pt x="0" y="0"/>
                    </a:cubicBezTo>
                    <a:cubicBezTo>
                      <a:pt x="0" y="0"/>
                      <a:pt x="0" y="0"/>
                      <a:pt x="0" y="0"/>
                    </a:cubicBezTo>
                  </a:path>
                </a:pathLst>
              </a:custGeom>
              <a:solidFill>
                <a:srgbClr val="338C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71" name="Freeform 79"/>
              <p:cNvSpPr>
                <a:spLocks/>
              </p:cNvSpPr>
              <p:nvPr/>
            </p:nvSpPr>
            <p:spPr bwMode="auto">
              <a:xfrm>
                <a:off x="1008409" y="1708950"/>
                <a:ext cx="25315" cy="23983"/>
              </a:xfrm>
              <a:custGeom>
                <a:avLst/>
                <a:gdLst>
                  <a:gd name="T0" fmla="*/ 1 w 27"/>
                  <a:gd name="T1" fmla="*/ 0 h 27"/>
                  <a:gd name="T2" fmla="*/ 0 w 27"/>
                  <a:gd name="T3" fmla="*/ 0 h 27"/>
                  <a:gd name="T4" fmla="*/ 7 w 27"/>
                  <a:gd name="T5" fmla="*/ 7 h 27"/>
                  <a:gd name="T6" fmla="*/ 26 w 27"/>
                  <a:gd name="T7" fmla="*/ 26 h 27"/>
                  <a:gd name="T8" fmla="*/ 27 w 27"/>
                  <a:gd name="T9" fmla="*/ 27 h 27"/>
                  <a:gd name="T10" fmla="*/ 27 w 27"/>
                  <a:gd name="T11" fmla="*/ 25 h 27"/>
                  <a:gd name="T12" fmla="*/ 19 w 27"/>
                  <a:gd name="T13" fmla="*/ 7 h 27"/>
                  <a:gd name="T14" fmla="*/ 19 w 27"/>
                  <a:gd name="T15" fmla="*/ 7 h 27"/>
                  <a:gd name="T16" fmla="*/ 19 w 27"/>
                  <a:gd name="T17" fmla="*/ 7 h 27"/>
                  <a:gd name="T18" fmla="*/ 1 w 27"/>
                  <a:gd name="T19" fmla="*/ 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7" h="27">
                    <a:moveTo>
                      <a:pt x="1" y="0"/>
                    </a:moveTo>
                    <a:cubicBezTo>
                      <a:pt x="0" y="0"/>
                      <a:pt x="0" y="0"/>
                      <a:pt x="0" y="0"/>
                    </a:cubicBezTo>
                    <a:cubicBezTo>
                      <a:pt x="7" y="7"/>
                      <a:pt x="7" y="7"/>
                      <a:pt x="7" y="7"/>
                    </a:cubicBezTo>
                    <a:cubicBezTo>
                      <a:pt x="17" y="9"/>
                      <a:pt x="24" y="17"/>
                      <a:pt x="26" y="26"/>
                    </a:cubicBezTo>
                    <a:cubicBezTo>
                      <a:pt x="27" y="27"/>
                      <a:pt x="27" y="27"/>
                      <a:pt x="27" y="27"/>
                    </a:cubicBezTo>
                    <a:cubicBezTo>
                      <a:pt x="27" y="25"/>
                      <a:pt x="27" y="25"/>
                      <a:pt x="27" y="25"/>
                    </a:cubicBezTo>
                    <a:cubicBezTo>
                      <a:pt x="27" y="18"/>
                      <a:pt x="24" y="12"/>
                      <a:pt x="19" y="7"/>
                    </a:cubicBezTo>
                    <a:cubicBezTo>
                      <a:pt x="19" y="7"/>
                      <a:pt x="19" y="7"/>
                      <a:pt x="19" y="7"/>
                    </a:cubicBezTo>
                    <a:cubicBezTo>
                      <a:pt x="19" y="7"/>
                      <a:pt x="19" y="7"/>
                      <a:pt x="19" y="7"/>
                    </a:cubicBezTo>
                    <a:cubicBezTo>
                      <a:pt x="15" y="3"/>
                      <a:pt x="8" y="0"/>
                      <a:pt x="1" y="0"/>
                    </a:cubicBezTo>
                  </a:path>
                </a:pathLst>
              </a:custGeom>
              <a:solidFill>
                <a:srgbClr val="8963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74" name="Freeform 82"/>
              <p:cNvSpPr>
                <a:spLocks/>
              </p:cNvSpPr>
              <p:nvPr/>
            </p:nvSpPr>
            <p:spPr bwMode="auto">
              <a:xfrm>
                <a:off x="819212" y="1625011"/>
                <a:ext cx="295786" cy="379726"/>
              </a:xfrm>
              <a:custGeom>
                <a:avLst/>
                <a:gdLst>
                  <a:gd name="T0" fmla="*/ 329 w 329"/>
                  <a:gd name="T1" fmla="*/ 212 h 424"/>
                  <a:gd name="T2" fmla="*/ 117 w 329"/>
                  <a:gd name="T3" fmla="*/ 424 h 424"/>
                  <a:gd name="T4" fmla="*/ 117 w 329"/>
                  <a:gd name="T5" fmla="*/ 0 h 424"/>
                  <a:gd name="T6" fmla="*/ 329 w 329"/>
                  <a:gd name="T7" fmla="*/ 212 h 424"/>
                </a:gdLst>
                <a:ahLst/>
                <a:cxnLst>
                  <a:cxn ang="0">
                    <a:pos x="T0" y="T1"/>
                  </a:cxn>
                  <a:cxn ang="0">
                    <a:pos x="T2" y="T3"/>
                  </a:cxn>
                  <a:cxn ang="0">
                    <a:pos x="T4" y="T5"/>
                  </a:cxn>
                  <a:cxn ang="0">
                    <a:pos x="T6" y="T7"/>
                  </a:cxn>
                </a:cxnLst>
                <a:rect l="0" t="0" r="r" b="b"/>
                <a:pathLst>
                  <a:path w="329" h="424">
                    <a:moveTo>
                      <a:pt x="329" y="212"/>
                    </a:moveTo>
                    <a:cubicBezTo>
                      <a:pt x="117" y="424"/>
                      <a:pt x="117" y="424"/>
                      <a:pt x="117" y="424"/>
                    </a:cubicBezTo>
                    <a:cubicBezTo>
                      <a:pt x="0" y="306"/>
                      <a:pt x="0" y="117"/>
                      <a:pt x="117" y="0"/>
                    </a:cubicBezTo>
                    <a:cubicBezTo>
                      <a:pt x="329" y="212"/>
                      <a:pt x="329" y="212"/>
                      <a:pt x="329" y="212"/>
                    </a:cubicBezTo>
                  </a:path>
                </a:pathLst>
              </a:custGeom>
              <a:solidFill>
                <a:srgbClr val="5C2D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75" name="Freeform 83"/>
              <p:cNvSpPr>
                <a:spLocks/>
              </p:cNvSpPr>
              <p:nvPr/>
            </p:nvSpPr>
            <p:spPr bwMode="auto">
              <a:xfrm>
                <a:off x="924470" y="1625011"/>
                <a:ext cx="214512" cy="379726"/>
              </a:xfrm>
              <a:custGeom>
                <a:avLst/>
                <a:gdLst>
                  <a:gd name="T0" fmla="*/ 0 w 161"/>
                  <a:gd name="T1" fmla="*/ 0 h 285"/>
                  <a:gd name="T2" fmla="*/ 18 w 161"/>
                  <a:gd name="T3" fmla="*/ 0 h 285"/>
                  <a:gd name="T4" fmla="*/ 161 w 161"/>
                  <a:gd name="T5" fmla="*/ 142 h 285"/>
                  <a:gd name="T6" fmla="*/ 18 w 161"/>
                  <a:gd name="T7" fmla="*/ 285 h 285"/>
                  <a:gd name="T8" fmla="*/ 0 w 161"/>
                  <a:gd name="T9" fmla="*/ 285 h 285"/>
                  <a:gd name="T10" fmla="*/ 143 w 161"/>
                  <a:gd name="T11" fmla="*/ 142 h 285"/>
                  <a:gd name="T12" fmla="*/ 0 w 161"/>
                  <a:gd name="T13" fmla="*/ 0 h 285"/>
                </a:gdLst>
                <a:ahLst/>
                <a:cxnLst>
                  <a:cxn ang="0">
                    <a:pos x="T0" y="T1"/>
                  </a:cxn>
                  <a:cxn ang="0">
                    <a:pos x="T2" y="T3"/>
                  </a:cxn>
                  <a:cxn ang="0">
                    <a:pos x="T4" y="T5"/>
                  </a:cxn>
                  <a:cxn ang="0">
                    <a:pos x="T6" y="T7"/>
                  </a:cxn>
                  <a:cxn ang="0">
                    <a:pos x="T8" y="T9"/>
                  </a:cxn>
                  <a:cxn ang="0">
                    <a:pos x="T10" y="T11"/>
                  </a:cxn>
                  <a:cxn ang="0">
                    <a:pos x="T12" y="T13"/>
                  </a:cxn>
                </a:cxnLst>
                <a:rect l="0" t="0" r="r" b="b"/>
                <a:pathLst>
                  <a:path w="161" h="285">
                    <a:moveTo>
                      <a:pt x="0" y="0"/>
                    </a:moveTo>
                    <a:lnTo>
                      <a:pt x="18" y="0"/>
                    </a:lnTo>
                    <a:lnTo>
                      <a:pt x="161" y="142"/>
                    </a:lnTo>
                    <a:lnTo>
                      <a:pt x="18" y="285"/>
                    </a:lnTo>
                    <a:lnTo>
                      <a:pt x="0" y="285"/>
                    </a:lnTo>
                    <a:lnTo>
                      <a:pt x="143" y="142"/>
                    </a:lnTo>
                    <a:lnTo>
                      <a:pt x="0" y="0"/>
                    </a:lnTo>
                    <a:close/>
                  </a:path>
                </a:pathLst>
              </a:custGeom>
              <a:solidFill>
                <a:srgbClr val="4014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78" name="Freeform 86"/>
              <p:cNvSpPr>
                <a:spLocks/>
              </p:cNvSpPr>
              <p:nvPr/>
            </p:nvSpPr>
            <p:spPr bwMode="auto">
              <a:xfrm>
                <a:off x="1190944" y="1625011"/>
                <a:ext cx="295786" cy="379726"/>
              </a:xfrm>
              <a:custGeom>
                <a:avLst/>
                <a:gdLst>
                  <a:gd name="T0" fmla="*/ 0 w 329"/>
                  <a:gd name="T1" fmla="*/ 212 h 424"/>
                  <a:gd name="T2" fmla="*/ 212 w 329"/>
                  <a:gd name="T3" fmla="*/ 0 h 424"/>
                  <a:gd name="T4" fmla="*/ 212 w 329"/>
                  <a:gd name="T5" fmla="*/ 424 h 424"/>
                  <a:gd name="T6" fmla="*/ 0 w 329"/>
                  <a:gd name="T7" fmla="*/ 212 h 424"/>
                </a:gdLst>
                <a:ahLst/>
                <a:cxnLst>
                  <a:cxn ang="0">
                    <a:pos x="T0" y="T1"/>
                  </a:cxn>
                  <a:cxn ang="0">
                    <a:pos x="T2" y="T3"/>
                  </a:cxn>
                  <a:cxn ang="0">
                    <a:pos x="T4" y="T5"/>
                  </a:cxn>
                  <a:cxn ang="0">
                    <a:pos x="T6" y="T7"/>
                  </a:cxn>
                </a:cxnLst>
                <a:rect l="0" t="0" r="r" b="b"/>
                <a:pathLst>
                  <a:path w="329" h="424">
                    <a:moveTo>
                      <a:pt x="0" y="212"/>
                    </a:moveTo>
                    <a:cubicBezTo>
                      <a:pt x="212" y="0"/>
                      <a:pt x="212" y="0"/>
                      <a:pt x="212" y="0"/>
                    </a:cubicBezTo>
                    <a:cubicBezTo>
                      <a:pt x="329" y="117"/>
                      <a:pt x="329" y="306"/>
                      <a:pt x="212" y="424"/>
                    </a:cubicBezTo>
                    <a:lnTo>
                      <a:pt x="0" y="212"/>
                    </a:lnTo>
                    <a:close/>
                  </a:path>
                </a:pathLst>
              </a:custGeom>
              <a:solidFill>
                <a:srgbClr val="FFB8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grpSp>
          <p:nvGrpSpPr>
            <p:cNvPr id="134" name="Group 133"/>
            <p:cNvGrpSpPr/>
            <p:nvPr/>
          </p:nvGrpSpPr>
          <p:grpSpPr>
            <a:xfrm>
              <a:off x="705988" y="1737209"/>
              <a:ext cx="457200" cy="361818"/>
              <a:chOff x="686437" y="1732798"/>
              <a:chExt cx="457200" cy="361818"/>
            </a:xfrm>
          </p:grpSpPr>
          <p:sp>
            <p:nvSpPr>
              <p:cNvPr id="610" name="Rectangle 69"/>
              <p:cNvSpPr>
                <a:spLocks noChangeArrowheads="1"/>
              </p:cNvSpPr>
              <p:nvPr/>
            </p:nvSpPr>
            <p:spPr bwMode="auto">
              <a:xfrm>
                <a:off x="686437" y="2081833"/>
                <a:ext cx="457200" cy="12783"/>
              </a:xfrm>
              <a:prstGeom prst="rect">
                <a:avLst/>
              </a:prstGeom>
              <a:solidFill>
                <a:srgbClr val="0064B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nvGrpSpPr>
              <p:cNvPr id="133" name="Group 132"/>
              <p:cNvGrpSpPr/>
              <p:nvPr/>
            </p:nvGrpSpPr>
            <p:grpSpPr>
              <a:xfrm>
                <a:off x="697680" y="1732798"/>
                <a:ext cx="434714" cy="355497"/>
                <a:chOff x="705234" y="1732798"/>
                <a:chExt cx="434714" cy="355497"/>
              </a:xfrm>
            </p:grpSpPr>
            <p:sp>
              <p:nvSpPr>
                <p:cNvPr id="131" name="Rectangle 130"/>
                <p:cNvSpPr/>
                <p:nvPr/>
              </p:nvSpPr>
              <p:spPr bwMode="auto">
                <a:xfrm>
                  <a:off x="705234" y="1732798"/>
                  <a:ext cx="89936" cy="355497"/>
                </a:xfrm>
                <a:prstGeom prst="rect">
                  <a:avLst/>
                </a:prstGeom>
                <a:solidFill>
                  <a:srgbClr val="5C2D9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5439">
                          <a:srgbClr val="F8F8F8"/>
                        </a:gs>
                        <a:gs pos="10000">
                          <a:srgbClr val="F8F8F8"/>
                        </a:gs>
                      </a:gsLst>
                      <a:lin ang="5400000" scaled="0"/>
                    </a:gradFill>
                    <a:effectLst/>
                    <a:uLnTx/>
                    <a:uFillTx/>
                  </a:endParaRPr>
                </a:p>
              </p:txBody>
            </p:sp>
            <p:sp>
              <p:nvSpPr>
                <p:cNvPr id="607" name="Rectangle 606"/>
                <p:cNvSpPr/>
                <p:nvPr/>
              </p:nvSpPr>
              <p:spPr bwMode="auto">
                <a:xfrm>
                  <a:off x="820160" y="1938645"/>
                  <a:ext cx="89936" cy="149650"/>
                </a:xfrm>
                <a:prstGeom prst="rect">
                  <a:avLst/>
                </a:prstGeom>
                <a:solidFill>
                  <a:srgbClr val="FF8B0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5439">
                          <a:srgbClr val="F8F8F8"/>
                        </a:gs>
                        <a:gs pos="10000">
                          <a:srgbClr val="F8F8F8"/>
                        </a:gs>
                      </a:gsLst>
                      <a:lin ang="5400000" scaled="0"/>
                    </a:gradFill>
                    <a:effectLst/>
                    <a:uLnTx/>
                    <a:uFillTx/>
                  </a:endParaRPr>
                </a:p>
              </p:txBody>
            </p:sp>
            <p:sp>
              <p:nvSpPr>
                <p:cNvPr id="608" name="Rectangle 607"/>
                <p:cNvSpPr/>
                <p:nvPr/>
              </p:nvSpPr>
              <p:spPr bwMode="auto">
                <a:xfrm>
                  <a:off x="935086" y="1785840"/>
                  <a:ext cx="89936" cy="302455"/>
                </a:xfrm>
                <a:prstGeom prst="rect">
                  <a:avLst/>
                </a:prstGeom>
                <a:solidFill>
                  <a:srgbClr val="D83B0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5439">
                          <a:srgbClr val="F8F8F8"/>
                        </a:gs>
                        <a:gs pos="10000">
                          <a:srgbClr val="F8F8F8"/>
                        </a:gs>
                      </a:gsLst>
                      <a:lin ang="5400000" scaled="0"/>
                    </a:gradFill>
                    <a:effectLst/>
                    <a:uLnTx/>
                    <a:uFillTx/>
                  </a:endParaRPr>
                </a:p>
              </p:txBody>
            </p:sp>
            <p:sp>
              <p:nvSpPr>
                <p:cNvPr id="609" name="Rectangle 608"/>
                <p:cNvSpPr/>
                <p:nvPr/>
              </p:nvSpPr>
              <p:spPr bwMode="auto">
                <a:xfrm>
                  <a:off x="1050012" y="1868343"/>
                  <a:ext cx="89936" cy="219952"/>
                </a:xfrm>
                <a:prstGeom prst="rect">
                  <a:avLst/>
                </a:prstGeom>
                <a:solidFill>
                  <a:srgbClr val="FFB80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5439">
                          <a:srgbClr val="F8F8F8"/>
                        </a:gs>
                        <a:gs pos="10000">
                          <a:srgbClr val="F8F8F8"/>
                        </a:gs>
                      </a:gsLst>
                      <a:lin ang="5400000" scaled="0"/>
                    </a:gradFill>
                    <a:effectLst/>
                    <a:uLnTx/>
                    <a:uFillTx/>
                  </a:endParaRPr>
                </a:p>
              </p:txBody>
            </p:sp>
          </p:grpSp>
        </p:grpSp>
        <p:sp>
          <p:nvSpPr>
            <p:cNvPr id="611" name="Rectangle 69"/>
            <p:cNvSpPr>
              <a:spLocks noChangeArrowheads="1"/>
            </p:cNvSpPr>
            <p:nvPr/>
          </p:nvSpPr>
          <p:spPr bwMode="auto">
            <a:xfrm>
              <a:off x="704235" y="1554586"/>
              <a:ext cx="910797" cy="138765"/>
            </a:xfrm>
            <a:prstGeom prst="rect">
              <a:avLst/>
            </a:prstGeom>
            <a:solidFill>
              <a:srgbClr val="0064B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spTree>
    <p:extLst>
      <p:ext uri="{BB962C8B-B14F-4D97-AF65-F5344CB8AC3E}">
        <p14:creationId xmlns:p14="http://schemas.microsoft.com/office/powerpoint/2010/main" val="96959176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bwMode="auto">
          <a:xfrm>
            <a:off x="269239" y="1217385"/>
            <a:ext cx="6588761" cy="5409838"/>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5439">
                    <a:srgbClr val="F8F8F8"/>
                  </a:gs>
                  <a:gs pos="10000">
                    <a:srgbClr val="F8F8F8"/>
                  </a:gs>
                </a:gsLst>
                <a:lin ang="5400000" scaled="0"/>
              </a:gradFill>
              <a:effectLst/>
              <a:uLnTx/>
              <a:uFillTx/>
            </a:endParaRPr>
          </a:p>
        </p:txBody>
      </p:sp>
      <p:sp>
        <p:nvSpPr>
          <p:cNvPr id="113" name="Rectangle 112"/>
          <p:cNvSpPr/>
          <p:nvPr/>
        </p:nvSpPr>
        <p:spPr bwMode="auto">
          <a:xfrm>
            <a:off x="6983153" y="1217385"/>
            <a:ext cx="4941927" cy="5409838"/>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5439">
                    <a:srgbClr val="F8F8F8"/>
                  </a:gs>
                  <a:gs pos="10000">
                    <a:srgbClr val="F8F8F8"/>
                  </a:gs>
                </a:gsLst>
                <a:lin ang="5400000" scaled="0"/>
              </a:gradFill>
              <a:effectLst/>
              <a:uLnTx/>
              <a:uFillTx/>
            </a:endParaRPr>
          </a:p>
        </p:txBody>
      </p:sp>
      <p:sp>
        <p:nvSpPr>
          <p:cNvPr id="3" name="Title 2"/>
          <p:cNvSpPr>
            <a:spLocks noGrp="1"/>
          </p:cNvSpPr>
          <p:nvPr>
            <p:ph type="title"/>
          </p:nvPr>
        </p:nvSpPr>
        <p:spPr/>
        <p:txBody>
          <a:bodyPr/>
          <a:lstStyle/>
          <a:p>
            <a:r>
              <a:rPr lang="en-US" dirty="0"/>
              <a:t>Ingestion tools – Getting started</a:t>
            </a:r>
          </a:p>
        </p:txBody>
      </p:sp>
      <p:sp>
        <p:nvSpPr>
          <p:cNvPr id="7" name="Rectangle 6"/>
          <p:cNvSpPr/>
          <p:nvPr/>
        </p:nvSpPr>
        <p:spPr bwMode="auto">
          <a:xfrm>
            <a:off x="388105" y="2626161"/>
            <a:ext cx="1423810" cy="1382825"/>
          </a:xfrm>
          <a:prstGeom prst="rect">
            <a:avLst/>
          </a:prstGeom>
          <a:solidFill>
            <a:schemeClr val="tx2"/>
          </a:solidFill>
          <a:ln w="3175">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45713" rIns="91440" bIns="91440" numCol="1" rtlCol="0" anchor="b" anchorCtr="0" compatLnSpc="1">
            <a:prstTxWarp prst="textNoShape">
              <a:avLst/>
            </a:prstTxWarp>
          </a:bodyPr>
          <a:lstStyle/>
          <a:p>
            <a:pPr marL="0" marR="0" lvl="0" indent="0" algn="ctr" defTabSz="913908" eaLnBrk="1" fontAlgn="base" latinLnBrk="0" hangingPunct="1">
              <a:lnSpc>
                <a:spcPct val="100000"/>
              </a:lnSpc>
              <a:spcBef>
                <a:spcPct val="0"/>
              </a:spcBef>
              <a:spcAft>
                <a:spcPct val="0"/>
              </a:spcAft>
              <a:buClrTx/>
              <a:buSzTx/>
              <a:buFontTx/>
              <a:buNone/>
              <a:tabLst/>
              <a:defRPr/>
            </a:pPr>
            <a:r>
              <a:rPr kumimoji="0" lang="en-US" sz="1568" b="1"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charset="0"/>
                <a:ea typeface="Segoe UI Semibold" charset="0"/>
                <a:cs typeface="Segoe UI Semibold" charset="0"/>
              </a:rPr>
              <a:t>Azure Portal</a:t>
            </a:r>
          </a:p>
        </p:txBody>
      </p:sp>
      <p:sp>
        <p:nvSpPr>
          <p:cNvPr id="8" name="Rectangle 7"/>
          <p:cNvSpPr/>
          <p:nvPr/>
        </p:nvSpPr>
        <p:spPr bwMode="auto">
          <a:xfrm>
            <a:off x="2012948" y="2626161"/>
            <a:ext cx="1423810" cy="1382825"/>
          </a:xfrm>
          <a:prstGeom prst="rect">
            <a:avLst/>
          </a:prstGeom>
          <a:solidFill>
            <a:schemeClr val="tx2"/>
          </a:solidFill>
          <a:ln w="3175">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45713" rIns="91440" bIns="91440" numCol="1" rtlCol="0" anchor="b" anchorCtr="0" compatLnSpc="1">
            <a:prstTxWarp prst="textNoShape">
              <a:avLst/>
            </a:prstTxWarp>
          </a:bodyPr>
          <a:lstStyle/>
          <a:p>
            <a:pPr marL="0" marR="0" lvl="0" indent="0" algn="ctr" defTabSz="913908" eaLnBrk="1" fontAlgn="base" latinLnBrk="0" hangingPunct="1">
              <a:lnSpc>
                <a:spcPct val="100000"/>
              </a:lnSpc>
              <a:spcBef>
                <a:spcPct val="0"/>
              </a:spcBef>
              <a:spcAft>
                <a:spcPct val="0"/>
              </a:spcAft>
              <a:buClrTx/>
              <a:buSzTx/>
              <a:buFontTx/>
              <a:buNone/>
              <a:tabLst/>
              <a:defRPr/>
            </a:pPr>
            <a:r>
              <a:rPr kumimoji="0" lang="en-US" sz="1568" b="1"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charset="0"/>
                <a:ea typeface="Segoe UI Semibold" charset="0"/>
                <a:cs typeface="Segoe UI Semibold" charset="0"/>
              </a:rPr>
              <a:t>PowerShell</a:t>
            </a:r>
          </a:p>
        </p:txBody>
      </p:sp>
      <p:sp>
        <p:nvSpPr>
          <p:cNvPr id="9" name="Rectangle 8"/>
          <p:cNvSpPr/>
          <p:nvPr/>
        </p:nvSpPr>
        <p:spPr bwMode="auto">
          <a:xfrm>
            <a:off x="3632442" y="2626161"/>
            <a:ext cx="1417752" cy="1382825"/>
          </a:xfrm>
          <a:prstGeom prst="rect">
            <a:avLst/>
          </a:prstGeom>
          <a:solidFill>
            <a:schemeClr val="tx2"/>
          </a:solidFill>
          <a:ln w="3175">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45713" rIns="91440" bIns="91440" numCol="1" rtlCol="0" anchor="b" anchorCtr="0" compatLnSpc="1">
            <a:prstTxWarp prst="textNoShape">
              <a:avLst/>
            </a:prstTxWarp>
          </a:bodyPr>
          <a:lstStyle/>
          <a:p>
            <a:pPr marL="0" marR="0" lvl="0" indent="0" algn="ctr" defTabSz="913908" eaLnBrk="1" fontAlgn="base" latinLnBrk="0" hangingPunct="1">
              <a:lnSpc>
                <a:spcPct val="100000"/>
              </a:lnSpc>
              <a:spcBef>
                <a:spcPct val="0"/>
              </a:spcBef>
              <a:spcAft>
                <a:spcPct val="0"/>
              </a:spcAft>
              <a:buClrTx/>
              <a:buSzTx/>
              <a:buFontTx/>
              <a:buNone/>
              <a:tabLst/>
              <a:defRPr/>
            </a:pPr>
            <a:r>
              <a:rPr kumimoji="0" lang="en-US" sz="1568" b="1"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charset="0"/>
                <a:ea typeface="Segoe UI Semibold" charset="0"/>
                <a:cs typeface="Segoe UI Semibold" charset="0"/>
              </a:rPr>
              <a:t>ADL Tools for</a:t>
            </a:r>
            <a:br>
              <a:rPr kumimoji="0" lang="en-US" sz="1568" b="1"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charset="0"/>
                <a:ea typeface="Segoe UI Semibold" charset="0"/>
                <a:cs typeface="Segoe UI Semibold" charset="0"/>
              </a:rPr>
            </a:br>
            <a:r>
              <a:rPr kumimoji="0" lang="en-US" sz="1568" b="1"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charset="0"/>
                <a:ea typeface="Segoe UI Semibold" charset="0"/>
                <a:cs typeface="Segoe UI Semibold" charset="0"/>
              </a:rPr>
              <a:t>Visual Studio</a:t>
            </a:r>
          </a:p>
        </p:txBody>
      </p:sp>
      <p:sp>
        <p:nvSpPr>
          <p:cNvPr id="10" name="Rectangle 9"/>
          <p:cNvSpPr/>
          <p:nvPr/>
        </p:nvSpPr>
        <p:spPr bwMode="auto">
          <a:xfrm>
            <a:off x="8738235" y="2626161"/>
            <a:ext cx="1423810" cy="1382825"/>
          </a:xfrm>
          <a:prstGeom prst="rect">
            <a:avLst/>
          </a:prstGeom>
          <a:solidFill>
            <a:schemeClr val="tx2"/>
          </a:solidFill>
          <a:ln w="3175">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45713" rIns="91440" bIns="91440" numCol="1" rtlCol="0" anchor="b" anchorCtr="0" compatLnSpc="1">
            <a:prstTxWarp prst="textNoShape">
              <a:avLst/>
            </a:prstTxWarp>
          </a:bodyPr>
          <a:lstStyle/>
          <a:p>
            <a:pPr marL="0" marR="0" lvl="0" indent="0" algn="ctr" defTabSz="913908" eaLnBrk="1" fontAlgn="base" latinLnBrk="0" hangingPunct="1">
              <a:lnSpc>
                <a:spcPct val="100000"/>
              </a:lnSpc>
              <a:spcBef>
                <a:spcPct val="0"/>
              </a:spcBef>
              <a:spcAft>
                <a:spcPct val="0"/>
              </a:spcAft>
              <a:buClrTx/>
              <a:buSzTx/>
              <a:buFontTx/>
              <a:buNone/>
              <a:tabLst/>
              <a:defRPr/>
            </a:pPr>
            <a:r>
              <a:rPr kumimoji="0" lang="en-US" sz="1568" b="1"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charset="0"/>
                <a:ea typeface="Segoe UI Semibold" charset="0"/>
                <a:cs typeface="Segoe UI Semibold" charset="0"/>
              </a:rPr>
              <a:t>AdlCopy</a:t>
            </a:r>
          </a:p>
        </p:txBody>
      </p:sp>
      <p:sp>
        <p:nvSpPr>
          <p:cNvPr id="19" name="Rectangle 18"/>
          <p:cNvSpPr/>
          <p:nvPr/>
        </p:nvSpPr>
        <p:spPr bwMode="auto">
          <a:xfrm>
            <a:off x="5247432" y="2626161"/>
            <a:ext cx="1423810" cy="1382825"/>
          </a:xfrm>
          <a:prstGeom prst="rect">
            <a:avLst/>
          </a:prstGeom>
          <a:solidFill>
            <a:schemeClr val="tx2"/>
          </a:solidFill>
          <a:ln w="3175">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45713" rIns="91440" bIns="91440" numCol="1" rtlCol="0" anchor="b" anchorCtr="0" compatLnSpc="1">
            <a:prstTxWarp prst="textNoShape">
              <a:avLst/>
            </a:prstTxWarp>
          </a:bodyPr>
          <a:lstStyle/>
          <a:p>
            <a:pPr marL="0" marR="0" lvl="0" indent="0" algn="ctr" defTabSz="913908" eaLnBrk="1" fontAlgn="base" latinLnBrk="0" hangingPunct="1">
              <a:lnSpc>
                <a:spcPct val="100000"/>
              </a:lnSpc>
              <a:spcBef>
                <a:spcPct val="0"/>
              </a:spcBef>
              <a:spcAft>
                <a:spcPct val="0"/>
              </a:spcAft>
              <a:buClrTx/>
              <a:buSzTx/>
              <a:buFontTx/>
              <a:buNone/>
              <a:tabLst/>
              <a:defRPr/>
            </a:pPr>
            <a:r>
              <a:rPr kumimoji="0" lang="en-US" sz="1568" b="1"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charset="0"/>
                <a:ea typeface="Segoe UI Semibold" charset="0"/>
                <a:cs typeface="Segoe UI Semibold" charset="0"/>
              </a:rPr>
              <a:t>CLI</a:t>
            </a:r>
          </a:p>
        </p:txBody>
      </p:sp>
      <p:sp>
        <p:nvSpPr>
          <p:cNvPr id="22" name="Rectangle 21"/>
          <p:cNvSpPr/>
          <p:nvPr/>
        </p:nvSpPr>
        <p:spPr bwMode="auto">
          <a:xfrm>
            <a:off x="10324362" y="2626161"/>
            <a:ext cx="1423810" cy="1382825"/>
          </a:xfrm>
          <a:prstGeom prst="rect">
            <a:avLst/>
          </a:prstGeom>
          <a:solidFill>
            <a:schemeClr val="tx2"/>
          </a:solidFill>
          <a:ln w="3175">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45713" rIns="91440" bIns="91440" numCol="1" rtlCol="0" anchor="b" anchorCtr="0" compatLnSpc="1">
            <a:prstTxWarp prst="textNoShape">
              <a:avLst/>
            </a:prstTxWarp>
          </a:bodyPr>
          <a:lstStyle/>
          <a:p>
            <a:pPr marL="0" marR="0" lvl="0" indent="0" algn="ctr" defTabSz="913908" eaLnBrk="1" fontAlgn="base" latinLnBrk="0" hangingPunct="1">
              <a:lnSpc>
                <a:spcPct val="100000"/>
              </a:lnSpc>
              <a:spcBef>
                <a:spcPct val="0"/>
              </a:spcBef>
              <a:spcAft>
                <a:spcPct val="0"/>
              </a:spcAft>
              <a:buClrTx/>
              <a:buSzTx/>
              <a:buFontTx/>
              <a:buNone/>
              <a:tabLst/>
              <a:defRPr/>
            </a:pPr>
            <a:r>
              <a:rPr kumimoji="0" lang="en-US" sz="1568" b="1"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charset="0"/>
                <a:ea typeface="Segoe UI Semibold" charset="0"/>
                <a:cs typeface="Segoe UI Semibold" charset="0"/>
              </a:rPr>
              <a:t>OSS tools</a:t>
            </a:r>
            <a:br>
              <a:rPr kumimoji="0" lang="en-US" sz="1568" b="1"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charset="0"/>
                <a:ea typeface="Segoe UI Semibold" charset="0"/>
                <a:cs typeface="Segoe UI Semibold" charset="0"/>
              </a:rPr>
            </a:br>
            <a:r>
              <a:rPr kumimoji="0" lang="en-US" sz="1568" b="1"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charset="0"/>
                <a:ea typeface="Segoe UI Semibold" charset="0"/>
                <a:cs typeface="Segoe UI Semibold" charset="0"/>
              </a:rPr>
              <a:t>on HDI</a:t>
            </a:r>
          </a:p>
        </p:txBody>
      </p:sp>
      <p:sp>
        <p:nvSpPr>
          <p:cNvPr id="26" name="Rectangle 25"/>
          <p:cNvSpPr/>
          <p:nvPr/>
        </p:nvSpPr>
        <p:spPr bwMode="auto">
          <a:xfrm>
            <a:off x="7154907" y="2626161"/>
            <a:ext cx="1423810" cy="1382825"/>
          </a:xfrm>
          <a:prstGeom prst="rect">
            <a:avLst/>
          </a:prstGeom>
          <a:solidFill>
            <a:schemeClr val="tx2"/>
          </a:solidFill>
          <a:ln w="3175">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45713" rIns="91440" bIns="91440" numCol="1" rtlCol="0" anchor="b" anchorCtr="0" compatLnSpc="1">
            <a:prstTxWarp prst="textNoShape">
              <a:avLst/>
            </a:prstTxWarp>
          </a:bodyPr>
          <a:lstStyle/>
          <a:p>
            <a:pPr marL="0" marR="0" lvl="0" indent="0" algn="ctr" defTabSz="913908" eaLnBrk="1" fontAlgn="base" latinLnBrk="0" hangingPunct="1">
              <a:lnSpc>
                <a:spcPct val="100000"/>
              </a:lnSpc>
              <a:spcBef>
                <a:spcPct val="0"/>
              </a:spcBef>
              <a:spcAft>
                <a:spcPct val="0"/>
              </a:spcAft>
              <a:buClrTx/>
              <a:buSzTx/>
              <a:buFontTx/>
              <a:buNone/>
              <a:tabLst/>
              <a:defRPr/>
            </a:pPr>
            <a:r>
              <a:rPr kumimoji="0" lang="en-US" sz="1568" b="1"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charset="0"/>
                <a:ea typeface="Segoe UI Semibold" charset="0"/>
                <a:cs typeface="Segoe UI Semibold" charset="0"/>
              </a:rPr>
              <a:t>Azure Data Factory</a:t>
            </a:r>
          </a:p>
        </p:txBody>
      </p:sp>
      <p:sp>
        <p:nvSpPr>
          <p:cNvPr id="192" name="Oval 191"/>
          <p:cNvSpPr/>
          <p:nvPr/>
        </p:nvSpPr>
        <p:spPr bwMode="auto">
          <a:xfrm>
            <a:off x="395718" y="1908894"/>
            <a:ext cx="1408584" cy="1408584"/>
          </a:xfrm>
          <a:prstGeom prst="ellipse">
            <a:avLst/>
          </a:prstGeom>
          <a:solidFill>
            <a:schemeClr val="bg1"/>
          </a:solidFill>
          <a:ln w="254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5439">
                    <a:srgbClr val="F8F8F8"/>
                  </a:gs>
                  <a:gs pos="10000">
                    <a:srgbClr val="F8F8F8"/>
                  </a:gs>
                </a:gsLst>
                <a:lin ang="5400000" scaled="0"/>
              </a:gradFill>
              <a:effectLst/>
              <a:uLnTx/>
              <a:uFillTx/>
            </a:endParaRPr>
          </a:p>
        </p:txBody>
      </p:sp>
      <p:sp>
        <p:nvSpPr>
          <p:cNvPr id="193" name="Oval 192"/>
          <p:cNvSpPr/>
          <p:nvPr/>
        </p:nvSpPr>
        <p:spPr bwMode="auto">
          <a:xfrm>
            <a:off x="2020561" y="1908894"/>
            <a:ext cx="1408584" cy="1408584"/>
          </a:xfrm>
          <a:prstGeom prst="ellipse">
            <a:avLst/>
          </a:prstGeom>
          <a:solidFill>
            <a:schemeClr val="bg1"/>
          </a:solidFill>
          <a:ln w="254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5439">
                    <a:srgbClr val="F8F8F8"/>
                  </a:gs>
                  <a:gs pos="10000">
                    <a:srgbClr val="F8F8F8"/>
                  </a:gs>
                </a:gsLst>
                <a:lin ang="5400000" scaled="0"/>
              </a:gradFill>
              <a:effectLst/>
              <a:uLnTx/>
              <a:uFillTx/>
            </a:endParaRPr>
          </a:p>
        </p:txBody>
      </p:sp>
      <p:sp>
        <p:nvSpPr>
          <p:cNvPr id="194" name="Oval 193"/>
          <p:cNvSpPr/>
          <p:nvPr/>
        </p:nvSpPr>
        <p:spPr bwMode="auto">
          <a:xfrm>
            <a:off x="3637026" y="1908894"/>
            <a:ext cx="1408584" cy="1408584"/>
          </a:xfrm>
          <a:prstGeom prst="ellipse">
            <a:avLst/>
          </a:prstGeom>
          <a:solidFill>
            <a:schemeClr val="bg1"/>
          </a:solidFill>
          <a:ln w="254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5439">
                    <a:srgbClr val="F8F8F8"/>
                  </a:gs>
                  <a:gs pos="10000">
                    <a:srgbClr val="F8F8F8"/>
                  </a:gs>
                </a:gsLst>
                <a:lin ang="5400000" scaled="0"/>
              </a:gradFill>
              <a:effectLst/>
              <a:uLnTx/>
              <a:uFillTx/>
            </a:endParaRPr>
          </a:p>
        </p:txBody>
      </p:sp>
      <p:sp>
        <p:nvSpPr>
          <p:cNvPr id="195" name="Oval 194"/>
          <p:cNvSpPr/>
          <p:nvPr/>
        </p:nvSpPr>
        <p:spPr bwMode="auto">
          <a:xfrm>
            <a:off x="5255045" y="1908894"/>
            <a:ext cx="1408584" cy="1408584"/>
          </a:xfrm>
          <a:prstGeom prst="ellipse">
            <a:avLst/>
          </a:prstGeom>
          <a:solidFill>
            <a:schemeClr val="bg1"/>
          </a:solidFill>
          <a:ln w="254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5439">
                    <a:srgbClr val="F8F8F8"/>
                  </a:gs>
                  <a:gs pos="10000">
                    <a:srgbClr val="F8F8F8"/>
                  </a:gs>
                </a:gsLst>
                <a:lin ang="5400000" scaled="0"/>
              </a:gradFill>
              <a:effectLst/>
              <a:uLnTx/>
              <a:uFillTx/>
            </a:endParaRPr>
          </a:p>
        </p:txBody>
      </p:sp>
      <p:sp>
        <p:nvSpPr>
          <p:cNvPr id="206" name="Oval 205"/>
          <p:cNvSpPr/>
          <p:nvPr/>
        </p:nvSpPr>
        <p:spPr bwMode="auto">
          <a:xfrm>
            <a:off x="7162520" y="1908894"/>
            <a:ext cx="1408584" cy="1408584"/>
          </a:xfrm>
          <a:prstGeom prst="ellipse">
            <a:avLst/>
          </a:prstGeom>
          <a:solidFill>
            <a:schemeClr val="bg1"/>
          </a:solidFill>
          <a:ln w="254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5439">
                    <a:srgbClr val="F8F8F8"/>
                  </a:gs>
                  <a:gs pos="10000">
                    <a:srgbClr val="F8F8F8"/>
                  </a:gs>
                </a:gsLst>
                <a:lin ang="5400000" scaled="0"/>
              </a:gradFill>
              <a:effectLst/>
              <a:uLnTx/>
              <a:uFillTx/>
            </a:endParaRPr>
          </a:p>
        </p:txBody>
      </p:sp>
      <p:sp>
        <p:nvSpPr>
          <p:cNvPr id="207" name="Oval 206"/>
          <p:cNvSpPr/>
          <p:nvPr/>
        </p:nvSpPr>
        <p:spPr bwMode="auto">
          <a:xfrm>
            <a:off x="8745848" y="1908894"/>
            <a:ext cx="1408584" cy="1408584"/>
          </a:xfrm>
          <a:prstGeom prst="ellipse">
            <a:avLst/>
          </a:prstGeom>
          <a:solidFill>
            <a:schemeClr val="bg1"/>
          </a:solidFill>
          <a:ln w="254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5439">
                    <a:srgbClr val="F8F8F8"/>
                  </a:gs>
                  <a:gs pos="10000">
                    <a:srgbClr val="F8F8F8"/>
                  </a:gs>
                </a:gsLst>
                <a:lin ang="5400000" scaled="0"/>
              </a:gradFill>
              <a:effectLst/>
              <a:uLnTx/>
              <a:uFillTx/>
            </a:endParaRPr>
          </a:p>
        </p:txBody>
      </p:sp>
      <p:sp>
        <p:nvSpPr>
          <p:cNvPr id="208" name="Oval 207"/>
          <p:cNvSpPr/>
          <p:nvPr/>
        </p:nvSpPr>
        <p:spPr bwMode="auto">
          <a:xfrm>
            <a:off x="10331975" y="1908894"/>
            <a:ext cx="1408584" cy="1408584"/>
          </a:xfrm>
          <a:prstGeom prst="ellipse">
            <a:avLst/>
          </a:prstGeom>
          <a:solidFill>
            <a:schemeClr val="bg1"/>
          </a:solidFill>
          <a:ln w="254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5439">
                    <a:srgbClr val="F8F8F8"/>
                  </a:gs>
                  <a:gs pos="10000">
                    <a:srgbClr val="F8F8F8"/>
                  </a:gs>
                </a:gsLst>
                <a:lin ang="5400000" scaled="0"/>
              </a:gradFill>
              <a:effectLst/>
              <a:uLnTx/>
              <a:uFillTx/>
            </a:endParaRPr>
          </a:p>
        </p:txBody>
      </p:sp>
      <p:sp>
        <p:nvSpPr>
          <p:cNvPr id="45" name="TextBox 44"/>
          <p:cNvSpPr txBox="1"/>
          <p:nvPr/>
        </p:nvSpPr>
        <p:spPr>
          <a:xfrm>
            <a:off x="2072690" y="1297444"/>
            <a:ext cx="2981860" cy="473206"/>
          </a:xfrm>
          <a:prstGeom prst="rect">
            <a:avLst/>
          </a:prstGeom>
          <a:noFill/>
        </p:spPr>
        <p:txBody>
          <a:bodyPr wrap="square" lIns="91440" tIns="73152" rIns="91440" bIns="73152" rtlCol="0">
            <a:spAutoFit/>
          </a:bodyPr>
          <a:lstStyle/>
          <a:p>
            <a:pPr marL="0" marR="0" lvl="0" indent="0" algn="ctr" defTabSz="914132" eaLnBrk="1" fontAlgn="auto" latinLnBrk="0" hangingPunct="1">
              <a:lnSpc>
                <a:spcPct val="90000"/>
              </a:lnSpc>
              <a:spcBef>
                <a:spcPct val="0"/>
              </a:spcBef>
              <a:spcAft>
                <a:spcPts val="588"/>
              </a:spcAft>
              <a:buClrTx/>
              <a:buSzTx/>
              <a:buFontTx/>
              <a:buNone/>
              <a:tabLst/>
              <a:defRPr/>
            </a:pPr>
            <a:r>
              <a:rPr kumimoji="0" lang="en-US" sz="2350" b="0" i="0" u="none" strike="noStrike" kern="0" cap="none" spc="-29" normalizeH="0" baseline="0" noProof="0" dirty="0">
                <a:ln>
                  <a:noFill/>
                </a:ln>
                <a:solidFill>
                  <a:schemeClr val="tx2"/>
                </a:solidFill>
                <a:effectLst/>
                <a:uLnTx/>
                <a:uFillTx/>
                <a:latin typeface="Segoe UI Semilight" panose="020B0402040204020203" pitchFamily="34" charset="0"/>
                <a:ea typeface="MS PGothic" panose="020B0600070205080204" pitchFamily="34" charset="-128"/>
                <a:cs typeface="Segoe UI Semilight" panose="020B0402040204020203" pitchFamily="34" charset="0"/>
              </a:rPr>
              <a:t>Data on your desktop</a:t>
            </a:r>
          </a:p>
        </p:txBody>
      </p:sp>
      <p:sp>
        <p:nvSpPr>
          <p:cNvPr id="46" name="TextBox 45"/>
          <p:cNvSpPr txBox="1"/>
          <p:nvPr/>
        </p:nvSpPr>
        <p:spPr>
          <a:xfrm>
            <a:off x="7397094" y="1297444"/>
            <a:ext cx="4106091" cy="473206"/>
          </a:xfrm>
          <a:prstGeom prst="rect">
            <a:avLst/>
          </a:prstGeom>
          <a:noFill/>
        </p:spPr>
        <p:txBody>
          <a:bodyPr wrap="square" lIns="91440" tIns="73152" rIns="91440" bIns="73152" rtlCol="0">
            <a:spAutoFit/>
          </a:bodyPr>
          <a:lstStyle/>
          <a:p>
            <a:pPr marL="0" marR="0" lvl="0" indent="0" algn="ctr" defTabSz="914132" eaLnBrk="1" fontAlgn="auto" latinLnBrk="0" hangingPunct="1">
              <a:lnSpc>
                <a:spcPct val="90000"/>
              </a:lnSpc>
              <a:spcBef>
                <a:spcPct val="0"/>
              </a:spcBef>
              <a:spcAft>
                <a:spcPts val="588"/>
              </a:spcAft>
              <a:buClrTx/>
              <a:buSzTx/>
              <a:buFontTx/>
              <a:buNone/>
              <a:tabLst/>
              <a:defRPr/>
            </a:pPr>
            <a:r>
              <a:rPr kumimoji="0" lang="en-US" sz="2350" b="0" i="0" u="none" strike="noStrike" kern="0" cap="none" spc="-29" normalizeH="0" baseline="0" noProof="0" dirty="0">
                <a:ln>
                  <a:noFill/>
                </a:ln>
                <a:solidFill>
                  <a:schemeClr val="tx2"/>
                </a:solidFill>
                <a:effectLst/>
                <a:uLnTx/>
                <a:uFillTx/>
                <a:latin typeface="Segoe UI Semilight" panose="020B0402040204020203" pitchFamily="34" charset="0"/>
                <a:ea typeface="MS PGothic" panose="020B0600070205080204" pitchFamily="34" charset="-128"/>
                <a:cs typeface="Segoe UI Semilight" panose="020B0402040204020203" pitchFamily="34" charset="0"/>
              </a:rPr>
              <a:t>Data located in other stores</a:t>
            </a:r>
          </a:p>
        </p:txBody>
      </p:sp>
      <p:sp>
        <p:nvSpPr>
          <p:cNvPr id="12" name="Rectangle 11"/>
          <p:cNvSpPr/>
          <p:nvPr/>
        </p:nvSpPr>
        <p:spPr bwMode="auto">
          <a:xfrm>
            <a:off x="386778" y="4008986"/>
            <a:ext cx="1426464" cy="2448419"/>
          </a:xfrm>
          <a:prstGeom prst="rect">
            <a:avLst/>
          </a:prstGeom>
          <a:solidFill>
            <a:schemeClr val="accent3"/>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137160" rIns="91440" bIns="73152" numCol="1" rtlCol="0" anchor="t" anchorCtr="0" compatLnSpc="1">
            <a:prstTxWarp prst="textNoShape">
              <a:avLst/>
            </a:prstTxWarp>
          </a:bodyPr>
          <a:lstStyle/>
          <a:p>
            <a:pPr marL="0" marR="0" lvl="0" indent="0" defTabSz="913908" eaLnBrk="1" fontAlgn="base" latinLnBrk="0" hangingPunct="1">
              <a:lnSpc>
                <a:spcPct val="100000"/>
              </a:lnSpc>
              <a:spcBef>
                <a:spcPct val="0"/>
              </a:spcBef>
              <a:spcAft>
                <a:spcPts val="600"/>
              </a:spcAft>
              <a:buClrTx/>
              <a:buSzTx/>
              <a:buFontTx/>
              <a:buNone/>
              <a:tabLst/>
              <a:defRPr/>
            </a:pPr>
            <a:r>
              <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rPr>
              <a:t>Easy to use</a:t>
            </a:r>
          </a:p>
          <a:p>
            <a:pPr marL="0" marR="0" lvl="0" indent="0" defTabSz="913908" eaLnBrk="1" fontAlgn="base" latinLnBrk="0" hangingPunct="1">
              <a:lnSpc>
                <a:spcPct val="100000"/>
              </a:lnSpc>
              <a:spcBef>
                <a:spcPct val="0"/>
              </a:spcBef>
              <a:spcAft>
                <a:spcPts val="600"/>
              </a:spcAft>
              <a:buClrTx/>
              <a:buSzTx/>
              <a:buFontTx/>
              <a:buNone/>
              <a:tabLst/>
              <a:defRPr/>
            </a:pPr>
            <a:r>
              <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rPr>
              <a:t>Good for small amount of data</a:t>
            </a:r>
          </a:p>
          <a:p>
            <a:pPr marL="0" marR="0" lvl="0" indent="0" defTabSz="913908" eaLnBrk="1" fontAlgn="base" latinLnBrk="0" hangingPunct="1">
              <a:lnSpc>
                <a:spcPct val="100000"/>
              </a:lnSpc>
              <a:spcBef>
                <a:spcPct val="0"/>
              </a:spcBef>
              <a:spcAft>
                <a:spcPts val="600"/>
              </a:spcAft>
              <a:buClrTx/>
              <a:buSzTx/>
              <a:buFontTx/>
              <a:buNone/>
              <a:tabLst/>
              <a:defRPr/>
            </a:pPr>
            <a:r>
              <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rPr>
              <a:t>Analyzing data using Portal</a:t>
            </a:r>
          </a:p>
        </p:txBody>
      </p:sp>
      <p:sp>
        <p:nvSpPr>
          <p:cNvPr id="16" name="Rectangle 15"/>
          <p:cNvSpPr/>
          <p:nvPr/>
        </p:nvSpPr>
        <p:spPr bwMode="auto">
          <a:xfrm>
            <a:off x="2011621" y="4008986"/>
            <a:ext cx="1426464" cy="2448419"/>
          </a:xfrm>
          <a:prstGeom prst="rect">
            <a:avLst/>
          </a:prstGeom>
          <a:solidFill>
            <a:schemeClr val="accent3"/>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137160" rIns="91440" bIns="73152" numCol="1" rtlCol="0" anchor="t" anchorCtr="0" compatLnSpc="1">
            <a:prstTxWarp prst="textNoShape">
              <a:avLst/>
            </a:prstTxWarp>
          </a:bodyPr>
          <a:lstStyle/>
          <a:p>
            <a:pPr marL="0" marR="0" lvl="0" indent="0" defTabSz="913908" eaLnBrk="1" fontAlgn="base" latinLnBrk="0" hangingPunct="1">
              <a:lnSpc>
                <a:spcPct val="100000"/>
              </a:lnSpc>
              <a:spcBef>
                <a:spcPct val="0"/>
              </a:spcBef>
              <a:spcAft>
                <a:spcPts val="600"/>
              </a:spcAft>
              <a:buClrTx/>
              <a:buSzTx/>
              <a:buFontTx/>
              <a:buNone/>
              <a:tabLst/>
              <a:defRPr/>
            </a:pPr>
            <a:r>
              <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rPr>
              <a:t>Upload file and folders</a:t>
            </a:r>
          </a:p>
          <a:p>
            <a:pPr marL="0" marR="0" lvl="0" indent="0" defTabSz="913908" eaLnBrk="1" fontAlgn="base" latinLnBrk="0" hangingPunct="1">
              <a:lnSpc>
                <a:spcPct val="100000"/>
              </a:lnSpc>
              <a:spcBef>
                <a:spcPct val="0"/>
              </a:spcBef>
              <a:spcAft>
                <a:spcPts val="600"/>
              </a:spcAft>
              <a:buClrTx/>
              <a:buSzTx/>
              <a:buFontTx/>
              <a:buNone/>
              <a:tabLst/>
              <a:defRPr/>
            </a:pPr>
            <a:r>
              <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rPr>
              <a:t>Control parallelism</a:t>
            </a:r>
          </a:p>
          <a:p>
            <a:pPr marL="0" marR="0" lvl="0" indent="0" defTabSz="913908" eaLnBrk="1" fontAlgn="base" latinLnBrk="0" hangingPunct="1">
              <a:lnSpc>
                <a:spcPct val="100000"/>
              </a:lnSpc>
              <a:spcBef>
                <a:spcPct val="0"/>
              </a:spcBef>
              <a:spcAft>
                <a:spcPts val="600"/>
              </a:spcAft>
              <a:buClrTx/>
              <a:buSzTx/>
              <a:buFontTx/>
              <a:buNone/>
              <a:tabLst/>
              <a:defRPr/>
            </a:pPr>
            <a:r>
              <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rPr>
              <a:t>Control format of upload</a:t>
            </a:r>
          </a:p>
          <a:p>
            <a:pPr marL="0" marR="0" lvl="0" indent="0" defTabSz="913908" eaLnBrk="1" fontAlgn="base" latinLnBrk="0" hangingPunct="1">
              <a:lnSpc>
                <a:spcPct val="100000"/>
              </a:lnSpc>
              <a:spcBef>
                <a:spcPct val="0"/>
              </a:spcBef>
              <a:spcAft>
                <a:spcPts val="600"/>
              </a:spcAft>
              <a:buClrTx/>
              <a:buSzTx/>
              <a:buFontTx/>
              <a:buNone/>
              <a:tabLst/>
              <a:defRPr/>
            </a:pPr>
            <a:r>
              <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rPr>
              <a:t>Need to use other services</a:t>
            </a:r>
          </a:p>
        </p:txBody>
      </p:sp>
      <p:sp>
        <p:nvSpPr>
          <p:cNvPr id="17" name="Rectangle 16"/>
          <p:cNvSpPr/>
          <p:nvPr/>
        </p:nvSpPr>
        <p:spPr bwMode="auto">
          <a:xfrm>
            <a:off x="3628086" y="4008986"/>
            <a:ext cx="1426464" cy="2448419"/>
          </a:xfrm>
          <a:prstGeom prst="rect">
            <a:avLst/>
          </a:prstGeom>
          <a:solidFill>
            <a:schemeClr val="accent3"/>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137160" rIns="91440" bIns="73152" numCol="1" rtlCol="0" anchor="t" anchorCtr="0" compatLnSpc="1">
            <a:prstTxWarp prst="textNoShape">
              <a:avLst/>
            </a:prstTxWarp>
          </a:bodyPr>
          <a:lstStyle/>
          <a:p>
            <a:pPr marL="0" marR="0" lvl="0" indent="0" defTabSz="913908" eaLnBrk="1" fontAlgn="base" latinLnBrk="0" hangingPunct="1">
              <a:lnSpc>
                <a:spcPct val="100000"/>
              </a:lnSpc>
              <a:spcBef>
                <a:spcPct val="0"/>
              </a:spcBef>
              <a:spcAft>
                <a:spcPts val="600"/>
              </a:spcAft>
              <a:buClrTx/>
              <a:buSzTx/>
              <a:buFontTx/>
              <a:buNone/>
              <a:tabLst/>
              <a:defRPr/>
            </a:pPr>
            <a:r>
              <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rPr>
              <a:t>Integrated experience</a:t>
            </a:r>
          </a:p>
          <a:p>
            <a:pPr defTabSz="913908" fontAlgn="base">
              <a:spcBef>
                <a:spcPct val="0"/>
              </a:spcBef>
              <a:spcAft>
                <a:spcPts val="600"/>
              </a:spcAft>
              <a:defRPr/>
            </a:pPr>
            <a:r>
              <a:rPr lang="en-US" sz="1200" kern="0" dirty="0">
                <a:gradFill>
                  <a:gsLst>
                    <a:gs pos="0">
                      <a:srgbClr val="FFFFFF"/>
                    </a:gs>
                    <a:gs pos="100000">
                      <a:srgbClr val="FFFFFF"/>
                    </a:gs>
                  </a:gsLst>
                  <a:lin ang="5400000" scaled="0"/>
                </a:gradFill>
              </a:rPr>
              <a:t>Drag-and-drop</a:t>
            </a:r>
          </a:p>
          <a:p>
            <a:pPr defTabSz="913908" fontAlgn="base">
              <a:spcBef>
                <a:spcPct val="0"/>
              </a:spcBef>
              <a:spcAft>
                <a:spcPts val="600"/>
              </a:spcAft>
              <a:defRPr/>
            </a:pPr>
            <a:r>
              <a:rPr lang="en-US" sz="1200" kern="0" dirty="0">
                <a:gradFill>
                  <a:gsLst>
                    <a:gs pos="0">
                      <a:srgbClr val="FFFFFF"/>
                    </a:gs>
                    <a:gs pos="100000">
                      <a:srgbClr val="FFFFFF"/>
                    </a:gs>
                  </a:gsLst>
                  <a:lin ang="5400000" scaled="0"/>
                </a:gradFill>
              </a:rPr>
              <a:t>Programmatic Analytics</a:t>
            </a:r>
          </a:p>
        </p:txBody>
      </p:sp>
      <p:sp>
        <p:nvSpPr>
          <p:cNvPr id="18" name="Rectangle 17"/>
          <p:cNvSpPr/>
          <p:nvPr/>
        </p:nvSpPr>
        <p:spPr bwMode="auto">
          <a:xfrm>
            <a:off x="8736908" y="4008986"/>
            <a:ext cx="1426464" cy="2448419"/>
          </a:xfrm>
          <a:prstGeom prst="rect">
            <a:avLst/>
          </a:prstGeom>
          <a:solidFill>
            <a:schemeClr val="accent3"/>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137160" rIns="91440" bIns="73152" numCol="1" rtlCol="0" anchor="t" anchorCtr="0" compatLnSpc="1">
            <a:prstTxWarp prst="textNoShape">
              <a:avLst/>
            </a:prstTxWarp>
          </a:bodyPr>
          <a:lstStyle/>
          <a:p>
            <a:pPr marL="0" marR="0" lvl="0" indent="0" defTabSz="913908" eaLnBrk="1" fontAlgn="base" latinLnBrk="0" hangingPunct="1">
              <a:lnSpc>
                <a:spcPct val="100000"/>
              </a:lnSpc>
              <a:spcBef>
                <a:spcPct val="0"/>
              </a:spcBef>
              <a:spcAft>
                <a:spcPts val="600"/>
              </a:spcAft>
              <a:buClrTx/>
              <a:buSzTx/>
              <a:buFontTx/>
              <a:buNone/>
              <a:tabLst/>
              <a:defRPr/>
            </a:pPr>
            <a:r>
              <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rPr>
              <a:t>Copy data easily from Azure Storage at least cost</a:t>
            </a:r>
          </a:p>
        </p:txBody>
      </p:sp>
      <p:sp>
        <p:nvSpPr>
          <p:cNvPr id="20" name="Rectangle 19"/>
          <p:cNvSpPr/>
          <p:nvPr/>
        </p:nvSpPr>
        <p:spPr bwMode="auto">
          <a:xfrm>
            <a:off x="5246105" y="4008986"/>
            <a:ext cx="1426464" cy="2448419"/>
          </a:xfrm>
          <a:prstGeom prst="rect">
            <a:avLst/>
          </a:prstGeom>
          <a:solidFill>
            <a:schemeClr val="accent3"/>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137160" rIns="91440" bIns="73152" numCol="1" rtlCol="0" anchor="t" anchorCtr="0" compatLnSpc="1">
            <a:prstTxWarp prst="textNoShape">
              <a:avLst/>
            </a:prstTxWarp>
          </a:bodyPr>
          <a:lstStyle/>
          <a:p>
            <a:pPr marL="0" marR="0" lvl="0" indent="0" defTabSz="913908" eaLnBrk="1" fontAlgn="base" latinLnBrk="0" hangingPunct="1">
              <a:lnSpc>
                <a:spcPct val="100000"/>
              </a:lnSpc>
              <a:spcBef>
                <a:spcPct val="0"/>
              </a:spcBef>
              <a:spcAft>
                <a:spcPts val="600"/>
              </a:spcAft>
              <a:buClrTx/>
              <a:buSzTx/>
              <a:buFontTx/>
              <a:buNone/>
              <a:tabLst/>
              <a:defRPr/>
            </a:pPr>
            <a:r>
              <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rPr>
              <a:t>Linux, Mac</a:t>
            </a:r>
          </a:p>
          <a:p>
            <a:pPr marL="0" marR="0" lvl="0" indent="0" defTabSz="913908" eaLnBrk="1" fontAlgn="base" latinLnBrk="0" hangingPunct="1">
              <a:lnSpc>
                <a:spcPct val="100000"/>
              </a:lnSpc>
              <a:spcBef>
                <a:spcPct val="0"/>
              </a:spcBef>
              <a:spcAft>
                <a:spcPts val="600"/>
              </a:spcAft>
              <a:buClrTx/>
              <a:buSzTx/>
              <a:buFontTx/>
              <a:buNone/>
              <a:tabLst/>
              <a:defRPr/>
            </a:pPr>
            <a:r>
              <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rPr>
              <a:t>Most features of PowerShell</a:t>
            </a:r>
          </a:p>
        </p:txBody>
      </p:sp>
      <p:sp>
        <p:nvSpPr>
          <p:cNvPr id="23" name="Rectangle 22"/>
          <p:cNvSpPr/>
          <p:nvPr/>
        </p:nvSpPr>
        <p:spPr bwMode="auto">
          <a:xfrm>
            <a:off x="10323035" y="4008986"/>
            <a:ext cx="1426464" cy="2448419"/>
          </a:xfrm>
          <a:prstGeom prst="rect">
            <a:avLst/>
          </a:prstGeom>
          <a:solidFill>
            <a:schemeClr val="accent3"/>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137160" rIns="91440" bIns="73152" numCol="1" rtlCol="0" anchor="t" anchorCtr="0" compatLnSpc="1">
            <a:prstTxWarp prst="textNoShape">
              <a:avLst/>
            </a:prstTxWarp>
          </a:bodyPr>
          <a:lstStyle/>
          <a:p>
            <a:pPr marL="0" marR="0" lvl="0" indent="0" defTabSz="913908" eaLnBrk="1" fontAlgn="base" latinLnBrk="0" hangingPunct="1">
              <a:lnSpc>
                <a:spcPct val="100000"/>
              </a:lnSpc>
              <a:spcBef>
                <a:spcPct val="0"/>
              </a:spcBef>
              <a:spcAft>
                <a:spcPts val="600"/>
              </a:spcAft>
              <a:buClrTx/>
              <a:buSzTx/>
              <a:buFontTx/>
              <a:buNone/>
              <a:tabLst/>
              <a:defRPr/>
            </a:pPr>
            <a:r>
              <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rPr>
              <a:t>Distcp, Sqoop</a:t>
            </a:r>
          </a:p>
          <a:p>
            <a:pPr marL="0" marR="0" lvl="0" indent="0" defTabSz="913908" eaLnBrk="1" fontAlgn="base" latinLnBrk="0" hangingPunct="1">
              <a:lnSpc>
                <a:spcPct val="100000"/>
              </a:lnSpc>
              <a:spcBef>
                <a:spcPct val="0"/>
              </a:spcBef>
              <a:spcAft>
                <a:spcPts val="600"/>
              </a:spcAft>
              <a:buClrTx/>
              <a:buSzTx/>
              <a:buFontTx/>
              <a:buNone/>
              <a:tabLst/>
              <a:defRPr/>
            </a:pPr>
            <a:r>
              <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rPr>
              <a:t>If analyzing data using HDInsight</a:t>
            </a:r>
          </a:p>
        </p:txBody>
      </p:sp>
      <p:sp>
        <p:nvSpPr>
          <p:cNvPr id="28" name="Rectangle 27"/>
          <p:cNvSpPr/>
          <p:nvPr/>
        </p:nvSpPr>
        <p:spPr bwMode="auto">
          <a:xfrm>
            <a:off x="7153580" y="4008986"/>
            <a:ext cx="1426464" cy="2448419"/>
          </a:xfrm>
          <a:prstGeom prst="rect">
            <a:avLst/>
          </a:prstGeom>
          <a:solidFill>
            <a:schemeClr val="accent3"/>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137160" rIns="91440" bIns="73152" numCol="1" rtlCol="0" anchor="t" anchorCtr="0" compatLnSpc="1">
            <a:prstTxWarp prst="textNoShape">
              <a:avLst/>
            </a:prstTxWarp>
          </a:bodyPr>
          <a:lstStyle/>
          <a:p>
            <a:pPr marL="0" marR="0" lvl="0" indent="0" defTabSz="913908" eaLnBrk="1" fontAlgn="base" latinLnBrk="0" hangingPunct="1">
              <a:lnSpc>
                <a:spcPct val="100000"/>
              </a:lnSpc>
              <a:spcBef>
                <a:spcPct val="0"/>
              </a:spcBef>
              <a:spcAft>
                <a:spcPts val="600"/>
              </a:spcAft>
              <a:buClrTx/>
              <a:buSzTx/>
              <a:buFontTx/>
              <a:buNone/>
              <a:tabLst/>
              <a:defRPr/>
            </a:pPr>
            <a:r>
              <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rPr>
              <a:t>Copy Wizard for intuitive one-time copy from multiple sources </a:t>
            </a:r>
          </a:p>
        </p:txBody>
      </p:sp>
      <p:pic>
        <p:nvPicPr>
          <p:cNvPr id="209" name="Picture 2" descr="https://upload.wikimedia.org/wikipedia/commons/2/2f/PowerShell_5.0_icon.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337911" y="2226244"/>
            <a:ext cx="773884" cy="773884"/>
          </a:xfrm>
          <a:prstGeom prst="rect">
            <a:avLst/>
          </a:prstGeom>
          <a:noFill/>
          <a:extLst>
            <a:ext uri="{909E8E84-426E-40DD-AFC4-6F175D3DCCD1}">
              <a14:hiddenFill xmlns:a14="http://schemas.microsoft.com/office/drawing/2010/main">
                <a:solidFill>
                  <a:srgbClr val="FFFFFF"/>
                </a:solidFill>
              </a14:hiddenFill>
            </a:ext>
          </a:extLst>
        </p:spPr>
      </p:pic>
      <p:sp>
        <p:nvSpPr>
          <p:cNvPr id="210" name="Freeform 13"/>
          <p:cNvSpPr>
            <a:spLocks noChangeAspect="1" noEditPoints="1"/>
          </p:cNvSpPr>
          <p:nvPr/>
        </p:nvSpPr>
        <p:spPr bwMode="black">
          <a:xfrm>
            <a:off x="4010548" y="2282005"/>
            <a:ext cx="661540" cy="662362"/>
          </a:xfrm>
          <a:custGeom>
            <a:avLst/>
            <a:gdLst>
              <a:gd name="T0" fmla="*/ 600 w 800"/>
              <a:gd name="T1" fmla="*/ 0 h 801"/>
              <a:gd name="T2" fmla="*/ 283 w 800"/>
              <a:gd name="T3" fmla="*/ 317 h 801"/>
              <a:gd name="T4" fmla="*/ 81 w 800"/>
              <a:gd name="T5" fmla="*/ 159 h 801"/>
              <a:gd name="T6" fmla="*/ 0 w 800"/>
              <a:gd name="T7" fmla="*/ 200 h 801"/>
              <a:gd name="T8" fmla="*/ 0 w 800"/>
              <a:gd name="T9" fmla="*/ 600 h 801"/>
              <a:gd name="T10" fmla="*/ 81 w 800"/>
              <a:gd name="T11" fmla="*/ 641 h 801"/>
              <a:gd name="T12" fmla="*/ 283 w 800"/>
              <a:gd name="T13" fmla="*/ 484 h 801"/>
              <a:gd name="T14" fmla="*/ 600 w 800"/>
              <a:gd name="T15" fmla="*/ 801 h 801"/>
              <a:gd name="T16" fmla="*/ 800 w 800"/>
              <a:gd name="T17" fmla="*/ 722 h 801"/>
              <a:gd name="T18" fmla="*/ 800 w 800"/>
              <a:gd name="T19" fmla="*/ 78 h 801"/>
              <a:gd name="T20" fmla="*/ 600 w 800"/>
              <a:gd name="T21" fmla="*/ 0 h 801"/>
              <a:gd name="T22" fmla="*/ 81 w 800"/>
              <a:gd name="T23" fmla="*/ 519 h 801"/>
              <a:gd name="T24" fmla="*/ 81 w 800"/>
              <a:gd name="T25" fmla="*/ 281 h 801"/>
              <a:gd name="T26" fmla="*/ 200 w 800"/>
              <a:gd name="T27" fmla="*/ 400 h 801"/>
              <a:gd name="T28" fmla="*/ 81 w 800"/>
              <a:gd name="T29" fmla="*/ 519 h 801"/>
              <a:gd name="T30" fmla="*/ 388 w 800"/>
              <a:gd name="T31" fmla="*/ 400 h 801"/>
              <a:gd name="T32" fmla="*/ 600 w 800"/>
              <a:gd name="T33" fmla="*/ 236 h 801"/>
              <a:gd name="T34" fmla="*/ 600 w 800"/>
              <a:gd name="T35" fmla="*/ 565 h 801"/>
              <a:gd name="T36" fmla="*/ 388 w 800"/>
              <a:gd name="T37" fmla="*/ 400 h 8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00" h="801">
                <a:moveTo>
                  <a:pt x="600" y="0"/>
                </a:moveTo>
                <a:lnTo>
                  <a:pt x="283" y="317"/>
                </a:lnTo>
                <a:lnTo>
                  <a:pt x="81" y="159"/>
                </a:lnTo>
                <a:lnTo>
                  <a:pt x="0" y="200"/>
                </a:lnTo>
                <a:lnTo>
                  <a:pt x="0" y="600"/>
                </a:lnTo>
                <a:lnTo>
                  <a:pt x="81" y="641"/>
                </a:lnTo>
                <a:lnTo>
                  <a:pt x="283" y="484"/>
                </a:lnTo>
                <a:lnTo>
                  <a:pt x="600" y="801"/>
                </a:lnTo>
                <a:lnTo>
                  <a:pt x="800" y="722"/>
                </a:lnTo>
                <a:lnTo>
                  <a:pt x="800" y="78"/>
                </a:lnTo>
                <a:lnTo>
                  <a:pt x="600" y="0"/>
                </a:lnTo>
                <a:close/>
                <a:moveTo>
                  <a:pt x="81" y="519"/>
                </a:moveTo>
                <a:lnTo>
                  <a:pt x="81" y="281"/>
                </a:lnTo>
                <a:lnTo>
                  <a:pt x="200" y="400"/>
                </a:lnTo>
                <a:lnTo>
                  <a:pt x="81" y="519"/>
                </a:lnTo>
                <a:close/>
                <a:moveTo>
                  <a:pt x="388" y="400"/>
                </a:moveTo>
                <a:lnTo>
                  <a:pt x="600" y="236"/>
                </a:lnTo>
                <a:lnTo>
                  <a:pt x="600" y="565"/>
                </a:lnTo>
                <a:lnTo>
                  <a:pt x="388" y="400"/>
                </a:lnTo>
                <a:close/>
              </a:path>
            </a:pathLst>
          </a:custGeom>
          <a:solidFill>
            <a:srgbClr val="68217A"/>
          </a:solidFill>
          <a:ln>
            <a:noFill/>
          </a:ln>
        </p:spPr>
        <p:txBody>
          <a:bodyPr vert="horz" wrap="square" lIns="89642" tIns="44821" rIns="89642" bIns="44821" numCol="1" anchor="t" anchorCtr="0" compatLnSpc="1">
            <a:prstTxWarp prst="textNoShape">
              <a:avLst/>
            </a:prstTxWarp>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FFFFFF"/>
              </a:solidFill>
              <a:effectLst/>
              <a:uLnTx/>
              <a:uFillTx/>
              <a:latin typeface="Segoe UI"/>
            </a:endParaRPr>
          </a:p>
        </p:txBody>
      </p:sp>
      <p:pic>
        <p:nvPicPr>
          <p:cNvPr id="214" name="Picture 18" descr="https://upload.wikimedia.org/wikipedia/en/e/ef/Command_prompt_icon_%28windows%29.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612497" y="2266347"/>
            <a:ext cx="693680" cy="693678"/>
          </a:xfrm>
          <a:prstGeom prst="rect">
            <a:avLst/>
          </a:prstGeom>
          <a:noFill/>
          <a:extLst>
            <a:ext uri="{909E8E84-426E-40DD-AFC4-6F175D3DCCD1}">
              <a14:hiddenFill xmlns:a14="http://schemas.microsoft.com/office/drawing/2010/main">
                <a:solidFill>
                  <a:srgbClr val="FFFFFF"/>
                </a:solidFill>
              </a14:hiddenFill>
            </a:ext>
          </a:extLst>
        </p:spPr>
      </p:pic>
      <p:grpSp>
        <p:nvGrpSpPr>
          <p:cNvPr id="100" name="Group 99"/>
          <p:cNvGrpSpPr/>
          <p:nvPr/>
        </p:nvGrpSpPr>
        <p:grpSpPr>
          <a:xfrm>
            <a:off x="7550995" y="2298398"/>
            <a:ext cx="631634" cy="629576"/>
            <a:chOff x="3029010" y="3853608"/>
            <a:chExt cx="2248798" cy="2241477"/>
          </a:xfrm>
        </p:grpSpPr>
        <p:sp>
          <p:nvSpPr>
            <p:cNvPr id="101" name="Freeform 184"/>
            <p:cNvSpPr/>
            <p:nvPr/>
          </p:nvSpPr>
          <p:spPr bwMode="auto">
            <a:xfrm>
              <a:off x="3029010" y="3853609"/>
              <a:ext cx="2248798" cy="2241476"/>
            </a:xfrm>
            <a:custGeom>
              <a:avLst/>
              <a:gdLst>
                <a:gd name="connsiteX0" fmla="*/ 3231086 w 4158080"/>
                <a:gd name="connsiteY0" fmla="*/ 3012228 h 4144545"/>
                <a:gd name="connsiteX1" fmla="*/ 3231086 w 4158080"/>
                <a:gd name="connsiteY1" fmla="*/ 3475725 h 4144545"/>
                <a:gd name="connsiteX2" fmla="*/ 3694583 w 4158080"/>
                <a:gd name="connsiteY2" fmla="*/ 3475725 h 4144545"/>
                <a:gd name="connsiteX3" fmla="*/ 3694583 w 4158080"/>
                <a:gd name="connsiteY3" fmla="*/ 3012228 h 4144545"/>
                <a:gd name="connsiteX4" fmla="*/ 2425129 w 4158080"/>
                <a:gd name="connsiteY4" fmla="*/ 3012228 h 4144545"/>
                <a:gd name="connsiteX5" fmla="*/ 2425129 w 4158080"/>
                <a:gd name="connsiteY5" fmla="*/ 3475725 h 4144545"/>
                <a:gd name="connsiteX6" fmla="*/ 2888626 w 4158080"/>
                <a:gd name="connsiteY6" fmla="*/ 3475725 h 4144545"/>
                <a:gd name="connsiteX7" fmla="*/ 2888626 w 4158080"/>
                <a:gd name="connsiteY7" fmla="*/ 3012228 h 4144545"/>
                <a:gd name="connsiteX8" fmla="*/ 1619172 w 4158080"/>
                <a:gd name="connsiteY8" fmla="*/ 3012228 h 4144545"/>
                <a:gd name="connsiteX9" fmla="*/ 1619172 w 4158080"/>
                <a:gd name="connsiteY9" fmla="*/ 3475725 h 4144545"/>
                <a:gd name="connsiteX10" fmla="*/ 2082669 w 4158080"/>
                <a:gd name="connsiteY10" fmla="*/ 3475725 h 4144545"/>
                <a:gd name="connsiteX11" fmla="*/ 2082669 w 4158080"/>
                <a:gd name="connsiteY11" fmla="*/ 3012228 h 4144545"/>
                <a:gd name="connsiteX12" fmla="*/ 1 w 4158080"/>
                <a:gd name="connsiteY12" fmla="*/ 300015 h 4144545"/>
                <a:gd name="connsiteX13" fmla="*/ 1 w 4158080"/>
                <a:gd name="connsiteY13" fmla="*/ 348372 h 4144545"/>
                <a:gd name="connsiteX14" fmla="*/ 1 w 4158080"/>
                <a:gd name="connsiteY14" fmla="*/ 377378 h 4144545"/>
                <a:gd name="connsiteX15" fmla="*/ 0 w 4158080"/>
                <a:gd name="connsiteY15" fmla="*/ 377381 h 4144545"/>
                <a:gd name="connsiteX16" fmla="*/ 1 w 4158080"/>
                <a:gd name="connsiteY16" fmla="*/ 300015 h 4144545"/>
                <a:gd name="connsiteX17" fmla="*/ 925155 w 4158080"/>
                <a:gd name="connsiteY17" fmla="*/ 136141 h 4144545"/>
                <a:gd name="connsiteX18" fmla="*/ 286574 w 4158080"/>
                <a:gd name="connsiteY18" fmla="*/ 323563 h 4144545"/>
                <a:gd name="connsiteX19" fmla="*/ 925155 w 4158080"/>
                <a:gd name="connsiteY19" fmla="*/ 510984 h 4144545"/>
                <a:gd name="connsiteX20" fmla="*/ 1563737 w 4158080"/>
                <a:gd name="connsiteY20" fmla="*/ 323563 h 4144545"/>
                <a:gd name="connsiteX21" fmla="*/ 925155 w 4158080"/>
                <a:gd name="connsiteY21" fmla="*/ 136141 h 4144545"/>
                <a:gd name="connsiteX22" fmla="*/ 925154 w 4158080"/>
                <a:gd name="connsiteY22" fmla="*/ 0 h 4144545"/>
                <a:gd name="connsiteX23" fmla="*/ 1845533 w 4158080"/>
                <a:gd name="connsiteY23" fmla="*/ 338796 h 4144545"/>
                <a:gd name="connsiteX24" fmla="*/ 1848895 w 4158080"/>
                <a:gd name="connsiteY24" fmla="*/ 365965 h 4144545"/>
                <a:gd name="connsiteX25" fmla="*/ 1850308 w 4158080"/>
                <a:gd name="connsiteY25" fmla="*/ 365965 h 4144545"/>
                <a:gd name="connsiteX26" fmla="*/ 1850308 w 4158080"/>
                <a:gd name="connsiteY26" fmla="*/ 377381 h 4144545"/>
                <a:gd name="connsiteX27" fmla="*/ 1850309 w 4158080"/>
                <a:gd name="connsiteY27" fmla="*/ 2420253 h 4144545"/>
                <a:gd name="connsiteX28" fmla="*/ 3004195 w 4158080"/>
                <a:gd name="connsiteY28" fmla="*/ 1412231 h 4144545"/>
                <a:gd name="connsiteX29" fmla="*/ 3004195 w 4158080"/>
                <a:gd name="connsiteY29" fmla="*/ 2420252 h 4144545"/>
                <a:gd name="connsiteX30" fmla="*/ 4158080 w 4158080"/>
                <a:gd name="connsiteY30" fmla="*/ 1412231 h 4144545"/>
                <a:gd name="connsiteX31" fmla="*/ 4158079 w 4158080"/>
                <a:gd name="connsiteY31" fmla="*/ 4144544 h 4144545"/>
                <a:gd name="connsiteX32" fmla="*/ 1 w 4158080"/>
                <a:gd name="connsiteY32" fmla="*/ 4144545 h 4144545"/>
                <a:gd name="connsiteX33" fmla="*/ 1 w 4158080"/>
                <a:gd name="connsiteY33" fmla="*/ 377385 h 4144545"/>
                <a:gd name="connsiteX34" fmla="*/ 1 w 4158080"/>
                <a:gd name="connsiteY34" fmla="*/ 377378 h 4144545"/>
                <a:gd name="connsiteX35" fmla="*/ 4778 w 4158080"/>
                <a:gd name="connsiteY35" fmla="*/ 338796 h 4144545"/>
                <a:gd name="connsiteX36" fmla="*/ 925154 w 4158080"/>
                <a:gd name="connsiteY36" fmla="*/ 0 h 41445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4158080" h="4144545">
                  <a:moveTo>
                    <a:pt x="3231086" y="3012228"/>
                  </a:moveTo>
                  <a:lnTo>
                    <a:pt x="3231086" y="3475725"/>
                  </a:lnTo>
                  <a:lnTo>
                    <a:pt x="3694583" y="3475725"/>
                  </a:lnTo>
                  <a:lnTo>
                    <a:pt x="3694583" y="3012228"/>
                  </a:lnTo>
                  <a:close/>
                  <a:moveTo>
                    <a:pt x="2425129" y="3012228"/>
                  </a:moveTo>
                  <a:lnTo>
                    <a:pt x="2425129" y="3475725"/>
                  </a:lnTo>
                  <a:lnTo>
                    <a:pt x="2888626" y="3475725"/>
                  </a:lnTo>
                  <a:lnTo>
                    <a:pt x="2888626" y="3012228"/>
                  </a:lnTo>
                  <a:close/>
                  <a:moveTo>
                    <a:pt x="1619172" y="3012228"/>
                  </a:moveTo>
                  <a:lnTo>
                    <a:pt x="1619172" y="3475725"/>
                  </a:lnTo>
                  <a:lnTo>
                    <a:pt x="2082669" y="3475725"/>
                  </a:lnTo>
                  <a:lnTo>
                    <a:pt x="2082669" y="3012228"/>
                  </a:lnTo>
                  <a:close/>
                  <a:moveTo>
                    <a:pt x="1" y="300015"/>
                  </a:moveTo>
                  <a:lnTo>
                    <a:pt x="1" y="348372"/>
                  </a:lnTo>
                  <a:lnTo>
                    <a:pt x="1" y="377378"/>
                  </a:lnTo>
                  <a:cubicBezTo>
                    <a:pt x="1" y="377379"/>
                    <a:pt x="0" y="377380"/>
                    <a:pt x="0" y="377381"/>
                  </a:cubicBezTo>
                  <a:cubicBezTo>
                    <a:pt x="0" y="377382"/>
                    <a:pt x="0" y="308611"/>
                    <a:pt x="1" y="300015"/>
                  </a:cubicBezTo>
                  <a:close/>
                  <a:moveTo>
                    <a:pt x="925155" y="136141"/>
                  </a:moveTo>
                  <a:cubicBezTo>
                    <a:pt x="572477" y="136141"/>
                    <a:pt x="286574" y="220052"/>
                    <a:pt x="286574" y="323563"/>
                  </a:cubicBezTo>
                  <a:cubicBezTo>
                    <a:pt x="286574" y="427073"/>
                    <a:pt x="572477" y="510984"/>
                    <a:pt x="925155" y="510984"/>
                  </a:cubicBezTo>
                  <a:cubicBezTo>
                    <a:pt x="1277834" y="510984"/>
                    <a:pt x="1563737" y="427073"/>
                    <a:pt x="1563737" y="323563"/>
                  </a:cubicBezTo>
                  <a:cubicBezTo>
                    <a:pt x="1563737" y="220052"/>
                    <a:pt x="1277834" y="136141"/>
                    <a:pt x="925155" y="136141"/>
                  </a:cubicBezTo>
                  <a:close/>
                  <a:moveTo>
                    <a:pt x="925154" y="0"/>
                  </a:moveTo>
                  <a:cubicBezTo>
                    <a:pt x="1404168" y="0"/>
                    <a:pt x="1798155" y="148500"/>
                    <a:pt x="1845533" y="338796"/>
                  </a:cubicBezTo>
                  <a:lnTo>
                    <a:pt x="1848895" y="365965"/>
                  </a:lnTo>
                  <a:lnTo>
                    <a:pt x="1850308" y="365965"/>
                  </a:lnTo>
                  <a:lnTo>
                    <a:pt x="1850308" y="377381"/>
                  </a:lnTo>
                  <a:cubicBezTo>
                    <a:pt x="1850308" y="719762"/>
                    <a:pt x="1850309" y="2051836"/>
                    <a:pt x="1850309" y="2420253"/>
                  </a:cubicBezTo>
                  <a:lnTo>
                    <a:pt x="3004195" y="1412231"/>
                  </a:lnTo>
                  <a:lnTo>
                    <a:pt x="3004195" y="2420252"/>
                  </a:lnTo>
                  <a:lnTo>
                    <a:pt x="4158080" y="1412231"/>
                  </a:lnTo>
                  <a:cubicBezTo>
                    <a:pt x="4158080" y="2323002"/>
                    <a:pt x="4158079" y="3233773"/>
                    <a:pt x="4158079" y="4144544"/>
                  </a:cubicBezTo>
                  <a:lnTo>
                    <a:pt x="1" y="4144545"/>
                  </a:lnTo>
                  <a:lnTo>
                    <a:pt x="1" y="377385"/>
                  </a:lnTo>
                  <a:lnTo>
                    <a:pt x="1" y="377378"/>
                  </a:lnTo>
                  <a:lnTo>
                    <a:pt x="4778" y="338796"/>
                  </a:lnTo>
                  <a:cubicBezTo>
                    <a:pt x="52154" y="148500"/>
                    <a:pt x="446140" y="0"/>
                    <a:pt x="925154" y="0"/>
                  </a:cubicBezTo>
                  <a:close/>
                </a:path>
              </a:pathLst>
            </a:custGeom>
            <a:solidFill>
              <a:srgbClr val="59B4D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000" b="1" i="0" u="none" strike="noStrike" kern="0" cap="none" spc="0" normalizeH="0" baseline="0" noProof="0" dirty="0">
                <a:ln>
                  <a:noFill/>
                </a:ln>
                <a:solidFill>
                  <a:schemeClr val="tx1"/>
                </a:solidFill>
                <a:effectLst/>
                <a:uLnTx/>
                <a:uFillTx/>
                <a:latin typeface="+mj-lt"/>
                <a:ea typeface="Segoe UI" pitchFamily="34" charset="0"/>
                <a:cs typeface="Segoe UI" pitchFamily="34" charset="0"/>
              </a:endParaRPr>
            </a:p>
          </p:txBody>
        </p:sp>
        <p:sp>
          <p:nvSpPr>
            <p:cNvPr id="102" name="Rectangle 101"/>
            <p:cNvSpPr/>
            <p:nvPr/>
          </p:nvSpPr>
          <p:spPr bwMode="auto">
            <a:xfrm>
              <a:off x="3029010" y="4057650"/>
              <a:ext cx="498279" cy="2037434"/>
            </a:xfrm>
            <a:prstGeom prst="rect">
              <a:avLst/>
            </a:prstGeom>
            <a:solidFill>
              <a:srgbClr val="3999C6"/>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5439">
                      <a:srgbClr val="F8F8F8"/>
                    </a:gs>
                    <a:gs pos="10000">
                      <a:srgbClr val="F8F8F8"/>
                    </a:gs>
                  </a:gsLst>
                  <a:lin ang="5400000" scaled="0"/>
                </a:gradFill>
                <a:effectLst/>
                <a:uLnTx/>
                <a:uFillTx/>
              </a:endParaRPr>
            </a:p>
          </p:txBody>
        </p:sp>
        <p:sp>
          <p:nvSpPr>
            <p:cNvPr id="103" name="Oval 102"/>
            <p:cNvSpPr/>
            <p:nvPr/>
          </p:nvSpPr>
          <p:spPr bwMode="auto">
            <a:xfrm>
              <a:off x="3029010" y="3853608"/>
              <a:ext cx="1001426" cy="405085"/>
            </a:xfrm>
            <a:prstGeom prst="ellipse">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5439">
                      <a:srgbClr val="F8F8F8"/>
                    </a:gs>
                    <a:gs pos="10000">
                      <a:srgbClr val="F8F8F8"/>
                    </a:gs>
                  </a:gsLst>
                  <a:lin ang="5400000" scaled="0"/>
                </a:gradFill>
                <a:effectLst/>
                <a:uLnTx/>
                <a:uFillTx/>
              </a:endParaRPr>
            </a:p>
          </p:txBody>
        </p:sp>
        <p:sp>
          <p:nvSpPr>
            <p:cNvPr id="104" name="Oval 103"/>
            <p:cNvSpPr/>
            <p:nvPr/>
          </p:nvSpPr>
          <p:spPr bwMode="auto">
            <a:xfrm>
              <a:off x="3130747" y="3939810"/>
              <a:ext cx="797952" cy="232681"/>
            </a:xfrm>
            <a:prstGeom prst="ellipse">
              <a:avLst/>
            </a:prstGeom>
            <a:solidFill>
              <a:srgbClr val="B8D43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5439">
                      <a:srgbClr val="F8F8F8"/>
                    </a:gs>
                    <a:gs pos="10000">
                      <a:srgbClr val="F8F8F8"/>
                    </a:gs>
                  </a:gsLst>
                  <a:lin ang="5400000" scaled="0"/>
                </a:gradFill>
                <a:effectLst/>
                <a:uLnTx/>
                <a:uFillTx/>
              </a:endParaRPr>
            </a:p>
          </p:txBody>
        </p:sp>
        <p:sp>
          <p:nvSpPr>
            <p:cNvPr id="105" name="Freeform: Shape 104"/>
            <p:cNvSpPr/>
            <p:nvPr/>
          </p:nvSpPr>
          <p:spPr bwMode="auto">
            <a:xfrm>
              <a:off x="3222043" y="4080199"/>
              <a:ext cx="615360" cy="90262"/>
            </a:xfrm>
            <a:custGeom>
              <a:avLst/>
              <a:gdLst>
                <a:gd name="connsiteX0" fmla="*/ 307680 w 615360"/>
                <a:gd name="connsiteY0" fmla="*/ 0 h 90262"/>
                <a:gd name="connsiteX1" fmla="*/ 589799 w 615360"/>
                <a:gd name="connsiteY1" fmla="*/ 34076 h 90262"/>
                <a:gd name="connsiteX2" fmla="*/ 615360 w 615360"/>
                <a:gd name="connsiteY2" fmla="*/ 45131 h 90262"/>
                <a:gd name="connsiteX3" fmla="*/ 589799 w 615360"/>
                <a:gd name="connsiteY3" fmla="*/ 56186 h 90262"/>
                <a:gd name="connsiteX4" fmla="*/ 307680 w 615360"/>
                <a:gd name="connsiteY4" fmla="*/ 90262 h 90262"/>
                <a:gd name="connsiteX5" fmla="*/ 25562 w 615360"/>
                <a:gd name="connsiteY5" fmla="*/ 56186 h 90262"/>
                <a:gd name="connsiteX6" fmla="*/ 0 w 615360"/>
                <a:gd name="connsiteY6" fmla="*/ 45131 h 90262"/>
                <a:gd name="connsiteX7" fmla="*/ 25562 w 615360"/>
                <a:gd name="connsiteY7" fmla="*/ 34076 h 90262"/>
                <a:gd name="connsiteX8" fmla="*/ 307680 w 615360"/>
                <a:gd name="connsiteY8" fmla="*/ 0 h 90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15360" h="90262">
                  <a:moveTo>
                    <a:pt x="307680" y="0"/>
                  </a:moveTo>
                  <a:cubicBezTo>
                    <a:pt x="417854" y="0"/>
                    <a:pt x="517598" y="13022"/>
                    <a:pt x="589799" y="34076"/>
                  </a:cubicBezTo>
                  <a:lnTo>
                    <a:pt x="615360" y="45131"/>
                  </a:lnTo>
                  <a:lnTo>
                    <a:pt x="589799" y="56186"/>
                  </a:lnTo>
                  <a:cubicBezTo>
                    <a:pt x="517598" y="77240"/>
                    <a:pt x="417854" y="90262"/>
                    <a:pt x="307680" y="90262"/>
                  </a:cubicBezTo>
                  <a:cubicBezTo>
                    <a:pt x="197506" y="90262"/>
                    <a:pt x="97762" y="77240"/>
                    <a:pt x="25562" y="56186"/>
                  </a:cubicBezTo>
                  <a:lnTo>
                    <a:pt x="0" y="45131"/>
                  </a:lnTo>
                  <a:lnTo>
                    <a:pt x="25562" y="34076"/>
                  </a:lnTo>
                  <a:cubicBezTo>
                    <a:pt x="97762" y="13022"/>
                    <a:pt x="197506" y="0"/>
                    <a:pt x="307680" y="0"/>
                  </a:cubicBezTo>
                  <a:close/>
                </a:path>
              </a:pathLst>
            </a:custGeom>
            <a:solidFill>
              <a:srgbClr val="7FBA0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5439">
                      <a:srgbClr val="F8F8F8"/>
                    </a:gs>
                    <a:gs pos="10000">
                      <a:srgbClr val="F8F8F8"/>
                    </a:gs>
                  </a:gsLst>
                  <a:lin ang="5400000" scaled="0"/>
                </a:gradFill>
                <a:effectLst/>
                <a:uLnTx/>
                <a:uFillTx/>
              </a:endParaRPr>
            </a:p>
          </p:txBody>
        </p:sp>
      </p:grpSp>
      <p:pic>
        <p:nvPicPr>
          <p:cNvPr id="44" name="Graphic 17"/>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686101" y="2247786"/>
            <a:ext cx="700332" cy="700332"/>
          </a:xfrm>
          <a:prstGeom prst="rect">
            <a:avLst/>
          </a:prstGeom>
        </p:spPr>
      </p:pic>
      <p:sp>
        <p:nvSpPr>
          <p:cNvPr id="87" name="Freeform 5"/>
          <p:cNvSpPr>
            <a:spLocks noEditPoints="1"/>
          </p:cNvSpPr>
          <p:nvPr/>
        </p:nvSpPr>
        <p:spPr bwMode="auto">
          <a:xfrm>
            <a:off x="9103552" y="2343881"/>
            <a:ext cx="693174" cy="545523"/>
          </a:xfrm>
          <a:custGeom>
            <a:avLst/>
            <a:gdLst>
              <a:gd name="T0" fmla="*/ 3752 w 5983"/>
              <a:gd name="T1" fmla="*/ 2549 h 4697"/>
              <a:gd name="T2" fmla="*/ 2693 w 5983"/>
              <a:gd name="T3" fmla="*/ 4063 h 4697"/>
              <a:gd name="T4" fmla="*/ 2651 w 5983"/>
              <a:gd name="T5" fmla="*/ 4087 h 4697"/>
              <a:gd name="T6" fmla="*/ 2627 w 5983"/>
              <a:gd name="T7" fmla="*/ 4081 h 4697"/>
              <a:gd name="T8" fmla="*/ 2603 w 5983"/>
              <a:gd name="T9" fmla="*/ 4021 h 4697"/>
              <a:gd name="T10" fmla="*/ 2878 w 5983"/>
              <a:gd name="T11" fmla="*/ 3117 h 4697"/>
              <a:gd name="T12" fmla="*/ 2262 w 5983"/>
              <a:gd name="T13" fmla="*/ 3117 h 4697"/>
              <a:gd name="T14" fmla="*/ 2214 w 5983"/>
              <a:gd name="T15" fmla="*/ 3087 h 4697"/>
              <a:gd name="T16" fmla="*/ 2220 w 5983"/>
              <a:gd name="T17" fmla="*/ 3034 h 4697"/>
              <a:gd name="T18" fmla="*/ 3249 w 5983"/>
              <a:gd name="T19" fmla="*/ 1538 h 4697"/>
              <a:gd name="T20" fmla="*/ 3291 w 5983"/>
              <a:gd name="T21" fmla="*/ 1514 h 4697"/>
              <a:gd name="T22" fmla="*/ 3315 w 5983"/>
              <a:gd name="T23" fmla="*/ 1520 h 4697"/>
              <a:gd name="T24" fmla="*/ 3339 w 5983"/>
              <a:gd name="T25" fmla="*/ 1580 h 4697"/>
              <a:gd name="T26" fmla="*/ 3075 w 5983"/>
              <a:gd name="T27" fmla="*/ 2465 h 4697"/>
              <a:gd name="T28" fmla="*/ 3710 w 5983"/>
              <a:gd name="T29" fmla="*/ 2465 h 4697"/>
              <a:gd name="T30" fmla="*/ 3763 w 5983"/>
              <a:gd name="T31" fmla="*/ 2519 h 4697"/>
              <a:gd name="T32" fmla="*/ 3752 w 5983"/>
              <a:gd name="T33" fmla="*/ 2549 h 4697"/>
              <a:gd name="T34" fmla="*/ 5750 w 5983"/>
              <a:gd name="T35" fmla="*/ 754 h 4697"/>
              <a:gd name="T36" fmla="*/ 0 w 5983"/>
              <a:gd name="T37" fmla="*/ 754 h 4697"/>
              <a:gd name="T38" fmla="*/ 0 w 5983"/>
              <a:gd name="T39" fmla="*/ 4326 h 4697"/>
              <a:gd name="T40" fmla="*/ 371 w 5983"/>
              <a:gd name="T41" fmla="*/ 4697 h 4697"/>
              <a:gd name="T42" fmla="*/ 5612 w 5983"/>
              <a:gd name="T43" fmla="*/ 4697 h 4697"/>
              <a:gd name="T44" fmla="*/ 5983 w 5983"/>
              <a:gd name="T45" fmla="*/ 4326 h 4697"/>
              <a:gd name="T46" fmla="*/ 5983 w 5983"/>
              <a:gd name="T47" fmla="*/ 1095 h 4697"/>
              <a:gd name="T48" fmla="*/ 5750 w 5983"/>
              <a:gd name="T49" fmla="*/ 754 h 4697"/>
              <a:gd name="T50" fmla="*/ 3536 w 5983"/>
              <a:gd name="T51" fmla="*/ 485 h 4697"/>
              <a:gd name="T52" fmla="*/ 3363 w 5983"/>
              <a:gd name="T53" fmla="*/ 186 h 4697"/>
              <a:gd name="T54" fmla="*/ 3040 w 5983"/>
              <a:gd name="T55" fmla="*/ 0 h 4697"/>
              <a:gd name="T56" fmla="*/ 371 w 5983"/>
              <a:gd name="T57" fmla="*/ 0 h 4697"/>
              <a:gd name="T58" fmla="*/ 0 w 5983"/>
              <a:gd name="T59" fmla="*/ 371 h 4697"/>
              <a:gd name="T60" fmla="*/ 0 w 5983"/>
              <a:gd name="T61" fmla="*/ 563 h 4697"/>
              <a:gd name="T62" fmla="*/ 3602 w 5983"/>
              <a:gd name="T63" fmla="*/ 563 h 4697"/>
              <a:gd name="T64" fmla="*/ 3536 w 5983"/>
              <a:gd name="T65" fmla="*/ 485 h 46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983" h="4697">
                <a:moveTo>
                  <a:pt x="3752" y="2549"/>
                </a:moveTo>
                <a:lnTo>
                  <a:pt x="2693" y="4063"/>
                </a:lnTo>
                <a:cubicBezTo>
                  <a:pt x="2681" y="4075"/>
                  <a:pt x="2669" y="4087"/>
                  <a:pt x="2651" y="4087"/>
                </a:cubicBezTo>
                <a:cubicBezTo>
                  <a:pt x="2645" y="4087"/>
                  <a:pt x="2633" y="4087"/>
                  <a:pt x="2627" y="4081"/>
                </a:cubicBezTo>
                <a:cubicBezTo>
                  <a:pt x="2603" y="4069"/>
                  <a:pt x="2591" y="4045"/>
                  <a:pt x="2603" y="4021"/>
                </a:cubicBezTo>
                <a:lnTo>
                  <a:pt x="2878" y="3117"/>
                </a:lnTo>
                <a:lnTo>
                  <a:pt x="2262" y="3117"/>
                </a:lnTo>
                <a:cubicBezTo>
                  <a:pt x="2244" y="3117"/>
                  <a:pt x="2226" y="3105"/>
                  <a:pt x="2214" y="3087"/>
                </a:cubicBezTo>
                <a:cubicBezTo>
                  <a:pt x="2208" y="3070"/>
                  <a:pt x="2208" y="3052"/>
                  <a:pt x="2220" y="3034"/>
                </a:cubicBezTo>
                <a:lnTo>
                  <a:pt x="3249" y="1538"/>
                </a:lnTo>
                <a:cubicBezTo>
                  <a:pt x="3261" y="1526"/>
                  <a:pt x="3273" y="1514"/>
                  <a:pt x="3291" y="1514"/>
                </a:cubicBezTo>
                <a:cubicBezTo>
                  <a:pt x="3297" y="1514"/>
                  <a:pt x="3303" y="1514"/>
                  <a:pt x="3315" y="1520"/>
                </a:cubicBezTo>
                <a:cubicBezTo>
                  <a:pt x="3339" y="1532"/>
                  <a:pt x="3351" y="1556"/>
                  <a:pt x="3339" y="1580"/>
                </a:cubicBezTo>
                <a:lnTo>
                  <a:pt x="3075" y="2465"/>
                </a:lnTo>
                <a:lnTo>
                  <a:pt x="3710" y="2465"/>
                </a:lnTo>
                <a:cubicBezTo>
                  <a:pt x="3740" y="2465"/>
                  <a:pt x="3763" y="2489"/>
                  <a:pt x="3763" y="2519"/>
                </a:cubicBezTo>
                <a:cubicBezTo>
                  <a:pt x="3763" y="2531"/>
                  <a:pt x="3758" y="2537"/>
                  <a:pt x="3752" y="2549"/>
                </a:cubicBezTo>
                <a:close/>
                <a:moveTo>
                  <a:pt x="5750" y="754"/>
                </a:moveTo>
                <a:lnTo>
                  <a:pt x="0" y="754"/>
                </a:lnTo>
                <a:lnTo>
                  <a:pt x="0" y="4326"/>
                </a:lnTo>
                <a:cubicBezTo>
                  <a:pt x="0" y="4529"/>
                  <a:pt x="168" y="4697"/>
                  <a:pt x="371" y="4697"/>
                </a:cubicBezTo>
                <a:lnTo>
                  <a:pt x="5612" y="4697"/>
                </a:lnTo>
                <a:cubicBezTo>
                  <a:pt x="5816" y="4697"/>
                  <a:pt x="5983" y="4529"/>
                  <a:pt x="5983" y="4326"/>
                </a:cubicBezTo>
                <a:lnTo>
                  <a:pt x="5983" y="1095"/>
                </a:lnTo>
                <a:cubicBezTo>
                  <a:pt x="5983" y="946"/>
                  <a:pt x="5887" y="814"/>
                  <a:pt x="5750" y="754"/>
                </a:cubicBezTo>
                <a:close/>
                <a:moveTo>
                  <a:pt x="3536" y="485"/>
                </a:moveTo>
                <a:lnTo>
                  <a:pt x="3363" y="186"/>
                </a:lnTo>
                <a:cubicBezTo>
                  <a:pt x="3297" y="72"/>
                  <a:pt x="3171" y="0"/>
                  <a:pt x="3040" y="0"/>
                </a:cubicBezTo>
                <a:lnTo>
                  <a:pt x="371" y="0"/>
                </a:lnTo>
                <a:cubicBezTo>
                  <a:pt x="168" y="0"/>
                  <a:pt x="0" y="168"/>
                  <a:pt x="0" y="371"/>
                </a:cubicBezTo>
                <a:lnTo>
                  <a:pt x="0" y="563"/>
                </a:lnTo>
                <a:lnTo>
                  <a:pt x="3602" y="563"/>
                </a:lnTo>
                <a:cubicBezTo>
                  <a:pt x="3572" y="545"/>
                  <a:pt x="3554" y="515"/>
                  <a:pt x="3536" y="485"/>
                </a:cubicBezTo>
                <a:close/>
              </a:path>
            </a:pathLst>
          </a:custGeom>
          <a:solidFill>
            <a:srgbClr val="59B4D9"/>
          </a:solidFill>
          <a:ln w="0">
            <a:noFill/>
            <a:prstDash val="solid"/>
            <a:round/>
            <a:headEnd/>
            <a:tailEnd/>
          </a:ln>
        </p:spPr>
        <p:txBody>
          <a:bodyPr vert="horz" wrap="square" lIns="74702" tIns="37351" rIns="74702" bIns="37351" numCol="1" anchor="t" anchorCtr="0" compatLnSpc="1">
            <a:prstTxWarp prst="textNoShape">
              <a:avLst/>
            </a:prstTxWarp>
          </a:bodyPr>
          <a:lstStyle/>
          <a:p>
            <a:pPr marL="0" marR="0" lvl="0" indent="0" defTabSz="896350" eaLnBrk="1" fontAlgn="base" latinLnBrk="0" hangingPunct="1">
              <a:lnSpc>
                <a:spcPct val="100000"/>
              </a:lnSpc>
              <a:spcBef>
                <a:spcPct val="0"/>
              </a:spcBef>
              <a:spcAft>
                <a:spcPct val="0"/>
              </a:spcAft>
              <a:buClrTx/>
              <a:buSzTx/>
              <a:buFontTx/>
              <a:buNone/>
              <a:tabLst/>
              <a:defRPr/>
            </a:pPr>
            <a:endParaRPr kumimoji="0" lang="en-US" sz="2353" b="0" i="0" u="none" strike="noStrike" kern="0" cap="none" spc="0" normalizeH="0" baseline="0" noProof="0">
              <a:ln>
                <a:noFill/>
              </a:ln>
              <a:solidFill>
                <a:prstClr val="white"/>
              </a:solidFill>
              <a:effectLst/>
              <a:uLnTx/>
              <a:uFillTx/>
            </a:endParaRPr>
          </a:p>
        </p:txBody>
      </p:sp>
      <p:pic>
        <p:nvPicPr>
          <p:cNvPr id="1026" name="Picture 2" descr="https://azure.microsoft.com/svghandler/dns/?width=600&amp;height=315"/>
          <p:cNvPicPr>
            <a:picLocks noChangeAspect="1" noChangeArrowheads="1"/>
          </p:cNvPicPr>
          <p:nvPr/>
        </p:nvPicPr>
        <p:blipFill rotWithShape="1">
          <a:blip r:embed="rId7" cstate="print">
            <a:extLst>
              <a:ext uri="{28A0092B-C50C-407E-A947-70E740481C1C}">
                <a14:useLocalDpi xmlns:a14="http://schemas.microsoft.com/office/drawing/2010/main" val="0"/>
              </a:ext>
            </a:extLst>
          </a:blip>
          <a:srcRect l="8141" r="8141"/>
          <a:stretch/>
        </p:blipFill>
        <p:spPr bwMode="auto">
          <a:xfrm>
            <a:off x="670566" y="2343882"/>
            <a:ext cx="858888" cy="53861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4110059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269239" y="1017478"/>
            <a:ext cx="7451061" cy="416383"/>
          </a:xfrm>
          <a:prstGeom prst="rect">
            <a:avLst/>
          </a:prstGeom>
        </p:spPr>
        <p:txBody>
          <a:bodyPr wrap="square">
            <a:spAutoFit/>
          </a:bodyPr>
          <a:lstStyle/>
          <a:p>
            <a:pPr marL="0" marR="0" lvl="0" indent="0" defTabSz="895710" eaLnBrk="1" fontAlgn="auto" latinLnBrk="0" hangingPunct="1">
              <a:lnSpc>
                <a:spcPct val="90000"/>
              </a:lnSpc>
              <a:spcBef>
                <a:spcPts val="1174"/>
              </a:spcBef>
              <a:spcAft>
                <a:spcPts val="0"/>
              </a:spcAft>
              <a:buClrTx/>
              <a:buSzTx/>
              <a:buFontTx/>
              <a:buNone/>
              <a:tabLst/>
              <a:defRPr/>
            </a:pPr>
            <a:r>
              <a:rPr kumimoji="0" lang="en-US" sz="2353" b="0" i="0" u="none" strike="noStrike" kern="0" cap="none" spc="0" normalizeH="0" baseline="0" noProof="0" dirty="0">
                <a:ln>
                  <a:noFill/>
                </a:ln>
                <a:solidFill>
                  <a:schemeClr val="accent1"/>
                </a:solidFill>
                <a:effectLst/>
                <a:uLnTx/>
                <a:uFillTx/>
                <a:latin typeface="Segoe UI Semilight" panose="020B0402040204020203" pitchFamily="34" charset="0"/>
                <a:ea typeface="Segoe UI" pitchFamily="34" charset="0"/>
                <a:cs typeface="Segoe UI Semilight" panose="020B0402040204020203" pitchFamily="34" charset="0"/>
              </a:rPr>
              <a:t> Compose, orchestrate &amp; monitor data services at scale</a:t>
            </a:r>
          </a:p>
        </p:txBody>
      </p:sp>
      <p:sp>
        <p:nvSpPr>
          <p:cNvPr id="2" name="Text Placeholder 1"/>
          <p:cNvSpPr>
            <a:spLocks noGrp="1"/>
          </p:cNvSpPr>
          <p:nvPr>
            <p:ph type="body" sz="quarter" idx="10"/>
          </p:nvPr>
        </p:nvSpPr>
        <p:spPr>
          <a:xfrm>
            <a:off x="269240" y="1695143"/>
            <a:ext cx="7308816" cy="2326791"/>
          </a:xfrm>
        </p:spPr>
        <p:txBody>
          <a:bodyPr/>
          <a:lstStyle/>
          <a:p>
            <a:pPr>
              <a:lnSpc>
                <a:spcPct val="100000"/>
              </a:lnSpc>
              <a:buClr>
                <a:schemeClr val="accent2"/>
              </a:buClr>
            </a:pPr>
            <a:r>
              <a:rPr lang="en-US" sz="2400" dirty="0"/>
              <a:t>Fully managed service</a:t>
            </a:r>
          </a:p>
          <a:p>
            <a:pPr>
              <a:lnSpc>
                <a:spcPct val="100000"/>
              </a:lnSpc>
              <a:buClr>
                <a:schemeClr val="accent2"/>
              </a:buClr>
            </a:pPr>
            <a:r>
              <a:rPr lang="en-US" sz="2400" dirty="0"/>
              <a:t>Any data on-premises or in the cloud</a:t>
            </a:r>
          </a:p>
          <a:p>
            <a:pPr>
              <a:lnSpc>
                <a:spcPct val="100000"/>
              </a:lnSpc>
              <a:buClr>
                <a:schemeClr val="accent2"/>
              </a:buClr>
            </a:pPr>
            <a:r>
              <a:rPr lang="en-US" sz="2400" dirty="0"/>
              <a:t>Single pane of glass management</a:t>
            </a:r>
          </a:p>
          <a:p>
            <a:pPr>
              <a:lnSpc>
                <a:spcPct val="100000"/>
              </a:lnSpc>
              <a:buClr>
                <a:schemeClr val="accent2"/>
              </a:buClr>
            </a:pPr>
            <a:r>
              <a:rPr lang="en-US" sz="2400" dirty="0"/>
              <a:t>Global service infrastructure</a:t>
            </a:r>
          </a:p>
          <a:p>
            <a:pPr>
              <a:lnSpc>
                <a:spcPct val="100000"/>
              </a:lnSpc>
              <a:buClr>
                <a:schemeClr val="accent2"/>
              </a:buClr>
            </a:pPr>
            <a:r>
              <a:rPr lang="en-US" sz="2400" dirty="0"/>
              <a:t>Cost Effective</a:t>
            </a:r>
          </a:p>
        </p:txBody>
      </p:sp>
      <p:sp>
        <p:nvSpPr>
          <p:cNvPr id="5" name="Title 4"/>
          <p:cNvSpPr>
            <a:spLocks noGrp="1"/>
          </p:cNvSpPr>
          <p:nvPr>
            <p:ph type="title"/>
          </p:nvPr>
        </p:nvSpPr>
        <p:spPr/>
        <p:txBody>
          <a:bodyPr/>
          <a:lstStyle/>
          <a:p>
            <a:r>
              <a:rPr lang="en-US" dirty="0"/>
              <a:t>Azure Data Factory</a:t>
            </a:r>
          </a:p>
        </p:txBody>
      </p:sp>
      <p:grpSp>
        <p:nvGrpSpPr>
          <p:cNvPr id="7" name="Group 6"/>
          <p:cNvGrpSpPr/>
          <p:nvPr/>
        </p:nvGrpSpPr>
        <p:grpSpPr>
          <a:xfrm>
            <a:off x="269238" y="4447965"/>
            <a:ext cx="7383053" cy="2274562"/>
            <a:chOff x="5684044" y="4768163"/>
            <a:chExt cx="6343712" cy="1954363"/>
          </a:xfrm>
        </p:grpSpPr>
        <p:grpSp>
          <p:nvGrpSpPr>
            <p:cNvPr id="402" name="Group 401"/>
            <p:cNvGrpSpPr/>
            <p:nvPr/>
          </p:nvGrpSpPr>
          <p:grpSpPr>
            <a:xfrm>
              <a:off x="5920438" y="6259336"/>
              <a:ext cx="43563" cy="457200"/>
              <a:chOff x="3051992" y="5721016"/>
              <a:chExt cx="43563" cy="612981"/>
            </a:xfrm>
          </p:grpSpPr>
          <p:sp>
            <p:nvSpPr>
              <p:cNvPr id="378" name="Rectangle 70"/>
              <p:cNvSpPr>
                <a:spLocks noChangeArrowheads="1"/>
              </p:cNvSpPr>
              <p:nvPr/>
            </p:nvSpPr>
            <p:spPr bwMode="auto">
              <a:xfrm>
                <a:off x="3051992" y="5721016"/>
                <a:ext cx="43562" cy="612981"/>
              </a:xfrm>
              <a:prstGeom prst="rect">
                <a:avLst/>
              </a:prstGeom>
              <a:solidFill>
                <a:srgbClr val="409AE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79" name="Rectangle 71"/>
              <p:cNvSpPr>
                <a:spLocks noChangeArrowheads="1"/>
              </p:cNvSpPr>
              <p:nvPr/>
            </p:nvSpPr>
            <p:spPr bwMode="auto">
              <a:xfrm>
                <a:off x="3073773" y="5721016"/>
                <a:ext cx="21782" cy="612981"/>
              </a:xfrm>
              <a:prstGeom prst="rect">
                <a:avLst/>
              </a:prstGeom>
              <a:solidFill>
                <a:srgbClr val="409AE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grpSp>
          <p:nvGrpSpPr>
            <p:cNvPr id="400" name="Group 399"/>
            <p:cNvGrpSpPr/>
            <p:nvPr/>
          </p:nvGrpSpPr>
          <p:grpSpPr>
            <a:xfrm rot="20700000">
              <a:off x="5684044" y="6078791"/>
              <a:ext cx="1441230" cy="192917"/>
              <a:chOff x="1893715" y="5528099"/>
              <a:chExt cx="1413429" cy="192917"/>
            </a:xfrm>
          </p:grpSpPr>
          <p:sp>
            <p:nvSpPr>
              <p:cNvPr id="366" name="Freeform 45"/>
              <p:cNvSpPr>
                <a:spLocks/>
              </p:cNvSpPr>
              <p:nvPr/>
            </p:nvSpPr>
            <p:spPr bwMode="auto">
              <a:xfrm>
                <a:off x="1893715" y="5528099"/>
                <a:ext cx="1388536" cy="161802"/>
              </a:xfrm>
              <a:custGeom>
                <a:avLst/>
                <a:gdLst>
                  <a:gd name="T0" fmla="*/ 28 w 445"/>
                  <a:gd name="T1" fmla="*/ 56 h 56"/>
                  <a:gd name="T2" fmla="*/ 417 w 445"/>
                  <a:gd name="T3" fmla="*/ 56 h 56"/>
                  <a:gd name="T4" fmla="*/ 445 w 445"/>
                  <a:gd name="T5" fmla="*/ 28 h 56"/>
                  <a:gd name="T6" fmla="*/ 417 w 445"/>
                  <a:gd name="T7" fmla="*/ 0 h 56"/>
                  <a:gd name="T8" fmla="*/ 28 w 445"/>
                  <a:gd name="T9" fmla="*/ 0 h 56"/>
                  <a:gd name="T10" fmla="*/ 0 w 445"/>
                  <a:gd name="T11" fmla="*/ 28 h 56"/>
                  <a:gd name="T12" fmla="*/ 28 w 445"/>
                  <a:gd name="T13" fmla="*/ 56 h 56"/>
                </a:gdLst>
                <a:ahLst/>
                <a:cxnLst>
                  <a:cxn ang="0">
                    <a:pos x="T0" y="T1"/>
                  </a:cxn>
                  <a:cxn ang="0">
                    <a:pos x="T2" y="T3"/>
                  </a:cxn>
                  <a:cxn ang="0">
                    <a:pos x="T4" y="T5"/>
                  </a:cxn>
                  <a:cxn ang="0">
                    <a:pos x="T6" y="T7"/>
                  </a:cxn>
                  <a:cxn ang="0">
                    <a:pos x="T8" y="T9"/>
                  </a:cxn>
                  <a:cxn ang="0">
                    <a:pos x="T10" y="T11"/>
                  </a:cxn>
                  <a:cxn ang="0">
                    <a:pos x="T12" y="T13"/>
                  </a:cxn>
                </a:cxnLst>
                <a:rect l="0" t="0" r="r" b="b"/>
                <a:pathLst>
                  <a:path w="445" h="56">
                    <a:moveTo>
                      <a:pt x="28" y="56"/>
                    </a:moveTo>
                    <a:cubicBezTo>
                      <a:pt x="417" y="56"/>
                      <a:pt x="417" y="56"/>
                      <a:pt x="417" y="56"/>
                    </a:cubicBezTo>
                    <a:cubicBezTo>
                      <a:pt x="432" y="56"/>
                      <a:pt x="445" y="44"/>
                      <a:pt x="445" y="28"/>
                    </a:cubicBezTo>
                    <a:cubicBezTo>
                      <a:pt x="445" y="13"/>
                      <a:pt x="432" y="0"/>
                      <a:pt x="417" y="0"/>
                    </a:cubicBezTo>
                    <a:cubicBezTo>
                      <a:pt x="28" y="0"/>
                      <a:pt x="28" y="0"/>
                      <a:pt x="28" y="0"/>
                    </a:cubicBezTo>
                    <a:cubicBezTo>
                      <a:pt x="12" y="0"/>
                      <a:pt x="0" y="13"/>
                      <a:pt x="0" y="28"/>
                    </a:cubicBezTo>
                    <a:cubicBezTo>
                      <a:pt x="0" y="44"/>
                      <a:pt x="12" y="56"/>
                      <a:pt x="28" y="56"/>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67" name="Freeform 46"/>
              <p:cNvSpPr>
                <a:spLocks/>
              </p:cNvSpPr>
              <p:nvPr/>
            </p:nvSpPr>
            <p:spPr bwMode="auto">
              <a:xfrm>
                <a:off x="1918608" y="5559214"/>
                <a:ext cx="1388536" cy="161802"/>
              </a:xfrm>
              <a:custGeom>
                <a:avLst/>
                <a:gdLst>
                  <a:gd name="T0" fmla="*/ 28 w 445"/>
                  <a:gd name="T1" fmla="*/ 56 h 56"/>
                  <a:gd name="T2" fmla="*/ 417 w 445"/>
                  <a:gd name="T3" fmla="*/ 56 h 56"/>
                  <a:gd name="T4" fmla="*/ 445 w 445"/>
                  <a:gd name="T5" fmla="*/ 28 h 56"/>
                  <a:gd name="T6" fmla="*/ 417 w 445"/>
                  <a:gd name="T7" fmla="*/ 0 h 56"/>
                  <a:gd name="T8" fmla="*/ 28 w 445"/>
                  <a:gd name="T9" fmla="*/ 0 h 56"/>
                  <a:gd name="T10" fmla="*/ 0 w 445"/>
                  <a:gd name="T11" fmla="*/ 28 h 56"/>
                  <a:gd name="T12" fmla="*/ 28 w 445"/>
                  <a:gd name="T13" fmla="*/ 56 h 56"/>
                </a:gdLst>
                <a:ahLst/>
                <a:cxnLst>
                  <a:cxn ang="0">
                    <a:pos x="T0" y="T1"/>
                  </a:cxn>
                  <a:cxn ang="0">
                    <a:pos x="T2" y="T3"/>
                  </a:cxn>
                  <a:cxn ang="0">
                    <a:pos x="T4" y="T5"/>
                  </a:cxn>
                  <a:cxn ang="0">
                    <a:pos x="T6" y="T7"/>
                  </a:cxn>
                  <a:cxn ang="0">
                    <a:pos x="T8" y="T9"/>
                  </a:cxn>
                  <a:cxn ang="0">
                    <a:pos x="T10" y="T11"/>
                  </a:cxn>
                  <a:cxn ang="0">
                    <a:pos x="T12" y="T13"/>
                  </a:cxn>
                </a:cxnLst>
                <a:rect l="0" t="0" r="r" b="b"/>
                <a:pathLst>
                  <a:path w="445" h="56">
                    <a:moveTo>
                      <a:pt x="28" y="56"/>
                    </a:moveTo>
                    <a:cubicBezTo>
                      <a:pt x="417" y="56"/>
                      <a:pt x="417" y="56"/>
                      <a:pt x="417" y="56"/>
                    </a:cubicBezTo>
                    <a:cubicBezTo>
                      <a:pt x="432" y="56"/>
                      <a:pt x="445" y="43"/>
                      <a:pt x="445" y="28"/>
                    </a:cubicBezTo>
                    <a:cubicBezTo>
                      <a:pt x="445" y="13"/>
                      <a:pt x="432" y="0"/>
                      <a:pt x="417" y="0"/>
                    </a:cubicBezTo>
                    <a:cubicBezTo>
                      <a:pt x="28" y="0"/>
                      <a:pt x="28" y="0"/>
                      <a:pt x="28" y="0"/>
                    </a:cubicBezTo>
                    <a:cubicBezTo>
                      <a:pt x="12" y="0"/>
                      <a:pt x="0" y="13"/>
                      <a:pt x="0" y="28"/>
                    </a:cubicBezTo>
                    <a:cubicBezTo>
                      <a:pt x="0" y="43"/>
                      <a:pt x="12" y="56"/>
                      <a:pt x="28" y="56"/>
                    </a:cubicBez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69" name="Oval 59"/>
              <p:cNvSpPr>
                <a:spLocks noChangeArrowheads="1"/>
              </p:cNvSpPr>
              <p:nvPr/>
            </p:nvSpPr>
            <p:spPr bwMode="auto">
              <a:xfrm>
                <a:off x="3142229" y="5609000"/>
                <a:ext cx="62231" cy="65344"/>
              </a:xfrm>
              <a:prstGeom prst="ellipse">
                <a:avLst/>
              </a:prstGeom>
              <a:solidFill>
                <a:srgbClr val="0011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70" name="Oval 60"/>
              <p:cNvSpPr>
                <a:spLocks noChangeArrowheads="1"/>
              </p:cNvSpPr>
              <p:nvPr/>
            </p:nvSpPr>
            <p:spPr bwMode="auto">
              <a:xfrm>
                <a:off x="3036435" y="5609000"/>
                <a:ext cx="68454" cy="65344"/>
              </a:xfrm>
              <a:prstGeom prst="ellipse">
                <a:avLst/>
              </a:prstGeom>
              <a:solidFill>
                <a:srgbClr val="0011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71" name="Oval 61"/>
              <p:cNvSpPr>
                <a:spLocks noChangeArrowheads="1"/>
              </p:cNvSpPr>
              <p:nvPr/>
            </p:nvSpPr>
            <p:spPr bwMode="auto">
              <a:xfrm>
                <a:off x="2936865" y="5609000"/>
                <a:ext cx="62231" cy="65344"/>
              </a:xfrm>
              <a:prstGeom prst="ellipse">
                <a:avLst/>
              </a:prstGeom>
              <a:solidFill>
                <a:srgbClr val="0011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72" name="Oval 62"/>
              <p:cNvSpPr>
                <a:spLocks noChangeArrowheads="1"/>
              </p:cNvSpPr>
              <p:nvPr/>
            </p:nvSpPr>
            <p:spPr bwMode="auto">
              <a:xfrm>
                <a:off x="2834182" y="5609000"/>
                <a:ext cx="65344" cy="65344"/>
              </a:xfrm>
              <a:prstGeom prst="ellipse">
                <a:avLst/>
              </a:prstGeom>
              <a:solidFill>
                <a:srgbClr val="0011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73" name="Oval 63"/>
              <p:cNvSpPr>
                <a:spLocks noChangeArrowheads="1"/>
              </p:cNvSpPr>
              <p:nvPr/>
            </p:nvSpPr>
            <p:spPr bwMode="auto">
              <a:xfrm>
                <a:off x="2728387" y="5609000"/>
                <a:ext cx="68454" cy="65344"/>
              </a:xfrm>
              <a:prstGeom prst="ellipse">
                <a:avLst/>
              </a:prstGeom>
              <a:solidFill>
                <a:srgbClr val="0011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74" name="Oval 64"/>
              <p:cNvSpPr>
                <a:spLocks noChangeArrowheads="1"/>
              </p:cNvSpPr>
              <p:nvPr/>
            </p:nvSpPr>
            <p:spPr bwMode="auto">
              <a:xfrm>
                <a:off x="2628817" y="5609000"/>
                <a:ext cx="62231" cy="65344"/>
              </a:xfrm>
              <a:prstGeom prst="ellipse">
                <a:avLst/>
              </a:prstGeom>
              <a:solidFill>
                <a:srgbClr val="0011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75" name="Oval 65"/>
              <p:cNvSpPr>
                <a:spLocks noChangeArrowheads="1"/>
              </p:cNvSpPr>
              <p:nvPr/>
            </p:nvSpPr>
            <p:spPr bwMode="auto">
              <a:xfrm>
                <a:off x="2526136" y="5609000"/>
                <a:ext cx="65344" cy="65344"/>
              </a:xfrm>
              <a:prstGeom prst="ellipse">
                <a:avLst/>
              </a:prstGeom>
              <a:solidFill>
                <a:srgbClr val="0011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76" name="Oval 66"/>
              <p:cNvSpPr>
                <a:spLocks noChangeArrowheads="1"/>
              </p:cNvSpPr>
              <p:nvPr/>
            </p:nvSpPr>
            <p:spPr bwMode="auto">
              <a:xfrm>
                <a:off x="2426565" y="5609000"/>
                <a:ext cx="62231" cy="65344"/>
              </a:xfrm>
              <a:prstGeom prst="ellipse">
                <a:avLst/>
              </a:prstGeom>
              <a:solidFill>
                <a:srgbClr val="0011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77" name="Oval 67"/>
              <p:cNvSpPr>
                <a:spLocks noChangeArrowheads="1"/>
              </p:cNvSpPr>
              <p:nvPr/>
            </p:nvSpPr>
            <p:spPr bwMode="auto">
              <a:xfrm>
                <a:off x="2320772" y="5609000"/>
                <a:ext cx="62231" cy="65344"/>
              </a:xfrm>
              <a:prstGeom prst="ellipse">
                <a:avLst/>
              </a:prstGeom>
              <a:solidFill>
                <a:srgbClr val="0011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81" name="Oval 66"/>
              <p:cNvSpPr>
                <a:spLocks noChangeArrowheads="1"/>
              </p:cNvSpPr>
              <p:nvPr/>
            </p:nvSpPr>
            <p:spPr bwMode="auto">
              <a:xfrm>
                <a:off x="2204853" y="5609000"/>
                <a:ext cx="62231" cy="65344"/>
              </a:xfrm>
              <a:prstGeom prst="ellipse">
                <a:avLst/>
              </a:prstGeom>
              <a:solidFill>
                <a:srgbClr val="0011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82" name="Oval 67"/>
              <p:cNvSpPr>
                <a:spLocks noChangeArrowheads="1"/>
              </p:cNvSpPr>
              <p:nvPr/>
            </p:nvSpPr>
            <p:spPr bwMode="auto">
              <a:xfrm>
                <a:off x="2099060" y="5609000"/>
                <a:ext cx="62231" cy="65344"/>
              </a:xfrm>
              <a:prstGeom prst="ellipse">
                <a:avLst/>
              </a:prstGeom>
              <a:solidFill>
                <a:srgbClr val="0011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99" name="Oval 67"/>
              <p:cNvSpPr>
                <a:spLocks noChangeArrowheads="1"/>
              </p:cNvSpPr>
              <p:nvPr/>
            </p:nvSpPr>
            <p:spPr bwMode="auto">
              <a:xfrm>
                <a:off x="1993198" y="5609000"/>
                <a:ext cx="62231" cy="65344"/>
              </a:xfrm>
              <a:prstGeom prst="ellipse">
                <a:avLst/>
              </a:prstGeom>
              <a:solidFill>
                <a:srgbClr val="0011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grpSp>
          <p:nvGrpSpPr>
            <p:cNvPr id="416" name="Group 415"/>
            <p:cNvGrpSpPr/>
            <p:nvPr/>
          </p:nvGrpSpPr>
          <p:grpSpPr>
            <a:xfrm>
              <a:off x="5855901" y="5416083"/>
              <a:ext cx="223641" cy="290782"/>
              <a:chOff x="6018431" y="4604879"/>
              <a:chExt cx="285201" cy="370823"/>
            </a:xfrm>
            <a:solidFill>
              <a:schemeClr val="accent4"/>
            </a:solidFill>
          </p:grpSpPr>
          <p:sp>
            <p:nvSpPr>
              <p:cNvPr id="70" name="Freeform 5"/>
              <p:cNvSpPr>
                <a:spLocks/>
              </p:cNvSpPr>
              <p:nvPr/>
            </p:nvSpPr>
            <p:spPr bwMode="auto">
              <a:xfrm>
                <a:off x="6018431" y="4867853"/>
                <a:ext cx="40968" cy="104894"/>
              </a:xfrm>
              <a:custGeom>
                <a:avLst/>
                <a:gdLst>
                  <a:gd name="T0" fmla="*/ 40 w 40"/>
                  <a:gd name="T1" fmla="*/ 0 h 111"/>
                  <a:gd name="T2" fmla="*/ 40 w 40"/>
                  <a:gd name="T3" fmla="*/ 111 h 111"/>
                  <a:gd name="T4" fmla="*/ 23 w 40"/>
                  <a:gd name="T5" fmla="*/ 111 h 111"/>
                  <a:gd name="T6" fmla="*/ 23 w 40"/>
                  <a:gd name="T7" fmla="*/ 21 h 111"/>
                  <a:gd name="T8" fmla="*/ 12 w 40"/>
                  <a:gd name="T9" fmla="*/ 27 h 111"/>
                  <a:gd name="T10" fmla="*/ 0 w 40"/>
                  <a:gd name="T11" fmla="*/ 31 h 111"/>
                  <a:gd name="T12" fmla="*/ 0 w 40"/>
                  <a:gd name="T13" fmla="*/ 16 h 111"/>
                  <a:gd name="T14" fmla="*/ 8 w 40"/>
                  <a:gd name="T15" fmla="*/ 13 h 111"/>
                  <a:gd name="T16" fmla="*/ 16 w 40"/>
                  <a:gd name="T17" fmla="*/ 10 h 111"/>
                  <a:gd name="T18" fmla="*/ 24 w 40"/>
                  <a:gd name="T19" fmla="*/ 5 h 111"/>
                  <a:gd name="T20" fmla="*/ 33 w 40"/>
                  <a:gd name="T21" fmla="*/ 0 h 111"/>
                  <a:gd name="T22" fmla="*/ 40 w 40"/>
                  <a:gd name="T23" fmla="*/ 0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0" h="111">
                    <a:moveTo>
                      <a:pt x="40" y="0"/>
                    </a:moveTo>
                    <a:cubicBezTo>
                      <a:pt x="40" y="111"/>
                      <a:pt x="40" y="111"/>
                      <a:pt x="40" y="111"/>
                    </a:cubicBezTo>
                    <a:cubicBezTo>
                      <a:pt x="23" y="111"/>
                      <a:pt x="23" y="111"/>
                      <a:pt x="23" y="111"/>
                    </a:cubicBezTo>
                    <a:cubicBezTo>
                      <a:pt x="23" y="21"/>
                      <a:pt x="23" y="21"/>
                      <a:pt x="23" y="21"/>
                    </a:cubicBezTo>
                    <a:cubicBezTo>
                      <a:pt x="19" y="23"/>
                      <a:pt x="16" y="25"/>
                      <a:pt x="12" y="27"/>
                    </a:cubicBezTo>
                    <a:cubicBezTo>
                      <a:pt x="9" y="29"/>
                      <a:pt x="5" y="30"/>
                      <a:pt x="0" y="31"/>
                    </a:cubicBezTo>
                    <a:cubicBezTo>
                      <a:pt x="0" y="16"/>
                      <a:pt x="0" y="16"/>
                      <a:pt x="0" y="16"/>
                    </a:cubicBezTo>
                    <a:cubicBezTo>
                      <a:pt x="3" y="15"/>
                      <a:pt x="6" y="14"/>
                      <a:pt x="8" y="13"/>
                    </a:cubicBezTo>
                    <a:cubicBezTo>
                      <a:pt x="11" y="12"/>
                      <a:pt x="14" y="11"/>
                      <a:pt x="16" y="10"/>
                    </a:cubicBezTo>
                    <a:cubicBezTo>
                      <a:pt x="19" y="8"/>
                      <a:pt x="22" y="7"/>
                      <a:pt x="24" y="5"/>
                    </a:cubicBezTo>
                    <a:cubicBezTo>
                      <a:pt x="27" y="4"/>
                      <a:pt x="30" y="2"/>
                      <a:pt x="33" y="0"/>
                    </a:cubicBezTo>
                    <a:lnTo>
                      <a:pt x="4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3" tIns="46616" rIns="93233" bIns="46616" numCol="1" anchor="t" anchorCtr="0" compatLnSpc="1">
                <a:prstTxWarp prst="textNoShape">
                  <a:avLst/>
                </a:prstTxWarp>
              </a:bodyPr>
              <a:lstStyle/>
              <a:p>
                <a:pPr marL="0" marR="0" lvl="0" indent="0" defTabSz="914192" eaLnBrk="1" fontAlgn="auto" latinLnBrk="0" hangingPunct="1">
                  <a:lnSpc>
                    <a:spcPct val="100000"/>
                  </a:lnSpc>
                  <a:spcBef>
                    <a:spcPts val="0"/>
                  </a:spcBef>
                  <a:spcAft>
                    <a:spcPts val="0"/>
                  </a:spcAft>
                  <a:buClrTx/>
                  <a:buSzTx/>
                  <a:buFontTx/>
                  <a:buNone/>
                  <a:tabLst/>
                  <a:defRPr/>
                </a:pPr>
                <a:endParaRPr kumimoji="0" lang="en-US" sz="2448" b="0" i="0" u="none" strike="noStrike" kern="0" cap="none" spc="0" normalizeH="0" baseline="0" noProof="0" dirty="0">
                  <a:ln>
                    <a:noFill/>
                  </a:ln>
                  <a:solidFill>
                    <a:sysClr val="windowText" lastClr="000000"/>
                  </a:solidFill>
                  <a:effectLst/>
                  <a:uLnTx/>
                  <a:uFillTx/>
                  <a:latin typeface="Segoe UI"/>
                  <a:ea typeface="MS PGothic" charset="0"/>
                </a:endParaRPr>
              </a:p>
            </p:txBody>
          </p:sp>
          <p:sp>
            <p:nvSpPr>
              <p:cNvPr id="71" name="Freeform 6"/>
              <p:cNvSpPr>
                <a:spLocks/>
              </p:cNvSpPr>
              <p:nvPr/>
            </p:nvSpPr>
            <p:spPr bwMode="auto">
              <a:xfrm>
                <a:off x="6018431" y="4737843"/>
                <a:ext cx="40968" cy="106372"/>
              </a:xfrm>
              <a:custGeom>
                <a:avLst/>
                <a:gdLst>
                  <a:gd name="T0" fmla="*/ 40 w 40"/>
                  <a:gd name="T1" fmla="*/ 0 h 112"/>
                  <a:gd name="T2" fmla="*/ 40 w 40"/>
                  <a:gd name="T3" fmla="*/ 112 h 112"/>
                  <a:gd name="T4" fmla="*/ 23 w 40"/>
                  <a:gd name="T5" fmla="*/ 112 h 112"/>
                  <a:gd name="T6" fmla="*/ 23 w 40"/>
                  <a:gd name="T7" fmla="*/ 22 h 112"/>
                  <a:gd name="T8" fmla="*/ 12 w 40"/>
                  <a:gd name="T9" fmla="*/ 28 h 112"/>
                  <a:gd name="T10" fmla="*/ 0 w 40"/>
                  <a:gd name="T11" fmla="*/ 32 h 112"/>
                  <a:gd name="T12" fmla="*/ 0 w 40"/>
                  <a:gd name="T13" fmla="*/ 17 h 112"/>
                  <a:gd name="T14" fmla="*/ 8 w 40"/>
                  <a:gd name="T15" fmla="*/ 14 h 112"/>
                  <a:gd name="T16" fmla="*/ 16 w 40"/>
                  <a:gd name="T17" fmla="*/ 10 h 112"/>
                  <a:gd name="T18" fmla="*/ 24 w 40"/>
                  <a:gd name="T19" fmla="*/ 6 h 112"/>
                  <a:gd name="T20" fmla="*/ 33 w 40"/>
                  <a:gd name="T21" fmla="*/ 0 h 112"/>
                  <a:gd name="T22" fmla="*/ 40 w 40"/>
                  <a:gd name="T23" fmla="*/ 0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0" h="112">
                    <a:moveTo>
                      <a:pt x="40" y="0"/>
                    </a:moveTo>
                    <a:cubicBezTo>
                      <a:pt x="40" y="112"/>
                      <a:pt x="40" y="112"/>
                      <a:pt x="40" y="112"/>
                    </a:cubicBezTo>
                    <a:cubicBezTo>
                      <a:pt x="23" y="112"/>
                      <a:pt x="23" y="112"/>
                      <a:pt x="23" y="112"/>
                    </a:cubicBezTo>
                    <a:cubicBezTo>
                      <a:pt x="23" y="22"/>
                      <a:pt x="23" y="22"/>
                      <a:pt x="23" y="22"/>
                    </a:cubicBezTo>
                    <a:cubicBezTo>
                      <a:pt x="19" y="24"/>
                      <a:pt x="16" y="26"/>
                      <a:pt x="12" y="28"/>
                    </a:cubicBezTo>
                    <a:cubicBezTo>
                      <a:pt x="9" y="29"/>
                      <a:pt x="5" y="31"/>
                      <a:pt x="0" y="32"/>
                    </a:cubicBezTo>
                    <a:cubicBezTo>
                      <a:pt x="0" y="17"/>
                      <a:pt x="0" y="17"/>
                      <a:pt x="0" y="17"/>
                    </a:cubicBezTo>
                    <a:cubicBezTo>
                      <a:pt x="3" y="16"/>
                      <a:pt x="6" y="15"/>
                      <a:pt x="8" y="14"/>
                    </a:cubicBezTo>
                    <a:cubicBezTo>
                      <a:pt x="11" y="13"/>
                      <a:pt x="14" y="12"/>
                      <a:pt x="16" y="10"/>
                    </a:cubicBezTo>
                    <a:cubicBezTo>
                      <a:pt x="19" y="9"/>
                      <a:pt x="22" y="8"/>
                      <a:pt x="24" y="6"/>
                    </a:cubicBezTo>
                    <a:cubicBezTo>
                      <a:pt x="27" y="4"/>
                      <a:pt x="30" y="2"/>
                      <a:pt x="33" y="0"/>
                    </a:cubicBezTo>
                    <a:lnTo>
                      <a:pt x="4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3" tIns="46616" rIns="93233" bIns="46616" numCol="1" anchor="t" anchorCtr="0" compatLnSpc="1">
                <a:prstTxWarp prst="textNoShape">
                  <a:avLst/>
                </a:prstTxWarp>
              </a:bodyPr>
              <a:lstStyle/>
              <a:p>
                <a:pPr marL="0" marR="0" lvl="0" indent="0" defTabSz="914192" eaLnBrk="1" fontAlgn="auto" latinLnBrk="0" hangingPunct="1">
                  <a:lnSpc>
                    <a:spcPct val="100000"/>
                  </a:lnSpc>
                  <a:spcBef>
                    <a:spcPts val="0"/>
                  </a:spcBef>
                  <a:spcAft>
                    <a:spcPts val="0"/>
                  </a:spcAft>
                  <a:buClrTx/>
                  <a:buSzTx/>
                  <a:buFontTx/>
                  <a:buNone/>
                  <a:tabLst/>
                  <a:defRPr/>
                </a:pPr>
                <a:endParaRPr kumimoji="0" lang="en-US" sz="2448" b="0" i="0" u="none" strike="noStrike" kern="0" cap="none" spc="0" normalizeH="0" baseline="0" noProof="0" dirty="0">
                  <a:ln>
                    <a:noFill/>
                  </a:ln>
                  <a:solidFill>
                    <a:sysClr val="windowText" lastClr="000000"/>
                  </a:solidFill>
                  <a:effectLst/>
                  <a:uLnTx/>
                  <a:uFillTx/>
                  <a:latin typeface="Segoe UI"/>
                  <a:ea typeface="MS PGothic" charset="0"/>
                </a:endParaRPr>
              </a:p>
            </p:txBody>
          </p:sp>
          <p:sp>
            <p:nvSpPr>
              <p:cNvPr id="72" name="Freeform 7"/>
              <p:cNvSpPr>
                <a:spLocks/>
              </p:cNvSpPr>
              <p:nvPr/>
            </p:nvSpPr>
            <p:spPr bwMode="auto">
              <a:xfrm>
                <a:off x="6018431" y="4607833"/>
                <a:ext cx="40968" cy="104894"/>
              </a:xfrm>
              <a:custGeom>
                <a:avLst/>
                <a:gdLst>
                  <a:gd name="T0" fmla="*/ 40 w 40"/>
                  <a:gd name="T1" fmla="*/ 0 h 112"/>
                  <a:gd name="T2" fmla="*/ 40 w 40"/>
                  <a:gd name="T3" fmla="*/ 112 h 112"/>
                  <a:gd name="T4" fmla="*/ 23 w 40"/>
                  <a:gd name="T5" fmla="*/ 112 h 112"/>
                  <a:gd name="T6" fmla="*/ 23 w 40"/>
                  <a:gd name="T7" fmla="*/ 22 h 112"/>
                  <a:gd name="T8" fmla="*/ 12 w 40"/>
                  <a:gd name="T9" fmla="*/ 28 h 112"/>
                  <a:gd name="T10" fmla="*/ 0 w 40"/>
                  <a:gd name="T11" fmla="*/ 32 h 112"/>
                  <a:gd name="T12" fmla="*/ 0 w 40"/>
                  <a:gd name="T13" fmla="*/ 17 h 112"/>
                  <a:gd name="T14" fmla="*/ 8 w 40"/>
                  <a:gd name="T15" fmla="*/ 14 h 112"/>
                  <a:gd name="T16" fmla="*/ 16 w 40"/>
                  <a:gd name="T17" fmla="*/ 10 h 112"/>
                  <a:gd name="T18" fmla="*/ 24 w 40"/>
                  <a:gd name="T19" fmla="*/ 6 h 112"/>
                  <a:gd name="T20" fmla="*/ 33 w 40"/>
                  <a:gd name="T21" fmla="*/ 0 h 112"/>
                  <a:gd name="T22" fmla="*/ 40 w 40"/>
                  <a:gd name="T23" fmla="*/ 0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0" h="112">
                    <a:moveTo>
                      <a:pt x="40" y="0"/>
                    </a:moveTo>
                    <a:cubicBezTo>
                      <a:pt x="40" y="112"/>
                      <a:pt x="40" y="112"/>
                      <a:pt x="40" y="112"/>
                    </a:cubicBezTo>
                    <a:cubicBezTo>
                      <a:pt x="23" y="112"/>
                      <a:pt x="23" y="112"/>
                      <a:pt x="23" y="112"/>
                    </a:cubicBezTo>
                    <a:cubicBezTo>
                      <a:pt x="23" y="22"/>
                      <a:pt x="23" y="22"/>
                      <a:pt x="23" y="22"/>
                    </a:cubicBezTo>
                    <a:cubicBezTo>
                      <a:pt x="19" y="24"/>
                      <a:pt x="16" y="26"/>
                      <a:pt x="12" y="28"/>
                    </a:cubicBezTo>
                    <a:cubicBezTo>
                      <a:pt x="9" y="29"/>
                      <a:pt x="5" y="31"/>
                      <a:pt x="0" y="32"/>
                    </a:cubicBezTo>
                    <a:cubicBezTo>
                      <a:pt x="0" y="17"/>
                      <a:pt x="0" y="17"/>
                      <a:pt x="0" y="17"/>
                    </a:cubicBezTo>
                    <a:cubicBezTo>
                      <a:pt x="3" y="16"/>
                      <a:pt x="6" y="15"/>
                      <a:pt x="8" y="14"/>
                    </a:cubicBezTo>
                    <a:cubicBezTo>
                      <a:pt x="11" y="13"/>
                      <a:pt x="14" y="12"/>
                      <a:pt x="16" y="10"/>
                    </a:cubicBezTo>
                    <a:cubicBezTo>
                      <a:pt x="19" y="9"/>
                      <a:pt x="22" y="8"/>
                      <a:pt x="24" y="6"/>
                    </a:cubicBezTo>
                    <a:cubicBezTo>
                      <a:pt x="27" y="4"/>
                      <a:pt x="30" y="2"/>
                      <a:pt x="33" y="0"/>
                    </a:cubicBezTo>
                    <a:lnTo>
                      <a:pt x="4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3" tIns="46616" rIns="93233" bIns="46616" numCol="1" anchor="t" anchorCtr="0" compatLnSpc="1">
                <a:prstTxWarp prst="textNoShape">
                  <a:avLst/>
                </a:prstTxWarp>
              </a:bodyPr>
              <a:lstStyle/>
              <a:p>
                <a:pPr marL="0" marR="0" lvl="0" indent="0" defTabSz="914192" eaLnBrk="1" fontAlgn="auto" latinLnBrk="0" hangingPunct="1">
                  <a:lnSpc>
                    <a:spcPct val="100000"/>
                  </a:lnSpc>
                  <a:spcBef>
                    <a:spcPts val="0"/>
                  </a:spcBef>
                  <a:spcAft>
                    <a:spcPts val="0"/>
                  </a:spcAft>
                  <a:buClrTx/>
                  <a:buSzTx/>
                  <a:buFontTx/>
                  <a:buNone/>
                  <a:tabLst/>
                  <a:defRPr/>
                </a:pPr>
                <a:endParaRPr kumimoji="0" lang="en-US" sz="2448" b="0" i="0" u="none" strike="noStrike" kern="0" cap="none" spc="0" normalizeH="0" baseline="0" noProof="0" dirty="0">
                  <a:ln>
                    <a:noFill/>
                  </a:ln>
                  <a:solidFill>
                    <a:srgbClr val="92D050"/>
                  </a:solidFill>
                  <a:effectLst/>
                  <a:uLnTx/>
                  <a:uFillTx/>
                  <a:latin typeface="Segoe UI"/>
                  <a:ea typeface="MS PGothic" charset="0"/>
                </a:endParaRPr>
              </a:p>
            </p:txBody>
          </p:sp>
          <p:sp>
            <p:nvSpPr>
              <p:cNvPr id="73" name="Freeform 8"/>
              <p:cNvSpPr>
                <a:spLocks/>
              </p:cNvSpPr>
              <p:nvPr/>
            </p:nvSpPr>
            <p:spPr bwMode="auto">
              <a:xfrm>
                <a:off x="6094065" y="4607833"/>
                <a:ext cx="40968" cy="104894"/>
              </a:xfrm>
              <a:custGeom>
                <a:avLst/>
                <a:gdLst>
                  <a:gd name="T0" fmla="*/ 40 w 40"/>
                  <a:gd name="T1" fmla="*/ 0 h 112"/>
                  <a:gd name="T2" fmla="*/ 40 w 40"/>
                  <a:gd name="T3" fmla="*/ 112 h 112"/>
                  <a:gd name="T4" fmla="*/ 22 w 40"/>
                  <a:gd name="T5" fmla="*/ 112 h 112"/>
                  <a:gd name="T6" fmla="*/ 22 w 40"/>
                  <a:gd name="T7" fmla="*/ 22 h 112"/>
                  <a:gd name="T8" fmla="*/ 12 w 40"/>
                  <a:gd name="T9" fmla="*/ 28 h 112"/>
                  <a:gd name="T10" fmla="*/ 0 w 40"/>
                  <a:gd name="T11" fmla="*/ 32 h 112"/>
                  <a:gd name="T12" fmla="*/ 0 w 40"/>
                  <a:gd name="T13" fmla="*/ 17 h 112"/>
                  <a:gd name="T14" fmla="*/ 8 w 40"/>
                  <a:gd name="T15" fmla="*/ 14 h 112"/>
                  <a:gd name="T16" fmla="*/ 16 w 40"/>
                  <a:gd name="T17" fmla="*/ 10 h 112"/>
                  <a:gd name="T18" fmla="*/ 24 w 40"/>
                  <a:gd name="T19" fmla="*/ 6 h 112"/>
                  <a:gd name="T20" fmla="*/ 32 w 40"/>
                  <a:gd name="T21" fmla="*/ 0 h 112"/>
                  <a:gd name="T22" fmla="*/ 40 w 40"/>
                  <a:gd name="T23" fmla="*/ 0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0" h="112">
                    <a:moveTo>
                      <a:pt x="40" y="0"/>
                    </a:moveTo>
                    <a:cubicBezTo>
                      <a:pt x="40" y="112"/>
                      <a:pt x="40" y="112"/>
                      <a:pt x="40" y="112"/>
                    </a:cubicBezTo>
                    <a:cubicBezTo>
                      <a:pt x="22" y="112"/>
                      <a:pt x="22" y="112"/>
                      <a:pt x="22" y="112"/>
                    </a:cubicBezTo>
                    <a:cubicBezTo>
                      <a:pt x="22" y="22"/>
                      <a:pt x="22" y="22"/>
                      <a:pt x="22" y="22"/>
                    </a:cubicBezTo>
                    <a:cubicBezTo>
                      <a:pt x="19" y="24"/>
                      <a:pt x="16" y="26"/>
                      <a:pt x="12" y="28"/>
                    </a:cubicBezTo>
                    <a:cubicBezTo>
                      <a:pt x="8" y="29"/>
                      <a:pt x="4" y="31"/>
                      <a:pt x="0" y="32"/>
                    </a:cubicBezTo>
                    <a:cubicBezTo>
                      <a:pt x="0" y="17"/>
                      <a:pt x="0" y="17"/>
                      <a:pt x="0" y="17"/>
                    </a:cubicBezTo>
                    <a:cubicBezTo>
                      <a:pt x="2" y="16"/>
                      <a:pt x="5" y="15"/>
                      <a:pt x="8" y="14"/>
                    </a:cubicBezTo>
                    <a:cubicBezTo>
                      <a:pt x="11" y="13"/>
                      <a:pt x="13" y="12"/>
                      <a:pt x="16" y="10"/>
                    </a:cubicBezTo>
                    <a:cubicBezTo>
                      <a:pt x="19" y="9"/>
                      <a:pt x="21" y="8"/>
                      <a:pt x="24" y="6"/>
                    </a:cubicBezTo>
                    <a:cubicBezTo>
                      <a:pt x="27" y="4"/>
                      <a:pt x="30" y="2"/>
                      <a:pt x="32" y="0"/>
                    </a:cubicBezTo>
                    <a:lnTo>
                      <a:pt x="4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3" tIns="46616" rIns="93233" bIns="46616" numCol="1" anchor="t" anchorCtr="0" compatLnSpc="1">
                <a:prstTxWarp prst="textNoShape">
                  <a:avLst/>
                </a:prstTxWarp>
              </a:bodyPr>
              <a:lstStyle/>
              <a:p>
                <a:pPr marL="0" marR="0" lvl="0" indent="0" defTabSz="914192" eaLnBrk="1" fontAlgn="auto" latinLnBrk="0" hangingPunct="1">
                  <a:lnSpc>
                    <a:spcPct val="100000"/>
                  </a:lnSpc>
                  <a:spcBef>
                    <a:spcPts val="0"/>
                  </a:spcBef>
                  <a:spcAft>
                    <a:spcPts val="0"/>
                  </a:spcAft>
                  <a:buClrTx/>
                  <a:buSzTx/>
                  <a:buFontTx/>
                  <a:buNone/>
                  <a:tabLst/>
                  <a:defRPr/>
                </a:pPr>
                <a:endParaRPr kumimoji="0" lang="en-US" sz="2448" b="0" i="0" u="none" strike="noStrike" kern="0" cap="none" spc="0" normalizeH="0" baseline="0" noProof="0" dirty="0">
                  <a:ln>
                    <a:noFill/>
                  </a:ln>
                  <a:solidFill>
                    <a:sysClr val="windowText" lastClr="000000"/>
                  </a:solidFill>
                  <a:effectLst/>
                  <a:uLnTx/>
                  <a:uFillTx/>
                  <a:latin typeface="Segoe UI"/>
                  <a:ea typeface="MS PGothic" charset="0"/>
                </a:endParaRPr>
              </a:p>
            </p:txBody>
          </p:sp>
          <p:sp>
            <p:nvSpPr>
              <p:cNvPr id="74" name="Freeform 9"/>
              <p:cNvSpPr>
                <a:spLocks noEditPoints="1"/>
              </p:cNvSpPr>
              <p:nvPr/>
            </p:nvSpPr>
            <p:spPr bwMode="auto">
              <a:xfrm>
                <a:off x="6076732" y="4866376"/>
                <a:ext cx="75634" cy="109326"/>
              </a:xfrm>
              <a:custGeom>
                <a:avLst/>
                <a:gdLst>
                  <a:gd name="T0" fmla="*/ 37 w 76"/>
                  <a:gd name="T1" fmla="*/ 115 h 115"/>
                  <a:gd name="T2" fmla="*/ 10 w 76"/>
                  <a:gd name="T3" fmla="*/ 101 h 115"/>
                  <a:gd name="T4" fmla="*/ 0 w 76"/>
                  <a:gd name="T5" fmla="*/ 60 h 115"/>
                  <a:gd name="T6" fmla="*/ 10 w 76"/>
                  <a:gd name="T7" fmla="*/ 15 h 115"/>
                  <a:gd name="T8" fmla="*/ 40 w 76"/>
                  <a:gd name="T9" fmla="*/ 0 h 115"/>
                  <a:gd name="T10" fmla="*/ 76 w 76"/>
                  <a:gd name="T11" fmla="*/ 57 h 115"/>
                  <a:gd name="T12" fmla="*/ 66 w 76"/>
                  <a:gd name="T13" fmla="*/ 101 h 115"/>
                  <a:gd name="T14" fmla="*/ 37 w 76"/>
                  <a:gd name="T15" fmla="*/ 115 h 115"/>
                  <a:gd name="T16" fmla="*/ 39 w 76"/>
                  <a:gd name="T17" fmla="*/ 15 h 115"/>
                  <a:gd name="T18" fmla="*/ 18 w 76"/>
                  <a:gd name="T19" fmla="*/ 59 h 115"/>
                  <a:gd name="T20" fmla="*/ 38 w 76"/>
                  <a:gd name="T21" fmla="*/ 101 h 115"/>
                  <a:gd name="T22" fmla="*/ 58 w 76"/>
                  <a:gd name="T23" fmla="*/ 59 h 115"/>
                  <a:gd name="T24" fmla="*/ 39 w 76"/>
                  <a:gd name="T25" fmla="*/ 15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6" h="115">
                    <a:moveTo>
                      <a:pt x="37" y="115"/>
                    </a:moveTo>
                    <a:cubicBezTo>
                      <a:pt x="25" y="115"/>
                      <a:pt x="16" y="111"/>
                      <a:pt x="10" y="101"/>
                    </a:cubicBezTo>
                    <a:cubicBezTo>
                      <a:pt x="3" y="92"/>
                      <a:pt x="0" y="78"/>
                      <a:pt x="0" y="60"/>
                    </a:cubicBezTo>
                    <a:cubicBezTo>
                      <a:pt x="0" y="40"/>
                      <a:pt x="3" y="26"/>
                      <a:pt x="10" y="15"/>
                    </a:cubicBezTo>
                    <a:cubicBezTo>
                      <a:pt x="17" y="5"/>
                      <a:pt x="27" y="0"/>
                      <a:pt x="40" y="0"/>
                    </a:cubicBezTo>
                    <a:cubicBezTo>
                      <a:pt x="64" y="0"/>
                      <a:pt x="76" y="19"/>
                      <a:pt x="76" y="57"/>
                    </a:cubicBezTo>
                    <a:cubicBezTo>
                      <a:pt x="76" y="76"/>
                      <a:pt x="73" y="91"/>
                      <a:pt x="66" y="101"/>
                    </a:cubicBezTo>
                    <a:cubicBezTo>
                      <a:pt x="59" y="110"/>
                      <a:pt x="49" y="115"/>
                      <a:pt x="37" y="115"/>
                    </a:cubicBezTo>
                    <a:close/>
                    <a:moveTo>
                      <a:pt x="39" y="15"/>
                    </a:moveTo>
                    <a:cubicBezTo>
                      <a:pt x="25" y="15"/>
                      <a:pt x="18" y="30"/>
                      <a:pt x="18" y="59"/>
                    </a:cubicBezTo>
                    <a:cubicBezTo>
                      <a:pt x="18" y="87"/>
                      <a:pt x="25" y="101"/>
                      <a:pt x="38" y="101"/>
                    </a:cubicBezTo>
                    <a:cubicBezTo>
                      <a:pt x="51" y="101"/>
                      <a:pt x="58" y="87"/>
                      <a:pt x="58" y="59"/>
                    </a:cubicBezTo>
                    <a:cubicBezTo>
                      <a:pt x="58" y="29"/>
                      <a:pt x="51" y="15"/>
                      <a:pt x="39"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3" tIns="46616" rIns="93233" bIns="46616" numCol="1" anchor="t" anchorCtr="0" compatLnSpc="1">
                <a:prstTxWarp prst="textNoShape">
                  <a:avLst/>
                </a:prstTxWarp>
              </a:bodyPr>
              <a:lstStyle/>
              <a:p>
                <a:pPr marL="0" marR="0" lvl="0" indent="0" defTabSz="914192" eaLnBrk="1" fontAlgn="auto" latinLnBrk="0" hangingPunct="1">
                  <a:lnSpc>
                    <a:spcPct val="100000"/>
                  </a:lnSpc>
                  <a:spcBef>
                    <a:spcPts val="0"/>
                  </a:spcBef>
                  <a:spcAft>
                    <a:spcPts val="0"/>
                  </a:spcAft>
                  <a:buClrTx/>
                  <a:buSzTx/>
                  <a:buFontTx/>
                  <a:buNone/>
                  <a:tabLst/>
                  <a:defRPr/>
                </a:pPr>
                <a:endParaRPr kumimoji="0" lang="en-US" sz="2448" b="0" i="0" u="none" strike="noStrike" kern="0" cap="none" spc="0" normalizeH="0" baseline="0" noProof="0" dirty="0">
                  <a:ln>
                    <a:noFill/>
                  </a:ln>
                  <a:solidFill>
                    <a:sysClr val="windowText" lastClr="000000"/>
                  </a:solidFill>
                  <a:effectLst/>
                  <a:uLnTx/>
                  <a:uFillTx/>
                  <a:latin typeface="Segoe UI"/>
                  <a:ea typeface="MS PGothic" charset="0"/>
                </a:endParaRPr>
              </a:p>
            </p:txBody>
          </p:sp>
          <p:sp>
            <p:nvSpPr>
              <p:cNvPr id="75" name="Freeform 10"/>
              <p:cNvSpPr>
                <a:spLocks noEditPoints="1"/>
              </p:cNvSpPr>
              <p:nvPr/>
            </p:nvSpPr>
            <p:spPr bwMode="auto">
              <a:xfrm>
                <a:off x="6078308" y="4736366"/>
                <a:ext cx="75634" cy="109326"/>
              </a:xfrm>
              <a:custGeom>
                <a:avLst/>
                <a:gdLst>
                  <a:gd name="T0" fmla="*/ 37 w 76"/>
                  <a:gd name="T1" fmla="*/ 115 h 115"/>
                  <a:gd name="T2" fmla="*/ 10 w 76"/>
                  <a:gd name="T3" fmla="*/ 101 h 115"/>
                  <a:gd name="T4" fmla="*/ 0 w 76"/>
                  <a:gd name="T5" fmla="*/ 60 h 115"/>
                  <a:gd name="T6" fmla="*/ 10 w 76"/>
                  <a:gd name="T7" fmla="*/ 15 h 115"/>
                  <a:gd name="T8" fmla="*/ 40 w 76"/>
                  <a:gd name="T9" fmla="*/ 0 h 115"/>
                  <a:gd name="T10" fmla="*/ 76 w 76"/>
                  <a:gd name="T11" fmla="*/ 57 h 115"/>
                  <a:gd name="T12" fmla="*/ 66 w 76"/>
                  <a:gd name="T13" fmla="*/ 100 h 115"/>
                  <a:gd name="T14" fmla="*/ 37 w 76"/>
                  <a:gd name="T15" fmla="*/ 115 h 115"/>
                  <a:gd name="T16" fmla="*/ 39 w 76"/>
                  <a:gd name="T17" fmla="*/ 14 h 115"/>
                  <a:gd name="T18" fmla="*/ 18 w 76"/>
                  <a:gd name="T19" fmla="*/ 59 h 115"/>
                  <a:gd name="T20" fmla="*/ 38 w 76"/>
                  <a:gd name="T21" fmla="*/ 101 h 115"/>
                  <a:gd name="T22" fmla="*/ 58 w 76"/>
                  <a:gd name="T23" fmla="*/ 58 h 115"/>
                  <a:gd name="T24" fmla="*/ 39 w 76"/>
                  <a:gd name="T25" fmla="*/ 14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6" h="115">
                    <a:moveTo>
                      <a:pt x="37" y="115"/>
                    </a:moveTo>
                    <a:cubicBezTo>
                      <a:pt x="25" y="115"/>
                      <a:pt x="16" y="110"/>
                      <a:pt x="10" y="101"/>
                    </a:cubicBezTo>
                    <a:cubicBezTo>
                      <a:pt x="3" y="92"/>
                      <a:pt x="0" y="78"/>
                      <a:pt x="0" y="60"/>
                    </a:cubicBezTo>
                    <a:cubicBezTo>
                      <a:pt x="0" y="40"/>
                      <a:pt x="3" y="25"/>
                      <a:pt x="10" y="15"/>
                    </a:cubicBezTo>
                    <a:cubicBezTo>
                      <a:pt x="17" y="5"/>
                      <a:pt x="27" y="0"/>
                      <a:pt x="40" y="0"/>
                    </a:cubicBezTo>
                    <a:cubicBezTo>
                      <a:pt x="64" y="0"/>
                      <a:pt x="76" y="19"/>
                      <a:pt x="76" y="57"/>
                    </a:cubicBezTo>
                    <a:cubicBezTo>
                      <a:pt x="76" y="76"/>
                      <a:pt x="73" y="90"/>
                      <a:pt x="66" y="100"/>
                    </a:cubicBezTo>
                    <a:cubicBezTo>
                      <a:pt x="59" y="110"/>
                      <a:pt x="49" y="115"/>
                      <a:pt x="37" y="115"/>
                    </a:cubicBezTo>
                    <a:close/>
                    <a:moveTo>
                      <a:pt x="39" y="14"/>
                    </a:moveTo>
                    <a:cubicBezTo>
                      <a:pt x="25" y="14"/>
                      <a:pt x="18" y="29"/>
                      <a:pt x="18" y="59"/>
                    </a:cubicBezTo>
                    <a:cubicBezTo>
                      <a:pt x="18" y="87"/>
                      <a:pt x="25" y="101"/>
                      <a:pt x="38" y="101"/>
                    </a:cubicBezTo>
                    <a:cubicBezTo>
                      <a:pt x="51" y="101"/>
                      <a:pt x="58" y="87"/>
                      <a:pt x="58" y="58"/>
                    </a:cubicBezTo>
                    <a:cubicBezTo>
                      <a:pt x="58" y="29"/>
                      <a:pt x="52" y="14"/>
                      <a:pt x="39"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3" tIns="46616" rIns="93233" bIns="46616" numCol="1" anchor="t" anchorCtr="0" compatLnSpc="1">
                <a:prstTxWarp prst="textNoShape">
                  <a:avLst/>
                </a:prstTxWarp>
              </a:bodyPr>
              <a:lstStyle/>
              <a:p>
                <a:pPr marL="0" marR="0" lvl="0" indent="0" defTabSz="914192" eaLnBrk="1" fontAlgn="auto" latinLnBrk="0" hangingPunct="1">
                  <a:lnSpc>
                    <a:spcPct val="100000"/>
                  </a:lnSpc>
                  <a:spcBef>
                    <a:spcPts val="0"/>
                  </a:spcBef>
                  <a:spcAft>
                    <a:spcPts val="0"/>
                  </a:spcAft>
                  <a:buClrTx/>
                  <a:buSzTx/>
                  <a:buFontTx/>
                  <a:buNone/>
                  <a:tabLst/>
                  <a:defRPr/>
                </a:pPr>
                <a:endParaRPr kumimoji="0" lang="en-US" sz="2448" b="0" i="0" u="none" strike="noStrike" kern="0" cap="none" spc="0" normalizeH="0" baseline="0" noProof="0" dirty="0">
                  <a:ln>
                    <a:noFill/>
                  </a:ln>
                  <a:solidFill>
                    <a:sysClr val="windowText" lastClr="000000"/>
                  </a:solidFill>
                  <a:effectLst/>
                  <a:uLnTx/>
                  <a:uFillTx/>
                  <a:latin typeface="Segoe UI"/>
                  <a:ea typeface="MS PGothic" charset="0"/>
                </a:endParaRPr>
              </a:p>
            </p:txBody>
          </p:sp>
          <p:sp>
            <p:nvSpPr>
              <p:cNvPr id="76" name="Freeform 11"/>
              <p:cNvSpPr>
                <a:spLocks/>
              </p:cNvSpPr>
              <p:nvPr/>
            </p:nvSpPr>
            <p:spPr bwMode="auto">
              <a:xfrm>
                <a:off x="6168122" y="4867853"/>
                <a:ext cx="40968" cy="104894"/>
              </a:xfrm>
              <a:custGeom>
                <a:avLst/>
                <a:gdLst>
                  <a:gd name="T0" fmla="*/ 40 w 40"/>
                  <a:gd name="T1" fmla="*/ 0 h 111"/>
                  <a:gd name="T2" fmla="*/ 40 w 40"/>
                  <a:gd name="T3" fmla="*/ 111 h 111"/>
                  <a:gd name="T4" fmla="*/ 22 w 40"/>
                  <a:gd name="T5" fmla="*/ 111 h 111"/>
                  <a:gd name="T6" fmla="*/ 22 w 40"/>
                  <a:gd name="T7" fmla="*/ 21 h 111"/>
                  <a:gd name="T8" fmla="*/ 12 w 40"/>
                  <a:gd name="T9" fmla="*/ 27 h 111"/>
                  <a:gd name="T10" fmla="*/ 0 w 40"/>
                  <a:gd name="T11" fmla="*/ 31 h 111"/>
                  <a:gd name="T12" fmla="*/ 0 w 40"/>
                  <a:gd name="T13" fmla="*/ 16 h 111"/>
                  <a:gd name="T14" fmla="*/ 8 w 40"/>
                  <a:gd name="T15" fmla="*/ 13 h 111"/>
                  <a:gd name="T16" fmla="*/ 16 w 40"/>
                  <a:gd name="T17" fmla="*/ 10 h 111"/>
                  <a:gd name="T18" fmla="*/ 24 w 40"/>
                  <a:gd name="T19" fmla="*/ 5 h 111"/>
                  <a:gd name="T20" fmla="*/ 33 w 40"/>
                  <a:gd name="T21" fmla="*/ 0 h 111"/>
                  <a:gd name="T22" fmla="*/ 40 w 40"/>
                  <a:gd name="T23" fmla="*/ 0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0" h="111">
                    <a:moveTo>
                      <a:pt x="40" y="0"/>
                    </a:moveTo>
                    <a:cubicBezTo>
                      <a:pt x="40" y="111"/>
                      <a:pt x="40" y="111"/>
                      <a:pt x="40" y="111"/>
                    </a:cubicBezTo>
                    <a:cubicBezTo>
                      <a:pt x="22" y="111"/>
                      <a:pt x="22" y="111"/>
                      <a:pt x="22" y="111"/>
                    </a:cubicBezTo>
                    <a:cubicBezTo>
                      <a:pt x="22" y="21"/>
                      <a:pt x="22" y="21"/>
                      <a:pt x="22" y="21"/>
                    </a:cubicBezTo>
                    <a:cubicBezTo>
                      <a:pt x="19" y="23"/>
                      <a:pt x="16" y="25"/>
                      <a:pt x="12" y="27"/>
                    </a:cubicBezTo>
                    <a:cubicBezTo>
                      <a:pt x="8" y="29"/>
                      <a:pt x="4" y="30"/>
                      <a:pt x="0" y="31"/>
                    </a:cubicBezTo>
                    <a:cubicBezTo>
                      <a:pt x="0" y="16"/>
                      <a:pt x="0" y="16"/>
                      <a:pt x="0" y="16"/>
                    </a:cubicBezTo>
                    <a:cubicBezTo>
                      <a:pt x="3" y="15"/>
                      <a:pt x="5" y="14"/>
                      <a:pt x="8" y="13"/>
                    </a:cubicBezTo>
                    <a:cubicBezTo>
                      <a:pt x="11" y="12"/>
                      <a:pt x="13" y="11"/>
                      <a:pt x="16" y="10"/>
                    </a:cubicBezTo>
                    <a:cubicBezTo>
                      <a:pt x="19" y="8"/>
                      <a:pt x="21" y="7"/>
                      <a:pt x="24" y="5"/>
                    </a:cubicBezTo>
                    <a:cubicBezTo>
                      <a:pt x="27" y="4"/>
                      <a:pt x="30" y="2"/>
                      <a:pt x="33" y="0"/>
                    </a:cubicBezTo>
                    <a:lnTo>
                      <a:pt x="4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3" tIns="46616" rIns="93233" bIns="46616" numCol="1" anchor="t" anchorCtr="0" compatLnSpc="1">
                <a:prstTxWarp prst="textNoShape">
                  <a:avLst/>
                </a:prstTxWarp>
              </a:bodyPr>
              <a:lstStyle/>
              <a:p>
                <a:pPr marL="0" marR="0" lvl="0" indent="0" defTabSz="914192" eaLnBrk="1" fontAlgn="auto" latinLnBrk="0" hangingPunct="1">
                  <a:lnSpc>
                    <a:spcPct val="100000"/>
                  </a:lnSpc>
                  <a:spcBef>
                    <a:spcPts val="0"/>
                  </a:spcBef>
                  <a:spcAft>
                    <a:spcPts val="0"/>
                  </a:spcAft>
                  <a:buClrTx/>
                  <a:buSzTx/>
                  <a:buFontTx/>
                  <a:buNone/>
                  <a:tabLst/>
                  <a:defRPr/>
                </a:pPr>
                <a:endParaRPr kumimoji="0" lang="en-US" sz="2448" b="0" i="0" u="none" strike="noStrike" kern="0" cap="none" spc="0" normalizeH="0" baseline="0" noProof="0" dirty="0">
                  <a:ln>
                    <a:noFill/>
                  </a:ln>
                  <a:solidFill>
                    <a:sysClr val="windowText" lastClr="000000"/>
                  </a:solidFill>
                  <a:effectLst/>
                  <a:uLnTx/>
                  <a:uFillTx/>
                  <a:latin typeface="Segoe UI"/>
                  <a:ea typeface="MS PGothic" charset="0"/>
                </a:endParaRPr>
              </a:p>
            </p:txBody>
          </p:sp>
          <p:sp>
            <p:nvSpPr>
              <p:cNvPr id="77" name="Freeform 12"/>
              <p:cNvSpPr>
                <a:spLocks/>
              </p:cNvSpPr>
              <p:nvPr/>
            </p:nvSpPr>
            <p:spPr bwMode="auto">
              <a:xfrm>
                <a:off x="6168122" y="4737843"/>
                <a:ext cx="40968" cy="106372"/>
              </a:xfrm>
              <a:custGeom>
                <a:avLst/>
                <a:gdLst>
                  <a:gd name="T0" fmla="*/ 40 w 40"/>
                  <a:gd name="T1" fmla="*/ 0 h 112"/>
                  <a:gd name="T2" fmla="*/ 40 w 40"/>
                  <a:gd name="T3" fmla="*/ 112 h 112"/>
                  <a:gd name="T4" fmla="*/ 22 w 40"/>
                  <a:gd name="T5" fmla="*/ 112 h 112"/>
                  <a:gd name="T6" fmla="*/ 22 w 40"/>
                  <a:gd name="T7" fmla="*/ 22 h 112"/>
                  <a:gd name="T8" fmla="*/ 12 w 40"/>
                  <a:gd name="T9" fmla="*/ 28 h 112"/>
                  <a:gd name="T10" fmla="*/ 0 w 40"/>
                  <a:gd name="T11" fmla="*/ 32 h 112"/>
                  <a:gd name="T12" fmla="*/ 0 w 40"/>
                  <a:gd name="T13" fmla="*/ 17 h 112"/>
                  <a:gd name="T14" fmla="*/ 8 w 40"/>
                  <a:gd name="T15" fmla="*/ 14 h 112"/>
                  <a:gd name="T16" fmla="*/ 16 w 40"/>
                  <a:gd name="T17" fmla="*/ 10 h 112"/>
                  <a:gd name="T18" fmla="*/ 24 w 40"/>
                  <a:gd name="T19" fmla="*/ 6 h 112"/>
                  <a:gd name="T20" fmla="*/ 33 w 40"/>
                  <a:gd name="T21" fmla="*/ 0 h 112"/>
                  <a:gd name="T22" fmla="*/ 40 w 40"/>
                  <a:gd name="T23" fmla="*/ 0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0" h="112">
                    <a:moveTo>
                      <a:pt x="40" y="0"/>
                    </a:moveTo>
                    <a:cubicBezTo>
                      <a:pt x="40" y="112"/>
                      <a:pt x="40" y="112"/>
                      <a:pt x="40" y="112"/>
                    </a:cubicBezTo>
                    <a:cubicBezTo>
                      <a:pt x="22" y="112"/>
                      <a:pt x="22" y="112"/>
                      <a:pt x="22" y="112"/>
                    </a:cubicBezTo>
                    <a:cubicBezTo>
                      <a:pt x="22" y="22"/>
                      <a:pt x="22" y="22"/>
                      <a:pt x="22" y="22"/>
                    </a:cubicBezTo>
                    <a:cubicBezTo>
                      <a:pt x="19" y="24"/>
                      <a:pt x="16" y="26"/>
                      <a:pt x="12" y="28"/>
                    </a:cubicBezTo>
                    <a:cubicBezTo>
                      <a:pt x="8" y="29"/>
                      <a:pt x="4" y="31"/>
                      <a:pt x="0" y="32"/>
                    </a:cubicBezTo>
                    <a:cubicBezTo>
                      <a:pt x="0" y="17"/>
                      <a:pt x="0" y="17"/>
                      <a:pt x="0" y="17"/>
                    </a:cubicBezTo>
                    <a:cubicBezTo>
                      <a:pt x="3" y="16"/>
                      <a:pt x="5" y="15"/>
                      <a:pt x="8" y="14"/>
                    </a:cubicBezTo>
                    <a:cubicBezTo>
                      <a:pt x="11" y="13"/>
                      <a:pt x="13" y="12"/>
                      <a:pt x="16" y="10"/>
                    </a:cubicBezTo>
                    <a:cubicBezTo>
                      <a:pt x="19" y="9"/>
                      <a:pt x="21" y="8"/>
                      <a:pt x="24" y="6"/>
                    </a:cubicBezTo>
                    <a:cubicBezTo>
                      <a:pt x="27" y="4"/>
                      <a:pt x="30" y="2"/>
                      <a:pt x="33" y="0"/>
                    </a:cubicBezTo>
                    <a:lnTo>
                      <a:pt x="4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3" tIns="46616" rIns="93233" bIns="46616" numCol="1" anchor="t" anchorCtr="0" compatLnSpc="1">
                <a:prstTxWarp prst="textNoShape">
                  <a:avLst/>
                </a:prstTxWarp>
              </a:bodyPr>
              <a:lstStyle/>
              <a:p>
                <a:pPr marL="0" marR="0" lvl="0" indent="0" defTabSz="914192" eaLnBrk="1" fontAlgn="auto" latinLnBrk="0" hangingPunct="1">
                  <a:lnSpc>
                    <a:spcPct val="100000"/>
                  </a:lnSpc>
                  <a:spcBef>
                    <a:spcPts val="0"/>
                  </a:spcBef>
                  <a:spcAft>
                    <a:spcPts val="0"/>
                  </a:spcAft>
                  <a:buClrTx/>
                  <a:buSzTx/>
                  <a:buFontTx/>
                  <a:buNone/>
                  <a:tabLst/>
                  <a:defRPr/>
                </a:pPr>
                <a:endParaRPr kumimoji="0" lang="en-US" sz="2448" b="0" i="0" u="none" strike="noStrike" kern="0" cap="none" spc="0" normalizeH="0" baseline="0" noProof="0" dirty="0">
                  <a:ln>
                    <a:noFill/>
                  </a:ln>
                  <a:solidFill>
                    <a:sysClr val="windowText" lastClr="000000"/>
                  </a:solidFill>
                  <a:effectLst/>
                  <a:uLnTx/>
                  <a:uFillTx/>
                  <a:latin typeface="Segoe UI"/>
                  <a:ea typeface="MS PGothic" charset="0"/>
                </a:endParaRPr>
              </a:p>
            </p:txBody>
          </p:sp>
          <p:sp>
            <p:nvSpPr>
              <p:cNvPr id="78" name="Freeform 13"/>
              <p:cNvSpPr>
                <a:spLocks/>
              </p:cNvSpPr>
              <p:nvPr/>
            </p:nvSpPr>
            <p:spPr bwMode="auto">
              <a:xfrm>
                <a:off x="6168122" y="4607833"/>
                <a:ext cx="40968" cy="104894"/>
              </a:xfrm>
              <a:custGeom>
                <a:avLst/>
                <a:gdLst>
                  <a:gd name="T0" fmla="*/ 40 w 40"/>
                  <a:gd name="T1" fmla="*/ 0 h 112"/>
                  <a:gd name="T2" fmla="*/ 40 w 40"/>
                  <a:gd name="T3" fmla="*/ 112 h 112"/>
                  <a:gd name="T4" fmla="*/ 22 w 40"/>
                  <a:gd name="T5" fmla="*/ 112 h 112"/>
                  <a:gd name="T6" fmla="*/ 22 w 40"/>
                  <a:gd name="T7" fmla="*/ 22 h 112"/>
                  <a:gd name="T8" fmla="*/ 12 w 40"/>
                  <a:gd name="T9" fmla="*/ 28 h 112"/>
                  <a:gd name="T10" fmla="*/ 0 w 40"/>
                  <a:gd name="T11" fmla="*/ 32 h 112"/>
                  <a:gd name="T12" fmla="*/ 0 w 40"/>
                  <a:gd name="T13" fmla="*/ 17 h 112"/>
                  <a:gd name="T14" fmla="*/ 8 w 40"/>
                  <a:gd name="T15" fmla="*/ 14 h 112"/>
                  <a:gd name="T16" fmla="*/ 16 w 40"/>
                  <a:gd name="T17" fmla="*/ 10 h 112"/>
                  <a:gd name="T18" fmla="*/ 24 w 40"/>
                  <a:gd name="T19" fmla="*/ 6 h 112"/>
                  <a:gd name="T20" fmla="*/ 33 w 40"/>
                  <a:gd name="T21" fmla="*/ 0 h 112"/>
                  <a:gd name="T22" fmla="*/ 40 w 40"/>
                  <a:gd name="T23" fmla="*/ 0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0" h="112">
                    <a:moveTo>
                      <a:pt x="40" y="0"/>
                    </a:moveTo>
                    <a:cubicBezTo>
                      <a:pt x="40" y="112"/>
                      <a:pt x="40" y="112"/>
                      <a:pt x="40" y="112"/>
                    </a:cubicBezTo>
                    <a:cubicBezTo>
                      <a:pt x="22" y="112"/>
                      <a:pt x="22" y="112"/>
                      <a:pt x="22" y="112"/>
                    </a:cubicBezTo>
                    <a:cubicBezTo>
                      <a:pt x="22" y="22"/>
                      <a:pt x="22" y="22"/>
                      <a:pt x="22" y="22"/>
                    </a:cubicBezTo>
                    <a:cubicBezTo>
                      <a:pt x="19" y="24"/>
                      <a:pt x="16" y="26"/>
                      <a:pt x="12" y="28"/>
                    </a:cubicBezTo>
                    <a:cubicBezTo>
                      <a:pt x="8" y="29"/>
                      <a:pt x="4" y="31"/>
                      <a:pt x="0" y="32"/>
                    </a:cubicBezTo>
                    <a:cubicBezTo>
                      <a:pt x="0" y="17"/>
                      <a:pt x="0" y="17"/>
                      <a:pt x="0" y="17"/>
                    </a:cubicBezTo>
                    <a:cubicBezTo>
                      <a:pt x="3" y="16"/>
                      <a:pt x="5" y="15"/>
                      <a:pt x="8" y="14"/>
                    </a:cubicBezTo>
                    <a:cubicBezTo>
                      <a:pt x="11" y="13"/>
                      <a:pt x="13" y="12"/>
                      <a:pt x="16" y="10"/>
                    </a:cubicBezTo>
                    <a:cubicBezTo>
                      <a:pt x="19" y="9"/>
                      <a:pt x="21" y="8"/>
                      <a:pt x="24" y="6"/>
                    </a:cubicBezTo>
                    <a:cubicBezTo>
                      <a:pt x="27" y="4"/>
                      <a:pt x="30" y="2"/>
                      <a:pt x="33" y="0"/>
                    </a:cubicBezTo>
                    <a:lnTo>
                      <a:pt x="4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3" tIns="46616" rIns="93233" bIns="46616" numCol="1" anchor="t" anchorCtr="0" compatLnSpc="1">
                <a:prstTxWarp prst="textNoShape">
                  <a:avLst/>
                </a:prstTxWarp>
              </a:bodyPr>
              <a:lstStyle/>
              <a:p>
                <a:pPr marL="0" marR="0" lvl="0" indent="0" defTabSz="914192" eaLnBrk="1" fontAlgn="auto" latinLnBrk="0" hangingPunct="1">
                  <a:lnSpc>
                    <a:spcPct val="100000"/>
                  </a:lnSpc>
                  <a:spcBef>
                    <a:spcPts val="0"/>
                  </a:spcBef>
                  <a:spcAft>
                    <a:spcPts val="0"/>
                  </a:spcAft>
                  <a:buClrTx/>
                  <a:buSzTx/>
                  <a:buFontTx/>
                  <a:buNone/>
                  <a:tabLst/>
                  <a:defRPr/>
                </a:pPr>
                <a:endParaRPr kumimoji="0" lang="en-US" sz="2448" b="0" i="0" u="none" strike="noStrike" kern="0" cap="none" spc="0" normalizeH="0" baseline="0" noProof="0" dirty="0">
                  <a:ln>
                    <a:noFill/>
                  </a:ln>
                  <a:solidFill>
                    <a:sysClr val="windowText" lastClr="000000"/>
                  </a:solidFill>
                  <a:effectLst/>
                  <a:uLnTx/>
                  <a:uFillTx/>
                  <a:latin typeface="Segoe UI"/>
                  <a:ea typeface="MS PGothic" charset="0"/>
                </a:endParaRPr>
              </a:p>
            </p:txBody>
          </p:sp>
          <p:sp>
            <p:nvSpPr>
              <p:cNvPr id="79" name="Freeform 14"/>
              <p:cNvSpPr>
                <a:spLocks noEditPoints="1"/>
              </p:cNvSpPr>
              <p:nvPr/>
            </p:nvSpPr>
            <p:spPr bwMode="auto">
              <a:xfrm>
                <a:off x="6224848" y="4866376"/>
                <a:ext cx="77209" cy="109326"/>
              </a:xfrm>
              <a:custGeom>
                <a:avLst/>
                <a:gdLst>
                  <a:gd name="T0" fmla="*/ 37 w 76"/>
                  <a:gd name="T1" fmla="*/ 115 h 115"/>
                  <a:gd name="T2" fmla="*/ 9 w 76"/>
                  <a:gd name="T3" fmla="*/ 101 h 115"/>
                  <a:gd name="T4" fmla="*/ 0 w 76"/>
                  <a:gd name="T5" fmla="*/ 60 h 115"/>
                  <a:gd name="T6" fmla="*/ 10 w 76"/>
                  <a:gd name="T7" fmla="*/ 15 h 115"/>
                  <a:gd name="T8" fmla="*/ 39 w 76"/>
                  <a:gd name="T9" fmla="*/ 0 h 115"/>
                  <a:gd name="T10" fmla="*/ 76 w 76"/>
                  <a:gd name="T11" fmla="*/ 57 h 115"/>
                  <a:gd name="T12" fmla="*/ 66 w 76"/>
                  <a:gd name="T13" fmla="*/ 101 h 115"/>
                  <a:gd name="T14" fmla="*/ 37 w 76"/>
                  <a:gd name="T15" fmla="*/ 115 h 115"/>
                  <a:gd name="T16" fmla="*/ 38 w 76"/>
                  <a:gd name="T17" fmla="*/ 15 h 115"/>
                  <a:gd name="T18" fmla="*/ 18 w 76"/>
                  <a:gd name="T19" fmla="*/ 59 h 115"/>
                  <a:gd name="T20" fmla="*/ 38 w 76"/>
                  <a:gd name="T21" fmla="*/ 101 h 115"/>
                  <a:gd name="T22" fmla="*/ 58 w 76"/>
                  <a:gd name="T23" fmla="*/ 59 h 115"/>
                  <a:gd name="T24" fmla="*/ 38 w 76"/>
                  <a:gd name="T25" fmla="*/ 15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6" h="115">
                    <a:moveTo>
                      <a:pt x="37" y="115"/>
                    </a:moveTo>
                    <a:cubicBezTo>
                      <a:pt x="25" y="115"/>
                      <a:pt x="16" y="111"/>
                      <a:pt x="9" y="101"/>
                    </a:cubicBezTo>
                    <a:cubicBezTo>
                      <a:pt x="3" y="92"/>
                      <a:pt x="0" y="78"/>
                      <a:pt x="0" y="60"/>
                    </a:cubicBezTo>
                    <a:cubicBezTo>
                      <a:pt x="0" y="40"/>
                      <a:pt x="3" y="26"/>
                      <a:pt x="10" y="15"/>
                    </a:cubicBezTo>
                    <a:cubicBezTo>
                      <a:pt x="17" y="5"/>
                      <a:pt x="26" y="0"/>
                      <a:pt x="39" y="0"/>
                    </a:cubicBezTo>
                    <a:cubicBezTo>
                      <a:pt x="64" y="0"/>
                      <a:pt x="76" y="19"/>
                      <a:pt x="76" y="57"/>
                    </a:cubicBezTo>
                    <a:cubicBezTo>
                      <a:pt x="76" y="76"/>
                      <a:pt x="73" y="91"/>
                      <a:pt x="66" y="101"/>
                    </a:cubicBezTo>
                    <a:cubicBezTo>
                      <a:pt x="59" y="110"/>
                      <a:pt x="49" y="115"/>
                      <a:pt x="37" y="115"/>
                    </a:cubicBezTo>
                    <a:close/>
                    <a:moveTo>
                      <a:pt x="38" y="15"/>
                    </a:moveTo>
                    <a:cubicBezTo>
                      <a:pt x="25" y="15"/>
                      <a:pt x="18" y="30"/>
                      <a:pt x="18" y="59"/>
                    </a:cubicBezTo>
                    <a:cubicBezTo>
                      <a:pt x="18" y="87"/>
                      <a:pt x="25" y="101"/>
                      <a:pt x="38" y="101"/>
                    </a:cubicBezTo>
                    <a:cubicBezTo>
                      <a:pt x="51" y="101"/>
                      <a:pt x="58" y="87"/>
                      <a:pt x="58" y="59"/>
                    </a:cubicBezTo>
                    <a:cubicBezTo>
                      <a:pt x="58" y="29"/>
                      <a:pt x="51" y="15"/>
                      <a:pt x="38"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3" tIns="46616" rIns="93233" bIns="46616" numCol="1" anchor="t" anchorCtr="0" compatLnSpc="1">
                <a:prstTxWarp prst="textNoShape">
                  <a:avLst/>
                </a:prstTxWarp>
              </a:bodyPr>
              <a:lstStyle/>
              <a:p>
                <a:pPr marL="0" marR="0" lvl="0" indent="0" defTabSz="914192" eaLnBrk="1" fontAlgn="auto" latinLnBrk="0" hangingPunct="1">
                  <a:lnSpc>
                    <a:spcPct val="100000"/>
                  </a:lnSpc>
                  <a:spcBef>
                    <a:spcPts val="0"/>
                  </a:spcBef>
                  <a:spcAft>
                    <a:spcPts val="0"/>
                  </a:spcAft>
                  <a:buClrTx/>
                  <a:buSzTx/>
                  <a:buFontTx/>
                  <a:buNone/>
                  <a:tabLst/>
                  <a:defRPr/>
                </a:pPr>
                <a:endParaRPr kumimoji="0" lang="en-US" sz="2448" b="0" i="0" u="none" strike="noStrike" kern="0" cap="none" spc="0" normalizeH="0" baseline="0" noProof="0" dirty="0">
                  <a:ln>
                    <a:noFill/>
                  </a:ln>
                  <a:solidFill>
                    <a:sysClr val="windowText" lastClr="000000"/>
                  </a:solidFill>
                  <a:effectLst/>
                  <a:uLnTx/>
                  <a:uFillTx/>
                  <a:latin typeface="Segoe UI"/>
                  <a:ea typeface="MS PGothic" charset="0"/>
                </a:endParaRPr>
              </a:p>
            </p:txBody>
          </p:sp>
          <p:sp>
            <p:nvSpPr>
              <p:cNvPr id="80" name="Freeform 15"/>
              <p:cNvSpPr>
                <a:spLocks noEditPoints="1"/>
              </p:cNvSpPr>
              <p:nvPr/>
            </p:nvSpPr>
            <p:spPr bwMode="auto">
              <a:xfrm>
                <a:off x="6226423" y="4736366"/>
                <a:ext cx="77209" cy="109326"/>
              </a:xfrm>
              <a:custGeom>
                <a:avLst/>
                <a:gdLst>
                  <a:gd name="T0" fmla="*/ 37 w 76"/>
                  <a:gd name="T1" fmla="*/ 115 h 115"/>
                  <a:gd name="T2" fmla="*/ 10 w 76"/>
                  <a:gd name="T3" fmla="*/ 101 h 115"/>
                  <a:gd name="T4" fmla="*/ 0 w 76"/>
                  <a:gd name="T5" fmla="*/ 60 h 115"/>
                  <a:gd name="T6" fmla="*/ 10 w 76"/>
                  <a:gd name="T7" fmla="*/ 15 h 115"/>
                  <a:gd name="T8" fmla="*/ 39 w 76"/>
                  <a:gd name="T9" fmla="*/ 0 h 115"/>
                  <a:gd name="T10" fmla="*/ 76 w 76"/>
                  <a:gd name="T11" fmla="*/ 57 h 115"/>
                  <a:gd name="T12" fmla="*/ 66 w 76"/>
                  <a:gd name="T13" fmla="*/ 100 h 115"/>
                  <a:gd name="T14" fmla="*/ 37 w 76"/>
                  <a:gd name="T15" fmla="*/ 115 h 115"/>
                  <a:gd name="T16" fmla="*/ 38 w 76"/>
                  <a:gd name="T17" fmla="*/ 14 h 115"/>
                  <a:gd name="T18" fmla="*/ 18 w 76"/>
                  <a:gd name="T19" fmla="*/ 59 h 115"/>
                  <a:gd name="T20" fmla="*/ 38 w 76"/>
                  <a:gd name="T21" fmla="*/ 101 h 115"/>
                  <a:gd name="T22" fmla="*/ 58 w 76"/>
                  <a:gd name="T23" fmla="*/ 58 h 115"/>
                  <a:gd name="T24" fmla="*/ 38 w 76"/>
                  <a:gd name="T25" fmla="*/ 14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6" h="115">
                    <a:moveTo>
                      <a:pt x="37" y="115"/>
                    </a:moveTo>
                    <a:cubicBezTo>
                      <a:pt x="25" y="115"/>
                      <a:pt x="16" y="110"/>
                      <a:pt x="10" y="101"/>
                    </a:cubicBezTo>
                    <a:cubicBezTo>
                      <a:pt x="3" y="92"/>
                      <a:pt x="0" y="78"/>
                      <a:pt x="0" y="60"/>
                    </a:cubicBezTo>
                    <a:cubicBezTo>
                      <a:pt x="0" y="40"/>
                      <a:pt x="3" y="25"/>
                      <a:pt x="10" y="15"/>
                    </a:cubicBezTo>
                    <a:cubicBezTo>
                      <a:pt x="17" y="5"/>
                      <a:pt x="27" y="0"/>
                      <a:pt x="39" y="0"/>
                    </a:cubicBezTo>
                    <a:cubicBezTo>
                      <a:pt x="64" y="0"/>
                      <a:pt x="76" y="19"/>
                      <a:pt x="76" y="57"/>
                    </a:cubicBezTo>
                    <a:cubicBezTo>
                      <a:pt x="76" y="76"/>
                      <a:pt x="73" y="90"/>
                      <a:pt x="66" y="100"/>
                    </a:cubicBezTo>
                    <a:cubicBezTo>
                      <a:pt x="59" y="110"/>
                      <a:pt x="49" y="115"/>
                      <a:pt x="37" y="115"/>
                    </a:cubicBezTo>
                    <a:close/>
                    <a:moveTo>
                      <a:pt x="38" y="14"/>
                    </a:moveTo>
                    <a:cubicBezTo>
                      <a:pt x="25" y="14"/>
                      <a:pt x="18" y="29"/>
                      <a:pt x="18" y="59"/>
                    </a:cubicBezTo>
                    <a:cubicBezTo>
                      <a:pt x="18" y="87"/>
                      <a:pt x="25" y="101"/>
                      <a:pt x="38" y="101"/>
                    </a:cubicBezTo>
                    <a:cubicBezTo>
                      <a:pt x="51" y="101"/>
                      <a:pt x="58" y="87"/>
                      <a:pt x="58" y="58"/>
                    </a:cubicBezTo>
                    <a:cubicBezTo>
                      <a:pt x="58" y="29"/>
                      <a:pt x="51" y="14"/>
                      <a:pt x="38"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3" tIns="46616" rIns="93233" bIns="46616" numCol="1" anchor="t" anchorCtr="0" compatLnSpc="1">
                <a:prstTxWarp prst="textNoShape">
                  <a:avLst/>
                </a:prstTxWarp>
              </a:bodyPr>
              <a:lstStyle/>
              <a:p>
                <a:pPr marL="0" marR="0" lvl="0" indent="0" defTabSz="914192" eaLnBrk="1" fontAlgn="auto" latinLnBrk="0" hangingPunct="1">
                  <a:lnSpc>
                    <a:spcPct val="100000"/>
                  </a:lnSpc>
                  <a:spcBef>
                    <a:spcPts val="0"/>
                  </a:spcBef>
                  <a:spcAft>
                    <a:spcPts val="0"/>
                  </a:spcAft>
                  <a:buClrTx/>
                  <a:buSzTx/>
                  <a:buFontTx/>
                  <a:buNone/>
                  <a:tabLst/>
                  <a:defRPr/>
                </a:pPr>
                <a:endParaRPr kumimoji="0" lang="en-US" sz="2448" b="0" i="0" u="none" strike="noStrike" kern="0" cap="none" spc="0" normalizeH="0" baseline="0" noProof="0" dirty="0">
                  <a:ln>
                    <a:noFill/>
                  </a:ln>
                  <a:solidFill>
                    <a:sysClr val="windowText" lastClr="000000"/>
                  </a:solidFill>
                  <a:effectLst/>
                  <a:uLnTx/>
                  <a:uFillTx/>
                  <a:latin typeface="Segoe UI"/>
                  <a:ea typeface="MS PGothic" charset="0"/>
                </a:endParaRPr>
              </a:p>
            </p:txBody>
          </p:sp>
          <p:sp>
            <p:nvSpPr>
              <p:cNvPr id="81" name="Freeform 16"/>
              <p:cNvSpPr>
                <a:spLocks noEditPoints="1"/>
              </p:cNvSpPr>
              <p:nvPr/>
            </p:nvSpPr>
            <p:spPr bwMode="auto">
              <a:xfrm>
                <a:off x="6226423" y="4604879"/>
                <a:ext cx="77209" cy="110804"/>
              </a:xfrm>
              <a:custGeom>
                <a:avLst/>
                <a:gdLst>
                  <a:gd name="T0" fmla="*/ 37 w 76"/>
                  <a:gd name="T1" fmla="*/ 116 h 116"/>
                  <a:gd name="T2" fmla="*/ 10 w 76"/>
                  <a:gd name="T3" fmla="*/ 101 h 116"/>
                  <a:gd name="T4" fmla="*/ 0 w 76"/>
                  <a:gd name="T5" fmla="*/ 60 h 116"/>
                  <a:gd name="T6" fmla="*/ 10 w 76"/>
                  <a:gd name="T7" fmla="*/ 16 h 116"/>
                  <a:gd name="T8" fmla="*/ 39 w 76"/>
                  <a:gd name="T9" fmla="*/ 0 h 116"/>
                  <a:gd name="T10" fmla="*/ 76 w 76"/>
                  <a:gd name="T11" fmla="*/ 58 h 116"/>
                  <a:gd name="T12" fmla="*/ 66 w 76"/>
                  <a:gd name="T13" fmla="*/ 101 h 116"/>
                  <a:gd name="T14" fmla="*/ 37 w 76"/>
                  <a:gd name="T15" fmla="*/ 116 h 116"/>
                  <a:gd name="T16" fmla="*/ 38 w 76"/>
                  <a:gd name="T17" fmla="*/ 15 h 116"/>
                  <a:gd name="T18" fmla="*/ 18 w 76"/>
                  <a:gd name="T19" fmla="*/ 59 h 116"/>
                  <a:gd name="T20" fmla="*/ 38 w 76"/>
                  <a:gd name="T21" fmla="*/ 101 h 116"/>
                  <a:gd name="T22" fmla="*/ 58 w 76"/>
                  <a:gd name="T23" fmla="*/ 59 h 116"/>
                  <a:gd name="T24" fmla="*/ 38 w 76"/>
                  <a:gd name="T25" fmla="*/ 15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6" h="116">
                    <a:moveTo>
                      <a:pt x="37" y="116"/>
                    </a:moveTo>
                    <a:cubicBezTo>
                      <a:pt x="25" y="116"/>
                      <a:pt x="16" y="111"/>
                      <a:pt x="10" y="101"/>
                    </a:cubicBezTo>
                    <a:cubicBezTo>
                      <a:pt x="3" y="92"/>
                      <a:pt x="0" y="78"/>
                      <a:pt x="0" y="60"/>
                    </a:cubicBezTo>
                    <a:cubicBezTo>
                      <a:pt x="0" y="41"/>
                      <a:pt x="3" y="26"/>
                      <a:pt x="10" y="16"/>
                    </a:cubicBezTo>
                    <a:cubicBezTo>
                      <a:pt x="17" y="5"/>
                      <a:pt x="27" y="0"/>
                      <a:pt x="39" y="0"/>
                    </a:cubicBezTo>
                    <a:cubicBezTo>
                      <a:pt x="64" y="0"/>
                      <a:pt x="76" y="19"/>
                      <a:pt x="76" y="58"/>
                    </a:cubicBezTo>
                    <a:cubicBezTo>
                      <a:pt x="76" y="76"/>
                      <a:pt x="73" y="91"/>
                      <a:pt x="66" y="101"/>
                    </a:cubicBezTo>
                    <a:cubicBezTo>
                      <a:pt x="59" y="111"/>
                      <a:pt x="49" y="116"/>
                      <a:pt x="37" y="116"/>
                    </a:cubicBezTo>
                    <a:close/>
                    <a:moveTo>
                      <a:pt x="38" y="15"/>
                    </a:moveTo>
                    <a:cubicBezTo>
                      <a:pt x="25" y="15"/>
                      <a:pt x="18" y="30"/>
                      <a:pt x="18" y="59"/>
                    </a:cubicBezTo>
                    <a:cubicBezTo>
                      <a:pt x="18" y="87"/>
                      <a:pt x="25" y="101"/>
                      <a:pt x="38" y="101"/>
                    </a:cubicBezTo>
                    <a:cubicBezTo>
                      <a:pt x="51" y="101"/>
                      <a:pt x="58" y="87"/>
                      <a:pt x="58" y="59"/>
                    </a:cubicBezTo>
                    <a:cubicBezTo>
                      <a:pt x="58" y="29"/>
                      <a:pt x="51" y="15"/>
                      <a:pt x="38"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3" tIns="46616" rIns="93233" bIns="46616" numCol="1" anchor="t" anchorCtr="0" compatLnSpc="1">
                <a:prstTxWarp prst="textNoShape">
                  <a:avLst/>
                </a:prstTxWarp>
              </a:bodyPr>
              <a:lstStyle/>
              <a:p>
                <a:pPr marL="0" marR="0" lvl="0" indent="0" defTabSz="914192" eaLnBrk="1" fontAlgn="auto" latinLnBrk="0" hangingPunct="1">
                  <a:lnSpc>
                    <a:spcPct val="100000"/>
                  </a:lnSpc>
                  <a:spcBef>
                    <a:spcPts val="0"/>
                  </a:spcBef>
                  <a:spcAft>
                    <a:spcPts val="0"/>
                  </a:spcAft>
                  <a:buClrTx/>
                  <a:buSzTx/>
                  <a:buFontTx/>
                  <a:buNone/>
                  <a:tabLst/>
                  <a:defRPr/>
                </a:pPr>
                <a:endParaRPr kumimoji="0" lang="en-US" sz="2448" b="0" i="0" u="none" strike="noStrike" kern="0" cap="none" spc="0" normalizeH="0" baseline="0" noProof="0" dirty="0">
                  <a:ln>
                    <a:noFill/>
                  </a:ln>
                  <a:solidFill>
                    <a:srgbClr val="92D050"/>
                  </a:solidFill>
                  <a:effectLst/>
                  <a:uLnTx/>
                  <a:uFillTx/>
                  <a:latin typeface="Segoe UI"/>
                  <a:ea typeface="MS PGothic" charset="0"/>
                </a:endParaRPr>
              </a:p>
            </p:txBody>
          </p:sp>
        </p:grpSp>
        <p:grpSp>
          <p:nvGrpSpPr>
            <p:cNvPr id="417" name="Group 416"/>
            <p:cNvGrpSpPr/>
            <p:nvPr/>
          </p:nvGrpSpPr>
          <p:grpSpPr>
            <a:xfrm>
              <a:off x="6740159" y="5008108"/>
              <a:ext cx="283626" cy="502311"/>
              <a:chOff x="6357206" y="4473391"/>
              <a:chExt cx="283626" cy="502311"/>
            </a:xfrm>
            <a:solidFill>
              <a:schemeClr val="accent1"/>
            </a:solidFill>
          </p:grpSpPr>
          <p:sp>
            <p:nvSpPr>
              <p:cNvPr id="82" name="Freeform 21"/>
              <p:cNvSpPr>
                <a:spLocks/>
              </p:cNvSpPr>
              <p:nvPr/>
            </p:nvSpPr>
            <p:spPr bwMode="auto">
              <a:xfrm>
                <a:off x="6357206" y="4867853"/>
                <a:ext cx="39392" cy="104894"/>
              </a:xfrm>
              <a:custGeom>
                <a:avLst/>
                <a:gdLst>
                  <a:gd name="T0" fmla="*/ 40 w 40"/>
                  <a:gd name="T1" fmla="*/ 0 h 111"/>
                  <a:gd name="T2" fmla="*/ 40 w 40"/>
                  <a:gd name="T3" fmla="*/ 111 h 111"/>
                  <a:gd name="T4" fmla="*/ 23 w 40"/>
                  <a:gd name="T5" fmla="*/ 111 h 111"/>
                  <a:gd name="T6" fmla="*/ 23 w 40"/>
                  <a:gd name="T7" fmla="*/ 21 h 111"/>
                  <a:gd name="T8" fmla="*/ 13 w 40"/>
                  <a:gd name="T9" fmla="*/ 27 h 111"/>
                  <a:gd name="T10" fmla="*/ 0 w 40"/>
                  <a:gd name="T11" fmla="*/ 31 h 111"/>
                  <a:gd name="T12" fmla="*/ 0 w 40"/>
                  <a:gd name="T13" fmla="*/ 16 h 111"/>
                  <a:gd name="T14" fmla="*/ 8 w 40"/>
                  <a:gd name="T15" fmla="*/ 13 h 111"/>
                  <a:gd name="T16" fmla="*/ 17 w 40"/>
                  <a:gd name="T17" fmla="*/ 10 h 111"/>
                  <a:gd name="T18" fmla="*/ 25 w 40"/>
                  <a:gd name="T19" fmla="*/ 5 h 111"/>
                  <a:gd name="T20" fmla="*/ 33 w 40"/>
                  <a:gd name="T21" fmla="*/ 0 h 111"/>
                  <a:gd name="T22" fmla="*/ 40 w 40"/>
                  <a:gd name="T23" fmla="*/ 0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0" h="111">
                    <a:moveTo>
                      <a:pt x="40" y="0"/>
                    </a:moveTo>
                    <a:cubicBezTo>
                      <a:pt x="40" y="111"/>
                      <a:pt x="40" y="111"/>
                      <a:pt x="40" y="111"/>
                    </a:cubicBezTo>
                    <a:cubicBezTo>
                      <a:pt x="23" y="111"/>
                      <a:pt x="23" y="111"/>
                      <a:pt x="23" y="111"/>
                    </a:cubicBezTo>
                    <a:cubicBezTo>
                      <a:pt x="23" y="21"/>
                      <a:pt x="23" y="21"/>
                      <a:pt x="23" y="21"/>
                    </a:cubicBezTo>
                    <a:cubicBezTo>
                      <a:pt x="20" y="23"/>
                      <a:pt x="16" y="25"/>
                      <a:pt x="13" y="27"/>
                    </a:cubicBezTo>
                    <a:cubicBezTo>
                      <a:pt x="9" y="29"/>
                      <a:pt x="5" y="30"/>
                      <a:pt x="0" y="31"/>
                    </a:cubicBezTo>
                    <a:cubicBezTo>
                      <a:pt x="0" y="16"/>
                      <a:pt x="0" y="16"/>
                      <a:pt x="0" y="16"/>
                    </a:cubicBezTo>
                    <a:cubicBezTo>
                      <a:pt x="3" y="15"/>
                      <a:pt x="6" y="14"/>
                      <a:pt x="8" y="13"/>
                    </a:cubicBezTo>
                    <a:cubicBezTo>
                      <a:pt x="11" y="12"/>
                      <a:pt x="14" y="11"/>
                      <a:pt x="17" y="10"/>
                    </a:cubicBezTo>
                    <a:cubicBezTo>
                      <a:pt x="19" y="8"/>
                      <a:pt x="22" y="7"/>
                      <a:pt x="25" y="5"/>
                    </a:cubicBezTo>
                    <a:cubicBezTo>
                      <a:pt x="27" y="4"/>
                      <a:pt x="30" y="2"/>
                      <a:pt x="33" y="0"/>
                    </a:cubicBezTo>
                    <a:lnTo>
                      <a:pt x="4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3" tIns="46616" rIns="93233" bIns="46616" numCol="1" anchor="t" anchorCtr="0" compatLnSpc="1">
                <a:prstTxWarp prst="textNoShape">
                  <a:avLst/>
                </a:prstTxWarp>
              </a:bodyPr>
              <a:lstStyle/>
              <a:p>
                <a:pPr marL="0" marR="0" lvl="0" indent="0" defTabSz="914192" eaLnBrk="1" fontAlgn="auto" latinLnBrk="0" hangingPunct="1">
                  <a:lnSpc>
                    <a:spcPct val="100000"/>
                  </a:lnSpc>
                  <a:spcBef>
                    <a:spcPts val="0"/>
                  </a:spcBef>
                  <a:spcAft>
                    <a:spcPts val="0"/>
                  </a:spcAft>
                  <a:buClrTx/>
                  <a:buSzTx/>
                  <a:buFontTx/>
                  <a:buNone/>
                  <a:tabLst/>
                  <a:defRPr/>
                </a:pPr>
                <a:endParaRPr kumimoji="0" lang="en-US" sz="2448" b="0" i="0" u="none" strike="noStrike" kern="0" cap="none" spc="0" normalizeH="0" baseline="0" noProof="0" dirty="0">
                  <a:ln>
                    <a:noFill/>
                  </a:ln>
                  <a:solidFill>
                    <a:sysClr val="windowText" lastClr="000000"/>
                  </a:solidFill>
                  <a:effectLst/>
                  <a:uLnTx/>
                  <a:uFillTx/>
                  <a:latin typeface="Segoe UI"/>
                  <a:ea typeface="MS PGothic" charset="0"/>
                </a:endParaRPr>
              </a:p>
            </p:txBody>
          </p:sp>
          <p:sp>
            <p:nvSpPr>
              <p:cNvPr id="83" name="Freeform 22"/>
              <p:cNvSpPr>
                <a:spLocks/>
              </p:cNvSpPr>
              <p:nvPr/>
            </p:nvSpPr>
            <p:spPr bwMode="auto">
              <a:xfrm>
                <a:off x="6357206" y="4737843"/>
                <a:ext cx="39392" cy="106372"/>
              </a:xfrm>
              <a:custGeom>
                <a:avLst/>
                <a:gdLst>
                  <a:gd name="T0" fmla="*/ 40 w 40"/>
                  <a:gd name="T1" fmla="*/ 0 h 112"/>
                  <a:gd name="T2" fmla="*/ 40 w 40"/>
                  <a:gd name="T3" fmla="*/ 112 h 112"/>
                  <a:gd name="T4" fmla="*/ 23 w 40"/>
                  <a:gd name="T5" fmla="*/ 112 h 112"/>
                  <a:gd name="T6" fmla="*/ 23 w 40"/>
                  <a:gd name="T7" fmla="*/ 22 h 112"/>
                  <a:gd name="T8" fmla="*/ 13 w 40"/>
                  <a:gd name="T9" fmla="*/ 28 h 112"/>
                  <a:gd name="T10" fmla="*/ 0 w 40"/>
                  <a:gd name="T11" fmla="*/ 32 h 112"/>
                  <a:gd name="T12" fmla="*/ 0 w 40"/>
                  <a:gd name="T13" fmla="*/ 17 h 112"/>
                  <a:gd name="T14" fmla="*/ 8 w 40"/>
                  <a:gd name="T15" fmla="*/ 14 h 112"/>
                  <a:gd name="T16" fmla="*/ 17 w 40"/>
                  <a:gd name="T17" fmla="*/ 10 h 112"/>
                  <a:gd name="T18" fmla="*/ 25 w 40"/>
                  <a:gd name="T19" fmla="*/ 6 h 112"/>
                  <a:gd name="T20" fmla="*/ 33 w 40"/>
                  <a:gd name="T21" fmla="*/ 0 h 112"/>
                  <a:gd name="T22" fmla="*/ 40 w 40"/>
                  <a:gd name="T23" fmla="*/ 0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0" h="112">
                    <a:moveTo>
                      <a:pt x="40" y="0"/>
                    </a:moveTo>
                    <a:cubicBezTo>
                      <a:pt x="40" y="112"/>
                      <a:pt x="40" y="112"/>
                      <a:pt x="40" y="112"/>
                    </a:cubicBezTo>
                    <a:cubicBezTo>
                      <a:pt x="23" y="112"/>
                      <a:pt x="23" y="112"/>
                      <a:pt x="23" y="112"/>
                    </a:cubicBezTo>
                    <a:cubicBezTo>
                      <a:pt x="23" y="22"/>
                      <a:pt x="23" y="22"/>
                      <a:pt x="23" y="22"/>
                    </a:cubicBezTo>
                    <a:cubicBezTo>
                      <a:pt x="20" y="24"/>
                      <a:pt x="16" y="26"/>
                      <a:pt x="13" y="28"/>
                    </a:cubicBezTo>
                    <a:cubicBezTo>
                      <a:pt x="9" y="29"/>
                      <a:pt x="5" y="31"/>
                      <a:pt x="0" y="32"/>
                    </a:cubicBezTo>
                    <a:cubicBezTo>
                      <a:pt x="0" y="17"/>
                      <a:pt x="0" y="17"/>
                      <a:pt x="0" y="17"/>
                    </a:cubicBezTo>
                    <a:cubicBezTo>
                      <a:pt x="3" y="16"/>
                      <a:pt x="6" y="15"/>
                      <a:pt x="8" y="14"/>
                    </a:cubicBezTo>
                    <a:cubicBezTo>
                      <a:pt x="11" y="13"/>
                      <a:pt x="14" y="12"/>
                      <a:pt x="17" y="10"/>
                    </a:cubicBezTo>
                    <a:cubicBezTo>
                      <a:pt x="19" y="9"/>
                      <a:pt x="22" y="8"/>
                      <a:pt x="25" y="6"/>
                    </a:cubicBezTo>
                    <a:cubicBezTo>
                      <a:pt x="27" y="4"/>
                      <a:pt x="30" y="2"/>
                      <a:pt x="33" y="0"/>
                    </a:cubicBezTo>
                    <a:lnTo>
                      <a:pt x="4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3" tIns="46616" rIns="93233" bIns="46616" numCol="1" anchor="t" anchorCtr="0" compatLnSpc="1">
                <a:prstTxWarp prst="textNoShape">
                  <a:avLst/>
                </a:prstTxWarp>
              </a:bodyPr>
              <a:lstStyle/>
              <a:p>
                <a:pPr marL="0" marR="0" lvl="0" indent="0" defTabSz="914192" eaLnBrk="1" fontAlgn="auto" latinLnBrk="0" hangingPunct="1">
                  <a:lnSpc>
                    <a:spcPct val="100000"/>
                  </a:lnSpc>
                  <a:spcBef>
                    <a:spcPts val="0"/>
                  </a:spcBef>
                  <a:spcAft>
                    <a:spcPts val="0"/>
                  </a:spcAft>
                  <a:buClrTx/>
                  <a:buSzTx/>
                  <a:buFontTx/>
                  <a:buNone/>
                  <a:tabLst/>
                  <a:defRPr/>
                </a:pPr>
                <a:endParaRPr kumimoji="0" lang="en-US" sz="2448" b="0" i="0" u="none" strike="noStrike" kern="0" cap="none" spc="0" normalizeH="0" baseline="0" noProof="0" dirty="0">
                  <a:ln>
                    <a:noFill/>
                  </a:ln>
                  <a:solidFill>
                    <a:sysClr val="windowText" lastClr="000000"/>
                  </a:solidFill>
                  <a:effectLst/>
                  <a:uLnTx/>
                  <a:uFillTx/>
                  <a:latin typeface="Segoe UI"/>
                  <a:ea typeface="MS PGothic" charset="0"/>
                </a:endParaRPr>
              </a:p>
            </p:txBody>
          </p:sp>
          <p:sp>
            <p:nvSpPr>
              <p:cNvPr id="84" name="Freeform 23"/>
              <p:cNvSpPr>
                <a:spLocks/>
              </p:cNvSpPr>
              <p:nvPr/>
            </p:nvSpPr>
            <p:spPr bwMode="auto">
              <a:xfrm>
                <a:off x="6357206" y="4607833"/>
                <a:ext cx="39392" cy="104894"/>
              </a:xfrm>
              <a:custGeom>
                <a:avLst/>
                <a:gdLst>
                  <a:gd name="T0" fmla="*/ 40 w 40"/>
                  <a:gd name="T1" fmla="*/ 0 h 112"/>
                  <a:gd name="T2" fmla="*/ 40 w 40"/>
                  <a:gd name="T3" fmla="*/ 112 h 112"/>
                  <a:gd name="T4" fmla="*/ 23 w 40"/>
                  <a:gd name="T5" fmla="*/ 112 h 112"/>
                  <a:gd name="T6" fmla="*/ 23 w 40"/>
                  <a:gd name="T7" fmla="*/ 22 h 112"/>
                  <a:gd name="T8" fmla="*/ 13 w 40"/>
                  <a:gd name="T9" fmla="*/ 28 h 112"/>
                  <a:gd name="T10" fmla="*/ 0 w 40"/>
                  <a:gd name="T11" fmla="*/ 32 h 112"/>
                  <a:gd name="T12" fmla="*/ 0 w 40"/>
                  <a:gd name="T13" fmla="*/ 17 h 112"/>
                  <a:gd name="T14" fmla="*/ 8 w 40"/>
                  <a:gd name="T15" fmla="*/ 14 h 112"/>
                  <a:gd name="T16" fmla="*/ 17 w 40"/>
                  <a:gd name="T17" fmla="*/ 10 h 112"/>
                  <a:gd name="T18" fmla="*/ 25 w 40"/>
                  <a:gd name="T19" fmla="*/ 6 h 112"/>
                  <a:gd name="T20" fmla="*/ 33 w 40"/>
                  <a:gd name="T21" fmla="*/ 0 h 112"/>
                  <a:gd name="T22" fmla="*/ 40 w 40"/>
                  <a:gd name="T23" fmla="*/ 0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0" h="112">
                    <a:moveTo>
                      <a:pt x="40" y="0"/>
                    </a:moveTo>
                    <a:cubicBezTo>
                      <a:pt x="40" y="112"/>
                      <a:pt x="40" y="112"/>
                      <a:pt x="40" y="112"/>
                    </a:cubicBezTo>
                    <a:cubicBezTo>
                      <a:pt x="23" y="112"/>
                      <a:pt x="23" y="112"/>
                      <a:pt x="23" y="112"/>
                    </a:cubicBezTo>
                    <a:cubicBezTo>
                      <a:pt x="23" y="22"/>
                      <a:pt x="23" y="22"/>
                      <a:pt x="23" y="22"/>
                    </a:cubicBezTo>
                    <a:cubicBezTo>
                      <a:pt x="20" y="24"/>
                      <a:pt x="16" y="26"/>
                      <a:pt x="13" y="28"/>
                    </a:cubicBezTo>
                    <a:cubicBezTo>
                      <a:pt x="9" y="29"/>
                      <a:pt x="5" y="31"/>
                      <a:pt x="0" y="32"/>
                    </a:cubicBezTo>
                    <a:cubicBezTo>
                      <a:pt x="0" y="17"/>
                      <a:pt x="0" y="17"/>
                      <a:pt x="0" y="17"/>
                    </a:cubicBezTo>
                    <a:cubicBezTo>
                      <a:pt x="3" y="16"/>
                      <a:pt x="6" y="15"/>
                      <a:pt x="8" y="14"/>
                    </a:cubicBezTo>
                    <a:cubicBezTo>
                      <a:pt x="11" y="13"/>
                      <a:pt x="14" y="12"/>
                      <a:pt x="17" y="10"/>
                    </a:cubicBezTo>
                    <a:cubicBezTo>
                      <a:pt x="19" y="9"/>
                      <a:pt x="22" y="8"/>
                      <a:pt x="25" y="6"/>
                    </a:cubicBezTo>
                    <a:cubicBezTo>
                      <a:pt x="27" y="4"/>
                      <a:pt x="30" y="2"/>
                      <a:pt x="33" y="0"/>
                    </a:cubicBezTo>
                    <a:lnTo>
                      <a:pt x="4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3" tIns="46616" rIns="93233" bIns="46616" numCol="1" anchor="t" anchorCtr="0" compatLnSpc="1">
                <a:prstTxWarp prst="textNoShape">
                  <a:avLst/>
                </a:prstTxWarp>
              </a:bodyPr>
              <a:lstStyle/>
              <a:p>
                <a:pPr marL="0" marR="0" lvl="0" indent="0" defTabSz="914192" eaLnBrk="1" fontAlgn="auto" latinLnBrk="0" hangingPunct="1">
                  <a:lnSpc>
                    <a:spcPct val="100000"/>
                  </a:lnSpc>
                  <a:spcBef>
                    <a:spcPts val="0"/>
                  </a:spcBef>
                  <a:spcAft>
                    <a:spcPts val="0"/>
                  </a:spcAft>
                  <a:buClrTx/>
                  <a:buSzTx/>
                  <a:buFontTx/>
                  <a:buNone/>
                  <a:tabLst/>
                  <a:defRPr/>
                </a:pPr>
                <a:endParaRPr kumimoji="0" lang="en-US" sz="2448" b="0" i="0" u="none" strike="noStrike" kern="0" cap="none" spc="0" normalizeH="0" baseline="0" noProof="0" dirty="0">
                  <a:ln>
                    <a:noFill/>
                  </a:ln>
                  <a:solidFill>
                    <a:sysClr val="windowText" lastClr="000000"/>
                  </a:solidFill>
                  <a:effectLst/>
                  <a:uLnTx/>
                  <a:uFillTx/>
                  <a:latin typeface="Segoe UI"/>
                  <a:ea typeface="MS PGothic" charset="0"/>
                </a:endParaRPr>
              </a:p>
            </p:txBody>
          </p:sp>
          <p:sp>
            <p:nvSpPr>
              <p:cNvPr id="85" name="Freeform 24"/>
              <p:cNvSpPr>
                <a:spLocks/>
              </p:cNvSpPr>
              <p:nvPr/>
            </p:nvSpPr>
            <p:spPr bwMode="auto">
              <a:xfrm>
                <a:off x="6432840" y="4607833"/>
                <a:ext cx="39392" cy="104894"/>
              </a:xfrm>
              <a:custGeom>
                <a:avLst/>
                <a:gdLst>
                  <a:gd name="T0" fmla="*/ 40 w 40"/>
                  <a:gd name="T1" fmla="*/ 0 h 112"/>
                  <a:gd name="T2" fmla="*/ 40 w 40"/>
                  <a:gd name="T3" fmla="*/ 112 h 112"/>
                  <a:gd name="T4" fmla="*/ 22 w 40"/>
                  <a:gd name="T5" fmla="*/ 112 h 112"/>
                  <a:gd name="T6" fmla="*/ 22 w 40"/>
                  <a:gd name="T7" fmla="*/ 22 h 112"/>
                  <a:gd name="T8" fmla="*/ 12 w 40"/>
                  <a:gd name="T9" fmla="*/ 28 h 112"/>
                  <a:gd name="T10" fmla="*/ 0 w 40"/>
                  <a:gd name="T11" fmla="*/ 32 h 112"/>
                  <a:gd name="T12" fmla="*/ 0 w 40"/>
                  <a:gd name="T13" fmla="*/ 17 h 112"/>
                  <a:gd name="T14" fmla="*/ 8 w 40"/>
                  <a:gd name="T15" fmla="*/ 14 h 112"/>
                  <a:gd name="T16" fmla="*/ 16 w 40"/>
                  <a:gd name="T17" fmla="*/ 10 h 112"/>
                  <a:gd name="T18" fmla="*/ 24 w 40"/>
                  <a:gd name="T19" fmla="*/ 6 h 112"/>
                  <a:gd name="T20" fmla="*/ 33 w 40"/>
                  <a:gd name="T21" fmla="*/ 0 h 112"/>
                  <a:gd name="T22" fmla="*/ 40 w 40"/>
                  <a:gd name="T23" fmla="*/ 0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0" h="112">
                    <a:moveTo>
                      <a:pt x="40" y="0"/>
                    </a:moveTo>
                    <a:cubicBezTo>
                      <a:pt x="40" y="112"/>
                      <a:pt x="40" y="112"/>
                      <a:pt x="40" y="112"/>
                    </a:cubicBezTo>
                    <a:cubicBezTo>
                      <a:pt x="22" y="112"/>
                      <a:pt x="22" y="112"/>
                      <a:pt x="22" y="112"/>
                    </a:cubicBezTo>
                    <a:cubicBezTo>
                      <a:pt x="22" y="22"/>
                      <a:pt x="22" y="22"/>
                      <a:pt x="22" y="22"/>
                    </a:cubicBezTo>
                    <a:cubicBezTo>
                      <a:pt x="19" y="24"/>
                      <a:pt x="16" y="26"/>
                      <a:pt x="12" y="28"/>
                    </a:cubicBezTo>
                    <a:cubicBezTo>
                      <a:pt x="9" y="29"/>
                      <a:pt x="4" y="31"/>
                      <a:pt x="0" y="32"/>
                    </a:cubicBezTo>
                    <a:cubicBezTo>
                      <a:pt x="0" y="17"/>
                      <a:pt x="0" y="17"/>
                      <a:pt x="0" y="17"/>
                    </a:cubicBezTo>
                    <a:cubicBezTo>
                      <a:pt x="3" y="16"/>
                      <a:pt x="5" y="15"/>
                      <a:pt x="8" y="14"/>
                    </a:cubicBezTo>
                    <a:cubicBezTo>
                      <a:pt x="11" y="13"/>
                      <a:pt x="14" y="12"/>
                      <a:pt x="16" y="10"/>
                    </a:cubicBezTo>
                    <a:cubicBezTo>
                      <a:pt x="19" y="9"/>
                      <a:pt x="22" y="8"/>
                      <a:pt x="24" y="6"/>
                    </a:cubicBezTo>
                    <a:cubicBezTo>
                      <a:pt x="27" y="4"/>
                      <a:pt x="30" y="2"/>
                      <a:pt x="33" y="0"/>
                    </a:cubicBezTo>
                    <a:lnTo>
                      <a:pt x="4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3" tIns="46616" rIns="93233" bIns="46616" numCol="1" anchor="t" anchorCtr="0" compatLnSpc="1">
                <a:prstTxWarp prst="textNoShape">
                  <a:avLst/>
                </a:prstTxWarp>
              </a:bodyPr>
              <a:lstStyle/>
              <a:p>
                <a:pPr marL="0" marR="0" lvl="0" indent="0" defTabSz="914192" eaLnBrk="1" fontAlgn="auto" latinLnBrk="0" hangingPunct="1">
                  <a:lnSpc>
                    <a:spcPct val="100000"/>
                  </a:lnSpc>
                  <a:spcBef>
                    <a:spcPts val="0"/>
                  </a:spcBef>
                  <a:spcAft>
                    <a:spcPts val="0"/>
                  </a:spcAft>
                  <a:buClrTx/>
                  <a:buSzTx/>
                  <a:buFontTx/>
                  <a:buNone/>
                  <a:tabLst/>
                  <a:defRPr/>
                </a:pPr>
                <a:endParaRPr kumimoji="0" lang="en-US" sz="2448" b="0" i="0" u="none" strike="noStrike" kern="0" cap="none" spc="0" normalizeH="0" baseline="0" noProof="0" dirty="0">
                  <a:ln>
                    <a:noFill/>
                  </a:ln>
                  <a:solidFill>
                    <a:sysClr val="windowText" lastClr="000000"/>
                  </a:solidFill>
                  <a:effectLst/>
                  <a:uLnTx/>
                  <a:uFillTx/>
                  <a:latin typeface="Segoe UI"/>
                  <a:ea typeface="MS PGothic" charset="0"/>
                </a:endParaRPr>
              </a:p>
            </p:txBody>
          </p:sp>
          <p:sp>
            <p:nvSpPr>
              <p:cNvPr id="86" name="Freeform 25"/>
              <p:cNvSpPr>
                <a:spLocks noEditPoints="1"/>
              </p:cNvSpPr>
              <p:nvPr/>
            </p:nvSpPr>
            <p:spPr bwMode="auto">
              <a:xfrm>
                <a:off x="6413932" y="4866376"/>
                <a:ext cx="77209" cy="109326"/>
              </a:xfrm>
              <a:custGeom>
                <a:avLst/>
                <a:gdLst>
                  <a:gd name="T0" fmla="*/ 37 w 76"/>
                  <a:gd name="T1" fmla="*/ 115 h 115"/>
                  <a:gd name="T2" fmla="*/ 10 w 76"/>
                  <a:gd name="T3" fmla="*/ 101 h 115"/>
                  <a:gd name="T4" fmla="*/ 0 w 76"/>
                  <a:gd name="T5" fmla="*/ 60 h 115"/>
                  <a:gd name="T6" fmla="*/ 10 w 76"/>
                  <a:gd name="T7" fmla="*/ 15 h 115"/>
                  <a:gd name="T8" fmla="*/ 40 w 76"/>
                  <a:gd name="T9" fmla="*/ 0 h 115"/>
                  <a:gd name="T10" fmla="*/ 76 w 76"/>
                  <a:gd name="T11" fmla="*/ 57 h 115"/>
                  <a:gd name="T12" fmla="*/ 66 w 76"/>
                  <a:gd name="T13" fmla="*/ 101 h 115"/>
                  <a:gd name="T14" fmla="*/ 37 w 76"/>
                  <a:gd name="T15" fmla="*/ 115 h 115"/>
                  <a:gd name="T16" fmla="*/ 39 w 76"/>
                  <a:gd name="T17" fmla="*/ 15 h 115"/>
                  <a:gd name="T18" fmla="*/ 19 w 76"/>
                  <a:gd name="T19" fmla="*/ 59 h 115"/>
                  <a:gd name="T20" fmla="*/ 38 w 76"/>
                  <a:gd name="T21" fmla="*/ 101 h 115"/>
                  <a:gd name="T22" fmla="*/ 58 w 76"/>
                  <a:gd name="T23" fmla="*/ 59 h 115"/>
                  <a:gd name="T24" fmla="*/ 39 w 76"/>
                  <a:gd name="T25" fmla="*/ 15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6" h="115">
                    <a:moveTo>
                      <a:pt x="37" y="115"/>
                    </a:moveTo>
                    <a:cubicBezTo>
                      <a:pt x="25" y="115"/>
                      <a:pt x="16" y="111"/>
                      <a:pt x="10" y="101"/>
                    </a:cubicBezTo>
                    <a:cubicBezTo>
                      <a:pt x="3" y="92"/>
                      <a:pt x="0" y="78"/>
                      <a:pt x="0" y="60"/>
                    </a:cubicBezTo>
                    <a:cubicBezTo>
                      <a:pt x="0" y="40"/>
                      <a:pt x="4" y="26"/>
                      <a:pt x="10" y="15"/>
                    </a:cubicBezTo>
                    <a:cubicBezTo>
                      <a:pt x="17" y="5"/>
                      <a:pt x="27" y="0"/>
                      <a:pt x="40" y="0"/>
                    </a:cubicBezTo>
                    <a:cubicBezTo>
                      <a:pt x="64" y="0"/>
                      <a:pt x="76" y="19"/>
                      <a:pt x="76" y="57"/>
                    </a:cubicBezTo>
                    <a:cubicBezTo>
                      <a:pt x="76" y="76"/>
                      <a:pt x="73" y="91"/>
                      <a:pt x="66" y="101"/>
                    </a:cubicBezTo>
                    <a:cubicBezTo>
                      <a:pt x="59" y="110"/>
                      <a:pt x="49" y="115"/>
                      <a:pt x="37" y="115"/>
                    </a:cubicBezTo>
                    <a:close/>
                    <a:moveTo>
                      <a:pt x="39" y="15"/>
                    </a:moveTo>
                    <a:cubicBezTo>
                      <a:pt x="25" y="15"/>
                      <a:pt x="19" y="30"/>
                      <a:pt x="19" y="59"/>
                    </a:cubicBezTo>
                    <a:cubicBezTo>
                      <a:pt x="19" y="87"/>
                      <a:pt x="25" y="101"/>
                      <a:pt x="38" y="101"/>
                    </a:cubicBezTo>
                    <a:cubicBezTo>
                      <a:pt x="51" y="101"/>
                      <a:pt x="58" y="87"/>
                      <a:pt x="58" y="59"/>
                    </a:cubicBezTo>
                    <a:cubicBezTo>
                      <a:pt x="58" y="29"/>
                      <a:pt x="52" y="15"/>
                      <a:pt x="39"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3" tIns="46616" rIns="93233" bIns="46616" numCol="1" anchor="t" anchorCtr="0" compatLnSpc="1">
                <a:prstTxWarp prst="textNoShape">
                  <a:avLst/>
                </a:prstTxWarp>
              </a:bodyPr>
              <a:lstStyle/>
              <a:p>
                <a:pPr marL="0" marR="0" lvl="0" indent="0" defTabSz="914192" eaLnBrk="1" fontAlgn="auto" latinLnBrk="0" hangingPunct="1">
                  <a:lnSpc>
                    <a:spcPct val="100000"/>
                  </a:lnSpc>
                  <a:spcBef>
                    <a:spcPts val="0"/>
                  </a:spcBef>
                  <a:spcAft>
                    <a:spcPts val="0"/>
                  </a:spcAft>
                  <a:buClrTx/>
                  <a:buSzTx/>
                  <a:buFontTx/>
                  <a:buNone/>
                  <a:tabLst/>
                  <a:defRPr/>
                </a:pPr>
                <a:endParaRPr kumimoji="0" lang="en-US" sz="2448" b="0" i="0" u="none" strike="noStrike" kern="0" cap="none" spc="0" normalizeH="0" baseline="0" noProof="0" dirty="0">
                  <a:ln>
                    <a:noFill/>
                  </a:ln>
                  <a:solidFill>
                    <a:sysClr val="windowText" lastClr="000000"/>
                  </a:solidFill>
                  <a:effectLst/>
                  <a:uLnTx/>
                  <a:uFillTx/>
                  <a:latin typeface="Segoe UI"/>
                  <a:ea typeface="MS PGothic" charset="0"/>
                </a:endParaRPr>
              </a:p>
            </p:txBody>
          </p:sp>
          <p:sp>
            <p:nvSpPr>
              <p:cNvPr id="87" name="Freeform 26"/>
              <p:cNvSpPr>
                <a:spLocks noEditPoints="1"/>
              </p:cNvSpPr>
              <p:nvPr/>
            </p:nvSpPr>
            <p:spPr bwMode="auto">
              <a:xfrm>
                <a:off x="6415507" y="4736366"/>
                <a:ext cx="75634" cy="109326"/>
              </a:xfrm>
              <a:custGeom>
                <a:avLst/>
                <a:gdLst>
                  <a:gd name="T0" fmla="*/ 37 w 76"/>
                  <a:gd name="T1" fmla="*/ 115 h 115"/>
                  <a:gd name="T2" fmla="*/ 10 w 76"/>
                  <a:gd name="T3" fmla="*/ 101 h 115"/>
                  <a:gd name="T4" fmla="*/ 0 w 76"/>
                  <a:gd name="T5" fmla="*/ 60 h 115"/>
                  <a:gd name="T6" fmla="*/ 10 w 76"/>
                  <a:gd name="T7" fmla="*/ 15 h 115"/>
                  <a:gd name="T8" fmla="*/ 40 w 76"/>
                  <a:gd name="T9" fmla="*/ 0 h 115"/>
                  <a:gd name="T10" fmla="*/ 76 w 76"/>
                  <a:gd name="T11" fmla="*/ 57 h 115"/>
                  <a:gd name="T12" fmla="*/ 66 w 76"/>
                  <a:gd name="T13" fmla="*/ 100 h 115"/>
                  <a:gd name="T14" fmla="*/ 37 w 76"/>
                  <a:gd name="T15" fmla="*/ 115 h 115"/>
                  <a:gd name="T16" fmla="*/ 39 w 76"/>
                  <a:gd name="T17" fmla="*/ 14 h 115"/>
                  <a:gd name="T18" fmla="*/ 19 w 76"/>
                  <a:gd name="T19" fmla="*/ 59 h 115"/>
                  <a:gd name="T20" fmla="*/ 38 w 76"/>
                  <a:gd name="T21" fmla="*/ 101 h 115"/>
                  <a:gd name="T22" fmla="*/ 58 w 76"/>
                  <a:gd name="T23" fmla="*/ 58 h 115"/>
                  <a:gd name="T24" fmla="*/ 39 w 76"/>
                  <a:gd name="T25" fmla="*/ 14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6" h="115">
                    <a:moveTo>
                      <a:pt x="37" y="115"/>
                    </a:moveTo>
                    <a:cubicBezTo>
                      <a:pt x="25" y="115"/>
                      <a:pt x="16" y="110"/>
                      <a:pt x="10" y="101"/>
                    </a:cubicBezTo>
                    <a:cubicBezTo>
                      <a:pt x="3" y="92"/>
                      <a:pt x="0" y="78"/>
                      <a:pt x="0" y="60"/>
                    </a:cubicBezTo>
                    <a:cubicBezTo>
                      <a:pt x="0" y="40"/>
                      <a:pt x="4" y="25"/>
                      <a:pt x="10" y="15"/>
                    </a:cubicBezTo>
                    <a:cubicBezTo>
                      <a:pt x="17" y="5"/>
                      <a:pt x="27" y="0"/>
                      <a:pt x="40" y="0"/>
                    </a:cubicBezTo>
                    <a:cubicBezTo>
                      <a:pt x="64" y="0"/>
                      <a:pt x="76" y="19"/>
                      <a:pt x="76" y="57"/>
                    </a:cubicBezTo>
                    <a:cubicBezTo>
                      <a:pt x="76" y="76"/>
                      <a:pt x="73" y="90"/>
                      <a:pt x="66" y="100"/>
                    </a:cubicBezTo>
                    <a:cubicBezTo>
                      <a:pt x="59" y="110"/>
                      <a:pt x="49" y="115"/>
                      <a:pt x="37" y="115"/>
                    </a:cubicBezTo>
                    <a:close/>
                    <a:moveTo>
                      <a:pt x="39" y="14"/>
                    </a:moveTo>
                    <a:cubicBezTo>
                      <a:pt x="25" y="14"/>
                      <a:pt x="19" y="29"/>
                      <a:pt x="19" y="59"/>
                    </a:cubicBezTo>
                    <a:cubicBezTo>
                      <a:pt x="19" y="87"/>
                      <a:pt x="25" y="101"/>
                      <a:pt x="38" y="101"/>
                    </a:cubicBezTo>
                    <a:cubicBezTo>
                      <a:pt x="52" y="101"/>
                      <a:pt x="58" y="87"/>
                      <a:pt x="58" y="58"/>
                    </a:cubicBezTo>
                    <a:cubicBezTo>
                      <a:pt x="58" y="29"/>
                      <a:pt x="52" y="14"/>
                      <a:pt x="39"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3" tIns="46616" rIns="93233" bIns="46616" numCol="1" anchor="t" anchorCtr="0" compatLnSpc="1">
                <a:prstTxWarp prst="textNoShape">
                  <a:avLst/>
                </a:prstTxWarp>
              </a:bodyPr>
              <a:lstStyle/>
              <a:p>
                <a:pPr marL="0" marR="0" lvl="0" indent="0" defTabSz="914192" eaLnBrk="1" fontAlgn="auto" latinLnBrk="0" hangingPunct="1">
                  <a:lnSpc>
                    <a:spcPct val="100000"/>
                  </a:lnSpc>
                  <a:spcBef>
                    <a:spcPts val="0"/>
                  </a:spcBef>
                  <a:spcAft>
                    <a:spcPts val="0"/>
                  </a:spcAft>
                  <a:buClrTx/>
                  <a:buSzTx/>
                  <a:buFontTx/>
                  <a:buNone/>
                  <a:tabLst/>
                  <a:defRPr/>
                </a:pPr>
                <a:endParaRPr kumimoji="0" lang="en-US" sz="2448" b="0" i="0" u="none" strike="noStrike" kern="0" cap="none" spc="0" normalizeH="0" baseline="0" noProof="0" dirty="0">
                  <a:ln>
                    <a:noFill/>
                  </a:ln>
                  <a:solidFill>
                    <a:sysClr val="windowText" lastClr="000000"/>
                  </a:solidFill>
                  <a:effectLst/>
                  <a:uLnTx/>
                  <a:uFillTx/>
                  <a:latin typeface="Segoe UI"/>
                  <a:ea typeface="MS PGothic" charset="0"/>
                </a:endParaRPr>
              </a:p>
            </p:txBody>
          </p:sp>
          <p:sp>
            <p:nvSpPr>
              <p:cNvPr id="88" name="Freeform 27"/>
              <p:cNvSpPr>
                <a:spLocks/>
              </p:cNvSpPr>
              <p:nvPr/>
            </p:nvSpPr>
            <p:spPr bwMode="auto">
              <a:xfrm>
                <a:off x="6505322" y="4867853"/>
                <a:ext cx="40968" cy="104894"/>
              </a:xfrm>
              <a:custGeom>
                <a:avLst/>
                <a:gdLst>
                  <a:gd name="T0" fmla="*/ 40 w 40"/>
                  <a:gd name="T1" fmla="*/ 0 h 111"/>
                  <a:gd name="T2" fmla="*/ 40 w 40"/>
                  <a:gd name="T3" fmla="*/ 111 h 111"/>
                  <a:gd name="T4" fmla="*/ 23 w 40"/>
                  <a:gd name="T5" fmla="*/ 111 h 111"/>
                  <a:gd name="T6" fmla="*/ 23 w 40"/>
                  <a:gd name="T7" fmla="*/ 21 h 111"/>
                  <a:gd name="T8" fmla="*/ 12 w 40"/>
                  <a:gd name="T9" fmla="*/ 27 h 111"/>
                  <a:gd name="T10" fmla="*/ 0 w 40"/>
                  <a:gd name="T11" fmla="*/ 31 h 111"/>
                  <a:gd name="T12" fmla="*/ 0 w 40"/>
                  <a:gd name="T13" fmla="*/ 16 h 111"/>
                  <a:gd name="T14" fmla="*/ 8 w 40"/>
                  <a:gd name="T15" fmla="*/ 13 h 111"/>
                  <a:gd name="T16" fmla="*/ 16 w 40"/>
                  <a:gd name="T17" fmla="*/ 10 h 111"/>
                  <a:gd name="T18" fmla="*/ 24 w 40"/>
                  <a:gd name="T19" fmla="*/ 5 h 111"/>
                  <a:gd name="T20" fmla="*/ 33 w 40"/>
                  <a:gd name="T21" fmla="*/ 0 h 111"/>
                  <a:gd name="T22" fmla="*/ 40 w 40"/>
                  <a:gd name="T23" fmla="*/ 0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0" h="111">
                    <a:moveTo>
                      <a:pt x="40" y="0"/>
                    </a:moveTo>
                    <a:cubicBezTo>
                      <a:pt x="40" y="111"/>
                      <a:pt x="40" y="111"/>
                      <a:pt x="40" y="111"/>
                    </a:cubicBezTo>
                    <a:cubicBezTo>
                      <a:pt x="23" y="111"/>
                      <a:pt x="23" y="111"/>
                      <a:pt x="23" y="111"/>
                    </a:cubicBezTo>
                    <a:cubicBezTo>
                      <a:pt x="23" y="21"/>
                      <a:pt x="23" y="21"/>
                      <a:pt x="23" y="21"/>
                    </a:cubicBezTo>
                    <a:cubicBezTo>
                      <a:pt x="19" y="23"/>
                      <a:pt x="16" y="25"/>
                      <a:pt x="12" y="27"/>
                    </a:cubicBezTo>
                    <a:cubicBezTo>
                      <a:pt x="9" y="29"/>
                      <a:pt x="4" y="30"/>
                      <a:pt x="0" y="31"/>
                    </a:cubicBezTo>
                    <a:cubicBezTo>
                      <a:pt x="0" y="16"/>
                      <a:pt x="0" y="16"/>
                      <a:pt x="0" y="16"/>
                    </a:cubicBezTo>
                    <a:cubicBezTo>
                      <a:pt x="3" y="15"/>
                      <a:pt x="5" y="14"/>
                      <a:pt x="8" y="13"/>
                    </a:cubicBezTo>
                    <a:cubicBezTo>
                      <a:pt x="11" y="12"/>
                      <a:pt x="14" y="11"/>
                      <a:pt x="16" y="10"/>
                    </a:cubicBezTo>
                    <a:cubicBezTo>
                      <a:pt x="19" y="8"/>
                      <a:pt x="22" y="7"/>
                      <a:pt x="24" y="5"/>
                    </a:cubicBezTo>
                    <a:cubicBezTo>
                      <a:pt x="27" y="4"/>
                      <a:pt x="30" y="2"/>
                      <a:pt x="33" y="0"/>
                    </a:cubicBezTo>
                    <a:lnTo>
                      <a:pt x="4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3" tIns="46616" rIns="93233" bIns="46616" numCol="1" anchor="t" anchorCtr="0" compatLnSpc="1">
                <a:prstTxWarp prst="textNoShape">
                  <a:avLst/>
                </a:prstTxWarp>
              </a:bodyPr>
              <a:lstStyle/>
              <a:p>
                <a:pPr marL="0" marR="0" lvl="0" indent="0" defTabSz="914192" eaLnBrk="1" fontAlgn="auto" latinLnBrk="0" hangingPunct="1">
                  <a:lnSpc>
                    <a:spcPct val="100000"/>
                  </a:lnSpc>
                  <a:spcBef>
                    <a:spcPts val="0"/>
                  </a:spcBef>
                  <a:spcAft>
                    <a:spcPts val="0"/>
                  </a:spcAft>
                  <a:buClrTx/>
                  <a:buSzTx/>
                  <a:buFontTx/>
                  <a:buNone/>
                  <a:tabLst/>
                  <a:defRPr/>
                </a:pPr>
                <a:endParaRPr kumimoji="0" lang="en-US" sz="2448" b="0" i="0" u="none" strike="noStrike" kern="0" cap="none" spc="0" normalizeH="0" baseline="0" noProof="0" dirty="0">
                  <a:ln>
                    <a:noFill/>
                  </a:ln>
                  <a:solidFill>
                    <a:sysClr val="windowText" lastClr="000000"/>
                  </a:solidFill>
                  <a:effectLst/>
                  <a:uLnTx/>
                  <a:uFillTx/>
                  <a:latin typeface="Segoe UI"/>
                  <a:ea typeface="MS PGothic" charset="0"/>
                </a:endParaRPr>
              </a:p>
            </p:txBody>
          </p:sp>
          <p:sp>
            <p:nvSpPr>
              <p:cNvPr id="89" name="Freeform 28"/>
              <p:cNvSpPr>
                <a:spLocks/>
              </p:cNvSpPr>
              <p:nvPr/>
            </p:nvSpPr>
            <p:spPr bwMode="auto">
              <a:xfrm>
                <a:off x="6505322" y="4737843"/>
                <a:ext cx="40968" cy="106372"/>
              </a:xfrm>
              <a:custGeom>
                <a:avLst/>
                <a:gdLst>
                  <a:gd name="T0" fmla="*/ 40 w 40"/>
                  <a:gd name="T1" fmla="*/ 0 h 112"/>
                  <a:gd name="T2" fmla="*/ 40 w 40"/>
                  <a:gd name="T3" fmla="*/ 112 h 112"/>
                  <a:gd name="T4" fmla="*/ 23 w 40"/>
                  <a:gd name="T5" fmla="*/ 112 h 112"/>
                  <a:gd name="T6" fmla="*/ 23 w 40"/>
                  <a:gd name="T7" fmla="*/ 22 h 112"/>
                  <a:gd name="T8" fmla="*/ 12 w 40"/>
                  <a:gd name="T9" fmla="*/ 28 h 112"/>
                  <a:gd name="T10" fmla="*/ 0 w 40"/>
                  <a:gd name="T11" fmla="*/ 32 h 112"/>
                  <a:gd name="T12" fmla="*/ 0 w 40"/>
                  <a:gd name="T13" fmla="*/ 17 h 112"/>
                  <a:gd name="T14" fmla="*/ 8 w 40"/>
                  <a:gd name="T15" fmla="*/ 14 h 112"/>
                  <a:gd name="T16" fmla="*/ 16 w 40"/>
                  <a:gd name="T17" fmla="*/ 10 h 112"/>
                  <a:gd name="T18" fmla="*/ 24 w 40"/>
                  <a:gd name="T19" fmla="*/ 6 h 112"/>
                  <a:gd name="T20" fmla="*/ 33 w 40"/>
                  <a:gd name="T21" fmla="*/ 0 h 112"/>
                  <a:gd name="T22" fmla="*/ 40 w 40"/>
                  <a:gd name="T23" fmla="*/ 0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0" h="112">
                    <a:moveTo>
                      <a:pt x="40" y="0"/>
                    </a:moveTo>
                    <a:cubicBezTo>
                      <a:pt x="40" y="112"/>
                      <a:pt x="40" y="112"/>
                      <a:pt x="40" y="112"/>
                    </a:cubicBezTo>
                    <a:cubicBezTo>
                      <a:pt x="23" y="112"/>
                      <a:pt x="23" y="112"/>
                      <a:pt x="23" y="112"/>
                    </a:cubicBezTo>
                    <a:cubicBezTo>
                      <a:pt x="23" y="22"/>
                      <a:pt x="23" y="22"/>
                      <a:pt x="23" y="22"/>
                    </a:cubicBezTo>
                    <a:cubicBezTo>
                      <a:pt x="19" y="24"/>
                      <a:pt x="16" y="26"/>
                      <a:pt x="12" y="28"/>
                    </a:cubicBezTo>
                    <a:cubicBezTo>
                      <a:pt x="9" y="29"/>
                      <a:pt x="4" y="31"/>
                      <a:pt x="0" y="32"/>
                    </a:cubicBezTo>
                    <a:cubicBezTo>
                      <a:pt x="0" y="17"/>
                      <a:pt x="0" y="17"/>
                      <a:pt x="0" y="17"/>
                    </a:cubicBezTo>
                    <a:cubicBezTo>
                      <a:pt x="3" y="16"/>
                      <a:pt x="5" y="15"/>
                      <a:pt x="8" y="14"/>
                    </a:cubicBezTo>
                    <a:cubicBezTo>
                      <a:pt x="11" y="13"/>
                      <a:pt x="14" y="12"/>
                      <a:pt x="16" y="10"/>
                    </a:cubicBezTo>
                    <a:cubicBezTo>
                      <a:pt x="19" y="9"/>
                      <a:pt x="22" y="8"/>
                      <a:pt x="24" y="6"/>
                    </a:cubicBezTo>
                    <a:cubicBezTo>
                      <a:pt x="27" y="4"/>
                      <a:pt x="30" y="2"/>
                      <a:pt x="33" y="0"/>
                    </a:cubicBezTo>
                    <a:lnTo>
                      <a:pt x="4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3" tIns="46616" rIns="93233" bIns="46616" numCol="1" anchor="t" anchorCtr="0" compatLnSpc="1">
                <a:prstTxWarp prst="textNoShape">
                  <a:avLst/>
                </a:prstTxWarp>
              </a:bodyPr>
              <a:lstStyle/>
              <a:p>
                <a:pPr marL="0" marR="0" lvl="0" indent="0" defTabSz="914192" eaLnBrk="1" fontAlgn="auto" latinLnBrk="0" hangingPunct="1">
                  <a:lnSpc>
                    <a:spcPct val="100000"/>
                  </a:lnSpc>
                  <a:spcBef>
                    <a:spcPts val="0"/>
                  </a:spcBef>
                  <a:spcAft>
                    <a:spcPts val="0"/>
                  </a:spcAft>
                  <a:buClrTx/>
                  <a:buSzTx/>
                  <a:buFontTx/>
                  <a:buNone/>
                  <a:tabLst/>
                  <a:defRPr/>
                </a:pPr>
                <a:endParaRPr kumimoji="0" lang="en-US" sz="2448" b="0" i="0" u="none" strike="noStrike" kern="0" cap="none" spc="0" normalizeH="0" baseline="0" noProof="0" dirty="0">
                  <a:ln>
                    <a:noFill/>
                  </a:ln>
                  <a:solidFill>
                    <a:sysClr val="windowText" lastClr="000000"/>
                  </a:solidFill>
                  <a:effectLst/>
                  <a:uLnTx/>
                  <a:uFillTx/>
                  <a:latin typeface="Segoe UI"/>
                  <a:ea typeface="MS PGothic" charset="0"/>
                </a:endParaRPr>
              </a:p>
            </p:txBody>
          </p:sp>
          <p:sp>
            <p:nvSpPr>
              <p:cNvPr id="90" name="Freeform 29"/>
              <p:cNvSpPr>
                <a:spLocks/>
              </p:cNvSpPr>
              <p:nvPr/>
            </p:nvSpPr>
            <p:spPr bwMode="auto">
              <a:xfrm>
                <a:off x="6505322" y="4607833"/>
                <a:ext cx="40968" cy="104894"/>
              </a:xfrm>
              <a:custGeom>
                <a:avLst/>
                <a:gdLst>
                  <a:gd name="T0" fmla="*/ 40 w 40"/>
                  <a:gd name="T1" fmla="*/ 0 h 112"/>
                  <a:gd name="T2" fmla="*/ 40 w 40"/>
                  <a:gd name="T3" fmla="*/ 112 h 112"/>
                  <a:gd name="T4" fmla="*/ 23 w 40"/>
                  <a:gd name="T5" fmla="*/ 112 h 112"/>
                  <a:gd name="T6" fmla="*/ 23 w 40"/>
                  <a:gd name="T7" fmla="*/ 22 h 112"/>
                  <a:gd name="T8" fmla="*/ 12 w 40"/>
                  <a:gd name="T9" fmla="*/ 28 h 112"/>
                  <a:gd name="T10" fmla="*/ 0 w 40"/>
                  <a:gd name="T11" fmla="*/ 32 h 112"/>
                  <a:gd name="T12" fmla="*/ 0 w 40"/>
                  <a:gd name="T13" fmla="*/ 17 h 112"/>
                  <a:gd name="T14" fmla="*/ 8 w 40"/>
                  <a:gd name="T15" fmla="*/ 14 h 112"/>
                  <a:gd name="T16" fmla="*/ 16 w 40"/>
                  <a:gd name="T17" fmla="*/ 10 h 112"/>
                  <a:gd name="T18" fmla="*/ 24 w 40"/>
                  <a:gd name="T19" fmla="*/ 6 h 112"/>
                  <a:gd name="T20" fmla="*/ 33 w 40"/>
                  <a:gd name="T21" fmla="*/ 0 h 112"/>
                  <a:gd name="T22" fmla="*/ 40 w 40"/>
                  <a:gd name="T23" fmla="*/ 0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0" h="112">
                    <a:moveTo>
                      <a:pt x="40" y="0"/>
                    </a:moveTo>
                    <a:cubicBezTo>
                      <a:pt x="40" y="112"/>
                      <a:pt x="40" y="112"/>
                      <a:pt x="40" y="112"/>
                    </a:cubicBezTo>
                    <a:cubicBezTo>
                      <a:pt x="23" y="112"/>
                      <a:pt x="23" y="112"/>
                      <a:pt x="23" y="112"/>
                    </a:cubicBezTo>
                    <a:cubicBezTo>
                      <a:pt x="23" y="22"/>
                      <a:pt x="23" y="22"/>
                      <a:pt x="23" y="22"/>
                    </a:cubicBezTo>
                    <a:cubicBezTo>
                      <a:pt x="19" y="24"/>
                      <a:pt x="16" y="26"/>
                      <a:pt x="12" y="28"/>
                    </a:cubicBezTo>
                    <a:cubicBezTo>
                      <a:pt x="9" y="29"/>
                      <a:pt x="4" y="31"/>
                      <a:pt x="0" y="32"/>
                    </a:cubicBezTo>
                    <a:cubicBezTo>
                      <a:pt x="0" y="17"/>
                      <a:pt x="0" y="17"/>
                      <a:pt x="0" y="17"/>
                    </a:cubicBezTo>
                    <a:cubicBezTo>
                      <a:pt x="3" y="16"/>
                      <a:pt x="5" y="15"/>
                      <a:pt x="8" y="14"/>
                    </a:cubicBezTo>
                    <a:cubicBezTo>
                      <a:pt x="11" y="13"/>
                      <a:pt x="14" y="12"/>
                      <a:pt x="16" y="10"/>
                    </a:cubicBezTo>
                    <a:cubicBezTo>
                      <a:pt x="19" y="9"/>
                      <a:pt x="22" y="8"/>
                      <a:pt x="24" y="6"/>
                    </a:cubicBezTo>
                    <a:cubicBezTo>
                      <a:pt x="27" y="4"/>
                      <a:pt x="30" y="2"/>
                      <a:pt x="33" y="0"/>
                    </a:cubicBezTo>
                    <a:lnTo>
                      <a:pt x="4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3" tIns="46616" rIns="93233" bIns="46616" numCol="1" anchor="t" anchorCtr="0" compatLnSpc="1">
                <a:prstTxWarp prst="textNoShape">
                  <a:avLst/>
                </a:prstTxWarp>
              </a:bodyPr>
              <a:lstStyle/>
              <a:p>
                <a:pPr marL="0" marR="0" lvl="0" indent="0" defTabSz="914192" eaLnBrk="1" fontAlgn="auto" latinLnBrk="0" hangingPunct="1">
                  <a:lnSpc>
                    <a:spcPct val="100000"/>
                  </a:lnSpc>
                  <a:spcBef>
                    <a:spcPts val="0"/>
                  </a:spcBef>
                  <a:spcAft>
                    <a:spcPts val="0"/>
                  </a:spcAft>
                  <a:buClrTx/>
                  <a:buSzTx/>
                  <a:buFontTx/>
                  <a:buNone/>
                  <a:tabLst/>
                  <a:defRPr/>
                </a:pPr>
                <a:endParaRPr kumimoji="0" lang="en-US" sz="2448" b="0" i="0" u="none" strike="noStrike" kern="0" cap="none" spc="0" normalizeH="0" baseline="0" noProof="0" dirty="0">
                  <a:ln>
                    <a:noFill/>
                  </a:ln>
                  <a:solidFill>
                    <a:sysClr val="windowText" lastClr="000000"/>
                  </a:solidFill>
                  <a:effectLst/>
                  <a:uLnTx/>
                  <a:uFillTx/>
                  <a:latin typeface="Segoe UI"/>
                  <a:ea typeface="MS PGothic" charset="0"/>
                </a:endParaRPr>
              </a:p>
            </p:txBody>
          </p:sp>
          <p:sp>
            <p:nvSpPr>
              <p:cNvPr id="91" name="Freeform 30"/>
              <p:cNvSpPr>
                <a:spLocks noEditPoints="1"/>
              </p:cNvSpPr>
              <p:nvPr/>
            </p:nvSpPr>
            <p:spPr bwMode="auto">
              <a:xfrm>
                <a:off x="6563623" y="4866376"/>
                <a:ext cx="75634" cy="109326"/>
              </a:xfrm>
              <a:custGeom>
                <a:avLst/>
                <a:gdLst>
                  <a:gd name="T0" fmla="*/ 37 w 76"/>
                  <a:gd name="T1" fmla="*/ 115 h 115"/>
                  <a:gd name="T2" fmla="*/ 10 w 76"/>
                  <a:gd name="T3" fmla="*/ 101 h 115"/>
                  <a:gd name="T4" fmla="*/ 0 w 76"/>
                  <a:gd name="T5" fmla="*/ 60 h 115"/>
                  <a:gd name="T6" fmla="*/ 10 w 76"/>
                  <a:gd name="T7" fmla="*/ 15 h 115"/>
                  <a:gd name="T8" fmla="*/ 39 w 76"/>
                  <a:gd name="T9" fmla="*/ 0 h 115"/>
                  <a:gd name="T10" fmla="*/ 76 w 76"/>
                  <a:gd name="T11" fmla="*/ 57 h 115"/>
                  <a:gd name="T12" fmla="*/ 66 w 76"/>
                  <a:gd name="T13" fmla="*/ 101 h 115"/>
                  <a:gd name="T14" fmla="*/ 37 w 76"/>
                  <a:gd name="T15" fmla="*/ 115 h 115"/>
                  <a:gd name="T16" fmla="*/ 39 w 76"/>
                  <a:gd name="T17" fmla="*/ 15 h 115"/>
                  <a:gd name="T18" fmla="*/ 18 w 76"/>
                  <a:gd name="T19" fmla="*/ 59 h 115"/>
                  <a:gd name="T20" fmla="*/ 38 w 76"/>
                  <a:gd name="T21" fmla="*/ 101 h 115"/>
                  <a:gd name="T22" fmla="*/ 58 w 76"/>
                  <a:gd name="T23" fmla="*/ 59 h 115"/>
                  <a:gd name="T24" fmla="*/ 39 w 76"/>
                  <a:gd name="T25" fmla="*/ 15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6" h="115">
                    <a:moveTo>
                      <a:pt x="37" y="115"/>
                    </a:moveTo>
                    <a:cubicBezTo>
                      <a:pt x="25" y="115"/>
                      <a:pt x="16" y="111"/>
                      <a:pt x="10" y="101"/>
                    </a:cubicBezTo>
                    <a:cubicBezTo>
                      <a:pt x="3" y="92"/>
                      <a:pt x="0" y="78"/>
                      <a:pt x="0" y="60"/>
                    </a:cubicBezTo>
                    <a:cubicBezTo>
                      <a:pt x="0" y="40"/>
                      <a:pt x="3" y="26"/>
                      <a:pt x="10" y="15"/>
                    </a:cubicBezTo>
                    <a:cubicBezTo>
                      <a:pt x="17" y="5"/>
                      <a:pt x="27" y="0"/>
                      <a:pt x="39" y="0"/>
                    </a:cubicBezTo>
                    <a:cubicBezTo>
                      <a:pt x="64" y="0"/>
                      <a:pt x="76" y="19"/>
                      <a:pt x="76" y="57"/>
                    </a:cubicBezTo>
                    <a:cubicBezTo>
                      <a:pt x="76" y="76"/>
                      <a:pt x="73" y="91"/>
                      <a:pt x="66" y="101"/>
                    </a:cubicBezTo>
                    <a:cubicBezTo>
                      <a:pt x="59" y="110"/>
                      <a:pt x="49" y="115"/>
                      <a:pt x="37" y="115"/>
                    </a:cubicBezTo>
                    <a:close/>
                    <a:moveTo>
                      <a:pt x="39" y="15"/>
                    </a:moveTo>
                    <a:cubicBezTo>
                      <a:pt x="25" y="15"/>
                      <a:pt x="18" y="30"/>
                      <a:pt x="18" y="59"/>
                    </a:cubicBezTo>
                    <a:cubicBezTo>
                      <a:pt x="18" y="87"/>
                      <a:pt x="25" y="101"/>
                      <a:pt x="38" y="101"/>
                    </a:cubicBezTo>
                    <a:cubicBezTo>
                      <a:pt x="51" y="101"/>
                      <a:pt x="58" y="87"/>
                      <a:pt x="58" y="59"/>
                    </a:cubicBezTo>
                    <a:cubicBezTo>
                      <a:pt x="58" y="29"/>
                      <a:pt x="51" y="15"/>
                      <a:pt x="39"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3" tIns="46616" rIns="93233" bIns="46616" numCol="1" anchor="t" anchorCtr="0" compatLnSpc="1">
                <a:prstTxWarp prst="textNoShape">
                  <a:avLst/>
                </a:prstTxWarp>
              </a:bodyPr>
              <a:lstStyle/>
              <a:p>
                <a:pPr marL="0" marR="0" lvl="0" indent="0" defTabSz="914192" eaLnBrk="1" fontAlgn="auto" latinLnBrk="0" hangingPunct="1">
                  <a:lnSpc>
                    <a:spcPct val="100000"/>
                  </a:lnSpc>
                  <a:spcBef>
                    <a:spcPts val="0"/>
                  </a:spcBef>
                  <a:spcAft>
                    <a:spcPts val="0"/>
                  </a:spcAft>
                  <a:buClrTx/>
                  <a:buSzTx/>
                  <a:buFontTx/>
                  <a:buNone/>
                  <a:tabLst/>
                  <a:defRPr/>
                </a:pPr>
                <a:endParaRPr kumimoji="0" lang="en-US" sz="2448" b="0" i="0" u="none" strike="noStrike" kern="0" cap="none" spc="0" normalizeH="0" baseline="0" noProof="0" dirty="0">
                  <a:ln>
                    <a:noFill/>
                  </a:ln>
                  <a:solidFill>
                    <a:sysClr val="windowText" lastClr="000000"/>
                  </a:solidFill>
                  <a:effectLst/>
                  <a:uLnTx/>
                  <a:uFillTx/>
                  <a:latin typeface="Segoe UI"/>
                  <a:ea typeface="MS PGothic" charset="0"/>
                </a:endParaRPr>
              </a:p>
            </p:txBody>
          </p:sp>
          <p:sp>
            <p:nvSpPr>
              <p:cNvPr id="92" name="Freeform 31"/>
              <p:cNvSpPr>
                <a:spLocks noEditPoints="1"/>
              </p:cNvSpPr>
              <p:nvPr/>
            </p:nvSpPr>
            <p:spPr bwMode="auto">
              <a:xfrm>
                <a:off x="6563623" y="4736366"/>
                <a:ext cx="77209" cy="109326"/>
              </a:xfrm>
              <a:custGeom>
                <a:avLst/>
                <a:gdLst>
                  <a:gd name="T0" fmla="*/ 37 w 76"/>
                  <a:gd name="T1" fmla="*/ 115 h 115"/>
                  <a:gd name="T2" fmla="*/ 10 w 76"/>
                  <a:gd name="T3" fmla="*/ 101 h 115"/>
                  <a:gd name="T4" fmla="*/ 0 w 76"/>
                  <a:gd name="T5" fmla="*/ 60 h 115"/>
                  <a:gd name="T6" fmla="*/ 10 w 76"/>
                  <a:gd name="T7" fmla="*/ 15 h 115"/>
                  <a:gd name="T8" fmla="*/ 39 w 76"/>
                  <a:gd name="T9" fmla="*/ 0 h 115"/>
                  <a:gd name="T10" fmla="*/ 76 w 76"/>
                  <a:gd name="T11" fmla="*/ 57 h 115"/>
                  <a:gd name="T12" fmla="*/ 66 w 76"/>
                  <a:gd name="T13" fmla="*/ 100 h 115"/>
                  <a:gd name="T14" fmla="*/ 37 w 76"/>
                  <a:gd name="T15" fmla="*/ 115 h 115"/>
                  <a:gd name="T16" fmla="*/ 39 w 76"/>
                  <a:gd name="T17" fmla="*/ 14 h 115"/>
                  <a:gd name="T18" fmla="*/ 18 w 76"/>
                  <a:gd name="T19" fmla="*/ 59 h 115"/>
                  <a:gd name="T20" fmla="*/ 38 w 76"/>
                  <a:gd name="T21" fmla="*/ 101 h 115"/>
                  <a:gd name="T22" fmla="*/ 58 w 76"/>
                  <a:gd name="T23" fmla="*/ 58 h 115"/>
                  <a:gd name="T24" fmla="*/ 39 w 76"/>
                  <a:gd name="T25" fmla="*/ 14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6" h="115">
                    <a:moveTo>
                      <a:pt x="37" y="115"/>
                    </a:moveTo>
                    <a:cubicBezTo>
                      <a:pt x="25" y="115"/>
                      <a:pt x="16" y="110"/>
                      <a:pt x="10" y="101"/>
                    </a:cubicBezTo>
                    <a:cubicBezTo>
                      <a:pt x="3" y="92"/>
                      <a:pt x="0" y="78"/>
                      <a:pt x="0" y="60"/>
                    </a:cubicBezTo>
                    <a:cubicBezTo>
                      <a:pt x="0" y="40"/>
                      <a:pt x="3" y="25"/>
                      <a:pt x="10" y="15"/>
                    </a:cubicBezTo>
                    <a:cubicBezTo>
                      <a:pt x="17" y="5"/>
                      <a:pt x="27" y="0"/>
                      <a:pt x="39" y="0"/>
                    </a:cubicBezTo>
                    <a:cubicBezTo>
                      <a:pt x="64" y="0"/>
                      <a:pt x="76" y="19"/>
                      <a:pt x="76" y="57"/>
                    </a:cubicBezTo>
                    <a:cubicBezTo>
                      <a:pt x="76" y="76"/>
                      <a:pt x="73" y="90"/>
                      <a:pt x="66" y="100"/>
                    </a:cubicBezTo>
                    <a:cubicBezTo>
                      <a:pt x="59" y="110"/>
                      <a:pt x="49" y="115"/>
                      <a:pt x="37" y="115"/>
                    </a:cubicBezTo>
                    <a:close/>
                    <a:moveTo>
                      <a:pt x="39" y="14"/>
                    </a:moveTo>
                    <a:cubicBezTo>
                      <a:pt x="25" y="14"/>
                      <a:pt x="18" y="29"/>
                      <a:pt x="18" y="59"/>
                    </a:cubicBezTo>
                    <a:cubicBezTo>
                      <a:pt x="18" y="87"/>
                      <a:pt x="25" y="101"/>
                      <a:pt x="38" y="101"/>
                    </a:cubicBezTo>
                    <a:cubicBezTo>
                      <a:pt x="51" y="101"/>
                      <a:pt x="58" y="87"/>
                      <a:pt x="58" y="58"/>
                    </a:cubicBezTo>
                    <a:cubicBezTo>
                      <a:pt x="58" y="29"/>
                      <a:pt x="51" y="14"/>
                      <a:pt x="39"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3" tIns="46616" rIns="93233" bIns="46616" numCol="1" anchor="t" anchorCtr="0" compatLnSpc="1">
                <a:prstTxWarp prst="textNoShape">
                  <a:avLst/>
                </a:prstTxWarp>
              </a:bodyPr>
              <a:lstStyle/>
              <a:p>
                <a:pPr marL="0" marR="0" lvl="0" indent="0" defTabSz="914192" eaLnBrk="1" fontAlgn="auto" latinLnBrk="0" hangingPunct="1">
                  <a:lnSpc>
                    <a:spcPct val="100000"/>
                  </a:lnSpc>
                  <a:spcBef>
                    <a:spcPts val="0"/>
                  </a:spcBef>
                  <a:spcAft>
                    <a:spcPts val="0"/>
                  </a:spcAft>
                  <a:buClrTx/>
                  <a:buSzTx/>
                  <a:buFontTx/>
                  <a:buNone/>
                  <a:tabLst/>
                  <a:defRPr/>
                </a:pPr>
                <a:endParaRPr kumimoji="0" lang="en-US" sz="2448" b="0" i="0" u="none" strike="noStrike" kern="0" cap="none" spc="0" normalizeH="0" baseline="0" noProof="0" dirty="0">
                  <a:ln>
                    <a:noFill/>
                  </a:ln>
                  <a:solidFill>
                    <a:sysClr val="windowText" lastClr="000000"/>
                  </a:solidFill>
                  <a:effectLst/>
                  <a:uLnTx/>
                  <a:uFillTx/>
                  <a:latin typeface="Segoe UI"/>
                  <a:ea typeface="MS PGothic" charset="0"/>
                </a:endParaRPr>
              </a:p>
            </p:txBody>
          </p:sp>
          <p:sp>
            <p:nvSpPr>
              <p:cNvPr id="93" name="Freeform 32"/>
              <p:cNvSpPr>
                <a:spLocks noEditPoints="1"/>
              </p:cNvSpPr>
              <p:nvPr/>
            </p:nvSpPr>
            <p:spPr bwMode="auto">
              <a:xfrm>
                <a:off x="6563623" y="4604879"/>
                <a:ext cx="77209" cy="110804"/>
              </a:xfrm>
              <a:custGeom>
                <a:avLst/>
                <a:gdLst>
                  <a:gd name="T0" fmla="*/ 37 w 76"/>
                  <a:gd name="T1" fmla="*/ 116 h 116"/>
                  <a:gd name="T2" fmla="*/ 10 w 76"/>
                  <a:gd name="T3" fmla="*/ 101 h 116"/>
                  <a:gd name="T4" fmla="*/ 0 w 76"/>
                  <a:gd name="T5" fmla="*/ 60 h 116"/>
                  <a:gd name="T6" fmla="*/ 10 w 76"/>
                  <a:gd name="T7" fmla="*/ 16 h 116"/>
                  <a:gd name="T8" fmla="*/ 39 w 76"/>
                  <a:gd name="T9" fmla="*/ 0 h 116"/>
                  <a:gd name="T10" fmla="*/ 76 w 76"/>
                  <a:gd name="T11" fmla="*/ 58 h 116"/>
                  <a:gd name="T12" fmla="*/ 66 w 76"/>
                  <a:gd name="T13" fmla="*/ 101 h 116"/>
                  <a:gd name="T14" fmla="*/ 37 w 76"/>
                  <a:gd name="T15" fmla="*/ 116 h 116"/>
                  <a:gd name="T16" fmla="*/ 39 w 76"/>
                  <a:gd name="T17" fmla="*/ 15 h 116"/>
                  <a:gd name="T18" fmla="*/ 18 w 76"/>
                  <a:gd name="T19" fmla="*/ 59 h 116"/>
                  <a:gd name="T20" fmla="*/ 38 w 76"/>
                  <a:gd name="T21" fmla="*/ 101 h 116"/>
                  <a:gd name="T22" fmla="*/ 58 w 76"/>
                  <a:gd name="T23" fmla="*/ 59 h 116"/>
                  <a:gd name="T24" fmla="*/ 39 w 76"/>
                  <a:gd name="T25" fmla="*/ 15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6" h="116">
                    <a:moveTo>
                      <a:pt x="37" y="116"/>
                    </a:moveTo>
                    <a:cubicBezTo>
                      <a:pt x="25" y="116"/>
                      <a:pt x="16" y="111"/>
                      <a:pt x="10" y="101"/>
                    </a:cubicBezTo>
                    <a:cubicBezTo>
                      <a:pt x="3" y="92"/>
                      <a:pt x="0" y="78"/>
                      <a:pt x="0" y="60"/>
                    </a:cubicBezTo>
                    <a:cubicBezTo>
                      <a:pt x="0" y="41"/>
                      <a:pt x="3" y="26"/>
                      <a:pt x="10" y="16"/>
                    </a:cubicBezTo>
                    <a:cubicBezTo>
                      <a:pt x="17" y="5"/>
                      <a:pt x="27" y="0"/>
                      <a:pt x="39" y="0"/>
                    </a:cubicBezTo>
                    <a:cubicBezTo>
                      <a:pt x="64" y="0"/>
                      <a:pt x="76" y="19"/>
                      <a:pt x="76" y="58"/>
                    </a:cubicBezTo>
                    <a:cubicBezTo>
                      <a:pt x="76" y="76"/>
                      <a:pt x="73" y="91"/>
                      <a:pt x="66" y="101"/>
                    </a:cubicBezTo>
                    <a:cubicBezTo>
                      <a:pt x="59" y="111"/>
                      <a:pt x="49" y="116"/>
                      <a:pt x="37" y="116"/>
                    </a:cubicBezTo>
                    <a:close/>
                    <a:moveTo>
                      <a:pt x="39" y="15"/>
                    </a:moveTo>
                    <a:cubicBezTo>
                      <a:pt x="25" y="15"/>
                      <a:pt x="18" y="30"/>
                      <a:pt x="18" y="59"/>
                    </a:cubicBezTo>
                    <a:cubicBezTo>
                      <a:pt x="18" y="87"/>
                      <a:pt x="25" y="101"/>
                      <a:pt x="38" y="101"/>
                    </a:cubicBezTo>
                    <a:cubicBezTo>
                      <a:pt x="51" y="101"/>
                      <a:pt x="58" y="87"/>
                      <a:pt x="58" y="59"/>
                    </a:cubicBezTo>
                    <a:cubicBezTo>
                      <a:pt x="58" y="29"/>
                      <a:pt x="51" y="15"/>
                      <a:pt x="39"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3" tIns="46616" rIns="93233" bIns="46616" numCol="1" anchor="t" anchorCtr="0" compatLnSpc="1">
                <a:prstTxWarp prst="textNoShape">
                  <a:avLst/>
                </a:prstTxWarp>
              </a:bodyPr>
              <a:lstStyle/>
              <a:p>
                <a:pPr marL="0" marR="0" lvl="0" indent="0" defTabSz="914192" eaLnBrk="1" fontAlgn="auto" latinLnBrk="0" hangingPunct="1">
                  <a:lnSpc>
                    <a:spcPct val="100000"/>
                  </a:lnSpc>
                  <a:spcBef>
                    <a:spcPts val="0"/>
                  </a:spcBef>
                  <a:spcAft>
                    <a:spcPts val="0"/>
                  </a:spcAft>
                  <a:buClrTx/>
                  <a:buSzTx/>
                  <a:buFontTx/>
                  <a:buNone/>
                  <a:tabLst/>
                  <a:defRPr/>
                </a:pPr>
                <a:endParaRPr kumimoji="0" lang="en-US" sz="2448" b="0" i="0" u="none" strike="noStrike" kern="0" cap="none" spc="0" normalizeH="0" baseline="0" noProof="0" dirty="0">
                  <a:ln>
                    <a:noFill/>
                  </a:ln>
                  <a:solidFill>
                    <a:sysClr val="windowText" lastClr="000000"/>
                  </a:solidFill>
                  <a:effectLst/>
                  <a:uLnTx/>
                  <a:uFillTx/>
                  <a:latin typeface="Segoe UI"/>
                  <a:ea typeface="MS PGothic" charset="0"/>
                </a:endParaRPr>
              </a:p>
            </p:txBody>
          </p:sp>
          <p:sp>
            <p:nvSpPr>
              <p:cNvPr id="94" name="Freeform 33"/>
              <p:cNvSpPr>
                <a:spLocks/>
              </p:cNvSpPr>
              <p:nvPr/>
            </p:nvSpPr>
            <p:spPr bwMode="auto">
              <a:xfrm>
                <a:off x="6357206" y="4474869"/>
                <a:ext cx="39392" cy="104894"/>
              </a:xfrm>
              <a:custGeom>
                <a:avLst/>
                <a:gdLst>
                  <a:gd name="T0" fmla="*/ 40 w 40"/>
                  <a:gd name="T1" fmla="*/ 0 h 111"/>
                  <a:gd name="T2" fmla="*/ 40 w 40"/>
                  <a:gd name="T3" fmla="*/ 111 h 111"/>
                  <a:gd name="T4" fmla="*/ 23 w 40"/>
                  <a:gd name="T5" fmla="*/ 111 h 111"/>
                  <a:gd name="T6" fmla="*/ 23 w 40"/>
                  <a:gd name="T7" fmla="*/ 21 h 111"/>
                  <a:gd name="T8" fmla="*/ 13 w 40"/>
                  <a:gd name="T9" fmla="*/ 27 h 111"/>
                  <a:gd name="T10" fmla="*/ 0 w 40"/>
                  <a:gd name="T11" fmla="*/ 31 h 111"/>
                  <a:gd name="T12" fmla="*/ 0 w 40"/>
                  <a:gd name="T13" fmla="*/ 16 h 111"/>
                  <a:gd name="T14" fmla="*/ 8 w 40"/>
                  <a:gd name="T15" fmla="*/ 13 h 111"/>
                  <a:gd name="T16" fmla="*/ 17 w 40"/>
                  <a:gd name="T17" fmla="*/ 10 h 111"/>
                  <a:gd name="T18" fmla="*/ 25 w 40"/>
                  <a:gd name="T19" fmla="*/ 5 h 111"/>
                  <a:gd name="T20" fmla="*/ 33 w 40"/>
                  <a:gd name="T21" fmla="*/ 0 h 111"/>
                  <a:gd name="T22" fmla="*/ 40 w 40"/>
                  <a:gd name="T23" fmla="*/ 0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0" h="111">
                    <a:moveTo>
                      <a:pt x="40" y="0"/>
                    </a:moveTo>
                    <a:cubicBezTo>
                      <a:pt x="40" y="111"/>
                      <a:pt x="40" y="111"/>
                      <a:pt x="40" y="111"/>
                    </a:cubicBezTo>
                    <a:cubicBezTo>
                      <a:pt x="23" y="111"/>
                      <a:pt x="23" y="111"/>
                      <a:pt x="23" y="111"/>
                    </a:cubicBezTo>
                    <a:cubicBezTo>
                      <a:pt x="23" y="21"/>
                      <a:pt x="23" y="21"/>
                      <a:pt x="23" y="21"/>
                    </a:cubicBezTo>
                    <a:cubicBezTo>
                      <a:pt x="20" y="24"/>
                      <a:pt x="16" y="25"/>
                      <a:pt x="13" y="27"/>
                    </a:cubicBezTo>
                    <a:cubicBezTo>
                      <a:pt x="9" y="29"/>
                      <a:pt x="5" y="30"/>
                      <a:pt x="0" y="31"/>
                    </a:cubicBezTo>
                    <a:cubicBezTo>
                      <a:pt x="0" y="16"/>
                      <a:pt x="0" y="16"/>
                      <a:pt x="0" y="16"/>
                    </a:cubicBezTo>
                    <a:cubicBezTo>
                      <a:pt x="3" y="15"/>
                      <a:pt x="6" y="14"/>
                      <a:pt x="8" y="13"/>
                    </a:cubicBezTo>
                    <a:cubicBezTo>
                      <a:pt x="11" y="12"/>
                      <a:pt x="14" y="11"/>
                      <a:pt x="17" y="10"/>
                    </a:cubicBezTo>
                    <a:cubicBezTo>
                      <a:pt x="19" y="8"/>
                      <a:pt x="22" y="7"/>
                      <a:pt x="25" y="5"/>
                    </a:cubicBezTo>
                    <a:cubicBezTo>
                      <a:pt x="27" y="4"/>
                      <a:pt x="30" y="2"/>
                      <a:pt x="33" y="0"/>
                    </a:cubicBezTo>
                    <a:lnTo>
                      <a:pt x="4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3" tIns="46616" rIns="93233" bIns="46616" numCol="1" anchor="t" anchorCtr="0" compatLnSpc="1">
                <a:prstTxWarp prst="textNoShape">
                  <a:avLst/>
                </a:prstTxWarp>
              </a:bodyPr>
              <a:lstStyle/>
              <a:p>
                <a:pPr marL="0" marR="0" lvl="0" indent="0" defTabSz="914192" eaLnBrk="1" fontAlgn="auto" latinLnBrk="0" hangingPunct="1">
                  <a:lnSpc>
                    <a:spcPct val="100000"/>
                  </a:lnSpc>
                  <a:spcBef>
                    <a:spcPts val="0"/>
                  </a:spcBef>
                  <a:spcAft>
                    <a:spcPts val="0"/>
                  </a:spcAft>
                  <a:buClrTx/>
                  <a:buSzTx/>
                  <a:buFontTx/>
                  <a:buNone/>
                  <a:tabLst/>
                  <a:defRPr/>
                </a:pPr>
                <a:endParaRPr kumimoji="0" lang="en-US" sz="2448" b="0" i="0" u="none" strike="noStrike" kern="0" cap="none" spc="0" normalizeH="0" baseline="0" noProof="0" dirty="0">
                  <a:ln>
                    <a:noFill/>
                  </a:ln>
                  <a:solidFill>
                    <a:sysClr val="windowText" lastClr="000000"/>
                  </a:solidFill>
                  <a:effectLst/>
                  <a:uLnTx/>
                  <a:uFillTx/>
                  <a:latin typeface="Segoe UI"/>
                  <a:ea typeface="MS PGothic" charset="0"/>
                </a:endParaRPr>
              </a:p>
            </p:txBody>
          </p:sp>
          <p:sp>
            <p:nvSpPr>
              <p:cNvPr id="95" name="Freeform 34"/>
              <p:cNvSpPr>
                <a:spLocks/>
              </p:cNvSpPr>
              <p:nvPr/>
            </p:nvSpPr>
            <p:spPr bwMode="auto">
              <a:xfrm>
                <a:off x="6432840" y="4474869"/>
                <a:ext cx="39392" cy="104894"/>
              </a:xfrm>
              <a:custGeom>
                <a:avLst/>
                <a:gdLst>
                  <a:gd name="T0" fmla="*/ 40 w 40"/>
                  <a:gd name="T1" fmla="*/ 0 h 111"/>
                  <a:gd name="T2" fmla="*/ 40 w 40"/>
                  <a:gd name="T3" fmla="*/ 111 h 111"/>
                  <a:gd name="T4" fmla="*/ 22 w 40"/>
                  <a:gd name="T5" fmla="*/ 111 h 111"/>
                  <a:gd name="T6" fmla="*/ 22 w 40"/>
                  <a:gd name="T7" fmla="*/ 21 h 111"/>
                  <a:gd name="T8" fmla="*/ 12 w 40"/>
                  <a:gd name="T9" fmla="*/ 27 h 111"/>
                  <a:gd name="T10" fmla="*/ 0 w 40"/>
                  <a:gd name="T11" fmla="*/ 31 h 111"/>
                  <a:gd name="T12" fmla="*/ 0 w 40"/>
                  <a:gd name="T13" fmla="*/ 16 h 111"/>
                  <a:gd name="T14" fmla="*/ 8 w 40"/>
                  <a:gd name="T15" fmla="*/ 13 h 111"/>
                  <a:gd name="T16" fmla="*/ 16 w 40"/>
                  <a:gd name="T17" fmla="*/ 10 h 111"/>
                  <a:gd name="T18" fmla="*/ 24 w 40"/>
                  <a:gd name="T19" fmla="*/ 5 h 111"/>
                  <a:gd name="T20" fmla="*/ 33 w 40"/>
                  <a:gd name="T21" fmla="*/ 0 h 111"/>
                  <a:gd name="T22" fmla="*/ 40 w 40"/>
                  <a:gd name="T23" fmla="*/ 0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0" h="111">
                    <a:moveTo>
                      <a:pt x="40" y="0"/>
                    </a:moveTo>
                    <a:cubicBezTo>
                      <a:pt x="40" y="111"/>
                      <a:pt x="40" y="111"/>
                      <a:pt x="40" y="111"/>
                    </a:cubicBezTo>
                    <a:cubicBezTo>
                      <a:pt x="22" y="111"/>
                      <a:pt x="22" y="111"/>
                      <a:pt x="22" y="111"/>
                    </a:cubicBezTo>
                    <a:cubicBezTo>
                      <a:pt x="22" y="21"/>
                      <a:pt x="22" y="21"/>
                      <a:pt x="22" y="21"/>
                    </a:cubicBezTo>
                    <a:cubicBezTo>
                      <a:pt x="19" y="24"/>
                      <a:pt x="16" y="25"/>
                      <a:pt x="12" y="27"/>
                    </a:cubicBezTo>
                    <a:cubicBezTo>
                      <a:pt x="9" y="29"/>
                      <a:pt x="4" y="30"/>
                      <a:pt x="0" y="31"/>
                    </a:cubicBezTo>
                    <a:cubicBezTo>
                      <a:pt x="0" y="16"/>
                      <a:pt x="0" y="16"/>
                      <a:pt x="0" y="16"/>
                    </a:cubicBezTo>
                    <a:cubicBezTo>
                      <a:pt x="3" y="15"/>
                      <a:pt x="5" y="14"/>
                      <a:pt x="8" y="13"/>
                    </a:cubicBezTo>
                    <a:cubicBezTo>
                      <a:pt x="11" y="12"/>
                      <a:pt x="14" y="11"/>
                      <a:pt x="16" y="10"/>
                    </a:cubicBezTo>
                    <a:cubicBezTo>
                      <a:pt x="19" y="8"/>
                      <a:pt x="22" y="7"/>
                      <a:pt x="24" y="5"/>
                    </a:cubicBezTo>
                    <a:cubicBezTo>
                      <a:pt x="27" y="4"/>
                      <a:pt x="30" y="2"/>
                      <a:pt x="33" y="0"/>
                    </a:cubicBezTo>
                    <a:lnTo>
                      <a:pt x="4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3" tIns="46616" rIns="93233" bIns="46616" numCol="1" anchor="t" anchorCtr="0" compatLnSpc="1">
                <a:prstTxWarp prst="textNoShape">
                  <a:avLst/>
                </a:prstTxWarp>
              </a:bodyPr>
              <a:lstStyle/>
              <a:p>
                <a:pPr marL="0" marR="0" lvl="0" indent="0" defTabSz="914192" eaLnBrk="1" fontAlgn="auto" latinLnBrk="0" hangingPunct="1">
                  <a:lnSpc>
                    <a:spcPct val="100000"/>
                  </a:lnSpc>
                  <a:spcBef>
                    <a:spcPts val="0"/>
                  </a:spcBef>
                  <a:spcAft>
                    <a:spcPts val="0"/>
                  </a:spcAft>
                  <a:buClrTx/>
                  <a:buSzTx/>
                  <a:buFontTx/>
                  <a:buNone/>
                  <a:tabLst/>
                  <a:defRPr/>
                </a:pPr>
                <a:endParaRPr kumimoji="0" lang="en-US" sz="2448" b="0" i="0" u="none" strike="noStrike" kern="0" cap="none" spc="0" normalizeH="0" baseline="0" noProof="0" dirty="0">
                  <a:ln>
                    <a:noFill/>
                  </a:ln>
                  <a:solidFill>
                    <a:sysClr val="windowText" lastClr="000000"/>
                  </a:solidFill>
                  <a:effectLst/>
                  <a:uLnTx/>
                  <a:uFillTx/>
                  <a:latin typeface="Segoe UI"/>
                  <a:ea typeface="MS PGothic" charset="0"/>
                </a:endParaRPr>
              </a:p>
            </p:txBody>
          </p:sp>
          <p:sp>
            <p:nvSpPr>
              <p:cNvPr id="96" name="Freeform 35"/>
              <p:cNvSpPr>
                <a:spLocks/>
              </p:cNvSpPr>
              <p:nvPr/>
            </p:nvSpPr>
            <p:spPr bwMode="auto">
              <a:xfrm>
                <a:off x="6505322" y="4474869"/>
                <a:ext cx="40968" cy="104894"/>
              </a:xfrm>
              <a:custGeom>
                <a:avLst/>
                <a:gdLst>
                  <a:gd name="T0" fmla="*/ 40 w 40"/>
                  <a:gd name="T1" fmla="*/ 0 h 111"/>
                  <a:gd name="T2" fmla="*/ 40 w 40"/>
                  <a:gd name="T3" fmla="*/ 111 h 111"/>
                  <a:gd name="T4" fmla="*/ 23 w 40"/>
                  <a:gd name="T5" fmla="*/ 111 h 111"/>
                  <a:gd name="T6" fmla="*/ 23 w 40"/>
                  <a:gd name="T7" fmla="*/ 21 h 111"/>
                  <a:gd name="T8" fmla="*/ 12 w 40"/>
                  <a:gd name="T9" fmla="*/ 27 h 111"/>
                  <a:gd name="T10" fmla="*/ 0 w 40"/>
                  <a:gd name="T11" fmla="*/ 31 h 111"/>
                  <a:gd name="T12" fmla="*/ 0 w 40"/>
                  <a:gd name="T13" fmla="*/ 16 h 111"/>
                  <a:gd name="T14" fmla="*/ 8 w 40"/>
                  <a:gd name="T15" fmla="*/ 13 h 111"/>
                  <a:gd name="T16" fmla="*/ 16 w 40"/>
                  <a:gd name="T17" fmla="*/ 10 h 111"/>
                  <a:gd name="T18" fmla="*/ 24 w 40"/>
                  <a:gd name="T19" fmla="*/ 5 h 111"/>
                  <a:gd name="T20" fmla="*/ 33 w 40"/>
                  <a:gd name="T21" fmla="*/ 0 h 111"/>
                  <a:gd name="T22" fmla="*/ 40 w 40"/>
                  <a:gd name="T23" fmla="*/ 0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0" h="111">
                    <a:moveTo>
                      <a:pt x="40" y="0"/>
                    </a:moveTo>
                    <a:cubicBezTo>
                      <a:pt x="40" y="111"/>
                      <a:pt x="40" y="111"/>
                      <a:pt x="40" y="111"/>
                    </a:cubicBezTo>
                    <a:cubicBezTo>
                      <a:pt x="23" y="111"/>
                      <a:pt x="23" y="111"/>
                      <a:pt x="23" y="111"/>
                    </a:cubicBezTo>
                    <a:cubicBezTo>
                      <a:pt x="23" y="21"/>
                      <a:pt x="23" y="21"/>
                      <a:pt x="23" y="21"/>
                    </a:cubicBezTo>
                    <a:cubicBezTo>
                      <a:pt x="19" y="24"/>
                      <a:pt x="16" y="25"/>
                      <a:pt x="12" y="27"/>
                    </a:cubicBezTo>
                    <a:cubicBezTo>
                      <a:pt x="9" y="29"/>
                      <a:pt x="4" y="30"/>
                      <a:pt x="0" y="31"/>
                    </a:cubicBezTo>
                    <a:cubicBezTo>
                      <a:pt x="0" y="16"/>
                      <a:pt x="0" y="16"/>
                      <a:pt x="0" y="16"/>
                    </a:cubicBezTo>
                    <a:cubicBezTo>
                      <a:pt x="3" y="15"/>
                      <a:pt x="5" y="14"/>
                      <a:pt x="8" y="13"/>
                    </a:cubicBezTo>
                    <a:cubicBezTo>
                      <a:pt x="11" y="12"/>
                      <a:pt x="14" y="11"/>
                      <a:pt x="16" y="10"/>
                    </a:cubicBezTo>
                    <a:cubicBezTo>
                      <a:pt x="19" y="8"/>
                      <a:pt x="22" y="7"/>
                      <a:pt x="24" y="5"/>
                    </a:cubicBezTo>
                    <a:cubicBezTo>
                      <a:pt x="27" y="4"/>
                      <a:pt x="30" y="2"/>
                      <a:pt x="33" y="0"/>
                    </a:cubicBezTo>
                    <a:lnTo>
                      <a:pt x="4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3" tIns="46616" rIns="93233" bIns="46616" numCol="1" anchor="t" anchorCtr="0" compatLnSpc="1">
                <a:prstTxWarp prst="textNoShape">
                  <a:avLst/>
                </a:prstTxWarp>
              </a:bodyPr>
              <a:lstStyle/>
              <a:p>
                <a:pPr marL="0" marR="0" lvl="0" indent="0" defTabSz="914192" eaLnBrk="1" fontAlgn="auto" latinLnBrk="0" hangingPunct="1">
                  <a:lnSpc>
                    <a:spcPct val="100000"/>
                  </a:lnSpc>
                  <a:spcBef>
                    <a:spcPts val="0"/>
                  </a:spcBef>
                  <a:spcAft>
                    <a:spcPts val="0"/>
                  </a:spcAft>
                  <a:buClrTx/>
                  <a:buSzTx/>
                  <a:buFontTx/>
                  <a:buNone/>
                  <a:tabLst/>
                  <a:defRPr/>
                </a:pPr>
                <a:endParaRPr kumimoji="0" lang="en-US" sz="2448" b="0" i="0" u="none" strike="noStrike" kern="0" cap="none" spc="0" normalizeH="0" baseline="0" noProof="0" dirty="0">
                  <a:ln>
                    <a:noFill/>
                  </a:ln>
                  <a:solidFill>
                    <a:sysClr val="windowText" lastClr="000000"/>
                  </a:solidFill>
                  <a:effectLst/>
                  <a:uLnTx/>
                  <a:uFillTx/>
                  <a:latin typeface="Segoe UI"/>
                  <a:ea typeface="MS PGothic" charset="0"/>
                </a:endParaRPr>
              </a:p>
            </p:txBody>
          </p:sp>
          <p:sp>
            <p:nvSpPr>
              <p:cNvPr id="97" name="Freeform 36"/>
              <p:cNvSpPr>
                <a:spLocks noEditPoints="1"/>
              </p:cNvSpPr>
              <p:nvPr/>
            </p:nvSpPr>
            <p:spPr bwMode="auto">
              <a:xfrm>
                <a:off x="6563623" y="4473391"/>
                <a:ext cx="77209" cy="107849"/>
              </a:xfrm>
              <a:custGeom>
                <a:avLst/>
                <a:gdLst>
                  <a:gd name="T0" fmla="*/ 37 w 76"/>
                  <a:gd name="T1" fmla="*/ 115 h 115"/>
                  <a:gd name="T2" fmla="*/ 10 w 76"/>
                  <a:gd name="T3" fmla="*/ 101 h 115"/>
                  <a:gd name="T4" fmla="*/ 0 w 76"/>
                  <a:gd name="T5" fmla="*/ 60 h 115"/>
                  <a:gd name="T6" fmla="*/ 10 w 76"/>
                  <a:gd name="T7" fmla="*/ 15 h 115"/>
                  <a:gd name="T8" fmla="*/ 39 w 76"/>
                  <a:gd name="T9" fmla="*/ 0 h 115"/>
                  <a:gd name="T10" fmla="*/ 76 w 76"/>
                  <a:gd name="T11" fmla="*/ 57 h 115"/>
                  <a:gd name="T12" fmla="*/ 66 w 76"/>
                  <a:gd name="T13" fmla="*/ 100 h 115"/>
                  <a:gd name="T14" fmla="*/ 37 w 76"/>
                  <a:gd name="T15" fmla="*/ 115 h 115"/>
                  <a:gd name="T16" fmla="*/ 39 w 76"/>
                  <a:gd name="T17" fmla="*/ 14 h 115"/>
                  <a:gd name="T18" fmla="*/ 18 w 76"/>
                  <a:gd name="T19" fmla="*/ 59 h 115"/>
                  <a:gd name="T20" fmla="*/ 38 w 76"/>
                  <a:gd name="T21" fmla="*/ 101 h 115"/>
                  <a:gd name="T22" fmla="*/ 58 w 76"/>
                  <a:gd name="T23" fmla="*/ 58 h 115"/>
                  <a:gd name="T24" fmla="*/ 39 w 76"/>
                  <a:gd name="T25" fmla="*/ 14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6" h="115">
                    <a:moveTo>
                      <a:pt x="37" y="115"/>
                    </a:moveTo>
                    <a:cubicBezTo>
                      <a:pt x="25" y="115"/>
                      <a:pt x="16" y="110"/>
                      <a:pt x="10" y="101"/>
                    </a:cubicBezTo>
                    <a:cubicBezTo>
                      <a:pt x="3" y="91"/>
                      <a:pt x="0" y="77"/>
                      <a:pt x="0" y="60"/>
                    </a:cubicBezTo>
                    <a:cubicBezTo>
                      <a:pt x="0" y="40"/>
                      <a:pt x="3" y="25"/>
                      <a:pt x="10" y="15"/>
                    </a:cubicBezTo>
                    <a:cubicBezTo>
                      <a:pt x="17" y="5"/>
                      <a:pt x="27" y="0"/>
                      <a:pt x="39" y="0"/>
                    </a:cubicBezTo>
                    <a:cubicBezTo>
                      <a:pt x="64" y="0"/>
                      <a:pt x="76" y="19"/>
                      <a:pt x="76" y="57"/>
                    </a:cubicBezTo>
                    <a:cubicBezTo>
                      <a:pt x="76" y="76"/>
                      <a:pt x="73" y="90"/>
                      <a:pt x="66" y="100"/>
                    </a:cubicBezTo>
                    <a:cubicBezTo>
                      <a:pt x="59" y="110"/>
                      <a:pt x="49" y="115"/>
                      <a:pt x="37" y="115"/>
                    </a:cubicBezTo>
                    <a:close/>
                    <a:moveTo>
                      <a:pt x="39" y="14"/>
                    </a:moveTo>
                    <a:cubicBezTo>
                      <a:pt x="25" y="14"/>
                      <a:pt x="18" y="29"/>
                      <a:pt x="18" y="59"/>
                    </a:cubicBezTo>
                    <a:cubicBezTo>
                      <a:pt x="18" y="87"/>
                      <a:pt x="25" y="101"/>
                      <a:pt x="38" y="101"/>
                    </a:cubicBezTo>
                    <a:cubicBezTo>
                      <a:pt x="51" y="101"/>
                      <a:pt x="58" y="86"/>
                      <a:pt x="58" y="58"/>
                    </a:cubicBezTo>
                    <a:cubicBezTo>
                      <a:pt x="58" y="29"/>
                      <a:pt x="51" y="14"/>
                      <a:pt x="39"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3" tIns="46616" rIns="93233" bIns="46616" numCol="1" anchor="t" anchorCtr="0" compatLnSpc="1">
                <a:prstTxWarp prst="textNoShape">
                  <a:avLst/>
                </a:prstTxWarp>
              </a:bodyPr>
              <a:lstStyle/>
              <a:p>
                <a:pPr marL="0" marR="0" lvl="0" indent="0" defTabSz="914192" eaLnBrk="1" fontAlgn="auto" latinLnBrk="0" hangingPunct="1">
                  <a:lnSpc>
                    <a:spcPct val="100000"/>
                  </a:lnSpc>
                  <a:spcBef>
                    <a:spcPts val="0"/>
                  </a:spcBef>
                  <a:spcAft>
                    <a:spcPts val="0"/>
                  </a:spcAft>
                  <a:buClrTx/>
                  <a:buSzTx/>
                  <a:buFontTx/>
                  <a:buNone/>
                  <a:tabLst/>
                  <a:defRPr/>
                </a:pPr>
                <a:endParaRPr kumimoji="0" lang="en-US" sz="2448" b="0" i="0" u="none" strike="noStrike" kern="0" cap="none" spc="0" normalizeH="0" baseline="0" noProof="0" dirty="0">
                  <a:ln>
                    <a:noFill/>
                  </a:ln>
                  <a:solidFill>
                    <a:sysClr val="windowText" lastClr="000000"/>
                  </a:solidFill>
                  <a:effectLst/>
                  <a:uLnTx/>
                  <a:uFillTx/>
                  <a:latin typeface="Segoe UI"/>
                  <a:ea typeface="MS PGothic" charset="0"/>
                </a:endParaRPr>
              </a:p>
            </p:txBody>
          </p:sp>
        </p:grpSp>
        <p:sp>
          <p:nvSpPr>
            <p:cNvPr id="24" name="TextBox 23"/>
            <p:cNvSpPr txBox="1"/>
            <p:nvPr/>
          </p:nvSpPr>
          <p:spPr>
            <a:xfrm>
              <a:off x="10631412" y="5173035"/>
              <a:ext cx="1134152" cy="269739"/>
            </a:xfrm>
            <a:prstGeom prst="rect">
              <a:avLst/>
            </a:prstGeom>
            <a:noFill/>
          </p:spPr>
          <p:txBody>
            <a:bodyPr wrap="square" lIns="91440" tIns="73152" rIns="91440" bIns="73152" rtlCol="0" anchor="ctr">
              <a:spAutoFit/>
            </a:bodyPr>
            <a:lstStyle/>
            <a:p>
              <a:pPr marL="0" marR="0" lvl="0" indent="0" algn="ctr" defTabSz="914192" eaLnBrk="1" fontAlgn="auto" latinLnBrk="0" hangingPunct="1">
                <a:lnSpc>
                  <a:spcPct val="90000"/>
                </a:lnSpc>
                <a:spcBef>
                  <a:spcPts val="0"/>
                </a:spcBef>
                <a:spcAft>
                  <a:spcPts val="0"/>
                </a:spcAft>
                <a:buClrTx/>
                <a:buSzTx/>
                <a:buFontTx/>
                <a:buNone/>
                <a:tabLst/>
                <a:defRPr/>
              </a:pPr>
              <a:r>
                <a:rPr kumimoji="0" lang="en-US" sz="1200" b="0" i="0" u="none" strike="noStrike" kern="0" cap="none" spc="0" normalizeH="0" baseline="0" noProof="0" dirty="0">
                  <a:ln>
                    <a:noFill/>
                  </a:ln>
                  <a:solidFill>
                    <a:sysClr val="windowText" lastClr="000000"/>
                  </a:solidFill>
                  <a:effectLst/>
                  <a:uLnTx/>
                  <a:uFillTx/>
                  <a:latin typeface="Segoe UI"/>
                  <a:ea typeface="MS PGothic" charset="0"/>
                </a:rPr>
                <a:t>BI &amp; analytics</a:t>
              </a:r>
            </a:p>
          </p:txBody>
        </p:sp>
        <p:grpSp>
          <p:nvGrpSpPr>
            <p:cNvPr id="363" name="Group 362"/>
            <p:cNvGrpSpPr/>
            <p:nvPr/>
          </p:nvGrpSpPr>
          <p:grpSpPr>
            <a:xfrm>
              <a:off x="6989693" y="4768163"/>
              <a:ext cx="3123056" cy="1954363"/>
              <a:chOff x="1321146" y="5090012"/>
              <a:chExt cx="2608744" cy="1632514"/>
            </a:xfrm>
          </p:grpSpPr>
          <p:sp>
            <p:nvSpPr>
              <p:cNvPr id="152" name="Freeform 45"/>
              <p:cNvSpPr>
                <a:spLocks/>
              </p:cNvSpPr>
              <p:nvPr/>
            </p:nvSpPr>
            <p:spPr bwMode="auto">
              <a:xfrm>
                <a:off x="2830446" y="6031151"/>
                <a:ext cx="1078651" cy="135156"/>
              </a:xfrm>
              <a:custGeom>
                <a:avLst/>
                <a:gdLst>
                  <a:gd name="T0" fmla="*/ 28 w 445"/>
                  <a:gd name="T1" fmla="*/ 56 h 56"/>
                  <a:gd name="T2" fmla="*/ 417 w 445"/>
                  <a:gd name="T3" fmla="*/ 56 h 56"/>
                  <a:gd name="T4" fmla="*/ 445 w 445"/>
                  <a:gd name="T5" fmla="*/ 28 h 56"/>
                  <a:gd name="T6" fmla="*/ 417 w 445"/>
                  <a:gd name="T7" fmla="*/ 0 h 56"/>
                  <a:gd name="T8" fmla="*/ 28 w 445"/>
                  <a:gd name="T9" fmla="*/ 0 h 56"/>
                  <a:gd name="T10" fmla="*/ 0 w 445"/>
                  <a:gd name="T11" fmla="*/ 28 h 56"/>
                  <a:gd name="T12" fmla="*/ 28 w 445"/>
                  <a:gd name="T13" fmla="*/ 56 h 56"/>
                </a:gdLst>
                <a:ahLst/>
                <a:cxnLst>
                  <a:cxn ang="0">
                    <a:pos x="T0" y="T1"/>
                  </a:cxn>
                  <a:cxn ang="0">
                    <a:pos x="T2" y="T3"/>
                  </a:cxn>
                  <a:cxn ang="0">
                    <a:pos x="T4" y="T5"/>
                  </a:cxn>
                  <a:cxn ang="0">
                    <a:pos x="T6" y="T7"/>
                  </a:cxn>
                  <a:cxn ang="0">
                    <a:pos x="T8" y="T9"/>
                  </a:cxn>
                  <a:cxn ang="0">
                    <a:pos x="T10" y="T11"/>
                  </a:cxn>
                  <a:cxn ang="0">
                    <a:pos x="T12" y="T13"/>
                  </a:cxn>
                </a:cxnLst>
                <a:rect l="0" t="0" r="r" b="b"/>
                <a:pathLst>
                  <a:path w="445" h="56">
                    <a:moveTo>
                      <a:pt x="28" y="56"/>
                    </a:moveTo>
                    <a:cubicBezTo>
                      <a:pt x="417" y="56"/>
                      <a:pt x="417" y="56"/>
                      <a:pt x="417" y="56"/>
                    </a:cubicBezTo>
                    <a:cubicBezTo>
                      <a:pt x="432" y="56"/>
                      <a:pt x="445" y="44"/>
                      <a:pt x="445" y="28"/>
                    </a:cubicBezTo>
                    <a:cubicBezTo>
                      <a:pt x="445" y="13"/>
                      <a:pt x="432" y="0"/>
                      <a:pt x="417" y="0"/>
                    </a:cubicBezTo>
                    <a:cubicBezTo>
                      <a:pt x="28" y="0"/>
                      <a:pt x="28" y="0"/>
                      <a:pt x="28" y="0"/>
                    </a:cubicBezTo>
                    <a:cubicBezTo>
                      <a:pt x="12" y="0"/>
                      <a:pt x="0" y="13"/>
                      <a:pt x="0" y="28"/>
                    </a:cubicBezTo>
                    <a:cubicBezTo>
                      <a:pt x="0" y="44"/>
                      <a:pt x="12" y="56"/>
                      <a:pt x="28" y="56"/>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53" name="Freeform 46"/>
              <p:cNvSpPr>
                <a:spLocks/>
              </p:cNvSpPr>
              <p:nvPr/>
            </p:nvSpPr>
            <p:spPr bwMode="auto">
              <a:xfrm>
                <a:off x="2851239" y="6057142"/>
                <a:ext cx="1078651" cy="135156"/>
              </a:xfrm>
              <a:custGeom>
                <a:avLst/>
                <a:gdLst>
                  <a:gd name="T0" fmla="*/ 28 w 445"/>
                  <a:gd name="T1" fmla="*/ 56 h 56"/>
                  <a:gd name="T2" fmla="*/ 417 w 445"/>
                  <a:gd name="T3" fmla="*/ 56 h 56"/>
                  <a:gd name="T4" fmla="*/ 445 w 445"/>
                  <a:gd name="T5" fmla="*/ 28 h 56"/>
                  <a:gd name="T6" fmla="*/ 417 w 445"/>
                  <a:gd name="T7" fmla="*/ 0 h 56"/>
                  <a:gd name="T8" fmla="*/ 28 w 445"/>
                  <a:gd name="T9" fmla="*/ 0 h 56"/>
                  <a:gd name="T10" fmla="*/ 0 w 445"/>
                  <a:gd name="T11" fmla="*/ 28 h 56"/>
                  <a:gd name="T12" fmla="*/ 28 w 445"/>
                  <a:gd name="T13" fmla="*/ 56 h 56"/>
                </a:gdLst>
                <a:ahLst/>
                <a:cxnLst>
                  <a:cxn ang="0">
                    <a:pos x="T0" y="T1"/>
                  </a:cxn>
                  <a:cxn ang="0">
                    <a:pos x="T2" y="T3"/>
                  </a:cxn>
                  <a:cxn ang="0">
                    <a:pos x="T4" y="T5"/>
                  </a:cxn>
                  <a:cxn ang="0">
                    <a:pos x="T6" y="T7"/>
                  </a:cxn>
                  <a:cxn ang="0">
                    <a:pos x="T8" y="T9"/>
                  </a:cxn>
                  <a:cxn ang="0">
                    <a:pos x="T10" y="T11"/>
                  </a:cxn>
                  <a:cxn ang="0">
                    <a:pos x="T12" y="T13"/>
                  </a:cxn>
                </a:cxnLst>
                <a:rect l="0" t="0" r="r" b="b"/>
                <a:pathLst>
                  <a:path w="445" h="56">
                    <a:moveTo>
                      <a:pt x="28" y="56"/>
                    </a:moveTo>
                    <a:cubicBezTo>
                      <a:pt x="417" y="56"/>
                      <a:pt x="417" y="56"/>
                      <a:pt x="417" y="56"/>
                    </a:cubicBezTo>
                    <a:cubicBezTo>
                      <a:pt x="432" y="56"/>
                      <a:pt x="445" y="43"/>
                      <a:pt x="445" y="28"/>
                    </a:cubicBezTo>
                    <a:cubicBezTo>
                      <a:pt x="445" y="13"/>
                      <a:pt x="432" y="0"/>
                      <a:pt x="417" y="0"/>
                    </a:cubicBezTo>
                    <a:cubicBezTo>
                      <a:pt x="28" y="0"/>
                      <a:pt x="28" y="0"/>
                      <a:pt x="28" y="0"/>
                    </a:cubicBezTo>
                    <a:cubicBezTo>
                      <a:pt x="12" y="0"/>
                      <a:pt x="0" y="13"/>
                      <a:pt x="0" y="28"/>
                    </a:cubicBezTo>
                    <a:cubicBezTo>
                      <a:pt x="0" y="43"/>
                      <a:pt x="12" y="56"/>
                      <a:pt x="28" y="56"/>
                    </a:cubicBez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54" name="Freeform 47"/>
              <p:cNvSpPr>
                <a:spLocks/>
              </p:cNvSpPr>
              <p:nvPr/>
            </p:nvSpPr>
            <p:spPr bwMode="auto">
              <a:xfrm>
                <a:off x="3695964" y="6691336"/>
                <a:ext cx="77975" cy="31190"/>
              </a:xfrm>
              <a:custGeom>
                <a:avLst/>
                <a:gdLst>
                  <a:gd name="T0" fmla="*/ 0 w 33"/>
                  <a:gd name="T1" fmla="*/ 13 h 13"/>
                  <a:gd name="T2" fmla="*/ 17 w 33"/>
                  <a:gd name="T3" fmla="*/ 0 h 13"/>
                  <a:gd name="T4" fmla="*/ 33 w 33"/>
                  <a:gd name="T5" fmla="*/ 13 h 13"/>
                  <a:gd name="T6" fmla="*/ 0 w 33"/>
                  <a:gd name="T7" fmla="*/ 13 h 13"/>
                </a:gdLst>
                <a:ahLst/>
                <a:cxnLst>
                  <a:cxn ang="0">
                    <a:pos x="T0" y="T1"/>
                  </a:cxn>
                  <a:cxn ang="0">
                    <a:pos x="T2" y="T3"/>
                  </a:cxn>
                  <a:cxn ang="0">
                    <a:pos x="T4" y="T5"/>
                  </a:cxn>
                  <a:cxn ang="0">
                    <a:pos x="T6" y="T7"/>
                  </a:cxn>
                </a:cxnLst>
                <a:rect l="0" t="0" r="r" b="b"/>
                <a:pathLst>
                  <a:path w="33" h="13">
                    <a:moveTo>
                      <a:pt x="0" y="13"/>
                    </a:moveTo>
                    <a:cubicBezTo>
                      <a:pt x="2" y="6"/>
                      <a:pt x="9" y="0"/>
                      <a:pt x="17" y="0"/>
                    </a:cubicBezTo>
                    <a:cubicBezTo>
                      <a:pt x="24" y="0"/>
                      <a:pt x="31" y="6"/>
                      <a:pt x="33" y="13"/>
                    </a:cubicBezTo>
                    <a:lnTo>
                      <a:pt x="0" y="13"/>
                    </a:lnTo>
                    <a:close/>
                  </a:path>
                </a:pathLst>
              </a:custGeom>
              <a:solidFill>
                <a:srgbClr val="409A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66" name="Oval 59"/>
              <p:cNvSpPr>
                <a:spLocks noChangeArrowheads="1"/>
              </p:cNvSpPr>
              <p:nvPr/>
            </p:nvSpPr>
            <p:spPr bwMode="auto">
              <a:xfrm>
                <a:off x="3792134" y="6098729"/>
                <a:ext cx="51983" cy="54583"/>
              </a:xfrm>
              <a:prstGeom prst="ellipse">
                <a:avLst/>
              </a:prstGeom>
              <a:solidFill>
                <a:srgbClr val="0011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67" name="Oval 60"/>
              <p:cNvSpPr>
                <a:spLocks noChangeArrowheads="1"/>
              </p:cNvSpPr>
              <p:nvPr/>
            </p:nvSpPr>
            <p:spPr bwMode="auto">
              <a:xfrm>
                <a:off x="3703763" y="6098729"/>
                <a:ext cx="57181" cy="54583"/>
              </a:xfrm>
              <a:prstGeom prst="ellipse">
                <a:avLst/>
              </a:prstGeom>
              <a:solidFill>
                <a:srgbClr val="0011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68" name="Oval 61"/>
              <p:cNvSpPr>
                <a:spLocks noChangeArrowheads="1"/>
              </p:cNvSpPr>
              <p:nvPr/>
            </p:nvSpPr>
            <p:spPr bwMode="auto">
              <a:xfrm>
                <a:off x="3620590" y="6098729"/>
                <a:ext cx="51983" cy="54583"/>
              </a:xfrm>
              <a:prstGeom prst="ellipse">
                <a:avLst/>
              </a:prstGeom>
              <a:solidFill>
                <a:srgbClr val="0011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69" name="Oval 62"/>
              <p:cNvSpPr>
                <a:spLocks noChangeArrowheads="1"/>
              </p:cNvSpPr>
              <p:nvPr/>
            </p:nvSpPr>
            <p:spPr bwMode="auto">
              <a:xfrm>
                <a:off x="3534817" y="6098729"/>
                <a:ext cx="54583" cy="54583"/>
              </a:xfrm>
              <a:prstGeom prst="ellipse">
                <a:avLst/>
              </a:prstGeom>
              <a:solidFill>
                <a:srgbClr val="0011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70" name="Oval 63"/>
              <p:cNvSpPr>
                <a:spLocks noChangeArrowheads="1"/>
              </p:cNvSpPr>
              <p:nvPr/>
            </p:nvSpPr>
            <p:spPr bwMode="auto">
              <a:xfrm>
                <a:off x="3446445" y="6098729"/>
                <a:ext cx="57181" cy="54583"/>
              </a:xfrm>
              <a:prstGeom prst="ellipse">
                <a:avLst/>
              </a:prstGeom>
              <a:solidFill>
                <a:srgbClr val="0011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71" name="Oval 64"/>
              <p:cNvSpPr>
                <a:spLocks noChangeArrowheads="1"/>
              </p:cNvSpPr>
              <p:nvPr/>
            </p:nvSpPr>
            <p:spPr bwMode="auto">
              <a:xfrm>
                <a:off x="3363272" y="6098729"/>
                <a:ext cx="51983" cy="54583"/>
              </a:xfrm>
              <a:prstGeom prst="ellipse">
                <a:avLst/>
              </a:prstGeom>
              <a:solidFill>
                <a:srgbClr val="0011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72" name="Oval 65"/>
              <p:cNvSpPr>
                <a:spLocks noChangeArrowheads="1"/>
              </p:cNvSpPr>
              <p:nvPr/>
            </p:nvSpPr>
            <p:spPr bwMode="auto">
              <a:xfrm>
                <a:off x="3277501" y="6098729"/>
                <a:ext cx="54583" cy="54583"/>
              </a:xfrm>
              <a:prstGeom prst="ellipse">
                <a:avLst/>
              </a:prstGeom>
              <a:solidFill>
                <a:srgbClr val="0011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73" name="Oval 66"/>
              <p:cNvSpPr>
                <a:spLocks noChangeArrowheads="1"/>
              </p:cNvSpPr>
              <p:nvPr/>
            </p:nvSpPr>
            <p:spPr bwMode="auto">
              <a:xfrm>
                <a:off x="3194328" y="6098729"/>
                <a:ext cx="51983" cy="54583"/>
              </a:xfrm>
              <a:prstGeom prst="ellipse">
                <a:avLst/>
              </a:prstGeom>
              <a:solidFill>
                <a:srgbClr val="0011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74" name="Oval 67"/>
              <p:cNvSpPr>
                <a:spLocks noChangeArrowheads="1"/>
              </p:cNvSpPr>
              <p:nvPr/>
            </p:nvSpPr>
            <p:spPr bwMode="auto">
              <a:xfrm>
                <a:off x="3105957" y="6098729"/>
                <a:ext cx="51983" cy="54583"/>
              </a:xfrm>
              <a:prstGeom prst="ellipse">
                <a:avLst/>
              </a:prstGeom>
              <a:solidFill>
                <a:srgbClr val="0011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77" name="Rectangle 70"/>
              <p:cNvSpPr>
                <a:spLocks noChangeArrowheads="1"/>
              </p:cNvSpPr>
              <p:nvPr/>
            </p:nvSpPr>
            <p:spPr bwMode="auto">
              <a:xfrm>
                <a:off x="3716758" y="6192298"/>
                <a:ext cx="36388" cy="512034"/>
              </a:xfrm>
              <a:prstGeom prst="rect">
                <a:avLst/>
              </a:prstGeom>
              <a:solidFill>
                <a:srgbClr val="409AE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78" name="Rectangle 71"/>
              <p:cNvSpPr>
                <a:spLocks noChangeArrowheads="1"/>
              </p:cNvSpPr>
              <p:nvPr/>
            </p:nvSpPr>
            <p:spPr bwMode="auto">
              <a:xfrm>
                <a:off x="3734952" y="6192298"/>
                <a:ext cx="18195" cy="512034"/>
              </a:xfrm>
              <a:prstGeom prst="rect">
                <a:avLst/>
              </a:prstGeom>
              <a:solidFill>
                <a:srgbClr val="409AE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79" name="Freeform 72"/>
              <p:cNvSpPr>
                <a:spLocks/>
              </p:cNvSpPr>
              <p:nvPr/>
            </p:nvSpPr>
            <p:spPr bwMode="auto">
              <a:xfrm>
                <a:off x="3732353" y="6691336"/>
                <a:ext cx="41586" cy="31190"/>
              </a:xfrm>
              <a:custGeom>
                <a:avLst/>
                <a:gdLst>
                  <a:gd name="T0" fmla="*/ 0 w 17"/>
                  <a:gd name="T1" fmla="*/ 0 h 13"/>
                  <a:gd name="T2" fmla="*/ 1 w 17"/>
                  <a:gd name="T3" fmla="*/ 0 h 13"/>
                  <a:gd name="T4" fmla="*/ 17 w 17"/>
                  <a:gd name="T5" fmla="*/ 13 h 13"/>
                  <a:gd name="T6" fmla="*/ 9 w 17"/>
                  <a:gd name="T7" fmla="*/ 13 h 13"/>
                  <a:gd name="T8" fmla="*/ 0 w 17"/>
                  <a:gd name="T9" fmla="*/ 0 h 13"/>
                </a:gdLst>
                <a:ahLst/>
                <a:cxnLst>
                  <a:cxn ang="0">
                    <a:pos x="T0" y="T1"/>
                  </a:cxn>
                  <a:cxn ang="0">
                    <a:pos x="T2" y="T3"/>
                  </a:cxn>
                  <a:cxn ang="0">
                    <a:pos x="T4" y="T5"/>
                  </a:cxn>
                  <a:cxn ang="0">
                    <a:pos x="T6" y="T7"/>
                  </a:cxn>
                  <a:cxn ang="0">
                    <a:pos x="T8" y="T9"/>
                  </a:cxn>
                </a:cxnLst>
                <a:rect l="0" t="0" r="r" b="b"/>
                <a:pathLst>
                  <a:path w="17" h="13">
                    <a:moveTo>
                      <a:pt x="0" y="0"/>
                    </a:moveTo>
                    <a:cubicBezTo>
                      <a:pt x="0" y="0"/>
                      <a:pt x="1" y="0"/>
                      <a:pt x="1" y="0"/>
                    </a:cubicBezTo>
                    <a:cubicBezTo>
                      <a:pt x="8" y="0"/>
                      <a:pt x="15" y="6"/>
                      <a:pt x="17" y="13"/>
                    </a:cubicBezTo>
                    <a:cubicBezTo>
                      <a:pt x="9" y="13"/>
                      <a:pt x="9" y="13"/>
                      <a:pt x="9" y="13"/>
                    </a:cubicBezTo>
                    <a:cubicBezTo>
                      <a:pt x="8" y="8"/>
                      <a:pt x="5" y="3"/>
                      <a:pt x="0" y="0"/>
                    </a:cubicBezTo>
                    <a:close/>
                  </a:path>
                </a:pathLst>
              </a:custGeom>
              <a:solidFill>
                <a:srgbClr val="409A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09" name="Oval 66"/>
              <p:cNvSpPr>
                <a:spLocks noChangeArrowheads="1"/>
              </p:cNvSpPr>
              <p:nvPr/>
            </p:nvSpPr>
            <p:spPr bwMode="auto">
              <a:xfrm>
                <a:off x="3009128" y="6098729"/>
                <a:ext cx="51983" cy="54583"/>
              </a:xfrm>
              <a:prstGeom prst="ellipse">
                <a:avLst/>
              </a:prstGeom>
              <a:solidFill>
                <a:srgbClr val="0011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10" name="Oval 67"/>
              <p:cNvSpPr>
                <a:spLocks noChangeArrowheads="1"/>
              </p:cNvSpPr>
              <p:nvPr/>
            </p:nvSpPr>
            <p:spPr bwMode="auto">
              <a:xfrm>
                <a:off x="2920757" y="6098729"/>
                <a:ext cx="51983" cy="54583"/>
              </a:xfrm>
              <a:prstGeom prst="ellipse">
                <a:avLst/>
              </a:prstGeom>
              <a:solidFill>
                <a:srgbClr val="0011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83" name="Freeform 76"/>
              <p:cNvSpPr>
                <a:spLocks/>
              </p:cNvSpPr>
              <p:nvPr/>
            </p:nvSpPr>
            <p:spPr bwMode="auto">
              <a:xfrm>
                <a:off x="2799256" y="6691336"/>
                <a:ext cx="59781" cy="31190"/>
              </a:xfrm>
              <a:custGeom>
                <a:avLst/>
                <a:gdLst>
                  <a:gd name="T0" fmla="*/ 0 w 24"/>
                  <a:gd name="T1" fmla="*/ 13 h 13"/>
                  <a:gd name="T2" fmla="*/ 8 w 24"/>
                  <a:gd name="T3" fmla="*/ 13 h 13"/>
                  <a:gd name="T4" fmla="*/ 24 w 24"/>
                  <a:gd name="T5" fmla="*/ 11 h 13"/>
                  <a:gd name="T6" fmla="*/ 24 w 24"/>
                  <a:gd name="T7" fmla="*/ 0 h 13"/>
                  <a:gd name="T8" fmla="*/ 0 w 24"/>
                  <a:gd name="T9" fmla="*/ 0 h 13"/>
                  <a:gd name="T10" fmla="*/ 0 w 24"/>
                  <a:gd name="T11" fmla="*/ 13 h 13"/>
                </a:gdLst>
                <a:ahLst/>
                <a:cxnLst>
                  <a:cxn ang="0">
                    <a:pos x="T0" y="T1"/>
                  </a:cxn>
                  <a:cxn ang="0">
                    <a:pos x="T2" y="T3"/>
                  </a:cxn>
                  <a:cxn ang="0">
                    <a:pos x="T4" y="T5"/>
                  </a:cxn>
                  <a:cxn ang="0">
                    <a:pos x="T6" y="T7"/>
                  </a:cxn>
                  <a:cxn ang="0">
                    <a:pos x="T8" y="T9"/>
                  </a:cxn>
                  <a:cxn ang="0">
                    <a:pos x="T10" y="T11"/>
                  </a:cxn>
                </a:cxnLst>
                <a:rect l="0" t="0" r="r" b="b"/>
                <a:pathLst>
                  <a:path w="24" h="13">
                    <a:moveTo>
                      <a:pt x="0" y="13"/>
                    </a:moveTo>
                    <a:cubicBezTo>
                      <a:pt x="8" y="13"/>
                      <a:pt x="8" y="13"/>
                      <a:pt x="8" y="13"/>
                    </a:cubicBezTo>
                    <a:cubicBezTo>
                      <a:pt x="14" y="13"/>
                      <a:pt x="19" y="13"/>
                      <a:pt x="24" y="11"/>
                    </a:cubicBezTo>
                    <a:cubicBezTo>
                      <a:pt x="24" y="0"/>
                      <a:pt x="24" y="0"/>
                      <a:pt x="24" y="0"/>
                    </a:cubicBezTo>
                    <a:cubicBezTo>
                      <a:pt x="0" y="0"/>
                      <a:pt x="0" y="0"/>
                      <a:pt x="0" y="0"/>
                    </a:cubicBezTo>
                    <a:lnTo>
                      <a:pt x="0" y="13"/>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84" name="Freeform 77"/>
              <p:cNvSpPr>
                <a:spLocks/>
              </p:cNvSpPr>
              <p:nvPr/>
            </p:nvSpPr>
            <p:spPr bwMode="auto">
              <a:xfrm>
                <a:off x="1422067" y="6691336"/>
                <a:ext cx="54583" cy="31190"/>
              </a:xfrm>
              <a:custGeom>
                <a:avLst/>
                <a:gdLst>
                  <a:gd name="T0" fmla="*/ 23 w 23"/>
                  <a:gd name="T1" fmla="*/ 13 h 13"/>
                  <a:gd name="T2" fmla="*/ 16 w 23"/>
                  <a:gd name="T3" fmla="*/ 13 h 13"/>
                  <a:gd name="T4" fmla="*/ 0 w 23"/>
                  <a:gd name="T5" fmla="*/ 11 h 13"/>
                  <a:gd name="T6" fmla="*/ 0 w 23"/>
                  <a:gd name="T7" fmla="*/ 0 h 13"/>
                  <a:gd name="T8" fmla="*/ 23 w 23"/>
                  <a:gd name="T9" fmla="*/ 0 h 13"/>
                  <a:gd name="T10" fmla="*/ 23 w 23"/>
                  <a:gd name="T11" fmla="*/ 13 h 13"/>
                </a:gdLst>
                <a:ahLst/>
                <a:cxnLst>
                  <a:cxn ang="0">
                    <a:pos x="T0" y="T1"/>
                  </a:cxn>
                  <a:cxn ang="0">
                    <a:pos x="T2" y="T3"/>
                  </a:cxn>
                  <a:cxn ang="0">
                    <a:pos x="T4" y="T5"/>
                  </a:cxn>
                  <a:cxn ang="0">
                    <a:pos x="T6" y="T7"/>
                  </a:cxn>
                  <a:cxn ang="0">
                    <a:pos x="T8" y="T9"/>
                  </a:cxn>
                  <a:cxn ang="0">
                    <a:pos x="T10" y="T11"/>
                  </a:cxn>
                </a:cxnLst>
                <a:rect l="0" t="0" r="r" b="b"/>
                <a:pathLst>
                  <a:path w="23" h="13">
                    <a:moveTo>
                      <a:pt x="23" y="13"/>
                    </a:moveTo>
                    <a:cubicBezTo>
                      <a:pt x="16" y="13"/>
                      <a:pt x="16" y="13"/>
                      <a:pt x="16" y="13"/>
                    </a:cubicBezTo>
                    <a:cubicBezTo>
                      <a:pt x="10" y="13"/>
                      <a:pt x="5" y="13"/>
                      <a:pt x="0" y="11"/>
                    </a:cubicBezTo>
                    <a:cubicBezTo>
                      <a:pt x="0" y="0"/>
                      <a:pt x="0" y="0"/>
                      <a:pt x="0" y="0"/>
                    </a:cubicBezTo>
                    <a:cubicBezTo>
                      <a:pt x="23" y="0"/>
                      <a:pt x="23" y="0"/>
                      <a:pt x="23" y="0"/>
                    </a:cubicBezTo>
                    <a:lnTo>
                      <a:pt x="23" y="13"/>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86" name="Freeform 79"/>
              <p:cNvSpPr>
                <a:spLocks/>
              </p:cNvSpPr>
              <p:nvPr/>
            </p:nvSpPr>
            <p:spPr bwMode="auto">
              <a:xfrm>
                <a:off x="1321146" y="5090012"/>
                <a:ext cx="1621066" cy="1614320"/>
              </a:xfrm>
              <a:prstGeom prst="roundRect">
                <a:avLst>
                  <a:gd name="adj" fmla="val 5109"/>
                </a:avLst>
              </a:prstGeom>
              <a:solidFill>
                <a:schemeClr val="accent3"/>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nvGrpSpPr>
              <p:cNvPr id="307" name="Group 306"/>
              <p:cNvGrpSpPr/>
              <p:nvPr/>
            </p:nvGrpSpPr>
            <p:grpSpPr>
              <a:xfrm>
                <a:off x="1413195" y="6415826"/>
                <a:ext cx="1436969" cy="119561"/>
                <a:chOff x="2309843" y="6415826"/>
                <a:chExt cx="545823" cy="119561"/>
              </a:xfrm>
            </p:grpSpPr>
            <p:sp>
              <p:nvSpPr>
                <p:cNvPr id="257" name="Rectangle 150"/>
                <p:cNvSpPr>
                  <a:spLocks noChangeArrowheads="1"/>
                </p:cNvSpPr>
                <p:nvPr/>
              </p:nvSpPr>
              <p:spPr bwMode="auto">
                <a:xfrm>
                  <a:off x="2309843" y="6415826"/>
                  <a:ext cx="545823" cy="1299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58" name="Rectangle 151"/>
                <p:cNvSpPr>
                  <a:spLocks noChangeArrowheads="1"/>
                </p:cNvSpPr>
                <p:nvPr/>
              </p:nvSpPr>
              <p:spPr bwMode="auto">
                <a:xfrm>
                  <a:off x="2309843" y="6449614"/>
                  <a:ext cx="545823" cy="1559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59" name="Rectangle 152"/>
                <p:cNvSpPr>
                  <a:spLocks noChangeArrowheads="1"/>
                </p:cNvSpPr>
                <p:nvPr/>
              </p:nvSpPr>
              <p:spPr bwMode="auto">
                <a:xfrm>
                  <a:off x="2309843" y="6486002"/>
                  <a:ext cx="545823" cy="1299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60" name="Rectangle 153"/>
                <p:cNvSpPr>
                  <a:spLocks noChangeArrowheads="1"/>
                </p:cNvSpPr>
                <p:nvPr/>
              </p:nvSpPr>
              <p:spPr bwMode="auto">
                <a:xfrm>
                  <a:off x="2309843" y="6522390"/>
                  <a:ext cx="545823" cy="1299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grpSp>
            <p:nvGrpSpPr>
              <p:cNvPr id="308" name="Group 307"/>
              <p:cNvGrpSpPr/>
              <p:nvPr/>
            </p:nvGrpSpPr>
            <p:grpSpPr>
              <a:xfrm>
                <a:off x="1436496" y="5157252"/>
                <a:ext cx="1390365" cy="1194141"/>
                <a:chOff x="6582658" y="5063983"/>
                <a:chExt cx="1583785" cy="1048532"/>
              </a:xfrm>
              <a:solidFill>
                <a:schemeClr val="tx2"/>
              </a:solidFill>
            </p:grpSpPr>
            <p:sp>
              <p:nvSpPr>
                <p:cNvPr id="18" name="Rectangle 40"/>
                <p:cNvSpPr>
                  <a:spLocks noChangeArrowheads="1"/>
                </p:cNvSpPr>
                <p:nvPr/>
              </p:nvSpPr>
              <p:spPr bwMode="auto">
                <a:xfrm>
                  <a:off x="6582658" y="5702833"/>
                  <a:ext cx="1583784" cy="186611"/>
                </a:xfrm>
                <a:prstGeom prst="rect">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1" tIns="45700" rIns="91401" bIns="45700" numCol="1" anchor="ctr" anchorCtr="0" compatLnSpc="1">
                  <a:prstTxWarp prst="textNoShape">
                    <a:avLst/>
                  </a:prstTxWarp>
                </a:bodyPr>
                <a:lstStyle/>
                <a:p>
                  <a:pPr marL="0" marR="0" lvl="0" indent="0" defTabSz="932151"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chemeClr val="bg2"/>
                      </a:solidFill>
                      <a:effectLst/>
                      <a:uLnTx/>
                      <a:uFillTx/>
                      <a:latin typeface="Segoe UI"/>
                      <a:ea typeface="MS PGothic" charset="0"/>
                    </a:rPr>
                    <a:t>Stored Procedures</a:t>
                  </a:r>
                </a:p>
              </p:txBody>
            </p:sp>
            <p:sp>
              <p:nvSpPr>
                <p:cNvPr id="21" name="Rectangle 37"/>
                <p:cNvSpPr>
                  <a:spLocks noChangeArrowheads="1"/>
                </p:cNvSpPr>
                <p:nvPr/>
              </p:nvSpPr>
              <p:spPr bwMode="auto">
                <a:xfrm>
                  <a:off x="6582658" y="5063983"/>
                  <a:ext cx="1583784" cy="176491"/>
                </a:xfrm>
                <a:prstGeom prst="rect">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1" tIns="45700" rIns="91401" bIns="45700" numCol="1" anchor="ctr" anchorCtr="0" compatLnSpc="1">
                  <a:prstTxWarp prst="textNoShape">
                    <a:avLst/>
                  </a:prstTxWarp>
                </a:bodyPr>
                <a:lstStyle/>
                <a:p>
                  <a:pPr marL="0" marR="0" lvl="0" indent="0" defTabSz="932151"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chemeClr val="bg2"/>
                      </a:solidFill>
                      <a:effectLst/>
                      <a:uLnTx/>
                      <a:uFillTx/>
                      <a:latin typeface="Segoe UI"/>
                      <a:ea typeface="MS PGothic" charset="0"/>
                    </a:rPr>
                    <a:t>Hadoop on Azure</a:t>
                  </a:r>
                </a:p>
              </p:txBody>
            </p:sp>
            <p:sp>
              <p:nvSpPr>
                <p:cNvPr id="27" name="Rectangle 37"/>
                <p:cNvSpPr>
                  <a:spLocks noChangeArrowheads="1"/>
                </p:cNvSpPr>
                <p:nvPr/>
              </p:nvSpPr>
              <p:spPr bwMode="auto">
                <a:xfrm>
                  <a:off x="6582658" y="5276935"/>
                  <a:ext cx="1583785" cy="176491"/>
                </a:xfrm>
                <a:prstGeom prst="rect">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1" tIns="45700" rIns="91401" bIns="45700" numCol="1" anchor="ctr" anchorCtr="0" compatLnSpc="1">
                  <a:prstTxWarp prst="textNoShape">
                    <a:avLst/>
                  </a:prstTxWarp>
                </a:bodyPr>
                <a:lstStyle/>
                <a:p>
                  <a:pPr marL="0" marR="0" lvl="0" indent="0" defTabSz="932151"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chemeClr val="bg2"/>
                      </a:solidFill>
                      <a:effectLst/>
                      <a:uLnTx/>
                      <a:uFillTx/>
                      <a:latin typeface="Segoe UI"/>
                      <a:ea typeface="MS PGothic" charset="0"/>
                    </a:rPr>
                    <a:t>Data Lake Analytics</a:t>
                  </a:r>
                </a:p>
              </p:txBody>
            </p:sp>
            <p:sp>
              <p:nvSpPr>
                <p:cNvPr id="28" name="Rectangle 37"/>
                <p:cNvSpPr>
                  <a:spLocks noChangeArrowheads="1"/>
                </p:cNvSpPr>
                <p:nvPr/>
              </p:nvSpPr>
              <p:spPr bwMode="auto">
                <a:xfrm>
                  <a:off x="6582658" y="5489883"/>
                  <a:ext cx="1583785" cy="176491"/>
                </a:xfrm>
                <a:prstGeom prst="rect">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1" tIns="45700" rIns="91401" bIns="45700" numCol="1" anchor="ctr" anchorCtr="0" compatLnSpc="1">
                  <a:prstTxWarp prst="textNoShape">
                    <a:avLst/>
                  </a:prstTxWarp>
                </a:bodyPr>
                <a:lstStyle/>
                <a:p>
                  <a:pPr marL="0" marR="0" lvl="0" indent="0" defTabSz="932151"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chemeClr val="bg2"/>
                      </a:solidFill>
                      <a:effectLst/>
                      <a:uLnTx/>
                      <a:uFillTx/>
                      <a:latin typeface="Segoe UI"/>
                      <a:ea typeface="MS PGothic" charset="0"/>
                    </a:rPr>
                    <a:t>Custom Code</a:t>
                  </a:r>
                </a:p>
              </p:txBody>
            </p:sp>
            <p:sp>
              <p:nvSpPr>
                <p:cNvPr id="29" name="Rectangle 40"/>
                <p:cNvSpPr>
                  <a:spLocks noChangeArrowheads="1"/>
                </p:cNvSpPr>
                <p:nvPr/>
              </p:nvSpPr>
              <p:spPr bwMode="auto">
                <a:xfrm>
                  <a:off x="6582658" y="5925904"/>
                  <a:ext cx="1583784" cy="186611"/>
                </a:xfrm>
                <a:prstGeom prst="rect">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1" tIns="45700" rIns="91401" bIns="45700" numCol="1" anchor="ctr" anchorCtr="0" compatLnSpc="1">
                  <a:prstTxWarp prst="textNoShape">
                    <a:avLst/>
                  </a:prstTxWarp>
                </a:bodyPr>
                <a:lstStyle/>
                <a:p>
                  <a:pPr marL="0" marR="0" lvl="0" indent="0" defTabSz="932151"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chemeClr val="bg2"/>
                      </a:solidFill>
                      <a:effectLst/>
                      <a:uLnTx/>
                      <a:uFillTx/>
                      <a:latin typeface="Segoe UI"/>
                      <a:ea typeface="MS PGothic" charset="0"/>
                    </a:rPr>
                    <a:t>Machine Learning</a:t>
                  </a:r>
                </a:p>
              </p:txBody>
            </p:sp>
          </p:grpSp>
          <p:sp>
            <p:nvSpPr>
              <p:cNvPr id="311" name="Freeform 182"/>
              <p:cNvSpPr/>
              <p:nvPr/>
            </p:nvSpPr>
            <p:spPr bwMode="auto">
              <a:xfrm>
                <a:off x="3022955" y="5628102"/>
                <a:ext cx="304123" cy="390054"/>
              </a:xfrm>
              <a:custGeom>
                <a:avLst/>
                <a:gdLst>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143359 h 1866625"/>
                  <a:gd name="connsiteX30" fmla="*/ 21049 w 1455401"/>
                  <a:gd name="connsiteY30" fmla="*/ 1033051 h 1866625"/>
                  <a:gd name="connsiteX31" fmla="*/ 15633 w 1455401"/>
                  <a:gd name="connsiteY31" fmla="*/ 1030526 h 1866625"/>
                  <a:gd name="connsiteX32" fmla="*/ 0 w 1455401"/>
                  <a:gd name="connsiteY32" fmla="*/ 1017423 h 1866625"/>
                  <a:gd name="connsiteX33" fmla="*/ 1 w 1455401"/>
                  <a:gd name="connsiteY33" fmla="*/ 296841 h 1866625"/>
                  <a:gd name="connsiteX34" fmla="*/ 0 w 1455401"/>
                  <a:gd name="connsiteY34" fmla="*/ 296838 h 1866625"/>
                  <a:gd name="connsiteX35" fmla="*/ 1 w 1455401"/>
                  <a:gd name="connsiteY35" fmla="*/ 296835 h 1866625"/>
                  <a:gd name="connsiteX36" fmla="*/ 3758 w 1455401"/>
                  <a:gd name="connsiteY36" fmla="*/ 266488 h 1866625"/>
                  <a:gd name="connsiteX37" fmla="*/ 727700 w 1455401"/>
                  <a:gd name="connsiteY3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033051 h 1866625"/>
                  <a:gd name="connsiteX30" fmla="*/ 15633 w 1455401"/>
                  <a:gd name="connsiteY30" fmla="*/ 1030526 h 1866625"/>
                  <a:gd name="connsiteX31" fmla="*/ 0 w 1455401"/>
                  <a:gd name="connsiteY31" fmla="*/ 1017423 h 1866625"/>
                  <a:gd name="connsiteX32" fmla="*/ 1 w 1455401"/>
                  <a:gd name="connsiteY32" fmla="*/ 296841 h 1866625"/>
                  <a:gd name="connsiteX33" fmla="*/ 0 w 1455401"/>
                  <a:gd name="connsiteY33" fmla="*/ 296838 h 1866625"/>
                  <a:gd name="connsiteX34" fmla="*/ 1 w 1455401"/>
                  <a:gd name="connsiteY34" fmla="*/ 296835 h 1866625"/>
                  <a:gd name="connsiteX35" fmla="*/ 3758 w 1455401"/>
                  <a:gd name="connsiteY35" fmla="*/ 266488 h 1866625"/>
                  <a:gd name="connsiteX36" fmla="*/ 727700 w 1455401"/>
                  <a:gd name="connsiteY3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15633 w 1455401"/>
                  <a:gd name="connsiteY29" fmla="*/ 1030526 h 1866625"/>
                  <a:gd name="connsiteX30" fmla="*/ 0 w 1455401"/>
                  <a:gd name="connsiteY30" fmla="*/ 1017423 h 1866625"/>
                  <a:gd name="connsiteX31" fmla="*/ 1 w 1455401"/>
                  <a:gd name="connsiteY31" fmla="*/ 296841 h 1866625"/>
                  <a:gd name="connsiteX32" fmla="*/ 0 w 1455401"/>
                  <a:gd name="connsiteY32" fmla="*/ 296838 h 1866625"/>
                  <a:gd name="connsiteX33" fmla="*/ 1 w 1455401"/>
                  <a:gd name="connsiteY33" fmla="*/ 296835 h 1866625"/>
                  <a:gd name="connsiteX34" fmla="*/ 3758 w 1455401"/>
                  <a:gd name="connsiteY34" fmla="*/ 266488 h 1866625"/>
                  <a:gd name="connsiteX35" fmla="*/ 727700 w 1455401"/>
                  <a:gd name="connsiteY35"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0 w 1455401"/>
                  <a:gd name="connsiteY29" fmla="*/ 1017423 h 1866625"/>
                  <a:gd name="connsiteX30" fmla="*/ 1 w 1455401"/>
                  <a:gd name="connsiteY30" fmla="*/ 296841 h 1866625"/>
                  <a:gd name="connsiteX31" fmla="*/ 0 w 1455401"/>
                  <a:gd name="connsiteY31" fmla="*/ 296838 h 1866625"/>
                  <a:gd name="connsiteX32" fmla="*/ 1 w 1455401"/>
                  <a:gd name="connsiteY32" fmla="*/ 296835 h 1866625"/>
                  <a:gd name="connsiteX33" fmla="*/ 3758 w 1455401"/>
                  <a:gd name="connsiteY33" fmla="*/ 266488 h 1866625"/>
                  <a:gd name="connsiteX34" fmla="*/ 727700 w 1455401"/>
                  <a:gd name="connsiteY34"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0 w 1455401"/>
                  <a:gd name="connsiteY28" fmla="*/ 1017423 h 1866625"/>
                  <a:gd name="connsiteX29" fmla="*/ 1 w 1455401"/>
                  <a:gd name="connsiteY29" fmla="*/ 296841 h 1866625"/>
                  <a:gd name="connsiteX30" fmla="*/ 0 w 1455401"/>
                  <a:gd name="connsiteY30" fmla="*/ 296838 h 1866625"/>
                  <a:gd name="connsiteX31" fmla="*/ 1 w 1455401"/>
                  <a:gd name="connsiteY31" fmla="*/ 296835 h 1866625"/>
                  <a:gd name="connsiteX32" fmla="*/ 3758 w 1455401"/>
                  <a:gd name="connsiteY32" fmla="*/ 266488 h 1866625"/>
                  <a:gd name="connsiteX33" fmla="*/ 727700 w 1455401"/>
                  <a:gd name="connsiteY33"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 w 1455401"/>
                  <a:gd name="connsiteY28" fmla="*/ 296841 h 1866625"/>
                  <a:gd name="connsiteX29" fmla="*/ 0 w 1455401"/>
                  <a:gd name="connsiteY29" fmla="*/ 296838 h 1866625"/>
                  <a:gd name="connsiteX30" fmla="*/ 1 w 1455401"/>
                  <a:gd name="connsiteY30" fmla="*/ 296835 h 1866625"/>
                  <a:gd name="connsiteX31" fmla="*/ 3758 w 1455401"/>
                  <a:gd name="connsiteY31" fmla="*/ 266488 h 1866625"/>
                  <a:gd name="connsiteX32" fmla="*/ 727700 w 1455401"/>
                  <a:gd name="connsiteY32"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296841 h 1866625"/>
                  <a:gd name="connsiteX28" fmla="*/ 0 w 1455401"/>
                  <a:gd name="connsiteY28" fmla="*/ 296838 h 1866625"/>
                  <a:gd name="connsiteX29" fmla="*/ 1 w 1455401"/>
                  <a:gd name="connsiteY29" fmla="*/ 296835 h 1866625"/>
                  <a:gd name="connsiteX30" fmla="*/ 3758 w 1455401"/>
                  <a:gd name="connsiteY30" fmla="*/ 266488 h 1866625"/>
                  <a:gd name="connsiteX31" fmla="*/ 727700 w 1455401"/>
                  <a:gd name="connsiteY31"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143359 h 1866625"/>
                  <a:gd name="connsiteX13" fmla="*/ 1439768 w 1455401"/>
                  <a:gd name="connsiteY13" fmla="*/ 1140834 h 1866625"/>
                  <a:gd name="connsiteX14" fmla="*/ 1455401 w 1455401"/>
                  <a:gd name="connsiteY14" fmla="*/ 1127732 h 1866625"/>
                  <a:gd name="connsiteX15" fmla="*/ 1455401 w 1455401"/>
                  <a:gd name="connsiteY15" fmla="*/ 1569784 h 1866625"/>
                  <a:gd name="connsiteX16" fmla="*/ 1455401 w 1455401"/>
                  <a:gd name="connsiteY16" fmla="*/ 1569787 h 1866625"/>
                  <a:gd name="connsiteX17" fmla="*/ 1455401 w 1455401"/>
                  <a:gd name="connsiteY17" fmla="*/ 1569790 h 1866625"/>
                  <a:gd name="connsiteX18" fmla="*/ 1455401 w 1455401"/>
                  <a:gd name="connsiteY18" fmla="*/ 1578767 h 1866625"/>
                  <a:gd name="connsiteX19" fmla="*/ 1454289 w 1455401"/>
                  <a:gd name="connsiteY19" fmla="*/ 1578767 h 1866625"/>
                  <a:gd name="connsiteX20" fmla="*/ 1451644 w 1455401"/>
                  <a:gd name="connsiteY20" fmla="*/ 1600137 h 1866625"/>
                  <a:gd name="connsiteX21" fmla="*/ 727701 w 1455401"/>
                  <a:gd name="connsiteY21" fmla="*/ 1866625 h 1866625"/>
                  <a:gd name="connsiteX22" fmla="*/ 3758 w 1455401"/>
                  <a:gd name="connsiteY22" fmla="*/ 1600137 h 1866625"/>
                  <a:gd name="connsiteX23" fmla="*/ 1113 w 1455401"/>
                  <a:gd name="connsiteY23" fmla="*/ 1578767 h 1866625"/>
                  <a:gd name="connsiteX24" fmla="*/ 1 w 1455401"/>
                  <a:gd name="connsiteY24" fmla="*/ 1578767 h 1866625"/>
                  <a:gd name="connsiteX25" fmla="*/ 1 w 1455401"/>
                  <a:gd name="connsiteY25" fmla="*/ 1569787 h 1866625"/>
                  <a:gd name="connsiteX26" fmla="*/ 1 w 1455401"/>
                  <a:gd name="connsiteY26" fmla="*/ 296841 h 1866625"/>
                  <a:gd name="connsiteX27" fmla="*/ 0 w 1455401"/>
                  <a:gd name="connsiteY27" fmla="*/ 296838 h 1866625"/>
                  <a:gd name="connsiteX28" fmla="*/ 1 w 1455401"/>
                  <a:gd name="connsiteY28" fmla="*/ 296835 h 1866625"/>
                  <a:gd name="connsiteX29" fmla="*/ 3758 w 1455401"/>
                  <a:gd name="connsiteY29" fmla="*/ 266488 h 1866625"/>
                  <a:gd name="connsiteX30" fmla="*/ 727700 w 1455401"/>
                  <a:gd name="connsiteY30"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4352 w 1455401"/>
                  <a:gd name="connsiteY11" fmla="*/ 1143359 h 1866625"/>
                  <a:gd name="connsiteX12" fmla="*/ 1439768 w 1455401"/>
                  <a:gd name="connsiteY12" fmla="*/ 1140834 h 1866625"/>
                  <a:gd name="connsiteX13" fmla="*/ 1455401 w 1455401"/>
                  <a:gd name="connsiteY13" fmla="*/ 1127732 h 1866625"/>
                  <a:gd name="connsiteX14" fmla="*/ 1455401 w 1455401"/>
                  <a:gd name="connsiteY14" fmla="*/ 1569784 h 1866625"/>
                  <a:gd name="connsiteX15" fmla="*/ 1455401 w 1455401"/>
                  <a:gd name="connsiteY15" fmla="*/ 1569787 h 1866625"/>
                  <a:gd name="connsiteX16" fmla="*/ 1455401 w 1455401"/>
                  <a:gd name="connsiteY16" fmla="*/ 1569790 h 1866625"/>
                  <a:gd name="connsiteX17" fmla="*/ 1455401 w 1455401"/>
                  <a:gd name="connsiteY17" fmla="*/ 1578767 h 1866625"/>
                  <a:gd name="connsiteX18" fmla="*/ 1454289 w 1455401"/>
                  <a:gd name="connsiteY18" fmla="*/ 1578767 h 1866625"/>
                  <a:gd name="connsiteX19" fmla="*/ 1451644 w 1455401"/>
                  <a:gd name="connsiteY19" fmla="*/ 1600137 h 1866625"/>
                  <a:gd name="connsiteX20" fmla="*/ 727701 w 1455401"/>
                  <a:gd name="connsiteY20" fmla="*/ 1866625 h 1866625"/>
                  <a:gd name="connsiteX21" fmla="*/ 3758 w 1455401"/>
                  <a:gd name="connsiteY21" fmla="*/ 1600137 h 1866625"/>
                  <a:gd name="connsiteX22" fmla="*/ 1113 w 1455401"/>
                  <a:gd name="connsiteY22" fmla="*/ 1578767 h 1866625"/>
                  <a:gd name="connsiteX23" fmla="*/ 1 w 1455401"/>
                  <a:gd name="connsiteY23" fmla="*/ 1578767 h 1866625"/>
                  <a:gd name="connsiteX24" fmla="*/ 1 w 1455401"/>
                  <a:gd name="connsiteY24" fmla="*/ 1569787 h 1866625"/>
                  <a:gd name="connsiteX25" fmla="*/ 1 w 1455401"/>
                  <a:gd name="connsiteY25" fmla="*/ 296841 h 1866625"/>
                  <a:gd name="connsiteX26" fmla="*/ 0 w 1455401"/>
                  <a:gd name="connsiteY26" fmla="*/ 296838 h 1866625"/>
                  <a:gd name="connsiteX27" fmla="*/ 1 w 1455401"/>
                  <a:gd name="connsiteY27" fmla="*/ 296835 h 1866625"/>
                  <a:gd name="connsiteX28" fmla="*/ 3758 w 1455401"/>
                  <a:gd name="connsiteY28" fmla="*/ 266488 h 1866625"/>
                  <a:gd name="connsiteX29" fmla="*/ 727700 w 1455401"/>
                  <a:gd name="connsiteY29"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127732 h 1866625"/>
                  <a:gd name="connsiteX13" fmla="*/ 1455401 w 1455401"/>
                  <a:gd name="connsiteY13" fmla="*/ 1569784 h 1866625"/>
                  <a:gd name="connsiteX14" fmla="*/ 1455401 w 1455401"/>
                  <a:gd name="connsiteY14" fmla="*/ 1569787 h 1866625"/>
                  <a:gd name="connsiteX15" fmla="*/ 1455401 w 1455401"/>
                  <a:gd name="connsiteY15" fmla="*/ 1569790 h 1866625"/>
                  <a:gd name="connsiteX16" fmla="*/ 1455401 w 1455401"/>
                  <a:gd name="connsiteY16" fmla="*/ 1578767 h 1866625"/>
                  <a:gd name="connsiteX17" fmla="*/ 1454289 w 1455401"/>
                  <a:gd name="connsiteY17" fmla="*/ 1578767 h 1866625"/>
                  <a:gd name="connsiteX18" fmla="*/ 1451644 w 1455401"/>
                  <a:gd name="connsiteY18" fmla="*/ 1600137 h 1866625"/>
                  <a:gd name="connsiteX19" fmla="*/ 727701 w 1455401"/>
                  <a:gd name="connsiteY19" fmla="*/ 1866625 h 1866625"/>
                  <a:gd name="connsiteX20" fmla="*/ 3758 w 1455401"/>
                  <a:gd name="connsiteY20" fmla="*/ 1600137 h 1866625"/>
                  <a:gd name="connsiteX21" fmla="*/ 1113 w 1455401"/>
                  <a:gd name="connsiteY21" fmla="*/ 1578767 h 1866625"/>
                  <a:gd name="connsiteX22" fmla="*/ 1 w 1455401"/>
                  <a:gd name="connsiteY22" fmla="*/ 1578767 h 1866625"/>
                  <a:gd name="connsiteX23" fmla="*/ 1 w 1455401"/>
                  <a:gd name="connsiteY23" fmla="*/ 1569787 h 1866625"/>
                  <a:gd name="connsiteX24" fmla="*/ 1 w 1455401"/>
                  <a:gd name="connsiteY24" fmla="*/ 296841 h 1866625"/>
                  <a:gd name="connsiteX25" fmla="*/ 0 w 1455401"/>
                  <a:gd name="connsiteY25" fmla="*/ 296838 h 1866625"/>
                  <a:gd name="connsiteX26" fmla="*/ 1 w 1455401"/>
                  <a:gd name="connsiteY26" fmla="*/ 296835 h 1866625"/>
                  <a:gd name="connsiteX27" fmla="*/ 3758 w 1455401"/>
                  <a:gd name="connsiteY27" fmla="*/ 266488 h 1866625"/>
                  <a:gd name="connsiteX28" fmla="*/ 727700 w 1455401"/>
                  <a:gd name="connsiteY28"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569784 h 1866625"/>
                  <a:gd name="connsiteX13" fmla="*/ 1455401 w 1455401"/>
                  <a:gd name="connsiteY13" fmla="*/ 1569787 h 1866625"/>
                  <a:gd name="connsiteX14" fmla="*/ 1455401 w 1455401"/>
                  <a:gd name="connsiteY14" fmla="*/ 1569790 h 1866625"/>
                  <a:gd name="connsiteX15" fmla="*/ 1455401 w 1455401"/>
                  <a:gd name="connsiteY15" fmla="*/ 1578767 h 1866625"/>
                  <a:gd name="connsiteX16" fmla="*/ 1454289 w 1455401"/>
                  <a:gd name="connsiteY16" fmla="*/ 1578767 h 1866625"/>
                  <a:gd name="connsiteX17" fmla="*/ 1451644 w 1455401"/>
                  <a:gd name="connsiteY17" fmla="*/ 1600137 h 1866625"/>
                  <a:gd name="connsiteX18" fmla="*/ 727701 w 1455401"/>
                  <a:gd name="connsiteY18" fmla="*/ 1866625 h 1866625"/>
                  <a:gd name="connsiteX19" fmla="*/ 3758 w 1455401"/>
                  <a:gd name="connsiteY19" fmla="*/ 1600137 h 1866625"/>
                  <a:gd name="connsiteX20" fmla="*/ 1113 w 1455401"/>
                  <a:gd name="connsiteY20" fmla="*/ 1578767 h 1866625"/>
                  <a:gd name="connsiteX21" fmla="*/ 1 w 1455401"/>
                  <a:gd name="connsiteY21" fmla="*/ 1578767 h 1866625"/>
                  <a:gd name="connsiteX22" fmla="*/ 1 w 1455401"/>
                  <a:gd name="connsiteY22" fmla="*/ 1569787 h 1866625"/>
                  <a:gd name="connsiteX23" fmla="*/ 1 w 1455401"/>
                  <a:gd name="connsiteY23" fmla="*/ 296841 h 1866625"/>
                  <a:gd name="connsiteX24" fmla="*/ 0 w 1455401"/>
                  <a:gd name="connsiteY24" fmla="*/ 296838 h 1866625"/>
                  <a:gd name="connsiteX25" fmla="*/ 1 w 1455401"/>
                  <a:gd name="connsiteY25" fmla="*/ 296835 h 1866625"/>
                  <a:gd name="connsiteX26" fmla="*/ 3758 w 1455401"/>
                  <a:gd name="connsiteY26" fmla="*/ 266488 h 1866625"/>
                  <a:gd name="connsiteX27" fmla="*/ 727700 w 1455401"/>
                  <a:gd name="connsiteY2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55401 w 1455401"/>
                  <a:gd name="connsiteY11" fmla="*/ 1569784 h 1866625"/>
                  <a:gd name="connsiteX12" fmla="*/ 1455401 w 1455401"/>
                  <a:gd name="connsiteY12" fmla="*/ 1569787 h 1866625"/>
                  <a:gd name="connsiteX13" fmla="*/ 1455401 w 1455401"/>
                  <a:gd name="connsiteY13" fmla="*/ 1569790 h 1866625"/>
                  <a:gd name="connsiteX14" fmla="*/ 1455401 w 1455401"/>
                  <a:gd name="connsiteY14" fmla="*/ 1578767 h 1866625"/>
                  <a:gd name="connsiteX15" fmla="*/ 1454289 w 1455401"/>
                  <a:gd name="connsiteY15" fmla="*/ 1578767 h 1866625"/>
                  <a:gd name="connsiteX16" fmla="*/ 1451644 w 1455401"/>
                  <a:gd name="connsiteY16" fmla="*/ 1600137 h 1866625"/>
                  <a:gd name="connsiteX17" fmla="*/ 727701 w 1455401"/>
                  <a:gd name="connsiteY17" fmla="*/ 1866625 h 1866625"/>
                  <a:gd name="connsiteX18" fmla="*/ 3758 w 1455401"/>
                  <a:gd name="connsiteY18" fmla="*/ 1600137 h 1866625"/>
                  <a:gd name="connsiteX19" fmla="*/ 1113 w 1455401"/>
                  <a:gd name="connsiteY19" fmla="*/ 1578767 h 1866625"/>
                  <a:gd name="connsiteX20" fmla="*/ 1 w 1455401"/>
                  <a:gd name="connsiteY20" fmla="*/ 1578767 h 1866625"/>
                  <a:gd name="connsiteX21" fmla="*/ 1 w 1455401"/>
                  <a:gd name="connsiteY21" fmla="*/ 1569787 h 1866625"/>
                  <a:gd name="connsiteX22" fmla="*/ 1 w 1455401"/>
                  <a:gd name="connsiteY22" fmla="*/ 296841 h 1866625"/>
                  <a:gd name="connsiteX23" fmla="*/ 0 w 1455401"/>
                  <a:gd name="connsiteY23" fmla="*/ 296838 h 1866625"/>
                  <a:gd name="connsiteX24" fmla="*/ 1 w 1455401"/>
                  <a:gd name="connsiteY24" fmla="*/ 296835 h 1866625"/>
                  <a:gd name="connsiteX25" fmla="*/ 3758 w 1455401"/>
                  <a:gd name="connsiteY25" fmla="*/ 266488 h 1866625"/>
                  <a:gd name="connsiteX26" fmla="*/ 727700 w 1455401"/>
                  <a:gd name="connsiteY2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569784 h 1866625"/>
                  <a:gd name="connsiteX11" fmla="*/ 1455401 w 1455401"/>
                  <a:gd name="connsiteY11" fmla="*/ 1569787 h 1866625"/>
                  <a:gd name="connsiteX12" fmla="*/ 1455401 w 1455401"/>
                  <a:gd name="connsiteY12" fmla="*/ 1569790 h 1866625"/>
                  <a:gd name="connsiteX13" fmla="*/ 1455401 w 1455401"/>
                  <a:gd name="connsiteY13" fmla="*/ 1578767 h 1866625"/>
                  <a:gd name="connsiteX14" fmla="*/ 1454289 w 1455401"/>
                  <a:gd name="connsiteY14" fmla="*/ 1578767 h 1866625"/>
                  <a:gd name="connsiteX15" fmla="*/ 1451644 w 1455401"/>
                  <a:gd name="connsiteY15" fmla="*/ 1600137 h 1866625"/>
                  <a:gd name="connsiteX16" fmla="*/ 727701 w 1455401"/>
                  <a:gd name="connsiteY16" fmla="*/ 1866625 h 1866625"/>
                  <a:gd name="connsiteX17" fmla="*/ 3758 w 1455401"/>
                  <a:gd name="connsiteY17" fmla="*/ 1600137 h 1866625"/>
                  <a:gd name="connsiteX18" fmla="*/ 1113 w 1455401"/>
                  <a:gd name="connsiteY18" fmla="*/ 1578767 h 1866625"/>
                  <a:gd name="connsiteX19" fmla="*/ 1 w 1455401"/>
                  <a:gd name="connsiteY19" fmla="*/ 1578767 h 1866625"/>
                  <a:gd name="connsiteX20" fmla="*/ 1 w 1455401"/>
                  <a:gd name="connsiteY20" fmla="*/ 1569787 h 1866625"/>
                  <a:gd name="connsiteX21" fmla="*/ 1 w 1455401"/>
                  <a:gd name="connsiteY21" fmla="*/ 296841 h 1866625"/>
                  <a:gd name="connsiteX22" fmla="*/ 0 w 1455401"/>
                  <a:gd name="connsiteY22" fmla="*/ 296838 h 1866625"/>
                  <a:gd name="connsiteX23" fmla="*/ 1 w 1455401"/>
                  <a:gd name="connsiteY23" fmla="*/ 296835 h 1866625"/>
                  <a:gd name="connsiteX24" fmla="*/ 3758 w 1455401"/>
                  <a:gd name="connsiteY24" fmla="*/ 266488 h 1866625"/>
                  <a:gd name="connsiteX25" fmla="*/ 727700 w 1455401"/>
                  <a:gd name="connsiteY25" fmla="*/ 0 h 1866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455401" h="1866625">
                    <a:moveTo>
                      <a:pt x="727701" y="107085"/>
                    </a:moveTo>
                    <a:cubicBezTo>
                      <a:pt x="450294" y="107085"/>
                      <a:pt x="225411" y="173087"/>
                      <a:pt x="225411" y="254506"/>
                    </a:cubicBezTo>
                    <a:cubicBezTo>
                      <a:pt x="225411" y="335924"/>
                      <a:pt x="450294" y="401926"/>
                      <a:pt x="727701" y="401926"/>
                    </a:cubicBezTo>
                    <a:cubicBezTo>
                      <a:pt x="1005108" y="401926"/>
                      <a:pt x="1229991" y="335924"/>
                      <a:pt x="1229991" y="254506"/>
                    </a:cubicBezTo>
                    <a:cubicBezTo>
                      <a:pt x="1229991" y="173087"/>
                      <a:pt x="1005108" y="107085"/>
                      <a:pt x="727701" y="107085"/>
                    </a:cubicBezTo>
                    <a:close/>
                    <a:moveTo>
                      <a:pt x="727700" y="0"/>
                    </a:moveTo>
                    <a:cubicBezTo>
                      <a:pt x="1104479" y="0"/>
                      <a:pt x="1414378" y="116806"/>
                      <a:pt x="1451644" y="266488"/>
                    </a:cubicBezTo>
                    <a:lnTo>
                      <a:pt x="1454289" y="287858"/>
                    </a:lnTo>
                    <a:lnTo>
                      <a:pt x="1455400" y="287858"/>
                    </a:lnTo>
                    <a:lnTo>
                      <a:pt x="1455400" y="296838"/>
                    </a:lnTo>
                    <a:cubicBezTo>
                      <a:pt x="1455400" y="510492"/>
                      <a:pt x="1455401" y="1357626"/>
                      <a:pt x="1455401" y="1569784"/>
                    </a:cubicBezTo>
                    <a:lnTo>
                      <a:pt x="1455401" y="1569787"/>
                    </a:lnTo>
                    <a:lnTo>
                      <a:pt x="1455401" y="1569790"/>
                    </a:lnTo>
                    <a:lnTo>
                      <a:pt x="1455401" y="1578767"/>
                    </a:lnTo>
                    <a:lnTo>
                      <a:pt x="1454289" y="1578767"/>
                    </a:lnTo>
                    <a:lnTo>
                      <a:pt x="1451644" y="1600137"/>
                    </a:lnTo>
                    <a:cubicBezTo>
                      <a:pt x="1414379" y="1749819"/>
                      <a:pt x="1104480" y="1866625"/>
                      <a:pt x="727701" y="1866625"/>
                    </a:cubicBezTo>
                    <a:cubicBezTo>
                      <a:pt x="350922" y="1866625"/>
                      <a:pt x="41024" y="1749819"/>
                      <a:pt x="3758" y="1600137"/>
                    </a:cubicBezTo>
                    <a:lnTo>
                      <a:pt x="1113" y="1578767"/>
                    </a:lnTo>
                    <a:lnTo>
                      <a:pt x="1" y="1578767"/>
                    </a:lnTo>
                    <a:lnTo>
                      <a:pt x="1" y="1569787"/>
                    </a:lnTo>
                    <a:lnTo>
                      <a:pt x="1" y="296841"/>
                    </a:lnTo>
                    <a:cubicBezTo>
                      <a:pt x="1" y="158359"/>
                      <a:pt x="0" y="296839"/>
                      <a:pt x="0" y="296838"/>
                    </a:cubicBezTo>
                    <a:cubicBezTo>
                      <a:pt x="0" y="296837"/>
                      <a:pt x="1" y="296836"/>
                      <a:pt x="1" y="296835"/>
                    </a:cubicBezTo>
                    <a:lnTo>
                      <a:pt x="3758" y="266488"/>
                    </a:lnTo>
                    <a:cubicBezTo>
                      <a:pt x="41023" y="116806"/>
                      <a:pt x="350921" y="0"/>
                      <a:pt x="727700" y="0"/>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415" name="Freeform 182"/>
              <p:cNvSpPr/>
              <p:nvPr/>
            </p:nvSpPr>
            <p:spPr bwMode="auto">
              <a:xfrm>
                <a:off x="3435408" y="5628102"/>
                <a:ext cx="304123" cy="390054"/>
              </a:xfrm>
              <a:custGeom>
                <a:avLst/>
                <a:gdLst>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143359 h 1866625"/>
                  <a:gd name="connsiteX30" fmla="*/ 21049 w 1455401"/>
                  <a:gd name="connsiteY30" fmla="*/ 1033051 h 1866625"/>
                  <a:gd name="connsiteX31" fmla="*/ 15633 w 1455401"/>
                  <a:gd name="connsiteY31" fmla="*/ 1030526 h 1866625"/>
                  <a:gd name="connsiteX32" fmla="*/ 0 w 1455401"/>
                  <a:gd name="connsiteY32" fmla="*/ 1017423 h 1866625"/>
                  <a:gd name="connsiteX33" fmla="*/ 1 w 1455401"/>
                  <a:gd name="connsiteY33" fmla="*/ 296841 h 1866625"/>
                  <a:gd name="connsiteX34" fmla="*/ 0 w 1455401"/>
                  <a:gd name="connsiteY34" fmla="*/ 296838 h 1866625"/>
                  <a:gd name="connsiteX35" fmla="*/ 1 w 1455401"/>
                  <a:gd name="connsiteY35" fmla="*/ 296835 h 1866625"/>
                  <a:gd name="connsiteX36" fmla="*/ 3758 w 1455401"/>
                  <a:gd name="connsiteY36" fmla="*/ 266488 h 1866625"/>
                  <a:gd name="connsiteX37" fmla="*/ 727700 w 1455401"/>
                  <a:gd name="connsiteY3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033051 h 1866625"/>
                  <a:gd name="connsiteX30" fmla="*/ 15633 w 1455401"/>
                  <a:gd name="connsiteY30" fmla="*/ 1030526 h 1866625"/>
                  <a:gd name="connsiteX31" fmla="*/ 0 w 1455401"/>
                  <a:gd name="connsiteY31" fmla="*/ 1017423 h 1866625"/>
                  <a:gd name="connsiteX32" fmla="*/ 1 w 1455401"/>
                  <a:gd name="connsiteY32" fmla="*/ 296841 h 1866625"/>
                  <a:gd name="connsiteX33" fmla="*/ 0 w 1455401"/>
                  <a:gd name="connsiteY33" fmla="*/ 296838 h 1866625"/>
                  <a:gd name="connsiteX34" fmla="*/ 1 w 1455401"/>
                  <a:gd name="connsiteY34" fmla="*/ 296835 h 1866625"/>
                  <a:gd name="connsiteX35" fmla="*/ 3758 w 1455401"/>
                  <a:gd name="connsiteY35" fmla="*/ 266488 h 1866625"/>
                  <a:gd name="connsiteX36" fmla="*/ 727700 w 1455401"/>
                  <a:gd name="connsiteY3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15633 w 1455401"/>
                  <a:gd name="connsiteY29" fmla="*/ 1030526 h 1866625"/>
                  <a:gd name="connsiteX30" fmla="*/ 0 w 1455401"/>
                  <a:gd name="connsiteY30" fmla="*/ 1017423 h 1866625"/>
                  <a:gd name="connsiteX31" fmla="*/ 1 w 1455401"/>
                  <a:gd name="connsiteY31" fmla="*/ 296841 h 1866625"/>
                  <a:gd name="connsiteX32" fmla="*/ 0 w 1455401"/>
                  <a:gd name="connsiteY32" fmla="*/ 296838 h 1866625"/>
                  <a:gd name="connsiteX33" fmla="*/ 1 w 1455401"/>
                  <a:gd name="connsiteY33" fmla="*/ 296835 h 1866625"/>
                  <a:gd name="connsiteX34" fmla="*/ 3758 w 1455401"/>
                  <a:gd name="connsiteY34" fmla="*/ 266488 h 1866625"/>
                  <a:gd name="connsiteX35" fmla="*/ 727700 w 1455401"/>
                  <a:gd name="connsiteY35"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0 w 1455401"/>
                  <a:gd name="connsiteY29" fmla="*/ 1017423 h 1866625"/>
                  <a:gd name="connsiteX30" fmla="*/ 1 w 1455401"/>
                  <a:gd name="connsiteY30" fmla="*/ 296841 h 1866625"/>
                  <a:gd name="connsiteX31" fmla="*/ 0 w 1455401"/>
                  <a:gd name="connsiteY31" fmla="*/ 296838 h 1866625"/>
                  <a:gd name="connsiteX32" fmla="*/ 1 w 1455401"/>
                  <a:gd name="connsiteY32" fmla="*/ 296835 h 1866625"/>
                  <a:gd name="connsiteX33" fmla="*/ 3758 w 1455401"/>
                  <a:gd name="connsiteY33" fmla="*/ 266488 h 1866625"/>
                  <a:gd name="connsiteX34" fmla="*/ 727700 w 1455401"/>
                  <a:gd name="connsiteY34"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0 w 1455401"/>
                  <a:gd name="connsiteY28" fmla="*/ 1017423 h 1866625"/>
                  <a:gd name="connsiteX29" fmla="*/ 1 w 1455401"/>
                  <a:gd name="connsiteY29" fmla="*/ 296841 h 1866625"/>
                  <a:gd name="connsiteX30" fmla="*/ 0 w 1455401"/>
                  <a:gd name="connsiteY30" fmla="*/ 296838 h 1866625"/>
                  <a:gd name="connsiteX31" fmla="*/ 1 w 1455401"/>
                  <a:gd name="connsiteY31" fmla="*/ 296835 h 1866625"/>
                  <a:gd name="connsiteX32" fmla="*/ 3758 w 1455401"/>
                  <a:gd name="connsiteY32" fmla="*/ 266488 h 1866625"/>
                  <a:gd name="connsiteX33" fmla="*/ 727700 w 1455401"/>
                  <a:gd name="connsiteY33"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 w 1455401"/>
                  <a:gd name="connsiteY28" fmla="*/ 296841 h 1866625"/>
                  <a:gd name="connsiteX29" fmla="*/ 0 w 1455401"/>
                  <a:gd name="connsiteY29" fmla="*/ 296838 h 1866625"/>
                  <a:gd name="connsiteX30" fmla="*/ 1 w 1455401"/>
                  <a:gd name="connsiteY30" fmla="*/ 296835 h 1866625"/>
                  <a:gd name="connsiteX31" fmla="*/ 3758 w 1455401"/>
                  <a:gd name="connsiteY31" fmla="*/ 266488 h 1866625"/>
                  <a:gd name="connsiteX32" fmla="*/ 727700 w 1455401"/>
                  <a:gd name="connsiteY32"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296841 h 1866625"/>
                  <a:gd name="connsiteX28" fmla="*/ 0 w 1455401"/>
                  <a:gd name="connsiteY28" fmla="*/ 296838 h 1866625"/>
                  <a:gd name="connsiteX29" fmla="*/ 1 w 1455401"/>
                  <a:gd name="connsiteY29" fmla="*/ 296835 h 1866625"/>
                  <a:gd name="connsiteX30" fmla="*/ 3758 w 1455401"/>
                  <a:gd name="connsiteY30" fmla="*/ 266488 h 1866625"/>
                  <a:gd name="connsiteX31" fmla="*/ 727700 w 1455401"/>
                  <a:gd name="connsiteY31"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143359 h 1866625"/>
                  <a:gd name="connsiteX13" fmla="*/ 1439768 w 1455401"/>
                  <a:gd name="connsiteY13" fmla="*/ 1140834 h 1866625"/>
                  <a:gd name="connsiteX14" fmla="*/ 1455401 w 1455401"/>
                  <a:gd name="connsiteY14" fmla="*/ 1127732 h 1866625"/>
                  <a:gd name="connsiteX15" fmla="*/ 1455401 w 1455401"/>
                  <a:gd name="connsiteY15" fmla="*/ 1569784 h 1866625"/>
                  <a:gd name="connsiteX16" fmla="*/ 1455401 w 1455401"/>
                  <a:gd name="connsiteY16" fmla="*/ 1569787 h 1866625"/>
                  <a:gd name="connsiteX17" fmla="*/ 1455401 w 1455401"/>
                  <a:gd name="connsiteY17" fmla="*/ 1569790 h 1866625"/>
                  <a:gd name="connsiteX18" fmla="*/ 1455401 w 1455401"/>
                  <a:gd name="connsiteY18" fmla="*/ 1578767 h 1866625"/>
                  <a:gd name="connsiteX19" fmla="*/ 1454289 w 1455401"/>
                  <a:gd name="connsiteY19" fmla="*/ 1578767 h 1866625"/>
                  <a:gd name="connsiteX20" fmla="*/ 1451644 w 1455401"/>
                  <a:gd name="connsiteY20" fmla="*/ 1600137 h 1866625"/>
                  <a:gd name="connsiteX21" fmla="*/ 727701 w 1455401"/>
                  <a:gd name="connsiteY21" fmla="*/ 1866625 h 1866625"/>
                  <a:gd name="connsiteX22" fmla="*/ 3758 w 1455401"/>
                  <a:gd name="connsiteY22" fmla="*/ 1600137 h 1866625"/>
                  <a:gd name="connsiteX23" fmla="*/ 1113 w 1455401"/>
                  <a:gd name="connsiteY23" fmla="*/ 1578767 h 1866625"/>
                  <a:gd name="connsiteX24" fmla="*/ 1 w 1455401"/>
                  <a:gd name="connsiteY24" fmla="*/ 1578767 h 1866625"/>
                  <a:gd name="connsiteX25" fmla="*/ 1 w 1455401"/>
                  <a:gd name="connsiteY25" fmla="*/ 1569787 h 1866625"/>
                  <a:gd name="connsiteX26" fmla="*/ 1 w 1455401"/>
                  <a:gd name="connsiteY26" fmla="*/ 296841 h 1866625"/>
                  <a:gd name="connsiteX27" fmla="*/ 0 w 1455401"/>
                  <a:gd name="connsiteY27" fmla="*/ 296838 h 1866625"/>
                  <a:gd name="connsiteX28" fmla="*/ 1 w 1455401"/>
                  <a:gd name="connsiteY28" fmla="*/ 296835 h 1866625"/>
                  <a:gd name="connsiteX29" fmla="*/ 3758 w 1455401"/>
                  <a:gd name="connsiteY29" fmla="*/ 266488 h 1866625"/>
                  <a:gd name="connsiteX30" fmla="*/ 727700 w 1455401"/>
                  <a:gd name="connsiteY30"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4352 w 1455401"/>
                  <a:gd name="connsiteY11" fmla="*/ 1143359 h 1866625"/>
                  <a:gd name="connsiteX12" fmla="*/ 1439768 w 1455401"/>
                  <a:gd name="connsiteY12" fmla="*/ 1140834 h 1866625"/>
                  <a:gd name="connsiteX13" fmla="*/ 1455401 w 1455401"/>
                  <a:gd name="connsiteY13" fmla="*/ 1127732 h 1866625"/>
                  <a:gd name="connsiteX14" fmla="*/ 1455401 w 1455401"/>
                  <a:gd name="connsiteY14" fmla="*/ 1569784 h 1866625"/>
                  <a:gd name="connsiteX15" fmla="*/ 1455401 w 1455401"/>
                  <a:gd name="connsiteY15" fmla="*/ 1569787 h 1866625"/>
                  <a:gd name="connsiteX16" fmla="*/ 1455401 w 1455401"/>
                  <a:gd name="connsiteY16" fmla="*/ 1569790 h 1866625"/>
                  <a:gd name="connsiteX17" fmla="*/ 1455401 w 1455401"/>
                  <a:gd name="connsiteY17" fmla="*/ 1578767 h 1866625"/>
                  <a:gd name="connsiteX18" fmla="*/ 1454289 w 1455401"/>
                  <a:gd name="connsiteY18" fmla="*/ 1578767 h 1866625"/>
                  <a:gd name="connsiteX19" fmla="*/ 1451644 w 1455401"/>
                  <a:gd name="connsiteY19" fmla="*/ 1600137 h 1866625"/>
                  <a:gd name="connsiteX20" fmla="*/ 727701 w 1455401"/>
                  <a:gd name="connsiteY20" fmla="*/ 1866625 h 1866625"/>
                  <a:gd name="connsiteX21" fmla="*/ 3758 w 1455401"/>
                  <a:gd name="connsiteY21" fmla="*/ 1600137 h 1866625"/>
                  <a:gd name="connsiteX22" fmla="*/ 1113 w 1455401"/>
                  <a:gd name="connsiteY22" fmla="*/ 1578767 h 1866625"/>
                  <a:gd name="connsiteX23" fmla="*/ 1 w 1455401"/>
                  <a:gd name="connsiteY23" fmla="*/ 1578767 h 1866625"/>
                  <a:gd name="connsiteX24" fmla="*/ 1 w 1455401"/>
                  <a:gd name="connsiteY24" fmla="*/ 1569787 h 1866625"/>
                  <a:gd name="connsiteX25" fmla="*/ 1 w 1455401"/>
                  <a:gd name="connsiteY25" fmla="*/ 296841 h 1866625"/>
                  <a:gd name="connsiteX26" fmla="*/ 0 w 1455401"/>
                  <a:gd name="connsiteY26" fmla="*/ 296838 h 1866625"/>
                  <a:gd name="connsiteX27" fmla="*/ 1 w 1455401"/>
                  <a:gd name="connsiteY27" fmla="*/ 296835 h 1866625"/>
                  <a:gd name="connsiteX28" fmla="*/ 3758 w 1455401"/>
                  <a:gd name="connsiteY28" fmla="*/ 266488 h 1866625"/>
                  <a:gd name="connsiteX29" fmla="*/ 727700 w 1455401"/>
                  <a:gd name="connsiteY29"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127732 h 1866625"/>
                  <a:gd name="connsiteX13" fmla="*/ 1455401 w 1455401"/>
                  <a:gd name="connsiteY13" fmla="*/ 1569784 h 1866625"/>
                  <a:gd name="connsiteX14" fmla="*/ 1455401 w 1455401"/>
                  <a:gd name="connsiteY14" fmla="*/ 1569787 h 1866625"/>
                  <a:gd name="connsiteX15" fmla="*/ 1455401 w 1455401"/>
                  <a:gd name="connsiteY15" fmla="*/ 1569790 h 1866625"/>
                  <a:gd name="connsiteX16" fmla="*/ 1455401 w 1455401"/>
                  <a:gd name="connsiteY16" fmla="*/ 1578767 h 1866625"/>
                  <a:gd name="connsiteX17" fmla="*/ 1454289 w 1455401"/>
                  <a:gd name="connsiteY17" fmla="*/ 1578767 h 1866625"/>
                  <a:gd name="connsiteX18" fmla="*/ 1451644 w 1455401"/>
                  <a:gd name="connsiteY18" fmla="*/ 1600137 h 1866625"/>
                  <a:gd name="connsiteX19" fmla="*/ 727701 w 1455401"/>
                  <a:gd name="connsiteY19" fmla="*/ 1866625 h 1866625"/>
                  <a:gd name="connsiteX20" fmla="*/ 3758 w 1455401"/>
                  <a:gd name="connsiteY20" fmla="*/ 1600137 h 1866625"/>
                  <a:gd name="connsiteX21" fmla="*/ 1113 w 1455401"/>
                  <a:gd name="connsiteY21" fmla="*/ 1578767 h 1866625"/>
                  <a:gd name="connsiteX22" fmla="*/ 1 w 1455401"/>
                  <a:gd name="connsiteY22" fmla="*/ 1578767 h 1866625"/>
                  <a:gd name="connsiteX23" fmla="*/ 1 w 1455401"/>
                  <a:gd name="connsiteY23" fmla="*/ 1569787 h 1866625"/>
                  <a:gd name="connsiteX24" fmla="*/ 1 w 1455401"/>
                  <a:gd name="connsiteY24" fmla="*/ 296841 h 1866625"/>
                  <a:gd name="connsiteX25" fmla="*/ 0 w 1455401"/>
                  <a:gd name="connsiteY25" fmla="*/ 296838 h 1866625"/>
                  <a:gd name="connsiteX26" fmla="*/ 1 w 1455401"/>
                  <a:gd name="connsiteY26" fmla="*/ 296835 h 1866625"/>
                  <a:gd name="connsiteX27" fmla="*/ 3758 w 1455401"/>
                  <a:gd name="connsiteY27" fmla="*/ 266488 h 1866625"/>
                  <a:gd name="connsiteX28" fmla="*/ 727700 w 1455401"/>
                  <a:gd name="connsiteY28"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569784 h 1866625"/>
                  <a:gd name="connsiteX13" fmla="*/ 1455401 w 1455401"/>
                  <a:gd name="connsiteY13" fmla="*/ 1569787 h 1866625"/>
                  <a:gd name="connsiteX14" fmla="*/ 1455401 w 1455401"/>
                  <a:gd name="connsiteY14" fmla="*/ 1569790 h 1866625"/>
                  <a:gd name="connsiteX15" fmla="*/ 1455401 w 1455401"/>
                  <a:gd name="connsiteY15" fmla="*/ 1578767 h 1866625"/>
                  <a:gd name="connsiteX16" fmla="*/ 1454289 w 1455401"/>
                  <a:gd name="connsiteY16" fmla="*/ 1578767 h 1866625"/>
                  <a:gd name="connsiteX17" fmla="*/ 1451644 w 1455401"/>
                  <a:gd name="connsiteY17" fmla="*/ 1600137 h 1866625"/>
                  <a:gd name="connsiteX18" fmla="*/ 727701 w 1455401"/>
                  <a:gd name="connsiteY18" fmla="*/ 1866625 h 1866625"/>
                  <a:gd name="connsiteX19" fmla="*/ 3758 w 1455401"/>
                  <a:gd name="connsiteY19" fmla="*/ 1600137 h 1866625"/>
                  <a:gd name="connsiteX20" fmla="*/ 1113 w 1455401"/>
                  <a:gd name="connsiteY20" fmla="*/ 1578767 h 1866625"/>
                  <a:gd name="connsiteX21" fmla="*/ 1 w 1455401"/>
                  <a:gd name="connsiteY21" fmla="*/ 1578767 h 1866625"/>
                  <a:gd name="connsiteX22" fmla="*/ 1 w 1455401"/>
                  <a:gd name="connsiteY22" fmla="*/ 1569787 h 1866625"/>
                  <a:gd name="connsiteX23" fmla="*/ 1 w 1455401"/>
                  <a:gd name="connsiteY23" fmla="*/ 296841 h 1866625"/>
                  <a:gd name="connsiteX24" fmla="*/ 0 w 1455401"/>
                  <a:gd name="connsiteY24" fmla="*/ 296838 h 1866625"/>
                  <a:gd name="connsiteX25" fmla="*/ 1 w 1455401"/>
                  <a:gd name="connsiteY25" fmla="*/ 296835 h 1866625"/>
                  <a:gd name="connsiteX26" fmla="*/ 3758 w 1455401"/>
                  <a:gd name="connsiteY26" fmla="*/ 266488 h 1866625"/>
                  <a:gd name="connsiteX27" fmla="*/ 727700 w 1455401"/>
                  <a:gd name="connsiteY2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55401 w 1455401"/>
                  <a:gd name="connsiteY11" fmla="*/ 1569784 h 1866625"/>
                  <a:gd name="connsiteX12" fmla="*/ 1455401 w 1455401"/>
                  <a:gd name="connsiteY12" fmla="*/ 1569787 h 1866625"/>
                  <a:gd name="connsiteX13" fmla="*/ 1455401 w 1455401"/>
                  <a:gd name="connsiteY13" fmla="*/ 1569790 h 1866625"/>
                  <a:gd name="connsiteX14" fmla="*/ 1455401 w 1455401"/>
                  <a:gd name="connsiteY14" fmla="*/ 1578767 h 1866625"/>
                  <a:gd name="connsiteX15" fmla="*/ 1454289 w 1455401"/>
                  <a:gd name="connsiteY15" fmla="*/ 1578767 h 1866625"/>
                  <a:gd name="connsiteX16" fmla="*/ 1451644 w 1455401"/>
                  <a:gd name="connsiteY16" fmla="*/ 1600137 h 1866625"/>
                  <a:gd name="connsiteX17" fmla="*/ 727701 w 1455401"/>
                  <a:gd name="connsiteY17" fmla="*/ 1866625 h 1866625"/>
                  <a:gd name="connsiteX18" fmla="*/ 3758 w 1455401"/>
                  <a:gd name="connsiteY18" fmla="*/ 1600137 h 1866625"/>
                  <a:gd name="connsiteX19" fmla="*/ 1113 w 1455401"/>
                  <a:gd name="connsiteY19" fmla="*/ 1578767 h 1866625"/>
                  <a:gd name="connsiteX20" fmla="*/ 1 w 1455401"/>
                  <a:gd name="connsiteY20" fmla="*/ 1578767 h 1866625"/>
                  <a:gd name="connsiteX21" fmla="*/ 1 w 1455401"/>
                  <a:gd name="connsiteY21" fmla="*/ 1569787 h 1866625"/>
                  <a:gd name="connsiteX22" fmla="*/ 1 w 1455401"/>
                  <a:gd name="connsiteY22" fmla="*/ 296841 h 1866625"/>
                  <a:gd name="connsiteX23" fmla="*/ 0 w 1455401"/>
                  <a:gd name="connsiteY23" fmla="*/ 296838 h 1866625"/>
                  <a:gd name="connsiteX24" fmla="*/ 1 w 1455401"/>
                  <a:gd name="connsiteY24" fmla="*/ 296835 h 1866625"/>
                  <a:gd name="connsiteX25" fmla="*/ 3758 w 1455401"/>
                  <a:gd name="connsiteY25" fmla="*/ 266488 h 1866625"/>
                  <a:gd name="connsiteX26" fmla="*/ 727700 w 1455401"/>
                  <a:gd name="connsiteY2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569784 h 1866625"/>
                  <a:gd name="connsiteX11" fmla="*/ 1455401 w 1455401"/>
                  <a:gd name="connsiteY11" fmla="*/ 1569787 h 1866625"/>
                  <a:gd name="connsiteX12" fmla="*/ 1455401 w 1455401"/>
                  <a:gd name="connsiteY12" fmla="*/ 1569790 h 1866625"/>
                  <a:gd name="connsiteX13" fmla="*/ 1455401 w 1455401"/>
                  <a:gd name="connsiteY13" fmla="*/ 1578767 h 1866625"/>
                  <a:gd name="connsiteX14" fmla="*/ 1454289 w 1455401"/>
                  <a:gd name="connsiteY14" fmla="*/ 1578767 h 1866625"/>
                  <a:gd name="connsiteX15" fmla="*/ 1451644 w 1455401"/>
                  <a:gd name="connsiteY15" fmla="*/ 1600137 h 1866625"/>
                  <a:gd name="connsiteX16" fmla="*/ 727701 w 1455401"/>
                  <a:gd name="connsiteY16" fmla="*/ 1866625 h 1866625"/>
                  <a:gd name="connsiteX17" fmla="*/ 3758 w 1455401"/>
                  <a:gd name="connsiteY17" fmla="*/ 1600137 h 1866625"/>
                  <a:gd name="connsiteX18" fmla="*/ 1113 w 1455401"/>
                  <a:gd name="connsiteY18" fmla="*/ 1578767 h 1866625"/>
                  <a:gd name="connsiteX19" fmla="*/ 1 w 1455401"/>
                  <a:gd name="connsiteY19" fmla="*/ 1578767 h 1866625"/>
                  <a:gd name="connsiteX20" fmla="*/ 1 w 1455401"/>
                  <a:gd name="connsiteY20" fmla="*/ 1569787 h 1866625"/>
                  <a:gd name="connsiteX21" fmla="*/ 1 w 1455401"/>
                  <a:gd name="connsiteY21" fmla="*/ 296841 h 1866625"/>
                  <a:gd name="connsiteX22" fmla="*/ 0 w 1455401"/>
                  <a:gd name="connsiteY22" fmla="*/ 296838 h 1866625"/>
                  <a:gd name="connsiteX23" fmla="*/ 1 w 1455401"/>
                  <a:gd name="connsiteY23" fmla="*/ 296835 h 1866625"/>
                  <a:gd name="connsiteX24" fmla="*/ 3758 w 1455401"/>
                  <a:gd name="connsiteY24" fmla="*/ 266488 h 1866625"/>
                  <a:gd name="connsiteX25" fmla="*/ 727700 w 1455401"/>
                  <a:gd name="connsiteY25" fmla="*/ 0 h 1866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455401" h="1866625">
                    <a:moveTo>
                      <a:pt x="727701" y="107085"/>
                    </a:moveTo>
                    <a:cubicBezTo>
                      <a:pt x="450294" y="107085"/>
                      <a:pt x="225411" y="173087"/>
                      <a:pt x="225411" y="254506"/>
                    </a:cubicBezTo>
                    <a:cubicBezTo>
                      <a:pt x="225411" y="335924"/>
                      <a:pt x="450294" y="401926"/>
                      <a:pt x="727701" y="401926"/>
                    </a:cubicBezTo>
                    <a:cubicBezTo>
                      <a:pt x="1005108" y="401926"/>
                      <a:pt x="1229991" y="335924"/>
                      <a:pt x="1229991" y="254506"/>
                    </a:cubicBezTo>
                    <a:cubicBezTo>
                      <a:pt x="1229991" y="173087"/>
                      <a:pt x="1005108" y="107085"/>
                      <a:pt x="727701" y="107085"/>
                    </a:cubicBezTo>
                    <a:close/>
                    <a:moveTo>
                      <a:pt x="727700" y="0"/>
                    </a:moveTo>
                    <a:cubicBezTo>
                      <a:pt x="1104479" y="0"/>
                      <a:pt x="1414378" y="116806"/>
                      <a:pt x="1451644" y="266488"/>
                    </a:cubicBezTo>
                    <a:lnTo>
                      <a:pt x="1454289" y="287858"/>
                    </a:lnTo>
                    <a:lnTo>
                      <a:pt x="1455400" y="287858"/>
                    </a:lnTo>
                    <a:lnTo>
                      <a:pt x="1455400" y="296838"/>
                    </a:lnTo>
                    <a:cubicBezTo>
                      <a:pt x="1455400" y="510492"/>
                      <a:pt x="1455401" y="1357626"/>
                      <a:pt x="1455401" y="1569784"/>
                    </a:cubicBezTo>
                    <a:lnTo>
                      <a:pt x="1455401" y="1569787"/>
                    </a:lnTo>
                    <a:lnTo>
                      <a:pt x="1455401" y="1569790"/>
                    </a:lnTo>
                    <a:lnTo>
                      <a:pt x="1455401" y="1578767"/>
                    </a:lnTo>
                    <a:lnTo>
                      <a:pt x="1454289" y="1578767"/>
                    </a:lnTo>
                    <a:lnTo>
                      <a:pt x="1451644" y="1600137"/>
                    </a:lnTo>
                    <a:cubicBezTo>
                      <a:pt x="1414379" y="1749819"/>
                      <a:pt x="1104480" y="1866625"/>
                      <a:pt x="727701" y="1866625"/>
                    </a:cubicBezTo>
                    <a:cubicBezTo>
                      <a:pt x="350922" y="1866625"/>
                      <a:pt x="41024" y="1749819"/>
                      <a:pt x="3758" y="1600137"/>
                    </a:cubicBezTo>
                    <a:lnTo>
                      <a:pt x="1113" y="1578767"/>
                    </a:lnTo>
                    <a:lnTo>
                      <a:pt x="1" y="1578767"/>
                    </a:lnTo>
                    <a:lnTo>
                      <a:pt x="1" y="1569787"/>
                    </a:lnTo>
                    <a:lnTo>
                      <a:pt x="1" y="296841"/>
                    </a:lnTo>
                    <a:cubicBezTo>
                      <a:pt x="1" y="158359"/>
                      <a:pt x="0" y="296839"/>
                      <a:pt x="0" y="296838"/>
                    </a:cubicBezTo>
                    <a:cubicBezTo>
                      <a:pt x="0" y="296837"/>
                      <a:pt x="1" y="296836"/>
                      <a:pt x="1" y="296835"/>
                    </a:cubicBezTo>
                    <a:lnTo>
                      <a:pt x="3758" y="266488"/>
                    </a:lnTo>
                    <a:cubicBezTo>
                      <a:pt x="41023" y="116806"/>
                      <a:pt x="350921" y="0"/>
                      <a:pt x="727700" y="0"/>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nvGrpSpPr>
            <p:cNvPr id="347" name="Group 346"/>
            <p:cNvGrpSpPr/>
            <p:nvPr/>
          </p:nvGrpSpPr>
          <p:grpSpPr>
            <a:xfrm>
              <a:off x="10371862" y="5501254"/>
              <a:ext cx="1655894" cy="1220132"/>
              <a:chOff x="6215063" y="3021013"/>
              <a:chExt cx="995363" cy="733425"/>
            </a:xfrm>
          </p:grpSpPr>
          <p:sp>
            <p:nvSpPr>
              <p:cNvPr id="348" name="Rectangle 347"/>
              <p:cNvSpPr>
                <a:spLocks noChangeArrowheads="1"/>
              </p:cNvSpPr>
              <p:nvPr/>
            </p:nvSpPr>
            <p:spPr bwMode="auto">
              <a:xfrm>
                <a:off x="6540500" y="3744913"/>
                <a:ext cx="344488" cy="952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49" name="Freeform 15"/>
              <p:cNvSpPr>
                <a:spLocks/>
              </p:cNvSpPr>
              <p:nvPr/>
            </p:nvSpPr>
            <p:spPr bwMode="auto">
              <a:xfrm>
                <a:off x="6529388" y="3721100"/>
                <a:ext cx="366713" cy="26988"/>
              </a:xfrm>
              <a:custGeom>
                <a:avLst/>
                <a:gdLst>
                  <a:gd name="T0" fmla="*/ 142 w 182"/>
                  <a:gd name="T1" fmla="*/ 0 h 14"/>
                  <a:gd name="T2" fmla="*/ 156 w 182"/>
                  <a:gd name="T3" fmla="*/ 3 h 14"/>
                  <a:gd name="T4" fmla="*/ 167 w 182"/>
                  <a:gd name="T5" fmla="*/ 8 h 14"/>
                  <a:gd name="T6" fmla="*/ 175 w 182"/>
                  <a:gd name="T7" fmla="*/ 11 h 14"/>
                  <a:gd name="T8" fmla="*/ 171 w 182"/>
                  <a:gd name="T9" fmla="*/ 14 h 14"/>
                  <a:gd name="T10" fmla="*/ 144 w 182"/>
                  <a:gd name="T11" fmla="*/ 14 h 14"/>
                  <a:gd name="T12" fmla="*/ 142 w 182"/>
                  <a:gd name="T13" fmla="*/ 14 h 14"/>
                  <a:gd name="T14" fmla="*/ 10 w 182"/>
                  <a:gd name="T15" fmla="*/ 14 h 14"/>
                  <a:gd name="T16" fmla="*/ 10 w 182"/>
                  <a:gd name="T17" fmla="*/ 10 h 14"/>
                  <a:gd name="T18" fmla="*/ 22 w 182"/>
                  <a:gd name="T19" fmla="*/ 5 h 14"/>
                  <a:gd name="T20" fmla="*/ 44 w 182"/>
                  <a:gd name="T21" fmla="*/ 0 h 14"/>
                  <a:gd name="T22" fmla="*/ 142 w 182"/>
                  <a:gd name="T23"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2" h="14">
                    <a:moveTo>
                      <a:pt x="142" y="0"/>
                    </a:moveTo>
                    <a:cubicBezTo>
                      <a:pt x="142" y="0"/>
                      <a:pt x="149" y="0"/>
                      <a:pt x="156" y="3"/>
                    </a:cubicBezTo>
                    <a:cubicBezTo>
                      <a:pt x="167" y="8"/>
                      <a:pt x="167" y="8"/>
                      <a:pt x="167" y="8"/>
                    </a:cubicBezTo>
                    <a:cubicBezTo>
                      <a:pt x="175" y="11"/>
                      <a:pt x="175" y="11"/>
                      <a:pt x="175" y="11"/>
                    </a:cubicBezTo>
                    <a:cubicBezTo>
                      <a:pt x="175" y="11"/>
                      <a:pt x="182" y="14"/>
                      <a:pt x="171" y="14"/>
                    </a:cubicBezTo>
                    <a:cubicBezTo>
                      <a:pt x="144" y="14"/>
                      <a:pt x="144" y="14"/>
                      <a:pt x="144" y="14"/>
                    </a:cubicBezTo>
                    <a:cubicBezTo>
                      <a:pt x="142" y="14"/>
                      <a:pt x="142" y="14"/>
                      <a:pt x="142" y="14"/>
                    </a:cubicBezTo>
                    <a:cubicBezTo>
                      <a:pt x="10" y="14"/>
                      <a:pt x="10" y="14"/>
                      <a:pt x="10" y="14"/>
                    </a:cubicBezTo>
                    <a:cubicBezTo>
                      <a:pt x="10" y="14"/>
                      <a:pt x="0" y="14"/>
                      <a:pt x="10" y="10"/>
                    </a:cubicBezTo>
                    <a:cubicBezTo>
                      <a:pt x="22" y="5"/>
                      <a:pt x="22" y="5"/>
                      <a:pt x="22" y="5"/>
                    </a:cubicBezTo>
                    <a:cubicBezTo>
                      <a:pt x="22" y="5"/>
                      <a:pt x="33" y="0"/>
                      <a:pt x="44" y="0"/>
                    </a:cubicBezTo>
                    <a:lnTo>
                      <a:pt x="142" y="0"/>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50" name="Rectangle 349"/>
              <p:cNvSpPr>
                <a:spLocks noChangeArrowheads="1"/>
              </p:cNvSpPr>
              <p:nvPr/>
            </p:nvSpPr>
            <p:spPr bwMode="auto">
              <a:xfrm>
                <a:off x="6659563" y="3609975"/>
                <a:ext cx="104775" cy="112713"/>
              </a:xfrm>
              <a:prstGeom prst="rect">
                <a:avLst/>
              </a:prstGeom>
              <a:solidFill>
                <a:schemeClr val="tx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51" name="Freeform 17"/>
              <p:cNvSpPr>
                <a:spLocks/>
              </p:cNvSpPr>
              <p:nvPr/>
            </p:nvSpPr>
            <p:spPr bwMode="auto">
              <a:xfrm>
                <a:off x="6215063" y="3021013"/>
                <a:ext cx="995363" cy="593725"/>
              </a:xfrm>
              <a:custGeom>
                <a:avLst/>
                <a:gdLst>
                  <a:gd name="T0" fmla="*/ 472 w 494"/>
                  <a:gd name="T1" fmla="*/ 0 h 296"/>
                  <a:gd name="T2" fmla="*/ 494 w 494"/>
                  <a:gd name="T3" fmla="*/ 23 h 296"/>
                  <a:gd name="T4" fmla="*/ 494 w 494"/>
                  <a:gd name="T5" fmla="*/ 274 h 296"/>
                  <a:gd name="T6" fmla="*/ 472 w 494"/>
                  <a:gd name="T7" fmla="*/ 296 h 296"/>
                  <a:gd name="T8" fmla="*/ 23 w 494"/>
                  <a:gd name="T9" fmla="*/ 296 h 296"/>
                  <a:gd name="T10" fmla="*/ 0 w 494"/>
                  <a:gd name="T11" fmla="*/ 274 h 296"/>
                  <a:gd name="T12" fmla="*/ 0 w 494"/>
                  <a:gd name="T13" fmla="*/ 23 h 296"/>
                  <a:gd name="T14" fmla="*/ 23 w 494"/>
                  <a:gd name="T15" fmla="*/ 0 h 296"/>
                  <a:gd name="T16" fmla="*/ 472 w 494"/>
                  <a:gd name="T17" fmla="*/ 0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4" h="296">
                    <a:moveTo>
                      <a:pt x="472" y="0"/>
                    </a:moveTo>
                    <a:cubicBezTo>
                      <a:pt x="472" y="0"/>
                      <a:pt x="494" y="0"/>
                      <a:pt x="494" y="23"/>
                    </a:cubicBezTo>
                    <a:cubicBezTo>
                      <a:pt x="494" y="274"/>
                      <a:pt x="494" y="274"/>
                      <a:pt x="494" y="274"/>
                    </a:cubicBezTo>
                    <a:cubicBezTo>
                      <a:pt x="494" y="274"/>
                      <a:pt x="494" y="296"/>
                      <a:pt x="472" y="296"/>
                    </a:cubicBezTo>
                    <a:cubicBezTo>
                      <a:pt x="23" y="296"/>
                      <a:pt x="23" y="296"/>
                      <a:pt x="23" y="296"/>
                    </a:cubicBezTo>
                    <a:cubicBezTo>
                      <a:pt x="23" y="296"/>
                      <a:pt x="0" y="296"/>
                      <a:pt x="0" y="274"/>
                    </a:cubicBezTo>
                    <a:cubicBezTo>
                      <a:pt x="0" y="23"/>
                      <a:pt x="0" y="23"/>
                      <a:pt x="0" y="23"/>
                    </a:cubicBezTo>
                    <a:cubicBezTo>
                      <a:pt x="0" y="23"/>
                      <a:pt x="0" y="0"/>
                      <a:pt x="23" y="0"/>
                    </a:cubicBezTo>
                    <a:lnTo>
                      <a:pt x="472"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52" name="Freeform 18"/>
              <p:cNvSpPr>
                <a:spLocks/>
              </p:cNvSpPr>
              <p:nvPr/>
            </p:nvSpPr>
            <p:spPr bwMode="auto">
              <a:xfrm>
                <a:off x="6253163" y="3055938"/>
                <a:ext cx="920750" cy="523875"/>
              </a:xfrm>
              <a:custGeom>
                <a:avLst/>
                <a:gdLst>
                  <a:gd name="T0" fmla="*/ 447 w 457"/>
                  <a:gd name="T1" fmla="*/ 0 h 262"/>
                  <a:gd name="T2" fmla="*/ 457 w 457"/>
                  <a:gd name="T3" fmla="*/ 9 h 262"/>
                  <a:gd name="T4" fmla="*/ 457 w 457"/>
                  <a:gd name="T5" fmla="*/ 253 h 262"/>
                  <a:gd name="T6" fmla="*/ 447 w 457"/>
                  <a:gd name="T7" fmla="*/ 262 h 262"/>
                  <a:gd name="T8" fmla="*/ 9 w 457"/>
                  <a:gd name="T9" fmla="*/ 262 h 262"/>
                  <a:gd name="T10" fmla="*/ 0 w 457"/>
                  <a:gd name="T11" fmla="*/ 253 h 262"/>
                  <a:gd name="T12" fmla="*/ 0 w 457"/>
                  <a:gd name="T13" fmla="*/ 9 h 262"/>
                  <a:gd name="T14" fmla="*/ 9 w 457"/>
                  <a:gd name="T15" fmla="*/ 0 h 262"/>
                  <a:gd name="T16" fmla="*/ 391 w 457"/>
                  <a:gd name="T17" fmla="*/ 0 h 262"/>
                  <a:gd name="T18" fmla="*/ 447 w 457"/>
                  <a:gd name="T19" fmla="*/ 0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57" h="262">
                    <a:moveTo>
                      <a:pt x="447" y="0"/>
                    </a:moveTo>
                    <a:cubicBezTo>
                      <a:pt x="447" y="0"/>
                      <a:pt x="457" y="0"/>
                      <a:pt x="457" y="9"/>
                    </a:cubicBezTo>
                    <a:cubicBezTo>
                      <a:pt x="457" y="253"/>
                      <a:pt x="457" y="253"/>
                      <a:pt x="457" y="253"/>
                    </a:cubicBezTo>
                    <a:cubicBezTo>
                      <a:pt x="457" y="253"/>
                      <a:pt x="457" y="262"/>
                      <a:pt x="447" y="262"/>
                    </a:cubicBezTo>
                    <a:cubicBezTo>
                      <a:pt x="9" y="262"/>
                      <a:pt x="9" y="262"/>
                      <a:pt x="9" y="262"/>
                    </a:cubicBezTo>
                    <a:cubicBezTo>
                      <a:pt x="9" y="262"/>
                      <a:pt x="0" y="262"/>
                      <a:pt x="0" y="253"/>
                    </a:cubicBezTo>
                    <a:cubicBezTo>
                      <a:pt x="0" y="9"/>
                      <a:pt x="0" y="9"/>
                      <a:pt x="0" y="9"/>
                    </a:cubicBezTo>
                    <a:cubicBezTo>
                      <a:pt x="0" y="9"/>
                      <a:pt x="0" y="0"/>
                      <a:pt x="9" y="0"/>
                    </a:cubicBezTo>
                    <a:cubicBezTo>
                      <a:pt x="391" y="0"/>
                      <a:pt x="391" y="0"/>
                      <a:pt x="391" y="0"/>
                    </a:cubicBezTo>
                    <a:lnTo>
                      <a:pt x="447" y="0"/>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53" name="Freeform 19"/>
              <p:cNvSpPr>
                <a:spLocks/>
              </p:cNvSpPr>
              <p:nvPr/>
            </p:nvSpPr>
            <p:spPr bwMode="auto">
              <a:xfrm>
                <a:off x="6381750" y="3194050"/>
                <a:ext cx="222250" cy="47625"/>
              </a:xfrm>
              <a:custGeom>
                <a:avLst/>
                <a:gdLst>
                  <a:gd name="T0" fmla="*/ 110 w 110"/>
                  <a:gd name="T1" fmla="*/ 15 h 24"/>
                  <a:gd name="T2" fmla="*/ 101 w 110"/>
                  <a:gd name="T3" fmla="*/ 24 h 24"/>
                  <a:gd name="T4" fmla="*/ 8 w 110"/>
                  <a:gd name="T5" fmla="*/ 24 h 24"/>
                  <a:gd name="T6" fmla="*/ 0 w 110"/>
                  <a:gd name="T7" fmla="*/ 15 h 24"/>
                  <a:gd name="T8" fmla="*/ 0 w 110"/>
                  <a:gd name="T9" fmla="*/ 9 h 24"/>
                  <a:gd name="T10" fmla="*/ 8 w 110"/>
                  <a:gd name="T11" fmla="*/ 0 h 24"/>
                  <a:gd name="T12" fmla="*/ 101 w 110"/>
                  <a:gd name="T13" fmla="*/ 0 h 24"/>
                  <a:gd name="T14" fmla="*/ 110 w 110"/>
                  <a:gd name="T15" fmla="*/ 9 h 24"/>
                  <a:gd name="T16" fmla="*/ 110 w 110"/>
                  <a:gd name="T17" fmla="*/ 15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24">
                    <a:moveTo>
                      <a:pt x="110" y="15"/>
                    </a:moveTo>
                    <a:cubicBezTo>
                      <a:pt x="110" y="20"/>
                      <a:pt x="106" y="24"/>
                      <a:pt x="101" y="24"/>
                    </a:cubicBezTo>
                    <a:cubicBezTo>
                      <a:pt x="8" y="24"/>
                      <a:pt x="8" y="24"/>
                      <a:pt x="8" y="24"/>
                    </a:cubicBezTo>
                    <a:cubicBezTo>
                      <a:pt x="4" y="24"/>
                      <a:pt x="0" y="20"/>
                      <a:pt x="0" y="15"/>
                    </a:cubicBezTo>
                    <a:cubicBezTo>
                      <a:pt x="0" y="9"/>
                      <a:pt x="0" y="9"/>
                      <a:pt x="0" y="9"/>
                    </a:cubicBezTo>
                    <a:cubicBezTo>
                      <a:pt x="0" y="4"/>
                      <a:pt x="4" y="0"/>
                      <a:pt x="8" y="0"/>
                    </a:cubicBezTo>
                    <a:cubicBezTo>
                      <a:pt x="101" y="0"/>
                      <a:pt x="101" y="0"/>
                      <a:pt x="101" y="0"/>
                    </a:cubicBezTo>
                    <a:cubicBezTo>
                      <a:pt x="106" y="0"/>
                      <a:pt x="110" y="4"/>
                      <a:pt x="110" y="9"/>
                    </a:cubicBezTo>
                    <a:cubicBezTo>
                      <a:pt x="110" y="15"/>
                      <a:pt x="110" y="15"/>
                      <a:pt x="110" y="15"/>
                    </a:cubicBezTo>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54" name="Freeform 20"/>
              <p:cNvSpPr>
                <a:spLocks/>
              </p:cNvSpPr>
              <p:nvPr/>
            </p:nvSpPr>
            <p:spPr bwMode="auto">
              <a:xfrm>
                <a:off x="6381750" y="3259138"/>
                <a:ext cx="393700" cy="50800"/>
              </a:xfrm>
              <a:custGeom>
                <a:avLst/>
                <a:gdLst>
                  <a:gd name="T0" fmla="*/ 195 w 195"/>
                  <a:gd name="T1" fmla="*/ 16 h 25"/>
                  <a:gd name="T2" fmla="*/ 186 w 195"/>
                  <a:gd name="T3" fmla="*/ 25 h 25"/>
                  <a:gd name="T4" fmla="*/ 8 w 195"/>
                  <a:gd name="T5" fmla="*/ 25 h 25"/>
                  <a:gd name="T6" fmla="*/ 0 w 195"/>
                  <a:gd name="T7" fmla="*/ 16 h 25"/>
                  <a:gd name="T8" fmla="*/ 0 w 195"/>
                  <a:gd name="T9" fmla="*/ 9 h 25"/>
                  <a:gd name="T10" fmla="*/ 8 w 195"/>
                  <a:gd name="T11" fmla="*/ 0 h 25"/>
                  <a:gd name="T12" fmla="*/ 186 w 195"/>
                  <a:gd name="T13" fmla="*/ 0 h 25"/>
                  <a:gd name="T14" fmla="*/ 195 w 195"/>
                  <a:gd name="T15" fmla="*/ 9 h 25"/>
                  <a:gd name="T16" fmla="*/ 195 w 195"/>
                  <a:gd name="T17" fmla="*/ 16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5" h="25">
                    <a:moveTo>
                      <a:pt x="195" y="16"/>
                    </a:moveTo>
                    <a:cubicBezTo>
                      <a:pt x="195" y="21"/>
                      <a:pt x="191" y="25"/>
                      <a:pt x="186" y="25"/>
                    </a:cubicBezTo>
                    <a:cubicBezTo>
                      <a:pt x="8" y="25"/>
                      <a:pt x="8" y="25"/>
                      <a:pt x="8" y="25"/>
                    </a:cubicBezTo>
                    <a:cubicBezTo>
                      <a:pt x="4" y="25"/>
                      <a:pt x="0" y="21"/>
                      <a:pt x="0" y="16"/>
                    </a:cubicBezTo>
                    <a:cubicBezTo>
                      <a:pt x="0" y="9"/>
                      <a:pt x="0" y="9"/>
                      <a:pt x="0" y="9"/>
                    </a:cubicBezTo>
                    <a:cubicBezTo>
                      <a:pt x="0" y="4"/>
                      <a:pt x="4" y="0"/>
                      <a:pt x="8" y="0"/>
                    </a:cubicBezTo>
                    <a:cubicBezTo>
                      <a:pt x="186" y="0"/>
                      <a:pt x="186" y="0"/>
                      <a:pt x="186" y="0"/>
                    </a:cubicBezTo>
                    <a:cubicBezTo>
                      <a:pt x="191" y="0"/>
                      <a:pt x="195" y="4"/>
                      <a:pt x="195" y="9"/>
                    </a:cubicBezTo>
                    <a:cubicBezTo>
                      <a:pt x="195" y="16"/>
                      <a:pt x="195" y="16"/>
                      <a:pt x="195" y="16"/>
                    </a:cubicBezTo>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55" name="Freeform 21"/>
              <p:cNvSpPr>
                <a:spLocks/>
              </p:cNvSpPr>
              <p:nvPr/>
            </p:nvSpPr>
            <p:spPr bwMode="auto">
              <a:xfrm>
                <a:off x="6597650" y="3327400"/>
                <a:ext cx="392113" cy="49213"/>
              </a:xfrm>
              <a:custGeom>
                <a:avLst/>
                <a:gdLst>
                  <a:gd name="T0" fmla="*/ 195 w 195"/>
                  <a:gd name="T1" fmla="*/ 15 h 24"/>
                  <a:gd name="T2" fmla="*/ 187 w 195"/>
                  <a:gd name="T3" fmla="*/ 24 h 24"/>
                  <a:gd name="T4" fmla="*/ 9 w 195"/>
                  <a:gd name="T5" fmla="*/ 24 h 24"/>
                  <a:gd name="T6" fmla="*/ 0 w 195"/>
                  <a:gd name="T7" fmla="*/ 15 h 24"/>
                  <a:gd name="T8" fmla="*/ 0 w 195"/>
                  <a:gd name="T9" fmla="*/ 9 h 24"/>
                  <a:gd name="T10" fmla="*/ 9 w 195"/>
                  <a:gd name="T11" fmla="*/ 0 h 24"/>
                  <a:gd name="T12" fmla="*/ 187 w 195"/>
                  <a:gd name="T13" fmla="*/ 0 h 24"/>
                  <a:gd name="T14" fmla="*/ 195 w 195"/>
                  <a:gd name="T15" fmla="*/ 9 h 24"/>
                  <a:gd name="T16" fmla="*/ 195 w 195"/>
                  <a:gd name="T17" fmla="*/ 15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5" h="24">
                    <a:moveTo>
                      <a:pt x="195" y="15"/>
                    </a:moveTo>
                    <a:cubicBezTo>
                      <a:pt x="195" y="20"/>
                      <a:pt x="191" y="24"/>
                      <a:pt x="187" y="24"/>
                    </a:cubicBezTo>
                    <a:cubicBezTo>
                      <a:pt x="9" y="24"/>
                      <a:pt x="9" y="24"/>
                      <a:pt x="9" y="24"/>
                    </a:cubicBezTo>
                    <a:cubicBezTo>
                      <a:pt x="4" y="24"/>
                      <a:pt x="0" y="20"/>
                      <a:pt x="0" y="15"/>
                    </a:cubicBezTo>
                    <a:cubicBezTo>
                      <a:pt x="0" y="9"/>
                      <a:pt x="0" y="9"/>
                      <a:pt x="0" y="9"/>
                    </a:cubicBezTo>
                    <a:cubicBezTo>
                      <a:pt x="0" y="4"/>
                      <a:pt x="4" y="0"/>
                      <a:pt x="9" y="0"/>
                    </a:cubicBezTo>
                    <a:cubicBezTo>
                      <a:pt x="187" y="0"/>
                      <a:pt x="187" y="0"/>
                      <a:pt x="187" y="0"/>
                    </a:cubicBezTo>
                    <a:cubicBezTo>
                      <a:pt x="191" y="0"/>
                      <a:pt x="195" y="4"/>
                      <a:pt x="195" y="9"/>
                    </a:cubicBezTo>
                    <a:cubicBezTo>
                      <a:pt x="195" y="15"/>
                      <a:pt x="195" y="15"/>
                      <a:pt x="195" y="15"/>
                    </a:cubicBezTo>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56" name="Freeform 22"/>
              <p:cNvSpPr>
                <a:spLocks/>
              </p:cNvSpPr>
              <p:nvPr/>
            </p:nvSpPr>
            <p:spPr bwMode="auto">
              <a:xfrm>
                <a:off x="6597650" y="3395663"/>
                <a:ext cx="479425" cy="47625"/>
              </a:xfrm>
              <a:custGeom>
                <a:avLst/>
                <a:gdLst>
                  <a:gd name="T0" fmla="*/ 238 w 238"/>
                  <a:gd name="T1" fmla="*/ 15 h 24"/>
                  <a:gd name="T2" fmla="*/ 229 w 238"/>
                  <a:gd name="T3" fmla="*/ 24 h 24"/>
                  <a:gd name="T4" fmla="*/ 9 w 238"/>
                  <a:gd name="T5" fmla="*/ 24 h 24"/>
                  <a:gd name="T6" fmla="*/ 0 w 238"/>
                  <a:gd name="T7" fmla="*/ 15 h 24"/>
                  <a:gd name="T8" fmla="*/ 0 w 238"/>
                  <a:gd name="T9" fmla="*/ 8 h 24"/>
                  <a:gd name="T10" fmla="*/ 9 w 238"/>
                  <a:gd name="T11" fmla="*/ 0 h 24"/>
                  <a:gd name="T12" fmla="*/ 229 w 238"/>
                  <a:gd name="T13" fmla="*/ 0 h 24"/>
                  <a:gd name="T14" fmla="*/ 238 w 238"/>
                  <a:gd name="T15" fmla="*/ 8 h 24"/>
                  <a:gd name="T16" fmla="*/ 238 w 238"/>
                  <a:gd name="T17" fmla="*/ 15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8" h="24">
                    <a:moveTo>
                      <a:pt x="238" y="15"/>
                    </a:moveTo>
                    <a:cubicBezTo>
                      <a:pt x="238" y="20"/>
                      <a:pt x="234" y="24"/>
                      <a:pt x="229" y="24"/>
                    </a:cubicBezTo>
                    <a:cubicBezTo>
                      <a:pt x="9" y="24"/>
                      <a:pt x="9" y="24"/>
                      <a:pt x="9" y="24"/>
                    </a:cubicBezTo>
                    <a:cubicBezTo>
                      <a:pt x="4" y="24"/>
                      <a:pt x="0" y="20"/>
                      <a:pt x="0" y="15"/>
                    </a:cubicBezTo>
                    <a:cubicBezTo>
                      <a:pt x="0" y="8"/>
                      <a:pt x="0" y="8"/>
                      <a:pt x="0" y="8"/>
                    </a:cubicBezTo>
                    <a:cubicBezTo>
                      <a:pt x="0" y="3"/>
                      <a:pt x="4" y="0"/>
                      <a:pt x="9" y="0"/>
                    </a:cubicBezTo>
                    <a:cubicBezTo>
                      <a:pt x="229" y="0"/>
                      <a:pt x="229" y="0"/>
                      <a:pt x="229" y="0"/>
                    </a:cubicBezTo>
                    <a:cubicBezTo>
                      <a:pt x="234" y="0"/>
                      <a:pt x="238" y="3"/>
                      <a:pt x="238" y="8"/>
                    </a:cubicBezTo>
                    <a:cubicBezTo>
                      <a:pt x="238" y="15"/>
                      <a:pt x="238" y="15"/>
                      <a:pt x="238" y="15"/>
                    </a:cubicBezTo>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57" name="Freeform 23"/>
              <p:cNvSpPr>
                <a:spLocks/>
              </p:cNvSpPr>
              <p:nvPr/>
            </p:nvSpPr>
            <p:spPr bwMode="auto">
              <a:xfrm>
                <a:off x="6253163" y="3059113"/>
                <a:ext cx="912813" cy="520700"/>
              </a:xfrm>
              <a:custGeom>
                <a:avLst/>
                <a:gdLst>
                  <a:gd name="T0" fmla="*/ 3 w 453"/>
                  <a:gd name="T1" fmla="*/ 0 h 260"/>
                  <a:gd name="T2" fmla="*/ 0 w 453"/>
                  <a:gd name="T3" fmla="*/ 7 h 260"/>
                  <a:gd name="T4" fmla="*/ 0 w 453"/>
                  <a:gd name="T5" fmla="*/ 251 h 260"/>
                  <a:gd name="T6" fmla="*/ 9 w 453"/>
                  <a:gd name="T7" fmla="*/ 260 h 260"/>
                  <a:gd name="T8" fmla="*/ 447 w 453"/>
                  <a:gd name="T9" fmla="*/ 260 h 260"/>
                  <a:gd name="T10" fmla="*/ 453 w 453"/>
                  <a:gd name="T11" fmla="*/ 258 h 260"/>
                  <a:gd name="T12" fmla="*/ 337 w 453"/>
                  <a:gd name="T13" fmla="*/ 192 h 260"/>
                  <a:gd name="T14" fmla="*/ 180 w 453"/>
                  <a:gd name="T15" fmla="*/ 192 h 260"/>
                  <a:gd name="T16" fmla="*/ 171 w 453"/>
                  <a:gd name="T17" fmla="*/ 183 h 260"/>
                  <a:gd name="T18" fmla="*/ 171 w 453"/>
                  <a:gd name="T19" fmla="*/ 176 h 260"/>
                  <a:gd name="T20" fmla="*/ 180 w 453"/>
                  <a:gd name="T21" fmla="*/ 168 h 260"/>
                  <a:gd name="T22" fmla="*/ 295 w 453"/>
                  <a:gd name="T23" fmla="*/ 168 h 260"/>
                  <a:gd name="T24" fmla="*/ 279 w 453"/>
                  <a:gd name="T25" fmla="*/ 158 h 260"/>
                  <a:gd name="T26" fmla="*/ 180 w 453"/>
                  <a:gd name="T27" fmla="*/ 158 h 260"/>
                  <a:gd name="T28" fmla="*/ 171 w 453"/>
                  <a:gd name="T29" fmla="*/ 149 h 260"/>
                  <a:gd name="T30" fmla="*/ 171 w 453"/>
                  <a:gd name="T31" fmla="*/ 143 h 260"/>
                  <a:gd name="T32" fmla="*/ 180 w 453"/>
                  <a:gd name="T33" fmla="*/ 134 h 260"/>
                  <a:gd name="T34" fmla="*/ 237 w 453"/>
                  <a:gd name="T35" fmla="*/ 134 h 260"/>
                  <a:gd name="T36" fmla="*/ 220 w 453"/>
                  <a:gd name="T37" fmla="*/ 125 h 260"/>
                  <a:gd name="T38" fmla="*/ 72 w 453"/>
                  <a:gd name="T39" fmla="*/ 125 h 260"/>
                  <a:gd name="T40" fmla="*/ 64 w 453"/>
                  <a:gd name="T41" fmla="*/ 116 h 260"/>
                  <a:gd name="T42" fmla="*/ 64 w 453"/>
                  <a:gd name="T43" fmla="*/ 109 h 260"/>
                  <a:gd name="T44" fmla="*/ 72 w 453"/>
                  <a:gd name="T45" fmla="*/ 100 h 260"/>
                  <a:gd name="T46" fmla="*/ 179 w 453"/>
                  <a:gd name="T47" fmla="*/ 100 h 260"/>
                  <a:gd name="T48" fmla="*/ 162 w 453"/>
                  <a:gd name="T49" fmla="*/ 91 h 260"/>
                  <a:gd name="T50" fmla="*/ 72 w 453"/>
                  <a:gd name="T51" fmla="*/ 91 h 260"/>
                  <a:gd name="T52" fmla="*/ 64 w 453"/>
                  <a:gd name="T53" fmla="*/ 82 h 260"/>
                  <a:gd name="T54" fmla="*/ 64 w 453"/>
                  <a:gd name="T55" fmla="*/ 76 h 260"/>
                  <a:gd name="T56" fmla="*/ 72 w 453"/>
                  <a:gd name="T57" fmla="*/ 67 h 260"/>
                  <a:gd name="T58" fmla="*/ 120 w 453"/>
                  <a:gd name="T59" fmla="*/ 67 h 260"/>
                  <a:gd name="T60" fmla="*/ 3 w 453"/>
                  <a:gd name="T61" fmla="*/ 0 h 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453" h="260">
                    <a:moveTo>
                      <a:pt x="3" y="0"/>
                    </a:moveTo>
                    <a:cubicBezTo>
                      <a:pt x="0" y="3"/>
                      <a:pt x="0" y="7"/>
                      <a:pt x="0" y="7"/>
                    </a:cubicBezTo>
                    <a:cubicBezTo>
                      <a:pt x="0" y="251"/>
                      <a:pt x="0" y="251"/>
                      <a:pt x="0" y="251"/>
                    </a:cubicBezTo>
                    <a:cubicBezTo>
                      <a:pt x="0" y="260"/>
                      <a:pt x="9" y="260"/>
                      <a:pt x="9" y="260"/>
                    </a:cubicBezTo>
                    <a:cubicBezTo>
                      <a:pt x="447" y="260"/>
                      <a:pt x="447" y="260"/>
                      <a:pt x="447" y="260"/>
                    </a:cubicBezTo>
                    <a:cubicBezTo>
                      <a:pt x="450" y="260"/>
                      <a:pt x="452" y="259"/>
                      <a:pt x="453" y="258"/>
                    </a:cubicBezTo>
                    <a:cubicBezTo>
                      <a:pt x="337" y="192"/>
                      <a:pt x="337" y="192"/>
                      <a:pt x="337" y="192"/>
                    </a:cubicBezTo>
                    <a:cubicBezTo>
                      <a:pt x="180" y="192"/>
                      <a:pt x="180" y="192"/>
                      <a:pt x="180" y="192"/>
                    </a:cubicBezTo>
                    <a:cubicBezTo>
                      <a:pt x="175" y="192"/>
                      <a:pt x="171" y="188"/>
                      <a:pt x="171" y="183"/>
                    </a:cubicBezTo>
                    <a:cubicBezTo>
                      <a:pt x="171" y="176"/>
                      <a:pt x="171" y="176"/>
                      <a:pt x="171" y="176"/>
                    </a:cubicBezTo>
                    <a:cubicBezTo>
                      <a:pt x="171" y="171"/>
                      <a:pt x="175" y="168"/>
                      <a:pt x="180" y="168"/>
                    </a:cubicBezTo>
                    <a:cubicBezTo>
                      <a:pt x="295" y="168"/>
                      <a:pt x="295" y="168"/>
                      <a:pt x="295" y="168"/>
                    </a:cubicBezTo>
                    <a:cubicBezTo>
                      <a:pt x="279" y="158"/>
                      <a:pt x="279" y="158"/>
                      <a:pt x="279" y="158"/>
                    </a:cubicBezTo>
                    <a:cubicBezTo>
                      <a:pt x="180" y="158"/>
                      <a:pt x="180" y="158"/>
                      <a:pt x="180" y="158"/>
                    </a:cubicBezTo>
                    <a:cubicBezTo>
                      <a:pt x="175" y="158"/>
                      <a:pt x="171" y="154"/>
                      <a:pt x="171" y="149"/>
                    </a:cubicBezTo>
                    <a:cubicBezTo>
                      <a:pt x="171" y="143"/>
                      <a:pt x="171" y="143"/>
                      <a:pt x="171" y="143"/>
                    </a:cubicBezTo>
                    <a:cubicBezTo>
                      <a:pt x="171" y="138"/>
                      <a:pt x="175" y="134"/>
                      <a:pt x="180" y="134"/>
                    </a:cubicBezTo>
                    <a:cubicBezTo>
                      <a:pt x="237" y="134"/>
                      <a:pt x="237" y="134"/>
                      <a:pt x="237" y="134"/>
                    </a:cubicBezTo>
                    <a:cubicBezTo>
                      <a:pt x="220" y="125"/>
                      <a:pt x="220" y="125"/>
                      <a:pt x="220" y="125"/>
                    </a:cubicBezTo>
                    <a:cubicBezTo>
                      <a:pt x="72" y="125"/>
                      <a:pt x="72" y="125"/>
                      <a:pt x="72" y="125"/>
                    </a:cubicBezTo>
                    <a:cubicBezTo>
                      <a:pt x="68" y="125"/>
                      <a:pt x="64" y="121"/>
                      <a:pt x="64" y="116"/>
                    </a:cubicBezTo>
                    <a:cubicBezTo>
                      <a:pt x="64" y="109"/>
                      <a:pt x="64" y="109"/>
                      <a:pt x="64" y="109"/>
                    </a:cubicBezTo>
                    <a:cubicBezTo>
                      <a:pt x="64" y="104"/>
                      <a:pt x="68" y="100"/>
                      <a:pt x="72" y="100"/>
                    </a:cubicBezTo>
                    <a:cubicBezTo>
                      <a:pt x="179" y="100"/>
                      <a:pt x="179" y="100"/>
                      <a:pt x="179" y="100"/>
                    </a:cubicBezTo>
                    <a:cubicBezTo>
                      <a:pt x="162" y="91"/>
                      <a:pt x="162" y="91"/>
                      <a:pt x="162" y="91"/>
                    </a:cubicBezTo>
                    <a:cubicBezTo>
                      <a:pt x="72" y="91"/>
                      <a:pt x="72" y="91"/>
                      <a:pt x="72" y="91"/>
                    </a:cubicBezTo>
                    <a:cubicBezTo>
                      <a:pt x="68" y="91"/>
                      <a:pt x="64" y="87"/>
                      <a:pt x="64" y="82"/>
                    </a:cubicBezTo>
                    <a:cubicBezTo>
                      <a:pt x="64" y="76"/>
                      <a:pt x="64" y="76"/>
                      <a:pt x="64" y="76"/>
                    </a:cubicBezTo>
                    <a:cubicBezTo>
                      <a:pt x="64" y="71"/>
                      <a:pt x="68" y="67"/>
                      <a:pt x="72" y="67"/>
                    </a:cubicBezTo>
                    <a:cubicBezTo>
                      <a:pt x="120" y="67"/>
                      <a:pt x="120" y="67"/>
                      <a:pt x="120" y="67"/>
                    </a:cubicBezTo>
                    <a:cubicBezTo>
                      <a:pt x="3" y="0"/>
                      <a:pt x="3" y="0"/>
                      <a:pt x="3" y="0"/>
                    </a:cubicBezTo>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58" name="Freeform 24"/>
              <p:cNvSpPr>
                <a:spLocks/>
              </p:cNvSpPr>
              <p:nvPr/>
            </p:nvSpPr>
            <p:spPr bwMode="auto">
              <a:xfrm>
                <a:off x="6381750" y="3194050"/>
                <a:ext cx="196850" cy="47625"/>
              </a:xfrm>
              <a:custGeom>
                <a:avLst/>
                <a:gdLst>
                  <a:gd name="T0" fmla="*/ 56 w 98"/>
                  <a:gd name="T1" fmla="*/ 0 h 24"/>
                  <a:gd name="T2" fmla="*/ 8 w 98"/>
                  <a:gd name="T3" fmla="*/ 0 h 24"/>
                  <a:gd name="T4" fmla="*/ 0 w 98"/>
                  <a:gd name="T5" fmla="*/ 9 h 24"/>
                  <a:gd name="T6" fmla="*/ 0 w 98"/>
                  <a:gd name="T7" fmla="*/ 15 h 24"/>
                  <a:gd name="T8" fmla="*/ 8 w 98"/>
                  <a:gd name="T9" fmla="*/ 24 h 24"/>
                  <a:gd name="T10" fmla="*/ 98 w 98"/>
                  <a:gd name="T11" fmla="*/ 24 h 24"/>
                  <a:gd name="T12" fmla="*/ 56 w 98"/>
                  <a:gd name="T13" fmla="*/ 0 h 24"/>
                </a:gdLst>
                <a:ahLst/>
                <a:cxnLst>
                  <a:cxn ang="0">
                    <a:pos x="T0" y="T1"/>
                  </a:cxn>
                  <a:cxn ang="0">
                    <a:pos x="T2" y="T3"/>
                  </a:cxn>
                  <a:cxn ang="0">
                    <a:pos x="T4" y="T5"/>
                  </a:cxn>
                  <a:cxn ang="0">
                    <a:pos x="T6" y="T7"/>
                  </a:cxn>
                  <a:cxn ang="0">
                    <a:pos x="T8" y="T9"/>
                  </a:cxn>
                  <a:cxn ang="0">
                    <a:pos x="T10" y="T11"/>
                  </a:cxn>
                  <a:cxn ang="0">
                    <a:pos x="T12" y="T13"/>
                  </a:cxn>
                </a:cxnLst>
                <a:rect l="0" t="0" r="r" b="b"/>
                <a:pathLst>
                  <a:path w="98" h="24">
                    <a:moveTo>
                      <a:pt x="56" y="0"/>
                    </a:moveTo>
                    <a:cubicBezTo>
                      <a:pt x="8" y="0"/>
                      <a:pt x="8" y="0"/>
                      <a:pt x="8" y="0"/>
                    </a:cubicBezTo>
                    <a:cubicBezTo>
                      <a:pt x="4" y="0"/>
                      <a:pt x="0" y="4"/>
                      <a:pt x="0" y="9"/>
                    </a:cubicBezTo>
                    <a:cubicBezTo>
                      <a:pt x="0" y="15"/>
                      <a:pt x="0" y="15"/>
                      <a:pt x="0" y="15"/>
                    </a:cubicBezTo>
                    <a:cubicBezTo>
                      <a:pt x="0" y="20"/>
                      <a:pt x="4" y="24"/>
                      <a:pt x="8" y="24"/>
                    </a:cubicBezTo>
                    <a:cubicBezTo>
                      <a:pt x="98" y="24"/>
                      <a:pt x="98" y="24"/>
                      <a:pt x="98" y="24"/>
                    </a:cubicBezTo>
                    <a:cubicBezTo>
                      <a:pt x="56" y="0"/>
                      <a:pt x="56" y="0"/>
                      <a:pt x="56" y="0"/>
                    </a:cubicBezTo>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59" name="Freeform 25"/>
              <p:cNvSpPr>
                <a:spLocks/>
              </p:cNvSpPr>
              <p:nvPr/>
            </p:nvSpPr>
            <p:spPr bwMode="auto">
              <a:xfrm>
                <a:off x="6381750" y="3259138"/>
                <a:ext cx="314325" cy="50800"/>
              </a:xfrm>
              <a:custGeom>
                <a:avLst/>
                <a:gdLst>
                  <a:gd name="T0" fmla="*/ 115 w 156"/>
                  <a:gd name="T1" fmla="*/ 0 h 25"/>
                  <a:gd name="T2" fmla="*/ 8 w 156"/>
                  <a:gd name="T3" fmla="*/ 0 h 25"/>
                  <a:gd name="T4" fmla="*/ 0 w 156"/>
                  <a:gd name="T5" fmla="*/ 9 h 25"/>
                  <a:gd name="T6" fmla="*/ 0 w 156"/>
                  <a:gd name="T7" fmla="*/ 16 h 25"/>
                  <a:gd name="T8" fmla="*/ 8 w 156"/>
                  <a:gd name="T9" fmla="*/ 25 h 25"/>
                  <a:gd name="T10" fmla="*/ 156 w 156"/>
                  <a:gd name="T11" fmla="*/ 25 h 25"/>
                  <a:gd name="T12" fmla="*/ 115 w 156"/>
                  <a:gd name="T13" fmla="*/ 0 h 25"/>
                </a:gdLst>
                <a:ahLst/>
                <a:cxnLst>
                  <a:cxn ang="0">
                    <a:pos x="T0" y="T1"/>
                  </a:cxn>
                  <a:cxn ang="0">
                    <a:pos x="T2" y="T3"/>
                  </a:cxn>
                  <a:cxn ang="0">
                    <a:pos x="T4" y="T5"/>
                  </a:cxn>
                  <a:cxn ang="0">
                    <a:pos x="T6" y="T7"/>
                  </a:cxn>
                  <a:cxn ang="0">
                    <a:pos x="T8" y="T9"/>
                  </a:cxn>
                  <a:cxn ang="0">
                    <a:pos x="T10" y="T11"/>
                  </a:cxn>
                  <a:cxn ang="0">
                    <a:pos x="T12" y="T13"/>
                  </a:cxn>
                </a:cxnLst>
                <a:rect l="0" t="0" r="r" b="b"/>
                <a:pathLst>
                  <a:path w="156" h="25">
                    <a:moveTo>
                      <a:pt x="115" y="0"/>
                    </a:moveTo>
                    <a:cubicBezTo>
                      <a:pt x="8" y="0"/>
                      <a:pt x="8" y="0"/>
                      <a:pt x="8" y="0"/>
                    </a:cubicBezTo>
                    <a:cubicBezTo>
                      <a:pt x="4" y="0"/>
                      <a:pt x="0" y="4"/>
                      <a:pt x="0" y="9"/>
                    </a:cubicBezTo>
                    <a:cubicBezTo>
                      <a:pt x="0" y="16"/>
                      <a:pt x="0" y="16"/>
                      <a:pt x="0" y="16"/>
                    </a:cubicBezTo>
                    <a:cubicBezTo>
                      <a:pt x="0" y="21"/>
                      <a:pt x="4" y="25"/>
                      <a:pt x="8" y="25"/>
                    </a:cubicBezTo>
                    <a:cubicBezTo>
                      <a:pt x="156" y="25"/>
                      <a:pt x="156" y="25"/>
                      <a:pt x="156" y="25"/>
                    </a:cubicBezTo>
                    <a:cubicBezTo>
                      <a:pt x="115" y="0"/>
                      <a:pt x="115" y="0"/>
                      <a:pt x="115" y="0"/>
                    </a:cubicBezTo>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60" name="Freeform 26"/>
              <p:cNvSpPr>
                <a:spLocks/>
              </p:cNvSpPr>
              <p:nvPr/>
            </p:nvSpPr>
            <p:spPr bwMode="auto">
              <a:xfrm>
                <a:off x="6597650" y="3327400"/>
                <a:ext cx="217488" cy="49213"/>
              </a:xfrm>
              <a:custGeom>
                <a:avLst/>
                <a:gdLst>
                  <a:gd name="T0" fmla="*/ 66 w 108"/>
                  <a:gd name="T1" fmla="*/ 0 h 24"/>
                  <a:gd name="T2" fmla="*/ 9 w 108"/>
                  <a:gd name="T3" fmla="*/ 0 h 24"/>
                  <a:gd name="T4" fmla="*/ 0 w 108"/>
                  <a:gd name="T5" fmla="*/ 9 h 24"/>
                  <a:gd name="T6" fmla="*/ 0 w 108"/>
                  <a:gd name="T7" fmla="*/ 15 h 24"/>
                  <a:gd name="T8" fmla="*/ 9 w 108"/>
                  <a:gd name="T9" fmla="*/ 24 h 24"/>
                  <a:gd name="T10" fmla="*/ 108 w 108"/>
                  <a:gd name="T11" fmla="*/ 24 h 24"/>
                  <a:gd name="T12" fmla="*/ 66 w 108"/>
                  <a:gd name="T13" fmla="*/ 0 h 24"/>
                </a:gdLst>
                <a:ahLst/>
                <a:cxnLst>
                  <a:cxn ang="0">
                    <a:pos x="T0" y="T1"/>
                  </a:cxn>
                  <a:cxn ang="0">
                    <a:pos x="T2" y="T3"/>
                  </a:cxn>
                  <a:cxn ang="0">
                    <a:pos x="T4" y="T5"/>
                  </a:cxn>
                  <a:cxn ang="0">
                    <a:pos x="T6" y="T7"/>
                  </a:cxn>
                  <a:cxn ang="0">
                    <a:pos x="T8" y="T9"/>
                  </a:cxn>
                  <a:cxn ang="0">
                    <a:pos x="T10" y="T11"/>
                  </a:cxn>
                  <a:cxn ang="0">
                    <a:pos x="T12" y="T13"/>
                  </a:cxn>
                </a:cxnLst>
                <a:rect l="0" t="0" r="r" b="b"/>
                <a:pathLst>
                  <a:path w="108" h="24">
                    <a:moveTo>
                      <a:pt x="66" y="0"/>
                    </a:moveTo>
                    <a:cubicBezTo>
                      <a:pt x="9" y="0"/>
                      <a:pt x="9" y="0"/>
                      <a:pt x="9" y="0"/>
                    </a:cubicBezTo>
                    <a:cubicBezTo>
                      <a:pt x="4" y="0"/>
                      <a:pt x="0" y="4"/>
                      <a:pt x="0" y="9"/>
                    </a:cubicBezTo>
                    <a:cubicBezTo>
                      <a:pt x="0" y="15"/>
                      <a:pt x="0" y="15"/>
                      <a:pt x="0" y="15"/>
                    </a:cubicBezTo>
                    <a:cubicBezTo>
                      <a:pt x="0" y="20"/>
                      <a:pt x="4" y="24"/>
                      <a:pt x="9" y="24"/>
                    </a:cubicBezTo>
                    <a:cubicBezTo>
                      <a:pt x="108" y="24"/>
                      <a:pt x="108" y="24"/>
                      <a:pt x="108" y="24"/>
                    </a:cubicBezTo>
                    <a:cubicBezTo>
                      <a:pt x="66" y="0"/>
                      <a:pt x="66" y="0"/>
                      <a:pt x="66" y="0"/>
                    </a:cubicBezTo>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61" name="Freeform 27"/>
              <p:cNvSpPr>
                <a:spLocks/>
              </p:cNvSpPr>
              <p:nvPr/>
            </p:nvSpPr>
            <p:spPr bwMode="auto">
              <a:xfrm>
                <a:off x="6597650" y="3395663"/>
                <a:ext cx="333375" cy="47625"/>
              </a:xfrm>
              <a:custGeom>
                <a:avLst/>
                <a:gdLst>
                  <a:gd name="T0" fmla="*/ 124 w 166"/>
                  <a:gd name="T1" fmla="*/ 0 h 24"/>
                  <a:gd name="T2" fmla="*/ 9 w 166"/>
                  <a:gd name="T3" fmla="*/ 0 h 24"/>
                  <a:gd name="T4" fmla="*/ 0 w 166"/>
                  <a:gd name="T5" fmla="*/ 8 h 24"/>
                  <a:gd name="T6" fmla="*/ 0 w 166"/>
                  <a:gd name="T7" fmla="*/ 15 h 24"/>
                  <a:gd name="T8" fmla="*/ 9 w 166"/>
                  <a:gd name="T9" fmla="*/ 24 h 24"/>
                  <a:gd name="T10" fmla="*/ 166 w 166"/>
                  <a:gd name="T11" fmla="*/ 24 h 24"/>
                  <a:gd name="T12" fmla="*/ 124 w 166"/>
                  <a:gd name="T13" fmla="*/ 0 h 24"/>
                </a:gdLst>
                <a:ahLst/>
                <a:cxnLst>
                  <a:cxn ang="0">
                    <a:pos x="T0" y="T1"/>
                  </a:cxn>
                  <a:cxn ang="0">
                    <a:pos x="T2" y="T3"/>
                  </a:cxn>
                  <a:cxn ang="0">
                    <a:pos x="T4" y="T5"/>
                  </a:cxn>
                  <a:cxn ang="0">
                    <a:pos x="T6" y="T7"/>
                  </a:cxn>
                  <a:cxn ang="0">
                    <a:pos x="T8" y="T9"/>
                  </a:cxn>
                  <a:cxn ang="0">
                    <a:pos x="T10" y="T11"/>
                  </a:cxn>
                  <a:cxn ang="0">
                    <a:pos x="T12" y="T13"/>
                  </a:cxn>
                </a:cxnLst>
                <a:rect l="0" t="0" r="r" b="b"/>
                <a:pathLst>
                  <a:path w="166" h="24">
                    <a:moveTo>
                      <a:pt x="124" y="0"/>
                    </a:moveTo>
                    <a:cubicBezTo>
                      <a:pt x="9" y="0"/>
                      <a:pt x="9" y="0"/>
                      <a:pt x="9" y="0"/>
                    </a:cubicBezTo>
                    <a:cubicBezTo>
                      <a:pt x="4" y="0"/>
                      <a:pt x="0" y="3"/>
                      <a:pt x="0" y="8"/>
                    </a:cubicBezTo>
                    <a:cubicBezTo>
                      <a:pt x="0" y="15"/>
                      <a:pt x="0" y="15"/>
                      <a:pt x="0" y="15"/>
                    </a:cubicBezTo>
                    <a:cubicBezTo>
                      <a:pt x="0" y="20"/>
                      <a:pt x="4" y="24"/>
                      <a:pt x="9" y="24"/>
                    </a:cubicBezTo>
                    <a:cubicBezTo>
                      <a:pt x="166" y="24"/>
                      <a:pt x="166" y="24"/>
                      <a:pt x="166" y="24"/>
                    </a:cubicBezTo>
                    <a:cubicBezTo>
                      <a:pt x="124" y="0"/>
                      <a:pt x="124" y="0"/>
                      <a:pt x="124" y="0"/>
                    </a:cubicBezTo>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62" name="Rectangle 361"/>
              <p:cNvSpPr>
                <a:spLocks noChangeArrowheads="1"/>
              </p:cNvSpPr>
              <p:nvPr/>
            </p:nvSpPr>
            <p:spPr bwMode="auto">
              <a:xfrm>
                <a:off x="6516688" y="3055938"/>
                <a:ext cx="7938" cy="5238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sp>
          <p:nvSpPr>
            <p:cNvPr id="364" name="TextBox 363"/>
            <p:cNvSpPr txBox="1"/>
            <p:nvPr/>
          </p:nvSpPr>
          <p:spPr>
            <a:xfrm>
              <a:off x="8894964" y="5077477"/>
              <a:ext cx="1134152" cy="269739"/>
            </a:xfrm>
            <a:prstGeom prst="rect">
              <a:avLst/>
            </a:prstGeom>
            <a:noFill/>
          </p:spPr>
          <p:txBody>
            <a:bodyPr wrap="square" lIns="91440" tIns="73152" rIns="91440" bIns="73152" rtlCol="0" anchor="ctr">
              <a:spAutoFit/>
            </a:bodyPr>
            <a:lstStyle/>
            <a:p>
              <a:pPr marL="0" marR="0" lvl="0" indent="0" algn="ctr" defTabSz="914192" eaLnBrk="1" fontAlgn="auto" latinLnBrk="0" hangingPunct="1">
                <a:lnSpc>
                  <a:spcPct val="90000"/>
                </a:lnSpc>
                <a:spcBef>
                  <a:spcPts val="0"/>
                </a:spcBef>
                <a:spcAft>
                  <a:spcPts val="0"/>
                </a:spcAft>
                <a:buClrTx/>
                <a:buSzTx/>
                <a:buFontTx/>
                <a:buNone/>
                <a:tabLst/>
                <a:defRPr/>
              </a:pPr>
              <a:r>
                <a:rPr kumimoji="0" lang="en-US" sz="1200" b="0" i="0" u="none" strike="noStrike" kern="0" cap="none" spc="0" normalizeH="0" baseline="0" noProof="0" dirty="0">
                  <a:ln>
                    <a:noFill/>
                  </a:ln>
                  <a:solidFill>
                    <a:sysClr val="windowText" lastClr="000000"/>
                  </a:solidFill>
                  <a:effectLst/>
                  <a:uLnTx/>
                  <a:uFillTx/>
                  <a:latin typeface="Segoe UI"/>
                  <a:ea typeface="MS PGothic" charset="0"/>
                </a:rPr>
                <a:t>Trusted data</a:t>
              </a:r>
            </a:p>
          </p:txBody>
        </p:sp>
        <p:sp>
          <p:nvSpPr>
            <p:cNvPr id="368" name="Freeform 47"/>
            <p:cNvSpPr>
              <a:spLocks/>
            </p:cNvSpPr>
            <p:nvPr/>
          </p:nvSpPr>
          <p:spPr bwMode="auto">
            <a:xfrm>
              <a:off x="5926015" y="6678964"/>
              <a:ext cx="93348" cy="37339"/>
            </a:xfrm>
            <a:custGeom>
              <a:avLst/>
              <a:gdLst>
                <a:gd name="T0" fmla="*/ 0 w 33"/>
                <a:gd name="T1" fmla="*/ 13 h 13"/>
                <a:gd name="T2" fmla="*/ 17 w 33"/>
                <a:gd name="T3" fmla="*/ 0 h 13"/>
                <a:gd name="T4" fmla="*/ 33 w 33"/>
                <a:gd name="T5" fmla="*/ 13 h 13"/>
                <a:gd name="T6" fmla="*/ 0 w 33"/>
                <a:gd name="T7" fmla="*/ 13 h 13"/>
              </a:gdLst>
              <a:ahLst/>
              <a:cxnLst>
                <a:cxn ang="0">
                  <a:pos x="T0" y="T1"/>
                </a:cxn>
                <a:cxn ang="0">
                  <a:pos x="T2" y="T3"/>
                </a:cxn>
                <a:cxn ang="0">
                  <a:pos x="T4" y="T5"/>
                </a:cxn>
                <a:cxn ang="0">
                  <a:pos x="T6" y="T7"/>
                </a:cxn>
              </a:cxnLst>
              <a:rect l="0" t="0" r="r" b="b"/>
              <a:pathLst>
                <a:path w="33" h="13">
                  <a:moveTo>
                    <a:pt x="0" y="13"/>
                  </a:moveTo>
                  <a:cubicBezTo>
                    <a:pt x="2" y="6"/>
                    <a:pt x="9" y="0"/>
                    <a:pt x="17" y="0"/>
                  </a:cubicBezTo>
                  <a:cubicBezTo>
                    <a:pt x="24" y="0"/>
                    <a:pt x="31" y="6"/>
                    <a:pt x="33" y="13"/>
                  </a:cubicBezTo>
                  <a:lnTo>
                    <a:pt x="0" y="13"/>
                  </a:lnTo>
                  <a:close/>
                </a:path>
              </a:pathLst>
            </a:custGeom>
            <a:solidFill>
              <a:srgbClr val="409A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80" name="Freeform 72"/>
            <p:cNvSpPr>
              <a:spLocks/>
            </p:cNvSpPr>
            <p:nvPr/>
          </p:nvSpPr>
          <p:spPr bwMode="auto">
            <a:xfrm>
              <a:off x="5969578" y="6678964"/>
              <a:ext cx="49785" cy="37339"/>
            </a:xfrm>
            <a:custGeom>
              <a:avLst/>
              <a:gdLst>
                <a:gd name="T0" fmla="*/ 0 w 17"/>
                <a:gd name="T1" fmla="*/ 0 h 13"/>
                <a:gd name="T2" fmla="*/ 1 w 17"/>
                <a:gd name="T3" fmla="*/ 0 h 13"/>
                <a:gd name="T4" fmla="*/ 17 w 17"/>
                <a:gd name="T5" fmla="*/ 13 h 13"/>
                <a:gd name="T6" fmla="*/ 9 w 17"/>
                <a:gd name="T7" fmla="*/ 13 h 13"/>
                <a:gd name="T8" fmla="*/ 0 w 17"/>
                <a:gd name="T9" fmla="*/ 0 h 13"/>
              </a:gdLst>
              <a:ahLst/>
              <a:cxnLst>
                <a:cxn ang="0">
                  <a:pos x="T0" y="T1"/>
                </a:cxn>
                <a:cxn ang="0">
                  <a:pos x="T2" y="T3"/>
                </a:cxn>
                <a:cxn ang="0">
                  <a:pos x="T4" y="T5"/>
                </a:cxn>
                <a:cxn ang="0">
                  <a:pos x="T6" y="T7"/>
                </a:cxn>
                <a:cxn ang="0">
                  <a:pos x="T8" y="T9"/>
                </a:cxn>
              </a:cxnLst>
              <a:rect l="0" t="0" r="r" b="b"/>
              <a:pathLst>
                <a:path w="17" h="13">
                  <a:moveTo>
                    <a:pt x="0" y="0"/>
                  </a:moveTo>
                  <a:cubicBezTo>
                    <a:pt x="0" y="0"/>
                    <a:pt x="1" y="0"/>
                    <a:pt x="1" y="0"/>
                  </a:cubicBezTo>
                  <a:cubicBezTo>
                    <a:pt x="8" y="0"/>
                    <a:pt x="15" y="6"/>
                    <a:pt x="17" y="13"/>
                  </a:cubicBezTo>
                  <a:cubicBezTo>
                    <a:pt x="9" y="13"/>
                    <a:pt x="9" y="13"/>
                    <a:pt x="9" y="13"/>
                  </a:cubicBezTo>
                  <a:cubicBezTo>
                    <a:pt x="8" y="8"/>
                    <a:pt x="5" y="3"/>
                    <a:pt x="0" y="0"/>
                  </a:cubicBezTo>
                  <a:close/>
                </a:path>
              </a:pathLst>
            </a:custGeom>
            <a:solidFill>
              <a:srgbClr val="409A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88" name="Freeform 182"/>
            <p:cNvSpPr/>
            <p:nvPr/>
          </p:nvSpPr>
          <p:spPr bwMode="auto">
            <a:xfrm>
              <a:off x="5796254" y="5735577"/>
              <a:ext cx="353599" cy="453509"/>
            </a:xfrm>
            <a:custGeom>
              <a:avLst/>
              <a:gdLst>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143359 h 1866625"/>
                <a:gd name="connsiteX30" fmla="*/ 21049 w 1455401"/>
                <a:gd name="connsiteY30" fmla="*/ 1033051 h 1866625"/>
                <a:gd name="connsiteX31" fmla="*/ 15633 w 1455401"/>
                <a:gd name="connsiteY31" fmla="*/ 1030526 h 1866625"/>
                <a:gd name="connsiteX32" fmla="*/ 0 w 1455401"/>
                <a:gd name="connsiteY32" fmla="*/ 1017423 h 1866625"/>
                <a:gd name="connsiteX33" fmla="*/ 1 w 1455401"/>
                <a:gd name="connsiteY33" fmla="*/ 296841 h 1866625"/>
                <a:gd name="connsiteX34" fmla="*/ 0 w 1455401"/>
                <a:gd name="connsiteY34" fmla="*/ 296838 h 1866625"/>
                <a:gd name="connsiteX35" fmla="*/ 1 w 1455401"/>
                <a:gd name="connsiteY35" fmla="*/ 296835 h 1866625"/>
                <a:gd name="connsiteX36" fmla="*/ 3758 w 1455401"/>
                <a:gd name="connsiteY36" fmla="*/ 266488 h 1866625"/>
                <a:gd name="connsiteX37" fmla="*/ 727700 w 1455401"/>
                <a:gd name="connsiteY3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033051 h 1866625"/>
                <a:gd name="connsiteX30" fmla="*/ 15633 w 1455401"/>
                <a:gd name="connsiteY30" fmla="*/ 1030526 h 1866625"/>
                <a:gd name="connsiteX31" fmla="*/ 0 w 1455401"/>
                <a:gd name="connsiteY31" fmla="*/ 1017423 h 1866625"/>
                <a:gd name="connsiteX32" fmla="*/ 1 w 1455401"/>
                <a:gd name="connsiteY32" fmla="*/ 296841 h 1866625"/>
                <a:gd name="connsiteX33" fmla="*/ 0 w 1455401"/>
                <a:gd name="connsiteY33" fmla="*/ 296838 h 1866625"/>
                <a:gd name="connsiteX34" fmla="*/ 1 w 1455401"/>
                <a:gd name="connsiteY34" fmla="*/ 296835 h 1866625"/>
                <a:gd name="connsiteX35" fmla="*/ 3758 w 1455401"/>
                <a:gd name="connsiteY35" fmla="*/ 266488 h 1866625"/>
                <a:gd name="connsiteX36" fmla="*/ 727700 w 1455401"/>
                <a:gd name="connsiteY3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15633 w 1455401"/>
                <a:gd name="connsiteY29" fmla="*/ 1030526 h 1866625"/>
                <a:gd name="connsiteX30" fmla="*/ 0 w 1455401"/>
                <a:gd name="connsiteY30" fmla="*/ 1017423 h 1866625"/>
                <a:gd name="connsiteX31" fmla="*/ 1 w 1455401"/>
                <a:gd name="connsiteY31" fmla="*/ 296841 h 1866625"/>
                <a:gd name="connsiteX32" fmla="*/ 0 w 1455401"/>
                <a:gd name="connsiteY32" fmla="*/ 296838 h 1866625"/>
                <a:gd name="connsiteX33" fmla="*/ 1 w 1455401"/>
                <a:gd name="connsiteY33" fmla="*/ 296835 h 1866625"/>
                <a:gd name="connsiteX34" fmla="*/ 3758 w 1455401"/>
                <a:gd name="connsiteY34" fmla="*/ 266488 h 1866625"/>
                <a:gd name="connsiteX35" fmla="*/ 727700 w 1455401"/>
                <a:gd name="connsiteY35"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0 w 1455401"/>
                <a:gd name="connsiteY29" fmla="*/ 1017423 h 1866625"/>
                <a:gd name="connsiteX30" fmla="*/ 1 w 1455401"/>
                <a:gd name="connsiteY30" fmla="*/ 296841 h 1866625"/>
                <a:gd name="connsiteX31" fmla="*/ 0 w 1455401"/>
                <a:gd name="connsiteY31" fmla="*/ 296838 h 1866625"/>
                <a:gd name="connsiteX32" fmla="*/ 1 w 1455401"/>
                <a:gd name="connsiteY32" fmla="*/ 296835 h 1866625"/>
                <a:gd name="connsiteX33" fmla="*/ 3758 w 1455401"/>
                <a:gd name="connsiteY33" fmla="*/ 266488 h 1866625"/>
                <a:gd name="connsiteX34" fmla="*/ 727700 w 1455401"/>
                <a:gd name="connsiteY34"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0 w 1455401"/>
                <a:gd name="connsiteY28" fmla="*/ 1017423 h 1866625"/>
                <a:gd name="connsiteX29" fmla="*/ 1 w 1455401"/>
                <a:gd name="connsiteY29" fmla="*/ 296841 h 1866625"/>
                <a:gd name="connsiteX30" fmla="*/ 0 w 1455401"/>
                <a:gd name="connsiteY30" fmla="*/ 296838 h 1866625"/>
                <a:gd name="connsiteX31" fmla="*/ 1 w 1455401"/>
                <a:gd name="connsiteY31" fmla="*/ 296835 h 1866625"/>
                <a:gd name="connsiteX32" fmla="*/ 3758 w 1455401"/>
                <a:gd name="connsiteY32" fmla="*/ 266488 h 1866625"/>
                <a:gd name="connsiteX33" fmla="*/ 727700 w 1455401"/>
                <a:gd name="connsiteY33"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 w 1455401"/>
                <a:gd name="connsiteY28" fmla="*/ 296841 h 1866625"/>
                <a:gd name="connsiteX29" fmla="*/ 0 w 1455401"/>
                <a:gd name="connsiteY29" fmla="*/ 296838 h 1866625"/>
                <a:gd name="connsiteX30" fmla="*/ 1 w 1455401"/>
                <a:gd name="connsiteY30" fmla="*/ 296835 h 1866625"/>
                <a:gd name="connsiteX31" fmla="*/ 3758 w 1455401"/>
                <a:gd name="connsiteY31" fmla="*/ 266488 h 1866625"/>
                <a:gd name="connsiteX32" fmla="*/ 727700 w 1455401"/>
                <a:gd name="connsiteY32"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296841 h 1866625"/>
                <a:gd name="connsiteX28" fmla="*/ 0 w 1455401"/>
                <a:gd name="connsiteY28" fmla="*/ 296838 h 1866625"/>
                <a:gd name="connsiteX29" fmla="*/ 1 w 1455401"/>
                <a:gd name="connsiteY29" fmla="*/ 296835 h 1866625"/>
                <a:gd name="connsiteX30" fmla="*/ 3758 w 1455401"/>
                <a:gd name="connsiteY30" fmla="*/ 266488 h 1866625"/>
                <a:gd name="connsiteX31" fmla="*/ 727700 w 1455401"/>
                <a:gd name="connsiteY31"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143359 h 1866625"/>
                <a:gd name="connsiteX13" fmla="*/ 1439768 w 1455401"/>
                <a:gd name="connsiteY13" fmla="*/ 1140834 h 1866625"/>
                <a:gd name="connsiteX14" fmla="*/ 1455401 w 1455401"/>
                <a:gd name="connsiteY14" fmla="*/ 1127732 h 1866625"/>
                <a:gd name="connsiteX15" fmla="*/ 1455401 w 1455401"/>
                <a:gd name="connsiteY15" fmla="*/ 1569784 h 1866625"/>
                <a:gd name="connsiteX16" fmla="*/ 1455401 w 1455401"/>
                <a:gd name="connsiteY16" fmla="*/ 1569787 h 1866625"/>
                <a:gd name="connsiteX17" fmla="*/ 1455401 w 1455401"/>
                <a:gd name="connsiteY17" fmla="*/ 1569790 h 1866625"/>
                <a:gd name="connsiteX18" fmla="*/ 1455401 w 1455401"/>
                <a:gd name="connsiteY18" fmla="*/ 1578767 h 1866625"/>
                <a:gd name="connsiteX19" fmla="*/ 1454289 w 1455401"/>
                <a:gd name="connsiteY19" fmla="*/ 1578767 h 1866625"/>
                <a:gd name="connsiteX20" fmla="*/ 1451644 w 1455401"/>
                <a:gd name="connsiteY20" fmla="*/ 1600137 h 1866625"/>
                <a:gd name="connsiteX21" fmla="*/ 727701 w 1455401"/>
                <a:gd name="connsiteY21" fmla="*/ 1866625 h 1866625"/>
                <a:gd name="connsiteX22" fmla="*/ 3758 w 1455401"/>
                <a:gd name="connsiteY22" fmla="*/ 1600137 h 1866625"/>
                <a:gd name="connsiteX23" fmla="*/ 1113 w 1455401"/>
                <a:gd name="connsiteY23" fmla="*/ 1578767 h 1866625"/>
                <a:gd name="connsiteX24" fmla="*/ 1 w 1455401"/>
                <a:gd name="connsiteY24" fmla="*/ 1578767 h 1866625"/>
                <a:gd name="connsiteX25" fmla="*/ 1 w 1455401"/>
                <a:gd name="connsiteY25" fmla="*/ 1569787 h 1866625"/>
                <a:gd name="connsiteX26" fmla="*/ 1 w 1455401"/>
                <a:gd name="connsiteY26" fmla="*/ 296841 h 1866625"/>
                <a:gd name="connsiteX27" fmla="*/ 0 w 1455401"/>
                <a:gd name="connsiteY27" fmla="*/ 296838 h 1866625"/>
                <a:gd name="connsiteX28" fmla="*/ 1 w 1455401"/>
                <a:gd name="connsiteY28" fmla="*/ 296835 h 1866625"/>
                <a:gd name="connsiteX29" fmla="*/ 3758 w 1455401"/>
                <a:gd name="connsiteY29" fmla="*/ 266488 h 1866625"/>
                <a:gd name="connsiteX30" fmla="*/ 727700 w 1455401"/>
                <a:gd name="connsiteY30"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4352 w 1455401"/>
                <a:gd name="connsiteY11" fmla="*/ 1143359 h 1866625"/>
                <a:gd name="connsiteX12" fmla="*/ 1439768 w 1455401"/>
                <a:gd name="connsiteY12" fmla="*/ 1140834 h 1866625"/>
                <a:gd name="connsiteX13" fmla="*/ 1455401 w 1455401"/>
                <a:gd name="connsiteY13" fmla="*/ 1127732 h 1866625"/>
                <a:gd name="connsiteX14" fmla="*/ 1455401 w 1455401"/>
                <a:gd name="connsiteY14" fmla="*/ 1569784 h 1866625"/>
                <a:gd name="connsiteX15" fmla="*/ 1455401 w 1455401"/>
                <a:gd name="connsiteY15" fmla="*/ 1569787 h 1866625"/>
                <a:gd name="connsiteX16" fmla="*/ 1455401 w 1455401"/>
                <a:gd name="connsiteY16" fmla="*/ 1569790 h 1866625"/>
                <a:gd name="connsiteX17" fmla="*/ 1455401 w 1455401"/>
                <a:gd name="connsiteY17" fmla="*/ 1578767 h 1866625"/>
                <a:gd name="connsiteX18" fmla="*/ 1454289 w 1455401"/>
                <a:gd name="connsiteY18" fmla="*/ 1578767 h 1866625"/>
                <a:gd name="connsiteX19" fmla="*/ 1451644 w 1455401"/>
                <a:gd name="connsiteY19" fmla="*/ 1600137 h 1866625"/>
                <a:gd name="connsiteX20" fmla="*/ 727701 w 1455401"/>
                <a:gd name="connsiteY20" fmla="*/ 1866625 h 1866625"/>
                <a:gd name="connsiteX21" fmla="*/ 3758 w 1455401"/>
                <a:gd name="connsiteY21" fmla="*/ 1600137 h 1866625"/>
                <a:gd name="connsiteX22" fmla="*/ 1113 w 1455401"/>
                <a:gd name="connsiteY22" fmla="*/ 1578767 h 1866625"/>
                <a:gd name="connsiteX23" fmla="*/ 1 w 1455401"/>
                <a:gd name="connsiteY23" fmla="*/ 1578767 h 1866625"/>
                <a:gd name="connsiteX24" fmla="*/ 1 w 1455401"/>
                <a:gd name="connsiteY24" fmla="*/ 1569787 h 1866625"/>
                <a:gd name="connsiteX25" fmla="*/ 1 w 1455401"/>
                <a:gd name="connsiteY25" fmla="*/ 296841 h 1866625"/>
                <a:gd name="connsiteX26" fmla="*/ 0 w 1455401"/>
                <a:gd name="connsiteY26" fmla="*/ 296838 h 1866625"/>
                <a:gd name="connsiteX27" fmla="*/ 1 w 1455401"/>
                <a:gd name="connsiteY27" fmla="*/ 296835 h 1866625"/>
                <a:gd name="connsiteX28" fmla="*/ 3758 w 1455401"/>
                <a:gd name="connsiteY28" fmla="*/ 266488 h 1866625"/>
                <a:gd name="connsiteX29" fmla="*/ 727700 w 1455401"/>
                <a:gd name="connsiteY29"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127732 h 1866625"/>
                <a:gd name="connsiteX13" fmla="*/ 1455401 w 1455401"/>
                <a:gd name="connsiteY13" fmla="*/ 1569784 h 1866625"/>
                <a:gd name="connsiteX14" fmla="*/ 1455401 w 1455401"/>
                <a:gd name="connsiteY14" fmla="*/ 1569787 h 1866625"/>
                <a:gd name="connsiteX15" fmla="*/ 1455401 w 1455401"/>
                <a:gd name="connsiteY15" fmla="*/ 1569790 h 1866625"/>
                <a:gd name="connsiteX16" fmla="*/ 1455401 w 1455401"/>
                <a:gd name="connsiteY16" fmla="*/ 1578767 h 1866625"/>
                <a:gd name="connsiteX17" fmla="*/ 1454289 w 1455401"/>
                <a:gd name="connsiteY17" fmla="*/ 1578767 h 1866625"/>
                <a:gd name="connsiteX18" fmla="*/ 1451644 w 1455401"/>
                <a:gd name="connsiteY18" fmla="*/ 1600137 h 1866625"/>
                <a:gd name="connsiteX19" fmla="*/ 727701 w 1455401"/>
                <a:gd name="connsiteY19" fmla="*/ 1866625 h 1866625"/>
                <a:gd name="connsiteX20" fmla="*/ 3758 w 1455401"/>
                <a:gd name="connsiteY20" fmla="*/ 1600137 h 1866625"/>
                <a:gd name="connsiteX21" fmla="*/ 1113 w 1455401"/>
                <a:gd name="connsiteY21" fmla="*/ 1578767 h 1866625"/>
                <a:gd name="connsiteX22" fmla="*/ 1 w 1455401"/>
                <a:gd name="connsiteY22" fmla="*/ 1578767 h 1866625"/>
                <a:gd name="connsiteX23" fmla="*/ 1 w 1455401"/>
                <a:gd name="connsiteY23" fmla="*/ 1569787 h 1866625"/>
                <a:gd name="connsiteX24" fmla="*/ 1 w 1455401"/>
                <a:gd name="connsiteY24" fmla="*/ 296841 h 1866625"/>
                <a:gd name="connsiteX25" fmla="*/ 0 w 1455401"/>
                <a:gd name="connsiteY25" fmla="*/ 296838 h 1866625"/>
                <a:gd name="connsiteX26" fmla="*/ 1 w 1455401"/>
                <a:gd name="connsiteY26" fmla="*/ 296835 h 1866625"/>
                <a:gd name="connsiteX27" fmla="*/ 3758 w 1455401"/>
                <a:gd name="connsiteY27" fmla="*/ 266488 h 1866625"/>
                <a:gd name="connsiteX28" fmla="*/ 727700 w 1455401"/>
                <a:gd name="connsiteY28"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569784 h 1866625"/>
                <a:gd name="connsiteX13" fmla="*/ 1455401 w 1455401"/>
                <a:gd name="connsiteY13" fmla="*/ 1569787 h 1866625"/>
                <a:gd name="connsiteX14" fmla="*/ 1455401 w 1455401"/>
                <a:gd name="connsiteY14" fmla="*/ 1569790 h 1866625"/>
                <a:gd name="connsiteX15" fmla="*/ 1455401 w 1455401"/>
                <a:gd name="connsiteY15" fmla="*/ 1578767 h 1866625"/>
                <a:gd name="connsiteX16" fmla="*/ 1454289 w 1455401"/>
                <a:gd name="connsiteY16" fmla="*/ 1578767 h 1866625"/>
                <a:gd name="connsiteX17" fmla="*/ 1451644 w 1455401"/>
                <a:gd name="connsiteY17" fmla="*/ 1600137 h 1866625"/>
                <a:gd name="connsiteX18" fmla="*/ 727701 w 1455401"/>
                <a:gd name="connsiteY18" fmla="*/ 1866625 h 1866625"/>
                <a:gd name="connsiteX19" fmla="*/ 3758 w 1455401"/>
                <a:gd name="connsiteY19" fmla="*/ 1600137 h 1866625"/>
                <a:gd name="connsiteX20" fmla="*/ 1113 w 1455401"/>
                <a:gd name="connsiteY20" fmla="*/ 1578767 h 1866625"/>
                <a:gd name="connsiteX21" fmla="*/ 1 w 1455401"/>
                <a:gd name="connsiteY21" fmla="*/ 1578767 h 1866625"/>
                <a:gd name="connsiteX22" fmla="*/ 1 w 1455401"/>
                <a:gd name="connsiteY22" fmla="*/ 1569787 h 1866625"/>
                <a:gd name="connsiteX23" fmla="*/ 1 w 1455401"/>
                <a:gd name="connsiteY23" fmla="*/ 296841 h 1866625"/>
                <a:gd name="connsiteX24" fmla="*/ 0 w 1455401"/>
                <a:gd name="connsiteY24" fmla="*/ 296838 h 1866625"/>
                <a:gd name="connsiteX25" fmla="*/ 1 w 1455401"/>
                <a:gd name="connsiteY25" fmla="*/ 296835 h 1866625"/>
                <a:gd name="connsiteX26" fmla="*/ 3758 w 1455401"/>
                <a:gd name="connsiteY26" fmla="*/ 266488 h 1866625"/>
                <a:gd name="connsiteX27" fmla="*/ 727700 w 1455401"/>
                <a:gd name="connsiteY2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55401 w 1455401"/>
                <a:gd name="connsiteY11" fmla="*/ 1569784 h 1866625"/>
                <a:gd name="connsiteX12" fmla="*/ 1455401 w 1455401"/>
                <a:gd name="connsiteY12" fmla="*/ 1569787 h 1866625"/>
                <a:gd name="connsiteX13" fmla="*/ 1455401 w 1455401"/>
                <a:gd name="connsiteY13" fmla="*/ 1569790 h 1866625"/>
                <a:gd name="connsiteX14" fmla="*/ 1455401 w 1455401"/>
                <a:gd name="connsiteY14" fmla="*/ 1578767 h 1866625"/>
                <a:gd name="connsiteX15" fmla="*/ 1454289 w 1455401"/>
                <a:gd name="connsiteY15" fmla="*/ 1578767 h 1866625"/>
                <a:gd name="connsiteX16" fmla="*/ 1451644 w 1455401"/>
                <a:gd name="connsiteY16" fmla="*/ 1600137 h 1866625"/>
                <a:gd name="connsiteX17" fmla="*/ 727701 w 1455401"/>
                <a:gd name="connsiteY17" fmla="*/ 1866625 h 1866625"/>
                <a:gd name="connsiteX18" fmla="*/ 3758 w 1455401"/>
                <a:gd name="connsiteY18" fmla="*/ 1600137 h 1866625"/>
                <a:gd name="connsiteX19" fmla="*/ 1113 w 1455401"/>
                <a:gd name="connsiteY19" fmla="*/ 1578767 h 1866625"/>
                <a:gd name="connsiteX20" fmla="*/ 1 w 1455401"/>
                <a:gd name="connsiteY20" fmla="*/ 1578767 h 1866625"/>
                <a:gd name="connsiteX21" fmla="*/ 1 w 1455401"/>
                <a:gd name="connsiteY21" fmla="*/ 1569787 h 1866625"/>
                <a:gd name="connsiteX22" fmla="*/ 1 w 1455401"/>
                <a:gd name="connsiteY22" fmla="*/ 296841 h 1866625"/>
                <a:gd name="connsiteX23" fmla="*/ 0 w 1455401"/>
                <a:gd name="connsiteY23" fmla="*/ 296838 h 1866625"/>
                <a:gd name="connsiteX24" fmla="*/ 1 w 1455401"/>
                <a:gd name="connsiteY24" fmla="*/ 296835 h 1866625"/>
                <a:gd name="connsiteX25" fmla="*/ 3758 w 1455401"/>
                <a:gd name="connsiteY25" fmla="*/ 266488 h 1866625"/>
                <a:gd name="connsiteX26" fmla="*/ 727700 w 1455401"/>
                <a:gd name="connsiteY2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569784 h 1866625"/>
                <a:gd name="connsiteX11" fmla="*/ 1455401 w 1455401"/>
                <a:gd name="connsiteY11" fmla="*/ 1569787 h 1866625"/>
                <a:gd name="connsiteX12" fmla="*/ 1455401 w 1455401"/>
                <a:gd name="connsiteY12" fmla="*/ 1569790 h 1866625"/>
                <a:gd name="connsiteX13" fmla="*/ 1455401 w 1455401"/>
                <a:gd name="connsiteY13" fmla="*/ 1578767 h 1866625"/>
                <a:gd name="connsiteX14" fmla="*/ 1454289 w 1455401"/>
                <a:gd name="connsiteY14" fmla="*/ 1578767 h 1866625"/>
                <a:gd name="connsiteX15" fmla="*/ 1451644 w 1455401"/>
                <a:gd name="connsiteY15" fmla="*/ 1600137 h 1866625"/>
                <a:gd name="connsiteX16" fmla="*/ 727701 w 1455401"/>
                <a:gd name="connsiteY16" fmla="*/ 1866625 h 1866625"/>
                <a:gd name="connsiteX17" fmla="*/ 3758 w 1455401"/>
                <a:gd name="connsiteY17" fmla="*/ 1600137 h 1866625"/>
                <a:gd name="connsiteX18" fmla="*/ 1113 w 1455401"/>
                <a:gd name="connsiteY18" fmla="*/ 1578767 h 1866625"/>
                <a:gd name="connsiteX19" fmla="*/ 1 w 1455401"/>
                <a:gd name="connsiteY19" fmla="*/ 1578767 h 1866625"/>
                <a:gd name="connsiteX20" fmla="*/ 1 w 1455401"/>
                <a:gd name="connsiteY20" fmla="*/ 1569787 h 1866625"/>
                <a:gd name="connsiteX21" fmla="*/ 1 w 1455401"/>
                <a:gd name="connsiteY21" fmla="*/ 296841 h 1866625"/>
                <a:gd name="connsiteX22" fmla="*/ 0 w 1455401"/>
                <a:gd name="connsiteY22" fmla="*/ 296838 h 1866625"/>
                <a:gd name="connsiteX23" fmla="*/ 1 w 1455401"/>
                <a:gd name="connsiteY23" fmla="*/ 296835 h 1866625"/>
                <a:gd name="connsiteX24" fmla="*/ 3758 w 1455401"/>
                <a:gd name="connsiteY24" fmla="*/ 266488 h 1866625"/>
                <a:gd name="connsiteX25" fmla="*/ 727700 w 1455401"/>
                <a:gd name="connsiteY25" fmla="*/ 0 h 1866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455401" h="1866625">
                  <a:moveTo>
                    <a:pt x="727701" y="107085"/>
                  </a:moveTo>
                  <a:cubicBezTo>
                    <a:pt x="450294" y="107085"/>
                    <a:pt x="225411" y="173087"/>
                    <a:pt x="225411" y="254506"/>
                  </a:cubicBezTo>
                  <a:cubicBezTo>
                    <a:pt x="225411" y="335924"/>
                    <a:pt x="450294" y="401926"/>
                    <a:pt x="727701" y="401926"/>
                  </a:cubicBezTo>
                  <a:cubicBezTo>
                    <a:pt x="1005108" y="401926"/>
                    <a:pt x="1229991" y="335924"/>
                    <a:pt x="1229991" y="254506"/>
                  </a:cubicBezTo>
                  <a:cubicBezTo>
                    <a:pt x="1229991" y="173087"/>
                    <a:pt x="1005108" y="107085"/>
                    <a:pt x="727701" y="107085"/>
                  </a:cubicBezTo>
                  <a:close/>
                  <a:moveTo>
                    <a:pt x="727700" y="0"/>
                  </a:moveTo>
                  <a:cubicBezTo>
                    <a:pt x="1104479" y="0"/>
                    <a:pt x="1414378" y="116806"/>
                    <a:pt x="1451644" y="266488"/>
                  </a:cubicBezTo>
                  <a:lnTo>
                    <a:pt x="1454289" y="287858"/>
                  </a:lnTo>
                  <a:lnTo>
                    <a:pt x="1455400" y="287858"/>
                  </a:lnTo>
                  <a:lnTo>
                    <a:pt x="1455400" y="296838"/>
                  </a:lnTo>
                  <a:cubicBezTo>
                    <a:pt x="1455400" y="510492"/>
                    <a:pt x="1455401" y="1357626"/>
                    <a:pt x="1455401" y="1569784"/>
                  </a:cubicBezTo>
                  <a:lnTo>
                    <a:pt x="1455401" y="1569787"/>
                  </a:lnTo>
                  <a:lnTo>
                    <a:pt x="1455401" y="1569790"/>
                  </a:lnTo>
                  <a:lnTo>
                    <a:pt x="1455401" y="1578767"/>
                  </a:lnTo>
                  <a:lnTo>
                    <a:pt x="1454289" y="1578767"/>
                  </a:lnTo>
                  <a:lnTo>
                    <a:pt x="1451644" y="1600137"/>
                  </a:lnTo>
                  <a:cubicBezTo>
                    <a:pt x="1414379" y="1749819"/>
                    <a:pt x="1104480" y="1866625"/>
                    <a:pt x="727701" y="1866625"/>
                  </a:cubicBezTo>
                  <a:cubicBezTo>
                    <a:pt x="350922" y="1866625"/>
                    <a:pt x="41024" y="1749819"/>
                    <a:pt x="3758" y="1600137"/>
                  </a:cubicBezTo>
                  <a:lnTo>
                    <a:pt x="1113" y="1578767"/>
                  </a:lnTo>
                  <a:lnTo>
                    <a:pt x="1" y="1578767"/>
                  </a:lnTo>
                  <a:lnTo>
                    <a:pt x="1" y="1569787"/>
                  </a:lnTo>
                  <a:lnTo>
                    <a:pt x="1" y="296841"/>
                  </a:lnTo>
                  <a:cubicBezTo>
                    <a:pt x="1" y="158359"/>
                    <a:pt x="0" y="296839"/>
                    <a:pt x="0" y="296838"/>
                  </a:cubicBezTo>
                  <a:cubicBezTo>
                    <a:pt x="0" y="296837"/>
                    <a:pt x="1" y="296836"/>
                    <a:pt x="1" y="296835"/>
                  </a:cubicBezTo>
                  <a:lnTo>
                    <a:pt x="3758" y="266488"/>
                  </a:lnTo>
                  <a:cubicBezTo>
                    <a:pt x="41023" y="116806"/>
                    <a:pt x="350921" y="0"/>
                    <a:pt x="727700" y="0"/>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9144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r>
                <a:rPr kumimoji="0" lang="en-US" sz="9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Black" panose="020B0A02040204020203" pitchFamily="34" charset="0"/>
                  <a:ea typeface="Segoe UI Black" panose="020B0A02040204020203" pitchFamily="34" charset="0"/>
                  <a:cs typeface="Segoe UI Black" panose="020B0A02040204020203" pitchFamily="34" charset="0"/>
                </a:rPr>
                <a:t>No</a:t>
              </a:r>
              <a:br>
                <a:rPr kumimoji="0" lang="en-US" sz="9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Black" panose="020B0A02040204020203" pitchFamily="34" charset="0"/>
                  <a:ea typeface="Segoe UI Black" panose="020B0A02040204020203" pitchFamily="34" charset="0"/>
                  <a:cs typeface="Segoe UI Black" panose="020B0A02040204020203" pitchFamily="34" charset="0"/>
                </a:rPr>
              </a:br>
              <a:r>
                <a:rPr kumimoji="0" lang="en-US" sz="9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Black" panose="020B0A02040204020203" pitchFamily="34" charset="0"/>
                  <a:ea typeface="Segoe UI Black" panose="020B0A02040204020203" pitchFamily="34" charset="0"/>
                  <a:cs typeface="Segoe UI Black" panose="020B0A02040204020203" pitchFamily="34" charset="0"/>
                </a:rPr>
                <a:t>SQL</a:t>
              </a:r>
            </a:p>
          </p:txBody>
        </p:sp>
        <p:sp>
          <p:nvSpPr>
            <p:cNvPr id="413" name="Freeform 182"/>
            <p:cNvSpPr/>
            <p:nvPr/>
          </p:nvSpPr>
          <p:spPr bwMode="auto">
            <a:xfrm>
              <a:off x="6603987" y="5527313"/>
              <a:ext cx="353599" cy="453509"/>
            </a:xfrm>
            <a:custGeom>
              <a:avLst/>
              <a:gdLst>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143359 h 1866625"/>
                <a:gd name="connsiteX30" fmla="*/ 21049 w 1455401"/>
                <a:gd name="connsiteY30" fmla="*/ 1033051 h 1866625"/>
                <a:gd name="connsiteX31" fmla="*/ 15633 w 1455401"/>
                <a:gd name="connsiteY31" fmla="*/ 1030526 h 1866625"/>
                <a:gd name="connsiteX32" fmla="*/ 0 w 1455401"/>
                <a:gd name="connsiteY32" fmla="*/ 1017423 h 1866625"/>
                <a:gd name="connsiteX33" fmla="*/ 1 w 1455401"/>
                <a:gd name="connsiteY33" fmla="*/ 296841 h 1866625"/>
                <a:gd name="connsiteX34" fmla="*/ 0 w 1455401"/>
                <a:gd name="connsiteY34" fmla="*/ 296838 h 1866625"/>
                <a:gd name="connsiteX35" fmla="*/ 1 w 1455401"/>
                <a:gd name="connsiteY35" fmla="*/ 296835 h 1866625"/>
                <a:gd name="connsiteX36" fmla="*/ 3758 w 1455401"/>
                <a:gd name="connsiteY36" fmla="*/ 266488 h 1866625"/>
                <a:gd name="connsiteX37" fmla="*/ 727700 w 1455401"/>
                <a:gd name="connsiteY3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033051 h 1866625"/>
                <a:gd name="connsiteX30" fmla="*/ 15633 w 1455401"/>
                <a:gd name="connsiteY30" fmla="*/ 1030526 h 1866625"/>
                <a:gd name="connsiteX31" fmla="*/ 0 w 1455401"/>
                <a:gd name="connsiteY31" fmla="*/ 1017423 h 1866625"/>
                <a:gd name="connsiteX32" fmla="*/ 1 w 1455401"/>
                <a:gd name="connsiteY32" fmla="*/ 296841 h 1866625"/>
                <a:gd name="connsiteX33" fmla="*/ 0 w 1455401"/>
                <a:gd name="connsiteY33" fmla="*/ 296838 h 1866625"/>
                <a:gd name="connsiteX34" fmla="*/ 1 w 1455401"/>
                <a:gd name="connsiteY34" fmla="*/ 296835 h 1866625"/>
                <a:gd name="connsiteX35" fmla="*/ 3758 w 1455401"/>
                <a:gd name="connsiteY35" fmla="*/ 266488 h 1866625"/>
                <a:gd name="connsiteX36" fmla="*/ 727700 w 1455401"/>
                <a:gd name="connsiteY3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15633 w 1455401"/>
                <a:gd name="connsiteY29" fmla="*/ 1030526 h 1866625"/>
                <a:gd name="connsiteX30" fmla="*/ 0 w 1455401"/>
                <a:gd name="connsiteY30" fmla="*/ 1017423 h 1866625"/>
                <a:gd name="connsiteX31" fmla="*/ 1 w 1455401"/>
                <a:gd name="connsiteY31" fmla="*/ 296841 h 1866625"/>
                <a:gd name="connsiteX32" fmla="*/ 0 w 1455401"/>
                <a:gd name="connsiteY32" fmla="*/ 296838 h 1866625"/>
                <a:gd name="connsiteX33" fmla="*/ 1 w 1455401"/>
                <a:gd name="connsiteY33" fmla="*/ 296835 h 1866625"/>
                <a:gd name="connsiteX34" fmla="*/ 3758 w 1455401"/>
                <a:gd name="connsiteY34" fmla="*/ 266488 h 1866625"/>
                <a:gd name="connsiteX35" fmla="*/ 727700 w 1455401"/>
                <a:gd name="connsiteY35"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0 w 1455401"/>
                <a:gd name="connsiteY29" fmla="*/ 1017423 h 1866625"/>
                <a:gd name="connsiteX30" fmla="*/ 1 w 1455401"/>
                <a:gd name="connsiteY30" fmla="*/ 296841 h 1866625"/>
                <a:gd name="connsiteX31" fmla="*/ 0 w 1455401"/>
                <a:gd name="connsiteY31" fmla="*/ 296838 h 1866625"/>
                <a:gd name="connsiteX32" fmla="*/ 1 w 1455401"/>
                <a:gd name="connsiteY32" fmla="*/ 296835 h 1866625"/>
                <a:gd name="connsiteX33" fmla="*/ 3758 w 1455401"/>
                <a:gd name="connsiteY33" fmla="*/ 266488 h 1866625"/>
                <a:gd name="connsiteX34" fmla="*/ 727700 w 1455401"/>
                <a:gd name="connsiteY34"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0 w 1455401"/>
                <a:gd name="connsiteY28" fmla="*/ 1017423 h 1866625"/>
                <a:gd name="connsiteX29" fmla="*/ 1 w 1455401"/>
                <a:gd name="connsiteY29" fmla="*/ 296841 h 1866625"/>
                <a:gd name="connsiteX30" fmla="*/ 0 w 1455401"/>
                <a:gd name="connsiteY30" fmla="*/ 296838 h 1866625"/>
                <a:gd name="connsiteX31" fmla="*/ 1 w 1455401"/>
                <a:gd name="connsiteY31" fmla="*/ 296835 h 1866625"/>
                <a:gd name="connsiteX32" fmla="*/ 3758 w 1455401"/>
                <a:gd name="connsiteY32" fmla="*/ 266488 h 1866625"/>
                <a:gd name="connsiteX33" fmla="*/ 727700 w 1455401"/>
                <a:gd name="connsiteY33"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 w 1455401"/>
                <a:gd name="connsiteY28" fmla="*/ 296841 h 1866625"/>
                <a:gd name="connsiteX29" fmla="*/ 0 w 1455401"/>
                <a:gd name="connsiteY29" fmla="*/ 296838 h 1866625"/>
                <a:gd name="connsiteX30" fmla="*/ 1 w 1455401"/>
                <a:gd name="connsiteY30" fmla="*/ 296835 h 1866625"/>
                <a:gd name="connsiteX31" fmla="*/ 3758 w 1455401"/>
                <a:gd name="connsiteY31" fmla="*/ 266488 h 1866625"/>
                <a:gd name="connsiteX32" fmla="*/ 727700 w 1455401"/>
                <a:gd name="connsiteY32"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296841 h 1866625"/>
                <a:gd name="connsiteX28" fmla="*/ 0 w 1455401"/>
                <a:gd name="connsiteY28" fmla="*/ 296838 h 1866625"/>
                <a:gd name="connsiteX29" fmla="*/ 1 w 1455401"/>
                <a:gd name="connsiteY29" fmla="*/ 296835 h 1866625"/>
                <a:gd name="connsiteX30" fmla="*/ 3758 w 1455401"/>
                <a:gd name="connsiteY30" fmla="*/ 266488 h 1866625"/>
                <a:gd name="connsiteX31" fmla="*/ 727700 w 1455401"/>
                <a:gd name="connsiteY31"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143359 h 1866625"/>
                <a:gd name="connsiteX13" fmla="*/ 1439768 w 1455401"/>
                <a:gd name="connsiteY13" fmla="*/ 1140834 h 1866625"/>
                <a:gd name="connsiteX14" fmla="*/ 1455401 w 1455401"/>
                <a:gd name="connsiteY14" fmla="*/ 1127732 h 1866625"/>
                <a:gd name="connsiteX15" fmla="*/ 1455401 w 1455401"/>
                <a:gd name="connsiteY15" fmla="*/ 1569784 h 1866625"/>
                <a:gd name="connsiteX16" fmla="*/ 1455401 w 1455401"/>
                <a:gd name="connsiteY16" fmla="*/ 1569787 h 1866625"/>
                <a:gd name="connsiteX17" fmla="*/ 1455401 w 1455401"/>
                <a:gd name="connsiteY17" fmla="*/ 1569790 h 1866625"/>
                <a:gd name="connsiteX18" fmla="*/ 1455401 w 1455401"/>
                <a:gd name="connsiteY18" fmla="*/ 1578767 h 1866625"/>
                <a:gd name="connsiteX19" fmla="*/ 1454289 w 1455401"/>
                <a:gd name="connsiteY19" fmla="*/ 1578767 h 1866625"/>
                <a:gd name="connsiteX20" fmla="*/ 1451644 w 1455401"/>
                <a:gd name="connsiteY20" fmla="*/ 1600137 h 1866625"/>
                <a:gd name="connsiteX21" fmla="*/ 727701 w 1455401"/>
                <a:gd name="connsiteY21" fmla="*/ 1866625 h 1866625"/>
                <a:gd name="connsiteX22" fmla="*/ 3758 w 1455401"/>
                <a:gd name="connsiteY22" fmla="*/ 1600137 h 1866625"/>
                <a:gd name="connsiteX23" fmla="*/ 1113 w 1455401"/>
                <a:gd name="connsiteY23" fmla="*/ 1578767 h 1866625"/>
                <a:gd name="connsiteX24" fmla="*/ 1 w 1455401"/>
                <a:gd name="connsiteY24" fmla="*/ 1578767 h 1866625"/>
                <a:gd name="connsiteX25" fmla="*/ 1 w 1455401"/>
                <a:gd name="connsiteY25" fmla="*/ 1569787 h 1866625"/>
                <a:gd name="connsiteX26" fmla="*/ 1 w 1455401"/>
                <a:gd name="connsiteY26" fmla="*/ 296841 h 1866625"/>
                <a:gd name="connsiteX27" fmla="*/ 0 w 1455401"/>
                <a:gd name="connsiteY27" fmla="*/ 296838 h 1866625"/>
                <a:gd name="connsiteX28" fmla="*/ 1 w 1455401"/>
                <a:gd name="connsiteY28" fmla="*/ 296835 h 1866625"/>
                <a:gd name="connsiteX29" fmla="*/ 3758 w 1455401"/>
                <a:gd name="connsiteY29" fmla="*/ 266488 h 1866625"/>
                <a:gd name="connsiteX30" fmla="*/ 727700 w 1455401"/>
                <a:gd name="connsiteY30"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4352 w 1455401"/>
                <a:gd name="connsiteY11" fmla="*/ 1143359 h 1866625"/>
                <a:gd name="connsiteX12" fmla="*/ 1439768 w 1455401"/>
                <a:gd name="connsiteY12" fmla="*/ 1140834 h 1866625"/>
                <a:gd name="connsiteX13" fmla="*/ 1455401 w 1455401"/>
                <a:gd name="connsiteY13" fmla="*/ 1127732 h 1866625"/>
                <a:gd name="connsiteX14" fmla="*/ 1455401 w 1455401"/>
                <a:gd name="connsiteY14" fmla="*/ 1569784 h 1866625"/>
                <a:gd name="connsiteX15" fmla="*/ 1455401 w 1455401"/>
                <a:gd name="connsiteY15" fmla="*/ 1569787 h 1866625"/>
                <a:gd name="connsiteX16" fmla="*/ 1455401 w 1455401"/>
                <a:gd name="connsiteY16" fmla="*/ 1569790 h 1866625"/>
                <a:gd name="connsiteX17" fmla="*/ 1455401 w 1455401"/>
                <a:gd name="connsiteY17" fmla="*/ 1578767 h 1866625"/>
                <a:gd name="connsiteX18" fmla="*/ 1454289 w 1455401"/>
                <a:gd name="connsiteY18" fmla="*/ 1578767 h 1866625"/>
                <a:gd name="connsiteX19" fmla="*/ 1451644 w 1455401"/>
                <a:gd name="connsiteY19" fmla="*/ 1600137 h 1866625"/>
                <a:gd name="connsiteX20" fmla="*/ 727701 w 1455401"/>
                <a:gd name="connsiteY20" fmla="*/ 1866625 h 1866625"/>
                <a:gd name="connsiteX21" fmla="*/ 3758 w 1455401"/>
                <a:gd name="connsiteY21" fmla="*/ 1600137 h 1866625"/>
                <a:gd name="connsiteX22" fmla="*/ 1113 w 1455401"/>
                <a:gd name="connsiteY22" fmla="*/ 1578767 h 1866625"/>
                <a:gd name="connsiteX23" fmla="*/ 1 w 1455401"/>
                <a:gd name="connsiteY23" fmla="*/ 1578767 h 1866625"/>
                <a:gd name="connsiteX24" fmla="*/ 1 w 1455401"/>
                <a:gd name="connsiteY24" fmla="*/ 1569787 h 1866625"/>
                <a:gd name="connsiteX25" fmla="*/ 1 w 1455401"/>
                <a:gd name="connsiteY25" fmla="*/ 296841 h 1866625"/>
                <a:gd name="connsiteX26" fmla="*/ 0 w 1455401"/>
                <a:gd name="connsiteY26" fmla="*/ 296838 h 1866625"/>
                <a:gd name="connsiteX27" fmla="*/ 1 w 1455401"/>
                <a:gd name="connsiteY27" fmla="*/ 296835 h 1866625"/>
                <a:gd name="connsiteX28" fmla="*/ 3758 w 1455401"/>
                <a:gd name="connsiteY28" fmla="*/ 266488 h 1866625"/>
                <a:gd name="connsiteX29" fmla="*/ 727700 w 1455401"/>
                <a:gd name="connsiteY29"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127732 h 1866625"/>
                <a:gd name="connsiteX13" fmla="*/ 1455401 w 1455401"/>
                <a:gd name="connsiteY13" fmla="*/ 1569784 h 1866625"/>
                <a:gd name="connsiteX14" fmla="*/ 1455401 w 1455401"/>
                <a:gd name="connsiteY14" fmla="*/ 1569787 h 1866625"/>
                <a:gd name="connsiteX15" fmla="*/ 1455401 w 1455401"/>
                <a:gd name="connsiteY15" fmla="*/ 1569790 h 1866625"/>
                <a:gd name="connsiteX16" fmla="*/ 1455401 w 1455401"/>
                <a:gd name="connsiteY16" fmla="*/ 1578767 h 1866625"/>
                <a:gd name="connsiteX17" fmla="*/ 1454289 w 1455401"/>
                <a:gd name="connsiteY17" fmla="*/ 1578767 h 1866625"/>
                <a:gd name="connsiteX18" fmla="*/ 1451644 w 1455401"/>
                <a:gd name="connsiteY18" fmla="*/ 1600137 h 1866625"/>
                <a:gd name="connsiteX19" fmla="*/ 727701 w 1455401"/>
                <a:gd name="connsiteY19" fmla="*/ 1866625 h 1866625"/>
                <a:gd name="connsiteX20" fmla="*/ 3758 w 1455401"/>
                <a:gd name="connsiteY20" fmla="*/ 1600137 h 1866625"/>
                <a:gd name="connsiteX21" fmla="*/ 1113 w 1455401"/>
                <a:gd name="connsiteY21" fmla="*/ 1578767 h 1866625"/>
                <a:gd name="connsiteX22" fmla="*/ 1 w 1455401"/>
                <a:gd name="connsiteY22" fmla="*/ 1578767 h 1866625"/>
                <a:gd name="connsiteX23" fmla="*/ 1 w 1455401"/>
                <a:gd name="connsiteY23" fmla="*/ 1569787 h 1866625"/>
                <a:gd name="connsiteX24" fmla="*/ 1 w 1455401"/>
                <a:gd name="connsiteY24" fmla="*/ 296841 h 1866625"/>
                <a:gd name="connsiteX25" fmla="*/ 0 w 1455401"/>
                <a:gd name="connsiteY25" fmla="*/ 296838 h 1866625"/>
                <a:gd name="connsiteX26" fmla="*/ 1 w 1455401"/>
                <a:gd name="connsiteY26" fmla="*/ 296835 h 1866625"/>
                <a:gd name="connsiteX27" fmla="*/ 3758 w 1455401"/>
                <a:gd name="connsiteY27" fmla="*/ 266488 h 1866625"/>
                <a:gd name="connsiteX28" fmla="*/ 727700 w 1455401"/>
                <a:gd name="connsiteY28"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569784 h 1866625"/>
                <a:gd name="connsiteX13" fmla="*/ 1455401 w 1455401"/>
                <a:gd name="connsiteY13" fmla="*/ 1569787 h 1866625"/>
                <a:gd name="connsiteX14" fmla="*/ 1455401 w 1455401"/>
                <a:gd name="connsiteY14" fmla="*/ 1569790 h 1866625"/>
                <a:gd name="connsiteX15" fmla="*/ 1455401 w 1455401"/>
                <a:gd name="connsiteY15" fmla="*/ 1578767 h 1866625"/>
                <a:gd name="connsiteX16" fmla="*/ 1454289 w 1455401"/>
                <a:gd name="connsiteY16" fmla="*/ 1578767 h 1866625"/>
                <a:gd name="connsiteX17" fmla="*/ 1451644 w 1455401"/>
                <a:gd name="connsiteY17" fmla="*/ 1600137 h 1866625"/>
                <a:gd name="connsiteX18" fmla="*/ 727701 w 1455401"/>
                <a:gd name="connsiteY18" fmla="*/ 1866625 h 1866625"/>
                <a:gd name="connsiteX19" fmla="*/ 3758 w 1455401"/>
                <a:gd name="connsiteY19" fmla="*/ 1600137 h 1866625"/>
                <a:gd name="connsiteX20" fmla="*/ 1113 w 1455401"/>
                <a:gd name="connsiteY20" fmla="*/ 1578767 h 1866625"/>
                <a:gd name="connsiteX21" fmla="*/ 1 w 1455401"/>
                <a:gd name="connsiteY21" fmla="*/ 1578767 h 1866625"/>
                <a:gd name="connsiteX22" fmla="*/ 1 w 1455401"/>
                <a:gd name="connsiteY22" fmla="*/ 1569787 h 1866625"/>
                <a:gd name="connsiteX23" fmla="*/ 1 w 1455401"/>
                <a:gd name="connsiteY23" fmla="*/ 296841 h 1866625"/>
                <a:gd name="connsiteX24" fmla="*/ 0 w 1455401"/>
                <a:gd name="connsiteY24" fmla="*/ 296838 h 1866625"/>
                <a:gd name="connsiteX25" fmla="*/ 1 w 1455401"/>
                <a:gd name="connsiteY25" fmla="*/ 296835 h 1866625"/>
                <a:gd name="connsiteX26" fmla="*/ 3758 w 1455401"/>
                <a:gd name="connsiteY26" fmla="*/ 266488 h 1866625"/>
                <a:gd name="connsiteX27" fmla="*/ 727700 w 1455401"/>
                <a:gd name="connsiteY2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55401 w 1455401"/>
                <a:gd name="connsiteY11" fmla="*/ 1569784 h 1866625"/>
                <a:gd name="connsiteX12" fmla="*/ 1455401 w 1455401"/>
                <a:gd name="connsiteY12" fmla="*/ 1569787 h 1866625"/>
                <a:gd name="connsiteX13" fmla="*/ 1455401 w 1455401"/>
                <a:gd name="connsiteY13" fmla="*/ 1569790 h 1866625"/>
                <a:gd name="connsiteX14" fmla="*/ 1455401 w 1455401"/>
                <a:gd name="connsiteY14" fmla="*/ 1578767 h 1866625"/>
                <a:gd name="connsiteX15" fmla="*/ 1454289 w 1455401"/>
                <a:gd name="connsiteY15" fmla="*/ 1578767 h 1866625"/>
                <a:gd name="connsiteX16" fmla="*/ 1451644 w 1455401"/>
                <a:gd name="connsiteY16" fmla="*/ 1600137 h 1866625"/>
                <a:gd name="connsiteX17" fmla="*/ 727701 w 1455401"/>
                <a:gd name="connsiteY17" fmla="*/ 1866625 h 1866625"/>
                <a:gd name="connsiteX18" fmla="*/ 3758 w 1455401"/>
                <a:gd name="connsiteY18" fmla="*/ 1600137 h 1866625"/>
                <a:gd name="connsiteX19" fmla="*/ 1113 w 1455401"/>
                <a:gd name="connsiteY19" fmla="*/ 1578767 h 1866625"/>
                <a:gd name="connsiteX20" fmla="*/ 1 w 1455401"/>
                <a:gd name="connsiteY20" fmla="*/ 1578767 h 1866625"/>
                <a:gd name="connsiteX21" fmla="*/ 1 w 1455401"/>
                <a:gd name="connsiteY21" fmla="*/ 1569787 h 1866625"/>
                <a:gd name="connsiteX22" fmla="*/ 1 w 1455401"/>
                <a:gd name="connsiteY22" fmla="*/ 296841 h 1866625"/>
                <a:gd name="connsiteX23" fmla="*/ 0 w 1455401"/>
                <a:gd name="connsiteY23" fmla="*/ 296838 h 1866625"/>
                <a:gd name="connsiteX24" fmla="*/ 1 w 1455401"/>
                <a:gd name="connsiteY24" fmla="*/ 296835 h 1866625"/>
                <a:gd name="connsiteX25" fmla="*/ 3758 w 1455401"/>
                <a:gd name="connsiteY25" fmla="*/ 266488 h 1866625"/>
                <a:gd name="connsiteX26" fmla="*/ 727700 w 1455401"/>
                <a:gd name="connsiteY2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569784 h 1866625"/>
                <a:gd name="connsiteX11" fmla="*/ 1455401 w 1455401"/>
                <a:gd name="connsiteY11" fmla="*/ 1569787 h 1866625"/>
                <a:gd name="connsiteX12" fmla="*/ 1455401 w 1455401"/>
                <a:gd name="connsiteY12" fmla="*/ 1569790 h 1866625"/>
                <a:gd name="connsiteX13" fmla="*/ 1455401 w 1455401"/>
                <a:gd name="connsiteY13" fmla="*/ 1578767 h 1866625"/>
                <a:gd name="connsiteX14" fmla="*/ 1454289 w 1455401"/>
                <a:gd name="connsiteY14" fmla="*/ 1578767 h 1866625"/>
                <a:gd name="connsiteX15" fmla="*/ 1451644 w 1455401"/>
                <a:gd name="connsiteY15" fmla="*/ 1600137 h 1866625"/>
                <a:gd name="connsiteX16" fmla="*/ 727701 w 1455401"/>
                <a:gd name="connsiteY16" fmla="*/ 1866625 h 1866625"/>
                <a:gd name="connsiteX17" fmla="*/ 3758 w 1455401"/>
                <a:gd name="connsiteY17" fmla="*/ 1600137 h 1866625"/>
                <a:gd name="connsiteX18" fmla="*/ 1113 w 1455401"/>
                <a:gd name="connsiteY18" fmla="*/ 1578767 h 1866625"/>
                <a:gd name="connsiteX19" fmla="*/ 1 w 1455401"/>
                <a:gd name="connsiteY19" fmla="*/ 1578767 h 1866625"/>
                <a:gd name="connsiteX20" fmla="*/ 1 w 1455401"/>
                <a:gd name="connsiteY20" fmla="*/ 1569787 h 1866625"/>
                <a:gd name="connsiteX21" fmla="*/ 1 w 1455401"/>
                <a:gd name="connsiteY21" fmla="*/ 296841 h 1866625"/>
                <a:gd name="connsiteX22" fmla="*/ 0 w 1455401"/>
                <a:gd name="connsiteY22" fmla="*/ 296838 h 1866625"/>
                <a:gd name="connsiteX23" fmla="*/ 1 w 1455401"/>
                <a:gd name="connsiteY23" fmla="*/ 296835 h 1866625"/>
                <a:gd name="connsiteX24" fmla="*/ 3758 w 1455401"/>
                <a:gd name="connsiteY24" fmla="*/ 266488 h 1866625"/>
                <a:gd name="connsiteX25" fmla="*/ 727700 w 1455401"/>
                <a:gd name="connsiteY25" fmla="*/ 0 h 1866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455401" h="1866625">
                  <a:moveTo>
                    <a:pt x="727701" y="107085"/>
                  </a:moveTo>
                  <a:cubicBezTo>
                    <a:pt x="450294" y="107085"/>
                    <a:pt x="225411" y="173087"/>
                    <a:pt x="225411" y="254506"/>
                  </a:cubicBezTo>
                  <a:cubicBezTo>
                    <a:pt x="225411" y="335924"/>
                    <a:pt x="450294" y="401926"/>
                    <a:pt x="727701" y="401926"/>
                  </a:cubicBezTo>
                  <a:cubicBezTo>
                    <a:pt x="1005108" y="401926"/>
                    <a:pt x="1229991" y="335924"/>
                    <a:pt x="1229991" y="254506"/>
                  </a:cubicBezTo>
                  <a:cubicBezTo>
                    <a:pt x="1229991" y="173087"/>
                    <a:pt x="1005108" y="107085"/>
                    <a:pt x="727701" y="107085"/>
                  </a:cubicBezTo>
                  <a:close/>
                  <a:moveTo>
                    <a:pt x="727700" y="0"/>
                  </a:moveTo>
                  <a:cubicBezTo>
                    <a:pt x="1104479" y="0"/>
                    <a:pt x="1414378" y="116806"/>
                    <a:pt x="1451644" y="266488"/>
                  </a:cubicBezTo>
                  <a:lnTo>
                    <a:pt x="1454289" y="287858"/>
                  </a:lnTo>
                  <a:lnTo>
                    <a:pt x="1455400" y="287858"/>
                  </a:lnTo>
                  <a:lnTo>
                    <a:pt x="1455400" y="296838"/>
                  </a:lnTo>
                  <a:cubicBezTo>
                    <a:pt x="1455400" y="510492"/>
                    <a:pt x="1455401" y="1357626"/>
                    <a:pt x="1455401" y="1569784"/>
                  </a:cubicBezTo>
                  <a:lnTo>
                    <a:pt x="1455401" y="1569787"/>
                  </a:lnTo>
                  <a:lnTo>
                    <a:pt x="1455401" y="1569790"/>
                  </a:lnTo>
                  <a:lnTo>
                    <a:pt x="1455401" y="1578767"/>
                  </a:lnTo>
                  <a:lnTo>
                    <a:pt x="1454289" y="1578767"/>
                  </a:lnTo>
                  <a:lnTo>
                    <a:pt x="1451644" y="1600137"/>
                  </a:lnTo>
                  <a:cubicBezTo>
                    <a:pt x="1414379" y="1749819"/>
                    <a:pt x="1104480" y="1866625"/>
                    <a:pt x="727701" y="1866625"/>
                  </a:cubicBezTo>
                  <a:cubicBezTo>
                    <a:pt x="350922" y="1866625"/>
                    <a:pt x="41024" y="1749819"/>
                    <a:pt x="3758" y="1600137"/>
                  </a:cubicBezTo>
                  <a:lnTo>
                    <a:pt x="1113" y="1578767"/>
                  </a:lnTo>
                  <a:lnTo>
                    <a:pt x="1" y="1578767"/>
                  </a:lnTo>
                  <a:lnTo>
                    <a:pt x="1" y="1569787"/>
                  </a:lnTo>
                  <a:lnTo>
                    <a:pt x="1" y="296841"/>
                  </a:lnTo>
                  <a:cubicBezTo>
                    <a:pt x="1" y="158359"/>
                    <a:pt x="0" y="296839"/>
                    <a:pt x="0" y="296838"/>
                  </a:cubicBezTo>
                  <a:cubicBezTo>
                    <a:pt x="0" y="296837"/>
                    <a:pt x="1" y="296836"/>
                    <a:pt x="1" y="296835"/>
                  </a:cubicBezTo>
                  <a:lnTo>
                    <a:pt x="3758" y="266488"/>
                  </a:lnTo>
                  <a:cubicBezTo>
                    <a:pt x="41023" y="116806"/>
                    <a:pt x="350921" y="0"/>
                    <a:pt x="727700" y="0"/>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414" name="Freeform 182"/>
            <p:cNvSpPr/>
            <p:nvPr/>
          </p:nvSpPr>
          <p:spPr bwMode="auto">
            <a:xfrm>
              <a:off x="6198513" y="5625811"/>
              <a:ext cx="353599" cy="453509"/>
            </a:xfrm>
            <a:custGeom>
              <a:avLst/>
              <a:gdLst>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143359 h 1866625"/>
                <a:gd name="connsiteX30" fmla="*/ 21049 w 1455401"/>
                <a:gd name="connsiteY30" fmla="*/ 1033051 h 1866625"/>
                <a:gd name="connsiteX31" fmla="*/ 15633 w 1455401"/>
                <a:gd name="connsiteY31" fmla="*/ 1030526 h 1866625"/>
                <a:gd name="connsiteX32" fmla="*/ 0 w 1455401"/>
                <a:gd name="connsiteY32" fmla="*/ 1017423 h 1866625"/>
                <a:gd name="connsiteX33" fmla="*/ 1 w 1455401"/>
                <a:gd name="connsiteY33" fmla="*/ 296841 h 1866625"/>
                <a:gd name="connsiteX34" fmla="*/ 0 w 1455401"/>
                <a:gd name="connsiteY34" fmla="*/ 296838 h 1866625"/>
                <a:gd name="connsiteX35" fmla="*/ 1 w 1455401"/>
                <a:gd name="connsiteY35" fmla="*/ 296835 h 1866625"/>
                <a:gd name="connsiteX36" fmla="*/ 3758 w 1455401"/>
                <a:gd name="connsiteY36" fmla="*/ 266488 h 1866625"/>
                <a:gd name="connsiteX37" fmla="*/ 727700 w 1455401"/>
                <a:gd name="connsiteY3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033051 h 1866625"/>
                <a:gd name="connsiteX30" fmla="*/ 15633 w 1455401"/>
                <a:gd name="connsiteY30" fmla="*/ 1030526 h 1866625"/>
                <a:gd name="connsiteX31" fmla="*/ 0 w 1455401"/>
                <a:gd name="connsiteY31" fmla="*/ 1017423 h 1866625"/>
                <a:gd name="connsiteX32" fmla="*/ 1 w 1455401"/>
                <a:gd name="connsiteY32" fmla="*/ 296841 h 1866625"/>
                <a:gd name="connsiteX33" fmla="*/ 0 w 1455401"/>
                <a:gd name="connsiteY33" fmla="*/ 296838 h 1866625"/>
                <a:gd name="connsiteX34" fmla="*/ 1 w 1455401"/>
                <a:gd name="connsiteY34" fmla="*/ 296835 h 1866625"/>
                <a:gd name="connsiteX35" fmla="*/ 3758 w 1455401"/>
                <a:gd name="connsiteY35" fmla="*/ 266488 h 1866625"/>
                <a:gd name="connsiteX36" fmla="*/ 727700 w 1455401"/>
                <a:gd name="connsiteY3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15633 w 1455401"/>
                <a:gd name="connsiteY29" fmla="*/ 1030526 h 1866625"/>
                <a:gd name="connsiteX30" fmla="*/ 0 w 1455401"/>
                <a:gd name="connsiteY30" fmla="*/ 1017423 h 1866625"/>
                <a:gd name="connsiteX31" fmla="*/ 1 w 1455401"/>
                <a:gd name="connsiteY31" fmla="*/ 296841 h 1866625"/>
                <a:gd name="connsiteX32" fmla="*/ 0 w 1455401"/>
                <a:gd name="connsiteY32" fmla="*/ 296838 h 1866625"/>
                <a:gd name="connsiteX33" fmla="*/ 1 w 1455401"/>
                <a:gd name="connsiteY33" fmla="*/ 296835 h 1866625"/>
                <a:gd name="connsiteX34" fmla="*/ 3758 w 1455401"/>
                <a:gd name="connsiteY34" fmla="*/ 266488 h 1866625"/>
                <a:gd name="connsiteX35" fmla="*/ 727700 w 1455401"/>
                <a:gd name="connsiteY35"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0 w 1455401"/>
                <a:gd name="connsiteY29" fmla="*/ 1017423 h 1866625"/>
                <a:gd name="connsiteX30" fmla="*/ 1 w 1455401"/>
                <a:gd name="connsiteY30" fmla="*/ 296841 h 1866625"/>
                <a:gd name="connsiteX31" fmla="*/ 0 w 1455401"/>
                <a:gd name="connsiteY31" fmla="*/ 296838 h 1866625"/>
                <a:gd name="connsiteX32" fmla="*/ 1 w 1455401"/>
                <a:gd name="connsiteY32" fmla="*/ 296835 h 1866625"/>
                <a:gd name="connsiteX33" fmla="*/ 3758 w 1455401"/>
                <a:gd name="connsiteY33" fmla="*/ 266488 h 1866625"/>
                <a:gd name="connsiteX34" fmla="*/ 727700 w 1455401"/>
                <a:gd name="connsiteY34"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0 w 1455401"/>
                <a:gd name="connsiteY28" fmla="*/ 1017423 h 1866625"/>
                <a:gd name="connsiteX29" fmla="*/ 1 w 1455401"/>
                <a:gd name="connsiteY29" fmla="*/ 296841 h 1866625"/>
                <a:gd name="connsiteX30" fmla="*/ 0 w 1455401"/>
                <a:gd name="connsiteY30" fmla="*/ 296838 h 1866625"/>
                <a:gd name="connsiteX31" fmla="*/ 1 w 1455401"/>
                <a:gd name="connsiteY31" fmla="*/ 296835 h 1866625"/>
                <a:gd name="connsiteX32" fmla="*/ 3758 w 1455401"/>
                <a:gd name="connsiteY32" fmla="*/ 266488 h 1866625"/>
                <a:gd name="connsiteX33" fmla="*/ 727700 w 1455401"/>
                <a:gd name="connsiteY33"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 w 1455401"/>
                <a:gd name="connsiteY28" fmla="*/ 296841 h 1866625"/>
                <a:gd name="connsiteX29" fmla="*/ 0 w 1455401"/>
                <a:gd name="connsiteY29" fmla="*/ 296838 h 1866625"/>
                <a:gd name="connsiteX30" fmla="*/ 1 w 1455401"/>
                <a:gd name="connsiteY30" fmla="*/ 296835 h 1866625"/>
                <a:gd name="connsiteX31" fmla="*/ 3758 w 1455401"/>
                <a:gd name="connsiteY31" fmla="*/ 266488 h 1866625"/>
                <a:gd name="connsiteX32" fmla="*/ 727700 w 1455401"/>
                <a:gd name="connsiteY32"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296841 h 1866625"/>
                <a:gd name="connsiteX28" fmla="*/ 0 w 1455401"/>
                <a:gd name="connsiteY28" fmla="*/ 296838 h 1866625"/>
                <a:gd name="connsiteX29" fmla="*/ 1 w 1455401"/>
                <a:gd name="connsiteY29" fmla="*/ 296835 h 1866625"/>
                <a:gd name="connsiteX30" fmla="*/ 3758 w 1455401"/>
                <a:gd name="connsiteY30" fmla="*/ 266488 h 1866625"/>
                <a:gd name="connsiteX31" fmla="*/ 727700 w 1455401"/>
                <a:gd name="connsiteY31"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143359 h 1866625"/>
                <a:gd name="connsiteX13" fmla="*/ 1439768 w 1455401"/>
                <a:gd name="connsiteY13" fmla="*/ 1140834 h 1866625"/>
                <a:gd name="connsiteX14" fmla="*/ 1455401 w 1455401"/>
                <a:gd name="connsiteY14" fmla="*/ 1127732 h 1866625"/>
                <a:gd name="connsiteX15" fmla="*/ 1455401 w 1455401"/>
                <a:gd name="connsiteY15" fmla="*/ 1569784 h 1866625"/>
                <a:gd name="connsiteX16" fmla="*/ 1455401 w 1455401"/>
                <a:gd name="connsiteY16" fmla="*/ 1569787 h 1866625"/>
                <a:gd name="connsiteX17" fmla="*/ 1455401 w 1455401"/>
                <a:gd name="connsiteY17" fmla="*/ 1569790 h 1866625"/>
                <a:gd name="connsiteX18" fmla="*/ 1455401 w 1455401"/>
                <a:gd name="connsiteY18" fmla="*/ 1578767 h 1866625"/>
                <a:gd name="connsiteX19" fmla="*/ 1454289 w 1455401"/>
                <a:gd name="connsiteY19" fmla="*/ 1578767 h 1866625"/>
                <a:gd name="connsiteX20" fmla="*/ 1451644 w 1455401"/>
                <a:gd name="connsiteY20" fmla="*/ 1600137 h 1866625"/>
                <a:gd name="connsiteX21" fmla="*/ 727701 w 1455401"/>
                <a:gd name="connsiteY21" fmla="*/ 1866625 h 1866625"/>
                <a:gd name="connsiteX22" fmla="*/ 3758 w 1455401"/>
                <a:gd name="connsiteY22" fmla="*/ 1600137 h 1866625"/>
                <a:gd name="connsiteX23" fmla="*/ 1113 w 1455401"/>
                <a:gd name="connsiteY23" fmla="*/ 1578767 h 1866625"/>
                <a:gd name="connsiteX24" fmla="*/ 1 w 1455401"/>
                <a:gd name="connsiteY24" fmla="*/ 1578767 h 1866625"/>
                <a:gd name="connsiteX25" fmla="*/ 1 w 1455401"/>
                <a:gd name="connsiteY25" fmla="*/ 1569787 h 1866625"/>
                <a:gd name="connsiteX26" fmla="*/ 1 w 1455401"/>
                <a:gd name="connsiteY26" fmla="*/ 296841 h 1866625"/>
                <a:gd name="connsiteX27" fmla="*/ 0 w 1455401"/>
                <a:gd name="connsiteY27" fmla="*/ 296838 h 1866625"/>
                <a:gd name="connsiteX28" fmla="*/ 1 w 1455401"/>
                <a:gd name="connsiteY28" fmla="*/ 296835 h 1866625"/>
                <a:gd name="connsiteX29" fmla="*/ 3758 w 1455401"/>
                <a:gd name="connsiteY29" fmla="*/ 266488 h 1866625"/>
                <a:gd name="connsiteX30" fmla="*/ 727700 w 1455401"/>
                <a:gd name="connsiteY30"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4352 w 1455401"/>
                <a:gd name="connsiteY11" fmla="*/ 1143359 h 1866625"/>
                <a:gd name="connsiteX12" fmla="*/ 1439768 w 1455401"/>
                <a:gd name="connsiteY12" fmla="*/ 1140834 h 1866625"/>
                <a:gd name="connsiteX13" fmla="*/ 1455401 w 1455401"/>
                <a:gd name="connsiteY13" fmla="*/ 1127732 h 1866625"/>
                <a:gd name="connsiteX14" fmla="*/ 1455401 w 1455401"/>
                <a:gd name="connsiteY14" fmla="*/ 1569784 h 1866625"/>
                <a:gd name="connsiteX15" fmla="*/ 1455401 w 1455401"/>
                <a:gd name="connsiteY15" fmla="*/ 1569787 h 1866625"/>
                <a:gd name="connsiteX16" fmla="*/ 1455401 w 1455401"/>
                <a:gd name="connsiteY16" fmla="*/ 1569790 h 1866625"/>
                <a:gd name="connsiteX17" fmla="*/ 1455401 w 1455401"/>
                <a:gd name="connsiteY17" fmla="*/ 1578767 h 1866625"/>
                <a:gd name="connsiteX18" fmla="*/ 1454289 w 1455401"/>
                <a:gd name="connsiteY18" fmla="*/ 1578767 h 1866625"/>
                <a:gd name="connsiteX19" fmla="*/ 1451644 w 1455401"/>
                <a:gd name="connsiteY19" fmla="*/ 1600137 h 1866625"/>
                <a:gd name="connsiteX20" fmla="*/ 727701 w 1455401"/>
                <a:gd name="connsiteY20" fmla="*/ 1866625 h 1866625"/>
                <a:gd name="connsiteX21" fmla="*/ 3758 w 1455401"/>
                <a:gd name="connsiteY21" fmla="*/ 1600137 h 1866625"/>
                <a:gd name="connsiteX22" fmla="*/ 1113 w 1455401"/>
                <a:gd name="connsiteY22" fmla="*/ 1578767 h 1866625"/>
                <a:gd name="connsiteX23" fmla="*/ 1 w 1455401"/>
                <a:gd name="connsiteY23" fmla="*/ 1578767 h 1866625"/>
                <a:gd name="connsiteX24" fmla="*/ 1 w 1455401"/>
                <a:gd name="connsiteY24" fmla="*/ 1569787 h 1866625"/>
                <a:gd name="connsiteX25" fmla="*/ 1 w 1455401"/>
                <a:gd name="connsiteY25" fmla="*/ 296841 h 1866625"/>
                <a:gd name="connsiteX26" fmla="*/ 0 w 1455401"/>
                <a:gd name="connsiteY26" fmla="*/ 296838 h 1866625"/>
                <a:gd name="connsiteX27" fmla="*/ 1 w 1455401"/>
                <a:gd name="connsiteY27" fmla="*/ 296835 h 1866625"/>
                <a:gd name="connsiteX28" fmla="*/ 3758 w 1455401"/>
                <a:gd name="connsiteY28" fmla="*/ 266488 h 1866625"/>
                <a:gd name="connsiteX29" fmla="*/ 727700 w 1455401"/>
                <a:gd name="connsiteY29"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127732 h 1866625"/>
                <a:gd name="connsiteX13" fmla="*/ 1455401 w 1455401"/>
                <a:gd name="connsiteY13" fmla="*/ 1569784 h 1866625"/>
                <a:gd name="connsiteX14" fmla="*/ 1455401 w 1455401"/>
                <a:gd name="connsiteY14" fmla="*/ 1569787 h 1866625"/>
                <a:gd name="connsiteX15" fmla="*/ 1455401 w 1455401"/>
                <a:gd name="connsiteY15" fmla="*/ 1569790 h 1866625"/>
                <a:gd name="connsiteX16" fmla="*/ 1455401 w 1455401"/>
                <a:gd name="connsiteY16" fmla="*/ 1578767 h 1866625"/>
                <a:gd name="connsiteX17" fmla="*/ 1454289 w 1455401"/>
                <a:gd name="connsiteY17" fmla="*/ 1578767 h 1866625"/>
                <a:gd name="connsiteX18" fmla="*/ 1451644 w 1455401"/>
                <a:gd name="connsiteY18" fmla="*/ 1600137 h 1866625"/>
                <a:gd name="connsiteX19" fmla="*/ 727701 w 1455401"/>
                <a:gd name="connsiteY19" fmla="*/ 1866625 h 1866625"/>
                <a:gd name="connsiteX20" fmla="*/ 3758 w 1455401"/>
                <a:gd name="connsiteY20" fmla="*/ 1600137 h 1866625"/>
                <a:gd name="connsiteX21" fmla="*/ 1113 w 1455401"/>
                <a:gd name="connsiteY21" fmla="*/ 1578767 h 1866625"/>
                <a:gd name="connsiteX22" fmla="*/ 1 w 1455401"/>
                <a:gd name="connsiteY22" fmla="*/ 1578767 h 1866625"/>
                <a:gd name="connsiteX23" fmla="*/ 1 w 1455401"/>
                <a:gd name="connsiteY23" fmla="*/ 1569787 h 1866625"/>
                <a:gd name="connsiteX24" fmla="*/ 1 w 1455401"/>
                <a:gd name="connsiteY24" fmla="*/ 296841 h 1866625"/>
                <a:gd name="connsiteX25" fmla="*/ 0 w 1455401"/>
                <a:gd name="connsiteY25" fmla="*/ 296838 h 1866625"/>
                <a:gd name="connsiteX26" fmla="*/ 1 w 1455401"/>
                <a:gd name="connsiteY26" fmla="*/ 296835 h 1866625"/>
                <a:gd name="connsiteX27" fmla="*/ 3758 w 1455401"/>
                <a:gd name="connsiteY27" fmla="*/ 266488 h 1866625"/>
                <a:gd name="connsiteX28" fmla="*/ 727700 w 1455401"/>
                <a:gd name="connsiteY28"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569784 h 1866625"/>
                <a:gd name="connsiteX13" fmla="*/ 1455401 w 1455401"/>
                <a:gd name="connsiteY13" fmla="*/ 1569787 h 1866625"/>
                <a:gd name="connsiteX14" fmla="*/ 1455401 w 1455401"/>
                <a:gd name="connsiteY14" fmla="*/ 1569790 h 1866625"/>
                <a:gd name="connsiteX15" fmla="*/ 1455401 w 1455401"/>
                <a:gd name="connsiteY15" fmla="*/ 1578767 h 1866625"/>
                <a:gd name="connsiteX16" fmla="*/ 1454289 w 1455401"/>
                <a:gd name="connsiteY16" fmla="*/ 1578767 h 1866625"/>
                <a:gd name="connsiteX17" fmla="*/ 1451644 w 1455401"/>
                <a:gd name="connsiteY17" fmla="*/ 1600137 h 1866625"/>
                <a:gd name="connsiteX18" fmla="*/ 727701 w 1455401"/>
                <a:gd name="connsiteY18" fmla="*/ 1866625 h 1866625"/>
                <a:gd name="connsiteX19" fmla="*/ 3758 w 1455401"/>
                <a:gd name="connsiteY19" fmla="*/ 1600137 h 1866625"/>
                <a:gd name="connsiteX20" fmla="*/ 1113 w 1455401"/>
                <a:gd name="connsiteY20" fmla="*/ 1578767 h 1866625"/>
                <a:gd name="connsiteX21" fmla="*/ 1 w 1455401"/>
                <a:gd name="connsiteY21" fmla="*/ 1578767 h 1866625"/>
                <a:gd name="connsiteX22" fmla="*/ 1 w 1455401"/>
                <a:gd name="connsiteY22" fmla="*/ 1569787 h 1866625"/>
                <a:gd name="connsiteX23" fmla="*/ 1 w 1455401"/>
                <a:gd name="connsiteY23" fmla="*/ 296841 h 1866625"/>
                <a:gd name="connsiteX24" fmla="*/ 0 w 1455401"/>
                <a:gd name="connsiteY24" fmla="*/ 296838 h 1866625"/>
                <a:gd name="connsiteX25" fmla="*/ 1 w 1455401"/>
                <a:gd name="connsiteY25" fmla="*/ 296835 h 1866625"/>
                <a:gd name="connsiteX26" fmla="*/ 3758 w 1455401"/>
                <a:gd name="connsiteY26" fmla="*/ 266488 h 1866625"/>
                <a:gd name="connsiteX27" fmla="*/ 727700 w 1455401"/>
                <a:gd name="connsiteY2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55401 w 1455401"/>
                <a:gd name="connsiteY11" fmla="*/ 1569784 h 1866625"/>
                <a:gd name="connsiteX12" fmla="*/ 1455401 w 1455401"/>
                <a:gd name="connsiteY12" fmla="*/ 1569787 h 1866625"/>
                <a:gd name="connsiteX13" fmla="*/ 1455401 w 1455401"/>
                <a:gd name="connsiteY13" fmla="*/ 1569790 h 1866625"/>
                <a:gd name="connsiteX14" fmla="*/ 1455401 w 1455401"/>
                <a:gd name="connsiteY14" fmla="*/ 1578767 h 1866625"/>
                <a:gd name="connsiteX15" fmla="*/ 1454289 w 1455401"/>
                <a:gd name="connsiteY15" fmla="*/ 1578767 h 1866625"/>
                <a:gd name="connsiteX16" fmla="*/ 1451644 w 1455401"/>
                <a:gd name="connsiteY16" fmla="*/ 1600137 h 1866625"/>
                <a:gd name="connsiteX17" fmla="*/ 727701 w 1455401"/>
                <a:gd name="connsiteY17" fmla="*/ 1866625 h 1866625"/>
                <a:gd name="connsiteX18" fmla="*/ 3758 w 1455401"/>
                <a:gd name="connsiteY18" fmla="*/ 1600137 h 1866625"/>
                <a:gd name="connsiteX19" fmla="*/ 1113 w 1455401"/>
                <a:gd name="connsiteY19" fmla="*/ 1578767 h 1866625"/>
                <a:gd name="connsiteX20" fmla="*/ 1 w 1455401"/>
                <a:gd name="connsiteY20" fmla="*/ 1578767 h 1866625"/>
                <a:gd name="connsiteX21" fmla="*/ 1 w 1455401"/>
                <a:gd name="connsiteY21" fmla="*/ 1569787 h 1866625"/>
                <a:gd name="connsiteX22" fmla="*/ 1 w 1455401"/>
                <a:gd name="connsiteY22" fmla="*/ 296841 h 1866625"/>
                <a:gd name="connsiteX23" fmla="*/ 0 w 1455401"/>
                <a:gd name="connsiteY23" fmla="*/ 296838 h 1866625"/>
                <a:gd name="connsiteX24" fmla="*/ 1 w 1455401"/>
                <a:gd name="connsiteY24" fmla="*/ 296835 h 1866625"/>
                <a:gd name="connsiteX25" fmla="*/ 3758 w 1455401"/>
                <a:gd name="connsiteY25" fmla="*/ 266488 h 1866625"/>
                <a:gd name="connsiteX26" fmla="*/ 727700 w 1455401"/>
                <a:gd name="connsiteY2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569784 h 1866625"/>
                <a:gd name="connsiteX11" fmla="*/ 1455401 w 1455401"/>
                <a:gd name="connsiteY11" fmla="*/ 1569787 h 1866625"/>
                <a:gd name="connsiteX12" fmla="*/ 1455401 w 1455401"/>
                <a:gd name="connsiteY12" fmla="*/ 1569790 h 1866625"/>
                <a:gd name="connsiteX13" fmla="*/ 1455401 w 1455401"/>
                <a:gd name="connsiteY13" fmla="*/ 1578767 h 1866625"/>
                <a:gd name="connsiteX14" fmla="*/ 1454289 w 1455401"/>
                <a:gd name="connsiteY14" fmla="*/ 1578767 h 1866625"/>
                <a:gd name="connsiteX15" fmla="*/ 1451644 w 1455401"/>
                <a:gd name="connsiteY15" fmla="*/ 1600137 h 1866625"/>
                <a:gd name="connsiteX16" fmla="*/ 727701 w 1455401"/>
                <a:gd name="connsiteY16" fmla="*/ 1866625 h 1866625"/>
                <a:gd name="connsiteX17" fmla="*/ 3758 w 1455401"/>
                <a:gd name="connsiteY17" fmla="*/ 1600137 h 1866625"/>
                <a:gd name="connsiteX18" fmla="*/ 1113 w 1455401"/>
                <a:gd name="connsiteY18" fmla="*/ 1578767 h 1866625"/>
                <a:gd name="connsiteX19" fmla="*/ 1 w 1455401"/>
                <a:gd name="connsiteY19" fmla="*/ 1578767 h 1866625"/>
                <a:gd name="connsiteX20" fmla="*/ 1 w 1455401"/>
                <a:gd name="connsiteY20" fmla="*/ 1569787 h 1866625"/>
                <a:gd name="connsiteX21" fmla="*/ 1 w 1455401"/>
                <a:gd name="connsiteY21" fmla="*/ 296841 h 1866625"/>
                <a:gd name="connsiteX22" fmla="*/ 0 w 1455401"/>
                <a:gd name="connsiteY22" fmla="*/ 296838 h 1866625"/>
                <a:gd name="connsiteX23" fmla="*/ 1 w 1455401"/>
                <a:gd name="connsiteY23" fmla="*/ 296835 h 1866625"/>
                <a:gd name="connsiteX24" fmla="*/ 3758 w 1455401"/>
                <a:gd name="connsiteY24" fmla="*/ 266488 h 1866625"/>
                <a:gd name="connsiteX25" fmla="*/ 727700 w 1455401"/>
                <a:gd name="connsiteY25" fmla="*/ 0 h 1866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455401" h="1866625">
                  <a:moveTo>
                    <a:pt x="727701" y="107085"/>
                  </a:moveTo>
                  <a:cubicBezTo>
                    <a:pt x="450294" y="107085"/>
                    <a:pt x="225411" y="173087"/>
                    <a:pt x="225411" y="254506"/>
                  </a:cubicBezTo>
                  <a:cubicBezTo>
                    <a:pt x="225411" y="335924"/>
                    <a:pt x="450294" y="401926"/>
                    <a:pt x="727701" y="401926"/>
                  </a:cubicBezTo>
                  <a:cubicBezTo>
                    <a:pt x="1005108" y="401926"/>
                    <a:pt x="1229991" y="335924"/>
                    <a:pt x="1229991" y="254506"/>
                  </a:cubicBezTo>
                  <a:cubicBezTo>
                    <a:pt x="1229991" y="173087"/>
                    <a:pt x="1005108" y="107085"/>
                    <a:pt x="727701" y="107085"/>
                  </a:cubicBezTo>
                  <a:close/>
                  <a:moveTo>
                    <a:pt x="727700" y="0"/>
                  </a:moveTo>
                  <a:cubicBezTo>
                    <a:pt x="1104479" y="0"/>
                    <a:pt x="1414378" y="116806"/>
                    <a:pt x="1451644" y="266488"/>
                  </a:cubicBezTo>
                  <a:lnTo>
                    <a:pt x="1454289" y="287858"/>
                  </a:lnTo>
                  <a:lnTo>
                    <a:pt x="1455400" y="287858"/>
                  </a:lnTo>
                  <a:lnTo>
                    <a:pt x="1455400" y="296838"/>
                  </a:lnTo>
                  <a:cubicBezTo>
                    <a:pt x="1455400" y="510492"/>
                    <a:pt x="1455401" y="1357626"/>
                    <a:pt x="1455401" y="1569784"/>
                  </a:cubicBezTo>
                  <a:lnTo>
                    <a:pt x="1455401" y="1569787"/>
                  </a:lnTo>
                  <a:lnTo>
                    <a:pt x="1455401" y="1569790"/>
                  </a:lnTo>
                  <a:lnTo>
                    <a:pt x="1455401" y="1578767"/>
                  </a:lnTo>
                  <a:lnTo>
                    <a:pt x="1454289" y="1578767"/>
                  </a:lnTo>
                  <a:lnTo>
                    <a:pt x="1451644" y="1600137"/>
                  </a:lnTo>
                  <a:cubicBezTo>
                    <a:pt x="1414379" y="1749819"/>
                    <a:pt x="1104480" y="1866625"/>
                    <a:pt x="727701" y="1866625"/>
                  </a:cubicBezTo>
                  <a:cubicBezTo>
                    <a:pt x="350922" y="1866625"/>
                    <a:pt x="41024" y="1749819"/>
                    <a:pt x="3758" y="1600137"/>
                  </a:cubicBezTo>
                  <a:lnTo>
                    <a:pt x="1113" y="1578767"/>
                  </a:lnTo>
                  <a:lnTo>
                    <a:pt x="1" y="1578767"/>
                  </a:lnTo>
                  <a:lnTo>
                    <a:pt x="1" y="1569787"/>
                  </a:lnTo>
                  <a:lnTo>
                    <a:pt x="1" y="296841"/>
                  </a:lnTo>
                  <a:cubicBezTo>
                    <a:pt x="1" y="158359"/>
                    <a:pt x="0" y="296839"/>
                    <a:pt x="0" y="296838"/>
                  </a:cubicBezTo>
                  <a:cubicBezTo>
                    <a:pt x="0" y="296837"/>
                    <a:pt x="1" y="296836"/>
                    <a:pt x="1" y="296835"/>
                  </a:cubicBezTo>
                  <a:lnTo>
                    <a:pt x="3758" y="266488"/>
                  </a:lnTo>
                  <a:cubicBezTo>
                    <a:pt x="41023" y="116806"/>
                    <a:pt x="350921" y="0"/>
                    <a:pt x="727700" y="0"/>
                  </a:cubicBezTo>
                  <a:close/>
                </a:path>
              </a:pathLst>
            </a:cu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82880" rIns="0" bIns="146304" numCol="1" spcCol="0" rtlCol="0" fromWordArt="0" anchor="ctr"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r>
                <a:rPr kumimoji="0" lang="en-US" sz="9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Black" panose="020B0A02040204020203" pitchFamily="34" charset="0"/>
                  <a:ea typeface="Segoe UI Black" panose="020B0A02040204020203" pitchFamily="34" charset="0"/>
                  <a:cs typeface="Segoe UI Black" panose="020B0A02040204020203" pitchFamily="34" charset="0"/>
                </a:rPr>
                <a:t>ADL</a:t>
              </a:r>
            </a:p>
          </p:txBody>
        </p:sp>
        <p:grpSp>
          <p:nvGrpSpPr>
            <p:cNvPr id="464" name="Group 463"/>
            <p:cNvGrpSpPr/>
            <p:nvPr/>
          </p:nvGrpSpPr>
          <p:grpSpPr>
            <a:xfrm>
              <a:off x="6099771" y="5172753"/>
              <a:ext cx="599521" cy="402346"/>
              <a:chOff x="5598930" y="4436294"/>
              <a:chExt cx="601182" cy="403461"/>
            </a:xfrm>
          </p:grpSpPr>
          <p:grpSp>
            <p:nvGrpSpPr>
              <p:cNvPr id="456" name="Group 455"/>
              <p:cNvGrpSpPr/>
              <p:nvPr/>
            </p:nvGrpSpPr>
            <p:grpSpPr>
              <a:xfrm>
                <a:off x="5598930" y="4436294"/>
                <a:ext cx="601182" cy="403461"/>
                <a:chOff x="4391026" y="1773238"/>
                <a:chExt cx="3646488" cy="2447203"/>
              </a:xfrm>
            </p:grpSpPr>
            <p:sp>
              <p:nvSpPr>
                <p:cNvPr id="421" name="Rectangle 40"/>
                <p:cNvSpPr>
                  <a:spLocks noChangeArrowheads="1"/>
                </p:cNvSpPr>
                <p:nvPr/>
              </p:nvSpPr>
              <p:spPr bwMode="auto">
                <a:xfrm>
                  <a:off x="4492626" y="1870076"/>
                  <a:ext cx="3432175" cy="1893888"/>
                </a:xfrm>
                <a:prstGeom prst="rect">
                  <a:avLst/>
                </a:prstGeom>
                <a:solidFill>
                  <a:srgbClr val="F1F2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22" name="Rectangle 41"/>
                <p:cNvSpPr>
                  <a:spLocks noChangeArrowheads="1"/>
                </p:cNvSpPr>
                <p:nvPr/>
              </p:nvSpPr>
              <p:spPr bwMode="auto">
                <a:xfrm>
                  <a:off x="6135689" y="3802979"/>
                  <a:ext cx="157163" cy="388887"/>
                </a:xfrm>
                <a:prstGeom prst="rect">
                  <a:avLst/>
                </a:prstGeom>
                <a:solidFill>
                  <a:srgbClr val="231F2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23" name="Freeform 42"/>
                <p:cNvSpPr>
                  <a:spLocks noEditPoints="1"/>
                </p:cNvSpPr>
                <p:nvPr/>
              </p:nvSpPr>
              <p:spPr bwMode="auto">
                <a:xfrm>
                  <a:off x="4391026" y="1773238"/>
                  <a:ext cx="3646488" cy="2173288"/>
                </a:xfrm>
                <a:custGeom>
                  <a:avLst/>
                  <a:gdLst>
                    <a:gd name="T0" fmla="*/ 2060 w 2060"/>
                    <a:gd name="T1" fmla="*/ 67 h 1227"/>
                    <a:gd name="T2" fmla="*/ 1993 w 2060"/>
                    <a:gd name="T3" fmla="*/ 0 h 1227"/>
                    <a:gd name="T4" fmla="*/ 67 w 2060"/>
                    <a:gd name="T5" fmla="*/ 0 h 1227"/>
                    <a:gd name="T6" fmla="*/ 0 w 2060"/>
                    <a:gd name="T7" fmla="*/ 67 h 1227"/>
                    <a:gd name="T8" fmla="*/ 0 w 2060"/>
                    <a:gd name="T9" fmla="*/ 1160 h 1227"/>
                    <a:gd name="T10" fmla="*/ 67 w 2060"/>
                    <a:gd name="T11" fmla="*/ 1227 h 1227"/>
                    <a:gd name="T12" fmla="*/ 1993 w 2060"/>
                    <a:gd name="T13" fmla="*/ 1227 h 1227"/>
                    <a:gd name="T14" fmla="*/ 2060 w 2060"/>
                    <a:gd name="T15" fmla="*/ 1160 h 1227"/>
                    <a:gd name="T16" fmla="*/ 2060 w 2060"/>
                    <a:gd name="T17" fmla="*/ 67 h 1227"/>
                    <a:gd name="T18" fmla="*/ 1996 w 2060"/>
                    <a:gd name="T19" fmla="*/ 55 h 1227"/>
                    <a:gd name="T20" fmla="*/ 57 w 2060"/>
                    <a:gd name="T21" fmla="*/ 55 h 1227"/>
                    <a:gd name="T22" fmla="*/ 57 w 2060"/>
                    <a:gd name="T23" fmla="*/ 1124 h 1227"/>
                    <a:gd name="T24" fmla="*/ 1996 w 2060"/>
                    <a:gd name="T25" fmla="*/ 1124 h 1227"/>
                    <a:gd name="T26" fmla="*/ 1996 w 2060"/>
                    <a:gd name="T27" fmla="*/ 55 h 1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60" h="1227">
                      <a:moveTo>
                        <a:pt x="2060" y="67"/>
                      </a:moveTo>
                      <a:cubicBezTo>
                        <a:pt x="2060" y="30"/>
                        <a:pt x="2030" y="0"/>
                        <a:pt x="1993" y="0"/>
                      </a:cubicBezTo>
                      <a:cubicBezTo>
                        <a:pt x="67" y="0"/>
                        <a:pt x="67" y="0"/>
                        <a:pt x="67" y="0"/>
                      </a:cubicBezTo>
                      <a:cubicBezTo>
                        <a:pt x="30" y="0"/>
                        <a:pt x="0" y="30"/>
                        <a:pt x="0" y="67"/>
                      </a:cubicBezTo>
                      <a:cubicBezTo>
                        <a:pt x="0" y="1160"/>
                        <a:pt x="0" y="1160"/>
                        <a:pt x="0" y="1160"/>
                      </a:cubicBezTo>
                      <a:cubicBezTo>
                        <a:pt x="0" y="1197"/>
                        <a:pt x="30" y="1227"/>
                        <a:pt x="67" y="1227"/>
                      </a:cubicBezTo>
                      <a:cubicBezTo>
                        <a:pt x="1993" y="1227"/>
                        <a:pt x="1993" y="1227"/>
                        <a:pt x="1993" y="1227"/>
                      </a:cubicBezTo>
                      <a:cubicBezTo>
                        <a:pt x="2030" y="1227"/>
                        <a:pt x="2060" y="1197"/>
                        <a:pt x="2060" y="1160"/>
                      </a:cubicBezTo>
                      <a:lnTo>
                        <a:pt x="2060" y="67"/>
                      </a:lnTo>
                      <a:close/>
                      <a:moveTo>
                        <a:pt x="1996" y="55"/>
                      </a:moveTo>
                      <a:cubicBezTo>
                        <a:pt x="57" y="55"/>
                        <a:pt x="57" y="55"/>
                        <a:pt x="57" y="55"/>
                      </a:cubicBezTo>
                      <a:cubicBezTo>
                        <a:pt x="57" y="1124"/>
                        <a:pt x="57" y="1124"/>
                        <a:pt x="57" y="1124"/>
                      </a:cubicBezTo>
                      <a:cubicBezTo>
                        <a:pt x="1996" y="1124"/>
                        <a:pt x="1996" y="1124"/>
                        <a:pt x="1996" y="1124"/>
                      </a:cubicBezTo>
                      <a:lnTo>
                        <a:pt x="1996" y="55"/>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24" name="Rectangle 43"/>
                <p:cNvSpPr>
                  <a:spLocks noChangeArrowheads="1"/>
                </p:cNvSpPr>
                <p:nvPr/>
              </p:nvSpPr>
              <p:spPr bwMode="auto">
                <a:xfrm>
                  <a:off x="5303838" y="4113572"/>
                  <a:ext cx="1808164" cy="106869"/>
                </a:xfrm>
                <a:prstGeom prst="rect">
                  <a:avLst/>
                </a:prstGeom>
                <a:solidFill>
                  <a:srgbClr val="3333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sp>
            <p:nvSpPr>
              <p:cNvPr id="460" name="Freeform 182"/>
              <p:cNvSpPr/>
              <p:nvPr/>
            </p:nvSpPr>
            <p:spPr bwMode="auto">
              <a:xfrm>
                <a:off x="5807723" y="4484513"/>
                <a:ext cx="195118" cy="250249"/>
              </a:xfrm>
              <a:custGeom>
                <a:avLst/>
                <a:gdLst>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143359 h 1866625"/>
                  <a:gd name="connsiteX30" fmla="*/ 21049 w 1455401"/>
                  <a:gd name="connsiteY30" fmla="*/ 1033051 h 1866625"/>
                  <a:gd name="connsiteX31" fmla="*/ 15633 w 1455401"/>
                  <a:gd name="connsiteY31" fmla="*/ 1030526 h 1866625"/>
                  <a:gd name="connsiteX32" fmla="*/ 0 w 1455401"/>
                  <a:gd name="connsiteY32" fmla="*/ 1017423 h 1866625"/>
                  <a:gd name="connsiteX33" fmla="*/ 1 w 1455401"/>
                  <a:gd name="connsiteY33" fmla="*/ 296841 h 1866625"/>
                  <a:gd name="connsiteX34" fmla="*/ 0 w 1455401"/>
                  <a:gd name="connsiteY34" fmla="*/ 296838 h 1866625"/>
                  <a:gd name="connsiteX35" fmla="*/ 1 w 1455401"/>
                  <a:gd name="connsiteY35" fmla="*/ 296835 h 1866625"/>
                  <a:gd name="connsiteX36" fmla="*/ 3758 w 1455401"/>
                  <a:gd name="connsiteY36" fmla="*/ 266488 h 1866625"/>
                  <a:gd name="connsiteX37" fmla="*/ 727700 w 1455401"/>
                  <a:gd name="connsiteY3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033051 h 1866625"/>
                  <a:gd name="connsiteX30" fmla="*/ 15633 w 1455401"/>
                  <a:gd name="connsiteY30" fmla="*/ 1030526 h 1866625"/>
                  <a:gd name="connsiteX31" fmla="*/ 0 w 1455401"/>
                  <a:gd name="connsiteY31" fmla="*/ 1017423 h 1866625"/>
                  <a:gd name="connsiteX32" fmla="*/ 1 w 1455401"/>
                  <a:gd name="connsiteY32" fmla="*/ 296841 h 1866625"/>
                  <a:gd name="connsiteX33" fmla="*/ 0 w 1455401"/>
                  <a:gd name="connsiteY33" fmla="*/ 296838 h 1866625"/>
                  <a:gd name="connsiteX34" fmla="*/ 1 w 1455401"/>
                  <a:gd name="connsiteY34" fmla="*/ 296835 h 1866625"/>
                  <a:gd name="connsiteX35" fmla="*/ 3758 w 1455401"/>
                  <a:gd name="connsiteY35" fmla="*/ 266488 h 1866625"/>
                  <a:gd name="connsiteX36" fmla="*/ 727700 w 1455401"/>
                  <a:gd name="connsiteY3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15633 w 1455401"/>
                  <a:gd name="connsiteY29" fmla="*/ 1030526 h 1866625"/>
                  <a:gd name="connsiteX30" fmla="*/ 0 w 1455401"/>
                  <a:gd name="connsiteY30" fmla="*/ 1017423 h 1866625"/>
                  <a:gd name="connsiteX31" fmla="*/ 1 w 1455401"/>
                  <a:gd name="connsiteY31" fmla="*/ 296841 h 1866625"/>
                  <a:gd name="connsiteX32" fmla="*/ 0 w 1455401"/>
                  <a:gd name="connsiteY32" fmla="*/ 296838 h 1866625"/>
                  <a:gd name="connsiteX33" fmla="*/ 1 w 1455401"/>
                  <a:gd name="connsiteY33" fmla="*/ 296835 h 1866625"/>
                  <a:gd name="connsiteX34" fmla="*/ 3758 w 1455401"/>
                  <a:gd name="connsiteY34" fmla="*/ 266488 h 1866625"/>
                  <a:gd name="connsiteX35" fmla="*/ 727700 w 1455401"/>
                  <a:gd name="connsiteY35"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0 w 1455401"/>
                  <a:gd name="connsiteY29" fmla="*/ 1017423 h 1866625"/>
                  <a:gd name="connsiteX30" fmla="*/ 1 w 1455401"/>
                  <a:gd name="connsiteY30" fmla="*/ 296841 h 1866625"/>
                  <a:gd name="connsiteX31" fmla="*/ 0 w 1455401"/>
                  <a:gd name="connsiteY31" fmla="*/ 296838 h 1866625"/>
                  <a:gd name="connsiteX32" fmla="*/ 1 w 1455401"/>
                  <a:gd name="connsiteY32" fmla="*/ 296835 h 1866625"/>
                  <a:gd name="connsiteX33" fmla="*/ 3758 w 1455401"/>
                  <a:gd name="connsiteY33" fmla="*/ 266488 h 1866625"/>
                  <a:gd name="connsiteX34" fmla="*/ 727700 w 1455401"/>
                  <a:gd name="connsiteY34"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0 w 1455401"/>
                  <a:gd name="connsiteY28" fmla="*/ 1017423 h 1866625"/>
                  <a:gd name="connsiteX29" fmla="*/ 1 w 1455401"/>
                  <a:gd name="connsiteY29" fmla="*/ 296841 h 1866625"/>
                  <a:gd name="connsiteX30" fmla="*/ 0 w 1455401"/>
                  <a:gd name="connsiteY30" fmla="*/ 296838 h 1866625"/>
                  <a:gd name="connsiteX31" fmla="*/ 1 w 1455401"/>
                  <a:gd name="connsiteY31" fmla="*/ 296835 h 1866625"/>
                  <a:gd name="connsiteX32" fmla="*/ 3758 w 1455401"/>
                  <a:gd name="connsiteY32" fmla="*/ 266488 h 1866625"/>
                  <a:gd name="connsiteX33" fmla="*/ 727700 w 1455401"/>
                  <a:gd name="connsiteY33"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 w 1455401"/>
                  <a:gd name="connsiteY28" fmla="*/ 296841 h 1866625"/>
                  <a:gd name="connsiteX29" fmla="*/ 0 w 1455401"/>
                  <a:gd name="connsiteY29" fmla="*/ 296838 h 1866625"/>
                  <a:gd name="connsiteX30" fmla="*/ 1 w 1455401"/>
                  <a:gd name="connsiteY30" fmla="*/ 296835 h 1866625"/>
                  <a:gd name="connsiteX31" fmla="*/ 3758 w 1455401"/>
                  <a:gd name="connsiteY31" fmla="*/ 266488 h 1866625"/>
                  <a:gd name="connsiteX32" fmla="*/ 727700 w 1455401"/>
                  <a:gd name="connsiteY32"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296841 h 1866625"/>
                  <a:gd name="connsiteX28" fmla="*/ 0 w 1455401"/>
                  <a:gd name="connsiteY28" fmla="*/ 296838 h 1866625"/>
                  <a:gd name="connsiteX29" fmla="*/ 1 w 1455401"/>
                  <a:gd name="connsiteY29" fmla="*/ 296835 h 1866625"/>
                  <a:gd name="connsiteX30" fmla="*/ 3758 w 1455401"/>
                  <a:gd name="connsiteY30" fmla="*/ 266488 h 1866625"/>
                  <a:gd name="connsiteX31" fmla="*/ 727700 w 1455401"/>
                  <a:gd name="connsiteY31"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143359 h 1866625"/>
                  <a:gd name="connsiteX13" fmla="*/ 1439768 w 1455401"/>
                  <a:gd name="connsiteY13" fmla="*/ 1140834 h 1866625"/>
                  <a:gd name="connsiteX14" fmla="*/ 1455401 w 1455401"/>
                  <a:gd name="connsiteY14" fmla="*/ 1127732 h 1866625"/>
                  <a:gd name="connsiteX15" fmla="*/ 1455401 w 1455401"/>
                  <a:gd name="connsiteY15" fmla="*/ 1569784 h 1866625"/>
                  <a:gd name="connsiteX16" fmla="*/ 1455401 w 1455401"/>
                  <a:gd name="connsiteY16" fmla="*/ 1569787 h 1866625"/>
                  <a:gd name="connsiteX17" fmla="*/ 1455401 w 1455401"/>
                  <a:gd name="connsiteY17" fmla="*/ 1569790 h 1866625"/>
                  <a:gd name="connsiteX18" fmla="*/ 1455401 w 1455401"/>
                  <a:gd name="connsiteY18" fmla="*/ 1578767 h 1866625"/>
                  <a:gd name="connsiteX19" fmla="*/ 1454289 w 1455401"/>
                  <a:gd name="connsiteY19" fmla="*/ 1578767 h 1866625"/>
                  <a:gd name="connsiteX20" fmla="*/ 1451644 w 1455401"/>
                  <a:gd name="connsiteY20" fmla="*/ 1600137 h 1866625"/>
                  <a:gd name="connsiteX21" fmla="*/ 727701 w 1455401"/>
                  <a:gd name="connsiteY21" fmla="*/ 1866625 h 1866625"/>
                  <a:gd name="connsiteX22" fmla="*/ 3758 w 1455401"/>
                  <a:gd name="connsiteY22" fmla="*/ 1600137 h 1866625"/>
                  <a:gd name="connsiteX23" fmla="*/ 1113 w 1455401"/>
                  <a:gd name="connsiteY23" fmla="*/ 1578767 h 1866625"/>
                  <a:gd name="connsiteX24" fmla="*/ 1 w 1455401"/>
                  <a:gd name="connsiteY24" fmla="*/ 1578767 h 1866625"/>
                  <a:gd name="connsiteX25" fmla="*/ 1 w 1455401"/>
                  <a:gd name="connsiteY25" fmla="*/ 1569787 h 1866625"/>
                  <a:gd name="connsiteX26" fmla="*/ 1 w 1455401"/>
                  <a:gd name="connsiteY26" fmla="*/ 296841 h 1866625"/>
                  <a:gd name="connsiteX27" fmla="*/ 0 w 1455401"/>
                  <a:gd name="connsiteY27" fmla="*/ 296838 h 1866625"/>
                  <a:gd name="connsiteX28" fmla="*/ 1 w 1455401"/>
                  <a:gd name="connsiteY28" fmla="*/ 296835 h 1866625"/>
                  <a:gd name="connsiteX29" fmla="*/ 3758 w 1455401"/>
                  <a:gd name="connsiteY29" fmla="*/ 266488 h 1866625"/>
                  <a:gd name="connsiteX30" fmla="*/ 727700 w 1455401"/>
                  <a:gd name="connsiteY30"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4352 w 1455401"/>
                  <a:gd name="connsiteY11" fmla="*/ 1143359 h 1866625"/>
                  <a:gd name="connsiteX12" fmla="*/ 1439768 w 1455401"/>
                  <a:gd name="connsiteY12" fmla="*/ 1140834 h 1866625"/>
                  <a:gd name="connsiteX13" fmla="*/ 1455401 w 1455401"/>
                  <a:gd name="connsiteY13" fmla="*/ 1127732 h 1866625"/>
                  <a:gd name="connsiteX14" fmla="*/ 1455401 w 1455401"/>
                  <a:gd name="connsiteY14" fmla="*/ 1569784 h 1866625"/>
                  <a:gd name="connsiteX15" fmla="*/ 1455401 w 1455401"/>
                  <a:gd name="connsiteY15" fmla="*/ 1569787 h 1866625"/>
                  <a:gd name="connsiteX16" fmla="*/ 1455401 w 1455401"/>
                  <a:gd name="connsiteY16" fmla="*/ 1569790 h 1866625"/>
                  <a:gd name="connsiteX17" fmla="*/ 1455401 w 1455401"/>
                  <a:gd name="connsiteY17" fmla="*/ 1578767 h 1866625"/>
                  <a:gd name="connsiteX18" fmla="*/ 1454289 w 1455401"/>
                  <a:gd name="connsiteY18" fmla="*/ 1578767 h 1866625"/>
                  <a:gd name="connsiteX19" fmla="*/ 1451644 w 1455401"/>
                  <a:gd name="connsiteY19" fmla="*/ 1600137 h 1866625"/>
                  <a:gd name="connsiteX20" fmla="*/ 727701 w 1455401"/>
                  <a:gd name="connsiteY20" fmla="*/ 1866625 h 1866625"/>
                  <a:gd name="connsiteX21" fmla="*/ 3758 w 1455401"/>
                  <a:gd name="connsiteY21" fmla="*/ 1600137 h 1866625"/>
                  <a:gd name="connsiteX22" fmla="*/ 1113 w 1455401"/>
                  <a:gd name="connsiteY22" fmla="*/ 1578767 h 1866625"/>
                  <a:gd name="connsiteX23" fmla="*/ 1 w 1455401"/>
                  <a:gd name="connsiteY23" fmla="*/ 1578767 h 1866625"/>
                  <a:gd name="connsiteX24" fmla="*/ 1 w 1455401"/>
                  <a:gd name="connsiteY24" fmla="*/ 1569787 h 1866625"/>
                  <a:gd name="connsiteX25" fmla="*/ 1 w 1455401"/>
                  <a:gd name="connsiteY25" fmla="*/ 296841 h 1866625"/>
                  <a:gd name="connsiteX26" fmla="*/ 0 w 1455401"/>
                  <a:gd name="connsiteY26" fmla="*/ 296838 h 1866625"/>
                  <a:gd name="connsiteX27" fmla="*/ 1 w 1455401"/>
                  <a:gd name="connsiteY27" fmla="*/ 296835 h 1866625"/>
                  <a:gd name="connsiteX28" fmla="*/ 3758 w 1455401"/>
                  <a:gd name="connsiteY28" fmla="*/ 266488 h 1866625"/>
                  <a:gd name="connsiteX29" fmla="*/ 727700 w 1455401"/>
                  <a:gd name="connsiteY29"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127732 h 1866625"/>
                  <a:gd name="connsiteX13" fmla="*/ 1455401 w 1455401"/>
                  <a:gd name="connsiteY13" fmla="*/ 1569784 h 1866625"/>
                  <a:gd name="connsiteX14" fmla="*/ 1455401 w 1455401"/>
                  <a:gd name="connsiteY14" fmla="*/ 1569787 h 1866625"/>
                  <a:gd name="connsiteX15" fmla="*/ 1455401 w 1455401"/>
                  <a:gd name="connsiteY15" fmla="*/ 1569790 h 1866625"/>
                  <a:gd name="connsiteX16" fmla="*/ 1455401 w 1455401"/>
                  <a:gd name="connsiteY16" fmla="*/ 1578767 h 1866625"/>
                  <a:gd name="connsiteX17" fmla="*/ 1454289 w 1455401"/>
                  <a:gd name="connsiteY17" fmla="*/ 1578767 h 1866625"/>
                  <a:gd name="connsiteX18" fmla="*/ 1451644 w 1455401"/>
                  <a:gd name="connsiteY18" fmla="*/ 1600137 h 1866625"/>
                  <a:gd name="connsiteX19" fmla="*/ 727701 w 1455401"/>
                  <a:gd name="connsiteY19" fmla="*/ 1866625 h 1866625"/>
                  <a:gd name="connsiteX20" fmla="*/ 3758 w 1455401"/>
                  <a:gd name="connsiteY20" fmla="*/ 1600137 h 1866625"/>
                  <a:gd name="connsiteX21" fmla="*/ 1113 w 1455401"/>
                  <a:gd name="connsiteY21" fmla="*/ 1578767 h 1866625"/>
                  <a:gd name="connsiteX22" fmla="*/ 1 w 1455401"/>
                  <a:gd name="connsiteY22" fmla="*/ 1578767 h 1866625"/>
                  <a:gd name="connsiteX23" fmla="*/ 1 w 1455401"/>
                  <a:gd name="connsiteY23" fmla="*/ 1569787 h 1866625"/>
                  <a:gd name="connsiteX24" fmla="*/ 1 w 1455401"/>
                  <a:gd name="connsiteY24" fmla="*/ 296841 h 1866625"/>
                  <a:gd name="connsiteX25" fmla="*/ 0 w 1455401"/>
                  <a:gd name="connsiteY25" fmla="*/ 296838 h 1866625"/>
                  <a:gd name="connsiteX26" fmla="*/ 1 w 1455401"/>
                  <a:gd name="connsiteY26" fmla="*/ 296835 h 1866625"/>
                  <a:gd name="connsiteX27" fmla="*/ 3758 w 1455401"/>
                  <a:gd name="connsiteY27" fmla="*/ 266488 h 1866625"/>
                  <a:gd name="connsiteX28" fmla="*/ 727700 w 1455401"/>
                  <a:gd name="connsiteY28"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569784 h 1866625"/>
                  <a:gd name="connsiteX13" fmla="*/ 1455401 w 1455401"/>
                  <a:gd name="connsiteY13" fmla="*/ 1569787 h 1866625"/>
                  <a:gd name="connsiteX14" fmla="*/ 1455401 w 1455401"/>
                  <a:gd name="connsiteY14" fmla="*/ 1569790 h 1866625"/>
                  <a:gd name="connsiteX15" fmla="*/ 1455401 w 1455401"/>
                  <a:gd name="connsiteY15" fmla="*/ 1578767 h 1866625"/>
                  <a:gd name="connsiteX16" fmla="*/ 1454289 w 1455401"/>
                  <a:gd name="connsiteY16" fmla="*/ 1578767 h 1866625"/>
                  <a:gd name="connsiteX17" fmla="*/ 1451644 w 1455401"/>
                  <a:gd name="connsiteY17" fmla="*/ 1600137 h 1866625"/>
                  <a:gd name="connsiteX18" fmla="*/ 727701 w 1455401"/>
                  <a:gd name="connsiteY18" fmla="*/ 1866625 h 1866625"/>
                  <a:gd name="connsiteX19" fmla="*/ 3758 w 1455401"/>
                  <a:gd name="connsiteY19" fmla="*/ 1600137 h 1866625"/>
                  <a:gd name="connsiteX20" fmla="*/ 1113 w 1455401"/>
                  <a:gd name="connsiteY20" fmla="*/ 1578767 h 1866625"/>
                  <a:gd name="connsiteX21" fmla="*/ 1 w 1455401"/>
                  <a:gd name="connsiteY21" fmla="*/ 1578767 h 1866625"/>
                  <a:gd name="connsiteX22" fmla="*/ 1 w 1455401"/>
                  <a:gd name="connsiteY22" fmla="*/ 1569787 h 1866625"/>
                  <a:gd name="connsiteX23" fmla="*/ 1 w 1455401"/>
                  <a:gd name="connsiteY23" fmla="*/ 296841 h 1866625"/>
                  <a:gd name="connsiteX24" fmla="*/ 0 w 1455401"/>
                  <a:gd name="connsiteY24" fmla="*/ 296838 h 1866625"/>
                  <a:gd name="connsiteX25" fmla="*/ 1 w 1455401"/>
                  <a:gd name="connsiteY25" fmla="*/ 296835 h 1866625"/>
                  <a:gd name="connsiteX26" fmla="*/ 3758 w 1455401"/>
                  <a:gd name="connsiteY26" fmla="*/ 266488 h 1866625"/>
                  <a:gd name="connsiteX27" fmla="*/ 727700 w 1455401"/>
                  <a:gd name="connsiteY2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55401 w 1455401"/>
                  <a:gd name="connsiteY11" fmla="*/ 1569784 h 1866625"/>
                  <a:gd name="connsiteX12" fmla="*/ 1455401 w 1455401"/>
                  <a:gd name="connsiteY12" fmla="*/ 1569787 h 1866625"/>
                  <a:gd name="connsiteX13" fmla="*/ 1455401 w 1455401"/>
                  <a:gd name="connsiteY13" fmla="*/ 1569790 h 1866625"/>
                  <a:gd name="connsiteX14" fmla="*/ 1455401 w 1455401"/>
                  <a:gd name="connsiteY14" fmla="*/ 1578767 h 1866625"/>
                  <a:gd name="connsiteX15" fmla="*/ 1454289 w 1455401"/>
                  <a:gd name="connsiteY15" fmla="*/ 1578767 h 1866625"/>
                  <a:gd name="connsiteX16" fmla="*/ 1451644 w 1455401"/>
                  <a:gd name="connsiteY16" fmla="*/ 1600137 h 1866625"/>
                  <a:gd name="connsiteX17" fmla="*/ 727701 w 1455401"/>
                  <a:gd name="connsiteY17" fmla="*/ 1866625 h 1866625"/>
                  <a:gd name="connsiteX18" fmla="*/ 3758 w 1455401"/>
                  <a:gd name="connsiteY18" fmla="*/ 1600137 h 1866625"/>
                  <a:gd name="connsiteX19" fmla="*/ 1113 w 1455401"/>
                  <a:gd name="connsiteY19" fmla="*/ 1578767 h 1866625"/>
                  <a:gd name="connsiteX20" fmla="*/ 1 w 1455401"/>
                  <a:gd name="connsiteY20" fmla="*/ 1578767 h 1866625"/>
                  <a:gd name="connsiteX21" fmla="*/ 1 w 1455401"/>
                  <a:gd name="connsiteY21" fmla="*/ 1569787 h 1866625"/>
                  <a:gd name="connsiteX22" fmla="*/ 1 w 1455401"/>
                  <a:gd name="connsiteY22" fmla="*/ 296841 h 1866625"/>
                  <a:gd name="connsiteX23" fmla="*/ 0 w 1455401"/>
                  <a:gd name="connsiteY23" fmla="*/ 296838 h 1866625"/>
                  <a:gd name="connsiteX24" fmla="*/ 1 w 1455401"/>
                  <a:gd name="connsiteY24" fmla="*/ 296835 h 1866625"/>
                  <a:gd name="connsiteX25" fmla="*/ 3758 w 1455401"/>
                  <a:gd name="connsiteY25" fmla="*/ 266488 h 1866625"/>
                  <a:gd name="connsiteX26" fmla="*/ 727700 w 1455401"/>
                  <a:gd name="connsiteY2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569784 h 1866625"/>
                  <a:gd name="connsiteX11" fmla="*/ 1455401 w 1455401"/>
                  <a:gd name="connsiteY11" fmla="*/ 1569787 h 1866625"/>
                  <a:gd name="connsiteX12" fmla="*/ 1455401 w 1455401"/>
                  <a:gd name="connsiteY12" fmla="*/ 1569790 h 1866625"/>
                  <a:gd name="connsiteX13" fmla="*/ 1455401 w 1455401"/>
                  <a:gd name="connsiteY13" fmla="*/ 1578767 h 1866625"/>
                  <a:gd name="connsiteX14" fmla="*/ 1454289 w 1455401"/>
                  <a:gd name="connsiteY14" fmla="*/ 1578767 h 1866625"/>
                  <a:gd name="connsiteX15" fmla="*/ 1451644 w 1455401"/>
                  <a:gd name="connsiteY15" fmla="*/ 1600137 h 1866625"/>
                  <a:gd name="connsiteX16" fmla="*/ 727701 w 1455401"/>
                  <a:gd name="connsiteY16" fmla="*/ 1866625 h 1866625"/>
                  <a:gd name="connsiteX17" fmla="*/ 3758 w 1455401"/>
                  <a:gd name="connsiteY17" fmla="*/ 1600137 h 1866625"/>
                  <a:gd name="connsiteX18" fmla="*/ 1113 w 1455401"/>
                  <a:gd name="connsiteY18" fmla="*/ 1578767 h 1866625"/>
                  <a:gd name="connsiteX19" fmla="*/ 1 w 1455401"/>
                  <a:gd name="connsiteY19" fmla="*/ 1578767 h 1866625"/>
                  <a:gd name="connsiteX20" fmla="*/ 1 w 1455401"/>
                  <a:gd name="connsiteY20" fmla="*/ 1569787 h 1866625"/>
                  <a:gd name="connsiteX21" fmla="*/ 1 w 1455401"/>
                  <a:gd name="connsiteY21" fmla="*/ 296841 h 1866625"/>
                  <a:gd name="connsiteX22" fmla="*/ 0 w 1455401"/>
                  <a:gd name="connsiteY22" fmla="*/ 296838 h 1866625"/>
                  <a:gd name="connsiteX23" fmla="*/ 1 w 1455401"/>
                  <a:gd name="connsiteY23" fmla="*/ 296835 h 1866625"/>
                  <a:gd name="connsiteX24" fmla="*/ 3758 w 1455401"/>
                  <a:gd name="connsiteY24" fmla="*/ 266488 h 1866625"/>
                  <a:gd name="connsiteX25" fmla="*/ 727700 w 1455401"/>
                  <a:gd name="connsiteY25" fmla="*/ 0 h 1866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455401" h="1866625">
                    <a:moveTo>
                      <a:pt x="727701" y="107085"/>
                    </a:moveTo>
                    <a:cubicBezTo>
                      <a:pt x="450294" y="107085"/>
                      <a:pt x="225411" y="173087"/>
                      <a:pt x="225411" y="254506"/>
                    </a:cubicBezTo>
                    <a:cubicBezTo>
                      <a:pt x="225411" y="335924"/>
                      <a:pt x="450294" y="401926"/>
                      <a:pt x="727701" y="401926"/>
                    </a:cubicBezTo>
                    <a:cubicBezTo>
                      <a:pt x="1005108" y="401926"/>
                      <a:pt x="1229991" y="335924"/>
                      <a:pt x="1229991" y="254506"/>
                    </a:cubicBezTo>
                    <a:cubicBezTo>
                      <a:pt x="1229991" y="173087"/>
                      <a:pt x="1005108" y="107085"/>
                      <a:pt x="727701" y="107085"/>
                    </a:cubicBezTo>
                    <a:close/>
                    <a:moveTo>
                      <a:pt x="727700" y="0"/>
                    </a:moveTo>
                    <a:cubicBezTo>
                      <a:pt x="1104479" y="0"/>
                      <a:pt x="1414378" y="116806"/>
                      <a:pt x="1451644" y="266488"/>
                    </a:cubicBezTo>
                    <a:lnTo>
                      <a:pt x="1454289" y="287858"/>
                    </a:lnTo>
                    <a:lnTo>
                      <a:pt x="1455400" y="287858"/>
                    </a:lnTo>
                    <a:lnTo>
                      <a:pt x="1455400" y="296838"/>
                    </a:lnTo>
                    <a:cubicBezTo>
                      <a:pt x="1455400" y="510492"/>
                      <a:pt x="1455401" y="1357626"/>
                      <a:pt x="1455401" y="1569784"/>
                    </a:cubicBezTo>
                    <a:lnTo>
                      <a:pt x="1455401" y="1569787"/>
                    </a:lnTo>
                    <a:lnTo>
                      <a:pt x="1455401" y="1569790"/>
                    </a:lnTo>
                    <a:lnTo>
                      <a:pt x="1455401" y="1578767"/>
                    </a:lnTo>
                    <a:lnTo>
                      <a:pt x="1454289" y="1578767"/>
                    </a:lnTo>
                    <a:lnTo>
                      <a:pt x="1451644" y="1600137"/>
                    </a:lnTo>
                    <a:cubicBezTo>
                      <a:pt x="1414379" y="1749819"/>
                      <a:pt x="1104480" y="1866625"/>
                      <a:pt x="727701" y="1866625"/>
                    </a:cubicBezTo>
                    <a:cubicBezTo>
                      <a:pt x="350922" y="1866625"/>
                      <a:pt x="41024" y="1749819"/>
                      <a:pt x="3758" y="1600137"/>
                    </a:cubicBezTo>
                    <a:lnTo>
                      <a:pt x="1113" y="1578767"/>
                    </a:lnTo>
                    <a:lnTo>
                      <a:pt x="1" y="1578767"/>
                    </a:lnTo>
                    <a:lnTo>
                      <a:pt x="1" y="1569787"/>
                    </a:lnTo>
                    <a:lnTo>
                      <a:pt x="1" y="296841"/>
                    </a:lnTo>
                    <a:cubicBezTo>
                      <a:pt x="1" y="158359"/>
                      <a:pt x="0" y="296839"/>
                      <a:pt x="0" y="296838"/>
                    </a:cubicBezTo>
                    <a:cubicBezTo>
                      <a:pt x="0" y="296837"/>
                      <a:pt x="1" y="296836"/>
                      <a:pt x="1" y="296835"/>
                    </a:cubicBezTo>
                    <a:lnTo>
                      <a:pt x="3758" y="266488"/>
                    </a:lnTo>
                    <a:cubicBezTo>
                      <a:pt x="41023" y="116806"/>
                      <a:pt x="350921" y="0"/>
                      <a:pt x="727700" y="0"/>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5720" rIns="0" bIns="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r>
                  <a:rPr kumimoji="0" lang="en-US" sz="7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Black" panose="020B0A02040204020203" pitchFamily="34" charset="0"/>
                    <a:ea typeface="Segoe UI Black" panose="020B0A02040204020203" pitchFamily="34" charset="0"/>
                    <a:cs typeface="Segoe UI Black" panose="020B0A02040204020203" pitchFamily="34" charset="0"/>
                  </a:rPr>
                  <a:t>VM</a:t>
                </a:r>
              </a:p>
            </p:txBody>
          </p:sp>
        </p:grpSp>
      </p:grpSp>
      <p:grpSp>
        <p:nvGrpSpPr>
          <p:cNvPr id="246" name="Group 245"/>
          <p:cNvGrpSpPr/>
          <p:nvPr/>
        </p:nvGrpSpPr>
        <p:grpSpPr>
          <a:xfrm>
            <a:off x="7000736" y="1616813"/>
            <a:ext cx="4732480" cy="3080769"/>
            <a:chOff x="12257314" y="514233"/>
            <a:chExt cx="4282176" cy="2787628"/>
          </a:xfrm>
        </p:grpSpPr>
        <p:sp>
          <p:nvSpPr>
            <p:cNvPr id="6" name="Rectangle 5"/>
            <p:cNvSpPr/>
            <p:nvPr/>
          </p:nvSpPr>
          <p:spPr bwMode="auto">
            <a:xfrm>
              <a:off x="12257314" y="2092898"/>
              <a:ext cx="509451" cy="254592"/>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5439">
                      <a:srgbClr val="F8F8F8"/>
                    </a:gs>
                    <a:gs pos="10000">
                      <a:srgbClr val="F8F8F8"/>
                    </a:gs>
                  </a:gsLst>
                  <a:lin ang="5400000" scaled="0"/>
                </a:gradFill>
                <a:effectLst/>
                <a:uLnTx/>
                <a:uFillTx/>
              </a:endParaRPr>
            </a:p>
          </p:txBody>
        </p:sp>
        <p:sp>
          <p:nvSpPr>
            <p:cNvPr id="120" name="Rectangle 119"/>
            <p:cNvSpPr/>
            <p:nvPr/>
          </p:nvSpPr>
          <p:spPr bwMode="auto">
            <a:xfrm>
              <a:off x="13847428" y="966477"/>
              <a:ext cx="509451" cy="254592"/>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5439">
                      <a:srgbClr val="F8F8F8"/>
                    </a:gs>
                    <a:gs pos="10000">
                      <a:srgbClr val="F8F8F8"/>
                    </a:gs>
                  </a:gsLst>
                  <a:lin ang="5400000" scaled="0"/>
                </a:gradFill>
                <a:effectLst/>
                <a:uLnTx/>
                <a:uFillTx/>
              </a:endParaRPr>
            </a:p>
          </p:txBody>
        </p:sp>
        <p:sp>
          <p:nvSpPr>
            <p:cNvPr id="121" name="Rectangle 120"/>
            <p:cNvSpPr/>
            <p:nvPr/>
          </p:nvSpPr>
          <p:spPr bwMode="auto">
            <a:xfrm>
              <a:off x="13709225" y="2092898"/>
              <a:ext cx="509451" cy="254592"/>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5439">
                      <a:srgbClr val="F8F8F8"/>
                    </a:gs>
                    <a:gs pos="10000">
                      <a:srgbClr val="F8F8F8"/>
                    </a:gs>
                  </a:gsLst>
                  <a:lin ang="5400000" scaled="0"/>
                </a:gradFill>
                <a:effectLst/>
                <a:uLnTx/>
                <a:uFillTx/>
              </a:endParaRPr>
            </a:p>
          </p:txBody>
        </p:sp>
        <p:sp>
          <p:nvSpPr>
            <p:cNvPr id="122" name="Rectangle 121"/>
            <p:cNvSpPr/>
            <p:nvPr/>
          </p:nvSpPr>
          <p:spPr bwMode="auto">
            <a:xfrm>
              <a:off x="15294201" y="514233"/>
              <a:ext cx="509451" cy="254592"/>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5439">
                      <a:srgbClr val="F8F8F8"/>
                    </a:gs>
                    <a:gs pos="10000">
                      <a:srgbClr val="F8F8F8"/>
                    </a:gs>
                  </a:gsLst>
                  <a:lin ang="5400000" scaled="0"/>
                </a:gradFill>
                <a:effectLst/>
                <a:uLnTx/>
                <a:uFillTx/>
              </a:endParaRPr>
            </a:p>
          </p:txBody>
        </p:sp>
        <p:sp>
          <p:nvSpPr>
            <p:cNvPr id="123" name="Rectangle 122"/>
            <p:cNvSpPr/>
            <p:nvPr/>
          </p:nvSpPr>
          <p:spPr bwMode="auto">
            <a:xfrm>
              <a:off x="15294201" y="966477"/>
              <a:ext cx="509451" cy="254592"/>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5439">
                      <a:srgbClr val="F8F8F8"/>
                    </a:gs>
                    <a:gs pos="10000">
                      <a:srgbClr val="F8F8F8"/>
                    </a:gs>
                  </a:gsLst>
                  <a:lin ang="5400000" scaled="0"/>
                </a:gradFill>
                <a:effectLst/>
                <a:uLnTx/>
                <a:uFillTx/>
              </a:endParaRPr>
            </a:p>
          </p:txBody>
        </p:sp>
        <p:sp>
          <p:nvSpPr>
            <p:cNvPr id="124" name="Rectangle 123"/>
            <p:cNvSpPr/>
            <p:nvPr/>
          </p:nvSpPr>
          <p:spPr bwMode="auto">
            <a:xfrm>
              <a:off x="15294201" y="1379108"/>
              <a:ext cx="509451" cy="254592"/>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5439">
                      <a:srgbClr val="F8F8F8"/>
                    </a:gs>
                    <a:gs pos="10000">
                      <a:srgbClr val="F8F8F8"/>
                    </a:gs>
                  </a:gsLst>
                  <a:lin ang="5400000" scaled="0"/>
                </a:gradFill>
                <a:effectLst/>
                <a:uLnTx/>
                <a:uFillTx/>
              </a:endParaRPr>
            </a:p>
          </p:txBody>
        </p:sp>
        <p:sp>
          <p:nvSpPr>
            <p:cNvPr id="125" name="Rectangle 124"/>
            <p:cNvSpPr/>
            <p:nvPr/>
          </p:nvSpPr>
          <p:spPr bwMode="auto">
            <a:xfrm>
              <a:off x="15294201" y="2887049"/>
              <a:ext cx="509451" cy="254592"/>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5439">
                      <a:srgbClr val="F8F8F8"/>
                    </a:gs>
                    <a:gs pos="10000">
                      <a:srgbClr val="F8F8F8"/>
                    </a:gs>
                  </a:gsLst>
                  <a:lin ang="5400000" scaled="0"/>
                </a:gradFill>
                <a:effectLst/>
                <a:uLnTx/>
                <a:uFillTx/>
              </a:endParaRPr>
            </a:p>
          </p:txBody>
        </p:sp>
        <p:sp>
          <p:nvSpPr>
            <p:cNvPr id="126" name="Rectangle 125"/>
            <p:cNvSpPr/>
            <p:nvPr/>
          </p:nvSpPr>
          <p:spPr bwMode="auto">
            <a:xfrm>
              <a:off x="12981545" y="1143145"/>
              <a:ext cx="509451" cy="160220"/>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5439">
                      <a:srgbClr val="F8F8F8"/>
                    </a:gs>
                    <a:gs pos="10000">
                      <a:srgbClr val="F8F8F8"/>
                    </a:gs>
                  </a:gsLst>
                  <a:lin ang="5400000" scaled="0"/>
                </a:gradFill>
                <a:effectLst/>
                <a:uLnTx/>
                <a:uFillTx/>
              </a:endParaRPr>
            </a:p>
          </p:txBody>
        </p:sp>
        <p:sp>
          <p:nvSpPr>
            <p:cNvPr id="127" name="Rectangle 126"/>
            <p:cNvSpPr/>
            <p:nvPr/>
          </p:nvSpPr>
          <p:spPr bwMode="auto">
            <a:xfrm>
              <a:off x="12981544" y="1682883"/>
              <a:ext cx="509451" cy="160220"/>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5439">
                      <a:srgbClr val="F8F8F8"/>
                    </a:gs>
                    <a:gs pos="10000">
                      <a:srgbClr val="F8F8F8"/>
                    </a:gs>
                  </a:gsLst>
                  <a:lin ang="5400000" scaled="0"/>
                </a:gradFill>
                <a:effectLst/>
                <a:uLnTx/>
                <a:uFillTx/>
              </a:endParaRPr>
            </a:p>
          </p:txBody>
        </p:sp>
        <p:sp>
          <p:nvSpPr>
            <p:cNvPr id="128" name="Rectangle 127"/>
            <p:cNvSpPr/>
            <p:nvPr/>
          </p:nvSpPr>
          <p:spPr bwMode="auto">
            <a:xfrm>
              <a:off x="12981543" y="2140084"/>
              <a:ext cx="509451" cy="160220"/>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5439">
                      <a:srgbClr val="F8F8F8"/>
                    </a:gs>
                    <a:gs pos="10000">
                      <a:srgbClr val="F8F8F8"/>
                    </a:gs>
                  </a:gsLst>
                  <a:lin ang="5400000" scaled="0"/>
                </a:gradFill>
                <a:effectLst/>
                <a:uLnTx/>
                <a:uFillTx/>
              </a:endParaRPr>
            </a:p>
          </p:txBody>
        </p:sp>
        <p:sp>
          <p:nvSpPr>
            <p:cNvPr id="129" name="Rectangle 128"/>
            <p:cNvSpPr/>
            <p:nvPr/>
          </p:nvSpPr>
          <p:spPr bwMode="auto">
            <a:xfrm>
              <a:off x="12981542" y="2642017"/>
              <a:ext cx="509451" cy="160220"/>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5439">
                      <a:srgbClr val="F8F8F8"/>
                    </a:gs>
                    <a:gs pos="10000">
                      <a:srgbClr val="F8F8F8"/>
                    </a:gs>
                  </a:gsLst>
                  <a:lin ang="5400000" scaled="0"/>
                </a:gradFill>
                <a:effectLst/>
                <a:uLnTx/>
                <a:uFillTx/>
              </a:endParaRPr>
            </a:p>
          </p:txBody>
        </p:sp>
        <p:sp>
          <p:nvSpPr>
            <p:cNvPr id="130" name="Rectangle 129"/>
            <p:cNvSpPr/>
            <p:nvPr/>
          </p:nvSpPr>
          <p:spPr bwMode="auto">
            <a:xfrm>
              <a:off x="12981541" y="3141641"/>
              <a:ext cx="509451" cy="160220"/>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5439">
                      <a:srgbClr val="F8F8F8"/>
                    </a:gs>
                    <a:gs pos="10000">
                      <a:srgbClr val="F8F8F8"/>
                    </a:gs>
                  </a:gsLst>
                  <a:lin ang="5400000" scaled="0"/>
                </a:gradFill>
                <a:effectLst/>
                <a:uLnTx/>
                <a:uFillTx/>
              </a:endParaRPr>
            </a:p>
          </p:txBody>
        </p:sp>
        <p:sp>
          <p:nvSpPr>
            <p:cNvPr id="131" name="Rectangle 130"/>
            <p:cNvSpPr/>
            <p:nvPr/>
          </p:nvSpPr>
          <p:spPr bwMode="auto">
            <a:xfrm>
              <a:off x="14566521" y="561419"/>
              <a:ext cx="509451" cy="160220"/>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5439">
                      <a:srgbClr val="F8F8F8"/>
                    </a:gs>
                    <a:gs pos="10000">
                      <a:srgbClr val="F8F8F8"/>
                    </a:gs>
                  </a:gsLst>
                  <a:lin ang="5400000" scaled="0"/>
                </a:gradFill>
                <a:effectLst/>
                <a:uLnTx/>
                <a:uFillTx/>
              </a:endParaRPr>
            </a:p>
          </p:txBody>
        </p:sp>
        <p:sp>
          <p:nvSpPr>
            <p:cNvPr id="132" name="Rectangle 131"/>
            <p:cNvSpPr/>
            <p:nvPr/>
          </p:nvSpPr>
          <p:spPr bwMode="auto">
            <a:xfrm>
              <a:off x="14566520" y="1013663"/>
              <a:ext cx="509451" cy="160220"/>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5439">
                      <a:srgbClr val="F8F8F8"/>
                    </a:gs>
                    <a:gs pos="10000">
                      <a:srgbClr val="F8F8F8"/>
                    </a:gs>
                  </a:gsLst>
                  <a:lin ang="5400000" scaled="0"/>
                </a:gradFill>
                <a:effectLst/>
                <a:uLnTx/>
                <a:uFillTx/>
              </a:endParaRPr>
            </a:p>
          </p:txBody>
        </p:sp>
        <p:sp>
          <p:nvSpPr>
            <p:cNvPr id="134" name="Rectangle 133"/>
            <p:cNvSpPr/>
            <p:nvPr/>
          </p:nvSpPr>
          <p:spPr bwMode="auto">
            <a:xfrm>
              <a:off x="14566518" y="1426294"/>
              <a:ext cx="509451" cy="160220"/>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5439">
                      <a:srgbClr val="F8F8F8"/>
                    </a:gs>
                    <a:gs pos="10000">
                      <a:srgbClr val="F8F8F8"/>
                    </a:gs>
                  </a:gsLst>
                  <a:lin ang="5400000" scaled="0"/>
                </a:gradFill>
                <a:effectLst/>
                <a:uLnTx/>
                <a:uFillTx/>
              </a:endParaRPr>
            </a:p>
          </p:txBody>
        </p:sp>
        <p:sp>
          <p:nvSpPr>
            <p:cNvPr id="135" name="Rectangle 134"/>
            <p:cNvSpPr/>
            <p:nvPr/>
          </p:nvSpPr>
          <p:spPr bwMode="auto">
            <a:xfrm>
              <a:off x="14566517" y="2140084"/>
              <a:ext cx="509451" cy="160220"/>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5439">
                      <a:srgbClr val="F8F8F8"/>
                    </a:gs>
                    <a:gs pos="10000">
                      <a:srgbClr val="F8F8F8"/>
                    </a:gs>
                  </a:gsLst>
                  <a:lin ang="5400000" scaled="0"/>
                </a:gradFill>
                <a:effectLst/>
                <a:uLnTx/>
                <a:uFillTx/>
              </a:endParaRPr>
            </a:p>
          </p:txBody>
        </p:sp>
        <p:sp>
          <p:nvSpPr>
            <p:cNvPr id="136" name="Rectangle 135"/>
            <p:cNvSpPr/>
            <p:nvPr/>
          </p:nvSpPr>
          <p:spPr bwMode="auto">
            <a:xfrm>
              <a:off x="16030039" y="561419"/>
              <a:ext cx="509451" cy="160220"/>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5439">
                      <a:srgbClr val="F8F8F8"/>
                    </a:gs>
                    <a:gs pos="10000">
                      <a:srgbClr val="F8F8F8"/>
                    </a:gs>
                  </a:gsLst>
                  <a:lin ang="5400000" scaled="0"/>
                </a:gradFill>
                <a:effectLst/>
                <a:uLnTx/>
                <a:uFillTx/>
              </a:endParaRPr>
            </a:p>
          </p:txBody>
        </p:sp>
        <p:sp>
          <p:nvSpPr>
            <p:cNvPr id="137" name="Rectangle 136"/>
            <p:cNvSpPr/>
            <p:nvPr/>
          </p:nvSpPr>
          <p:spPr bwMode="auto">
            <a:xfrm>
              <a:off x="16030038" y="1013663"/>
              <a:ext cx="509451" cy="160220"/>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5439">
                      <a:srgbClr val="F8F8F8"/>
                    </a:gs>
                    <a:gs pos="10000">
                      <a:srgbClr val="F8F8F8"/>
                    </a:gs>
                  </a:gsLst>
                  <a:lin ang="5400000" scaled="0"/>
                </a:gradFill>
                <a:effectLst/>
                <a:uLnTx/>
                <a:uFillTx/>
              </a:endParaRPr>
            </a:p>
          </p:txBody>
        </p:sp>
        <p:sp>
          <p:nvSpPr>
            <p:cNvPr id="138" name="Rectangle 137"/>
            <p:cNvSpPr/>
            <p:nvPr/>
          </p:nvSpPr>
          <p:spPr bwMode="auto">
            <a:xfrm>
              <a:off x="16030037" y="1426294"/>
              <a:ext cx="509451" cy="160220"/>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5439">
                      <a:srgbClr val="F8F8F8"/>
                    </a:gs>
                    <a:gs pos="10000">
                      <a:srgbClr val="F8F8F8"/>
                    </a:gs>
                  </a:gsLst>
                  <a:lin ang="5400000" scaled="0"/>
                </a:gradFill>
                <a:effectLst/>
                <a:uLnTx/>
                <a:uFillTx/>
              </a:endParaRPr>
            </a:p>
          </p:txBody>
        </p:sp>
        <p:sp>
          <p:nvSpPr>
            <p:cNvPr id="140" name="Rectangle 139"/>
            <p:cNvSpPr/>
            <p:nvPr/>
          </p:nvSpPr>
          <p:spPr bwMode="auto">
            <a:xfrm>
              <a:off x="14566517" y="2934235"/>
              <a:ext cx="509451" cy="160220"/>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5439">
                      <a:srgbClr val="F8F8F8"/>
                    </a:gs>
                    <a:gs pos="10000">
                      <a:srgbClr val="F8F8F8"/>
                    </a:gs>
                  </a:gsLst>
                  <a:lin ang="5400000" scaled="0"/>
                </a:gradFill>
                <a:effectLst/>
                <a:uLnTx/>
                <a:uFillTx/>
              </a:endParaRPr>
            </a:p>
          </p:txBody>
        </p:sp>
        <p:sp>
          <p:nvSpPr>
            <p:cNvPr id="142" name="Rectangle 141"/>
            <p:cNvSpPr/>
            <p:nvPr/>
          </p:nvSpPr>
          <p:spPr bwMode="auto">
            <a:xfrm>
              <a:off x="16030037" y="2934235"/>
              <a:ext cx="509451" cy="160220"/>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5439">
                      <a:srgbClr val="F8F8F8"/>
                    </a:gs>
                    <a:gs pos="10000">
                      <a:srgbClr val="F8F8F8"/>
                    </a:gs>
                  </a:gsLst>
                  <a:lin ang="5400000" scaled="0"/>
                </a:gradFill>
                <a:effectLst/>
                <a:uLnTx/>
                <a:uFillTx/>
              </a:endParaRPr>
            </a:p>
          </p:txBody>
        </p:sp>
        <p:cxnSp>
          <p:nvCxnSpPr>
            <p:cNvPr id="9" name="Straight Arrow Connector 8"/>
            <p:cNvCxnSpPr>
              <a:stCxn id="6" idx="3"/>
              <a:endCxn id="128" idx="1"/>
            </p:cNvCxnSpPr>
            <p:nvPr/>
          </p:nvCxnSpPr>
          <p:spPr>
            <a:xfrm>
              <a:off x="12766765" y="2220194"/>
              <a:ext cx="214778" cy="0"/>
            </a:xfrm>
            <a:prstGeom prst="straightConnector1">
              <a:avLst/>
            </a:prstGeom>
            <a:ln w="127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1" name="Straight Arrow Connector 10"/>
            <p:cNvCxnSpPr>
              <a:stCxn id="6" idx="0"/>
              <a:endCxn id="127" idx="1"/>
            </p:cNvCxnSpPr>
            <p:nvPr/>
          </p:nvCxnSpPr>
          <p:spPr>
            <a:xfrm flipV="1">
              <a:off x="12512040" y="1762993"/>
              <a:ext cx="469504" cy="329905"/>
            </a:xfrm>
            <a:prstGeom prst="straightConnector1">
              <a:avLst/>
            </a:prstGeom>
            <a:ln w="127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3" name="Straight Arrow Connector 12"/>
            <p:cNvCxnSpPr>
              <a:stCxn id="6" idx="0"/>
            </p:cNvCxnSpPr>
            <p:nvPr/>
          </p:nvCxnSpPr>
          <p:spPr>
            <a:xfrm flipV="1">
              <a:off x="12512040" y="1303365"/>
              <a:ext cx="587672" cy="789533"/>
            </a:xfrm>
            <a:prstGeom prst="straightConnector1">
              <a:avLst/>
            </a:prstGeom>
            <a:ln w="127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5" name="Straight Arrow Connector 14"/>
            <p:cNvCxnSpPr>
              <a:stCxn id="6" idx="2"/>
              <a:endCxn id="129" idx="1"/>
            </p:cNvCxnSpPr>
            <p:nvPr/>
          </p:nvCxnSpPr>
          <p:spPr>
            <a:xfrm>
              <a:off x="12512040" y="2347490"/>
              <a:ext cx="469502" cy="374637"/>
            </a:xfrm>
            <a:prstGeom prst="straightConnector1">
              <a:avLst/>
            </a:prstGeom>
            <a:ln w="127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7" name="Straight Arrow Connector 16"/>
            <p:cNvCxnSpPr>
              <a:stCxn id="6" idx="2"/>
            </p:cNvCxnSpPr>
            <p:nvPr/>
          </p:nvCxnSpPr>
          <p:spPr>
            <a:xfrm>
              <a:off x="12512040" y="2347490"/>
              <a:ext cx="587672" cy="794151"/>
            </a:xfrm>
            <a:prstGeom prst="straightConnector1">
              <a:avLst/>
            </a:prstGeom>
            <a:ln w="127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0" name="Straight Arrow Connector 19"/>
            <p:cNvCxnSpPr>
              <a:stCxn id="120" idx="3"/>
              <a:endCxn id="132" idx="1"/>
            </p:cNvCxnSpPr>
            <p:nvPr/>
          </p:nvCxnSpPr>
          <p:spPr>
            <a:xfrm>
              <a:off x="14356879" y="1093773"/>
              <a:ext cx="209641" cy="0"/>
            </a:xfrm>
            <a:prstGeom prst="straightConnector1">
              <a:avLst/>
            </a:prstGeom>
            <a:ln w="127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3" name="Straight Arrow Connector 22"/>
            <p:cNvCxnSpPr>
              <a:stCxn id="120" idx="0"/>
              <a:endCxn id="131" idx="1"/>
            </p:cNvCxnSpPr>
            <p:nvPr/>
          </p:nvCxnSpPr>
          <p:spPr>
            <a:xfrm flipV="1">
              <a:off x="14102154" y="641529"/>
              <a:ext cx="464367" cy="324948"/>
            </a:xfrm>
            <a:prstGeom prst="straightConnector1">
              <a:avLst/>
            </a:prstGeom>
            <a:ln w="127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51" name="Straight Arrow Connector 450"/>
            <p:cNvCxnSpPr>
              <a:endCxn id="135" idx="1"/>
            </p:cNvCxnSpPr>
            <p:nvPr/>
          </p:nvCxnSpPr>
          <p:spPr>
            <a:xfrm flipV="1">
              <a:off x="14218676" y="2220194"/>
              <a:ext cx="347841" cy="2309"/>
            </a:xfrm>
            <a:prstGeom prst="straightConnector1">
              <a:avLst/>
            </a:prstGeom>
            <a:ln w="127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53" name="Straight Arrow Connector 452"/>
            <p:cNvCxnSpPr>
              <a:endCxn id="134" idx="1"/>
            </p:cNvCxnSpPr>
            <p:nvPr/>
          </p:nvCxnSpPr>
          <p:spPr>
            <a:xfrm flipV="1">
              <a:off x="14133506" y="1506404"/>
              <a:ext cx="433012" cy="588805"/>
            </a:xfrm>
            <a:prstGeom prst="straightConnector1">
              <a:avLst/>
            </a:prstGeom>
            <a:ln w="127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61" name="Straight Arrow Connector 460"/>
            <p:cNvCxnSpPr/>
            <p:nvPr/>
          </p:nvCxnSpPr>
          <p:spPr>
            <a:xfrm>
              <a:off x="15075968" y="3014345"/>
              <a:ext cx="218233" cy="0"/>
            </a:xfrm>
            <a:prstGeom prst="straightConnector1">
              <a:avLst/>
            </a:prstGeom>
            <a:ln w="127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63" name="Straight Arrow Connector 462"/>
            <p:cNvCxnSpPr/>
            <p:nvPr/>
          </p:nvCxnSpPr>
          <p:spPr>
            <a:xfrm>
              <a:off x="15803652" y="3014345"/>
              <a:ext cx="226385" cy="0"/>
            </a:xfrm>
            <a:prstGeom prst="straightConnector1">
              <a:avLst/>
            </a:prstGeom>
            <a:ln w="127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66" name="Straight Arrow Connector 465"/>
            <p:cNvCxnSpPr/>
            <p:nvPr/>
          </p:nvCxnSpPr>
          <p:spPr>
            <a:xfrm>
              <a:off x="15803652" y="1506404"/>
              <a:ext cx="226385" cy="0"/>
            </a:xfrm>
            <a:prstGeom prst="straightConnector1">
              <a:avLst/>
            </a:prstGeom>
            <a:ln w="127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68" name="Straight Arrow Connector 467"/>
            <p:cNvCxnSpPr/>
            <p:nvPr/>
          </p:nvCxnSpPr>
          <p:spPr>
            <a:xfrm>
              <a:off x="15803652" y="1093773"/>
              <a:ext cx="226386" cy="0"/>
            </a:xfrm>
            <a:prstGeom prst="straightConnector1">
              <a:avLst/>
            </a:prstGeom>
            <a:ln w="127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70" name="Straight Arrow Connector 469"/>
            <p:cNvCxnSpPr/>
            <p:nvPr/>
          </p:nvCxnSpPr>
          <p:spPr>
            <a:xfrm>
              <a:off x="15803652" y="641529"/>
              <a:ext cx="226387" cy="0"/>
            </a:xfrm>
            <a:prstGeom prst="straightConnector1">
              <a:avLst/>
            </a:prstGeom>
            <a:ln w="127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74" name="Straight Arrow Connector 473"/>
            <p:cNvCxnSpPr/>
            <p:nvPr/>
          </p:nvCxnSpPr>
          <p:spPr>
            <a:xfrm>
              <a:off x="15075972" y="641529"/>
              <a:ext cx="218229" cy="0"/>
            </a:xfrm>
            <a:prstGeom prst="straightConnector1">
              <a:avLst/>
            </a:prstGeom>
            <a:ln w="127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76" name="Straight Arrow Connector 475"/>
            <p:cNvCxnSpPr/>
            <p:nvPr/>
          </p:nvCxnSpPr>
          <p:spPr>
            <a:xfrm>
              <a:off x="15075971" y="1093773"/>
              <a:ext cx="218230" cy="0"/>
            </a:xfrm>
            <a:prstGeom prst="straightConnector1">
              <a:avLst/>
            </a:prstGeom>
            <a:ln w="127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78" name="Straight Arrow Connector 477"/>
            <p:cNvCxnSpPr/>
            <p:nvPr/>
          </p:nvCxnSpPr>
          <p:spPr>
            <a:xfrm>
              <a:off x="15075971" y="1132666"/>
              <a:ext cx="330036" cy="250199"/>
            </a:xfrm>
            <a:prstGeom prst="straightConnector1">
              <a:avLst/>
            </a:prstGeom>
            <a:ln w="127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56" name="Straight Arrow Connector 255"/>
            <p:cNvCxnSpPr/>
            <p:nvPr/>
          </p:nvCxnSpPr>
          <p:spPr>
            <a:xfrm>
              <a:off x="15075972" y="680422"/>
              <a:ext cx="320510" cy="290948"/>
            </a:xfrm>
            <a:prstGeom prst="straightConnector1">
              <a:avLst/>
            </a:prstGeom>
            <a:ln w="127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219" name="Rectangle 218"/>
            <p:cNvSpPr/>
            <p:nvPr/>
          </p:nvSpPr>
          <p:spPr bwMode="auto">
            <a:xfrm>
              <a:off x="15294201" y="2092898"/>
              <a:ext cx="509451" cy="254592"/>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5439">
                      <a:srgbClr val="F8F8F8"/>
                    </a:gs>
                    <a:gs pos="10000">
                      <a:srgbClr val="F8F8F8"/>
                    </a:gs>
                  </a:gsLst>
                  <a:lin ang="5400000" scaled="0"/>
                </a:gradFill>
                <a:effectLst/>
                <a:uLnTx/>
                <a:uFillTx/>
              </a:endParaRPr>
            </a:p>
          </p:txBody>
        </p:sp>
        <p:cxnSp>
          <p:nvCxnSpPr>
            <p:cNvPr id="221" name="Straight Arrow Connector 220"/>
            <p:cNvCxnSpPr/>
            <p:nvPr/>
          </p:nvCxnSpPr>
          <p:spPr>
            <a:xfrm>
              <a:off x="15075969" y="1506404"/>
              <a:ext cx="218232" cy="0"/>
            </a:xfrm>
            <a:prstGeom prst="straightConnector1">
              <a:avLst/>
            </a:prstGeom>
            <a:ln w="127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22" name="Straight Arrow Connector 221"/>
            <p:cNvCxnSpPr>
              <a:stCxn id="134" idx="2"/>
              <a:endCxn id="219" idx="0"/>
            </p:cNvCxnSpPr>
            <p:nvPr/>
          </p:nvCxnSpPr>
          <p:spPr>
            <a:xfrm>
              <a:off x="14821244" y="1586514"/>
              <a:ext cx="727683" cy="506384"/>
            </a:xfrm>
            <a:prstGeom prst="straightConnector1">
              <a:avLst/>
            </a:prstGeom>
            <a:ln w="127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27" name="Straight Arrow Connector 226"/>
            <p:cNvCxnSpPr>
              <a:stCxn id="135" idx="3"/>
              <a:endCxn id="219" idx="1"/>
            </p:cNvCxnSpPr>
            <p:nvPr/>
          </p:nvCxnSpPr>
          <p:spPr>
            <a:xfrm>
              <a:off x="15075968" y="2220194"/>
              <a:ext cx="218233" cy="0"/>
            </a:xfrm>
            <a:prstGeom prst="straightConnector1">
              <a:avLst/>
            </a:prstGeom>
            <a:ln w="127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30" name="Straight Arrow Connector 229"/>
            <p:cNvCxnSpPr>
              <a:stCxn id="135" idx="0"/>
              <a:endCxn id="124" idx="2"/>
            </p:cNvCxnSpPr>
            <p:nvPr/>
          </p:nvCxnSpPr>
          <p:spPr>
            <a:xfrm flipV="1">
              <a:off x="14821243" y="1633700"/>
              <a:ext cx="727684" cy="506384"/>
            </a:xfrm>
            <a:prstGeom prst="straightConnector1">
              <a:avLst/>
            </a:prstGeom>
            <a:ln w="127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244" name="Rectangle 243"/>
            <p:cNvSpPr/>
            <p:nvPr/>
          </p:nvSpPr>
          <p:spPr bwMode="auto">
            <a:xfrm>
              <a:off x="16030037" y="2140084"/>
              <a:ext cx="509451" cy="160220"/>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5439">
                      <a:srgbClr val="F8F8F8"/>
                    </a:gs>
                    <a:gs pos="10000">
                      <a:srgbClr val="F8F8F8"/>
                    </a:gs>
                  </a:gsLst>
                  <a:lin ang="5400000" scaled="0"/>
                </a:gradFill>
                <a:effectLst/>
                <a:uLnTx/>
                <a:uFillTx/>
              </a:endParaRPr>
            </a:p>
          </p:txBody>
        </p:sp>
        <p:cxnSp>
          <p:nvCxnSpPr>
            <p:cNvPr id="245" name="Straight Arrow Connector 244"/>
            <p:cNvCxnSpPr>
              <a:stCxn id="219" idx="3"/>
              <a:endCxn id="244" idx="1"/>
            </p:cNvCxnSpPr>
            <p:nvPr/>
          </p:nvCxnSpPr>
          <p:spPr>
            <a:xfrm>
              <a:off x="15803652" y="2220194"/>
              <a:ext cx="226385" cy="0"/>
            </a:xfrm>
            <a:prstGeom prst="straightConnector1">
              <a:avLst/>
            </a:prstGeom>
            <a:ln w="127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16" name="Straight Arrow Connector 315"/>
            <p:cNvCxnSpPr>
              <a:endCxn id="121" idx="0"/>
            </p:cNvCxnSpPr>
            <p:nvPr/>
          </p:nvCxnSpPr>
          <p:spPr>
            <a:xfrm>
              <a:off x="13354826" y="1303365"/>
              <a:ext cx="609125" cy="789533"/>
            </a:xfrm>
            <a:prstGeom prst="straightConnector1">
              <a:avLst/>
            </a:prstGeom>
            <a:ln w="127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18" name="Straight Arrow Connector 317"/>
            <p:cNvCxnSpPr>
              <a:stCxn id="127" idx="3"/>
            </p:cNvCxnSpPr>
            <p:nvPr/>
          </p:nvCxnSpPr>
          <p:spPr>
            <a:xfrm>
              <a:off x="13490995" y="1762993"/>
              <a:ext cx="335425" cy="331358"/>
            </a:xfrm>
            <a:prstGeom prst="straightConnector1">
              <a:avLst/>
            </a:prstGeom>
            <a:ln w="127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64" name="Straight Arrow Connector 63"/>
            <p:cNvCxnSpPr>
              <a:stCxn id="128" idx="3"/>
              <a:endCxn id="121" idx="1"/>
            </p:cNvCxnSpPr>
            <p:nvPr/>
          </p:nvCxnSpPr>
          <p:spPr>
            <a:xfrm>
              <a:off x="13490994" y="2220194"/>
              <a:ext cx="218231" cy="0"/>
            </a:xfrm>
            <a:prstGeom prst="straightConnector1">
              <a:avLst/>
            </a:prstGeom>
            <a:ln w="127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66" name="Straight Arrow Connector 65"/>
            <p:cNvCxnSpPr>
              <a:stCxn id="129" idx="3"/>
            </p:cNvCxnSpPr>
            <p:nvPr/>
          </p:nvCxnSpPr>
          <p:spPr>
            <a:xfrm flipV="1">
              <a:off x="13490993" y="2349799"/>
              <a:ext cx="371188" cy="372328"/>
            </a:xfrm>
            <a:prstGeom prst="straightConnector1">
              <a:avLst/>
            </a:prstGeom>
            <a:ln w="127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68" name="Straight Arrow Connector 67"/>
            <p:cNvCxnSpPr>
              <a:endCxn id="121" idx="2"/>
            </p:cNvCxnSpPr>
            <p:nvPr/>
          </p:nvCxnSpPr>
          <p:spPr>
            <a:xfrm flipV="1">
              <a:off x="13354826" y="2347490"/>
              <a:ext cx="609125" cy="794151"/>
            </a:xfrm>
            <a:prstGeom prst="straightConnector1">
              <a:avLst/>
            </a:prstGeom>
            <a:ln w="127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255" name="Rectangle 254"/>
            <p:cNvSpPr/>
            <p:nvPr/>
          </p:nvSpPr>
          <p:spPr bwMode="auto">
            <a:xfrm>
              <a:off x="14566517" y="2535963"/>
              <a:ext cx="509451" cy="160220"/>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5439">
                      <a:srgbClr val="F8F8F8"/>
                    </a:gs>
                    <a:gs pos="10000">
                      <a:srgbClr val="F8F8F8"/>
                    </a:gs>
                  </a:gsLst>
                  <a:lin ang="5400000" scaled="0"/>
                </a:gradFill>
                <a:effectLst/>
                <a:uLnTx/>
                <a:uFillTx/>
              </a:endParaRPr>
            </a:p>
          </p:txBody>
        </p:sp>
        <p:cxnSp>
          <p:nvCxnSpPr>
            <p:cNvPr id="261" name="Straight Arrow Connector 260"/>
            <p:cNvCxnSpPr>
              <a:endCxn id="255" idx="1"/>
            </p:cNvCxnSpPr>
            <p:nvPr/>
          </p:nvCxnSpPr>
          <p:spPr>
            <a:xfrm>
              <a:off x="14218676" y="2274224"/>
              <a:ext cx="347841" cy="341849"/>
            </a:xfrm>
            <a:prstGeom prst="straightConnector1">
              <a:avLst/>
            </a:prstGeom>
            <a:ln w="127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72093599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zure Data Factory </a:t>
            </a:r>
            <a:br>
              <a:rPr lang="en-US" dirty="0"/>
            </a:br>
            <a:endParaRPr lang="en-US" dirty="0"/>
          </a:p>
        </p:txBody>
      </p:sp>
      <p:sp>
        <p:nvSpPr>
          <p:cNvPr id="4" name="TextBox 3"/>
          <p:cNvSpPr txBox="1"/>
          <p:nvPr/>
        </p:nvSpPr>
        <p:spPr>
          <a:xfrm>
            <a:off x="20034" y="6412706"/>
            <a:ext cx="5490079" cy="442007"/>
          </a:xfrm>
          <a:prstGeom prst="rect">
            <a:avLst/>
          </a:prstGeom>
          <a:noFill/>
        </p:spPr>
        <p:txBody>
          <a:bodyPr wrap="none" lIns="179285" tIns="143428" rIns="179285" bIns="143428" rtlCol="0">
            <a:spAutoFit/>
          </a:bodyPr>
          <a:lstStyle/>
          <a:p>
            <a:pPr marL="0" marR="0" lvl="0" indent="0" defTabSz="896386" eaLnBrk="1" fontAlgn="auto" latinLnBrk="0" hangingPunct="1">
              <a:lnSpc>
                <a:spcPct val="90000"/>
              </a:lnSpc>
              <a:spcBef>
                <a:spcPts val="0"/>
              </a:spcBef>
              <a:spcAft>
                <a:spcPts val="588"/>
              </a:spcAft>
              <a:buClrTx/>
              <a:buSzTx/>
              <a:buFontTx/>
              <a:buNone/>
              <a:tabLst/>
              <a:defRPr/>
            </a:pPr>
            <a:r>
              <a:rPr kumimoji="0" lang="en-US" sz="1100" b="0" i="0" u="none" strike="noStrike" kern="0" cap="none" spc="0" normalizeH="0" baseline="0" noProof="0" dirty="0">
                <a:ln>
                  <a:noFill/>
                </a:ln>
                <a:solidFill>
                  <a:schemeClr val="bg1"/>
                </a:solidFill>
                <a:effectLst/>
                <a:uLnTx/>
                <a:uFillTx/>
              </a:rPr>
              <a:t>* Can be on-premises or on Azure IaaS, enabled using Data Management Gateway</a:t>
            </a:r>
          </a:p>
        </p:txBody>
      </p:sp>
      <p:sp>
        <p:nvSpPr>
          <p:cNvPr id="5" name="Rectangle 4"/>
          <p:cNvSpPr/>
          <p:nvPr/>
        </p:nvSpPr>
        <p:spPr>
          <a:xfrm>
            <a:off x="269239" y="1026416"/>
            <a:ext cx="6823891" cy="418191"/>
          </a:xfrm>
          <a:prstGeom prst="rect">
            <a:avLst/>
          </a:prstGeom>
        </p:spPr>
        <p:txBody>
          <a:bodyPr wrap="square">
            <a:spAutoFit/>
          </a:bodyPr>
          <a:lstStyle/>
          <a:p>
            <a:pPr marL="0" marR="0" lvl="0" indent="0" defTabSz="895509" eaLnBrk="1" fontAlgn="base" latinLnBrk="0" hangingPunct="1">
              <a:lnSpc>
                <a:spcPct val="90000"/>
              </a:lnSpc>
              <a:spcBef>
                <a:spcPct val="0"/>
              </a:spcBef>
              <a:spcAft>
                <a:spcPct val="0"/>
              </a:spcAft>
              <a:buClrTx/>
              <a:buSzTx/>
              <a:buFontTx/>
              <a:buNone/>
              <a:tabLst/>
              <a:defRPr/>
            </a:pPr>
            <a:r>
              <a:rPr kumimoji="0" lang="en-US" sz="2353" b="0" i="0" u="none" strike="noStrike" kern="0" cap="none" spc="0" normalizeH="0" baseline="0" noProof="0" dirty="0">
                <a:ln w="3175">
                  <a:noFill/>
                </a:ln>
                <a:solidFill>
                  <a:schemeClr val="accent1"/>
                </a:solidFill>
                <a:effectLst/>
                <a:uLnTx/>
                <a:uFillTx/>
                <a:latin typeface="+mj-lt"/>
                <a:ea typeface="ＭＳ Ｐゴシック" charset="0"/>
                <a:cs typeface="Segoe UI" pitchFamily="34" charset="0"/>
              </a:rPr>
              <a:t>Connects ADL Store out-of-the-box to all your stores</a:t>
            </a:r>
          </a:p>
        </p:txBody>
      </p:sp>
      <p:graphicFrame>
        <p:nvGraphicFramePr>
          <p:cNvPr id="6" name="Table 5"/>
          <p:cNvGraphicFramePr>
            <a:graphicFrameLocks noGrp="1"/>
          </p:cNvGraphicFramePr>
          <p:nvPr>
            <p:extLst/>
          </p:nvPr>
        </p:nvGraphicFramePr>
        <p:xfrm>
          <a:off x="5114259" y="1743725"/>
          <a:ext cx="6762931" cy="4924412"/>
        </p:xfrm>
        <a:graphic>
          <a:graphicData uri="http://schemas.openxmlformats.org/drawingml/2006/table">
            <a:tbl>
              <a:tblPr firstRow="1" bandRow="1">
                <a:solidFill>
                  <a:schemeClr val="bg2"/>
                </a:solidFill>
                <a:tableStyleId>{5940675A-B579-460E-94D1-54222C63F5DA}</a:tableStyleId>
              </a:tblPr>
              <a:tblGrid>
                <a:gridCol w="1538144">
                  <a:extLst>
                    <a:ext uri="{9D8B030D-6E8A-4147-A177-3AD203B41FA5}">
                      <a16:colId xmlns:a16="http://schemas.microsoft.com/office/drawing/2014/main" val="1667991835"/>
                    </a:ext>
                  </a:extLst>
                </a:gridCol>
                <a:gridCol w="2639501">
                  <a:extLst>
                    <a:ext uri="{9D8B030D-6E8A-4147-A177-3AD203B41FA5}">
                      <a16:colId xmlns:a16="http://schemas.microsoft.com/office/drawing/2014/main" val="2970466184"/>
                    </a:ext>
                  </a:extLst>
                </a:gridCol>
                <a:gridCol w="1242572">
                  <a:extLst>
                    <a:ext uri="{9D8B030D-6E8A-4147-A177-3AD203B41FA5}">
                      <a16:colId xmlns:a16="http://schemas.microsoft.com/office/drawing/2014/main" val="943482249"/>
                    </a:ext>
                  </a:extLst>
                </a:gridCol>
                <a:gridCol w="1342714">
                  <a:extLst>
                    <a:ext uri="{9D8B030D-6E8A-4147-A177-3AD203B41FA5}">
                      <a16:colId xmlns:a16="http://schemas.microsoft.com/office/drawing/2014/main" val="3554074965"/>
                    </a:ext>
                  </a:extLst>
                </a:gridCol>
              </a:tblGrid>
              <a:tr h="700163">
                <a:tc>
                  <a:txBody>
                    <a:bodyPr/>
                    <a:lstStyle/>
                    <a:p>
                      <a:pPr algn="l"/>
                      <a:r>
                        <a:rPr lang="en-US" sz="1400" b="1" i="0" dirty="0">
                          <a:solidFill>
                            <a:schemeClr val="bg1"/>
                          </a:solidFill>
                          <a:latin typeface="Segoe UI Semibold" charset="0"/>
                          <a:ea typeface="Segoe UI Semibold" charset="0"/>
                          <a:cs typeface="Segoe UI Semibold" charset="0"/>
                        </a:rPr>
                        <a:t>Category</a:t>
                      </a:r>
                    </a:p>
                  </a:txBody>
                  <a:tcPr marL="182880" marR="45720" marT="0" marB="0" anchor="ctr">
                    <a:lnL w="12700" cap="flat" cmpd="sng" algn="ctr">
                      <a:solidFill>
                        <a:schemeClr val="tx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solidFill>
                  </a:tcPr>
                </a:tc>
                <a:tc>
                  <a:txBody>
                    <a:bodyPr/>
                    <a:lstStyle/>
                    <a:p>
                      <a:pPr algn="ctr"/>
                      <a:r>
                        <a:rPr lang="en-US" sz="1400" b="1" i="0" dirty="0">
                          <a:solidFill>
                            <a:schemeClr val="bg1"/>
                          </a:solidFill>
                          <a:latin typeface="Segoe UI Semibold" charset="0"/>
                          <a:ea typeface="Segoe UI Semibold" charset="0"/>
                          <a:cs typeface="Segoe UI Semibold" charset="0"/>
                        </a:rPr>
                        <a:t>Data store</a:t>
                      </a: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solidFill>
                  </a:tcPr>
                </a:tc>
                <a:tc>
                  <a:txBody>
                    <a:bodyPr/>
                    <a:lstStyle/>
                    <a:p>
                      <a:pPr algn="ctr"/>
                      <a:r>
                        <a:rPr lang="en-US" sz="1400" b="1" i="0" dirty="0">
                          <a:solidFill>
                            <a:schemeClr val="bg1"/>
                          </a:solidFill>
                          <a:latin typeface="Segoe UI Semibold" charset="0"/>
                          <a:ea typeface="Segoe UI Semibold" charset="0"/>
                          <a:cs typeface="Segoe UI Semibold" charset="0"/>
                        </a:rPr>
                        <a:t>Supported </a:t>
                      </a:r>
                      <a:br>
                        <a:rPr lang="en-US" sz="1400" b="1" i="0" dirty="0">
                          <a:solidFill>
                            <a:schemeClr val="bg1"/>
                          </a:solidFill>
                          <a:latin typeface="Segoe UI Semibold" charset="0"/>
                          <a:ea typeface="Segoe UI Semibold" charset="0"/>
                          <a:cs typeface="Segoe UI Semibold" charset="0"/>
                        </a:rPr>
                      </a:br>
                      <a:r>
                        <a:rPr lang="en-US" sz="1400" b="1" i="0" dirty="0">
                          <a:solidFill>
                            <a:schemeClr val="bg1"/>
                          </a:solidFill>
                          <a:latin typeface="Segoe UI Semibold" charset="0"/>
                          <a:ea typeface="Segoe UI Semibold" charset="0"/>
                          <a:cs typeface="Segoe UI Semibold" charset="0"/>
                        </a:rPr>
                        <a:t>as source</a:t>
                      </a: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solidFill>
                  </a:tcPr>
                </a:tc>
                <a:tc>
                  <a:txBody>
                    <a:bodyPr/>
                    <a:lstStyle/>
                    <a:p>
                      <a:pPr algn="ctr"/>
                      <a:r>
                        <a:rPr lang="en-US" sz="1400" b="1" i="0" dirty="0">
                          <a:solidFill>
                            <a:schemeClr val="bg1"/>
                          </a:solidFill>
                          <a:latin typeface="Segoe UI Semibold" charset="0"/>
                          <a:ea typeface="Segoe UI Semibold" charset="0"/>
                          <a:cs typeface="Segoe UI Semibold" charset="0"/>
                        </a:rPr>
                        <a:t>Supported </a:t>
                      </a:r>
                      <a:br>
                        <a:rPr lang="en-US" sz="1400" b="1" i="0" dirty="0">
                          <a:solidFill>
                            <a:schemeClr val="bg1"/>
                          </a:solidFill>
                          <a:latin typeface="Segoe UI Semibold" charset="0"/>
                          <a:ea typeface="Segoe UI Semibold" charset="0"/>
                          <a:cs typeface="Segoe UI Semibold" charset="0"/>
                        </a:rPr>
                      </a:br>
                      <a:r>
                        <a:rPr lang="en-US" sz="1400" b="1" i="0" dirty="0">
                          <a:solidFill>
                            <a:schemeClr val="bg1"/>
                          </a:solidFill>
                          <a:latin typeface="Segoe UI Semibold" charset="0"/>
                          <a:ea typeface="Segoe UI Semibold" charset="0"/>
                          <a:cs typeface="Segoe UI Semibold" charset="0"/>
                        </a:rPr>
                        <a:t>as sink</a:t>
                      </a: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solidFill>
                  </a:tcPr>
                </a:tc>
                <a:extLst>
                  <a:ext uri="{0D108BD9-81ED-4DB2-BD59-A6C34878D82A}">
                    <a16:rowId xmlns:a16="http://schemas.microsoft.com/office/drawing/2014/main" val="2066200181"/>
                  </a:ext>
                </a:extLst>
              </a:tr>
              <a:tr h="403869">
                <a:tc rowSpan="6">
                  <a:txBody>
                    <a:bodyPr/>
                    <a:lstStyle/>
                    <a:p>
                      <a:pPr algn="l"/>
                      <a:r>
                        <a:rPr lang="en-US" sz="1800" dirty="0">
                          <a:solidFill>
                            <a:schemeClr val="bg1"/>
                          </a:solidFill>
                        </a:rPr>
                        <a:t>Azure</a:t>
                      </a:r>
                    </a:p>
                  </a:txBody>
                  <a:tcPr marL="182880" marR="45720" marT="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3"/>
                    </a:solidFill>
                  </a:tcPr>
                </a:tc>
                <a:tc>
                  <a:txBody>
                    <a:bodyPr/>
                    <a:lstStyle/>
                    <a:p>
                      <a:pPr algn="l"/>
                      <a:r>
                        <a:rPr lang="en-US" sz="1800" dirty="0">
                          <a:solidFill>
                            <a:schemeClr val="accent2"/>
                          </a:solidFill>
                          <a:latin typeface="Segoe UI Semibold" panose="020B0702040204020203" pitchFamily="34" charset="0"/>
                          <a:cs typeface="Segoe UI Semibold" panose="020B0702040204020203" pitchFamily="34" charset="0"/>
                        </a:rPr>
                        <a:t>Azure Data Lake Store</a:t>
                      </a:r>
                    </a:p>
                  </a:txBody>
                  <a:tcPr marR="45720" marT="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solidFill>
                      <a:srgbClr val="00BCF2">
                        <a:alpha val="11000"/>
                      </a:srgbClr>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chemeClr val="accent2"/>
                          </a:solidFill>
                          <a:effectLst/>
                          <a:uLnTx/>
                          <a:uFillTx/>
                          <a:latin typeface="Segoe UI"/>
                          <a:ea typeface="+mn-ea"/>
                          <a:cs typeface="+mn-cs"/>
                          <a:sym typeface="Wingdings" panose="05000000000000000000" pitchFamily="2" charset="2"/>
                        </a:rPr>
                        <a:t></a:t>
                      </a:r>
                      <a:endParaRPr kumimoji="0" lang="en-US" sz="1800" b="0" i="0" u="none" strike="noStrike" kern="1200" cap="none" spc="0" normalizeH="0" baseline="0" noProof="0" dirty="0">
                        <a:ln>
                          <a:noFill/>
                        </a:ln>
                        <a:solidFill>
                          <a:schemeClr val="accent2"/>
                        </a:solidFill>
                        <a:effectLst/>
                        <a:uLnTx/>
                        <a:uFillTx/>
                        <a:latin typeface="Segoe UI"/>
                        <a:ea typeface="+mn-ea"/>
                        <a:cs typeface="+mn-cs"/>
                      </a:endParaRPr>
                    </a:p>
                  </a:txBody>
                  <a:tcPr marL="45720" marR="4572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solidFill>
                      <a:srgbClr val="00BCF2">
                        <a:alpha val="11000"/>
                      </a:srgbClr>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chemeClr val="accent2"/>
                          </a:solidFill>
                          <a:effectLst/>
                          <a:uLnTx/>
                          <a:uFillTx/>
                          <a:latin typeface="Segoe UI"/>
                          <a:ea typeface="+mn-ea"/>
                          <a:cs typeface="+mn-cs"/>
                          <a:sym typeface="Wingdings" panose="05000000000000000000" pitchFamily="2" charset="2"/>
                        </a:rPr>
                        <a:t></a:t>
                      </a:r>
                      <a:endParaRPr kumimoji="0" lang="en-US" sz="1800" b="0" i="0" u="none" strike="noStrike" kern="1200" cap="none" spc="0" normalizeH="0" baseline="0" noProof="0" dirty="0">
                        <a:ln>
                          <a:noFill/>
                        </a:ln>
                        <a:solidFill>
                          <a:schemeClr val="accent2"/>
                        </a:solidFill>
                        <a:effectLst/>
                        <a:uLnTx/>
                        <a:uFillTx/>
                        <a:latin typeface="Segoe UI"/>
                        <a:ea typeface="+mn-ea"/>
                        <a:cs typeface="+mn-cs"/>
                      </a:endParaRPr>
                    </a:p>
                  </a:txBody>
                  <a:tcPr marL="45720" marR="4572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solidFill>
                      <a:srgbClr val="00BCF2">
                        <a:alpha val="11000"/>
                      </a:srgbClr>
                    </a:solidFill>
                  </a:tcPr>
                </a:tc>
                <a:extLst>
                  <a:ext uri="{0D108BD9-81ED-4DB2-BD59-A6C34878D82A}">
                    <a16:rowId xmlns:a16="http://schemas.microsoft.com/office/drawing/2014/main" val="3957772168"/>
                  </a:ext>
                </a:extLst>
              </a:tr>
              <a:tr h="318365">
                <a:tc vMerge="1">
                  <a:txBody>
                    <a:bodyPr/>
                    <a:lstStyle/>
                    <a:p>
                      <a:endParaRPr lang="en-US"/>
                    </a:p>
                  </a:txBody>
                  <a:tcPr/>
                </a:tc>
                <a:tc>
                  <a:txBody>
                    <a:bodyPr/>
                    <a:lstStyle/>
                    <a:p>
                      <a:pPr algn="l"/>
                      <a:r>
                        <a:rPr lang="en-US" sz="1200" dirty="0"/>
                        <a:t>Azure Blob storage</a:t>
                      </a:r>
                    </a:p>
                  </a:txBody>
                  <a:tcPr marR="45720" marT="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tcPr>
                </a:tc>
                <a:tc>
                  <a:txBody>
                    <a:bodyPr/>
                    <a:lstStyle/>
                    <a:p>
                      <a:pPr algn="ctr"/>
                      <a:r>
                        <a:rPr kumimoji="0" lang="en-US" sz="1200" b="0" i="0" u="none" strike="noStrike" kern="1200" cap="none" spc="0" normalizeH="0" baseline="0" noProof="0" dirty="0">
                          <a:ln>
                            <a:noFill/>
                          </a:ln>
                          <a:solidFill>
                            <a:srgbClr val="505050"/>
                          </a:solidFill>
                          <a:effectLst/>
                          <a:uLnTx/>
                          <a:uFillTx/>
                          <a:latin typeface="Segoe UI"/>
                          <a:ea typeface="+mn-ea"/>
                          <a:cs typeface="+mn-cs"/>
                          <a:sym typeface="Wingdings" panose="05000000000000000000" pitchFamily="2" charset="2"/>
                        </a:rPr>
                        <a:t></a:t>
                      </a:r>
                      <a:endParaRPr lang="en-US" sz="1200" dirty="0"/>
                    </a:p>
                  </a:txBody>
                  <a:tcPr marL="45720" marR="4572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505050"/>
                          </a:solidFill>
                          <a:effectLst/>
                          <a:uLnTx/>
                          <a:uFillTx/>
                          <a:latin typeface="Segoe UI"/>
                          <a:ea typeface="+mn-ea"/>
                          <a:cs typeface="+mn-cs"/>
                          <a:sym typeface="Wingdings" panose="05000000000000000000" pitchFamily="2" charset="2"/>
                        </a:rPr>
                        <a:t></a:t>
                      </a:r>
                      <a:endParaRPr kumimoji="0" lang="en-US" sz="1200" b="0" i="0" u="none" strike="noStrike" kern="1200" cap="none" spc="0" normalizeH="0" baseline="0" noProof="0" dirty="0">
                        <a:ln>
                          <a:noFill/>
                        </a:ln>
                        <a:solidFill>
                          <a:srgbClr val="505050"/>
                        </a:solidFill>
                        <a:effectLst/>
                        <a:uLnTx/>
                        <a:uFillTx/>
                        <a:latin typeface="Segoe UI"/>
                        <a:ea typeface="+mn-ea"/>
                        <a:cs typeface="+mn-cs"/>
                      </a:endParaRPr>
                    </a:p>
                  </a:txBody>
                  <a:tcPr marL="45720" marR="4572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tcPr>
                </a:tc>
                <a:extLst>
                  <a:ext uri="{0D108BD9-81ED-4DB2-BD59-A6C34878D82A}">
                    <a16:rowId xmlns:a16="http://schemas.microsoft.com/office/drawing/2014/main" val="1555329872"/>
                  </a:ext>
                </a:extLst>
              </a:tr>
              <a:tr h="318365">
                <a:tc vMerge="1">
                  <a:txBody>
                    <a:bodyPr/>
                    <a:lstStyle/>
                    <a:p>
                      <a:endParaRPr lang="en-US"/>
                    </a:p>
                  </a:txBody>
                  <a:tcPr/>
                </a:tc>
                <a:tc>
                  <a:txBody>
                    <a:bodyPr/>
                    <a:lstStyle/>
                    <a:p>
                      <a:pPr algn="l"/>
                      <a:r>
                        <a:rPr lang="en-US" sz="1200" dirty="0"/>
                        <a:t>Azure SQL Database</a:t>
                      </a:r>
                    </a:p>
                  </a:txBody>
                  <a:tcPr marR="45720" marT="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505050"/>
                          </a:solidFill>
                          <a:effectLst/>
                          <a:uLnTx/>
                          <a:uFillTx/>
                          <a:latin typeface="Segoe UI"/>
                          <a:ea typeface="+mn-ea"/>
                          <a:cs typeface="+mn-cs"/>
                          <a:sym typeface="Wingdings" panose="05000000000000000000" pitchFamily="2" charset="2"/>
                        </a:rPr>
                        <a:t></a:t>
                      </a:r>
                      <a:endParaRPr kumimoji="0" lang="en-US" sz="1200" b="0" i="0" u="none" strike="noStrike" kern="1200" cap="none" spc="0" normalizeH="0" baseline="0" noProof="0" dirty="0">
                        <a:ln>
                          <a:noFill/>
                        </a:ln>
                        <a:solidFill>
                          <a:srgbClr val="505050"/>
                        </a:solidFill>
                        <a:effectLst/>
                        <a:uLnTx/>
                        <a:uFillTx/>
                        <a:latin typeface="Segoe UI"/>
                        <a:ea typeface="+mn-ea"/>
                        <a:cs typeface="+mn-cs"/>
                      </a:endParaRPr>
                    </a:p>
                  </a:txBody>
                  <a:tcPr marL="45720" marR="4572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505050"/>
                          </a:solidFill>
                          <a:effectLst/>
                          <a:uLnTx/>
                          <a:uFillTx/>
                          <a:latin typeface="Segoe UI"/>
                          <a:ea typeface="+mn-ea"/>
                          <a:cs typeface="+mn-cs"/>
                          <a:sym typeface="Wingdings" panose="05000000000000000000" pitchFamily="2" charset="2"/>
                        </a:rPr>
                        <a:t></a:t>
                      </a:r>
                      <a:endParaRPr kumimoji="0" lang="en-US" sz="1200" b="0" i="0" u="none" strike="noStrike" kern="1200" cap="none" spc="0" normalizeH="0" baseline="0" noProof="0" dirty="0">
                        <a:ln>
                          <a:noFill/>
                        </a:ln>
                        <a:solidFill>
                          <a:srgbClr val="505050"/>
                        </a:solidFill>
                        <a:effectLst/>
                        <a:uLnTx/>
                        <a:uFillTx/>
                        <a:latin typeface="Segoe UI"/>
                        <a:ea typeface="+mn-ea"/>
                        <a:cs typeface="+mn-cs"/>
                      </a:endParaRPr>
                    </a:p>
                  </a:txBody>
                  <a:tcPr marL="45720" marR="4572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solidFill>
                      <a:schemeClr val="bg1"/>
                    </a:solidFill>
                  </a:tcPr>
                </a:tc>
                <a:extLst>
                  <a:ext uri="{0D108BD9-81ED-4DB2-BD59-A6C34878D82A}">
                    <a16:rowId xmlns:a16="http://schemas.microsoft.com/office/drawing/2014/main" val="943060322"/>
                  </a:ext>
                </a:extLst>
              </a:tr>
              <a:tr h="318365">
                <a:tc vMerge="1">
                  <a:txBody>
                    <a:bodyPr/>
                    <a:lstStyle/>
                    <a:p>
                      <a:endParaRPr lang="en-US"/>
                    </a:p>
                  </a:txBody>
                  <a:tcPr/>
                </a:tc>
                <a:tc>
                  <a:txBody>
                    <a:bodyPr/>
                    <a:lstStyle/>
                    <a:p>
                      <a:pPr algn="l"/>
                      <a:r>
                        <a:rPr lang="en-US" sz="1200" dirty="0"/>
                        <a:t>Azure SQL Data Warehouse</a:t>
                      </a:r>
                    </a:p>
                  </a:txBody>
                  <a:tcPr marR="45720" marT="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505050"/>
                          </a:solidFill>
                          <a:effectLst/>
                          <a:uLnTx/>
                          <a:uFillTx/>
                          <a:latin typeface="Segoe UI"/>
                          <a:ea typeface="+mn-ea"/>
                          <a:cs typeface="+mn-cs"/>
                          <a:sym typeface="Wingdings" panose="05000000000000000000" pitchFamily="2" charset="2"/>
                        </a:rPr>
                        <a:t></a:t>
                      </a:r>
                      <a:endParaRPr kumimoji="0" lang="en-US" sz="1200" b="0" i="0" u="none" strike="noStrike" kern="1200" cap="none" spc="0" normalizeH="0" baseline="0" noProof="0" dirty="0">
                        <a:ln>
                          <a:noFill/>
                        </a:ln>
                        <a:solidFill>
                          <a:srgbClr val="505050"/>
                        </a:solidFill>
                        <a:effectLst/>
                        <a:uLnTx/>
                        <a:uFillTx/>
                        <a:latin typeface="Segoe UI"/>
                        <a:ea typeface="+mn-ea"/>
                        <a:cs typeface="+mn-cs"/>
                      </a:endParaRPr>
                    </a:p>
                  </a:txBody>
                  <a:tcPr marL="45720" marR="4572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505050"/>
                          </a:solidFill>
                          <a:effectLst/>
                          <a:uLnTx/>
                          <a:uFillTx/>
                          <a:latin typeface="Segoe UI"/>
                          <a:ea typeface="+mn-ea"/>
                          <a:cs typeface="+mn-cs"/>
                          <a:sym typeface="Wingdings" panose="05000000000000000000" pitchFamily="2" charset="2"/>
                        </a:rPr>
                        <a:t></a:t>
                      </a:r>
                      <a:endParaRPr kumimoji="0" lang="en-US" sz="1200" b="0" i="0" u="none" strike="noStrike" kern="1200" cap="none" spc="0" normalizeH="0" baseline="0" noProof="0" dirty="0">
                        <a:ln>
                          <a:noFill/>
                        </a:ln>
                        <a:solidFill>
                          <a:srgbClr val="505050"/>
                        </a:solidFill>
                        <a:effectLst/>
                        <a:uLnTx/>
                        <a:uFillTx/>
                        <a:latin typeface="Segoe UI"/>
                        <a:ea typeface="+mn-ea"/>
                        <a:cs typeface="+mn-cs"/>
                      </a:endParaRPr>
                    </a:p>
                  </a:txBody>
                  <a:tcPr marL="45720" marR="4572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tcPr>
                </a:tc>
                <a:extLst>
                  <a:ext uri="{0D108BD9-81ED-4DB2-BD59-A6C34878D82A}">
                    <a16:rowId xmlns:a16="http://schemas.microsoft.com/office/drawing/2014/main" val="2754431533"/>
                  </a:ext>
                </a:extLst>
              </a:tr>
              <a:tr h="318365">
                <a:tc vMerge="1">
                  <a:txBody>
                    <a:bodyPr/>
                    <a:lstStyle/>
                    <a:p>
                      <a:endParaRPr lang="en-US"/>
                    </a:p>
                  </a:txBody>
                  <a:tcPr/>
                </a:tc>
                <a:tc>
                  <a:txBody>
                    <a:bodyPr/>
                    <a:lstStyle/>
                    <a:p>
                      <a:pPr algn="l"/>
                      <a:r>
                        <a:rPr lang="en-US" sz="1200" dirty="0"/>
                        <a:t>Azure Table storage</a:t>
                      </a:r>
                    </a:p>
                  </a:txBody>
                  <a:tcPr marR="45720" marT="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505050"/>
                          </a:solidFill>
                          <a:effectLst/>
                          <a:uLnTx/>
                          <a:uFillTx/>
                          <a:latin typeface="Segoe UI"/>
                          <a:ea typeface="+mn-ea"/>
                          <a:cs typeface="+mn-cs"/>
                          <a:sym typeface="Wingdings" panose="05000000000000000000" pitchFamily="2" charset="2"/>
                        </a:rPr>
                        <a:t></a:t>
                      </a:r>
                      <a:endParaRPr kumimoji="0" lang="en-US" sz="1200" b="0" i="0" u="none" strike="noStrike" kern="1200" cap="none" spc="0" normalizeH="0" baseline="0" noProof="0" dirty="0">
                        <a:ln>
                          <a:noFill/>
                        </a:ln>
                        <a:solidFill>
                          <a:srgbClr val="505050"/>
                        </a:solidFill>
                        <a:effectLst/>
                        <a:uLnTx/>
                        <a:uFillTx/>
                        <a:latin typeface="Segoe UI"/>
                        <a:ea typeface="+mn-ea"/>
                        <a:cs typeface="+mn-cs"/>
                      </a:endParaRPr>
                    </a:p>
                  </a:txBody>
                  <a:tcPr marL="45720" marR="4572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505050"/>
                          </a:solidFill>
                          <a:effectLst/>
                          <a:uLnTx/>
                          <a:uFillTx/>
                          <a:latin typeface="Segoe UI"/>
                          <a:ea typeface="+mn-ea"/>
                          <a:cs typeface="+mn-cs"/>
                          <a:sym typeface="Wingdings" panose="05000000000000000000" pitchFamily="2" charset="2"/>
                        </a:rPr>
                        <a:t></a:t>
                      </a:r>
                      <a:endParaRPr kumimoji="0" lang="en-US" sz="1200" b="0" i="0" u="none" strike="noStrike" kern="1200" cap="none" spc="0" normalizeH="0" baseline="0" noProof="0" dirty="0">
                        <a:ln>
                          <a:noFill/>
                        </a:ln>
                        <a:solidFill>
                          <a:srgbClr val="505050"/>
                        </a:solidFill>
                        <a:effectLst/>
                        <a:uLnTx/>
                        <a:uFillTx/>
                        <a:latin typeface="Segoe UI"/>
                        <a:ea typeface="+mn-ea"/>
                        <a:cs typeface="+mn-cs"/>
                      </a:endParaRPr>
                    </a:p>
                  </a:txBody>
                  <a:tcPr marL="45720" marR="4572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solidFill>
                      <a:schemeClr val="bg1"/>
                    </a:solidFill>
                  </a:tcPr>
                </a:tc>
                <a:extLst>
                  <a:ext uri="{0D108BD9-81ED-4DB2-BD59-A6C34878D82A}">
                    <a16:rowId xmlns:a16="http://schemas.microsoft.com/office/drawing/2014/main" val="3187477020"/>
                  </a:ext>
                </a:extLst>
              </a:tr>
              <a:tr h="318365">
                <a:tc vMerge="1">
                  <a:txBody>
                    <a:bodyPr/>
                    <a:lstStyle/>
                    <a:p>
                      <a:endParaRPr lang="en-US" dirty="0"/>
                    </a:p>
                  </a:txBody>
                  <a:tcPr/>
                </a:tc>
                <a:tc>
                  <a:txBody>
                    <a:bodyPr/>
                    <a:lstStyle/>
                    <a:p>
                      <a:pPr algn="l"/>
                      <a:r>
                        <a:rPr lang="en-US" sz="1200" dirty="0"/>
                        <a:t>Azure </a:t>
                      </a:r>
                      <a:r>
                        <a:rPr lang="en-US" sz="1200" dirty="0" err="1"/>
                        <a:t>DocumentDB</a:t>
                      </a:r>
                      <a:endParaRPr lang="en-US" sz="1200" dirty="0"/>
                    </a:p>
                  </a:txBody>
                  <a:tcPr marR="45720" marT="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505050"/>
                          </a:solidFill>
                          <a:effectLst/>
                          <a:uLnTx/>
                          <a:uFillTx/>
                          <a:latin typeface="Segoe UI"/>
                          <a:ea typeface="+mn-ea"/>
                          <a:cs typeface="+mn-cs"/>
                          <a:sym typeface="Wingdings" panose="05000000000000000000" pitchFamily="2" charset="2"/>
                        </a:rPr>
                        <a:t></a:t>
                      </a:r>
                      <a:endParaRPr kumimoji="0" lang="en-US" sz="1200" b="0" i="0" u="none" strike="noStrike" kern="1200" cap="none" spc="0" normalizeH="0" baseline="0" noProof="0" dirty="0">
                        <a:ln>
                          <a:noFill/>
                        </a:ln>
                        <a:solidFill>
                          <a:srgbClr val="505050"/>
                        </a:solidFill>
                        <a:effectLst/>
                        <a:uLnTx/>
                        <a:uFillTx/>
                        <a:latin typeface="Segoe UI"/>
                        <a:ea typeface="+mn-ea"/>
                        <a:cs typeface="+mn-cs"/>
                      </a:endParaRPr>
                    </a:p>
                  </a:txBody>
                  <a:tcPr marL="45720" marR="4572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505050"/>
                          </a:solidFill>
                          <a:effectLst/>
                          <a:uLnTx/>
                          <a:uFillTx/>
                          <a:latin typeface="Segoe UI"/>
                          <a:ea typeface="+mn-ea"/>
                          <a:cs typeface="+mn-cs"/>
                          <a:sym typeface="Wingdings" panose="05000000000000000000" pitchFamily="2" charset="2"/>
                        </a:rPr>
                        <a:t></a:t>
                      </a:r>
                      <a:endParaRPr kumimoji="0" lang="en-US" sz="1200" b="0" i="0" u="none" strike="noStrike" kern="1200" cap="none" spc="0" normalizeH="0" baseline="0" noProof="0" dirty="0">
                        <a:ln>
                          <a:noFill/>
                        </a:ln>
                        <a:solidFill>
                          <a:srgbClr val="505050"/>
                        </a:solidFill>
                        <a:effectLst/>
                        <a:uLnTx/>
                        <a:uFillTx/>
                        <a:latin typeface="Segoe UI"/>
                        <a:ea typeface="+mn-ea"/>
                        <a:cs typeface="+mn-cs"/>
                      </a:endParaRPr>
                    </a:p>
                  </a:txBody>
                  <a:tcPr marL="45720" marR="4572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420670321"/>
                  </a:ext>
                </a:extLst>
              </a:tr>
              <a:tr h="318365">
                <a:tc rowSpan="5">
                  <a:txBody>
                    <a:bodyPr/>
                    <a:lstStyle/>
                    <a:p>
                      <a:pPr algn="l"/>
                      <a:r>
                        <a:rPr lang="en-US" sz="1800" dirty="0">
                          <a:solidFill>
                            <a:schemeClr val="bg1"/>
                          </a:solidFill>
                        </a:rPr>
                        <a:t>Databases</a:t>
                      </a:r>
                    </a:p>
                  </a:txBody>
                  <a:tcPr marL="182880" marR="45720" marT="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3"/>
                    </a:solidFill>
                  </a:tcPr>
                </a:tc>
                <a:tc>
                  <a:txBody>
                    <a:bodyPr/>
                    <a:lstStyle/>
                    <a:p>
                      <a:pPr algn="l"/>
                      <a:r>
                        <a:rPr lang="en-US" sz="1200" dirty="0"/>
                        <a:t>SQL Server*</a:t>
                      </a:r>
                    </a:p>
                  </a:txBody>
                  <a:tcPr marR="45720" marT="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9050" cap="flat" cmpd="sng" algn="ctr">
                      <a:noFill/>
                      <a:prstDash val="solid"/>
                      <a:round/>
                      <a:headEnd type="none" w="med" len="med"/>
                      <a:tailEnd type="none" w="med" len="med"/>
                    </a:lnB>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505050"/>
                          </a:solidFill>
                          <a:effectLst/>
                          <a:uLnTx/>
                          <a:uFillTx/>
                          <a:latin typeface="Segoe UI"/>
                          <a:ea typeface="+mn-ea"/>
                          <a:cs typeface="+mn-cs"/>
                          <a:sym typeface="Wingdings" panose="05000000000000000000" pitchFamily="2" charset="2"/>
                        </a:rPr>
                        <a:t></a:t>
                      </a:r>
                      <a:endParaRPr kumimoji="0" lang="en-US" sz="1200" b="0" i="0" u="none" strike="noStrike" kern="1200" cap="none" spc="0" normalizeH="0" baseline="0" noProof="0" dirty="0">
                        <a:ln>
                          <a:noFill/>
                        </a:ln>
                        <a:solidFill>
                          <a:srgbClr val="505050"/>
                        </a:solidFill>
                        <a:effectLst/>
                        <a:uLnTx/>
                        <a:uFillTx/>
                        <a:latin typeface="Segoe UI"/>
                        <a:ea typeface="+mn-ea"/>
                        <a:cs typeface="+mn-cs"/>
                      </a:endParaRPr>
                    </a:p>
                  </a:txBody>
                  <a:tcPr marL="45720" marR="4572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9050" cap="flat" cmpd="sng" algn="ctr">
                      <a:noFill/>
                      <a:prstDash val="solid"/>
                      <a:round/>
                      <a:headEnd type="none" w="med" len="med"/>
                      <a:tailEnd type="none" w="med" len="med"/>
                    </a:lnB>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505050"/>
                          </a:solidFill>
                          <a:effectLst/>
                          <a:uLnTx/>
                          <a:uFillTx/>
                          <a:latin typeface="Segoe UI"/>
                          <a:ea typeface="+mn-ea"/>
                          <a:cs typeface="+mn-cs"/>
                          <a:sym typeface="Wingdings" panose="05000000000000000000" pitchFamily="2" charset="2"/>
                        </a:rPr>
                        <a:t></a:t>
                      </a:r>
                      <a:endParaRPr kumimoji="0" lang="en-US" sz="1200" b="0" i="0" u="none" strike="noStrike" kern="1200" cap="none" spc="0" normalizeH="0" baseline="0" noProof="0" dirty="0">
                        <a:ln>
                          <a:noFill/>
                        </a:ln>
                        <a:solidFill>
                          <a:srgbClr val="505050"/>
                        </a:solidFill>
                        <a:effectLst/>
                        <a:uLnTx/>
                        <a:uFillTx/>
                        <a:latin typeface="Segoe UI"/>
                        <a:ea typeface="+mn-ea"/>
                        <a:cs typeface="+mn-cs"/>
                      </a:endParaRPr>
                    </a:p>
                  </a:txBody>
                  <a:tcPr marL="45720" marR="4572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9050" cap="flat" cmpd="sng" algn="ctr">
                      <a:noFill/>
                      <a:prstDash val="solid"/>
                      <a:round/>
                      <a:headEnd type="none" w="med" len="med"/>
                      <a:tailEnd type="none" w="med" len="med"/>
                    </a:lnB>
                    <a:solidFill>
                      <a:schemeClr val="bg1"/>
                    </a:solidFill>
                  </a:tcPr>
                </a:tc>
                <a:extLst>
                  <a:ext uri="{0D108BD9-81ED-4DB2-BD59-A6C34878D82A}">
                    <a16:rowId xmlns:a16="http://schemas.microsoft.com/office/drawing/2014/main" val="1259991173"/>
                  </a:ext>
                </a:extLst>
              </a:tr>
              <a:tr h="318365">
                <a:tc vMerge="1">
                  <a:txBody>
                    <a:bodyPr/>
                    <a:lstStyle/>
                    <a:p>
                      <a:endParaRPr lang="en-US"/>
                    </a:p>
                  </a:txBody>
                  <a:tcPr/>
                </a:tc>
                <a:tc>
                  <a:txBody>
                    <a:bodyPr/>
                    <a:lstStyle/>
                    <a:p>
                      <a:pPr algn="l"/>
                      <a:r>
                        <a:rPr lang="en-US" sz="1200" dirty="0"/>
                        <a:t>Oracle*</a:t>
                      </a:r>
                    </a:p>
                  </a:txBody>
                  <a:tcPr marR="45720" marT="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505050"/>
                          </a:solidFill>
                          <a:effectLst/>
                          <a:uLnTx/>
                          <a:uFillTx/>
                          <a:latin typeface="Segoe UI"/>
                          <a:ea typeface="+mn-ea"/>
                          <a:cs typeface="+mn-cs"/>
                          <a:sym typeface="Wingdings" panose="05000000000000000000" pitchFamily="2" charset="2"/>
                        </a:rPr>
                        <a:t></a:t>
                      </a:r>
                      <a:endParaRPr kumimoji="0" lang="en-US" sz="1200" b="0" i="0" u="none" strike="noStrike" kern="1200" cap="none" spc="0" normalizeH="0" baseline="0" noProof="0" dirty="0">
                        <a:ln>
                          <a:noFill/>
                        </a:ln>
                        <a:solidFill>
                          <a:srgbClr val="505050"/>
                        </a:solidFill>
                        <a:effectLst/>
                        <a:uLnTx/>
                        <a:uFillTx/>
                        <a:latin typeface="Segoe UI"/>
                        <a:ea typeface="+mn-ea"/>
                        <a:cs typeface="+mn-cs"/>
                      </a:endParaRPr>
                    </a:p>
                  </a:txBody>
                  <a:tcPr marL="45720" marR="4572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505050"/>
                          </a:solidFill>
                          <a:effectLst/>
                          <a:uLnTx/>
                          <a:uFillTx/>
                          <a:latin typeface="Segoe UI"/>
                          <a:ea typeface="+mn-ea"/>
                          <a:cs typeface="+mn-cs"/>
                          <a:sym typeface="Wingdings" panose="05000000000000000000" pitchFamily="2" charset="2"/>
                        </a:rPr>
                        <a:t></a:t>
                      </a:r>
                      <a:endParaRPr kumimoji="0" lang="en-US" sz="1200" b="0" i="0" u="none" strike="noStrike" kern="1200" cap="none" spc="0" normalizeH="0" baseline="0" noProof="0" dirty="0">
                        <a:ln>
                          <a:noFill/>
                        </a:ln>
                        <a:solidFill>
                          <a:srgbClr val="505050"/>
                        </a:solidFill>
                        <a:effectLst/>
                        <a:uLnTx/>
                        <a:uFillTx/>
                        <a:latin typeface="Segoe UI"/>
                        <a:ea typeface="+mn-ea"/>
                        <a:cs typeface="+mn-cs"/>
                      </a:endParaRPr>
                    </a:p>
                  </a:txBody>
                  <a:tcPr marL="45720" marR="4572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tcPr>
                </a:tc>
                <a:extLst>
                  <a:ext uri="{0D108BD9-81ED-4DB2-BD59-A6C34878D82A}">
                    <a16:rowId xmlns:a16="http://schemas.microsoft.com/office/drawing/2014/main" val="980308496"/>
                  </a:ext>
                </a:extLst>
              </a:tr>
              <a:tr h="318365">
                <a:tc vMerge="1">
                  <a:txBody>
                    <a:bodyPr/>
                    <a:lstStyle/>
                    <a:p>
                      <a:endParaRPr lang="en-US"/>
                    </a:p>
                  </a:txBody>
                  <a:tcPr/>
                </a:tc>
                <a:tc>
                  <a:txBody>
                    <a:bodyPr/>
                    <a:lstStyle/>
                    <a:p>
                      <a:pPr algn="l"/>
                      <a:r>
                        <a:rPr lang="en-US" sz="1200" dirty="0"/>
                        <a:t>MySQL*</a:t>
                      </a:r>
                    </a:p>
                  </a:txBody>
                  <a:tcPr marR="45720" marT="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505050"/>
                          </a:solidFill>
                          <a:effectLst/>
                          <a:uLnTx/>
                          <a:uFillTx/>
                          <a:latin typeface="Segoe UI"/>
                          <a:ea typeface="+mn-ea"/>
                          <a:cs typeface="+mn-cs"/>
                          <a:sym typeface="Wingdings" panose="05000000000000000000" pitchFamily="2" charset="2"/>
                        </a:rPr>
                        <a:t></a:t>
                      </a:r>
                      <a:endParaRPr kumimoji="0" lang="en-US" sz="1200" b="0" i="0" u="none" strike="noStrike" kern="1200" cap="none" spc="0" normalizeH="0" baseline="0" noProof="0" dirty="0">
                        <a:ln>
                          <a:noFill/>
                        </a:ln>
                        <a:solidFill>
                          <a:srgbClr val="505050"/>
                        </a:solidFill>
                        <a:effectLst/>
                        <a:uLnTx/>
                        <a:uFillTx/>
                        <a:latin typeface="Segoe UI"/>
                        <a:ea typeface="+mn-ea"/>
                        <a:cs typeface="+mn-cs"/>
                      </a:endParaRPr>
                    </a:p>
                  </a:txBody>
                  <a:tcPr marL="45720" marR="4572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solidFill>
                      <a:schemeClr val="bg1"/>
                    </a:solidFill>
                  </a:tcPr>
                </a:tc>
                <a:tc>
                  <a:txBody>
                    <a:bodyPr/>
                    <a:lstStyle/>
                    <a:p>
                      <a:pPr algn="ctr"/>
                      <a:endParaRPr lang="en-US" sz="1200" dirty="0"/>
                    </a:p>
                  </a:txBody>
                  <a:tcPr marL="45720" marR="4572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solidFill>
                      <a:schemeClr val="bg1"/>
                    </a:solidFill>
                  </a:tcPr>
                </a:tc>
                <a:extLst>
                  <a:ext uri="{0D108BD9-81ED-4DB2-BD59-A6C34878D82A}">
                    <a16:rowId xmlns:a16="http://schemas.microsoft.com/office/drawing/2014/main" val="2281877195"/>
                  </a:ext>
                </a:extLst>
              </a:tr>
              <a:tr h="318365">
                <a:tc vMerge="1">
                  <a:txBody>
                    <a:bodyPr/>
                    <a:lstStyle/>
                    <a:p>
                      <a:endParaRPr lang="en-US"/>
                    </a:p>
                  </a:txBody>
                  <a:tcPr/>
                </a:tc>
                <a:tc>
                  <a:txBody>
                    <a:bodyPr/>
                    <a:lstStyle/>
                    <a:p>
                      <a:pPr algn="l"/>
                      <a:r>
                        <a:rPr lang="en-US" sz="1200" dirty="0"/>
                        <a:t>DB2*</a:t>
                      </a:r>
                    </a:p>
                  </a:txBody>
                  <a:tcPr marR="45720" marT="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505050"/>
                          </a:solidFill>
                          <a:effectLst/>
                          <a:uLnTx/>
                          <a:uFillTx/>
                          <a:latin typeface="Segoe UI"/>
                          <a:ea typeface="+mn-ea"/>
                          <a:cs typeface="+mn-cs"/>
                          <a:sym typeface="Wingdings" panose="05000000000000000000" pitchFamily="2" charset="2"/>
                        </a:rPr>
                        <a:t></a:t>
                      </a:r>
                      <a:endParaRPr kumimoji="0" lang="en-US" sz="1200" b="0" i="0" u="none" strike="noStrike" kern="1200" cap="none" spc="0" normalizeH="0" baseline="0" noProof="0" dirty="0">
                        <a:ln>
                          <a:noFill/>
                        </a:ln>
                        <a:solidFill>
                          <a:srgbClr val="505050"/>
                        </a:solidFill>
                        <a:effectLst/>
                        <a:uLnTx/>
                        <a:uFillTx/>
                        <a:latin typeface="Segoe UI"/>
                        <a:ea typeface="+mn-ea"/>
                        <a:cs typeface="+mn-cs"/>
                      </a:endParaRPr>
                    </a:p>
                  </a:txBody>
                  <a:tcPr marL="45720" marR="4572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tcPr>
                </a:tc>
                <a:tc>
                  <a:txBody>
                    <a:bodyPr/>
                    <a:lstStyle/>
                    <a:p>
                      <a:pPr algn="ctr"/>
                      <a:endParaRPr lang="en-US" sz="1200" dirty="0"/>
                    </a:p>
                  </a:txBody>
                  <a:tcPr marL="45720" marR="4572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tcPr>
                </a:tc>
                <a:extLst>
                  <a:ext uri="{0D108BD9-81ED-4DB2-BD59-A6C34878D82A}">
                    <a16:rowId xmlns:a16="http://schemas.microsoft.com/office/drawing/2014/main" val="3491806550"/>
                  </a:ext>
                </a:extLst>
              </a:tr>
              <a:tr h="318365">
                <a:tc vMerge="1">
                  <a:txBody>
                    <a:bodyPr/>
                    <a:lstStyle/>
                    <a:p>
                      <a:endParaRPr lang="en-US"/>
                    </a:p>
                  </a:txBody>
                  <a:tcPr/>
                </a:tc>
                <a:tc>
                  <a:txBody>
                    <a:bodyPr/>
                    <a:lstStyle/>
                    <a:p>
                      <a:pPr algn="l"/>
                      <a:r>
                        <a:rPr lang="en-US" sz="1200" dirty="0"/>
                        <a:t>Teradata*</a:t>
                      </a:r>
                    </a:p>
                  </a:txBody>
                  <a:tcPr marR="45720" marT="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505050"/>
                          </a:solidFill>
                          <a:effectLst/>
                          <a:uLnTx/>
                          <a:uFillTx/>
                          <a:latin typeface="Segoe UI"/>
                          <a:ea typeface="+mn-ea"/>
                          <a:cs typeface="+mn-cs"/>
                          <a:sym typeface="Wingdings" panose="05000000000000000000" pitchFamily="2" charset="2"/>
                        </a:rPr>
                        <a:t></a:t>
                      </a:r>
                      <a:endParaRPr kumimoji="0" lang="en-US" sz="1200" b="0" i="0" u="none" strike="noStrike" kern="1200" cap="none" spc="0" normalizeH="0" baseline="0" noProof="0" dirty="0">
                        <a:ln>
                          <a:noFill/>
                        </a:ln>
                        <a:solidFill>
                          <a:srgbClr val="505050"/>
                        </a:solidFill>
                        <a:effectLst/>
                        <a:uLnTx/>
                        <a:uFillTx/>
                        <a:latin typeface="Segoe UI"/>
                        <a:ea typeface="+mn-ea"/>
                        <a:cs typeface="+mn-cs"/>
                      </a:endParaRPr>
                    </a:p>
                  </a:txBody>
                  <a:tcPr marL="45720" marR="4572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solidFill>
                      <a:schemeClr val="bg1"/>
                    </a:solidFill>
                  </a:tcPr>
                </a:tc>
                <a:tc>
                  <a:txBody>
                    <a:bodyPr/>
                    <a:lstStyle/>
                    <a:p>
                      <a:pPr algn="ctr"/>
                      <a:endParaRPr lang="en-US" sz="1200" dirty="0"/>
                    </a:p>
                  </a:txBody>
                  <a:tcPr marL="45720" marR="4572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solidFill>
                      <a:schemeClr val="bg1"/>
                    </a:solidFill>
                  </a:tcPr>
                </a:tc>
                <a:extLst>
                  <a:ext uri="{0D108BD9-81ED-4DB2-BD59-A6C34878D82A}">
                    <a16:rowId xmlns:a16="http://schemas.microsoft.com/office/drawing/2014/main" val="159075171"/>
                  </a:ext>
                </a:extLst>
              </a:tr>
              <a:tr h="318365">
                <a:tc rowSpan="2">
                  <a:txBody>
                    <a:bodyPr/>
                    <a:lstStyle/>
                    <a:p>
                      <a:pPr algn="l"/>
                      <a:r>
                        <a:rPr lang="en-US" sz="1800" dirty="0">
                          <a:solidFill>
                            <a:schemeClr val="bg1"/>
                          </a:solidFill>
                        </a:rPr>
                        <a:t>File</a:t>
                      </a:r>
                    </a:p>
                  </a:txBody>
                  <a:tcPr marL="182880" marR="45720" marT="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solidFill>
                  </a:tcPr>
                </a:tc>
                <a:tc>
                  <a:txBody>
                    <a:bodyPr/>
                    <a:lstStyle/>
                    <a:p>
                      <a:pPr algn="l"/>
                      <a:r>
                        <a:rPr lang="en-US" sz="1200" dirty="0"/>
                        <a:t>HDFS*</a:t>
                      </a:r>
                    </a:p>
                  </a:txBody>
                  <a:tcPr marR="45720" marT="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505050"/>
                          </a:solidFill>
                          <a:effectLst/>
                          <a:uLnTx/>
                          <a:uFillTx/>
                          <a:latin typeface="Segoe UI"/>
                          <a:ea typeface="+mn-ea"/>
                          <a:cs typeface="+mn-cs"/>
                          <a:sym typeface="Wingdings" panose="05000000000000000000" pitchFamily="2" charset="2"/>
                        </a:rPr>
                        <a:t></a:t>
                      </a:r>
                      <a:endParaRPr kumimoji="0" lang="en-US" sz="1200" b="0" i="0" u="none" strike="noStrike" kern="1200" cap="none" spc="0" normalizeH="0" baseline="0" noProof="0" dirty="0">
                        <a:ln>
                          <a:noFill/>
                        </a:ln>
                        <a:solidFill>
                          <a:srgbClr val="505050"/>
                        </a:solidFill>
                        <a:effectLst/>
                        <a:uLnTx/>
                        <a:uFillTx/>
                        <a:latin typeface="Segoe UI"/>
                        <a:ea typeface="+mn-ea"/>
                        <a:cs typeface="+mn-cs"/>
                      </a:endParaRPr>
                    </a:p>
                  </a:txBody>
                  <a:tcPr marL="45720" marR="4572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tcPr>
                </a:tc>
                <a:tc>
                  <a:txBody>
                    <a:bodyPr/>
                    <a:lstStyle/>
                    <a:p>
                      <a:pPr algn="ctr"/>
                      <a:endParaRPr lang="en-US" sz="1200" dirty="0"/>
                    </a:p>
                  </a:txBody>
                  <a:tcPr marL="45720" marR="4572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tcPr>
                </a:tc>
                <a:extLst>
                  <a:ext uri="{0D108BD9-81ED-4DB2-BD59-A6C34878D82A}">
                    <a16:rowId xmlns:a16="http://schemas.microsoft.com/office/drawing/2014/main" val="255704426"/>
                  </a:ext>
                </a:extLst>
              </a:tr>
              <a:tr h="318365">
                <a:tc vMerge="1">
                  <a:txBody>
                    <a:bodyPr/>
                    <a:lstStyle/>
                    <a:p>
                      <a:endParaRPr lang="en-US" dirty="0"/>
                    </a:p>
                  </a:txBody>
                  <a:tcPr/>
                </a:tc>
                <a:tc>
                  <a:txBody>
                    <a:bodyPr/>
                    <a:lstStyle/>
                    <a:p>
                      <a:pPr algn="l"/>
                      <a:r>
                        <a:rPr lang="en-US" sz="1200" dirty="0"/>
                        <a:t>Others</a:t>
                      </a:r>
                    </a:p>
                  </a:txBody>
                  <a:tcPr marR="45720" marT="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505050"/>
                          </a:solidFill>
                          <a:effectLst/>
                          <a:uLnTx/>
                          <a:uFillTx/>
                          <a:latin typeface="Segoe UI"/>
                          <a:ea typeface="+mn-ea"/>
                          <a:cs typeface="+mn-cs"/>
                          <a:sym typeface="Wingdings" panose="05000000000000000000" pitchFamily="2" charset="2"/>
                        </a:rPr>
                        <a:t></a:t>
                      </a:r>
                      <a:endParaRPr kumimoji="0" lang="en-US" sz="1200" b="0" i="0" u="none" strike="noStrike" kern="1200" cap="none" spc="0" normalizeH="0" baseline="0" noProof="0" dirty="0">
                        <a:ln>
                          <a:noFill/>
                        </a:ln>
                        <a:solidFill>
                          <a:srgbClr val="505050"/>
                        </a:solidFill>
                        <a:effectLst/>
                        <a:uLnTx/>
                        <a:uFillTx/>
                        <a:latin typeface="Segoe UI"/>
                        <a:ea typeface="+mn-ea"/>
                        <a:cs typeface="+mn-cs"/>
                      </a:endParaRPr>
                    </a:p>
                  </a:txBody>
                  <a:tcPr marL="45720" marR="4572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lang="en-US" sz="1200" dirty="0"/>
                    </a:p>
                  </a:txBody>
                  <a:tcPr marL="45720" marR="4572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266648571"/>
                  </a:ext>
                </a:extLst>
              </a:tr>
            </a:tbl>
          </a:graphicData>
        </a:graphic>
      </p:graphicFrame>
      <p:grpSp>
        <p:nvGrpSpPr>
          <p:cNvPr id="21" name="Group 20"/>
          <p:cNvGrpSpPr/>
          <p:nvPr/>
        </p:nvGrpSpPr>
        <p:grpSpPr>
          <a:xfrm>
            <a:off x="601675" y="5217714"/>
            <a:ext cx="1123117" cy="1305500"/>
            <a:chOff x="3029010" y="3853608"/>
            <a:chExt cx="2248798" cy="2241477"/>
          </a:xfrm>
        </p:grpSpPr>
        <p:sp>
          <p:nvSpPr>
            <p:cNvPr id="22" name="Freeform 184"/>
            <p:cNvSpPr/>
            <p:nvPr/>
          </p:nvSpPr>
          <p:spPr bwMode="auto">
            <a:xfrm>
              <a:off x="3029010" y="3853609"/>
              <a:ext cx="2248798" cy="2241476"/>
            </a:xfrm>
            <a:custGeom>
              <a:avLst/>
              <a:gdLst>
                <a:gd name="connsiteX0" fmla="*/ 3231086 w 4158080"/>
                <a:gd name="connsiteY0" fmla="*/ 3012228 h 4144545"/>
                <a:gd name="connsiteX1" fmla="*/ 3231086 w 4158080"/>
                <a:gd name="connsiteY1" fmla="*/ 3475725 h 4144545"/>
                <a:gd name="connsiteX2" fmla="*/ 3694583 w 4158080"/>
                <a:gd name="connsiteY2" fmla="*/ 3475725 h 4144545"/>
                <a:gd name="connsiteX3" fmla="*/ 3694583 w 4158080"/>
                <a:gd name="connsiteY3" fmla="*/ 3012228 h 4144545"/>
                <a:gd name="connsiteX4" fmla="*/ 2425129 w 4158080"/>
                <a:gd name="connsiteY4" fmla="*/ 3012228 h 4144545"/>
                <a:gd name="connsiteX5" fmla="*/ 2425129 w 4158080"/>
                <a:gd name="connsiteY5" fmla="*/ 3475725 h 4144545"/>
                <a:gd name="connsiteX6" fmla="*/ 2888626 w 4158080"/>
                <a:gd name="connsiteY6" fmla="*/ 3475725 h 4144545"/>
                <a:gd name="connsiteX7" fmla="*/ 2888626 w 4158080"/>
                <a:gd name="connsiteY7" fmla="*/ 3012228 h 4144545"/>
                <a:gd name="connsiteX8" fmla="*/ 1619172 w 4158080"/>
                <a:gd name="connsiteY8" fmla="*/ 3012228 h 4144545"/>
                <a:gd name="connsiteX9" fmla="*/ 1619172 w 4158080"/>
                <a:gd name="connsiteY9" fmla="*/ 3475725 h 4144545"/>
                <a:gd name="connsiteX10" fmla="*/ 2082669 w 4158080"/>
                <a:gd name="connsiteY10" fmla="*/ 3475725 h 4144545"/>
                <a:gd name="connsiteX11" fmla="*/ 2082669 w 4158080"/>
                <a:gd name="connsiteY11" fmla="*/ 3012228 h 4144545"/>
                <a:gd name="connsiteX12" fmla="*/ 1 w 4158080"/>
                <a:gd name="connsiteY12" fmla="*/ 300015 h 4144545"/>
                <a:gd name="connsiteX13" fmla="*/ 1 w 4158080"/>
                <a:gd name="connsiteY13" fmla="*/ 348372 h 4144545"/>
                <a:gd name="connsiteX14" fmla="*/ 1 w 4158080"/>
                <a:gd name="connsiteY14" fmla="*/ 377378 h 4144545"/>
                <a:gd name="connsiteX15" fmla="*/ 0 w 4158080"/>
                <a:gd name="connsiteY15" fmla="*/ 377381 h 4144545"/>
                <a:gd name="connsiteX16" fmla="*/ 1 w 4158080"/>
                <a:gd name="connsiteY16" fmla="*/ 300015 h 4144545"/>
                <a:gd name="connsiteX17" fmla="*/ 925155 w 4158080"/>
                <a:gd name="connsiteY17" fmla="*/ 136141 h 4144545"/>
                <a:gd name="connsiteX18" fmla="*/ 286574 w 4158080"/>
                <a:gd name="connsiteY18" fmla="*/ 323563 h 4144545"/>
                <a:gd name="connsiteX19" fmla="*/ 925155 w 4158080"/>
                <a:gd name="connsiteY19" fmla="*/ 510984 h 4144545"/>
                <a:gd name="connsiteX20" fmla="*/ 1563737 w 4158080"/>
                <a:gd name="connsiteY20" fmla="*/ 323563 h 4144545"/>
                <a:gd name="connsiteX21" fmla="*/ 925155 w 4158080"/>
                <a:gd name="connsiteY21" fmla="*/ 136141 h 4144545"/>
                <a:gd name="connsiteX22" fmla="*/ 925154 w 4158080"/>
                <a:gd name="connsiteY22" fmla="*/ 0 h 4144545"/>
                <a:gd name="connsiteX23" fmla="*/ 1845533 w 4158080"/>
                <a:gd name="connsiteY23" fmla="*/ 338796 h 4144545"/>
                <a:gd name="connsiteX24" fmla="*/ 1848895 w 4158080"/>
                <a:gd name="connsiteY24" fmla="*/ 365965 h 4144545"/>
                <a:gd name="connsiteX25" fmla="*/ 1850308 w 4158080"/>
                <a:gd name="connsiteY25" fmla="*/ 365965 h 4144545"/>
                <a:gd name="connsiteX26" fmla="*/ 1850308 w 4158080"/>
                <a:gd name="connsiteY26" fmla="*/ 377381 h 4144545"/>
                <a:gd name="connsiteX27" fmla="*/ 1850309 w 4158080"/>
                <a:gd name="connsiteY27" fmla="*/ 2420253 h 4144545"/>
                <a:gd name="connsiteX28" fmla="*/ 3004195 w 4158080"/>
                <a:gd name="connsiteY28" fmla="*/ 1412231 h 4144545"/>
                <a:gd name="connsiteX29" fmla="*/ 3004195 w 4158080"/>
                <a:gd name="connsiteY29" fmla="*/ 2420252 h 4144545"/>
                <a:gd name="connsiteX30" fmla="*/ 4158080 w 4158080"/>
                <a:gd name="connsiteY30" fmla="*/ 1412231 h 4144545"/>
                <a:gd name="connsiteX31" fmla="*/ 4158079 w 4158080"/>
                <a:gd name="connsiteY31" fmla="*/ 4144544 h 4144545"/>
                <a:gd name="connsiteX32" fmla="*/ 1 w 4158080"/>
                <a:gd name="connsiteY32" fmla="*/ 4144545 h 4144545"/>
                <a:gd name="connsiteX33" fmla="*/ 1 w 4158080"/>
                <a:gd name="connsiteY33" fmla="*/ 377385 h 4144545"/>
                <a:gd name="connsiteX34" fmla="*/ 1 w 4158080"/>
                <a:gd name="connsiteY34" fmla="*/ 377378 h 4144545"/>
                <a:gd name="connsiteX35" fmla="*/ 4778 w 4158080"/>
                <a:gd name="connsiteY35" fmla="*/ 338796 h 4144545"/>
                <a:gd name="connsiteX36" fmla="*/ 925154 w 4158080"/>
                <a:gd name="connsiteY36" fmla="*/ 0 h 41445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4158080" h="4144545">
                  <a:moveTo>
                    <a:pt x="3231086" y="3012228"/>
                  </a:moveTo>
                  <a:lnTo>
                    <a:pt x="3231086" y="3475725"/>
                  </a:lnTo>
                  <a:lnTo>
                    <a:pt x="3694583" y="3475725"/>
                  </a:lnTo>
                  <a:lnTo>
                    <a:pt x="3694583" y="3012228"/>
                  </a:lnTo>
                  <a:close/>
                  <a:moveTo>
                    <a:pt x="2425129" y="3012228"/>
                  </a:moveTo>
                  <a:lnTo>
                    <a:pt x="2425129" y="3475725"/>
                  </a:lnTo>
                  <a:lnTo>
                    <a:pt x="2888626" y="3475725"/>
                  </a:lnTo>
                  <a:lnTo>
                    <a:pt x="2888626" y="3012228"/>
                  </a:lnTo>
                  <a:close/>
                  <a:moveTo>
                    <a:pt x="1619172" y="3012228"/>
                  </a:moveTo>
                  <a:lnTo>
                    <a:pt x="1619172" y="3475725"/>
                  </a:lnTo>
                  <a:lnTo>
                    <a:pt x="2082669" y="3475725"/>
                  </a:lnTo>
                  <a:lnTo>
                    <a:pt x="2082669" y="3012228"/>
                  </a:lnTo>
                  <a:close/>
                  <a:moveTo>
                    <a:pt x="1" y="300015"/>
                  </a:moveTo>
                  <a:lnTo>
                    <a:pt x="1" y="348372"/>
                  </a:lnTo>
                  <a:lnTo>
                    <a:pt x="1" y="377378"/>
                  </a:lnTo>
                  <a:cubicBezTo>
                    <a:pt x="1" y="377379"/>
                    <a:pt x="0" y="377380"/>
                    <a:pt x="0" y="377381"/>
                  </a:cubicBezTo>
                  <a:cubicBezTo>
                    <a:pt x="0" y="377382"/>
                    <a:pt x="0" y="308611"/>
                    <a:pt x="1" y="300015"/>
                  </a:cubicBezTo>
                  <a:close/>
                  <a:moveTo>
                    <a:pt x="925155" y="136141"/>
                  </a:moveTo>
                  <a:cubicBezTo>
                    <a:pt x="572477" y="136141"/>
                    <a:pt x="286574" y="220052"/>
                    <a:pt x="286574" y="323563"/>
                  </a:cubicBezTo>
                  <a:cubicBezTo>
                    <a:pt x="286574" y="427073"/>
                    <a:pt x="572477" y="510984"/>
                    <a:pt x="925155" y="510984"/>
                  </a:cubicBezTo>
                  <a:cubicBezTo>
                    <a:pt x="1277834" y="510984"/>
                    <a:pt x="1563737" y="427073"/>
                    <a:pt x="1563737" y="323563"/>
                  </a:cubicBezTo>
                  <a:cubicBezTo>
                    <a:pt x="1563737" y="220052"/>
                    <a:pt x="1277834" y="136141"/>
                    <a:pt x="925155" y="136141"/>
                  </a:cubicBezTo>
                  <a:close/>
                  <a:moveTo>
                    <a:pt x="925154" y="0"/>
                  </a:moveTo>
                  <a:cubicBezTo>
                    <a:pt x="1404168" y="0"/>
                    <a:pt x="1798155" y="148500"/>
                    <a:pt x="1845533" y="338796"/>
                  </a:cubicBezTo>
                  <a:lnTo>
                    <a:pt x="1848895" y="365965"/>
                  </a:lnTo>
                  <a:lnTo>
                    <a:pt x="1850308" y="365965"/>
                  </a:lnTo>
                  <a:lnTo>
                    <a:pt x="1850308" y="377381"/>
                  </a:lnTo>
                  <a:cubicBezTo>
                    <a:pt x="1850308" y="719762"/>
                    <a:pt x="1850309" y="2051836"/>
                    <a:pt x="1850309" y="2420253"/>
                  </a:cubicBezTo>
                  <a:lnTo>
                    <a:pt x="3004195" y="1412231"/>
                  </a:lnTo>
                  <a:lnTo>
                    <a:pt x="3004195" y="2420252"/>
                  </a:lnTo>
                  <a:lnTo>
                    <a:pt x="4158080" y="1412231"/>
                  </a:lnTo>
                  <a:cubicBezTo>
                    <a:pt x="4158080" y="2323002"/>
                    <a:pt x="4158079" y="3233773"/>
                    <a:pt x="4158079" y="4144544"/>
                  </a:cubicBezTo>
                  <a:lnTo>
                    <a:pt x="1" y="4144545"/>
                  </a:lnTo>
                  <a:lnTo>
                    <a:pt x="1" y="377385"/>
                  </a:lnTo>
                  <a:lnTo>
                    <a:pt x="1" y="377378"/>
                  </a:lnTo>
                  <a:lnTo>
                    <a:pt x="4778" y="338796"/>
                  </a:lnTo>
                  <a:cubicBezTo>
                    <a:pt x="52154" y="148500"/>
                    <a:pt x="446140" y="0"/>
                    <a:pt x="925154" y="0"/>
                  </a:cubicBezTo>
                  <a:close/>
                </a:path>
              </a:pathLst>
            </a:custGeom>
            <a:solidFill>
              <a:srgbClr val="59B4D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000" b="1" i="0" u="none" strike="noStrike" kern="0" cap="none" spc="0" normalizeH="0" baseline="0" noProof="0" dirty="0">
                <a:ln>
                  <a:noFill/>
                </a:ln>
                <a:solidFill>
                  <a:schemeClr val="tx1"/>
                </a:solidFill>
                <a:effectLst/>
                <a:uLnTx/>
                <a:uFillTx/>
                <a:latin typeface="+mj-lt"/>
                <a:ea typeface="Segoe UI" pitchFamily="34" charset="0"/>
                <a:cs typeface="Segoe UI" pitchFamily="34" charset="0"/>
              </a:endParaRPr>
            </a:p>
          </p:txBody>
        </p:sp>
        <p:sp>
          <p:nvSpPr>
            <p:cNvPr id="27" name="Rectangle 26"/>
            <p:cNvSpPr/>
            <p:nvPr/>
          </p:nvSpPr>
          <p:spPr bwMode="auto">
            <a:xfrm>
              <a:off x="3029010" y="4057650"/>
              <a:ext cx="498279" cy="2037434"/>
            </a:xfrm>
            <a:prstGeom prst="rect">
              <a:avLst/>
            </a:prstGeom>
            <a:solidFill>
              <a:srgbClr val="3999C6"/>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5439">
                      <a:srgbClr val="F8F8F8"/>
                    </a:gs>
                    <a:gs pos="10000">
                      <a:srgbClr val="F8F8F8"/>
                    </a:gs>
                  </a:gsLst>
                  <a:lin ang="5400000" scaled="0"/>
                </a:gradFill>
                <a:effectLst/>
                <a:uLnTx/>
                <a:uFillTx/>
              </a:endParaRPr>
            </a:p>
          </p:txBody>
        </p:sp>
        <p:sp>
          <p:nvSpPr>
            <p:cNvPr id="28" name="Oval 27"/>
            <p:cNvSpPr/>
            <p:nvPr/>
          </p:nvSpPr>
          <p:spPr bwMode="auto">
            <a:xfrm>
              <a:off x="3029010" y="3853608"/>
              <a:ext cx="1001426" cy="405085"/>
            </a:xfrm>
            <a:prstGeom prst="ellipse">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5439">
                      <a:srgbClr val="F8F8F8"/>
                    </a:gs>
                    <a:gs pos="10000">
                      <a:srgbClr val="F8F8F8"/>
                    </a:gs>
                  </a:gsLst>
                  <a:lin ang="5400000" scaled="0"/>
                </a:gradFill>
                <a:effectLst/>
                <a:uLnTx/>
                <a:uFillTx/>
              </a:endParaRPr>
            </a:p>
          </p:txBody>
        </p:sp>
        <p:sp>
          <p:nvSpPr>
            <p:cNvPr id="29" name="Oval 28"/>
            <p:cNvSpPr/>
            <p:nvPr/>
          </p:nvSpPr>
          <p:spPr bwMode="auto">
            <a:xfrm>
              <a:off x="3130747" y="3939810"/>
              <a:ext cx="797952" cy="232681"/>
            </a:xfrm>
            <a:prstGeom prst="ellipse">
              <a:avLst/>
            </a:prstGeom>
            <a:solidFill>
              <a:srgbClr val="B8D43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5439">
                      <a:srgbClr val="F8F8F8"/>
                    </a:gs>
                    <a:gs pos="10000">
                      <a:srgbClr val="F8F8F8"/>
                    </a:gs>
                  </a:gsLst>
                  <a:lin ang="5400000" scaled="0"/>
                </a:gradFill>
                <a:effectLst/>
                <a:uLnTx/>
                <a:uFillTx/>
              </a:endParaRPr>
            </a:p>
          </p:txBody>
        </p:sp>
        <p:sp>
          <p:nvSpPr>
            <p:cNvPr id="30" name="Freeform: Shape 29"/>
            <p:cNvSpPr/>
            <p:nvPr/>
          </p:nvSpPr>
          <p:spPr bwMode="auto">
            <a:xfrm>
              <a:off x="3222043" y="4080199"/>
              <a:ext cx="615360" cy="90262"/>
            </a:xfrm>
            <a:custGeom>
              <a:avLst/>
              <a:gdLst>
                <a:gd name="connsiteX0" fmla="*/ 307680 w 615360"/>
                <a:gd name="connsiteY0" fmla="*/ 0 h 90262"/>
                <a:gd name="connsiteX1" fmla="*/ 589799 w 615360"/>
                <a:gd name="connsiteY1" fmla="*/ 34076 h 90262"/>
                <a:gd name="connsiteX2" fmla="*/ 615360 w 615360"/>
                <a:gd name="connsiteY2" fmla="*/ 45131 h 90262"/>
                <a:gd name="connsiteX3" fmla="*/ 589799 w 615360"/>
                <a:gd name="connsiteY3" fmla="*/ 56186 h 90262"/>
                <a:gd name="connsiteX4" fmla="*/ 307680 w 615360"/>
                <a:gd name="connsiteY4" fmla="*/ 90262 h 90262"/>
                <a:gd name="connsiteX5" fmla="*/ 25562 w 615360"/>
                <a:gd name="connsiteY5" fmla="*/ 56186 h 90262"/>
                <a:gd name="connsiteX6" fmla="*/ 0 w 615360"/>
                <a:gd name="connsiteY6" fmla="*/ 45131 h 90262"/>
                <a:gd name="connsiteX7" fmla="*/ 25562 w 615360"/>
                <a:gd name="connsiteY7" fmla="*/ 34076 h 90262"/>
                <a:gd name="connsiteX8" fmla="*/ 307680 w 615360"/>
                <a:gd name="connsiteY8" fmla="*/ 0 h 90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15360" h="90262">
                  <a:moveTo>
                    <a:pt x="307680" y="0"/>
                  </a:moveTo>
                  <a:cubicBezTo>
                    <a:pt x="417854" y="0"/>
                    <a:pt x="517598" y="13022"/>
                    <a:pt x="589799" y="34076"/>
                  </a:cubicBezTo>
                  <a:lnTo>
                    <a:pt x="615360" y="45131"/>
                  </a:lnTo>
                  <a:lnTo>
                    <a:pt x="589799" y="56186"/>
                  </a:lnTo>
                  <a:cubicBezTo>
                    <a:pt x="517598" y="77240"/>
                    <a:pt x="417854" y="90262"/>
                    <a:pt x="307680" y="90262"/>
                  </a:cubicBezTo>
                  <a:cubicBezTo>
                    <a:pt x="197506" y="90262"/>
                    <a:pt x="97762" y="77240"/>
                    <a:pt x="25562" y="56186"/>
                  </a:cubicBezTo>
                  <a:lnTo>
                    <a:pt x="0" y="45131"/>
                  </a:lnTo>
                  <a:lnTo>
                    <a:pt x="25562" y="34076"/>
                  </a:lnTo>
                  <a:cubicBezTo>
                    <a:pt x="97762" y="13022"/>
                    <a:pt x="197506" y="0"/>
                    <a:pt x="307680" y="0"/>
                  </a:cubicBezTo>
                  <a:close/>
                </a:path>
              </a:pathLst>
            </a:custGeom>
            <a:solidFill>
              <a:srgbClr val="7FBA0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5439">
                      <a:srgbClr val="F8F8F8"/>
                    </a:gs>
                    <a:gs pos="10000">
                      <a:srgbClr val="F8F8F8"/>
                    </a:gs>
                  </a:gsLst>
                  <a:lin ang="5400000" scaled="0"/>
                </a:gradFill>
                <a:effectLst/>
                <a:uLnTx/>
                <a:uFillTx/>
              </a:endParaRPr>
            </a:p>
          </p:txBody>
        </p:sp>
      </p:grpSp>
      <p:grpSp>
        <p:nvGrpSpPr>
          <p:cNvPr id="31" name="Group 30"/>
          <p:cNvGrpSpPr/>
          <p:nvPr/>
        </p:nvGrpSpPr>
        <p:grpSpPr>
          <a:xfrm>
            <a:off x="3182000" y="2483285"/>
            <a:ext cx="1570798" cy="2064219"/>
            <a:chOff x="8081554" y="1439516"/>
            <a:chExt cx="1393724" cy="1831522"/>
          </a:xfrm>
        </p:grpSpPr>
        <p:grpSp>
          <p:nvGrpSpPr>
            <p:cNvPr id="32" name="Group 31"/>
            <p:cNvGrpSpPr/>
            <p:nvPr/>
          </p:nvGrpSpPr>
          <p:grpSpPr>
            <a:xfrm>
              <a:off x="8081554" y="1483519"/>
              <a:ext cx="1393724" cy="1787519"/>
              <a:chOff x="9286113" y="2184117"/>
              <a:chExt cx="477631" cy="612586"/>
            </a:xfrm>
          </p:grpSpPr>
          <p:sp>
            <p:nvSpPr>
              <p:cNvPr id="37" name="Freeform: Shape 36"/>
              <p:cNvSpPr/>
              <p:nvPr/>
            </p:nvSpPr>
            <p:spPr bwMode="auto">
              <a:xfrm>
                <a:off x="9286113" y="2184117"/>
                <a:ext cx="477631" cy="356259"/>
              </a:xfrm>
              <a:custGeom>
                <a:avLst/>
                <a:gdLst>
                  <a:gd name="connsiteX0" fmla="*/ 238815 w 477631"/>
                  <a:gd name="connsiteY0" fmla="*/ 0 h 356259"/>
                  <a:gd name="connsiteX1" fmla="*/ 476398 w 477631"/>
                  <a:gd name="connsiteY1" fmla="*/ 87456 h 356259"/>
                  <a:gd name="connsiteX2" fmla="*/ 477266 w 477631"/>
                  <a:gd name="connsiteY2" fmla="*/ 94469 h 356259"/>
                  <a:gd name="connsiteX3" fmla="*/ 477631 w 477631"/>
                  <a:gd name="connsiteY3" fmla="*/ 94469 h 356259"/>
                  <a:gd name="connsiteX4" fmla="*/ 477631 w 477631"/>
                  <a:gd name="connsiteY4" fmla="*/ 97416 h 356259"/>
                  <a:gd name="connsiteX5" fmla="*/ 477631 w 477631"/>
                  <a:gd name="connsiteY5" fmla="*/ 333896 h 356259"/>
                  <a:gd name="connsiteX6" fmla="*/ 472500 w 477631"/>
                  <a:gd name="connsiteY6" fmla="*/ 338196 h 356259"/>
                  <a:gd name="connsiteX7" fmla="*/ 409442 w 477631"/>
                  <a:gd name="connsiteY7" fmla="*/ 356259 h 356259"/>
                  <a:gd name="connsiteX8" fmla="*/ 327272 w 477631"/>
                  <a:gd name="connsiteY8" fmla="*/ 318594 h 356259"/>
                  <a:gd name="connsiteX9" fmla="*/ 323075 w 477631"/>
                  <a:gd name="connsiteY9" fmla="*/ 309244 h 356259"/>
                  <a:gd name="connsiteX10" fmla="*/ 318878 w 477631"/>
                  <a:gd name="connsiteY10" fmla="*/ 318594 h 356259"/>
                  <a:gd name="connsiteX11" fmla="*/ 236708 w 477631"/>
                  <a:gd name="connsiteY11" fmla="*/ 356259 h 356259"/>
                  <a:gd name="connsiteX12" fmla="*/ 154538 w 477631"/>
                  <a:gd name="connsiteY12" fmla="*/ 318594 h 356259"/>
                  <a:gd name="connsiteX13" fmla="*/ 152448 w 477631"/>
                  <a:gd name="connsiteY13" fmla="*/ 313938 h 356259"/>
                  <a:gd name="connsiteX14" fmla="*/ 150358 w 477631"/>
                  <a:gd name="connsiteY14" fmla="*/ 318594 h 356259"/>
                  <a:gd name="connsiteX15" fmla="*/ 68189 w 477631"/>
                  <a:gd name="connsiteY15" fmla="*/ 356259 h 356259"/>
                  <a:gd name="connsiteX16" fmla="*/ 5130 w 477631"/>
                  <a:gd name="connsiteY16" fmla="*/ 338196 h 356259"/>
                  <a:gd name="connsiteX17" fmla="*/ 0 w 477631"/>
                  <a:gd name="connsiteY17" fmla="*/ 333896 h 356259"/>
                  <a:gd name="connsiteX18" fmla="*/ 0 w 477631"/>
                  <a:gd name="connsiteY18" fmla="*/ 97417 h 356259"/>
                  <a:gd name="connsiteX19" fmla="*/ 0 w 477631"/>
                  <a:gd name="connsiteY19" fmla="*/ 97416 h 356259"/>
                  <a:gd name="connsiteX20" fmla="*/ 0 w 477631"/>
                  <a:gd name="connsiteY20" fmla="*/ 97415 h 356259"/>
                  <a:gd name="connsiteX21" fmla="*/ 1233 w 477631"/>
                  <a:gd name="connsiteY21" fmla="*/ 87456 h 356259"/>
                  <a:gd name="connsiteX22" fmla="*/ 238815 w 477631"/>
                  <a:gd name="connsiteY22" fmla="*/ 0 h 356259"/>
                  <a:gd name="connsiteX23" fmla="*/ 238816 w 477631"/>
                  <a:gd name="connsiteY23" fmla="*/ 35143 h 356259"/>
                  <a:gd name="connsiteX24" fmla="*/ 73975 w 477631"/>
                  <a:gd name="connsiteY24" fmla="*/ 83523 h 356259"/>
                  <a:gd name="connsiteX25" fmla="*/ 238816 w 477631"/>
                  <a:gd name="connsiteY25" fmla="*/ 131904 h 356259"/>
                  <a:gd name="connsiteX26" fmla="*/ 403656 w 477631"/>
                  <a:gd name="connsiteY26" fmla="*/ 83523 h 356259"/>
                  <a:gd name="connsiteX27" fmla="*/ 238816 w 477631"/>
                  <a:gd name="connsiteY27" fmla="*/ 35143 h 3562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477631" h="356259">
                    <a:moveTo>
                      <a:pt x="238815" y="0"/>
                    </a:moveTo>
                    <a:cubicBezTo>
                      <a:pt x="362466" y="0"/>
                      <a:pt x="464168" y="38333"/>
                      <a:pt x="476398" y="87456"/>
                    </a:cubicBezTo>
                    <a:lnTo>
                      <a:pt x="477266" y="94469"/>
                    </a:lnTo>
                    <a:lnTo>
                      <a:pt x="477631" y="94469"/>
                    </a:lnTo>
                    <a:lnTo>
                      <a:pt x="477631" y="97416"/>
                    </a:lnTo>
                    <a:cubicBezTo>
                      <a:pt x="477631" y="176243"/>
                      <a:pt x="477631" y="255069"/>
                      <a:pt x="477631" y="333896"/>
                    </a:cubicBezTo>
                    <a:lnTo>
                      <a:pt x="472500" y="338196"/>
                    </a:lnTo>
                    <a:cubicBezTo>
                      <a:pt x="456362" y="349356"/>
                      <a:pt x="434068" y="356259"/>
                      <a:pt x="409442" y="356259"/>
                    </a:cubicBezTo>
                    <a:cubicBezTo>
                      <a:pt x="372503" y="356259"/>
                      <a:pt x="340810" y="340728"/>
                      <a:pt x="327272" y="318594"/>
                    </a:cubicBezTo>
                    <a:lnTo>
                      <a:pt x="323075" y="309244"/>
                    </a:lnTo>
                    <a:lnTo>
                      <a:pt x="318878" y="318594"/>
                    </a:lnTo>
                    <a:cubicBezTo>
                      <a:pt x="305340" y="340728"/>
                      <a:pt x="273647" y="356259"/>
                      <a:pt x="236708" y="356259"/>
                    </a:cubicBezTo>
                    <a:cubicBezTo>
                      <a:pt x="199770" y="356259"/>
                      <a:pt x="168076" y="340728"/>
                      <a:pt x="154538" y="318594"/>
                    </a:cubicBezTo>
                    <a:lnTo>
                      <a:pt x="152448" y="313938"/>
                    </a:lnTo>
                    <a:lnTo>
                      <a:pt x="150358" y="318594"/>
                    </a:lnTo>
                    <a:cubicBezTo>
                      <a:pt x="136820" y="340728"/>
                      <a:pt x="105127" y="356259"/>
                      <a:pt x="68189" y="356259"/>
                    </a:cubicBezTo>
                    <a:cubicBezTo>
                      <a:pt x="43563" y="356259"/>
                      <a:pt x="21268" y="349356"/>
                      <a:pt x="5130" y="338196"/>
                    </a:cubicBezTo>
                    <a:lnTo>
                      <a:pt x="0" y="333896"/>
                    </a:lnTo>
                    <a:cubicBezTo>
                      <a:pt x="0" y="255070"/>
                      <a:pt x="0" y="176244"/>
                      <a:pt x="0" y="97417"/>
                    </a:cubicBezTo>
                    <a:cubicBezTo>
                      <a:pt x="0" y="97417"/>
                      <a:pt x="0" y="97416"/>
                      <a:pt x="0" y="97416"/>
                    </a:cubicBezTo>
                    <a:cubicBezTo>
                      <a:pt x="0" y="97416"/>
                      <a:pt x="0" y="97415"/>
                      <a:pt x="0" y="97415"/>
                    </a:cubicBezTo>
                    <a:lnTo>
                      <a:pt x="1233" y="87456"/>
                    </a:lnTo>
                    <a:cubicBezTo>
                      <a:pt x="13463" y="38333"/>
                      <a:pt x="115165" y="0"/>
                      <a:pt x="238815" y="0"/>
                    </a:cubicBezTo>
                    <a:close/>
                    <a:moveTo>
                      <a:pt x="238816" y="35143"/>
                    </a:moveTo>
                    <a:cubicBezTo>
                      <a:pt x="147777" y="35143"/>
                      <a:pt x="73975" y="56804"/>
                      <a:pt x="73975" y="83523"/>
                    </a:cubicBezTo>
                    <a:cubicBezTo>
                      <a:pt x="73975" y="110243"/>
                      <a:pt x="147777" y="131904"/>
                      <a:pt x="238816" y="131904"/>
                    </a:cubicBezTo>
                    <a:cubicBezTo>
                      <a:pt x="329854" y="131904"/>
                      <a:pt x="403656" y="110243"/>
                      <a:pt x="403656" y="83523"/>
                    </a:cubicBezTo>
                    <a:cubicBezTo>
                      <a:pt x="403656" y="56804"/>
                      <a:pt x="329854" y="35143"/>
                      <a:pt x="238816" y="35143"/>
                    </a:cubicBezTo>
                    <a:close/>
                  </a:path>
                </a:pathLst>
              </a:custGeom>
              <a:solidFill>
                <a:srgbClr val="59B4D9"/>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5439">
                        <a:srgbClr val="F8F8F8"/>
                      </a:gs>
                      <a:gs pos="10000">
                        <a:srgbClr val="F8F8F8"/>
                      </a:gs>
                    </a:gsLst>
                    <a:lin ang="5400000" scaled="0"/>
                  </a:gradFill>
                  <a:effectLst/>
                  <a:uLnTx/>
                  <a:uFillTx/>
                </a:endParaRPr>
              </a:p>
            </p:txBody>
          </p:sp>
          <p:sp>
            <p:nvSpPr>
              <p:cNvPr id="38" name="Freeform: Shape 37"/>
              <p:cNvSpPr/>
              <p:nvPr/>
            </p:nvSpPr>
            <p:spPr bwMode="auto">
              <a:xfrm>
                <a:off x="9286113" y="2529562"/>
                <a:ext cx="477631" cy="267141"/>
              </a:xfrm>
              <a:custGeom>
                <a:avLst/>
                <a:gdLst>
                  <a:gd name="connsiteX0" fmla="*/ 323075 w 477631"/>
                  <a:gd name="connsiteY0" fmla="*/ 0 h 267141"/>
                  <a:gd name="connsiteX1" fmla="*/ 327272 w 477631"/>
                  <a:gd name="connsiteY1" fmla="*/ 9350 h 267141"/>
                  <a:gd name="connsiteX2" fmla="*/ 409442 w 477631"/>
                  <a:gd name="connsiteY2" fmla="*/ 47015 h 267141"/>
                  <a:gd name="connsiteX3" fmla="*/ 472500 w 477631"/>
                  <a:gd name="connsiteY3" fmla="*/ 28952 h 267141"/>
                  <a:gd name="connsiteX4" fmla="*/ 477631 w 477631"/>
                  <a:gd name="connsiteY4" fmla="*/ 24652 h 267141"/>
                  <a:gd name="connsiteX5" fmla="*/ 477631 w 477631"/>
                  <a:gd name="connsiteY5" fmla="*/ 169724 h 267141"/>
                  <a:gd name="connsiteX6" fmla="*/ 477631 w 477631"/>
                  <a:gd name="connsiteY6" fmla="*/ 169725 h 267141"/>
                  <a:gd name="connsiteX7" fmla="*/ 477631 w 477631"/>
                  <a:gd name="connsiteY7" fmla="*/ 169726 h 267141"/>
                  <a:gd name="connsiteX8" fmla="*/ 477631 w 477631"/>
                  <a:gd name="connsiteY8" fmla="*/ 172672 h 267141"/>
                  <a:gd name="connsiteX9" fmla="*/ 477266 w 477631"/>
                  <a:gd name="connsiteY9" fmla="*/ 172672 h 267141"/>
                  <a:gd name="connsiteX10" fmla="*/ 476398 w 477631"/>
                  <a:gd name="connsiteY10" fmla="*/ 179686 h 267141"/>
                  <a:gd name="connsiteX11" fmla="*/ 238816 w 477631"/>
                  <a:gd name="connsiteY11" fmla="*/ 267141 h 267141"/>
                  <a:gd name="connsiteX12" fmla="*/ 1233 w 477631"/>
                  <a:gd name="connsiteY12" fmla="*/ 179686 h 267141"/>
                  <a:gd name="connsiteX13" fmla="*/ 365 w 477631"/>
                  <a:gd name="connsiteY13" fmla="*/ 172672 h 267141"/>
                  <a:gd name="connsiteX14" fmla="*/ 0 w 477631"/>
                  <a:gd name="connsiteY14" fmla="*/ 172672 h 267141"/>
                  <a:gd name="connsiteX15" fmla="*/ 0 w 477631"/>
                  <a:gd name="connsiteY15" fmla="*/ 169725 h 267141"/>
                  <a:gd name="connsiteX16" fmla="*/ 0 w 477631"/>
                  <a:gd name="connsiteY16" fmla="*/ 24653 h 267141"/>
                  <a:gd name="connsiteX17" fmla="*/ 5130 w 477631"/>
                  <a:gd name="connsiteY17" fmla="*/ 28952 h 267141"/>
                  <a:gd name="connsiteX18" fmla="*/ 68189 w 477631"/>
                  <a:gd name="connsiteY18" fmla="*/ 47015 h 267141"/>
                  <a:gd name="connsiteX19" fmla="*/ 150358 w 477631"/>
                  <a:gd name="connsiteY19" fmla="*/ 9350 h 267141"/>
                  <a:gd name="connsiteX20" fmla="*/ 152449 w 477631"/>
                  <a:gd name="connsiteY20" fmla="*/ 4694 h 267141"/>
                  <a:gd name="connsiteX21" fmla="*/ 154539 w 477631"/>
                  <a:gd name="connsiteY21" fmla="*/ 9350 h 267141"/>
                  <a:gd name="connsiteX22" fmla="*/ 236708 w 477631"/>
                  <a:gd name="connsiteY22" fmla="*/ 47015 h 267141"/>
                  <a:gd name="connsiteX23" fmla="*/ 318878 w 477631"/>
                  <a:gd name="connsiteY23" fmla="*/ 9350 h 267141"/>
                  <a:gd name="connsiteX24" fmla="*/ 323075 w 477631"/>
                  <a:gd name="connsiteY24" fmla="*/ 0 h 2671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477631" h="267141">
                    <a:moveTo>
                      <a:pt x="323075" y="0"/>
                    </a:moveTo>
                    <a:lnTo>
                      <a:pt x="327272" y="9350"/>
                    </a:lnTo>
                    <a:cubicBezTo>
                      <a:pt x="340810" y="31484"/>
                      <a:pt x="372504" y="47015"/>
                      <a:pt x="409442" y="47015"/>
                    </a:cubicBezTo>
                    <a:cubicBezTo>
                      <a:pt x="434068" y="47015"/>
                      <a:pt x="456362" y="40112"/>
                      <a:pt x="472500" y="28952"/>
                    </a:cubicBezTo>
                    <a:lnTo>
                      <a:pt x="477631" y="24652"/>
                    </a:lnTo>
                    <a:lnTo>
                      <a:pt x="477631" y="169724"/>
                    </a:lnTo>
                    <a:cubicBezTo>
                      <a:pt x="477631" y="169725"/>
                      <a:pt x="477631" y="169725"/>
                      <a:pt x="477631" y="169725"/>
                    </a:cubicBezTo>
                    <a:cubicBezTo>
                      <a:pt x="477631" y="169726"/>
                      <a:pt x="477631" y="169726"/>
                      <a:pt x="477631" y="169726"/>
                    </a:cubicBezTo>
                    <a:lnTo>
                      <a:pt x="477631" y="172672"/>
                    </a:lnTo>
                    <a:lnTo>
                      <a:pt x="477266" y="172672"/>
                    </a:lnTo>
                    <a:lnTo>
                      <a:pt x="476398" y="179686"/>
                    </a:lnTo>
                    <a:cubicBezTo>
                      <a:pt x="464168" y="228808"/>
                      <a:pt x="362466" y="267141"/>
                      <a:pt x="238816" y="267141"/>
                    </a:cubicBezTo>
                    <a:cubicBezTo>
                      <a:pt x="115165" y="267141"/>
                      <a:pt x="13463" y="228808"/>
                      <a:pt x="1233" y="179686"/>
                    </a:cubicBezTo>
                    <a:lnTo>
                      <a:pt x="365" y="172672"/>
                    </a:lnTo>
                    <a:lnTo>
                      <a:pt x="0" y="172672"/>
                    </a:lnTo>
                    <a:lnTo>
                      <a:pt x="0" y="169725"/>
                    </a:lnTo>
                    <a:lnTo>
                      <a:pt x="0" y="24653"/>
                    </a:lnTo>
                    <a:lnTo>
                      <a:pt x="5130" y="28952"/>
                    </a:lnTo>
                    <a:cubicBezTo>
                      <a:pt x="21268" y="40112"/>
                      <a:pt x="43563" y="47015"/>
                      <a:pt x="68189" y="47015"/>
                    </a:cubicBezTo>
                    <a:cubicBezTo>
                      <a:pt x="105127" y="47015"/>
                      <a:pt x="136821" y="31484"/>
                      <a:pt x="150358" y="9350"/>
                    </a:cubicBezTo>
                    <a:lnTo>
                      <a:pt x="152449" y="4694"/>
                    </a:lnTo>
                    <a:lnTo>
                      <a:pt x="154539" y="9350"/>
                    </a:lnTo>
                    <a:cubicBezTo>
                      <a:pt x="168076" y="31484"/>
                      <a:pt x="199770" y="47015"/>
                      <a:pt x="236708" y="47015"/>
                    </a:cubicBezTo>
                    <a:cubicBezTo>
                      <a:pt x="273647" y="47015"/>
                      <a:pt x="305340" y="31484"/>
                      <a:pt x="318878" y="9350"/>
                    </a:cubicBezTo>
                    <a:lnTo>
                      <a:pt x="323075" y="0"/>
                    </a:lnTo>
                    <a:close/>
                  </a:path>
                </a:pathLst>
              </a:custGeom>
              <a:solidFill>
                <a:srgbClr val="3999C6"/>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5439">
                        <a:srgbClr val="F8F8F8"/>
                      </a:gs>
                      <a:gs pos="10000">
                        <a:srgbClr val="F8F8F8"/>
                      </a:gs>
                    </a:gsLst>
                    <a:lin ang="5400000" scaled="0"/>
                  </a:gradFill>
                  <a:effectLst/>
                  <a:uLnTx/>
                  <a:uFillTx/>
                </a:endParaRPr>
              </a:p>
            </p:txBody>
          </p:sp>
        </p:grpSp>
        <p:grpSp>
          <p:nvGrpSpPr>
            <p:cNvPr id="33" name="Group 32"/>
            <p:cNvGrpSpPr/>
            <p:nvPr/>
          </p:nvGrpSpPr>
          <p:grpSpPr>
            <a:xfrm>
              <a:off x="8081554" y="1439516"/>
              <a:ext cx="1393724" cy="563772"/>
              <a:chOff x="3029010" y="3853608"/>
              <a:chExt cx="1001426" cy="405085"/>
            </a:xfrm>
          </p:grpSpPr>
          <p:sp>
            <p:nvSpPr>
              <p:cNvPr id="34" name="Oval 33"/>
              <p:cNvSpPr/>
              <p:nvPr/>
            </p:nvSpPr>
            <p:spPr bwMode="auto">
              <a:xfrm>
                <a:off x="3029010" y="3853608"/>
                <a:ext cx="1001426" cy="405085"/>
              </a:xfrm>
              <a:prstGeom prst="ellipse">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5439">
                        <a:srgbClr val="F8F8F8"/>
                      </a:gs>
                      <a:gs pos="10000">
                        <a:srgbClr val="F8F8F8"/>
                      </a:gs>
                    </a:gsLst>
                    <a:lin ang="5400000" scaled="0"/>
                  </a:gradFill>
                  <a:effectLst/>
                  <a:uLnTx/>
                  <a:uFillTx/>
                </a:endParaRPr>
              </a:p>
            </p:txBody>
          </p:sp>
          <p:sp>
            <p:nvSpPr>
              <p:cNvPr id="35" name="Oval 34"/>
              <p:cNvSpPr/>
              <p:nvPr/>
            </p:nvSpPr>
            <p:spPr bwMode="auto">
              <a:xfrm>
                <a:off x="3130747" y="3939810"/>
                <a:ext cx="797952" cy="232681"/>
              </a:xfrm>
              <a:prstGeom prst="ellipse">
                <a:avLst/>
              </a:prstGeom>
              <a:solidFill>
                <a:srgbClr val="B8D43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5439">
                        <a:srgbClr val="F8F8F8"/>
                      </a:gs>
                      <a:gs pos="10000">
                        <a:srgbClr val="F8F8F8"/>
                      </a:gs>
                    </a:gsLst>
                    <a:lin ang="5400000" scaled="0"/>
                  </a:gradFill>
                  <a:effectLst/>
                  <a:uLnTx/>
                  <a:uFillTx/>
                </a:endParaRPr>
              </a:p>
            </p:txBody>
          </p:sp>
          <p:sp>
            <p:nvSpPr>
              <p:cNvPr id="36" name="Freeform: Shape 35"/>
              <p:cNvSpPr/>
              <p:nvPr/>
            </p:nvSpPr>
            <p:spPr bwMode="auto">
              <a:xfrm>
                <a:off x="3222043" y="4080199"/>
                <a:ext cx="615360" cy="90262"/>
              </a:xfrm>
              <a:custGeom>
                <a:avLst/>
                <a:gdLst>
                  <a:gd name="connsiteX0" fmla="*/ 307680 w 615360"/>
                  <a:gd name="connsiteY0" fmla="*/ 0 h 90262"/>
                  <a:gd name="connsiteX1" fmla="*/ 589799 w 615360"/>
                  <a:gd name="connsiteY1" fmla="*/ 34076 h 90262"/>
                  <a:gd name="connsiteX2" fmla="*/ 615360 w 615360"/>
                  <a:gd name="connsiteY2" fmla="*/ 45131 h 90262"/>
                  <a:gd name="connsiteX3" fmla="*/ 589799 w 615360"/>
                  <a:gd name="connsiteY3" fmla="*/ 56186 h 90262"/>
                  <a:gd name="connsiteX4" fmla="*/ 307680 w 615360"/>
                  <a:gd name="connsiteY4" fmla="*/ 90262 h 90262"/>
                  <a:gd name="connsiteX5" fmla="*/ 25562 w 615360"/>
                  <a:gd name="connsiteY5" fmla="*/ 56186 h 90262"/>
                  <a:gd name="connsiteX6" fmla="*/ 0 w 615360"/>
                  <a:gd name="connsiteY6" fmla="*/ 45131 h 90262"/>
                  <a:gd name="connsiteX7" fmla="*/ 25562 w 615360"/>
                  <a:gd name="connsiteY7" fmla="*/ 34076 h 90262"/>
                  <a:gd name="connsiteX8" fmla="*/ 307680 w 615360"/>
                  <a:gd name="connsiteY8" fmla="*/ 0 h 90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15360" h="90262">
                    <a:moveTo>
                      <a:pt x="307680" y="0"/>
                    </a:moveTo>
                    <a:cubicBezTo>
                      <a:pt x="417854" y="0"/>
                      <a:pt x="517598" y="13022"/>
                      <a:pt x="589799" y="34076"/>
                    </a:cubicBezTo>
                    <a:lnTo>
                      <a:pt x="615360" y="45131"/>
                    </a:lnTo>
                    <a:lnTo>
                      <a:pt x="589799" y="56186"/>
                    </a:lnTo>
                    <a:cubicBezTo>
                      <a:pt x="517598" y="77240"/>
                      <a:pt x="417854" y="90262"/>
                      <a:pt x="307680" y="90262"/>
                    </a:cubicBezTo>
                    <a:cubicBezTo>
                      <a:pt x="197506" y="90262"/>
                      <a:pt x="97762" y="77240"/>
                      <a:pt x="25562" y="56186"/>
                    </a:cubicBezTo>
                    <a:lnTo>
                      <a:pt x="0" y="45131"/>
                    </a:lnTo>
                    <a:lnTo>
                      <a:pt x="25562" y="34076"/>
                    </a:lnTo>
                    <a:cubicBezTo>
                      <a:pt x="97762" y="13022"/>
                      <a:pt x="197506" y="0"/>
                      <a:pt x="307680" y="0"/>
                    </a:cubicBezTo>
                    <a:close/>
                  </a:path>
                </a:pathLst>
              </a:custGeom>
              <a:solidFill>
                <a:srgbClr val="7FBA0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5439">
                        <a:srgbClr val="F8F8F8"/>
                      </a:gs>
                      <a:gs pos="10000">
                        <a:srgbClr val="F8F8F8"/>
                      </a:gs>
                    </a:gsLst>
                    <a:lin ang="5400000" scaled="0"/>
                  </a:gradFill>
                  <a:effectLst/>
                  <a:uLnTx/>
                  <a:uFillTx/>
                </a:endParaRPr>
              </a:p>
            </p:txBody>
          </p:sp>
        </p:grpSp>
      </p:grpSp>
      <p:cxnSp>
        <p:nvCxnSpPr>
          <p:cNvPr id="19" name="Connector: Elbow 18"/>
          <p:cNvCxnSpPr/>
          <p:nvPr/>
        </p:nvCxnSpPr>
        <p:spPr>
          <a:xfrm flipV="1">
            <a:off x="1633238" y="4129846"/>
            <a:ext cx="1187301" cy="1138074"/>
          </a:xfrm>
          <a:prstGeom prst="bentConnector3">
            <a:avLst>
              <a:gd name="adj1" fmla="val 50000"/>
            </a:avLst>
          </a:prstGeom>
          <a:ln w="38100" cmpd="sng">
            <a:solidFill>
              <a:schemeClr val="accent1"/>
            </a:solidFill>
            <a:prstDash val="sysDash"/>
            <a:headEnd type="none"/>
            <a:tailEnd type="triangl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657476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bwMode="auto">
          <a:xfrm>
            <a:off x="0" y="1508654"/>
            <a:ext cx="12192000" cy="49014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000" b="1" i="0" u="none" strike="noStrike" kern="0" cap="none" spc="0" normalizeH="0" baseline="0" noProof="0" dirty="0">
              <a:ln>
                <a:noFill/>
              </a:ln>
              <a:solidFill>
                <a:schemeClr val="bg1"/>
              </a:solidFill>
              <a:effectLst/>
              <a:uLnTx/>
              <a:uFillTx/>
              <a:latin typeface="+mj-lt"/>
              <a:ea typeface="Segoe UI" pitchFamily="34" charset="0"/>
              <a:cs typeface="Segoe UI" pitchFamily="34" charset="0"/>
            </a:endParaRPr>
          </a:p>
        </p:txBody>
      </p:sp>
      <p:sp>
        <p:nvSpPr>
          <p:cNvPr id="126" name="Title 1"/>
          <p:cNvSpPr>
            <a:spLocks noGrp="1"/>
          </p:cNvSpPr>
          <p:nvPr>
            <p:ph type="title"/>
          </p:nvPr>
        </p:nvSpPr>
        <p:spPr>
          <a:xfrm>
            <a:off x="268927" y="286381"/>
            <a:ext cx="11653523" cy="927940"/>
          </a:xfrm>
        </p:spPr>
        <p:txBody>
          <a:bodyPr/>
          <a:lstStyle/>
          <a:p>
            <a:r>
              <a:rPr lang="en-US" dirty="0"/>
              <a:t>Azure Data Lake</a:t>
            </a:r>
            <a:br>
              <a:rPr lang="en-US" dirty="0"/>
            </a:br>
            <a:r>
              <a:rPr lang="en-US" sz="3600" dirty="0">
                <a:solidFill>
                  <a:schemeClr val="accent2"/>
                </a:solidFill>
              </a:rPr>
              <a:t>as part of Cortana Intelligence Suite</a:t>
            </a:r>
          </a:p>
        </p:txBody>
      </p:sp>
      <p:grpSp>
        <p:nvGrpSpPr>
          <p:cNvPr id="128" name="Group 127"/>
          <p:cNvGrpSpPr/>
          <p:nvPr/>
        </p:nvGrpSpPr>
        <p:grpSpPr>
          <a:xfrm>
            <a:off x="9588714" y="1666194"/>
            <a:ext cx="2241039" cy="4615293"/>
            <a:chOff x="9588714" y="1666194"/>
            <a:chExt cx="2241039" cy="4615293"/>
          </a:xfrm>
        </p:grpSpPr>
        <p:sp>
          <p:nvSpPr>
            <p:cNvPr id="129" name="Rectangle 128"/>
            <p:cNvSpPr/>
            <p:nvPr/>
          </p:nvSpPr>
          <p:spPr>
            <a:xfrm>
              <a:off x="10329146" y="5953575"/>
              <a:ext cx="1500607" cy="327912"/>
            </a:xfrm>
            <a:prstGeom prst="rect">
              <a:avLst/>
            </a:prstGeom>
          </p:spPr>
          <p:txBody>
            <a:bodyPr wrap="none" lIns="0" tIns="0" rIns="0" bIns="0" anchor="ctr">
              <a:noAutofit/>
            </a:bodyPr>
            <a:lstStyle/>
            <a:p>
              <a:pPr marL="0" marR="0" lvl="0" indent="0" defTabSz="914400" eaLnBrk="1" fontAlgn="auto" latinLnBrk="0" hangingPunct="1">
                <a:lnSpc>
                  <a:spcPct val="90000"/>
                </a:lnSpc>
                <a:spcBef>
                  <a:spcPts val="0"/>
                </a:spcBef>
                <a:spcAft>
                  <a:spcPts val="0"/>
                </a:spcAft>
                <a:buClrTx/>
                <a:buSzTx/>
                <a:buFontTx/>
                <a:buNone/>
                <a:tabLst/>
                <a:defRPr/>
              </a:pPr>
              <a:r>
                <a:rPr kumimoji="0" lang="en-US" sz="2400" b="0" i="0" u="none" strike="noStrike" kern="0" cap="none" spc="0" normalizeH="0" baseline="0" noProof="0" dirty="0">
                  <a:ln>
                    <a:noFill/>
                  </a:ln>
                  <a:solidFill>
                    <a:srgbClr val="002050"/>
                  </a:solidFill>
                  <a:effectLst/>
                  <a:uLnTx/>
                  <a:uFillTx/>
                  <a:latin typeface="Segoe UI Light"/>
                </a:rPr>
                <a:t>Action</a:t>
              </a:r>
            </a:p>
          </p:txBody>
        </p:sp>
        <p:sp>
          <p:nvSpPr>
            <p:cNvPr id="130" name="Freeform 5"/>
            <p:cNvSpPr/>
            <p:nvPr/>
          </p:nvSpPr>
          <p:spPr bwMode="auto">
            <a:xfrm flipH="1">
              <a:off x="9588714" y="1666194"/>
              <a:ext cx="123857" cy="4199169"/>
            </a:xfrm>
            <a:custGeom>
              <a:avLst/>
              <a:gdLst>
                <a:gd name="connsiteX0" fmla="*/ 247650 w 247650"/>
                <a:gd name="connsiteY0" fmla="*/ 0 h 295275"/>
                <a:gd name="connsiteX1" fmla="*/ 0 w 247650"/>
                <a:gd name="connsiteY1" fmla="*/ 0 h 295275"/>
                <a:gd name="connsiteX2" fmla="*/ 0 w 247650"/>
                <a:gd name="connsiteY2" fmla="*/ 295275 h 295275"/>
                <a:gd name="connsiteX3" fmla="*/ 238125 w 247650"/>
                <a:gd name="connsiteY3" fmla="*/ 295275 h 295275"/>
              </a:gdLst>
              <a:ahLst/>
              <a:cxnLst>
                <a:cxn ang="0">
                  <a:pos x="connsiteX0" y="connsiteY0"/>
                </a:cxn>
                <a:cxn ang="0">
                  <a:pos x="connsiteX1" y="connsiteY1"/>
                </a:cxn>
                <a:cxn ang="0">
                  <a:pos x="connsiteX2" y="connsiteY2"/>
                </a:cxn>
                <a:cxn ang="0">
                  <a:pos x="connsiteX3" y="connsiteY3"/>
                </a:cxn>
              </a:cxnLst>
              <a:rect l="l" t="t" r="r" b="b"/>
              <a:pathLst>
                <a:path w="247650" h="295275">
                  <a:moveTo>
                    <a:pt x="247650" y="0"/>
                  </a:moveTo>
                  <a:lnTo>
                    <a:pt x="0" y="0"/>
                  </a:lnTo>
                  <a:lnTo>
                    <a:pt x="0" y="295275"/>
                  </a:lnTo>
                  <a:lnTo>
                    <a:pt x="238125" y="295275"/>
                  </a:lnTo>
                </a:path>
              </a:pathLst>
            </a:custGeom>
            <a:noFill/>
            <a:ln w="12700" cap="flat" cmpd="sng" algn="ctr">
              <a:solidFill>
                <a:srgbClr val="0078D7"/>
              </a:solidFill>
              <a:prstDash val="solid"/>
              <a:headEnd type="none" w="med" len="med"/>
              <a:tailEnd type="none" w="med" len="me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a typeface="+mn-ea"/>
                <a:cs typeface="+mn-cs"/>
              </a:endParaRPr>
            </a:p>
          </p:txBody>
        </p:sp>
        <p:sp>
          <p:nvSpPr>
            <p:cNvPr id="131" name="TextBox 130"/>
            <p:cNvSpPr txBox="1"/>
            <p:nvPr/>
          </p:nvSpPr>
          <p:spPr>
            <a:xfrm>
              <a:off x="10381650" y="1978779"/>
              <a:ext cx="1090058" cy="461622"/>
            </a:xfrm>
            <a:prstGeom prst="rect">
              <a:avLst/>
            </a:prstGeom>
            <a:noFill/>
          </p:spPr>
          <p:txBody>
            <a:bodyPr wrap="square" lIns="182854" tIns="146283" rIns="182854" bIns="146283" rtlCol="0">
              <a:spAutoFit/>
            </a:bodyPr>
            <a:lstStyle/>
            <a:p>
              <a:pPr marL="0" marR="0" lvl="0" indent="0" defTabSz="932563" eaLnBrk="1" fontAlgn="auto" latinLnBrk="0" hangingPunct="1">
                <a:lnSpc>
                  <a:spcPct val="90000"/>
                </a:lnSpc>
                <a:spcBef>
                  <a:spcPct val="0"/>
                </a:spcBef>
                <a:spcAft>
                  <a:spcPts val="600"/>
                </a:spcAft>
                <a:buClrTx/>
                <a:buSzTx/>
                <a:buFontTx/>
                <a:buNone/>
                <a:tabLst/>
                <a:defRPr/>
              </a:pPr>
              <a:r>
                <a:rPr kumimoji="0" lang="en-US" sz="1200" b="0" i="0" u="none" strike="noStrike" kern="0" cap="none" spc="-30" normalizeH="0" baseline="0" noProof="0" dirty="0">
                  <a:ln>
                    <a:noFill/>
                  </a:ln>
                  <a:solidFill>
                    <a:srgbClr val="002050"/>
                  </a:solidFill>
                  <a:effectLst/>
                  <a:uLnTx/>
                  <a:uFillTx/>
                  <a:latin typeface="Segoe UI Semilight" panose="020B0402040204020203" pitchFamily="34" charset="0"/>
                  <a:cs typeface="Segoe UI Semilight" panose="020B0402040204020203" pitchFamily="34" charset="0"/>
                </a:rPr>
                <a:t>People</a:t>
              </a:r>
            </a:p>
          </p:txBody>
        </p:sp>
        <p:sp>
          <p:nvSpPr>
            <p:cNvPr id="132" name="TextBox 131"/>
            <p:cNvSpPr txBox="1"/>
            <p:nvPr/>
          </p:nvSpPr>
          <p:spPr>
            <a:xfrm>
              <a:off x="10650440" y="5204331"/>
              <a:ext cx="868271" cy="332399"/>
            </a:xfrm>
            <a:prstGeom prst="rect">
              <a:avLst/>
            </a:prstGeom>
            <a:noFill/>
          </p:spPr>
          <p:txBody>
            <a:bodyPr wrap="square" lIns="0" tIns="0" rIns="0" bIns="0" rtlCol="0">
              <a:spAutoFit/>
            </a:bodyPr>
            <a:lstStyle/>
            <a:p>
              <a:pPr marL="0" marR="0" lvl="0" indent="0" defTabSz="932563" eaLnBrk="1" fontAlgn="auto" latinLnBrk="0" hangingPunct="1">
                <a:lnSpc>
                  <a:spcPct val="90000"/>
                </a:lnSpc>
                <a:spcBef>
                  <a:spcPct val="0"/>
                </a:spcBef>
                <a:spcAft>
                  <a:spcPts val="600"/>
                </a:spcAft>
                <a:buClrTx/>
                <a:buSzTx/>
                <a:buFontTx/>
                <a:buNone/>
                <a:tabLst/>
                <a:defRPr/>
              </a:pPr>
              <a:r>
                <a:rPr kumimoji="0" lang="en-US" sz="1200" b="0" i="0" u="none" strike="noStrike" kern="0" cap="none" spc="-30" normalizeH="0" baseline="0" noProof="0" dirty="0">
                  <a:ln>
                    <a:noFill/>
                  </a:ln>
                  <a:solidFill>
                    <a:srgbClr val="002050"/>
                  </a:solidFill>
                  <a:effectLst/>
                  <a:uLnTx/>
                  <a:uFillTx/>
                  <a:latin typeface="Segoe UI Semilight" panose="020B0402040204020203" pitchFamily="34" charset="0"/>
                  <a:cs typeface="Segoe UI Semilight" panose="020B0402040204020203" pitchFamily="34" charset="0"/>
                </a:rPr>
                <a:t>Automated </a:t>
              </a:r>
              <a:br>
                <a:rPr kumimoji="0" lang="en-US" sz="1200" b="0" i="0" u="none" strike="noStrike" kern="0" cap="none" spc="-30" normalizeH="0" baseline="0" noProof="0" dirty="0">
                  <a:ln>
                    <a:noFill/>
                  </a:ln>
                  <a:solidFill>
                    <a:srgbClr val="002050"/>
                  </a:solidFill>
                  <a:effectLst/>
                  <a:uLnTx/>
                  <a:uFillTx/>
                  <a:latin typeface="Segoe UI Semilight" panose="020B0402040204020203" pitchFamily="34" charset="0"/>
                  <a:cs typeface="Segoe UI Semilight" panose="020B0402040204020203" pitchFamily="34" charset="0"/>
                </a:rPr>
              </a:br>
              <a:r>
                <a:rPr kumimoji="0" lang="en-US" sz="1200" b="0" i="0" u="none" strike="noStrike" kern="0" cap="none" spc="-30" normalizeH="0" baseline="0" noProof="0" dirty="0">
                  <a:ln>
                    <a:noFill/>
                  </a:ln>
                  <a:solidFill>
                    <a:srgbClr val="002050"/>
                  </a:solidFill>
                  <a:effectLst/>
                  <a:uLnTx/>
                  <a:uFillTx/>
                  <a:latin typeface="Segoe UI Semilight" panose="020B0402040204020203" pitchFamily="34" charset="0"/>
                  <a:cs typeface="Segoe UI Semilight" panose="020B0402040204020203" pitchFamily="34" charset="0"/>
                </a:rPr>
                <a:t>Systems</a:t>
              </a:r>
            </a:p>
          </p:txBody>
        </p:sp>
        <p:grpSp>
          <p:nvGrpSpPr>
            <p:cNvPr id="133" name="Group 132"/>
            <p:cNvGrpSpPr/>
            <p:nvPr/>
          </p:nvGrpSpPr>
          <p:grpSpPr>
            <a:xfrm>
              <a:off x="9984119" y="2016920"/>
              <a:ext cx="377227" cy="385340"/>
              <a:chOff x="6112510" y="6954657"/>
              <a:chExt cx="1181100" cy="1206500"/>
            </a:xfrm>
            <a:solidFill>
              <a:srgbClr val="0078D7"/>
            </a:solidFill>
          </p:grpSpPr>
          <p:sp>
            <p:nvSpPr>
              <p:cNvPr id="151" name="Freeform 5"/>
              <p:cNvSpPr>
                <a:spLocks noEditPoints="1"/>
              </p:cNvSpPr>
              <p:nvPr/>
            </p:nvSpPr>
            <p:spPr bwMode="auto">
              <a:xfrm>
                <a:off x="6233160" y="6954657"/>
                <a:ext cx="485775" cy="482600"/>
              </a:xfrm>
              <a:custGeom>
                <a:avLst/>
                <a:gdLst>
                  <a:gd name="T0" fmla="*/ 154 w 306"/>
                  <a:gd name="T1" fmla="*/ 304 h 304"/>
                  <a:gd name="T2" fmla="*/ 122 w 306"/>
                  <a:gd name="T3" fmla="*/ 302 h 304"/>
                  <a:gd name="T4" fmla="*/ 94 w 306"/>
                  <a:gd name="T5" fmla="*/ 292 h 304"/>
                  <a:gd name="T6" fmla="*/ 68 w 306"/>
                  <a:gd name="T7" fmla="*/ 278 h 304"/>
                  <a:gd name="T8" fmla="*/ 46 w 306"/>
                  <a:gd name="T9" fmla="*/ 260 h 304"/>
                  <a:gd name="T10" fmla="*/ 26 w 306"/>
                  <a:gd name="T11" fmla="*/ 238 h 304"/>
                  <a:gd name="T12" fmla="*/ 12 w 306"/>
                  <a:gd name="T13" fmla="*/ 212 h 304"/>
                  <a:gd name="T14" fmla="*/ 4 w 306"/>
                  <a:gd name="T15" fmla="*/ 182 h 304"/>
                  <a:gd name="T16" fmla="*/ 0 w 306"/>
                  <a:gd name="T17" fmla="*/ 152 h 304"/>
                  <a:gd name="T18" fmla="*/ 2 w 306"/>
                  <a:gd name="T19" fmla="*/ 136 h 304"/>
                  <a:gd name="T20" fmla="*/ 8 w 306"/>
                  <a:gd name="T21" fmla="*/ 106 h 304"/>
                  <a:gd name="T22" fmla="*/ 20 w 306"/>
                  <a:gd name="T23" fmla="*/ 80 h 304"/>
                  <a:gd name="T24" fmla="*/ 36 w 306"/>
                  <a:gd name="T25" fmla="*/ 56 h 304"/>
                  <a:gd name="T26" fmla="*/ 56 w 306"/>
                  <a:gd name="T27" fmla="*/ 34 h 304"/>
                  <a:gd name="T28" fmla="*/ 80 w 306"/>
                  <a:gd name="T29" fmla="*/ 18 h 304"/>
                  <a:gd name="T30" fmla="*/ 108 w 306"/>
                  <a:gd name="T31" fmla="*/ 6 h 304"/>
                  <a:gd name="T32" fmla="*/ 138 w 306"/>
                  <a:gd name="T33" fmla="*/ 0 h 304"/>
                  <a:gd name="T34" fmla="*/ 154 w 306"/>
                  <a:gd name="T35" fmla="*/ 0 h 304"/>
                  <a:gd name="T36" fmla="*/ 184 w 306"/>
                  <a:gd name="T37" fmla="*/ 2 h 304"/>
                  <a:gd name="T38" fmla="*/ 212 w 306"/>
                  <a:gd name="T39" fmla="*/ 12 h 304"/>
                  <a:gd name="T40" fmla="*/ 238 w 306"/>
                  <a:gd name="T41" fmla="*/ 26 h 304"/>
                  <a:gd name="T42" fmla="*/ 260 w 306"/>
                  <a:gd name="T43" fmla="*/ 44 h 304"/>
                  <a:gd name="T44" fmla="*/ 280 w 306"/>
                  <a:gd name="T45" fmla="*/ 66 h 304"/>
                  <a:gd name="T46" fmla="*/ 294 w 306"/>
                  <a:gd name="T47" fmla="*/ 92 h 304"/>
                  <a:gd name="T48" fmla="*/ 302 w 306"/>
                  <a:gd name="T49" fmla="*/ 122 h 304"/>
                  <a:gd name="T50" fmla="*/ 306 w 306"/>
                  <a:gd name="T51" fmla="*/ 152 h 304"/>
                  <a:gd name="T52" fmla="*/ 304 w 306"/>
                  <a:gd name="T53" fmla="*/ 168 h 304"/>
                  <a:gd name="T54" fmla="*/ 298 w 306"/>
                  <a:gd name="T55" fmla="*/ 198 h 304"/>
                  <a:gd name="T56" fmla="*/ 288 w 306"/>
                  <a:gd name="T57" fmla="*/ 224 h 304"/>
                  <a:gd name="T58" fmla="*/ 270 w 306"/>
                  <a:gd name="T59" fmla="*/ 248 h 304"/>
                  <a:gd name="T60" fmla="*/ 250 w 306"/>
                  <a:gd name="T61" fmla="*/ 270 h 304"/>
                  <a:gd name="T62" fmla="*/ 226 w 306"/>
                  <a:gd name="T63" fmla="*/ 286 h 304"/>
                  <a:gd name="T64" fmla="*/ 198 w 306"/>
                  <a:gd name="T65" fmla="*/ 298 h 304"/>
                  <a:gd name="T66" fmla="*/ 168 w 306"/>
                  <a:gd name="T67" fmla="*/ 304 h 304"/>
                  <a:gd name="T68" fmla="*/ 154 w 306"/>
                  <a:gd name="T69" fmla="*/ 304 h 304"/>
                  <a:gd name="T70" fmla="*/ 154 w 306"/>
                  <a:gd name="T71" fmla="*/ 28 h 304"/>
                  <a:gd name="T72" fmla="*/ 128 w 306"/>
                  <a:gd name="T73" fmla="*/ 30 h 304"/>
                  <a:gd name="T74" fmla="*/ 104 w 306"/>
                  <a:gd name="T75" fmla="*/ 38 h 304"/>
                  <a:gd name="T76" fmla="*/ 66 w 306"/>
                  <a:gd name="T77" fmla="*/ 64 h 304"/>
                  <a:gd name="T78" fmla="*/ 38 w 306"/>
                  <a:gd name="T79" fmla="*/ 104 h 304"/>
                  <a:gd name="T80" fmla="*/ 32 w 306"/>
                  <a:gd name="T81" fmla="*/ 128 h 304"/>
                  <a:gd name="T82" fmla="*/ 28 w 306"/>
                  <a:gd name="T83" fmla="*/ 152 h 304"/>
                  <a:gd name="T84" fmla="*/ 30 w 306"/>
                  <a:gd name="T85" fmla="*/ 164 h 304"/>
                  <a:gd name="T86" fmla="*/ 34 w 306"/>
                  <a:gd name="T87" fmla="*/ 190 h 304"/>
                  <a:gd name="T88" fmla="*/ 50 w 306"/>
                  <a:gd name="T89" fmla="*/ 222 h 304"/>
                  <a:gd name="T90" fmla="*/ 84 w 306"/>
                  <a:gd name="T91" fmla="*/ 256 h 304"/>
                  <a:gd name="T92" fmla="*/ 116 w 306"/>
                  <a:gd name="T93" fmla="*/ 270 h 304"/>
                  <a:gd name="T94" fmla="*/ 140 w 306"/>
                  <a:gd name="T95" fmla="*/ 276 h 304"/>
                  <a:gd name="T96" fmla="*/ 154 w 306"/>
                  <a:gd name="T97" fmla="*/ 276 h 304"/>
                  <a:gd name="T98" fmla="*/ 178 w 306"/>
                  <a:gd name="T99" fmla="*/ 274 h 304"/>
                  <a:gd name="T100" fmla="*/ 202 w 306"/>
                  <a:gd name="T101" fmla="*/ 266 h 304"/>
                  <a:gd name="T102" fmla="*/ 242 w 306"/>
                  <a:gd name="T103" fmla="*/ 240 h 304"/>
                  <a:gd name="T104" fmla="*/ 268 w 306"/>
                  <a:gd name="T105" fmla="*/ 200 h 304"/>
                  <a:gd name="T106" fmla="*/ 274 w 306"/>
                  <a:gd name="T107" fmla="*/ 178 h 304"/>
                  <a:gd name="T108" fmla="*/ 278 w 306"/>
                  <a:gd name="T109" fmla="*/ 152 h 304"/>
                  <a:gd name="T110" fmla="*/ 276 w 306"/>
                  <a:gd name="T111" fmla="*/ 140 h 304"/>
                  <a:gd name="T112" fmla="*/ 272 w 306"/>
                  <a:gd name="T113" fmla="*/ 116 h 304"/>
                  <a:gd name="T114" fmla="*/ 256 w 306"/>
                  <a:gd name="T115" fmla="*/ 82 h 304"/>
                  <a:gd name="T116" fmla="*/ 222 w 306"/>
                  <a:gd name="T117" fmla="*/ 50 h 304"/>
                  <a:gd name="T118" fmla="*/ 190 w 306"/>
                  <a:gd name="T119" fmla="*/ 34 h 304"/>
                  <a:gd name="T120" fmla="*/ 166 w 306"/>
                  <a:gd name="T121" fmla="*/ 28 h 304"/>
                  <a:gd name="T122" fmla="*/ 154 w 306"/>
                  <a:gd name="T123" fmla="*/ 28 h 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6" h="304">
                    <a:moveTo>
                      <a:pt x="154" y="304"/>
                    </a:moveTo>
                    <a:lnTo>
                      <a:pt x="154" y="304"/>
                    </a:lnTo>
                    <a:lnTo>
                      <a:pt x="138" y="304"/>
                    </a:lnTo>
                    <a:lnTo>
                      <a:pt x="122" y="302"/>
                    </a:lnTo>
                    <a:lnTo>
                      <a:pt x="108" y="298"/>
                    </a:lnTo>
                    <a:lnTo>
                      <a:pt x="94" y="292"/>
                    </a:lnTo>
                    <a:lnTo>
                      <a:pt x="80" y="286"/>
                    </a:lnTo>
                    <a:lnTo>
                      <a:pt x="68" y="278"/>
                    </a:lnTo>
                    <a:lnTo>
                      <a:pt x="56" y="270"/>
                    </a:lnTo>
                    <a:lnTo>
                      <a:pt x="46" y="260"/>
                    </a:lnTo>
                    <a:lnTo>
                      <a:pt x="36" y="248"/>
                    </a:lnTo>
                    <a:lnTo>
                      <a:pt x="26" y="238"/>
                    </a:lnTo>
                    <a:lnTo>
                      <a:pt x="20" y="224"/>
                    </a:lnTo>
                    <a:lnTo>
                      <a:pt x="12" y="212"/>
                    </a:lnTo>
                    <a:lnTo>
                      <a:pt x="8" y="198"/>
                    </a:lnTo>
                    <a:lnTo>
                      <a:pt x="4" y="182"/>
                    </a:lnTo>
                    <a:lnTo>
                      <a:pt x="2" y="168"/>
                    </a:lnTo>
                    <a:lnTo>
                      <a:pt x="0" y="152"/>
                    </a:lnTo>
                    <a:lnTo>
                      <a:pt x="0" y="152"/>
                    </a:lnTo>
                    <a:lnTo>
                      <a:pt x="2" y="136"/>
                    </a:lnTo>
                    <a:lnTo>
                      <a:pt x="4" y="122"/>
                    </a:lnTo>
                    <a:lnTo>
                      <a:pt x="8" y="106"/>
                    </a:lnTo>
                    <a:lnTo>
                      <a:pt x="12" y="92"/>
                    </a:lnTo>
                    <a:lnTo>
                      <a:pt x="20" y="80"/>
                    </a:lnTo>
                    <a:lnTo>
                      <a:pt x="26" y="66"/>
                    </a:lnTo>
                    <a:lnTo>
                      <a:pt x="36" y="56"/>
                    </a:lnTo>
                    <a:lnTo>
                      <a:pt x="46" y="44"/>
                    </a:lnTo>
                    <a:lnTo>
                      <a:pt x="56" y="34"/>
                    </a:lnTo>
                    <a:lnTo>
                      <a:pt x="68" y="26"/>
                    </a:lnTo>
                    <a:lnTo>
                      <a:pt x="80" y="18"/>
                    </a:lnTo>
                    <a:lnTo>
                      <a:pt x="94" y="12"/>
                    </a:lnTo>
                    <a:lnTo>
                      <a:pt x="108" y="6"/>
                    </a:lnTo>
                    <a:lnTo>
                      <a:pt x="122" y="2"/>
                    </a:lnTo>
                    <a:lnTo>
                      <a:pt x="138" y="0"/>
                    </a:lnTo>
                    <a:lnTo>
                      <a:pt x="154" y="0"/>
                    </a:lnTo>
                    <a:lnTo>
                      <a:pt x="154" y="0"/>
                    </a:lnTo>
                    <a:lnTo>
                      <a:pt x="168" y="0"/>
                    </a:lnTo>
                    <a:lnTo>
                      <a:pt x="184" y="2"/>
                    </a:lnTo>
                    <a:lnTo>
                      <a:pt x="198" y="6"/>
                    </a:lnTo>
                    <a:lnTo>
                      <a:pt x="212" y="12"/>
                    </a:lnTo>
                    <a:lnTo>
                      <a:pt x="226" y="18"/>
                    </a:lnTo>
                    <a:lnTo>
                      <a:pt x="238" y="26"/>
                    </a:lnTo>
                    <a:lnTo>
                      <a:pt x="250" y="34"/>
                    </a:lnTo>
                    <a:lnTo>
                      <a:pt x="260" y="44"/>
                    </a:lnTo>
                    <a:lnTo>
                      <a:pt x="270" y="56"/>
                    </a:lnTo>
                    <a:lnTo>
                      <a:pt x="280" y="66"/>
                    </a:lnTo>
                    <a:lnTo>
                      <a:pt x="288" y="80"/>
                    </a:lnTo>
                    <a:lnTo>
                      <a:pt x="294" y="92"/>
                    </a:lnTo>
                    <a:lnTo>
                      <a:pt x="298" y="106"/>
                    </a:lnTo>
                    <a:lnTo>
                      <a:pt x="302" y="122"/>
                    </a:lnTo>
                    <a:lnTo>
                      <a:pt x="304" y="136"/>
                    </a:lnTo>
                    <a:lnTo>
                      <a:pt x="306" y="152"/>
                    </a:lnTo>
                    <a:lnTo>
                      <a:pt x="306" y="152"/>
                    </a:lnTo>
                    <a:lnTo>
                      <a:pt x="304" y="168"/>
                    </a:lnTo>
                    <a:lnTo>
                      <a:pt x="302" y="182"/>
                    </a:lnTo>
                    <a:lnTo>
                      <a:pt x="298" y="198"/>
                    </a:lnTo>
                    <a:lnTo>
                      <a:pt x="294" y="212"/>
                    </a:lnTo>
                    <a:lnTo>
                      <a:pt x="288" y="224"/>
                    </a:lnTo>
                    <a:lnTo>
                      <a:pt x="280" y="238"/>
                    </a:lnTo>
                    <a:lnTo>
                      <a:pt x="270" y="248"/>
                    </a:lnTo>
                    <a:lnTo>
                      <a:pt x="260" y="260"/>
                    </a:lnTo>
                    <a:lnTo>
                      <a:pt x="250" y="270"/>
                    </a:lnTo>
                    <a:lnTo>
                      <a:pt x="238" y="278"/>
                    </a:lnTo>
                    <a:lnTo>
                      <a:pt x="226" y="286"/>
                    </a:lnTo>
                    <a:lnTo>
                      <a:pt x="212" y="292"/>
                    </a:lnTo>
                    <a:lnTo>
                      <a:pt x="198" y="298"/>
                    </a:lnTo>
                    <a:lnTo>
                      <a:pt x="184" y="302"/>
                    </a:lnTo>
                    <a:lnTo>
                      <a:pt x="168" y="304"/>
                    </a:lnTo>
                    <a:lnTo>
                      <a:pt x="154" y="304"/>
                    </a:lnTo>
                    <a:lnTo>
                      <a:pt x="154" y="304"/>
                    </a:lnTo>
                    <a:close/>
                    <a:moveTo>
                      <a:pt x="154" y="28"/>
                    </a:moveTo>
                    <a:lnTo>
                      <a:pt x="154" y="28"/>
                    </a:lnTo>
                    <a:lnTo>
                      <a:pt x="140" y="28"/>
                    </a:lnTo>
                    <a:lnTo>
                      <a:pt x="128" y="30"/>
                    </a:lnTo>
                    <a:lnTo>
                      <a:pt x="116" y="34"/>
                    </a:lnTo>
                    <a:lnTo>
                      <a:pt x="104" y="38"/>
                    </a:lnTo>
                    <a:lnTo>
                      <a:pt x="84" y="50"/>
                    </a:lnTo>
                    <a:lnTo>
                      <a:pt x="66" y="64"/>
                    </a:lnTo>
                    <a:lnTo>
                      <a:pt x="50" y="82"/>
                    </a:lnTo>
                    <a:lnTo>
                      <a:pt x="38" y="104"/>
                    </a:lnTo>
                    <a:lnTo>
                      <a:pt x="34" y="116"/>
                    </a:lnTo>
                    <a:lnTo>
                      <a:pt x="32" y="128"/>
                    </a:lnTo>
                    <a:lnTo>
                      <a:pt x="30" y="140"/>
                    </a:lnTo>
                    <a:lnTo>
                      <a:pt x="28" y="152"/>
                    </a:lnTo>
                    <a:lnTo>
                      <a:pt x="28" y="152"/>
                    </a:lnTo>
                    <a:lnTo>
                      <a:pt x="30" y="164"/>
                    </a:lnTo>
                    <a:lnTo>
                      <a:pt x="32" y="178"/>
                    </a:lnTo>
                    <a:lnTo>
                      <a:pt x="34" y="190"/>
                    </a:lnTo>
                    <a:lnTo>
                      <a:pt x="38" y="200"/>
                    </a:lnTo>
                    <a:lnTo>
                      <a:pt x="50" y="222"/>
                    </a:lnTo>
                    <a:lnTo>
                      <a:pt x="66" y="240"/>
                    </a:lnTo>
                    <a:lnTo>
                      <a:pt x="84" y="256"/>
                    </a:lnTo>
                    <a:lnTo>
                      <a:pt x="104" y="266"/>
                    </a:lnTo>
                    <a:lnTo>
                      <a:pt x="116" y="270"/>
                    </a:lnTo>
                    <a:lnTo>
                      <a:pt x="128" y="274"/>
                    </a:lnTo>
                    <a:lnTo>
                      <a:pt x="140" y="276"/>
                    </a:lnTo>
                    <a:lnTo>
                      <a:pt x="154" y="276"/>
                    </a:lnTo>
                    <a:lnTo>
                      <a:pt x="154" y="276"/>
                    </a:lnTo>
                    <a:lnTo>
                      <a:pt x="166" y="276"/>
                    </a:lnTo>
                    <a:lnTo>
                      <a:pt x="178" y="274"/>
                    </a:lnTo>
                    <a:lnTo>
                      <a:pt x="190" y="270"/>
                    </a:lnTo>
                    <a:lnTo>
                      <a:pt x="202" y="266"/>
                    </a:lnTo>
                    <a:lnTo>
                      <a:pt x="222" y="256"/>
                    </a:lnTo>
                    <a:lnTo>
                      <a:pt x="242" y="240"/>
                    </a:lnTo>
                    <a:lnTo>
                      <a:pt x="256" y="222"/>
                    </a:lnTo>
                    <a:lnTo>
                      <a:pt x="268" y="200"/>
                    </a:lnTo>
                    <a:lnTo>
                      <a:pt x="272" y="190"/>
                    </a:lnTo>
                    <a:lnTo>
                      <a:pt x="274" y="178"/>
                    </a:lnTo>
                    <a:lnTo>
                      <a:pt x="276" y="164"/>
                    </a:lnTo>
                    <a:lnTo>
                      <a:pt x="278" y="152"/>
                    </a:lnTo>
                    <a:lnTo>
                      <a:pt x="278" y="152"/>
                    </a:lnTo>
                    <a:lnTo>
                      <a:pt x="276" y="140"/>
                    </a:lnTo>
                    <a:lnTo>
                      <a:pt x="274" y="128"/>
                    </a:lnTo>
                    <a:lnTo>
                      <a:pt x="272" y="116"/>
                    </a:lnTo>
                    <a:lnTo>
                      <a:pt x="268" y="104"/>
                    </a:lnTo>
                    <a:lnTo>
                      <a:pt x="256" y="82"/>
                    </a:lnTo>
                    <a:lnTo>
                      <a:pt x="242" y="64"/>
                    </a:lnTo>
                    <a:lnTo>
                      <a:pt x="222" y="50"/>
                    </a:lnTo>
                    <a:lnTo>
                      <a:pt x="202" y="38"/>
                    </a:lnTo>
                    <a:lnTo>
                      <a:pt x="190" y="34"/>
                    </a:lnTo>
                    <a:lnTo>
                      <a:pt x="178" y="30"/>
                    </a:lnTo>
                    <a:lnTo>
                      <a:pt x="166" y="28"/>
                    </a:lnTo>
                    <a:lnTo>
                      <a:pt x="154" y="28"/>
                    </a:lnTo>
                    <a:lnTo>
                      <a:pt x="154"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152" name="Freeform 6"/>
              <p:cNvSpPr>
                <a:spLocks noEditPoints="1"/>
              </p:cNvSpPr>
              <p:nvPr/>
            </p:nvSpPr>
            <p:spPr bwMode="auto">
              <a:xfrm>
                <a:off x="6112510" y="7481707"/>
                <a:ext cx="727075" cy="679450"/>
              </a:xfrm>
              <a:custGeom>
                <a:avLst/>
                <a:gdLst>
                  <a:gd name="T0" fmla="*/ 0 w 458"/>
                  <a:gd name="T1" fmla="*/ 428 h 428"/>
                  <a:gd name="T2" fmla="*/ 16 w 458"/>
                  <a:gd name="T3" fmla="*/ 210 h 428"/>
                  <a:gd name="T4" fmla="*/ 22 w 458"/>
                  <a:gd name="T5" fmla="*/ 166 h 428"/>
                  <a:gd name="T6" fmla="*/ 36 w 458"/>
                  <a:gd name="T7" fmla="*/ 126 h 428"/>
                  <a:gd name="T8" fmla="*/ 56 w 458"/>
                  <a:gd name="T9" fmla="*/ 90 h 428"/>
                  <a:gd name="T10" fmla="*/ 82 w 458"/>
                  <a:gd name="T11" fmla="*/ 60 h 428"/>
                  <a:gd name="T12" fmla="*/ 112 w 458"/>
                  <a:gd name="T13" fmla="*/ 34 h 428"/>
                  <a:gd name="T14" fmla="*/ 148 w 458"/>
                  <a:gd name="T15" fmla="*/ 16 h 428"/>
                  <a:gd name="T16" fmla="*/ 186 w 458"/>
                  <a:gd name="T17" fmla="*/ 4 h 428"/>
                  <a:gd name="T18" fmla="*/ 226 w 458"/>
                  <a:gd name="T19" fmla="*/ 0 h 428"/>
                  <a:gd name="T20" fmla="*/ 248 w 458"/>
                  <a:gd name="T21" fmla="*/ 0 h 428"/>
                  <a:gd name="T22" fmla="*/ 286 w 458"/>
                  <a:gd name="T23" fmla="*/ 8 h 428"/>
                  <a:gd name="T24" fmla="*/ 322 w 458"/>
                  <a:gd name="T25" fmla="*/ 24 h 428"/>
                  <a:gd name="T26" fmla="*/ 356 w 458"/>
                  <a:gd name="T27" fmla="*/ 48 h 428"/>
                  <a:gd name="T28" fmla="*/ 384 w 458"/>
                  <a:gd name="T29" fmla="*/ 76 h 428"/>
                  <a:gd name="T30" fmla="*/ 408 w 458"/>
                  <a:gd name="T31" fmla="*/ 108 h 428"/>
                  <a:gd name="T32" fmla="*/ 424 w 458"/>
                  <a:gd name="T33" fmla="*/ 146 h 428"/>
                  <a:gd name="T34" fmla="*/ 436 w 458"/>
                  <a:gd name="T35" fmla="*/ 188 h 428"/>
                  <a:gd name="T36" fmla="*/ 458 w 458"/>
                  <a:gd name="T37" fmla="*/ 428 h 428"/>
                  <a:gd name="T38" fmla="*/ 428 w 458"/>
                  <a:gd name="T39" fmla="*/ 400 h 428"/>
                  <a:gd name="T40" fmla="*/ 410 w 458"/>
                  <a:gd name="T41" fmla="*/ 212 h 428"/>
                  <a:gd name="T42" fmla="*/ 404 w 458"/>
                  <a:gd name="T43" fmla="*/ 174 h 428"/>
                  <a:gd name="T44" fmla="*/ 392 w 458"/>
                  <a:gd name="T45" fmla="*/ 140 h 428"/>
                  <a:gd name="T46" fmla="*/ 374 w 458"/>
                  <a:gd name="T47" fmla="*/ 108 h 428"/>
                  <a:gd name="T48" fmla="*/ 352 w 458"/>
                  <a:gd name="T49" fmla="*/ 82 h 428"/>
                  <a:gd name="T50" fmla="*/ 324 w 458"/>
                  <a:gd name="T51" fmla="*/ 58 h 428"/>
                  <a:gd name="T52" fmla="*/ 294 w 458"/>
                  <a:gd name="T53" fmla="*/ 42 h 428"/>
                  <a:gd name="T54" fmla="*/ 262 w 458"/>
                  <a:gd name="T55" fmla="*/ 32 h 428"/>
                  <a:gd name="T56" fmla="*/ 226 w 458"/>
                  <a:gd name="T57" fmla="*/ 28 h 428"/>
                  <a:gd name="T58" fmla="*/ 208 w 458"/>
                  <a:gd name="T59" fmla="*/ 28 h 428"/>
                  <a:gd name="T60" fmla="*/ 174 w 458"/>
                  <a:gd name="T61" fmla="*/ 36 h 428"/>
                  <a:gd name="T62" fmla="*/ 142 w 458"/>
                  <a:gd name="T63" fmla="*/ 50 h 428"/>
                  <a:gd name="T64" fmla="*/ 114 w 458"/>
                  <a:gd name="T65" fmla="*/ 68 h 428"/>
                  <a:gd name="T66" fmla="*/ 90 w 458"/>
                  <a:gd name="T67" fmla="*/ 94 h 428"/>
                  <a:gd name="T68" fmla="*/ 70 w 458"/>
                  <a:gd name="T69" fmla="*/ 122 h 428"/>
                  <a:gd name="T70" fmla="*/ 54 w 458"/>
                  <a:gd name="T71" fmla="*/ 156 h 428"/>
                  <a:gd name="T72" fmla="*/ 46 w 458"/>
                  <a:gd name="T73" fmla="*/ 192 h 428"/>
                  <a:gd name="T74" fmla="*/ 30 w 458"/>
                  <a:gd name="T75" fmla="*/ 400 h 4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58" h="428">
                    <a:moveTo>
                      <a:pt x="458" y="428"/>
                    </a:moveTo>
                    <a:lnTo>
                      <a:pt x="0" y="428"/>
                    </a:lnTo>
                    <a:lnTo>
                      <a:pt x="16" y="210"/>
                    </a:lnTo>
                    <a:lnTo>
                      <a:pt x="16" y="210"/>
                    </a:lnTo>
                    <a:lnTo>
                      <a:pt x="18" y="188"/>
                    </a:lnTo>
                    <a:lnTo>
                      <a:pt x="22" y="166"/>
                    </a:lnTo>
                    <a:lnTo>
                      <a:pt x="28" y="146"/>
                    </a:lnTo>
                    <a:lnTo>
                      <a:pt x="36" y="126"/>
                    </a:lnTo>
                    <a:lnTo>
                      <a:pt x="46" y="108"/>
                    </a:lnTo>
                    <a:lnTo>
                      <a:pt x="56" y="90"/>
                    </a:lnTo>
                    <a:lnTo>
                      <a:pt x="68" y="74"/>
                    </a:lnTo>
                    <a:lnTo>
                      <a:pt x="82" y="60"/>
                    </a:lnTo>
                    <a:lnTo>
                      <a:pt x="98" y="46"/>
                    </a:lnTo>
                    <a:lnTo>
                      <a:pt x="112" y="34"/>
                    </a:lnTo>
                    <a:lnTo>
                      <a:pt x="130" y="24"/>
                    </a:lnTo>
                    <a:lnTo>
                      <a:pt x="148" y="16"/>
                    </a:lnTo>
                    <a:lnTo>
                      <a:pt x="166" y="8"/>
                    </a:lnTo>
                    <a:lnTo>
                      <a:pt x="186" y="4"/>
                    </a:lnTo>
                    <a:lnTo>
                      <a:pt x="206" y="0"/>
                    </a:lnTo>
                    <a:lnTo>
                      <a:pt x="226" y="0"/>
                    </a:lnTo>
                    <a:lnTo>
                      <a:pt x="226" y="0"/>
                    </a:lnTo>
                    <a:lnTo>
                      <a:pt x="248" y="0"/>
                    </a:lnTo>
                    <a:lnTo>
                      <a:pt x="268" y="4"/>
                    </a:lnTo>
                    <a:lnTo>
                      <a:pt x="286" y="8"/>
                    </a:lnTo>
                    <a:lnTo>
                      <a:pt x="306" y="16"/>
                    </a:lnTo>
                    <a:lnTo>
                      <a:pt x="322" y="24"/>
                    </a:lnTo>
                    <a:lnTo>
                      <a:pt x="340" y="36"/>
                    </a:lnTo>
                    <a:lnTo>
                      <a:pt x="356" y="48"/>
                    </a:lnTo>
                    <a:lnTo>
                      <a:pt x="370" y="60"/>
                    </a:lnTo>
                    <a:lnTo>
                      <a:pt x="384" y="76"/>
                    </a:lnTo>
                    <a:lnTo>
                      <a:pt x="396" y="92"/>
                    </a:lnTo>
                    <a:lnTo>
                      <a:pt x="408" y="108"/>
                    </a:lnTo>
                    <a:lnTo>
                      <a:pt x="418" y="128"/>
                    </a:lnTo>
                    <a:lnTo>
                      <a:pt x="424" y="146"/>
                    </a:lnTo>
                    <a:lnTo>
                      <a:pt x="432" y="168"/>
                    </a:lnTo>
                    <a:lnTo>
                      <a:pt x="436" y="188"/>
                    </a:lnTo>
                    <a:lnTo>
                      <a:pt x="438" y="210"/>
                    </a:lnTo>
                    <a:lnTo>
                      <a:pt x="458" y="428"/>
                    </a:lnTo>
                    <a:close/>
                    <a:moveTo>
                      <a:pt x="30" y="400"/>
                    </a:moveTo>
                    <a:lnTo>
                      <a:pt x="428" y="400"/>
                    </a:lnTo>
                    <a:lnTo>
                      <a:pt x="410" y="212"/>
                    </a:lnTo>
                    <a:lnTo>
                      <a:pt x="410" y="212"/>
                    </a:lnTo>
                    <a:lnTo>
                      <a:pt x="408" y="194"/>
                    </a:lnTo>
                    <a:lnTo>
                      <a:pt x="404" y="174"/>
                    </a:lnTo>
                    <a:lnTo>
                      <a:pt x="398" y="156"/>
                    </a:lnTo>
                    <a:lnTo>
                      <a:pt x="392" y="140"/>
                    </a:lnTo>
                    <a:lnTo>
                      <a:pt x="384" y="124"/>
                    </a:lnTo>
                    <a:lnTo>
                      <a:pt x="374" y="108"/>
                    </a:lnTo>
                    <a:lnTo>
                      <a:pt x="364" y="94"/>
                    </a:lnTo>
                    <a:lnTo>
                      <a:pt x="352" y="82"/>
                    </a:lnTo>
                    <a:lnTo>
                      <a:pt x="338" y="70"/>
                    </a:lnTo>
                    <a:lnTo>
                      <a:pt x="324" y="58"/>
                    </a:lnTo>
                    <a:lnTo>
                      <a:pt x="310" y="50"/>
                    </a:lnTo>
                    <a:lnTo>
                      <a:pt x="294" y="42"/>
                    </a:lnTo>
                    <a:lnTo>
                      <a:pt x="278" y="36"/>
                    </a:lnTo>
                    <a:lnTo>
                      <a:pt x="262" y="32"/>
                    </a:lnTo>
                    <a:lnTo>
                      <a:pt x="244" y="28"/>
                    </a:lnTo>
                    <a:lnTo>
                      <a:pt x="226" y="28"/>
                    </a:lnTo>
                    <a:lnTo>
                      <a:pt x="226" y="28"/>
                    </a:lnTo>
                    <a:lnTo>
                      <a:pt x="208" y="28"/>
                    </a:lnTo>
                    <a:lnTo>
                      <a:pt x="192" y="32"/>
                    </a:lnTo>
                    <a:lnTo>
                      <a:pt x="174" y="36"/>
                    </a:lnTo>
                    <a:lnTo>
                      <a:pt x="158" y="42"/>
                    </a:lnTo>
                    <a:lnTo>
                      <a:pt x="142" y="50"/>
                    </a:lnTo>
                    <a:lnTo>
                      <a:pt x="128" y="58"/>
                    </a:lnTo>
                    <a:lnTo>
                      <a:pt x="114" y="68"/>
                    </a:lnTo>
                    <a:lnTo>
                      <a:pt x="102" y="80"/>
                    </a:lnTo>
                    <a:lnTo>
                      <a:pt x="90" y="94"/>
                    </a:lnTo>
                    <a:lnTo>
                      <a:pt x="80" y="108"/>
                    </a:lnTo>
                    <a:lnTo>
                      <a:pt x="70" y="122"/>
                    </a:lnTo>
                    <a:lnTo>
                      <a:pt x="62" y="138"/>
                    </a:lnTo>
                    <a:lnTo>
                      <a:pt x="54" y="156"/>
                    </a:lnTo>
                    <a:lnTo>
                      <a:pt x="50" y="174"/>
                    </a:lnTo>
                    <a:lnTo>
                      <a:pt x="46" y="192"/>
                    </a:lnTo>
                    <a:lnTo>
                      <a:pt x="44" y="212"/>
                    </a:lnTo>
                    <a:lnTo>
                      <a:pt x="30" y="4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153" name="Freeform 7"/>
              <p:cNvSpPr>
                <a:spLocks noEditPoints="1"/>
              </p:cNvSpPr>
              <p:nvPr/>
            </p:nvSpPr>
            <p:spPr bwMode="auto">
              <a:xfrm>
                <a:off x="6826885" y="7173732"/>
                <a:ext cx="374650" cy="374650"/>
              </a:xfrm>
              <a:custGeom>
                <a:avLst/>
                <a:gdLst>
                  <a:gd name="T0" fmla="*/ 118 w 236"/>
                  <a:gd name="T1" fmla="*/ 236 h 236"/>
                  <a:gd name="T2" fmla="*/ 94 w 236"/>
                  <a:gd name="T3" fmla="*/ 234 h 236"/>
                  <a:gd name="T4" fmla="*/ 52 w 236"/>
                  <a:gd name="T5" fmla="*/ 216 h 236"/>
                  <a:gd name="T6" fmla="*/ 20 w 236"/>
                  <a:gd name="T7" fmla="*/ 184 h 236"/>
                  <a:gd name="T8" fmla="*/ 2 w 236"/>
                  <a:gd name="T9" fmla="*/ 142 h 236"/>
                  <a:gd name="T10" fmla="*/ 0 w 236"/>
                  <a:gd name="T11" fmla="*/ 118 h 236"/>
                  <a:gd name="T12" fmla="*/ 2 w 236"/>
                  <a:gd name="T13" fmla="*/ 106 h 236"/>
                  <a:gd name="T14" fmla="*/ 10 w 236"/>
                  <a:gd name="T15" fmla="*/ 72 h 236"/>
                  <a:gd name="T16" fmla="*/ 34 w 236"/>
                  <a:gd name="T17" fmla="*/ 34 h 236"/>
                  <a:gd name="T18" fmla="*/ 72 w 236"/>
                  <a:gd name="T19" fmla="*/ 10 h 236"/>
                  <a:gd name="T20" fmla="*/ 106 w 236"/>
                  <a:gd name="T21" fmla="*/ 0 h 236"/>
                  <a:gd name="T22" fmla="*/ 118 w 236"/>
                  <a:gd name="T23" fmla="*/ 0 h 236"/>
                  <a:gd name="T24" fmla="*/ 142 w 236"/>
                  <a:gd name="T25" fmla="*/ 2 h 236"/>
                  <a:gd name="T26" fmla="*/ 184 w 236"/>
                  <a:gd name="T27" fmla="*/ 20 h 236"/>
                  <a:gd name="T28" fmla="*/ 216 w 236"/>
                  <a:gd name="T29" fmla="*/ 52 h 236"/>
                  <a:gd name="T30" fmla="*/ 234 w 236"/>
                  <a:gd name="T31" fmla="*/ 94 h 236"/>
                  <a:gd name="T32" fmla="*/ 236 w 236"/>
                  <a:gd name="T33" fmla="*/ 118 h 236"/>
                  <a:gd name="T34" fmla="*/ 236 w 236"/>
                  <a:gd name="T35" fmla="*/ 130 h 236"/>
                  <a:gd name="T36" fmla="*/ 226 w 236"/>
                  <a:gd name="T37" fmla="*/ 164 h 236"/>
                  <a:gd name="T38" fmla="*/ 202 w 236"/>
                  <a:gd name="T39" fmla="*/ 200 h 236"/>
                  <a:gd name="T40" fmla="*/ 164 w 236"/>
                  <a:gd name="T41" fmla="*/ 226 h 236"/>
                  <a:gd name="T42" fmla="*/ 130 w 236"/>
                  <a:gd name="T43" fmla="*/ 234 h 236"/>
                  <a:gd name="T44" fmla="*/ 118 w 236"/>
                  <a:gd name="T45" fmla="*/ 236 h 236"/>
                  <a:gd name="T46" fmla="*/ 118 w 236"/>
                  <a:gd name="T47" fmla="*/ 28 h 236"/>
                  <a:gd name="T48" fmla="*/ 84 w 236"/>
                  <a:gd name="T49" fmla="*/ 36 h 236"/>
                  <a:gd name="T50" fmla="*/ 54 w 236"/>
                  <a:gd name="T51" fmla="*/ 54 h 236"/>
                  <a:gd name="T52" fmla="*/ 36 w 236"/>
                  <a:gd name="T53" fmla="*/ 82 h 236"/>
                  <a:gd name="T54" fmla="*/ 28 w 236"/>
                  <a:gd name="T55" fmla="*/ 118 h 236"/>
                  <a:gd name="T56" fmla="*/ 30 w 236"/>
                  <a:gd name="T57" fmla="*/ 136 h 236"/>
                  <a:gd name="T58" fmla="*/ 44 w 236"/>
                  <a:gd name="T59" fmla="*/ 168 h 236"/>
                  <a:gd name="T60" fmla="*/ 68 w 236"/>
                  <a:gd name="T61" fmla="*/ 192 h 236"/>
                  <a:gd name="T62" fmla="*/ 100 w 236"/>
                  <a:gd name="T63" fmla="*/ 206 h 236"/>
                  <a:gd name="T64" fmla="*/ 118 w 236"/>
                  <a:gd name="T65" fmla="*/ 208 h 236"/>
                  <a:gd name="T66" fmla="*/ 154 w 236"/>
                  <a:gd name="T67" fmla="*/ 200 h 236"/>
                  <a:gd name="T68" fmla="*/ 182 w 236"/>
                  <a:gd name="T69" fmla="*/ 182 h 236"/>
                  <a:gd name="T70" fmla="*/ 200 w 236"/>
                  <a:gd name="T71" fmla="*/ 152 h 236"/>
                  <a:gd name="T72" fmla="*/ 208 w 236"/>
                  <a:gd name="T73" fmla="*/ 118 h 236"/>
                  <a:gd name="T74" fmla="*/ 206 w 236"/>
                  <a:gd name="T75" fmla="*/ 100 h 236"/>
                  <a:gd name="T76" fmla="*/ 192 w 236"/>
                  <a:gd name="T77" fmla="*/ 68 h 236"/>
                  <a:gd name="T78" fmla="*/ 168 w 236"/>
                  <a:gd name="T79" fmla="*/ 44 h 236"/>
                  <a:gd name="T80" fmla="*/ 136 w 236"/>
                  <a:gd name="T81" fmla="*/ 30 h 236"/>
                  <a:gd name="T82" fmla="*/ 118 w 236"/>
                  <a:gd name="T83" fmla="*/ 28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36" h="236">
                    <a:moveTo>
                      <a:pt x="118" y="236"/>
                    </a:moveTo>
                    <a:lnTo>
                      <a:pt x="118" y="236"/>
                    </a:lnTo>
                    <a:lnTo>
                      <a:pt x="106" y="234"/>
                    </a:lnTo>
                    <a:lnTo>
                      <a:pt x="94" y="234"/>
                    </a:lnTo>
                    <a:lnTo>
                      <a:pt x="72" y="226"/>
                    </a:lnTo>
                    <a:lnTo>
                      <a:pt x="52" y="216"/>
                    </a:lnTo>
                    <a:lnTo>
                      <a:pt x="34" y="200"/>
                    </a:lnTo>
                    <a:lnTo>
                      <a:pt x="20" y="184"/>
                    </a:lnTo>
                    <a:lnTo>
                      <a:pt x="10" y="164"/>
                    </a:lnTo>
                    <a:lnTo>
                      <a:pt x="2" y="142"/>
                    </a:lnTo>
                    <a:lnTo>
                      <a:pt x="2" y="130"/>
                    </a:lnTo>
                    <a:lnTo>
                      <a:pt x="0" y="118"/>
                    </a:lnTo>
                    <a:lnTo>
                      <a:pt x="0" y="118"/>
                    </a:lnTo>
                    <a:lnTo>
                      <a:pt x="2" y="106"/>
                    </a:lnTo>
                    <a:lnTo>
                      <a:pt x="2" y="94"/>
                    </a:lnTo>
                    <a:lnTo>
                      <a:pt x="10" y="72"/>
                    </a:lnTo>
                    <a:lnTo>
                      <a:pt x="20" y="52"/>
                    </a:lnTo>
                    <a:lnTo>
                      <a:pt x="34" y="34"/>
                    </a:lnTo>
                    <a:lnTo>
                      <a:pt x="52" y="20"/>
                    </a:lnTo>
                    <a:lnTo>
                      <a:pt x="72" y="10"/>
                    </a:lnTo>
                    <a:lnTo>
                      <a:pt x="94" y="2"/>
                    </a:lnTo>
                    <a:lnTo>
                      <a:pt x="106" y="0"/>
                    </a:lnTo>
                    <a:lnTo>
                      <a:pt x="118" y="0"/>
                    </a:lnTo>
                    <a:lnTo>
                      <a:pt x="118" y="0"/>
                    </a:lnTo>
                    <a:lnTo>
                      <a:pt x="130" y="0"/>
                    </a:lnTo>
                    <a:lnTo>
                      <a:pt x="142" y="2"/>
                    </a:lnTo>
                    <a:lnTo>
                      <a:pt x="164" y="10"/>
                    </a:lnTo>
                    <a:lnTo>
                      <a:pt x="184" y="20"/>
                    </a:lnTo>
                    <a:lnTo>
                      <a:pt x="202" y="34"/>
                    </a:lnTo>
                    <a:lnTo>
                      <a:pt x="216" y="52"/>
                    </a:lnTo>
                    <a:lnTo>
                      <a:pt x="226" y="72"/>
                    </a:lnTo>
                    <a:lnTo>
                      <a:pt x="234" y="94"/>
                    </a:lnTo>
                    <a:lnTo>
                      <a:pt x="236" y="106"/>
                    </a:lnTo>
                    <a:lnTo>
                      <a:pt x="236" y="118"/>
                    </a:lnTo>
                    <a:lnTo>
                      <a:pt x="236" y="118"/>
                    </a:lnTo>
                    <a:lnTo>
                      <a:pt x="236" y="130"/>
                    </a:lnTo>
                    <a:lnTo>
                      <a:pt x="234" y="142"/>
                    </a:lnTo>
                    <a:lnTo>
                      <a:pt x="226" y="164"/>
                    </a:lnTo>
                    <a:lnTo>
                      <a:pt x="216" y="184"/>
                    </a:lnTo>
                    <a:lnTo>
                      <a:pt x="202" y="200"/>
                    </a:lnTo>
                    <a:lnTo>
                      <a:pt x="184" y="216"/>
                    </a:lnTo>
                    <a:lnTo>
                      <a:pt x="164" y="226"/>
                    </a:lnTo>
                    <a:lnTo>
                      <a:pt x="142" y="234"/>
                    </a:lnTo>
                    <a:lnTo>
                      <a:pt x="130" y="234"/>
                    </a:lnTo>
                    <a:lnTo>
                      <a:pt x="118" y="236"/>
                    </a:lnTo>
                    <a:lnTo>
                      <a:pt x="118" y="236"/>
                    </a:lnTo>
                    <a:close/>
                    <a:moveTo>
                      <a:pt x="118" y="28"/>
                    </a:moveTo>
                    <a:lnTo>
                      <a:pt x="118" y="28"/>
                    </a:lnTo>
                    <a:lnTo>
                      <a:pt x="100" y="30"/>
                    </a:lnTo>
                    <a:lnTo>
                      <a:pt x="84" y="36"/>
                    </a:lnTo>
                    <a:lnTo>
                      <a:pt x="68" y="44"/>
                    </a:lnTo>
                    <a:lnTo>
                      <a:pt x="54" y="54"/>
                    </a:lnTo>
                    <a:lnTo>
                      <a:pt x="44" y="68"/>
                    </a:lnTo>
                    <a:lnTo>
                      <a:pt x="36" y="82"/>
                    </a:lnTo>
                    <a:lnTo>
                      <a:pt x="30" y="100"/>
                    </a:lnTo>
                    <a:lnTo>
                      <a:pt x="28" y="118"/>
                    </a:lnTo>
                    <a:lnTo>
                      <a:pt x="28" y="118"/>
                    </a:lnTo>
                    <a:lnTo>
                      <a:pt x="30" y="136"/>
                    </a:lnTo>
                    <a:lnTo>
                      <a:pt x="36" y="152"/>
                    </a:lnTo>
                    <a:lnTo>
                      <a:pt x="44" y="168"/>
                    </a:lnTo>
                    <a:lnTo>
                      <a:pt x="54" y="182"/>
                    </a:lnTo>
                    <a:lnTo>
                      <a:pt x="68" y="192"/>
                    </a:lnTo>
                    <a:lnTo>
                      <a:pt x="84" y="200"/>
                    </a:lnTo>
                    <a:lnTo>
                      <a:pt x="100" y="206"/>
                    </a:lnTo>
                    <a:lnTo>
                      <a:pt x="118" y="208"/>
                    </a:lnTo>
                    <a:lnTo>
                      <a:pt x="118" y="208"/>
                    </a:lnTo>
                    <a:lnTo>
                      <a:pt x="136" y="206"/>
                    </a:lnTo>
                    <a:lnTo>
                      <a:pt x="154" y="200"/>
                    </a:lnTo>
                    <a:lnTo>
                      <a:pt x="168" y="192"/>
                    </a:lnTo>
                    <a:lnTo>
                      <a:pt x="182" y="182"/>
                    </a:lnTo>
                    <a:lnTo>
                      <a:pt x="192" y="168"/>
                    </a:lnTo>
                    <a:lnTo>
                      <a:pt x="200" y="152"/>
                    </a:lnTo>
                    <a:lnTo>
                      <a:pt x="206" y="136"/>
                    </a:lnTo>
                    <a:lnTo>
                      <a:pt x="208" y="118"/>
                    </a:lnTo>
                    <a:lnTo>
                      <a:pt x="208" y="118"/>
                    </a:lnTo>
                    <a:lnTo>
                      <a:pt x="206" y="100"/>
                    </a:lnTo>
                    <a:lnTo>
                      <a:pt x="200" y="82"/>
                    </a:lnTo>
                    <a:lnTo>
                      <a:pt x="192" y="68"/>
                    </a:lnTo>
                    <a:lnTo>
                      <a:pt x="182" y="54"/>
                    </a:lnTo>
                    <a:lnTo>
                      <a:pt x="168" y="44"/>
                    </a:lnTo>
                    <a:lnTo>
                      <a:pt x="154" y="36"/>
                    </a:lnTo>
                    <a:lnTo>
                      <a:pt x="136" y="30"/>
                    </a:lnTo>
                    <a:lnTo>
                      <a:pt x="118" y="28"/>
                    </a:lnTo>
                    <a:lnTo>
                      <a:pt x="118"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154" name="Freeform 8"/>
              <p:cNvSpPr>
                <a:spLocks noEditPoints="1"/>
              </p:cNvSpPr>
              <p:nvPr/>
            </p:nvSpPr>
            <p:spPr bwMode="auto">
              <a:xfrm>
                <a:off x="6817360" y="7567432"/>
                <a:ext cx="476250" cy="523875"/>
              </a:xfrm>
              <a:custGeom>
                <a:avLst/>
                <a:gdLst>
                  <a:gd name="T0" fmla="*/ 46 w 300"/>
                  <a:gd name="T1" fmla="*/ 330 h 330"/>
                  <a:gd name="T2" fmla="*/ 32 w 300"/>
                  <a:gd name="T3" fmla="*/ 158 h 330"/>
                  <a:gd name="T4" fmla="*/ 22 w 300"/>
                  <a:gd name="T5" fmla="*/ 114 h 330"/>
                  <a:gd name="T6" fmla="*/ 4 w 300"/>
                  <a:gd name="T7" fmla="*/ 70 h 330"/>
                  <a:gd name="T8" fmla="*/ 6 w 300"/>
                  <a:gd name="T9" fmla="*/ 54 h 330"/>
                  <a:gd name="T10" fmla="*/ 18 w 300"/>
                  <a:gd name="T11" fmla="*/ 42 h 330"/>
                  <a:gd name="T12" fmla="*/ 44 w 300"/>
                  <a:gd name="T13" fmla="*/ 22 h 330"/>
                  <a:gd name="T14" fmla="*/ 74 w 300"/>
                  <a:gd name="T15" fmla="*/ 8 h 330"/>
                  <a:gd name="T16" fmla="*/ 106 w 300"/>
                  <a:gd name="T17" fmla="*/ 2 h 330"/>
                  <a:gd name="T18" fmla="*/ 122 w 300"/>
                  <a:gd name="T19" fmla="*/ 0 h 330"/>
                  <a:gd name="T20" fmla="*/ 154 w 300"/>
                  <a:gd name="T21" fmla="*/ 4 h 330"/>
                  <a:gd name="T22" fmla="*/ 182 w 300"/>
                  <a:gd name="T23" fmla="*/ 14 h 330"/>
                  <a:gd name="T24" fmla="*/ 210 w 300"/>
                  <a:gd name="T25" fmla="*/ 28 h 330"/>
                  <a:gd name="T26" fmla="*/ 232 w 300"/>
                  <a:gd name="T27" fmla="*/ 48 h 330"/>
                  <a:gd name="T28" fmla="*/ 252 w 300"/>
                  <a:gd name="T29" fmla="*/ 72 h 330"/>
                  <a:gd name="T30" fmla="*/ 268 w 300"/>
                  <a:gd name="T31" fmla="*/ 98 h 330"/>
                  <a:gd name="T32" fmla="*/ 280 w 300"/>
                  <a:gd name="T33" fmla="*/ 130 h 330"/>
                  <a:gd name="T34" fmla="*/ 284 w 300"/>
                  <a:gd name="T35" fmla="*/ 162 h 330"/>
                  <a:gd name="T36" fmla="*/ 72 w 300"/>
                  <a:gd name="T37" fmla="*/ 302 h 330"/>
                  <a:gd name="T38" fmla="*/ 256 w 300"/>
                  <a:gd name="T39" fmla="*/ 164 h 330"/>
                  <a:gd name="T40" fmla="*/ 252 w 300"/>
                  <a:gd name="T41" fmla="*/ 140 h 330"/>
                  <a:gd name="T42" fmla="*/ 232 w 300"/>
                  <a:gd name="T43" fmla="*/ 92 h 330"/>
                  <a:gd name="T44" fmla="*/ 208 w 300"/>
                  <a:gd name="T45" fmla="*/ 62 h 330"/>
                  <a:gd name="T46" fmla="*/ 188 w 300"/>
                  <a:gd name="T47" fmla="*/ 46 h 330"/>
                  <a:gd name="T48" fmla="*/ 164 w 300"/>
                  <a:gd name="T49" fmla="*/ 36 h 330"/>
                  <a:gd name="T50" fmla="*/ 136 w 300"/>
                  <a:gd name="T51" fmla="*/ 30 h 330"/>
                  <a:gd name="T52" fmla="*/ 122 w 300"/>
                  <a:gd name="T53" fmla="*/ 28 h 330"/>
                  <a:gd name="T54" fmla="*/ 98 w 300"/>
                  <a:gd name="T55" fmla="*/ 32 h 330"/>
                  <a:gd name="T56" fmla="*/ 52 w 300"/>
                  <a:gd name="T57" fmla="*/ 50 h 330"/>
                  <a:gd name="T58" fmla="*/ 34 w 300"/>
                  <a:gd name="T59" fmla="*/ 66 h 330"/>
                  <a:gd name="T60" fmla="*/ 52 w 300"/>
                  <a:gd name="T61" fmla="*/ 110 h 330"/>
                  <a:gd name="T62" fmla="*/ 60 w 300"/>
                  <a:gd name="T63" fmla="*/ 156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00" h="330">
                    <a:moveTo>
                      <a:pt x="300" y="330"/>
                    </a:moveTo>
                    <a:lnTo>
                      <a:pt x="46" y="330"/>
                    </a:lnTo>
                    <a:lnTo>
                      <a:pt x="32" y="158"/>
                    </a:lnTo>
                    <a:lnTo>
                      <a:pt x="32" y="158"/>
                    </a:lnTo>
                    <a:lnTo>
                      <a:pt x="28" y="136"/>
                    </a:lnTo>
                    <a:lnTo>
                      <a:pt x="22" y="114"/>
                    </a:lnTo>
                    <a:lnTo>
                      <a:pt x="14" y="92"/>
                    </a:lnTo>
                    <a:lnTo>
                      <a:pt x="4" y="70"/>
                    </a:lnTo>
                    <a:lnTo>
                      <a:pt x="0" y="62"/>
                    </a:lnTo>
                    <a:lnTo>
                      <a:pt x="6" y="54"/>
                    </a:lnTo>
                    <a:lnTo>
                      <a:pt x="6" y="54"/>
                    </a:lnTo>
                    <a:lnTo>
                      <a:pt x="18" y="42"/>
                    </a:lnTo>
                    <a:lnTo>
                      <a:pt x="30" y="32"/>
                    </a:lnTo>
                    <a:lnTo>
                      <a:pt x="44" y="22"/>
                    </a:lnTo>
                    <a:lnTo>
                      <a:pt x="58" y="14"/>
                    </a:lnTo>
                    <a:lnTo>
                      <a:pt x="74" y="8"/>
                    </a:lnTo>
                    <a:lnTo>
                      <a:pt x="90" y="4"/>
                    </a:lnTo>
                    <a:lnTo>
                      <a:pt x="106" y="2"/>
                    </a:lnTo>
                    <a:lnTo>
                      <a:pt x="122" y="0"/>
                    </a:lnTo>
                    <a:lnTo>
                      <a:pt x="122" y="0"/>
                    </a:lnTo>
                    <a:lnTo>
                      <a:pt x="138" y="2"/>
                    </a:lnTo>
                    <a:lnTo>
                      <a:pt x="154" y="4"/>
                    </a:lnTo>
                    <a:lnTo>
                      <a:pt x="168" y="8"/>
                    </a:lnTo>
                    <a:lnTo>
                      <a:pt x="182" y="14"/>
                    </a:lnTo>
                    <a:lnTo>
                      <a:pt x="196" y="20"/>
                    </a:lnTo>
                    <a:lnTo>
                      <a:pt x="210" y="28"/>
                    </a:lnTo>
                    <a:lnTo>
                      <a:pt x="222" y="38"/>
                    </a:lnTo>
                    <a:lnTo>
                      <a:pt x="232" y="48"/>
                    </a:lnTo>
                    <a:lnTo>
                      <a:pt x="244" y="58"/>
                    </a:lnTo>
                    <a:lnTo>
                      <a:pt x="252" y="72"/>
                    </a:lnTo>
                    <a:lnTo>
                      <a:pt x="260" y="84"/>
                    </a:lnTo>
                    <a:lnTo>
                      <a:pt x="268" y="98"/>
                    </a:lnTo>
                    <a:lnTo>
                      <a:pt x="274" y="114"/>
                    </a:lnTo>
                    <a:lnTo>
                      <a:pt x="280" y="130"/>
                    </a:lnTo>
                    <a:lnTo>
                      <a:pt x="282" y="146"/>
                    </a:lnTo>
                    <a:lnTo>
                      <a:pt x="284" y="162"/>
                    </a:lnTo>
                    <a:lnTo>
                      <a:pt x="300" y="330"/>
                    </a:lnTo>
                    <a:close/>
                    <a:moveTo>
                      <a:pt x="72" y="302"/>
                    </a:moveTo>
                    <a:lnTo>
                      <a:pt x="268" y="302"/>
                    </a:lnTo>
                    <a:lnTo>
                      <a:pt x="256" y="164"/>
                    </a:lnTo>
                    <a:lnTo>
                      <a:pt x="256" y="164"/>
                    </a:lnTo>
                    <a:lnTo>
                      <a:pt x="252" y="140"/>
                    </a:lnTo>
                    <a:lnTo>
                      <a:pt x="244" y="114"/>
                    </a:lnTo>
                    <a:lnTo>
                      <a:pt x="232" y="92"/>
                    </a:lnTo>
                    <a:lnTo>
                      <a:pt x="216" y="72"/>
                    </a:lnTo>
                    <a:lnTo>
                      <a:pt x="208" y="62"/>
                    </a:lnTo>
                    <a:lnTo>
                      <a:pt x="198" y="54"/>
                    </a:lnTo>
                    <a:lnTo>
                      <a:pt x="188" y="46"/>
                    </a:lnTo>
                    <a:lnTo>
                      <a:pt x="176" y="40"/>
                    </a:lnTo>
                    <a:lnTo>
                      <a:pt x="164" y="36"/>
                    </a:lnTo>
                    <a:lnTo>
                      <a:pt x="150" y="32"/>
                    </a:lnTo>
                    <a:lnTo>
                      <a:pt x="136" y="30"/>
                    </a:lnTo>
                    <a:lnTo>
                      <a:pt x="122" y="28"/>
                    </a:lnTo>
                    <a:lnTo>
                      <a:pt x="122" y="28"/>
                    </a:lnTo>
                    <a:lnTo>
                      <a:pt x="110" y="30"/>
                    </a:lnTo>
                    <a:lnTo>
                      <a:pt x="98" y="32"/>
                    </a:lnTo>
                    <a:lnTo>
                      <a:pt x="74" y="38"/>
                    </a:lnTo>
                    <a:lnTo>
                      <a:pt x="52" y="50"/>
                    </a:lnTo>
                    <a:lnTo>
                      <a:pt x="34" y="66"/>
                    </a:lnTo>
                    <a:lnTo>
                      <a:pt x="34" y="66"/>
                    </a:lnTo>
                    <a:lnTo>
                      <a:pt x="44" y="88"/>
                    </a:lnTo>
                    <a:lnTo>
                      <a:pt x="52" y="110"/>
                    </a:lnTo>
                    <a:lnTo>
                      <a:pt x="56" y="132"/>
                    </a:lnTo>
                    <a:lnTo>
                      <a:pt x="60" y="156"/>
                    </a:lnTo>
                    <a:lnTo>
                      <a:pt x="72" y="3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grpSp>
        <p:grpSp>
          <p:nvGrpSpPr>
            <p:cNvPr id="134" name="Group 133"/>
            <p:cNvGrpSpPr/>
            <p:nvPr/>
          </p:nvGrpSpPr>
          <p:grpSpPr>
            <a:xfrm>
              <a:off x="10034296" y="5129436"/>
              <a:ext cx="385751" cy="482188"/>
              <a:chOff x="2954338" y="6831013"/>
              <a:chExt cx="1041400" cy="1301750"/>
            </a:xfrm>
            <a:solidFill>
              <a:srgbClr val="0078D7"/>
            </a:solidFill>
          </p:grpSpPr>
          <p:sp>
            <p:nvSpPr>
              <p:cNvPr id="149" name="Freeform 36"/>
              <p:cNvSpPr>
                <a:spLocks noEditPoints="1"/>
              </p:cNvSpPr>
              <p:nvPr/>
            </p:nvSpPr>
            <p:spPr bwMode="auto">
              <a:xfrm>
                <a:off x="3195638" y="7329488"/>
                <a:ext cx="390525" cy="393700"/>
              </a:xfrm>
              <a:custGeom>
                <a:avLst/>
                <a:gdLst>
                  <a:gd name="T0" fmla="*/ 122 w 246"/>
                  <a:gd name="T1" fmla="*/ 248 h 248"/>
                  <a:gd name="T2" fmla="*/ 98 w 246"/>
                  <a:gd name="T3" fmla="*/ 244 h 248"/>
                  <a:gd name="T4" fmla="*/ 74 w 246"/>
                  <a:gd name="T5" fmla="*/ 238 h 248"/>
                  <a:gd name="T6" fmla="*/ 36 w 246"/>
                  <a:gd name="T7" fmla="*/ 210 h 248"/>
                  <a:gd name="T8" fmla="*/ 8 w 246"/>
                  <a:gd name="T9" fmla="*/ 172 h 248"/>
                  <a:gd name="T10" fmla="*/ 2 w 246"/>
                  <a:gd name="T11" fmla="*/ 148 h 248"/>
                  <a:gd name="T12" fmla="*/ 0 w 246"/>
                  <a:gd name="T13" fmla="*/ 124 h 248"/>
                  <a:gd name="T14" fmla="*/ 0 w 246"/>
                  <a:gd name="T15" fmla="*/ 112 h 248"/>
                  <a:gd name="T16" fmla="*/ 4 w 246"/>
                  <a:gd name="T17" fmla="*/ 88 h 248"/>
                  <a:gd name="T18" fmla="*/ 20 w 246"/>
                  <a:gd name="T19" fmla="*/ 56 h 248"/>
                  <a:gd name="T20" fmla="*/ 54 w 246"/>
                  <a:gd name="T21" fmla="*/ 22 h 248"/>
                  <a:gd name="T22" fmla="*/ 86 w 246"/>
                  <a:gd name="T23" fmla="*/ 6 h 248"/>
                  <a:gd name="T24" fmla="*/ 110 w 246"/>
                  <a:gd name="T25" fmla="*/ 2 h 248"/>
                  <a:gd name="T26" fmla="*/ 122 w 246"/>
                  <a:gd name="T27" fmla="*/ 0 h 248"/>
                  <a:gd name="T28" fmla="*/ 148 w 246"/>
                  <a:gd name="T29" fmla="*/ 4 h 248"/>
                  <a:gd name="T30" fmla="*/ 170 w 246"/>
                  <a:gd name="T31" fmla="*/ 10 h 248"/>
                  <a:gd name="T32" fmla="*/ 210 w 246"/>
                  <a:gd name="T33" fmla="*/ 36 h 248"/>
                  <a:gd name="T34" fmla="*/ 236 w 246"/>
                  <a:gd name="T35" fmla="*/ 76 h 248"/>
                  <a:gd name="T36" fmla="*/ 242 w 246"/>
                  <a:gd name="T37" fmla="*/ 100 h 248"/>
                  <a:gd name="T38" fmla="*/ 246 w 246"/>
                  <a:gd name="T39" fmla="*/ 124 h 248"/>
                  <a:gd name="T40" fmla="*/ 244 w 246"/>
                  <a:gd name="T41" fmla="*/ 136 h 248"/>
                  <a:gd name="T42" fmla="*/ 240 w 246"/>
                  <a:gd name="T43" fmla="*/ 160 h 248"/>
                  <a:gd name="T44" fmla="*/ 224 w 246"/>
                  <a:gd name="T45" fmla="*/ 192 h 248"/>
                  <a:gd name="T46" fmla="*/ 192 w 246"/>
                  <a:gd name="T47" fmla="*/ 226 h 248"/>
                  <a:gd name="T48" fmla="*/ 158 w 246"/>
                  <a:gd name="T49" fmla="*/ 242 h 248"/>
                  <a:gd name="T50" fmla="*/ 134 w 246"/>
                  <a:gd name="T51" fmla="*/ 246 h 248"/>
                  <a:gd name="T52" fmla="*/ 122 w 246"/>
                  <a:gd name="T53" fmla="*/ 248 h 248"/>
                  <a:gd name="T54" fmla="*/ 122 w 246"/>
                  <a:gd name="T55" fmla="*/ 28 h 248"/>
                  <a:gd name="T56" fmla="*/ 86 w 246"/>
                  <a:gd name="T57" fmla="*/ 36 h 248"/>
                  <a:gd name="T58" fmla="*/ 56 w 246"/>
                  <a:gd name="T59" fmla="*/ 56 h 248"/>
                  <a:gd name="T60" fmla="*/ 34 w 246"/>
                  <a:gd name="T61" fmla="*/ 86 h 248"/>
                  <a:gd name="T62" fmla="*/ 28 w 246"/>
                  <a:gd name="T63" fmla="*/ 124 h 248"/>
                  <a:gd name="T64" fmla="*/ 30 w 246"/>
                  <a:gd name="T65" fmla="*/ 144 h 248"/>
                  <a:gd name="T66" fmla="*/ 44 w 246"/>
                  <a:gd name="T67" fmla="*/ 178 h 248"/>
                  <a:gd name="T68" fmla="*/ 70 w 246"/>
                  <a:gd name="T69" fmla="*/ 202 h 248"/>
                  <a:gd name="T70" fmla="*/ 104 w 246"/>
                  <a:gd name="T71" fmla="*/ 218 h 248"/>
                  <a:gd name="T72" fmla="*/ 122 w 246"/>
                  <a:gd name="T73" fmla="*/ 220 h 248"/>
                  <a:gd name="T74" fmla="*/ 160 w 246"/>
                  <a:gd name="T75" fmla="*/ 212 h 248"/>
                  <a:gd name="T76" fmla="*/ 190 w 246"/>
                  <a:gd name="T77" fmla="*/ 192 h 248"/>
                  <a:gd name="T78" fmla="*/ 210 w 246"/>
                  <a:gd name="T79" fmla="*/ 160 h 248"/>
                  <a:gd name="T80" fmla="*/ 218 w 246"/>
                  <a:gd name="T81" fmla="*/ 124 h 248"/>
                  <a:gd name="T82" fmla="*/ 216 w 246"/>
                  <a:gd name="T83" fmla="*/ 104 h 248"/>
                  <a:gd name="T84" fmla="*/ 202 w 246"/>
                  <a:gd name="T85" fmla="*/ 70 h 248"/>
                  <a:gd name="T86" fmla="*/ 176 w 246"/>
                  <a:gd name="T87" fmla="*/ 46 h 248"/>
                  <a:gd name="T88" fmla="*/ 142 w 246"/>
                  <a:gd name="T89" fmla="*/ 30 h 248"/>
                  <a:gd name="T90" fmla="*/ 122 w 246"/>
                  <a:gd name="T91" fmla="*/ 28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46" h="248">
                    <a:moveTo>
                      <a:pt x="122" y="248"/>
                    </a:moveTo>
                    <a:lnTo>
                      <a:pt x="122" y="248"/>
                    </a:lnTo>
                    <a:lnTo>
                      <a:pt x="110" y="246"/>
                    </a:lnTo>
                    <a:lnTo>
                      <a:pt x="98" y="244"/>
                    </a:lnTo>
                    <a:lnTo>
                      <a:pt x="86" y="242"/>
                    </a:lnTo>
                    <a:lnTo>
                      <a:pt x="74" y="238"/>
                    </a:lnTo>
                    <a:lnTo>
                      <a:pt x="54" y="226"/>
                    </a:lnTo>
                    <a:lnTo>
                      <a:pt x="36" y="210"/>
                    </a:lnTo>
                    <a:lnTo>
                      <a:pt x="20" y="192"/>
                    </a:lnTo>
                    <a:lnTo>
                      <a:pt x="8" y="172"/>
                    </a:lnTo>
                    <a:lnTo>
                      <a:pt x="4" y="160"/>
                    </a:lnTo>
                    <a:lnTo>
                      <a:pt x="2" y="148"/>
                    </a:lnTo>
                    <a:lnTo>
                      <a:pt x="0" y="136"/>
                    </a:lnTo>
                    <a:lnTo>
                      <a:pt x="0" y="124"/>
                    </a:lnTo>
                    <a:lnTo>
                      <a:pt x="0" y="124"/>
                    </a:lnTo>
                    <a:lnTo>
                      <a:pt x="0" y="112"/>
                    </a:lnTo>
                    <a:lnTo>
                      <a:pt x="2" y="100"/>
                    </a:lnTo>
                    <a:lnTo>
                      <a:pt x="4" y="88"/>
                    </a:lnTo>
                    <a:lnTo>
                      <a:pt x="8" y="76"/>
                    </a:lnTo>
                    <a:lnTo>
                      <a:pt x="20" y="56"/>
                    </a:lnTo>
                    <a:lnTo>
                      <a:pt x="36" y="36"/>
                    </a:lnTo>
                    <a:lnTo>
                      <a:pt x="54" y="22"/>
                    </a:lnTo>
                    <a:lnTo>
                      <a:pt x="74" y="10"/>
                    </a:lnTo>
                    <a:lnTo>
                      <a:pt x="86" y="6"/>
                    </a:lnTo>
                    <a:lnTo>
                      <a:pt x="98" y="4"/>
                    </a:lnTo>
                    <a:lnTo>
                      <a:pt x="110" y="2"/>
                    </a:lnTo>
                    <a:lnTo>
                      <a:pt x="122" y="0"/>
                    </a:lnTo>
                    <a:lnTo>
                      <a:pt x="122" y="0"/>
                    </a:lnTo>
                    <a:lnTo>
                      <a:pt x="134" y="2"/>
                    </a:lnTo>
                    <a:lnTo>
                      <a:pt x="148" y="4"/>
                    </a:lnTo>
                    <a:lnTo>
                      <a:pt x="158" y="6"/>
                    </a:lnTo>
                    <a:lnTo>
                      <a:pt x="170" y="10"/>
                    </a:lnTo>
                    <a:lnTo>
                      <a:pt x="192" y="22"/>
                    </a:lnTo>
                    <a:lnTo>
                      <a:pt x="210" y="36"/>
                    </a:lnTo>
                    <a:lnTo>
                      <a:pt x="224" y="56"/>
                    </a:lnTo>
                    <a:lnTo>
                      <a:pt x="236" y="76"/>
                    </a:lnTo>
                    <a:lnTo>
                      <a:pt x="240" y="88"/>
                    </a:lnTo>
                    <a:lnTo>
                      <a:pt x="242" y="100"/>
                    </a:lnTo>
                    <a:lnTo>
                      <a:pt x="244" y="112"/>
                    </a:lnTo>
                    <a:lnTo>
                      <a:pt x="246" y="124"/>
                    </a:lnTo>
                    <a:lnTo>
                      <a:pt x="246" y="124"/>
                    </a:lnTo>
                    <a:lnTo>
                      <a:pt x="244" y="136"/>
                    </a:lnTo>
                    <a:lnTo>
                      <a:pt x="242" y="148"/>
                    </a:lnTo>
                    <a:lnTo>
                      <a:pt x="240" y="160"/>
                    </a:lnTo>
                    <a:lnTo>
                      <a:pt x="236" y="172"/>
                    </a:lnTo>
                    <a:lnTo>
                      <a:pt x="224" y="192"/>
                    </a:lnTo>
                    <a:lnTo>
                      <a:pt x="210" y="210"/>
                    </a:lnTo>
                    <a:lnTo>
                      <a:pt x="192" y="226"/>
                    </a:lnTo>
                    <a:lnTo>
                      <a:pt x="170" y="238"/>
                    </a:lnTo>
                    <a:lnTo>
                      <a:pt x="158" y="242"/>
                    </a:lnTo>
                    <a:lnTo>
                      <a:pt x="148" y="244"/>
                    </a:lnTo>
                    <a:lnTo>
                      <a:pt x="134" y="246"/>
                    </a:lnTo>
                    <a:lnTo>
                      <a:pt x="122" y="248"/>
                    </a:lnTo>
                    <a:lnTo>
                      <a:pt x="122" y="248"/>
                    </a:lnTo>
                    <a:close/>
                    <a:moveTo>
                      <a:pt x="122" y="28"/>
                    </a:moveTo>
                    <a:lnTo>
                      <a:pt x="122" y="28"/>
                    </a:lnTo>
                    <a:lnTo>
                      <a:pt x="104" y="30"/>
                    </a:lnTo>
                    <a:lnTo>
                      <a:pt x="86" y="36"/>
                    </a:lnTo>
                    <a:lnTo>
                      <a:pt x="70" y="46"/>
                    </a:lnTo>
                    <a:lnTo>
                      <a:pt x="56" y="56"/>
                    </a:lnTo>
                    <a:lnTo>
                      <a:pt x="44" y="70"/>
                    </a:lnTo>
                    <a:lnTo>
                      <a:pt x="34" y="86"/>
                    </a:lnTo>
                    <a:lnTo>
                      <a:pt x="30" y="104"/>
                    </a:lnTo>
                    <a:lnTo>
                      <a:pt x="28" y="124"/>
                    </a:lnTo>
                    <a:lnTo>
                      <a:pt x="28" y="124"/>
                    </a:lnTo>
                    <a:lnTo>
                      <a:pt x="30" y="144"/>
                    </a:lnTo>
                    <a:lnTo>
                      <a:pt x="34" y="160"/>
                    </a:lnTo>
                    <a:lnTo>
                      <a:pt x="44" y="178"/>
                    </a:lnTo>
                    <a:lnTo>
                      <a:pt x="56" y="192"/>
                    </a:lnTo>
                    <a:lnTo>
                      <a:pt x="70" y="202"/>
                    </a:lnTo>
                    <a:lnTo>
                      <a:pt x="86" y="212"/>
                    </a:lnTo>
                    <a:lnTo>
                      <a:pt x="104" y="218"/>
                    </a:lnTo>
                    <a:lnTo>
                      <a:pt x="122" y="220"/>
                    </a:lnTo>
                    <a:lnTo>
                      <a:pt x="122" y="220"/>
                    </a:lnTo>
                    <a:lnTo>
                      <a:pt x="142" y="218"/>
                    </a:lnTo>
                    <a:lnTo>
                      <a:pt x="160" y="212"/>
                    </a:lnTo>
                    <a:lnTo>
                      <a:pt x="176" y="202"/>
                    </a:lnTo>
                    <a:lnTo>
                      <a:pt x="190" y="192"/>
                    </a:lnTo>
                    <a:lnTo>
                      <a:pt x="202" y="178"/>
                    </a:lnTo>
                    <a:lnTo>
                      <a:pt x="210" y="160"/>
                    </a:lnTo>
                    <a:lnTo>
                      <a:pt x="216" y="144"/>
                    </a:lnTo>
                    <a:lnTo>
                      <a:pt x="218" y="124"/>
                    </a:lnTo>
                    <a:lnTo>
                      <a:pt x="218" y="124"/>
                    </a:lnTo>
                    <a:lnTo>
                      <a:pt x="216" y="104"/>
                    </a:lnTo>
                    <a:lnTo>
                      <a:pt x="210" y="86"/>
                    </a:lnTo>
                    <a:lnTo>
                      <a:pt x="202" y="70"/>
                    </a:lnTo>
                    <a:lnTo>
                      <a:pt x="190" y="56"/>
                    </a:lnTo>
                    <a:lnTo>
                      <a:pt x="176" y="46"/>
                    </a:lnTo>
                    <a:lnTo>
                      <a:pt x="160" y="36"/>
                    </a:lnTo>
                    <a:lnTo>
                      <a:pt x="142" y="30"/>
                    </a:lnTo>
                    <a:lnTo>
                      <a:pt x="122" y="28"/>
                    </a:lnTo>
                    <a:lnTo>
                      <a:pt x="122" y="28"/>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150" name="Freeform 37"/>
              <p:cNvSpPr>
                <a:spLocks/>
              </p:cNvSpPr>
              <p:nvPr/>
            </p:nvSpPr>
            <p:spPr bwMode="auto">
              <a:xfrm>
                <a:off x="2954338" y="6831013"/>
                <a:ext cx="1041400" cy="1301750"/>
              </a:xfrm>
              <a:custGeom>
                <a:avLst/>
                <a:gdLst>
                  <a:gd name="T0" fmla="*/ 114 w 656"/>
                  <a:gd name="T1" fmla="*/ 784 h 820"/>
                  <a:gd name="T2" fmla="*/ 80 w 656"/>
                  <a:gd name="T3" fmla="*/ 760 h 820"/>
                  <a:gd name="T4" fmla="*/ 172 w 656"/>
                  <a:gd name="T5" fmla="*/ 608 h 820"/>
                  <a:gd name="T6" fmla="*/ 238 w 656"/>
                  <a:gd name="T7" fmla="*/ 672 h 820"/>
                  <a:gd name="T8" fmla="*/ 300 w 656"/>
                  <a:gd name="T9" fmla="*/ 684 h 820"/>
                  <a:gd name="T10" fmla="*/ 328 w 656"/>
                  <a:gd name="T11" fmla="*/ 628 h 820"/>
                  <a:gd name="T12" fmla="*/ 416 w 656"/>
                  <a:gd name="T13" fmla="*/ 630 h 820"/>
                  <a:gd name="T14" fmla="*/ 466 w 656"/>
                  <a:gd name="T15" fmla="*/ 592 h 820"/>
                  <a:gd name="T16" fmla="*/ 446 w 656"/>
                  <a:gd name="T17" fmla="*/ 536 h 820"/>
                  <a:gd name="T18" fmla="*/ 512 w 656"/>
                  <a:gd name="T19" fmla="*/ 474 h 820"/>
                  <a:gd name="T20" fmla="*/ 518 w 656"/>
                  <a:gd name="T21" fmla="*/ 406 h 820"/>
                  <a:gd name="T22" fmla="*/ 464 w 656"/>
                  <a:gd name="T23" fmla="*/ 386 h 820"/>
                  <a:gd name="T24" fmla="*/ 466 w 656"/>
                  <a:gd name="T25" fmla="*/ 296 h 820"/>
                  <a:gd name="T26" fmla="*/ 424 w 656"/>
                  <a:gd name="T27" fmla="*/ 244 h 820"/>
                  <a:gd name="T28" fmla="*/ 372 w 656"/>
                  <a:gd name="T29" fmla="*/ 266 h 820"/>
                  <a:gd name="T30" fmla="*/ 310 w 656"/>
                  <a:gd name="T31" fmla="*/ 200 h 820"/>
                  <a:gd name="T32" fmla="*/ 240 w 656"/>
                  <a:gd name="T33" fmla="*/ 198 h 820"/>
                  <a:gd name="T34" fmla="*/ 198 w 656"/>
                  <a:gd name="T35" fmla="*/ 256 h 820"/>
                  <a:gd name="T36" fmla="*/ 128 w 656"/>
                  <a:gd name="T37" fmla="*/ 244 h 820"/>
                  <a:gd name="T38" fmla="*/ 82 w 656"/>
                  <a:gd name="T39" fmla="*/ 296 h 820"/>
                  <a:gd name="T40" fmla="*/ 84 w 656"/>
                  <a:gd name="T41" fmla="*/ 386 h 820"/>
                  <a:gd name="T42" fmla="*/ 32 w 656"/>
                  <a:gd name="T43" fmla="*/ 406 h 820"/>
                  <a:gd name="T44" fmla="*/ 38 w 656"/>
                  <a:gd name="T45" fmla="*/ 474 h 820"/>
                  <a:gd name="T46" fmla="*/ 102 w 656"/>
                  <a:gd name="T47" fmla="*/ 536 h 820"/>
                  <a:gd name="T48" fmla="*/ 78 w 656"/>
                  <a:gd name="T49" fmla="*/ 550 h 820"/>
                  <a:gd name="T50" fmla="*/ 10 w 656"/>
                  <a:gd name="T51" fmla="*/ 488 h 820"/>
                  <a:gd name="T52" fmla="*/ 6 w 656"/>
                  <a:gd name="T53" fmla="*/ 394 h 820"/>
                  <a:gd name="T54" fmla="*/ 74 w 656"/>
                  <a:gd name="T55" fmla="*/ 334 h 820"/>
                  <a:gd name="T56" fmla="*/ 60 w 656"/>
                  <a:gd name="T57" fmla="*/ 264 h 820"/>
                  <a:gd name="T58" fmla="*/ 138 w 656"/>
                  <a:gd name="T59" fmla="*/ 218 h 820"/>
                  <a:gd name="T60" fmla="*/ 212 w 656"/>
                  <a:gd name="T61" fmla="*/ 192 h 820"/>
                  <a:gd name="T62" fmla="*/ 296 w 656"/>
                  <a:gd name="T63" fmla="*/ 164 h 820"/>
                  <a:gd name="T64" fmla="*/ 342 w 656"/>
                  <a:gd name="T65" fmla="*/ 222 h 820"/>
                  <a:gd name="T66" fmla="*/ 426 w 656"/>
                  <a:gd name="T67" fmla="*/ 216 h 820"/>
                  <a:gd name="T68" fmla="*/ 494 w 656"/>
                  <a:gd name="T69" fmla="*/ 278 h 820"/>
                  <a:gd name="T70" fmla="*/ 490 w 656"/>
                  <a:gd name="T71" fmla="*/ 370 h 820"/>
                  <a:gd name="T72" fmla="*/ 548 w 656"/>
                  <a:gd name="T73" fmla="*/ 410 h 820"/>
                  <a:gd name="T74" fmla="*/ 528 w 656"/>
                  <a:gd name="T75" fmla="*/ 498 h 820"/>
                  <a:gd name="T76" fmla="*/ 492 w 656"/>
                  <a:gd name="T77" fmla="*/ 568 h 820"/>
                  <a:gd name="T78" fmla="*/ 452 w 656"/>
                  <a:gd name="T79" fmla="*/ 646 h 820"/>
                  <a:gd name="T80" fmla="*/ 398 w 656"/>
                  <a:gd name="T81" fmla="*/ 652 h 820"/>
                  <a:gd name="T82" fmla="*/ 330 w 656"/>
                  <a:gd name="T83" fmla="*/ 696 h 820"/>
                  <a:gd name="T84" fmla="*/ 238 w 656"/>
                  <a:gd name="T85" fmla="*/ 710 h 820"/>
                  <a:gd name="T86" fmla="*/ 176 w 656"/>
                  <a:gd name="T87" fmla="*/ 640 h 820"/>
                  <a:gd name="T88" fmla="*/ 232 w 656"/>
                  <a:gd name="T89" fmla="*/ 788 h 820"/>
                  <a:gd name="T90" fmla="*/ 472 w 656"/>
                  <a:gd name="T91" fmla="*/ 730 h 820"/>
                  <a:gd name="T92" fmla="*/ 626 w 656"/>
                  <a:gd name="T93" fmla="*/ 474 h 820"/>
                  <a:gd name="T94" fmla="*/ 546 w 656"/>
                  <a:gd name="T95" fmla="*/ 214 h 820"/>
                  <a:gd name="T96" fmla="*/ 274 w 656"/>
                  <a:gd name="T97" fmla="*/ 84 h 820"/>
                  <a:gd name="T98" fmla="*/ 186 w 656"/>
                  <a:gd name="T99" fmla="*/ 170 h 820"/>
                  <a:gd name="T100" fmla="*/ 30 w 656"/>
                  <a:gd name="T101" fmla="*/ 136 h 820"/>
                  <a:gd name="T102" fmla="*/ 124 w 656"/>
                  <a:gd name="T103" fmla="*/ 2 h 820"/>
                  <a:gd name="T104" fmla="*/ 130 w 656"/>
                  <a:gd name="T105" fmla="*/ 100 h 820"/>
                  <a:gd name="T106" fmla="*/ 240 w 656"/>
                  <a:gd name="T107" fmla="*/ 58 h 820"/>
                  <a:gd name="T108" fmla="*/ 516 w 656"/>
                  <a:gd name="T109" fmla="*/ 144 h 820"/>
                  <a:gd name="T110" fmla="*/ 656 w 656"/>
                  <a:gd name="T111" fmla="*/ 438 h 820"/>
                  <a:gd name="T112" fmla="*/ 544 w 656"/>
                  <a:gd name="T113" fmla="*/ 708 h 820"/>
                  <a:gd name="T114" fmla="*/ 274 w 656"/>
                  <a:gd name="T115" fmla="*/ 820 h 8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56" h="820">
                    <a:moveTo>
                      <a:pt x="274" y="820"/>
                    </a:moveTo>
                    <a:lnTo>
                      <a:pt x="274" y="820"/>
                    </a:lnTo>
                    <a:lnTo>
                      <a:pt x="250" y="818"/>
                    </a:lnTo>
                    <a:lnTo>
                      <a:pt x="228" y="816"/>
                    </a:lnTo>
                    <a:lnTo>
                      <a:pt x="204" y="812"/>
                    </a:lnTo>
                    <a:lnTo>
                      <a:pt x="182" y="808"/>
                    </a:lnTo>
                    <a:lnTo>
                      <a:pt x="158" y="802"/>
                    </a:lnTo>
                    <a:lnTo>
                      <a:pt x="136" y="794"/>
                    </a:lnTo>
                    <a:lnTo>
                      <a:pt x="114" y="784"/>
                    </a:lnTo>
                    <a:lnTo>
                      <a:pt x="94" y="774"/>
                    </a:lnTo>
                    <a:lnTo>
                      <a:pt x="94" y="774"/>
                    </a:lnTo>
                    <a:lnTo>
                      <a:pt x="88" y="770"/>
                    </a:lnTo>
                    <a:lnTo>
                      <a:pt x="88" y="770"/>
                    </a:lnTo>
                    <a:lnTo>
                      <a:pt x="86" y="768"/>
                    </a:lnTo>
                    <a:lnTo>
                      <a:pt x="86" y="768"/>
                    </a:lnTo>
                    <a:lnTo>
                      <a:pt x="82" y="766"/>
                    </a:lnTo>
                    <a:lnTo>
                      <a:pt x="80" y="760"/>
                    </a:lnTo>
                    <a:lnTo>
                      <a:pt x="80" y="760"/>
                    </a:lnTo>
                    <a:lnTo>
                      <a:pt x="80" y="754"/>
                    </a:lnTo>
                    <a:lnTo>
                      <a:pt x="82" y="750"/>
                    </a:lnTo>
                    <a:lnTo>
                      <a:pt x="94" y="730"/>
                    </a:lnTo>
                    <a:lnTo>
                      <a:pt x="158" y="616"/>
                    </a:lnTo>
                    <a:lnTo>
                      <a:pt x="158" y="616"/>
                    </a:lnTo>
                    <a:lnTo>
                      <a:pt x="162" y="612"/>
                    </a:lnTo>
                    <a:lnTo>
                      <a:pt x="166" y="608"/>
                    </a:lnTo>
                    <a:lnTo>
                      <a:pt x="166" y="608"/>
                    </a:lnTo>
                    <a:lnTo>
                      <a:pt x="172" y="608"/>
                    </a:lnTo>
                    <a:lnTo>
                      <a:pt x="176" y="610"/>
                    </a:lnTo>
                    <a:lnTo>
                      <a:pt x="176" y="610"/>
                    </a:lnTo>
                    <a:lnTo>
                      <a:pt x="198" y="620"/>
                    </a:lnTo>
                    <a:lnTo>
                      <a:pt x="222" y="628"/>
                    </a:lnTo>
                    <a:lnTo>
                      <a:pt x="222" y="628"/>
                    </a:lnTo>
                    <a:lnTo>
                      <a:pt x="228" y="632"/>
                    </a:lnTo>
                    <a:lnTo>
                      <a:pt x="232" y="638"/>
                    </a:lnTo>
                    <a:lnTo>
                      <a:pt x="238" y="672"/>
                    </a:lnTo>
                    <a:lnTo>
                      <a:pt x="238" y="672"/>
                    </a:lnTo>
                    <a:lnTo>
                      <a:pt x="238" y="674"/>
                    </a:lnTo>
                    <a:lnTo>
                      <a:pt x="238" y="674"/>
                    </a:lnTo>
                    <a:lnTo>
                      <a:pt x="240" y="678"/>
                    </a:lnTo>
                    <a:lnTo>
                      <a:pt x="244" y="680"/>
                    </a:lnTo>
                    <a:lnTo>
                      <a:pt x="248" y="684"/>
                    </a:lnTo>
                    <a:lnTo>
                      <a:pt x="252" y="684"/>
                    </a:lnTo>
                    <a:lnTo>
                      <a:pt x="296" y="684"/>
                    </a:lnTo>
                    <a:lnTo>
                      <a:pt x="296" y="684"/>
                    </a:lnTo>
                    <a:lnTo>
                      <a:pt x="300" y="684"/>
                    </a:lnTo>
                    <a:lnTo>
                      <a:pt x="306" y="680"/>
                    </a:lnTo>
                    <a:lnTo>
                      <a:pt x="308" y="678"/>
                    </a:lnTo>
                    <a:lnTo>
                      <a:pt x="310" y="674"/>
                    </a:lnTo>
                    <a:lnTo>
                      <a:pt x="310" y="674"/>
                    </a:lnTo>
                    <a:lnTo>
                      <a:pt x="310" y="672"/>
                    </a:lnTo>
                    <a:lnTo>
                      <a:pt x="318" y="638"/>
                    </a:lnTo>
                    <a:lnTo>
                      <a:pt x="318" y="638"/>
                    </a:lnTo>
                    <a:lnTo>
                      <a:pt x="320" y="632"/>
                    </a:lnTo>
                    <a:lnTo>
                      <a:pt x="328" y="628"/>
                    </a:lnTo>
                    <a:lnTo>
                      <a:pt x="328" y="628"/>
                    </a:lnTo>
                    <a:lnTo>
                      <a:pt x="350" y="620"/>
                    </a:lnTo>
                    <a:lnTo>
                      <a:pt x="372" y="610"/>
                    </a:lnTo>
                    <a:lnTo>
                      <a:pt x="372" y="610"/>
                    </a:lnTo>
                    <a:lnTo>
                      <a:pt x="380" y="608"/>
                    </a:lnTo>
                    <a:lnTo>
                      <a:pt x="386" y="610"/>
                    </a:lnTo>
                    <a:lnTo>
                      <a:pt x="414" y="628"/>
                    </a:lnTo>
                    <a:lnTo>
                      <a:pt x="414" y="628"/>
                    </a:lnTo>
                    <a:lnTo>
                      <a:pt x="416" y="630"/>
                    </a:lnTo>
                    <a:lnTo>
                      <a:pt x="416" y="630"/>
                    </a:lnTo>
                    <a:lnTo>
                      <a:pt x="420" y="632"/>
                    </a:lnTo>
                    <a:lnTo>
                      <a:pt x="424" y="632"/>
                    </a:lnTo>
                    <a:lnTo>
                      <a:pt x="424" y="632"/>
                    </a:lnTo>
                    <a:lnTo>
                      <a:pt x="428" y="630"/>
                    </a:lnTo>
                    <a:lnTo>
                      <a:pt x="434" y="628"/>
                    </a:lnTo>
                    <a:lnTo>
                      <a:pt x="464" y="596"/>
                    </a:lnTo>
                    <a:lnTo>
                      <a:pt x="464" y="596"/>
                    </a:lnTo>
                    <a:lnTo>
                      <a:pt x="466" y="592"/>
                    </a:lnTo>
                    <a:lnTo>
                      <a:pt x="468" y="588"/>
                    </a:lnTo>
                    <a:lnTo>
                      <a:pt x="468" y="584"/>
                    </a:lnTo>
                    <a:lnTo>
                      <a:pt x="466" y="580"/>
                    </a:lnTo>
                    <a:lnTo>
                      <a:pt x="466" y="580"/>
                    </a:lnTo>
                    <a:lnTo>
                      <a:pt x="466" y="578"/>
                    </a:lnTo>
                    <a:lnTo>
                      <a:pt x="446" y="550"/>
                    </a:lnTo>
                    <a:lnTo>
                      <a:pt x="446" y="550"/>
                    </a:lnTo>
                    <a:lnTo>
                      <a:pt x="444" y="542"/>
                    </a:lnTo>
                    <a:lnTo>
                      <a:pt x="446" y="536"/>
                    </a:lnTo>
                    <a:lnTo>
                      <a:pt x="446" y="536"/>
                    </a:lnTo>
                    <a:lnTo>
                      <a:pt x="456" y="514"/>
                    </a:lnTo>
                    <a:lnTo>
                      <a:pt x="464" y="490"/>
                    </a:lnTo>
                    <a:lnTo>
                      <a:pt x="464" y="490"/>
                    </a:lnTo>
                    <a:lnTo>
                      <a:pt x="468" y="484"/>
                    </a:lnTo>
                    <a:lnTo>
                      <a:pt x="476" y="480"/>
                    </a:lnTo>
                    <a:lnTo>
                      <a:pt x="508" y="474"/>
                    </a:lnTo>
                    <a:lnTo>
                      <a:pt x="508" y="474"/>
                    </a:lnTo>
                    <a:lnTo>
                      <a:pt x="512" y="474"/>
                    </a:lnTo>
                    <a:lnTo>
                      <a:pt x="512" y="474"/>
                    </a:lnTo>
                    <a:lnTo>
                      <a:pt x="514" y="472"/>
                    </a:lnTo>
                    <a:lnTo>
                      <a:pt x="518" y="468"/>
                    </a:lnTo>
                    <a:lnTo>
                      <a:pt x="520" y="464"/>
                    </a:lnTo>
                    <a:lnTo>
                      <a:pt x="520" y="460"/>
                    </a:lnTo>
                    <a:lnTo>
                      <a:pt x="520" y="416"/>
                    </a:lnTo>
                    <a:lnTo>
                      <a:pt x="520" y="416"/>
                    </a:lnTo>
                    <a:lnTo>
                      <a:pt x="520" y="412"/>
                    </a:lnTo>
                    <a:lnTo>
                      <a:pt x="518" y="406"/>
                    </a:lnTo>
                    <a:lnTo>
                      <a:pt x="514" y="404"/>
                    </a:lnTo>
                    <a:lnTo>
                      <a:pt x="512" y="402"/>
                    </a:lnTo>
                    <a:lnTo>
                      <a:pt x="512" y="402"/>
                    </a:lnTo>
                    <a:lnTo>
                      <a:pt x="508" y="402"/>
                    </a:lnTo>
                    <a:lnTo>
                      <a:pt x="476" y="396"/>
                    </a:lnTo>
                    <a:lnTo>
                      <a:pt x="476" y="396"/>
                    </a:lnTo>
                    <a:lnTo>
                      <a:pt x="468" y="392"/>
                    </a:lnTo>
                    <a:lnTo>
                      <a:pt x="464" y="386"/>
                    </a:lnTo>
                    <a:lnTo>
                      <a:pt x="464" y="386"/>
                    </a:lnTo>
                    <a:lnTo>
                      <a:pt x="456" y="362"/>
                    </a:lnTo>
                    <a:lnTo>
                      <a:pt x="446" y="340"/>
                    </a:lnTo>
                    <a:lnTo>
                      <a:pt x="446" y="340"/>
                    </a:lnTo>
                    <a:lnTo>
                      <a:pt x="444" y="334"/>
                    </a:lnTo>
                    <a:lnTo>
                      <a:pt x="446" y="326"/>
                    </a:lnTo>
                    <a:lnTo>
                      <a:pt x="466" y="298"/>
                    </a:lnTo>
                    <a:lnTo>
                      <a:pt x="466" y="298"/>
                    </a:lnTo>
                    <a:lnTo>
                      <a:pt x="466" y="296"/>
                    </a:lnTo>
                    <a:lnTo>
                      <a:pt x="466" y="296"/>
                    </a:lnTo>
                    <a:lnTo>
                      <a:pt x="468" y="292"/>
                    </a:lnTo>
                    <a:lnTo>
                      <a:pt x="468" y="288"/>
                    </a:lnTo>
                    <a:lnTo>
                      <a:pt x="466" y="284"/>
                    </a:lnTo>
                    <a:lnTo>
                      <a:pt x="464" y="280"/>
                    </a:lnTo>
                    <a:lnTo>
                      <a:pt x="434" y="248"/>
                    </a:lnTo>
                    <a:lnTo>
                      <a:pt x="434" y="248"/>
                    </a:lnTo>
                    <a:lnTo>
                      <a:pt x="428" y="246"/>
                    </a:lnTo>
                    <a:lnTo>
                      <a:pt x="424" y="244"/>
                    </a:lnTo>
                    <a:lnTo>
                      <a:pt x="424" y="244"/>
                    </a:lnTo>
                    <a:lnTo>
                      <a:pt x="420" y="244"/>
                    </a:lnTo>
                    <a:lnTo>
                      <a:pt x="416" y="246"/>
                    </a:lnTo>
                    <a:lnTo>
                      <a:pt x="416" y="246"/>
                    </a:lnTo>
                    <a:lnTo>
                      <a:pt x="414" y="248"/>
                    </a:lnTo>
                    <a:lnTo>
                      <a:pt x="386" y="266"/>
                    </a:lnTo>
                    <a:lnTo>
                      <a:pt x="386" y="266"/>
                    </a:lnTo>
                    <a:lnTo>
                      <a:pt x="380" y="268"/>
                    </a:lnTo>
                    <a:lnTo>
                      <a:pt x="372" y="266"/>
                    </a:lnTo>
                    <a:lnTo>
                      <a:pt x="372" y="266"/>
                    </a:lnTo>
                    <a:lnTo>
                      <a:pt x="350" y="256"/>
                    </a:lnTo>
                    <a:lnTo>
                      <a:pt x="328" y="248"/>
                    </a:lnTo>
                    <a:lnTo>
                      <a:pt x="328" y="248"/>
                    </a:lnTo>
                    <a:lnTo>
                      <a:pt x="320" y="244"/>
                    </a:lnTo>
                    <a:lnTo>
                      <a:pt x="318" y="236"/>
                    </a:lnTo>
                    <a:lnTo>
                      <a:pt x="310" y="204"/>
                    </a:lnTo>
                    <a:lnTo>
                      <a:pt x="310" y="204"/>
                    </a:lnTo>
                    <a:lnTo>
                      <a:pt x="310" y="200"/>
                    </a:lnTo>
                    <a:lnTo>
                      <a:pt x="310" y="200"/>
                    </a:lnTo>
                    <a:lnTo>
                      <a:pt x="308" y="198"/>
                    </a:lnTo>
                    <a:lnTo>
                      <a:pt x="306" y="196"/>
                    </a:lnTo>
                    <a:lnTo>
                      <a:pt x="300" y="192"/>
                    </a:lnTo>
                    <a:lnTo>
                      <a:pt x="296" y="192"/>
                    </a:lnTo>
                    <a:lnTo>
                      <a:pt x="254" y="192"/>
                    </a:lnTo>
                    <a:lnTo>
                      <a:pt x="254" y="192"/>
                    </a:lnTo>
                    <a:lnTo>
                      <a:pt x="248" y="192"/>
                    </a:lnTo>
                    <a:lnTo>
                      <a:pt x="244" y="196"/>
                    </a:lnTo>
                    <a:lnTo>
                      <a:pt x="240" y="198"/>
                    </a:lnTo>
                    <a:lnTo>
                      <a:pt x="238" y="200"/>
                    </a:lnTo>
                    <a:lnTo>
                      <a:pt x="238" y="200"/>
                    </a:lnTo>
                    <a:lnTo>
                      <a:pt x="238" y="204"/>
                    </a:lnTo>
                    <a:lnTo>
                      <a:pt x="232" y="236"/>
                    </a:lnTo>
                    <a:lnTo>
                      <a:pt x="232" y="236"/>
                    </a:lnTo>
                    <a:lnTo>
                      <a:pt x="228" y="244"/>
                    </a:lnTo>
                    <a:lnTo>
                      <a:pt x="222" y="248"/>
                    </a:lnTo>
                    <a:lnTo>
                      <a:pt x="222" y="248"/>
                    </a:lnTo>
                    <a:lnTo>
                      <a:pt x="198" y="256"/>
                    </a:lnTo>
                    <a:lnTo>
                      <a:pt x="176" y="266"/>
                    </a:lnTo>
                    <a:lnTo>
                      <a:pt x="176" y="266"/>
                    </a:lnTo>
                    <a:lnTo>
                      <a:pt x="170" y="268"/>
                    </a:lnTo>
                    <a:lnTo>
                      <a:pt x="162" y="266"/>
                    </a:lnTo>
                    <a:lnTo>
                      <a:pt x="134" y="248"/>
                    </a:lnTo>
                    <a:lnTo>
                      <a:pt x="134" y="248"/>
                    </a:lnTo>
                    <a:lnTo>
                      <a:pt x="132" y="246"/>
                    </a:lnTo>
                    <a:lnTo>
                      <a:pt x="132" y="246"/>
                    </a:lnTo>
                    <a:lnTo>
                      <a:pt x="128" y="244"/>
                    </a:lnTo>
                    <a:lnTo>
                      <a:pt x="124" y="244"/>
                    </a:lnTo>
                    <a:lnTo>
                      <a:pt x="120" y="246"/>
                    </a:lnTo>
                    <a:lnTo>
                      <a:pt x="116" y="248"/>
                    </a:lnTo>
                    <a:lnTo>
                      <a:pt x="86" y="278"/>
                    </a:lnTo>
                    <a:lnTo>
                      <a:pt x="86" y="278"/>
                    </a:lnTo>
                    <a:lnTo>
                      <a:pt x="82" y="284"/>
                    </a:lnTo>
                    <a:lnTo>
                      <a:pt x="80" y="288"/>
                    </a:lnTo>
                    <a:lnTo>
                      <a:pt x="80" y="292"/>
                    </a:lnTo>
                    <a:lnTo>
                      <a:pt x="82" y="296"/>
                    </a:lnTo>
                    <a:lnTo>
                      <a:pt x="82" y="296"/>
                    </a:lnTo>
                    <a:lnTo>
                      <a:pt x="84" y="298"/>
                    </a:lnTo>
                    <a:lnTo>
                      <a:pt x="102" y="326"/>
                    </a:lnTo>
                    <a:lnTo>
                      <a:pt x="102" y="326"/>
                    </a:lnTo>
                    <a:lnTo>
                      <a:pt x="104" y="334"/>
                    </a:lnTo>
                    <a:lnTo>
                      <a:pt x="102" y="340"/>
                    </a:lnTo>
                    <a:lnTo>
                      <a:pt x="102" y="340"/>
                    </a:lnTo>
                    <a:lnTo>
                      <a:pt x="92" y="362"/>
                    </a:lnTo>
                    <a:lnTo>
                      <a:pt x="84" y="386"/>
                    </a:lnTo>
                    <a:lnTo>
                      <a:pt x="84" y="386"/>
                    </a:lnTo>
                    <a:lnTo>
                      <a:pt x="80" y="392"/>
                    </a:lnTo>
                    <a:lnTo>
                      <a:pt x="74" y="396"/>
                    </a:lnTo>
                    <a:lnTo>
                      <a:pt x="40" y="402"/>
                    </a:lnTo>
                    <a:lnTo>
                      <a:pt x="40" y="402"/>
                    </a:lnTo>
                    <a:lnTo>
                      <a:pt x="38" y="402"/>
                    </a:lnTo>
                    <a:lnTo>
                      <a:pt x="38" y="402"/>
                    </a:lnTo>
                    <a:lnTo>
                      <a:pt x="34" y="404"/>
                    </a:lnTo>
                    <a:lnTo>
                      <a:pt x="32" y="406"/>
                    </a:lnTo>
                    <a:lnTo>
                      <a:pt x="30" y="412"/>
                    </a:lnTo>
                    <a:lnTo>
                      <a:pt x="28" y="416"/>
                    </a:lnTo>
                    <a:lnTo>
                      <a:pt x="28" y="460"/>
                    </a:lnTo>
                    <a:lnTo>
                      <a:pt x="28" y="460"/>
                    </a:lnTo>
                    <a:lnTo>
                      <a:pt x="30" y="464"/>
                    </a:lnTo>
                    <a:lnTo>
                      <a:pt x="32" y="468"/>
                    </a:lnTo>
                    <a:lnTo>
                      <a:pt x="34" y="472"/>
                    </a:lnTo>
                    <a:lnTo>
                      <a:pt x="38" y="474"/>
                    </a:lnTo>
                    <a:lnTo>
                      <a:pt x="38" y="474"/>
                    </a:lnTo>
                    <a:lnTo>
                      <a:pt x="40" y="474"/>
                    </a:lnTo>
                    <a:lnTo>
                      <a:pt x="74" y="480"/>
                    </a:lnTo>
                    <a:lnTo>
                      <a:pt x="74" y="480"/>
                    </a:lnTo>
                    <a:lnTo>
                      <a:pt x="80" y="484"/>
                    </a:lnTo>
                    <a:lnTo>
                      <a:pt x="84" y="490"/>
                    </a:lnTo>
                    <a:lnTo>
                      <a:pt x="84" y="490"/>
                    </a:lnTo>
                    <a:lnTo>
                      <a:pt x="92" y="514"/>
                    </a:lnTo>
                    <a:lnTo>
                      <a:pt x="102" y="536"/>
                    </a:lnTo>
                    <a:lnTo>
                      <a:pt x="102" y="536"/>
                    </a:lnTo>
                    <a:lnTo>
                      <a:pt x="104" y="540"/>
                    </a:lnTo>
                    <a:lnTo>
                      <a:pt x="104" y="546"/>
                    </a:lnTo>
                    <a:lnTo>
                      <a:pt x="102" y="550"/>
                    </a:lnTo>
                    <a:lnTo>
                      <a:pt x="98" y="554"/>
                    </a:lnTo>
                    <a:lnTo>
                      <a:pt x="98" y="554"/>
                    </a:lnTo>
                    <a:lnTo>
                      <a:pt x="92" y="556"/>
                    </a:lnTo>
                    <a:lnTo>
                      <a:pt x="86" y="556"/>
                    </a:lnTo>
                    <a:lnTo>
                      <a:pt x="82" y="554"/>
                    </a:lnTo>
                    <a:lnTo>
                      <a:pt x="78" y="550"/>
                    </a:lnTo>
                    <a:lnTo>
                      <a:pt x="78" y="550"/>
                    </a:lnTo>
                    <a:lnTo>
                      <a:pt x="68" y="528"/>
                    </a:lnTo>
                    <a:lnTo>
                      <a:pt x="60" y="506"/>
                    </a:lnTo>
                    <a:lnTo>
                      <a:pt x="36" y="502"/>
                    </a:lnTo>
                    <a:lnTo>
                      <a:pt x="36" y="502"/>
                    </a:lnTo>
                    <a:lnTo>
                      <a:pt x="28" y="500"/>
                    </a:lnTo>
                    <a:lnTo>
                      <a:pt x="22" y="496"/>
                    </a:lnTo>
                    <a:lnTo>
                      <a:pt x="16" y="492"/>
                    </a:lnTo>
                    <a:lnTo>
                      <a:pt x="10" y="488"/>
                    </a:lnTo>
                    <a:lnTo>
                      <a:pt x="6" y="480"/>
                    </a:lnTo>
                    <a:lnTo>
                      <a:pt x="2" y="474"/>
                    </a:lnTo>
                    <a:lnTo>
                      <a:pt x="0" y="466"/>
                    </a:lnTo>
                    <a:lnTo>
                      <a:pt x="0" y="460"/>
                    </a:lnTo>
                    <a:lnTo>
                      <a:pt x="0" y="416"/>
                    </a:lnTo>
                    <a:lnTo>
                      <a:pt x="0" y="416"/>
                    </a:lnTo>
                    <a:lnTo>
                      <a:pt x="0" y="410"/>
                    </a:lnTo>
                    <a:lnTo>
                      <a:pt x="2" y="402"/>
                    </a:lnTo>
                    <a:lnTo>
                      <a:pt x="6" y="394"/>
                    </a:lnTo>
                    <a:lnTo>
                      <a:pt x="10" y="388"/>
                    </a:lnTo>
                    <a:lnTo>
                      <a:pt x="16" y="384"/>
                    </a:lnTo>
                    <a:lnTo>
                      <a:pt x="22" y="378"/>
                    </a:lnTo>
                    <a:lnTo>
                      <a:pt x="28" y="376"/>
                    </a:lnTo>
                    <a:lnTo>
                      <a:pt x="36" y="374"/>
                    </a:lnTo>
                    <a:lnTo>
                      <a:pt x="60" y="370"/>
                    </a:lnTo>
                    <a:lnTo>
                      <a:pt x="60" y="370"/>
                    </a:lnTo>
                    <a:lnTo>
                      <a:pt x="66" y="352"/>
                    </a:lnTo>
                    <a:lnTo>
                      <a:pt x="74" y="334"/>
                    </a:lnTo>
                    <a:lnTo>
                      <a:pt x="60" y="314"/>
                    </a:lnTo>
                    <a:lnTo>
                      <a:pt x="60" y="314"/>
                    </a:lnTo>
                    <a:lnTo>
                      <a:pt x="56" y="308"/>
                    </a:lnTo>
                    <a:lnTo>
                      <a:pt x="54" y="300"/>
                    </a:lnTo>
                    <a:lnTo>
                      <a:pt x="52" y="294"/>
                    </a:lnTo>
                    <a:lnTo>
                      <a:pt x="52" y="286"/>
                    </a:lnTo>
                    <a:lnTo>
                      <a:pt x="54" y="278"/>
                    </a:lnTo>
                    <a:lnTo>
                      <a:pt x="56" y="272"/>
                    </a:lnTo>
                    <a:lnTo>
                      <a:pt x="60" y="264"/>
                    </a:lnTo>
                    <a:lnTo>
                      <a:pt x="66" y="260"/>
                    </a:lnTo>
                    <a:lnTo>
                      <a:pt x="96" y="228"/>
                    </a:lnTo>
                    <a:lnTo>
                      <a:pt x="96" y="228"/>
                    </a:lnTo>
                    <a:lnTo>
                      <a:pt x="102" y="224"/>
                    </a:lnTo>
                    <a:lnTo>
                      <a:pt x="108" y="220"/>
                    </a:lnTo>
                    <a:lnTo>
                      <a:pt x="114" y="218"/>
                    </a:lnTo>
                    <a:lnTo>
                      <a:pt x="122" y="216"/>
                    </a:lnTo>
                    <a:lnTo>
                      <a:pt x="130" y="216"/>
                    </a:lnTo>
                    <a:lnTo>
                      <a:pt x="138" y="218"/>
                    </a:lnTo>
                    <a:lnTo>
                      <a:pt x="144" y="220"/>
                    </a:lnTo>
                    <a:lnTo>
                      <a:pt x="150" y="224"/>
                    </a:lnTo>
                    <a:lnTo>
                      <a:pt x="170" y="238"/>
                    </a:lnTo>
                    <a:lnTo>
                      <a:pt x="170" y="238"/>
                    </a:lnTo>
                    <a:lnTo>
                      <a:pt x="188" y="230"/>
                    </a:lnTo>
                    <a:lnTo>
                      <a:pt x="206" y="222"/>
                    </a:lnTo>
                    <a:lnTo>
                      <a:pt x="210" y="200"/>
                    </a:lnTo>
                    <a:lnTo>
                      <a:pt x="210" y="200"/>
                    </a:lnTo>
                    <a:lnTo>
                      <a:pt x="212" y="192"/>
                    </a:lnTo>
                    <a:lnTo>
                      <a:pt x="216" y="186"/>
                    </a:lnTo>
                    <a:lnTo>
                      <a:pt x="220" y="180"/>
                    </a:lnTo>
                    <a:lnTo>
                      <a:pt x="226" y="174"/>
                    </a:lnTo>
                    <a:lnTo>
                      <a:pt x="232" y="170"/>
                    </a:lnTo>
                    <a:lnTo>
                      <a:pt x="238" y="166"/>
                    </a:lnTo>
                    <a:lnTo>
                      <a:pt x="246" y="164"/>
                    </a:lnTo>
                    <a:lnTo>
                      <a:pt x="254" y="164"/>
                    </a:lnTo>
                    <a:lnTo>
                      <a:pt x="296" y="164"/>
                    </a:lnTo>
                    <a:lnTo>
                      <a:pt x="296" y="164"/>
                    </a:lnTo>
                    <a:lnTo>
                      <a:pt x="304" y="164"/>
                    </a:lnTo>
                    <a:lnTo>
                      <a:pt x="310" y="166"/>
                    </a:lnTo>
                    <a:lnTo>
                      <a:pt x="318" y="170"/>
                    </a:lnTo>
                    <a:lnTo>
                      <a:pt x="324" y="174"/>
                    </a:lnTo>
                    <a:lnTo>
                      <a:pt x="330" y="180"/>
                    </a:lnTo>
                    <a:lnTo>
                      <a:pt x="334" y="186"/>
                    </a:lnTo>
                    <a:lnTo>
                      <a:pt x="336" y="192"/>
                    </a:lnTo>
                    <a:lnTo>
                      <a:pt x="338" y="200"/>
                    </a:lnTo>
                    <a:lnTo>
                      <a:pt x="342" y="222"/>
                    </a:lnTo>
                    <a:lnTo>
                      <a:pt x="342" y="222"/>
                    </a:lnTo>
                    <a:lnTo>
                      <a:pt x="360" y="230"/>
                    </a:lnTo>
                    <a:lnTo>
                      <a:pt x="378" y="238"/>
                    </a:lnTo>
                    <a:lnTo>
                      <a:pt x="398" y="224"/>
                    </a:lnTo>
                    <a:lnTo>
                      <a:pt x="398" y="224"/>
                    </a:lnTo>
                    <a:lnTo>
                      <a:pt x="404" y="220"/>
                    </a:lnTo>
                    <a:lnTo>
                      <a:pt x="412" y="218"/>
                    </a:lnTo>
                    <a:lnTo>
                      <a:pt x="418" y="216"/>
                    </a:lnTo>
                    <a:lnTo>
                      <a:pt x="426" y="216"/>
                    </a:lnTo>
                    <a:lnTo>
                      <a:pt x="426" y="216"/>
                    </a:lnTo>
                    <a:lnTo>
                      <a:pt x="442" y="220"/>
                    </a:lnTo>
                    <a:lnTo>
                      <a:pt x="448" y="224"/>
                    </a:lnTo>
                    <a:lnTo>
                      <a:pt x="454" y="230"/>
                    </a:lnTo>
                    <a:lnTo>
                      <a:pt x="484" y="260"/>
                    </a:lnTo>
                    <a:lnTo>
                      <a:pt x="484" y="260"/>
                    </a:lnTo>
                    <a:lnTo>
                      <a:pt x="488" y="264"/>
                    </a:lnTo>
                    <a:lnTo>
                      <a:pt x="492" y="272"/>
                    </a:lnTo>
                    <a:lnTo>
                      <a:pt x="494" y="278"/>
                    </a:lnTo>
                    <a:lnTo>
                      <a:pt x="496" y="286"/>
                    </a:lnTo>
                    <a:lnTo>
                      <a:pt x="496" y="294"/>
                    </a:lnTo>
                    <a:lnTo>
                      <a:pt x="494" y="300"/>
                    </a:lnTo>
                    <a:lnTo>
                      <a:pt x="492" y="308"/>
                    </a:lnTo>
                    <a:lnTo>
                      <a:pt x="488" y="314"/>
                    </a:lnTo>
                    <a:lnTo>
                      <a:pt x="474" y="334"/>
                    </a:lnTo>
                    <a:lnTo>
                      <a:pt x="474" y="334"/>
                    </a:lnTo>
                    <a:lnTo>
                      <a:pt x="482" y="352"/>
                    </a:lnTo>
                    <a:lnTo>
                      <a:pt x="490" y="370"/>
                    </a:lnTo>
                    <a:lnTo>
                      <a:pt x="512" y="374"/>
                    </a:lnTo>
                    <a:lnTo>
                      <a:pt x="512" y="374"/>
                    </a:lnTo>
                    <a:lnTo>
                      <a:pt x="520" y="376"/>
                    </a:lnTo>
                    <a:lnTo>
                      <a:pt x="528" y="378"/>
                    </a:lnTo>
                    <a:lnTo>
                      <a:pt x="534" y="384"/>
                    </a:lnTo>
                    <a:lnTo>
                      <a:pt x="538" y="388"/>
                    </a:lnTo>
                    <a:lnTo>
                      <a:pt x="542" y="396"/>
                    </a:lnTo>
                    <a:lnTo>
                      <a:pt x="546" y="402"/>
                    </a:lnTo>
                    <a:lnTo>
                      <a:pt x="548" y="410"/>
                    </a:lnTo>
                    <a:lnTo>
                      <a:pt x="548" y="416"/>
                    </a:lnTo>
                    <a:lnTo>
                      <a:pt x="548" y="460"/>
                    </a:lnTo>
                    <a:lnTo>
                      <a:pt x="548" y="460"/>
                    </a:lnTo>
                    <a:lnTo>
                      <a:pt x="548" y="466"/>
                    </a:lnTo>
                    <a:lnTo>
                      <a:pt x="546" y="474"/>
                    </a:lnTo>
                    <a:lnTo>
                      <a:pt x="542" y="480"/>
                    </a:lnTo>
                    <a:lnTo>
                      <a:pt x="538" y="488"/>
                    </a:lnTo>
                    <a:lnTo>
                      <a:pt x="534" y="492"/>
                    </a:lnTo>
                    <a:lnTo>
                      <a:pt x="528" y="498"/>
                    </a:lnTo>
                    <a:lnTo>
                      <a:pt x="520" y="500"/>
                    </a:lnTo>
                    <a:lnTo>
                      <a:pt x="512" y="502"/>
                    </a:lnTo>
                    <a:lnTo>
                      <a:pt x="490" y="506"/>
                    </a:lnTo>
                    <a:lnTo>
                      <a:pt x="490" y="506"/>
                    </a:lnTo>
                    <a:lnTo>
                      <a:pt x="482" y="524"/>
                    </a:lnTo>
                    <a:lnTo>
                      <a:pt x="474" y="542"/>
                    </a:lnTo>
                    <a:lnTo>
                      <a:pt x="488" y="562"/>
                    </a:lnTo>
                    <a:lnTo>
                      <a:pt x="488" y="562"/>
                    </a:lnTo>
                    <a:lnTo>
                      <a:pt x="492" y="568"/>
                    </a:lnTo>
                    <a:lnTo>
                      <a:pt x="494" y="574"/>
                    </a:lnTo>
                    <a:lnTo>
                      <a:pt x="496" y="582"/>
                    </a:lnTo>
                    <a:lnTo>
                      <a:pt x="496" y="590"/>
                    </a:lnTo>
                    <a:lnTo>
                      <a:pt x="494" y="598"/>
                    </a:lnTo>
                    <a:lnTo>
                      <a:pt x="492" y="604"/>
                    </a:lnTo>
                    <a:lnTo>
                      <a:pt x="488" y="610"/>
                    </a:lnTo>
                    <a:lnTo>
                      <a:pt x="484" y="616"/>
                    </a:lnTo>
                    <a:lnTo>
                      <a:pt x="452" y="646"/>
                    </a:lnTo>
                    <a:lnTo>
                      <a:pt x="452" y="646"/>
                    </a:lnTo>
                    <a:lnTo>
                      <a:pt x="448" y="652"/>
                    </a:lnTo>
                    <a:lnTo>
                      <a:pt x="442" y="656"/>
                    </a:lnTo>
                    <a:lnTo>
                      <a:pt x="434" y="658"/>
                    </a:lnTo>
                    <a:lnTo>
                      <a:pt x="426" y="660"/>
                    </a:lnTo>
                    <a:lnTo>
                      <a:pt x="426" y="660"/>
                    </a:lnTo>
                    <a:lnTo>
                      <a:pt x="418" y="660"/>
                    </a:lnTo>
                    <a:lnTo>
                      <a:pt x="412" y="658"/>
                    </a:lnTo>
                    <a:lnTo>
                      <a:pt x="404" y="656"/>
                    </a:lnTo>
                    <a:lnTo>
                      <a:pt x="398" y="652"/>
                    </a:lnTo>
                    <a:lnTo>
                      <a:pt x="378" y="638"/>
                    </a:lnTo>
                    <a:lnTo>
                      <a:pt x="378" y="638"/>
                    </a:lnTo>
                    <a:lnTo>
                      <a:pt x="360" y="646"/>
                    </a:lnTo>
                    <a:lnTo>
                      <a:pt x="342" y="652"/>
                    </a:lnTo>
                    <a:lnTo>
                      <a:pt x="338" y="676"/>
                    </a:lnTo>
                    <a:lnTo>
                      <a:pt x="338" y="676"/>
                    </a:lnTo>
                    <a:lnTo>
                      <a:pt x="336" y="684"/>
                    </a:lnTo>
                    <a:lnTo>
                      <a:pt x="334" y="690"/>
                    </a:lnTo>
                    <a:lnTo>
                      <a:pt x="330" y="696"/>
                    </a:lnTo>
                    <a:lnTo>
                      <a:pt x="324" y="702"/>
                    </a:lnTo>
                    <a:lnTo>
                      <a:pt x="318" y="706"/>
                    </a:lnTo>
                    <a:lnTo>
                      <a:pt x="310" y="710"/>
                    </a:lnTo>
                    <a:lnTo>
                      <a:pt x="302" y="712"/>
                    </a:lnTo>
                    <a:lnTo>
                      <a:pt x="296" y="712"/>
                    </a:lnTo>
                    <a:lnTo>
                      <a:pt x="252" y="712"/>
                    </a:lnTo>
                    <a:lnTo>
                      <a:pt x="252" y="712"/>
                    </a:lnTo>
                    <a:lnTo>
                      <a:pt x="246" y="712"/>
                    </a:lnTo>
                    <a:lnTo>
                      <a:pt x="238" y="710"/>
                    </a:lnTo>
                    <a:lnTo>
                      <a:pt x="232" y="706"/>
                    </a:lnTo>
                    <a:lnTo>
                      <a:pt x="226" y="702"/>
                    </a:lnTo>
                    <a:lnTo>
                      <a:pt x="220" y="696"/>
                    </a:lnTo>
                    <a:lnTo>
                      <a:pt x="216" y="690"/>
                    </a:lnTo>
                    <a:lnTo>
                      <a:pt x="212" y="684"/>
                    </a:lnTo>
                    <a:lnTo>
                      <a:pt x="210" y="676"/>
                    </a:lnTo>
                    <a:lnTo>
                      <a:pt x="206" y="652"/>
                    </a:lnTo>
                    <a:lnTo>
                      <a:pt x="206" y="652"/>
                    </a:lnTo>
                    <a:lnTo>
                      <a:pt x="176" y="640"/>
                    </a:lnTo>
                    <a:lnTo>
                      <a:pt x="118" y="744"/>
                    </a:lnTo>
                    <a:lnTo>
                      <a:pt x="112" y="752"/>
                    </a:lnTo>
                    <a:lnTo>
                      <a:pt x="112" y="752"/>
                    </a:lnTo>
                    <a:lnTo>
                      <a:pt x="132" y="762"/>
                    </a:lnTo>
                    <a:lnTo>
                      <a:pt x="150" y="770"/>
                    </a:lnTo>
                    <a:lnTo>
                      <a:pt x="170" y="776"/>
                    </a:lnTo>
                    <a:lnTo>
                      <a:pt x="190" y="782"/>
                    </a:lnTo>
                    <a:lnTo>
                      <a:pt x="212" y="786"/>
                    </a:lnTo>
                    <a:lnTo>
                      <a:pt x="232" y="788"/>
                    </a:lnTo>
                    <a:lnTo>
                      <a:pt x="254" y="790"/>
                    </a:lnTo>
                    <a:lnTo>
                      <a:pt x="274" y="792"/>
                    </a:lnTo>
                    <a:lnTo>
                      <a:pt x="274" y="792"/>
                    </a:lnTo>
                    <a:lnTo>
                      <a:pt x="310" y="790"/>
                    </a:lnTo>
                    <a:lnTo>
                      <a:pt x="346" y="784"/>
                    </a:lnTo>
                    <a:lnTo>
                      <a:pt x="380" y="776"/>
                    </a:lnTo>
                    <a:lnTo>
                      <a:pt x="412" y="764"/>
                    </a:lnTo>
                    <a:lnTo>
                      <a:pt x="442" y="748"/>
                    </a:lnTo>
                    <a:lnTo>
                      <a:pt x="472" y="730"/>
                    </a:lnTo>
                    <a:lnTo>
                      <a:pt x="500" y="710"/>
                    </a:lnTo>
                    <a:lnTo>
                      <a:pt x="524" y="688"/>
                    </a:lnTo>
                    <a:lnTo>
                      <a:pt x="546" y="662"/>
                    </a:lnTo>
                    <a:lnTo>
                      <a:pt x="568" y="636"/>
                    </a:lnTo>
                    <a:lnTo>
                      <a:pt x="586" y="606"/>
                    </a:lnTo>
                    <a:lnTo>
                      <a:pt x="600" y="576"/>
                    </a:lnTo>
                    <a:lnTo>
                      <a:pt x="612" y="542"/>
                    </a:lnTo>
                    <a:lnTo>
                      <a:pt x="620" y="510"/>
                    </a:lnTo>
                    <a:lnTo>
                      <a:pt x="626" y="474"/>
                    </a:lnTo>
                    <a:lnTo>
                      <a:pt x="628" y="438"/>
                    </a:lnTo>
                    <a:lnTo>
                      <a:pt x="628" y="438"/>
                    </a:lnTo>
                    <a:lnTo>
                      <a:pt x="626" y="402"/>
                    </a:lnTo>
                    <a:lnTo>
                      <a:pt x="620" y="366"/>
                    </a:lnTo>
                    <a:lnTo>
                      <a:pt x="612" y="332"/>
                    </a:lnTo>
                    <a:lnTo>
                      <a:pt x="600" y="300"/>
                    </a:lnTo>
                    <a:lnTo>
                      <a:pt x="586" y="270"/>
                    </a:lnTo>
                    <a:lnTo>
                      <a:pt x="568" y="240"/>
                    </a:lnTo>
                    <a:lnTo>
                      <a:pt x="546" y="214"/>
                    </a:lnTo>
                    <a:lnTo>
                      <a:pt x="524" y="188"/>
                    </a:lnTo>
                    <a:lnTo>
                      <a:pt x="500" y="166"/>
                    </a:lnTo>
                    <a:lnTo>
                      <a:pt x="472" y="144"/>
                    </a:lnTo>
                    <a:lnTo>
                      <a:pt x="442" y="128"/>
                    </a:lnTo>
                    <a:lnTo>
                      <a:pt x="412" y="112"/>
                    </a:lnTo>
                    <a:lnTo>
                      <a:pt x="380" y="100"/>
                    </a:lnTo>
                    <a:lnTo>
                      <a:pt x="346" y="92"/>
                    </a:lnTo>
                    <a:lnTo>
                      <a:pt x="310" y="86"/>
                    </a:lnTo>
                    <a:lnTo>
                      <a:pt x="274" y="84"/>
                    </a:lnTo>
                    <a:lnTo>
                      <a:pt x="274" y="84"/>
                    </a:lnTo>
                    <a:lnTo>
                      <a:pt x="246" y="86"/>
                    </a:lnTo>
                    <a:lnTo>
                      <a:pt x="218" y="88"/>
                    </a:lnTo>
                    <a:lnTo>
                      <a:pt x="190" y="94"/>
                    </a:lnTo>
                    <a:lnTo>
                      <a:pt x="162" y="102"/>
                    </a:lnTo>
                    <a:lnTo>
                      <a:pt x="174" y="130"/>
                    </a:lnTo>
                    <a:lnTo>
                      <a:pt x="186" y="164"/>
                    </a:lnTo>
                    <a:lnTo>
                      <a:pt x="186" y="164"/>
                    </a:lnTo>
                    <a:lnTo>
                      <a:pt x="186" y="170"/>
                    </a:lnTo>
                    <a:lnTo>
                      <a:pt x="184" y="178"/>
                    </a:lnTo>
                    <a:lnTo>
                      <a:pt x="184" y="178"/>
                    </a:lnTo>
                    <a:lnTo>
                      <a:pt x="176" y="182"/>
                    </a:lnTo>
                    <a:lnTo>
                      <a:pt x="170" y="182"/>
                    </a:lnTo>
                    <a:lnTo>
                      <a:pt x="40" y="144"/>
                    </a:lnTo>
                    <a:lnTo>
                      <a:pt x="40" y="144"/>
                    </a:lnTo>
                    <a:lnTo>
                      <a:pt x="34" y="142"/>
                    </a:lnTo>
                    <a:lnTo>
                      <a:pt x="30" y="136"/>
                    </a:lnTo>
                    <a:lnTo>
                      <a:pt x="30" y="136"/>
                    </a:lnTo>
                    <a:lnTo>
                      <a:pt x="28" y="130"/>
                    </a:lnTo>
                    <a:lnTo>
                      <a:pt x="32" y="124"/>
                    </a:lnTo>
                    <a:lnTo>
                      <a:pt x="104" y="8"/>
                    </a:lnTo>
                    <a:lnTo>
                      <a:pt x="104" y="8"/>
                    </a:lnTo>
                    <a:lnTo>
                      <a:pt x="108" y="4"/>
                    </a:lnTo>
                    <a:lnTo>
                      <a:pt x="112" y="0"/>
                    </a:lnTo>
                    <a:lnTo>
                      <a:pt x="118" y="0"/>
                    </a:lnTo>
                    <a:lnTo>
                      <a:pt x="124" y="2"/>
                    </a:lnTo>
                    <a:lnTo>
                      <a:pt x="124" y="2"/>
                    </a:lnTo>
                    <a:lnTo>
                      <a:pt x="128" y="6"/>
                    </a:lnTo>
                    <a:lnTo>
                      <a:pt x="130" y="12"/>
                    </a:lnTo>
                    <a:lnTo>
                      <a:pt x="130" y="16"/>
                    </a:lnTo>
                    <a:lnTo>
                      <a:pt x="128" y="22"/>
                    </a:lnTo>
                    <a:lnTo>
                      <a:pt x="64" y="122"/>
                    </a:lnTo>
                    <a:lnTo>
                      <a:pt x="150" y="148"/>
                    </a:lnTo>
                    <a:lnTo>
                      <a:pt x="148" y="140"/>
                    </a:lnTo>
                    <a:lnTo>
                      <a:pt x="130" y="100"/>
                    </a:lnTo>
                    <a:lnTo>
                      <a:pt x="130" y="100"/>
                    </a:lnTo>
                    <a:lnTo>
                      <a:pt x="130" y="94"/>
                    </a:lnTo>
                    <a:lnTo>
                      <a:pt x="130" y="88"/>
                    </a:lnTo>
                    <a:lnTo>
                      <a:pt x="130" y="88"/>
                    </a:lnTo>
                    <a:lnTo>
                      <a:pt x="134" y="84"/>
                    </a:lnTo>
                    <a:lnTo>
                      <a:pt x="138" y="82"/>
                    </a:lnTo>
                    <a:lnTo>
                      <a:pt x="138" y="82"/>
                    </a:lnTo>
                    <a:lnTo>
                      <a:pt x="172" y="70"/>
                    </a:lnTo>
                    <a:lnTo>
                      <a:pt x="206" y="62"/>
                    </a:lnTo>
                    <a:lnTo>
                      <a:pt x="240" y="58"/>
                    </a:lnTo>
                    <a:lnTo>
                      <a:pt x="274" y="56"/>
                    </a:lnTo>
                    <a:lnTo>
                      <a:pt x="274" y="56"/>
                    </a:lnTo>
                    <a:lnTo>
                      <a:pt x="314" y="58"/>
                    </a:lnTo>
                    <a:lnTo>
                      <a:pt x="352" y="64"/>
                    </a:lnTo>
                    <a:lnTo>
                      <a:pt x="388" y="74"/>
                    </a:lnTo>
                    <a:lnTo>
                      <a:pt x="422" y="86"/>
                    </a:lnTo>
                    <a:lnTo>
                      <a:pt x="456" y="102"/>
                    </a:lnTo>
                    <a:lnTo>
                      <a:pt x="488" y="122"/>
                    </a:lnTo>
                    <a:lnTo>
                      <a:pt x="516" y="144"/>
                    </a:lnTo>
                    <a:lnTo>
                      <a:pt x="544" y="168"/>
                    </a:lnTo>
                    <a:lnTo>
                      <a:pt x="568" y="196"/>
                    </a:lnTo>
                    <a:lnTo>
                      <a:pt x="590" y="224"/>
                    </a:lnTo>
                    <a:lnTo>
                      <a:pt x="610" y="256"/>
                    </a:lnTo>
                    <a:lnTo>
                      <a:pt x="626" y="290"/>
                    </a:lnTo>
                    <a:lnTo>
                      <a:pt x="638" y="324"/>
                    </a:lnTo>
                    <a:lnTo>
                      <a:pt x="648" y="362"/>
                    </a:lnTo>
                    <a:lnTo>
                      <a:pt x="654" y="398"/>
                    </a:lnTo>
                    <a:lnTo>
                      <a:pt x="656" y="438"/>
                    </a:lnTo>
                    <a:lnTo>
                      <a:pt x="656" y="438"/>
                    </a:lnTo>
                    <a:lnTo>
                      <a:pt x="654" y="476"/>
                    </a:lnTo>
                    <a:lnTo>
                      <a:pt x="648" y="514"/>
                    </a:lnTo>
                    <a:lnTo>
                      <a:pt x="638" y="552"/>
                    </a:lnTo>
                    <a:lnTo>
                      <a:pt x="626" y="586"/>
                    </a:lnTo>
                    <a:lnTo>
                      <a:pt x="610" y="620"/>
                    </a:lnTo>
                    <a:lnTo>
                      <a:pt x="590" y="652"/>
                    </a:lnTo>
                    <a:lnTo>
                      <a:pt x="568" y="680"/>
                    </a:lnTo>
                    <a:lnTo>
                      <a:pt x="544" y="708"/>
                    </a:lnTo>
                    <a:lnTo>
                      <a:pt x="516" y="732"/>
                    </a:lnTo>
                    <a:lnTo>
                      <a:pt x="488" y="754"/>
                    </a:lnTo>
                    <a:lnTo>
                      <a:pt x="456" y="774"/>
                    </a:lnTo>
                    <a:lnTo>
                      <a:pt x="422" y="790"/>
                    </a:lnTo>
                    <a:lnTo>
                      <a:pt x="388" y="802"/>
                    </a:lnTo>
                    <a:lnTo>
                      <a:pt x="352" y="812"/>
                    </a:lnTo>
                    <a:lnTo>
                      <a:pt x="314" y="818"/>
                    </a:lnTo>
                    <a:lnTo>
                      <a:pt x="274" y="820"/>
                    </a:lnTo>
                    <a:lnTo>
                      <a:pt x="274" y="820"/>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grpSp>
        <p:grpSp>
          <p:nvGrpSpPr>
            <p:cNvPr id="135" name="Group 134"/>
            <p:cNvGrpSpPr/>
            <p:nvPr/>
          </p:nvGrpSpPr>
          <p:grpSpPr>
            <a:xfrm>
              <a:off x="9872701" y="3060921"/>
              <a:ext cx="1878892" cy="1542780"/>
              <a:chOff x="9910801" y="2434267"/>
              <a:chExt cx="1878892" cy="1542780"/>
            </a:xfrm>
          </p:grpSpPr>
          <p:sp>
            <p:nvSpPr>
              <p:cNvPr id="136" name="TextBox 135"/>
              <p:cNvSpPr txBox="1"/>
              <p:nvPr/>
            </p:nvSpPr>
            <p:spPr>
              <a:xfrm>
                <a:off x="9910801" y="3234749"/>
                <a:ext cx="1090058" cy="461622"/>
              </a:xfrm>
              <a:prstGeom prst="rect">
                <a:avLst/>
              </a:prstGeom>
              <a:noFill/>
            </p:spPr>
            <p:txBody>
              <a:bodyPr wrap="square" lIns="182854" tIns="146283" rIns="182854" bIns="146283" rtlCol="0">
                <a:spAutoFit/>
              </a:bodyPr>
              <a:lstStyle/>
              <a:p>
                <a:pPr marL="0" marR="0" lvl="0" indent="0" defTabSz="932563" eaLnBrk="1" fontAlgn="auto" latinLnBrk="0" hangingPunct="1">
                  <a:lnSpc>
                    <a:spcPct val="90000"/>
                  </a:lnSpc>
                  <a:spcBef>
                    <a:spcPct val="0"/>
                  </a:spcBef>
                  <a:spcAft>
                    <a:spcPts val="600"/>
                  </a:spcAft>
                  <a:buClrTx/>
                  <a:buSzTx/>
                  <a:buFontTx/>
                  <a:buNone/>
                  <a:tabLst/>
                  <a:defRPr/>
                </a:pPr>
                <a:r>
                  <a:rPr kumimoji="0" lang="en-US" sz="1200" b="0" i="0" u="none" strike="noStrike" kern="0" cap="none" spc="-30" normalizeH="0" baseline="0" noProof="0" dirty="0">
                    <a:ln>
                      <a:noFill/>
                    </a:ln>
                    <a:solidFill>
                      <a:srgbClr val="002050"/>
                    </a:solidFill>
                    <a:effectLst/>
                    <a:uLnTx/>
                    <a:uFillTx/>
                    <a:latin typeface="Segoe UI Semilight" panose="020B0402040204020203" pitchFamily="34" charset="0"/>
                    <a:cs typeface="Segoe UI Semilight" panose="020B0402040204020203" pitchFamily="34" charset="0"/>
                  </a:rPr>
                  <a:t>Apps</a:t>
                </a:r>
              </a:p>
            </p:txBody>
          </p:sp>
          <p:grpSp>
            <p:nvGrpSpPr>
              <p:cNvPr id="137" name="Group 136"/>
              <p:cNvGrpSpPr/>
              <p:nvPr/>
            </p:nvGrpSpPr>
            <p:grpSpPr>
              <a:xfrm>
                <a:off x="10012430" y="2917883"/>
                <a:ext cx="462396" cy="357669"/>
                <a:chOff x="5007615" y="2323753"/>
                <a:chExt cx="649029" cy="502032"/>
              </a:xfrm>
              <a:solidFill>
                <a:srgbClr val="0078D7"/>
              </a:solidFill>
            </p:grpSpPr>
            <p:sp>
              <p:nvSpPr>
                <p:cNvPr id="147" name="Freeform 22"/>
                <p:cNvSpPr>
                  <a:spLocks/>
                </p:cNvSpPr>
                <p:nvPr/>
              </p:nvSpPr>
              <p:spPr bwMode="auto">
                <a:xfrm>
                  <a:off x="5175285" y="2455306"/>
                  <a:ext cx="313688" cy="314768"/>
                </a:xfrm>
                <a:custGeom>
                  <a:avLst/>
                  <a:gdLst>
                    <a:gd name="connsiteX0" fmla="*/ 193673 w 319670"/>
                    <a:gd name="connsiteY0" fmla="*/ 280605 h 320770"/>
                    <a:gd name="connsiteX1" fmla="*/ 165888 w 319670"/>
                    <a:gd name="connsiteY1" fmla="*/ 281661 h 320770"/>
                    <a:gd name="connsiteX2" fmla="*/ 167460 w 319670"/>
                    <a:gd name="connsiteY2" fmla="*/ 307015 h 320770"/>
                    <a:gd name="connsiteX3" fmla="*/ 181091 w 319670"/>
                    <a:gd name="connsiteY3" fmla="*/ 305430 h 320770"/>
                    <a:gd name="connsiteX4" fmla="*/ 193673 w 319670"/>
                    <a:gd name="connsiteY4" fmla="*/ 280605 h 320770"/>
                    <a:gd name="connsiteX5" fmla="*/ 127923 w 319670"/>
                    <a:gd name="connsiteY5" fmla="*/ 280054 h 320770"/>
                    <a:gd name="connsiteX6" fmla="*/ 141657 w 319670"/>
                    <a:gd name="connsiteY6" fmla="*/ 305957 h 320770"/>
                    <a:gd name="connsiteX7" fmla="*/ 154333 w 319670"/>
                    <a:gd name="connsiteY7" fmla="*/ 307015 h 320770"/>
                    <a:gd name="connsiteX8" fmla="*/ 152749 w 319670"/>
                    <a:gd name="connsiteY8" fmla="*/ 281640 h 320770"/>
                    <a:gd name="connsiteX9" fmla="*/ 127923 w 319670"/>
                    <a:gd name="connsiteY9" fmla="*/ 280054 h 320770"/>
                    <a:gd name="connsiteX10" fmla="*/ 226960 w 319670"/>
                    <a:gd name="connsiteY10" fmla="*/ 275378 h 320770"/>
                    <a:gd name="connsiteX11" fmla="*/ 209629 w 319670"/>
                    <a:gd name="connsiteY11" fmla="*/ 278547 h 320770"/>
                    <a:gd name="connsiteX12" fmla="*/ 198075 w 319670"/>
                    <a:gd name="connsiteY12" fmla="*/ 301788 h 320770"/>
                    <a:gd name="connsiteX13" fmla="*/ 204377 w 319670"/>
                    <a:gd name="connsiteY13" fmla="*/ 300203 h 320770"/>
                    <a:gd name="connsiteX14" fmla="*/ 226960 w 319670"/>
                    <a:gd name="connsiteY14" fmla="*/ 275378 h 320770"/>
                    <a:gd name="connsiteX15" fmla="*/ 94911 w 319670"/>
                    <a:gd name="connsiteY15" fmla="*/ 274277 h 320770"/>
                    <a:gd name="connsiteX16" fmla="*/ 120163 w 319670"/>
                    <a:gd name="connsiteY16" fmla="*/ 301828 h 320770"/>
                    <a:gd name="connsiteX17" fmla="*/ 124897 w 319670"/>
                    <a:gd name="connsiteY17" fmla="*/ 302888 h 320770"/>
                    <a:gd name="connsiteX18" fmla="*/ 112797 w 319670"/>
                    <a:gd name="connsiteY18" fmla="*/ 277456 h 320770"/>
                    <a:gd name="connsiteX19" fmla="*/ 94911 w 319670"/>
                    <a:gd name="connsiteY19" fmla="*/ 274277 h 320770"/>
                    <a:gd name="connsiteX20" fmla="*/ 261623 w 319670"/>
                    <a:gd name="connsiteY20" fmla="*/ 266024 h 320770"/>
                    <a:gd name="connsiteX21" fmla="*/ 247511 w 319670"/>
                    <a:gd name="connsiteY21" fmla="*/ 270781 h 320770"/>
                    <a:gd name="connsiteX22" fmla="*/ 235489 w 319670"/>
                    <a:gd name="connsiteY22" fmla="*/ 286107 h 320770"/>
                    <a:gd name="connsiteX23" fmla="*/ 261623 w 319670"/>
                    <a:gd name="connsiteY23" fmla="*/ 266024 h 320770"/>
                    <a:gd name="connsiteX24" fmla="*/ 53646 w 319670"/>
                    <a:gd name="connsiteY24" fmla="*/ 261072 h 320770"/>
                    <a:gd name="connsiteX25" fmla="*/ 90509 w 319670"/>
                    <a:gd name="connsiteY25" fmla="*/ 289683 h 320770"/>
                    <a:gd name="connsiteX26" fmla="*/ 74184 w 319670"/>
                    <a:gd name="connsiteY26" fmla="*/ 268490 h 320770"/>
                    <a:gd name="connsiteX27" fmla="*/ 53646 w 319670"/>
                    <a:gd name="connsiteY27" fmla="*/ 261072 h 320770"/>
                    <a:gd name="connsiteX28" fmla="*/ 213205 w 319670"/>
                    <a:gd name="connsiteY28" fmla="*/ 224209 h 320770"/>
                    <a:gd name="connsiteX29" fmla="*/ 163687 w 319670"/>
                    <a:gd name="connsiteY29" fmla="*/ 228957 h 320770"/>
                    <a:gd name="connsiteX30" fmla="*/ 165267 w 319670"/>
                    <a:gd name="connsiteY30" fmla="*/ 269051 h 320770"/>
                    <a:gd name="connsiteX31" fmla="*/ 200035 w 319670"/>
                    <a:gd name="connsiteY31" fmla="*/ 266413 h 320770"/>
                    <a:gd name="connsiteX32" fmla="*/ 213205 w 319670"/>
                    <a:gd name="connsiteY32" fmla="*/ 224209 h 320770"/>
                    <a:gd name="connsiteX33" fmla="*/ 108941 w 319670"/>
                    <a:gd name="connsiteY33" fmla="*/ 224209 h 320770"/>
                    <a:gd name="connsiteX34" fmla="*/ 122109 w 319670"/>
                    <a:gd name="connsiteY34" fmla="*/ 265864 h 320770"/>
                    <a:gd name="connsiteX35" fmla="*/ 152132 w 319670"/>
                    <a:gd name="connsiteY35" fmla="*/ 268500 h 320770"/>
                    <a:gd name="connsiteX36" fmla="*/ 150552 w 319670"/>
                    <a:gd name="connsiteY36" fmla="*/ 228954 h 320770"/>
                    <a:gd name="connsiteX37" fmla="*/ 108941 w 319670"/>
                    <a:gd name="connsiteY37" fmla="*/ 224209 h 320770"/>
                    <a:gd name="connsiteX38" fmla="*/ 58322 w 319670"/>
                    <a:gd name="connsiteY38" fmla="*/ 209903 h 320770"/>
                    <a:gd name="connsiteX39" fmla="*/ 82669 w 319670"/>
                    <a:gd name="connsiteY39" fmla="*/ 257461 h 320770"/>
                    <a:gd name="connsiteX40" fmla="*/ 107016 w 319670"/>
                    <a:gd name="connsiteY40" fmla="*/ 263273 h 320770"/>
                    <a:gd name="connsiteX41" fmla="*/ 94842 w 319670"/>
                    <a:gd name="connsiteY41" fmla="*/ 221000 h 320770"/>
                    <a:gd name="connsiteX42" fmla="*/ 58322 w 319670"/>
                    <a:gd name="connsiteY42" fmla="*/ 209903 h 320770"/>
                    <a:gd name="connsiteX43" fmla="*/ 264925 w 319670"/>
                    <a:gd name="connsiteY43" fmla="*/ 209078 h 320770"/>
                    <a:gd name="connsiteX44" fmla="*/ 227505 w 319670"/>
                    <a:gd name="connsiteY44" fmla="*/ 221190 h 320770"/>
                    <a:gd name="connsiteX45" fmla="*/ 214856 w 319670"/>
                    <a:gd name="connsiteY45" fmla="*/ 264374 h 320770"/>
                    <a:gd name="connsiteX46" fmla="*/ 239100 w 319670"/>
                    <a:gd name="connsiteY46" fmla="*/ 259634 h 320770"/>
                    <a:gd name="connsiteX47" fmla="*/ 264925 w 319670"/>
                    <a:gd name="connsiteY47" fmla="*/ 209078 h 320770"/>
                    <a:gd name="connsiteX48" fmla="*/ 303989 w 319670"/>
                    <a:gd name="connsiteY48" fmla="*/ 187895 h 320770"/>
                    <a:gd name="connsiteX49" fmla="*/ 280765 w 319670"/>
                    <a:gd name="connsiteY49" fmla="*/ 201624 h 320770"/>
                    <a:gd name="connsiteX50" fmla="*/ 258597 w 319670"/>
                    <a:gd name="connsiteY50" fmla="*/ 253370 h 320770"/>
                    <a:gd name="connsiteX51" fmla="*/ 279710 w 319670"/>
                    <a:gd name="connsiteY51" fmla="*/ 244921 h 320770"/>
                    <a:gd name="connsiteX52" fmla="*/ 303989 w 319670"/>
                    <a:gd name="connsiteY52" fmla="*/ 187895 h 320770"/>
                    <a:gd name="connsiteX53" fmla="*/ 15131 w 319670"/>
                    <a:gd name="connsiteY53" fmla="*/ 186244 h 320770"/>
                    <a:gd name="connsiteX54" fmla="*/ 35764 w 319670"/>
                    <a:gd name="connsiteY54" fmla="*/ 239029 h 320770"/>
                    <a:gd name="connsiteX55" fmla="*/ 63274 w 319670"/>
                    <a:gd name="connsiteY55" fmla="*/ 251169 h 320770"/>
                    <a:gd name="connsiteX56" fmla="*/ 42641 w 319670"/>
                    <a:gd name="connsiteY56" fmla="*/ 202607 h 320770"/>
                    <a:gd name="connsiteX57" fmla="*/ 15131 w 319670"/>
                    <a:gd name="connsiteY57" fmla="*/ 186244 h 320770"/>
                    <a:gd name="connsiteX58" fmla="*/ 220633 w 319670"/>
                    <a:gd name="connsiteY58" fmla="*/ 169463 h 320770"/>
                    <a:gd name="connsiteX59" fmla="*/ 162861 w 319670"/>
                    <a:gd name="connsiteY59" fmla="*/ 176816 h 320770"/>
                    <a:gd name="connsiteX60" fmla="*/ 163386 w 319670"/>
                    <a:gd name="connsiteY60" fmla="*/ 215680 h 320770"/>
                    <a:gd name="connsiteX61" fmla="*/ 216431 w 319670"/>
                    <a:gd name="connsiteY61" fmla="*/ 209903 h 320770"/>
                    <a:gd name="connsiteX62" fmla="*/ 220633 w 319670"/>
                    <a:gd name="connsiteY62" fmla="*/ 169463 h 320770"/>
                    <a:gd name="connsiteX63" fmla="*/ 101513 w 319670"/>
                    <a:gd name="connsiteY63" fmla="*/ 169463 h 320770"/>
                    <a:gd name="connsiteX64" fmla="*/ 105748 w 319670"/>
                    <a:gd name="connsiteY64" fmla="*/ 210428 h 320770"/>
                    <a:gd name="connsiteX65" fmla="*/ 150207 w 319670"/>
                    <a:gd name="connsiteY65" fmla="*/ 215680 h 320770"/>
                    <a:gd name="connsiteX66" fmla="*/ 149678 w 319670"/>
                    <a:gd name="connsiteY66" fmla="*/ 176291 h 320770"/>
                    <a:gd name="connsiteX67" fmla="*/ 101513 w 319670"/>
                    <a:gd name="connsiteY67" fmla="*/ 169463 h 320770"/>
                    <a:gd name="connsiteX68" fmla="*/ 51121 w 319670"/>
                    <a:gd name="connsiteY68" fmla="*/ 149931 h 320770"/>
                    <a:gd name="connsiteX69" fmla="*/ 50069 w 319670"/>
                    <a:gd name="connsiteY69" fmla="*/ 159953 h 320770"/>
                    <a:gd name="connsiteX70" fmla="*/ 53752 w 319670"/>
                    <a:gd name="connsiteY70" fmla="*/ 193713 h 320770"/>
                    <a:gd name="connsiteX71" fmla="*/ 92160 w 319670"/>
                    <a:gd name="connsiteY71" fmla="*/ 207427 h 320770"/>
                    <a:gd name="connsiteX72" fmla="*/ 89003 w 319670"/>
                    <a:gd name="connsiteY72" fmla="*/ 166283 h 320770"/>
                    <a:gd name="connsiteX73" fmla="*/ 51121 w 319670"/>
                    <a:gd name="connsiteY73" fmla="*/ 149931 h 320770"/>
                    <a:gd name="connsiteX74" fmla="*/ 271850 w 319670"/>
                    <a:gd name="connsiteY74" fmla="*/ 148830 h 320770"/>
                    <a:gd name="connsiteX75" fmla="*/ 233420 w 319670"/>
                    <a:gd name="connsiteY75" fmla="*/ 165717 h 320770"/>
                    <a:gd name="connsiteX76" fmla="*/ 230262 w 319670"/>
                    <a:gd name="connsiteY76" fmla="*/ 206877 h 320770"/>
                    <a:gd name="connsiteX77" fmla="*/ 269218 w 319670"/>
                    <a:gd name="connsiteY77" fmla="*/ 193157 h 320770"/>
                    <a:gd name="connsiteX78" fmla="*/ 272903 w 319670"/>
                    <a:gd name="connsiteY78" fmla="*/ 159912 h 320770"/>
                    <a:gd name="connsiteX79" fmla="*/ 271850 w 319670"/>
                    <a:gd name="connsiteY79" fmla="*/ 148830 h 320770"/>
                    <a:gd name="connsiteX80" fmla="*/ 302793 w 319670"/>
                    <a:gd name="connsiteY80" fmla="*/ 126547 h 320770"/>
                    <a:gd name="connsiteX81" fmla="*/ 284431 w 319670"/>
                    <a:gd name="connsiteY81" fmla="*/ 141328 h 320770"/>
                    <a:gd name="connsiteX82" fmla="*/ 286005 w 319670"/>
                    <a:gd name="connsiteY82" fmla="*/ 159805 h 320770"/>
                    <a:gd name="connsiteX83" fmla="*/ 283907 w 319670"/>
                    <a:gd name="connsiteY83" fmla="*/ 185144 h 320770"/>
                    <a:gd name="connsiteX84" fmla="*/ 306465 w 319670"/>
                    <a:gd name="connsiteY84" fmla="*/ 169835 h 320770"/>
                    <a:gd name="connsiteX85" fmla="*/ 306465 w 319670"/>
                    <a:gd name="connsiteY85" fmla="*/ 160333 h 320770"/>
                    <a:gd name="connsiteX86" fmla="*/ 302793 w 319670"/>
                    <a:gd name="connsiteY86" fmla="*/ 126547 h 320770"/>
                    <a:gd name="connsiteX87" fmla="*/ 17427 w 319670"/>
                    <a:gd name="connsiteY87" fmla="*/ 125172 h 320770"/>
                    <a:gd name="connsiteX88" fmla="*/ 13205 w 319670"/>
                    <a:gd name="connsiteY88" fmla="*/ 160446 h 320770"/>
                    <a:gd name="connsiteX89" fmla="*/ 13205 w 319670"/>
                    <a:gd name="connsiteY89" fmla="*/ 168870 h 320770"/>
                    <a:gd name="connsiteX90" fmla="*/ 39065 w 319670"/>
                    <a:gd name="connsiteY90" fmla="*/ 186244 h 320770"/>
                    <a:gd name="connsiteX91" fmla="*/ 36954 w 319670"/>
                    <a:gd name="connsiteY91" fmla="*/ 159920 h 320770"/>
                    <a:gd name="connsiteX92" fmla="*/ 38537 w 319670"/>
                    <a:gd name="connsiteY92" fmla="*/ 142546 h 320770"/>
                    <a:gd name="connsiteX93" fmla="*/ 17427 w 319670"/>
                    <a:gd name="connsiteY93" fmla="*/ 125172 h 320770"/>
                    <a:gd name="connsiteX94" fmla="*/ 215883 w 319670"/>
                    <a:gd name="connsiteY94" fmla="*/ 122420 h 320770"/>
                    <a:gd name="connsiteX95" fmla="*/ 165486 w 319670"/>
                    <a:gd name="connsiteY95" fmla="*/ 128769 h 320770"/>
                    <a:gd name="connsiteX96" fmla="*/ 163386 w 319670"/>
                    <a:gd name="connsiteY96" fmla="*/ 128769 h 320770"/>
                    <a:gd name="connsiteX97" fmla="*/ 162861 w 319670"/>
                    <a:gd name="connsiteY97" fmla="*/ 155221 h 320770"/>
                    <a:gd name="connsiteX98" fmla="*/ 162861 w 319670"/>
                    <a:gd name="connsiteY98" fmla="*/ 163686 h 320770"/>
                    <a:gd name="connsiteX99" fmla="*/ 220083 w 319670"/>
                    <a:gd name="connsiteY99" fmla="*/ 155750 h 320770"/>
                    <a:gd name="connsiteX100" fmla="*/ 215883 w 319670"/>
                    <a:gd name="connsiteY100" fmla="*/ 122420 h 320770"/>
                    <a:gd name="connsiteX101" fmla="*/ 106825 w 319670"/>
                    <a:gd name="connsiteY101" fmla="*/ 120220 h 320770"/>
                    <a:gd name="connsiteX102" fmla="*/ 102064 w 319670"/>
                    <a:gd name="connsiteY102" fmla="*/ 156248 h 320770"/>
                    <a:gd name="connsiteX103" fmla="*/ 149678 w 319670"/>
                    <a:gd name="connsiteY103" fmla="*/ 163136 h 320770"/>
                    <a:gd name="connsiteX104" fmla="*/ 149678 w 319670"/>
                    <a:gd name="connsiteY104" fmla="*/ 155188 h 320770"/>
                    <a:gd name="connsiteX105" fmla="*/ 150207 w 319670"/>
                    <a:gd name="connsiteY105" fmla="*/ 128167 h 320770"/>
                    <a:gd name="connsiteX106" fmla="*/ 106825 w 319670"/>
                    <a:gd name="connsiteY106" fmla="*/ 120220 h 320770"/>
                    <a:gd name="connsiteX107" fmla="*/ 259617 w 319670"/>
                    <a:gd name="connsiteY107" fmla="*/ 103988 h 320770"/>
                    <a:gd name="connsiteX108" fmla="*/ 228611 w 319670"/>
                    <a:gd name="connsiteY108" fmla="*/ 118717 h 320770"/>
                    <a:gd name="connsiteX109" fmla="*/ 233341 w 319670"/>
                    <a:gd name="connsiteY109" fmla="*/ 151856 h 320770"/>
                    <a:gd name="connsiteX110" fmla="*/ 269602 w 319670"/>
                    <a:gd name="connsiteY110" fmla="*/ 135024 h 320770"/>
                    <a:gd name="connsiteX111" fmla="*/ 259617 w 319670"/>
                    <a:gd name="connsiteY111" fmla="*/ 103988 h 320770"/>
                    <a:gd name="connsiteX112" fmla="*/ 65249 w 319670"/>
                    <a:gd name="connsiteY112" fmla="*/ 99862 h 320770"/>
                    <a:gd name="connsiteX113" fmla="*/ 52545 w 319670"/>
                    <a:gd name="connsiteY113" fmla="*/ 136118 h 320770"/>
                    <a:gd name="connsiteX114" fmla="*/ 89068 w 319670"/>
                    <a:gd name="connsiteY114" fmla="*/ 152407 h 320770"/>
                    <a:gd name="connsiteX115" fmla="*/ 94361 w 319670"/>
                    <a:gd name="connsiteY115" fmla="*/ 115625 h 320770"/>
                    <a:gd name="connsiteX116" fmla="*/ 65249 w 319670"/>
                    <a:gd name="connsiteY116" fmla="*/ 99862 h 320770"/>
                    <a:gd name="connsiteX117" fmla="*/ 285381 w 319670"/>
                    <a:gd name="connsiteY117" fmla="*/ 83906 h 320770"/>
                    <a:gd name="connsiteX118" fmla="*/ 270702 w 319670"/>
                    <a:gd name="connsiteY118" fmla="*/ 96554 h 320770"/>
                    <a:gd name="connsiteX119" fmla="*/ 281711 w 319670"/>
                    <a:gd name="connsiteY119" fmla="*/ 127648 h 320770"/>
                    <a:gd name="connsiteX120" fmla="*/ 298487 w 319670"/>
                    <a:gd name="connsiteY120" fmla="*/ 112365 h 320770"/>
                    <a:gd name="connsiteX121" fmla="*/ 285381 w 319670"/>
                    <a:gd name="connsiteY121" fmla="*/ 83906 h 320770"/>
                    <a:gd name="connsiteX122" fmla="*/ 39411 w 319670"/>
                    <a:gd name="connsiteY122" fmla="*/ 75928 h 320770"/>
                    <a:gd name="connsiteX123" fmla="*/ 21458 w 319670"/>
                    <a:gd name="connsiteY123" fmla="*/ 111317 h 320770"/>
                    <a:gd name="connsiteX124" fmla="*/ 40995 w 319670"/>
                    <a:gd name="connsiteY124" fmla="*/ 128748 h 320770"/>
                    <a:gd name="connsiteX125" fmla="*/ 54196 w 319670"/>
                    <a:gd name="connsiteY125" fmla="*/ 91774 h 320770"/>
                    <a:gd name="connsiteX126" fmla="*/ 39411 w 319670"/>
                    <a:gd name="connsiteY126" fmla="*/ 75928 h 320770"/>
                    <a:gd name="connsiteX127" fmla="*/ 201616 w 319670"/>
                    <a:gd name="connsiteY127" fmla="*/ 73452 h 320770"/>
                    <a:gd name="connsiteX128" fmla="*/ 165267 w 319670"/>
                    <a:gd name="connsiteY128" fmla="*/ 78187 h 320770"/>
                    <a:gd name="connsiteX129" fmla="*/ 164740 w 319670"/>
                    <a:gd name="connsiteY129" fmla="*/ 78187 h 320770"/>
                    <a:gd name="connsiteX130" fmla="*/ 163687 w 319670"/>
                    <a:gd name="connsiteY130" fmla="*/ 115543 h 320770"/>
                    <a:gd name="connsiteX131" fmla="*/ 165267 w 319670"/>
                    <a:gd name="connsiteY131" fmla="*/ 115543 h 320770"/>
                    <a:gd name="connsiteX132" fmla="*/ 213205 w 319670"/>
                    <a:gd name="connsiteY132" fmla="*/ 109756 h 320770"/>
                    <a:gd name="connsiteX133" fmla="*/ 201616 w 319670"/>
                    <a:gd name="connsiteY133" fmla="*/ 73452 h 320770"/>
                    <a:gd name="connsiteX134" fmla="*/ 121592 w 319670"/>
                    <a:gd name="connsiteY134" fmla="*/ 70701 h 320770"/>
                    <a:gd name="connsiteX135" fmla="*/ 109491 w 319670"/>
                    <a:gd name="connsiteY135" fmla="*/ 107084 h 320770"/>
                    <a:gd name="connsiteX136" fmla="*/ 150530 w 319670"/>
                    <a:gd name="connsiteY136" fmla="*/ 114993 h 320770"/>
                    <a:gd name="connsiteX137" fmla="*/ 151582 w 319670"/>
                    <a:gd name="connsiteY137" fmla="*/ 77028 h 320770"/>
                    <a:gd name="connsiteX138" fmla="*/ 121592 w 319670"/>
                    <a:gd name="connsiteY138" fmla="*/ 70701 h 320770"/>
                    <a:gd name="connsiteX139" fmla="*/ 233321 w 319670"/>
                    <a:gd name="connsiteY139" fmla="*/ 59697 h 320770"/>
                    <a:gd name="connsiteX140" fmla="*/ 214306 w 319670"/>
                    <a:gd name="connsiteY140" fmla="*/ 69207 h 320770"/>
                    <a:gd name="connsiteX141" fmla="*/ 225926 w 319670"/>
                    <a:gd name="connsiteY141" fmla="*/ 106189 h 320770"/>
                    <a:gd name="connsiteX142" fmla="*/ 253921 w 319670"/>
                    <a:gd name="connsiteY142" fmla="*/ 92453 h 320770"/>
                    <a:gd name="connsiteX143" fmla="*/ 233321 w 319670"/>
                    <a:gd name="connsiteY143" fmla="*/ 59697 h 320770"/>
                    <a:gd name="connsiteX144" fmla="*/ 92595 w 319670"/>
                    <a:gd name="connsiteY144" fmla="*/ 55846 h 320770"/>
                    <a:gd name="connsiteX145" fmla="*/ 70977 w 319670"/>
                    <a:gd name="connsiteY145" fmla="*/ 88088 h 320770"/>
                    <a:gd name="connsiteX146" fmla="*/ 97341 w 319670"/>
                    <a:gd name="connsiteY146" fmla="*/ 102888 h 320770"/>
                    <a:gd name="connsiteX147" fmla="*/ 108941 w 319670"/>
                    <a:gd name="connsiteY147" fmla="*/ 65360 h 320770"/>
                    <a:gd name="connsiteX148" fmla="*/ 92595 w 319670"/>
                    <a:gd name="connsiteY148" fmla="*/ 55846 h 320770"/>
                    <a:gd name="connsiteX149" fmla="*/ 251144 w 319670"/>
                    <a:gd name="connsiteY149" fmla="*/ 44842 h 320770"/>
                    <a:gd name="connsiteX150" fmla="*/ 243742 w 319670"/>
                    <a:gd name="connsiteY150" fmla="*/ 51712 h 320770"/>
                    <a:gd name="connsiteX151" fmla="*/ 264890 w 319670"/>
                    <a:gd name="connsiteY151" fmla="*/ 85007 h 320770"/>
                    <a:gd name="connsiteX152" fmla="*/ 277579 w 319670"/>
                    <a:gd name="connsiteY152" fmla="*/ 72851 h 320770"/>
                    <a:gd name="connsiteX153" fmla="*/ 251144 w 319670"/>
                    <a:gd name="connsiteY153" fmla="*/ 44842 h 320770"/>
                    <a:gd name="connsiteX154" fmla="*/ 75908 w 319670"/>
                    <a:gd name="connsiteY154" fmla="*/ 39614 h 320770"/>
                    <a:gd name="connsiteX155" fmla="*/ 47868 w 319670"/>
                    <a:gd name="connsiteY155" fmla="*/ 65510 h 320770"/>
                    <a:gd name="connsiteX156" fmla="*/ 60565 w 319670"/>
                    <a:gd name="connsiteY156" fmla="*/ 79779 h 320770"/>
                    <a:gd name="connsiteX157" fmla="*/ 82256 w 319670"/>
                    <a:gd name="connsiteY157" fmla="*/ 47013 h 320770"/>
                    <a:gd name="connsiteX158" fmla="*/ 75908 w 319670"/>
                    <a:gd name="connsiteY158" fmla="*/ 39614 h 320770"/>
                    <a:gd name="connsiteX159" fmla="*/ 224484 w 319670"/>
                    <a:gd name="connsiteY159" fmla="*/ 28060 h 320770"/>
                    <a:gd name="connsiteX160" fmla="*/ 236003 w 319670"/>
                    <a:gd name="connsiteY160" fmla="*/ 41815 h 320770"/>
                    <a:gd name="connsiteX161" fmla="*/ 240716 w 319670"/>
                    <a:gd name="connsiteY161" fmla="*/ 37583 h 320770"/>
                    <a:gd name="connsiteX162" fmla="*/ 224484 w 319670"/>
                    <a:gd name="connsiteY162" fmla="*/ 28060 h 320770"/>
                    <a:gd name="connsiteX163" fmla="*/ 101238 w 319670"/>
                    <a:gd name="connsiteY163" fmla="*/ 25309 h 320770"/>
                    <a:gd name="connsiteX164" fmla="*/ 86933 w 319670"/>
                    <a:gd name="connsiteY164" fmla="*/ 32662 h 320770"/>
                    <a:gd name="connsiteX165" fmla="*/ 90642 w 319670"/>
                    <a:gd name="connsiteY165" fmla="*/ 36863 h 320770"/>
                    <a:gd name="connsiteX166" fmla="*/ 101238 w 319670"/>
                    <a:gd name="connsiteY166" fmla="*/ 25309 h 320770"/>
                    <a:gd name="connsiteX167" fmla="*/ 189546 w 319670"/>
                    <a:gd name="connsiteY167" fmla="*/ 16506 h 320770"/>
                    <a:gd name="connsiteX168" fmla="*/ 209532 w 319670"/>
                    <a:gd name="connsiteY168" fmla="*/ 56946 h 320770"/>
                    <a:gd name="connsiteX169" fmla="*/ 225310 w 319670"/>
                    <a:gd name="connsiteY169" fmla="*/ 49068 h 320770"/>
                    <a:gd name="connsiteX170" fmla="*/ 194280 w 319670"/>
                    <a:gd name="connsiteY170" fmla="*/ 17556 h 320770"/>
                    <a:gd name="connsiteX171" fmla="*/ 189546 w 319670"/>
                    <a:gd name="connsiteY171" fmla="*/ 16506 h 320770"/>
                    <a:gd name="connsiteX172" fmla="*/ 132600 w 319670"/>
                    <a:gd name="connsiteY172" fmla="*/ 15955 h 320770"/>
                    <a:gd name="connsiteX173" fmla="*/ 128938 w 319670"/>
                    <a:gd name="connsiteY173" fmla="*/ 16483 h 320770"/>
                    <a:gd name="connsiteX174" fmla="*/ 100688 w 319670"/>
                    <a:gd name="connsiteY174" fmla="*/ 46010 h 320770"/>
                    <a:gd name="connsiteX175" fmla="*/ 114290 w 319670"/>
                    <a:gd name="connsiteY175" fmla="*/ 53920 h 320770"/>
                    <a:gd name="connsiteX176" fmla="*/ 132600 w 319670"/>
                    <a:gd name="connsiteY176" fmla="*/ 15955 h 320770"/>
                    <a:gd name="connsiteX177" fmla="*/ 167974 w 319670"/>
                    <a:gd name="connsiteY177" fmla="*/ 13204 h 320770"/>
                    <a:gd name="connsiteX178" fmla="*/ 165337 w 319670"/>
                    <a:gd name="connsiteY178" fmla="*/ 64924 h 320770"/>
                    <a:gd name="connsiteX179" fmla="*/ 196974 w 319670"/>
                    <a:gd name="connsiteY179" fmla="*/ 60702 h 320770"/>
                    <a:gd name="connsiteX180" fmla="*/ 173247 w 319670"/>
                    <a:gd name="connsiteY180" fmla="*/ 13732 h 320770"/>
                    <a:gd name="connsiteX181" fmla="*/ 167974 w 319670"/>
                    <a:gd name="connsiteY181" fmla="*/ 13204 h 320770"/>
                    <a:gd name="connsiteX182" fmla="*/ 149585 w 319670"/>
                    <a:gd name="connsiteY182" fmla="*/ 13204 h 320770"/>
                    <a:gd name="connsiteX183" fmla="*/ 126273 w 319670"/>
                    <a:gd name="connsiteY183" fmla="*/ 58551 h 320770"/>
                    <a:gd name="connsiteX184" fmla="*/ 152764 w 319670"/>
                    <a:gd name="connsiteY184" fmla="*/ 63823 h 320770"/>
                    <a:gd name="connsiteX185" fmla="*/ 154883 w 319670"/>
                    <a:gd name="connsiteY185" fmla="*/ 13204 h 320770"/>
                    <a:gd name="connsiteX186" fmla="*/ 149585 w 319670"/>
                    <a:gd name="connsiteY186" fmla="*/ 13204 h 320770"/>
                    <a:gd name="connsiteX187" fmla="*/ 160099 w 319670"/>
                    <a:gd name="connsiteY187" fmla="*/ 0 h 320770"/>
                    <a:gd name="connsiteX188" fmla="*/ 248047 w 319670"/>
                    <a:gd name="connsiteY188" fmla="*/ 26906 h 320770"/>
                    <a:gd name="connsiteX189" fmla="*/ 259107 w 319670"/>
                    <a:gd name="connsiteY189" fmla="*/ 34293 h 320770"/>
                    <a:gd name="connsiteX190" fmla="*/ 285965 w 319670"/>
                    <a:gd name="connsiteY190" fmla="*/ 61727 h 320770"/>
                    <a:gd name="connsiteX191" fmla="*/ 293865 w 319670"/>
                    <a:gd name="connsiteY191" fmla="*/ 72806 h 320770"/>
                    <a:gd name="connsiteX192" fmla="*/ 308084 w 319670"/>
                    <a:gd name="connsiteY192" fmla="*/ 100768 h 320770"/>
                    <a:gd name="connsiteX193" fmla="*/ 313350 w 319670"/>
                    <a:gd name="connsiteY193" fmla="*/ 115013 h 320770"/>
                    <a:gd name="connsiteX194" fmla="*/ 319670 w 319670"/>
                    <a:gd name="connsiteY194" fmla="*/ 157747 h 320770"/>
                    <a:gd name="connsiteX195" fmla="*/ 319670 w 319670"/>
                    <a:gd name="connsiteY195" fmla="*/ 160385 h 320770"/>
                    <a:gd name="connsiteX196" fmla="*/ 319144 w 319670"/>
                    <a:gd name="connsiteY196" fmla="*/ 176212 h 320770"/>
                    <a:gd name="connsiteX197" fmla="*/ 302291 w 319670"/>
                    <a:gd name="connsiteY197" fmla="*/ 232664 h 320770"/>
                    <a:gd name="connsiteX198" fmla="*/ 288598 w 319670"/>
                    <a:gd name="connsiteY198" fmla="*/ 254822 h 320770"/>
                    <a:gd name="connsiteX199" fmla="*/ 160099 w 319670"/>
                    <a:gd name="connsiteY199" fmla="*/ 320242 h 320770"/>
                    <a:gd name="connsiteX200" fmla="*/ 159572 w 319670"/>
                    <a:gd name="connsiteY200" fmla="*/ 320242 h 320770"/>
                    <a:gd name="connsiteX201" fmla="*/ 155359 w 319670"/>
                    <a:gd name="connsiteY201" fmla="*/ 320770 h 320770"/>
                    <a:gd name="connsiteX202" fmla="*/ 155359 w 319670"/>
                    <a:gd name="connsiteY202" fmla="*/ 320242 h 320770"/>
                    <a:gd name="connsiteX203" fmla="*/ 26332 w 319670"/>
                    <a:gd name="connsiteY203" fmla="*/ 248491 h 320770"/>
                    <a:gd name="connsiteX204" fmla="*/ 13693 w 319670"/>
                    <a:gd name="connsiteY204" fmla="*/ 225278 h 320770"/>
                    <a:gd name="connsiteX205" fmla="*/ 527 w 319670"/>
                    <a:gd name="connsiteY205" fmla="*/ 174630 h 320770"/>
                    <a:gd name="connsiteX206" fmla="*/ 0 w 319670"/>
                    <a:gd name="connsiteY206" fmla="*/ 160385 h 320770"/>
                    <a:gd name="connsiteX207" fmla="*/ 0 w 319670"/>
                    <a:gd name="connsiteY207" fmla="*/ 156164 h 320770"/>
                    <a:gd name="connsiteX208" fmla="*/ 6847 w 319670"/>
                    <a:gd name="connsiteY208" fmla="*/ 113958 h 320770"/>
                    <a:gd name="connsiteX209" fmla="*/ 12113 w 319670"/>
                    <a:gd name="connsiteY209" fmla="*/ 99185 h 320770"/>
                    <a:gd name="connsiteX210" fmla="*/ 32125 w 319670"/>
                    <a:gd name="connsiteY210" fmla="*/ 64365 h 320770"/>
                    <a:gd name="connsiteX211" fmla="*/ 41078 w 319670"/>
                    <a:gd name="connsiteY211" fmla="*/ 52758 h 320770"/>
                    <a:gd name="connsiteX212" fmla="*/ 68990 w 319670"/>
                    <a:gd name="connsiteY212" fmla="*/ 28489 h 320770"/>
                    <a:gd name="connsiteX213" fmla="*/ 80576 w 319670"/>
                    <a:gd name="connsiteY213" fmla="*/ 21103 h 320770"/>
                    <a:gd name="connsiteX214" fmla="*/ 160099 w 319670"/>
                    <a:gd name="connsiteY214" fmla="*/ 0 h 3207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Lst>
                  <a:rect l="l" t="t" r="r" b="b"/>
                  <a:pathLst>
                    <a:path w="319670" h="320770">
                      <a:moveTo>
                        <a:pt x="193673" y="280605"/>
                      </a:moveTo>
                      <a:cubicBezTo>
                        <a:pt x="184761" y="281133"/>
                        <a:pt x="175324" y="281661"/>
                        <a:pt x="165888" y="281661"/>
                      </a:cubicBezTo>
                      <a:cubicBezTo>
                        <a:pt x="166412" y="292225"/>
                        <a:pt x="166936" y="300676"/>
                        <a:pt x="167460" y="307015"/>
                      </a:cubicBezTo>
                      <a:cubicBezTo>
                        <a:pt x="172179" y="306486"/>
                        <a:pt x="176373" y="305958"/>
                        <a:pt x="181091" y="305430"/>
                      </a:cubicBezTo>
                      <a:cubicBezTo>
                        <a:pt x="183188" y="301733"/>
                        <a:pt x="188430" y="292753"/>
                        <a:pt x="193673" y="280605"/>
                      </a:cubicBezTo>
                      <a:close/>
                      <a:moveTo>
                        <a:pt x="127923" y="280054"/>
                      </a:moveTo>
                      <a:cubicBezTo>
                        <a:pt x="133734" y="293270"/>
                        <a:pt x="139016" y="302257"/>
                        <a:pt x="141657" y="305957"/>
                      </a:cubicBezTo>
                      <a:cubicBezTo>
                        <a:pt x="145882" y="306486"/>
                        <a:pt x="150108" y="307015"/>
                        <a:pt x="154333" y="307015"/>
                      </a:cubicBezTo>
                      <a:cubicBezTo>
                        <a:pt x="153805" y="300671"/>
                        <a:pt x="153277" y="291684"/>
                        <a:pt x="152749" y="281640"/>
                      </a:cubicBezTo>
                      <a:cubicBezTo>
                        <a:pt x="144298" y="281640"/>
                        <a:pt x="135846" y="280583"/>
                        <a:pt x="127923" y="280054"/>
                      </a:cubicBezTo>
                      <a:close/>
                      <a:moveTo>
                        <a:pt x="226960" y="275378"/>
                      </a:moveTo>
                      <a:cubicBezTo>
                        <a:pt x="221183" y="276962"/>
                        <a:pt x="215406" y="277491"/>
                        <a:pt x="209629" y="278547"/>
                      </a:cubicBezTo>
                      <a:cubicBezTo>
                        <a:pt x="205427" y="288055"/>
                        <a:pt x="201226" y="295978"/>
                        <a:pt x="198075" y="301788"/>
                      </a:cubicBezTo>
                      <a:cubicBezTo>
                        <a:pt x="200175" y="301260"/>
                        <a:pt x="202276" y="300731"/>
                        <a:pt x="204377" y="300203"/>
                      </a:cubicBezTo>
                      <a:cubicBezTo>
                        <a:pt x="208053" y="296506"/>
                        <a:pt x="216982" y="288055"/>
                        <a:pt x="226960" y="275378"/>
                      </a:cubicBezTo>
                      <a:close/>
                      <a:moveTo>
                        <a:pt x="94911" y="274277"/>
                      </a:moveTo>
                      <a:cubicBezTo>
                        <a:pt x="107537" y="290172"/>
                        <a:pt x="118584" y="300239"/>
                        <a:pt x="120163" y="301828"/>
                      </a:cubicBezTo>
                      <a:cubicBezTo>
                        <a:pt x="121741" y="302358"/>
                        <a:pt x="123319" y="302358"/>
                        <a:pt x="124897" y="302888"/>
                      </a:cubicBezTo>
                      <a:cubicBezTo>
                        <a:pt x="121215" y="296530"/>
                        <a:pt x="117006" y="288053"/>
                        <a:pt x="112797" y="277456"/>
                      </a:cubicBezTo>
                      <a:cubicBezTo>
                        <a:pt x="106485" y="276927"/>
                        <a:pt x="100698" y="275337"/>
                        <a:pt x="94911" y="274277"/>
                      </a:cubicBezTo>
                      <a:close/>
                      <a:moveTo>
                        <a:pt x="261623" y="266024"/>
                      </a:moveTo>
                      <a:cubicBezTo>
                        <a:pt x="256919" y="267610"/>
                        <a:pt x="252215" y="269195"/>
                        <a:pt x="247511" y="270781"/>
                      </a:cubicBezTo>
                      <a:cubicBezTo>
                        <a:pt x="243329" y="276066"/>
                        <a:pt x="239670" y="281351"/>
                        <a:pt x="235489" y="286107"/>
                      </a:cubicBezTo>
                      <a:cubicBezTo>
                        <a:pt x="244897" y="280294"/>
                        <a:pt x="253783" y="273952"/>
                        <a:pt x="261623" y="266024"/>
                      </a:cubicBezTo>
                      <a:close/>
                      <a:moveTo>
                        <a:pt x="53646" y="261072"/>
                      </a:moveTo>
                      <a:cubicBezTo>
                        <a:pt x="64178" y="272729"/>
                        <a:pt x="76817" y="282266"/>
                        <a:pt x="90509" y="289683"/>
                      </a:cubicBezTo>
                      <a:cubicBezTo>
                        <a:pt x="85243" y="283855"/>
                        <a:pt x="79977" y="276438"/>
                        <a:pt x="74184" y="268490"/>
                      </a:cubicBezTo>
                      <a:cubicBezTo>
                        <a:pt x="66811" y="266371"/>
                        <a:pt x="59965" y="264252"/>
                        <a:pt x="53646" y="261072"/>
                      </a:cubicBezTo>
                      <a:close/>
                      <a:moveTo>
                        <a:pt x="213205" y="224209"/>
                      </a:moveTo>
                      <a:cubicBezTo>
                        <a:pt x="197402" y="226846"/>
                        <a:pt x="180544" y="228429"/>
                        <a:pt x="163687" y="228957"/>
                      </a:cubicBezTo>
                      <a:cubicBezTo>
                        <a:pt x="163687" y="243201"/>
                        <a:pt x="164740" y="256917"/>
                        <a:pt x="165267" y="269051"/>
                      </a:cubicBezTo>
                      <a:cubicBezTo>
                        <a:pt x="176857" y="268523"/>
                        <a:pt x="188446" y="267996"/>
                        <a:pt x="200035" y="266413"/>
                      </a:cubicBezTo>
                      <a:cubicBezTo>
                        <a:pt x="204777" y="254279"/>
                        <a:pt x="209518" y="240035"/>
                        <a:pt x="213205" y="224209"/>
                      </a:cubicBezTo>
                      <a:close/>
                      <a:moveTo>
                        <a:pt x="108941" y="224209"/>
                      </a:moveTo>
                      <a:cubicBezTo>
                        <a:pt x="112628" y="240027"/>
                        <a:pt x="117369" y="253736"/>
                        <a:pt x="122109" y="265864"/>
                      </a:cubicBezTo>
                      <a:cubicBezTo>
                        <a:pt x="131590" y="267446"/>
                        <a:pt x="141598" y="267973"/>
                        <a:pt x="152132" y="268500"/>
                      </a:cubicBezTo>
                      <a:cubicBezTo>
                        <a:pt x="151606" y="256373"/>
                        <a:pt x="151079" y="243191"/>
                        <a:pt x="150552" y="228954"/>
                      </a:cubicBezTo>
                      <a:cubicBezTo>
                        <a:pt x="135804" y="228427"/>
                        <a:pt x="122109" y="226845"/>
                        <a:pt x="108941" y="224209"/>
                      </a:cubicBezTo>
                      <a:close/>
                      <a:moveTo>
                        <a:pt x="58322" y="209903"/>
                      </a:moveTo>
                      <a:cubicBezTo>
                        <a:pt x="64673" y="227869"/>
                        <a:pt x="73671" y="243722"/>
                        <a:pt x="82669" y="257461"/>
                      </a:cubicBezTo>
                      <a:cubicBezTo>
                        <a:pt x="90608" y="260103"/>
                        <a:pt x="98547" y="261688"/>
                        <a:pt x="107016" y="263273"/>
                      </a:cubicBezTo>
                      <a:cubicBezTo>
                        <a:pt x="102252" y="251120"/>
                        <a:pt x="98018" y="236852"/>
                        <a:pt x="94842" y="221000"/>
                      </a:cubicBezTo>
                      <a:cubicBezTo>
                        <a:pt x="82140" y="218358"/>
                        <a:pt x="69966" y="214131"/>
                        <a:pt x="58322" y="209903"/>
                      </a:cubicBezTo>
                      <a:close/>
                      <a:moveTo>
                        <a:pt x="264925" y="209078"/>
                      </a:moveTo>
                      <a:cubicBezTo>
                        <a:pt x="253330" y="213818"/>
                        <a:pt x="240681" y="218031"/>
                        <a:pt x="227505" y="221190"/>
                      </a:cubicBezTo>
                      <a:cubicBezTo>
                        <a:pt x="224343" y="236989"/>
                        <a:pt x="219599" y="251735"/>
                        <a:pt x="214856" y="264374"/>
                      </a:cubicBezTo>
                      <a:cubicBezTo>
                        <a:pt x="223289" y="263320"/>
                        <a:pt x="231194" y="261214"/>
                        <a:pt x="239100" y="259634"/>
                      </a:cubicBezTo>
                      <a:cubicBezTo>
                        <a:pt x="248586" y="245415"/>
                        <a:pt x="258073" y="228037"/>
                        <a:pt x="264925" y="209078"/>
                      </a:cubicBezTo>
                      <a:close/>
                      <a:moveTo>
                        <a:pt x="303989" y="187895"/>
                      </a:moveTo>
                      <a:cubicBezTo>
                        <a:pt x="297128" y="192647"/>
                        <a:pt x="289211" y="197399"/>
                        <a:pt x="280765" y="201624"/>
                      </a:cubicBezTo>
                      <a:cubicBezTo>
                        <a:pt x="275487" y="220632"/>
                        <a:pt x="267570" y="238057"/>
                        <a:pt x="258597" y="253370"/>
                      </a:cubicBezTo>
                      <a:cubicBezTo>
                        <a:pt x="265987" y="250729"/>
                        <a:pt x="273376" y="248089"/>
                        <a:pt x="279710" y="244921"/>
                      </a:cubicBezTo>
                      <a:cubicBezTo>
                        <a:pt x="291850" y="228025"/>
                        <a:pt x="300295" y="209016"/>
                        <a:pt x="303989" y="187895"/>
                      </a:cubicBezTo>
                      <a:close/>
                      <a:moveTo>
                        <a:pt x="15131" y="186244"/>
                      </a:moveTo>
                      <a:cubicBezTo>
                        <a:pt x="18834" y="205247"/>
                        <a:pt x="25712" y="223193"/>
                        <a:pt x="35764" y="239029"/>
                      </a:cubicBezTo>
                      <a:cubicBezTo>
                        <a:pt x="44229" y="243251"/>
                        <a:pt x="53751" y="247474"/>
                        <a:pt x="63274" y="251169"/>
                      </a:cubicBezTo>
                      <a:cubicBezTo>
                        <a:pt x="54810" y="236917"/>
                        <a:pt x="47403" y="220554"/>
                        <a:pt x="42641" y="202607"/>
                      </a:cubicBezTo>
                      <a:cubicBezTo>
                        <a:pt x="32590" y="197857"/>
                        <a:pt x="23596" y="192578"/>
                        <a:pt x="15131" y="186244"/>
                      </a:cubicBezTo>
                      <a:close/>
                      <a:moveTo>
                        <a:pt x="220633" y="169463"/>
                      </a:moveTo>
                      <a:cubicBezTo>
                        <a:pt x="202251" y="174190"/>
                        <a:pt x="182819" y="176291"/>
                        <a:pt x="162861" y="176816"/>
                      </a:cubicBezTo>
                      <a:cubicBezTo>
                        <a:pt x="162861" y="189946"/>
                        <a:pt x="162861" y="203076"/>
                        <a:pt x="163386" y="215680"/>
                      </a:cubicBezTo>
                      <a:cubicBezTo>
                        <a:pt x="181768" y="215680"/>
                        <a:pt x="199625" y="213580"/>
                        <a:pt x="216431" y="209903"/>
                      </a:cubicBezTo>
                      <a:cubicBezTo>
                        <a:pt x="218532" y="197298"/>
                        <a:pt x="220108" y="183643"/>
                        <a:pt x="220633" y="169463"/>
                      </a:cubicBezTo>
                      <a:close/>
                      <a:moveTo>
                        <a:pt x="101513" y="169463"/>
                      </a:moveTo>
                      <a:cubicBezTo>
                        <a:pt x="102043" y="183643"/>
                        <a:pt x="103631" y="197298"/>
                        <a:pt x="105748" y="210428"/>
                      </a:cubicBezTo>
                      <a:cubicBezTo>
                        <a:pt x="120038" y="213054"/>
                        <a:pt x="134858" y="215155"/>
                        <a:pt x="150207" y="215680"/>
                      </a:cubicBezTo>
                      <a:cubicBezTo>
                        <a:pt x="149678" y="203076"/>
                        <a:pt x="149678" y="189946"/>
                        <a:pt x="149678" y="176291"/>
                      </a:cubicBezTo>
                      <a:cubicBezTo>
                        <a:pt x="132741" y="175765"/>
                        <a:pt x="116862" y="173139"/>
                        <a:pt x="101513" y="169463"/>
                      </a:cubicBezTo>
                      <a:close/>
                      <a:moveTo>
                        <a:pt x="51121" y="149931"/>
                      </a:moveTo>
                      <a:cubicBezTo>
                        <a:pt x="50595" y="153623"/>
                        <a:pt x="50069" y="156788"/>
                        <a:pt x="50069" y="159953"/>
                      </a:cubicBezTo>
                      <a:cubicBezTo>
                        <a:pt x="50069" y="171558"/>
                        <a:pt x="51647" y="183163"/>
                        <a:pt x="53752" y="193713"/>
                      </a:cubicBezTo>
                      <a:cubicBezTo>
                        <a:pt x="65853" y="198988"/>
                        <a:pt x="78480" y="203735"/>
                        <a:pt x="92160" y="207427"/>
                      </a:cubicBezTo>
                      <a:cubicBezTo>
                        <a:pt x="90055" y="194240"/>
                        <a:pt x="88477" y="180525"/>
                        <a:pt x="89003" y="166283"/>
                      </a:cubicBezTo>
                      <a:cubicBezTo>
                        <a:pt x="75324" y="161536"/>
                        <a:pt x="62170" y="156261"/>
                        <a:pt x="51121" y="149931"/>
                      </a:cubicBezTo>
                      <a:close/>
                      <a:moveTo>
                        <a:pt x="271850" y="148830"/>
                      </a:moveTo>
                      <a:cubicBezTo>
                        <a:pt x="260269" y="155690"/>
                        <a:pt x="247634" y="161495"/>
                        <a:pt x="233420" y="165717"/>
                      </a:cubicBezTo>
                      <a:cubicBezTo>
                        <a:pt x="233947" y="179965"/>
                        <a:pt x="232367" y="193685"/>
                        <a:pt x="230262" y="206877"/>
                      </a:cubicBezTo>
                      <a:cubicBezTo>
                        <a:pt x="244475" y="203183"/>
                        <a:pt x="257110" y="198434"/>
                        <a:pt x="269218" y="193157"/>
                      </a:cubicBezTo>
                      <a:cubicBezTo>
                        <a:pt x="271850" y="182603"/>
                        <a:pt x="272903" y="171521"/>
                        <a:pt x="272903" y="159912"/>
                      </a:cubicBezTo>
                      <a:cubicBezTo>
                        <a:pt x="272903" y="156218"/>
                        <a:pt x="272376" y="152524"/>
                        <a:pt x="271850" y="148830"/>
                      </a:cubicBezTo>
                      <a:close/>
                      <a:moveTo>
                        <a:pt x="302793" y="126547"/>
                      </a:moveTo>
                      <a:cubicBezTo>
                        <a:pt x="297022" y="131826"/>
                        <a:pt x="290727" y="136577"/>
                        <a:pt x="284431" y="141328"/>
                      </a:cubicBezTo>
                      <a:cubicBezTo>
                        <a:pt x="284956" y="147135"/>
                        <a:pt x="286005" y="153470"/>
                        <a:pt x="286005" y="159805"/>
                      </a:cubicBezTo>
                      <a:cubicBezTo>
                        <a:pt x="286005" y="168251"/>
                        <a:pt x="285481" y="176698"/>
                        <a:pt x="283907" y="185144"/>
                      </a:cubicBezTo>
                      <a:cubicBezTo>
                        <a:pt x="292301" y="180393"/>
                        <a:pt x="299645" y="175642"/>
                        <a:pt x="306465" y="169835"/>
                      </a:cubicBezTo>
                      <a:cubicBezTo>
                        <a:pt x="306465" y="166668"/>
                        <a:pt x="306465" y="163500"/>
                        <a:pt x="306465" y="160333"/>
                      </a:cubicBezTo>
                      <a:cubicBezTo>
                        <a:pt x="306465" y="148719"/>
                        <a:pt x="305416" y="137105"/>
                        <a:pt x="302793" y="126547"/>
                      </a:cubicBezTo>
                      <a:close/>
                      <a:moveTo>
                        <a:pt x="17427" y="125172"/>
                      </a:moveTo>
                      <a:cubicBezTo>
                        <a:pt x="14789" y="136754"/>
                        <a:pt x="13205" y="148337"/>
                        <a:pt x="13205" y="160446"/>
                      </a:cubicBezTo>
                      <a:cubicBezTo>
                        <a:pt x="13205" y="163079"/>
                        <a:pt x="13205" y="165711"/>
                        <a:pt x="13205" y="168870"/>
                      </a:cubicBezTo>
                      <a:cubicBezTo>
                        <a:pt x="21122" y="175188"/>
                        <a:pt x="29565" y="180979"/>
                        <a:pt x="39065" y="186244"/>
                      </a:cubicBezTo>
                      <a:cubicBezTo>
                        <a:pt x="37482" y="177821"/>
                        <a:pt x="36954" y="168870"/>
                        <a:pt x="36954" y="159920"/>
                      </a:cubicBezTo>
                      <a:cubicBezTo>
                        <a:pt x="37482" y="154128"/>
                        <a:pt x="38009" y="148337"/>
                        <a:pt x="38537" y="142546"/>
                      </a:cubicBezTo>
                      <a:cubicBezTo>
                        <a:pt x="30621" y="137281"/>
                        <a:pt x="23760" y="131489"/>
                        <a:pt x="17427" y="125172"/>
                      </a:cubicBezTo>
                      <a:close/>
                      <a:moveTo>
                        <a:pt x="215883" y="122420"/>
                      </a:moveTo>
                      <a:cubicBezTo>
                        <a:pt x="200134" y="126653"/>
                        <a:pt x="183335" y="128769"/>
                        <a:pt x="165486" y="128769"/>
                      </a:cubicBezTo>
                      <a:cubicBezTo>
                        <a:pt x="164961" y="128769"/>
                        <a:pt x="164436" y="128769"/>
                        <a:pt x="163386" y="128769"/>
                      </a:cubicBezTo>
                      <a:cubicBezTo>
                        <a:pt x="163386" y="137763"/>
                        <a:pt x="163386" y="146228"/>
                        <a:pt x="162861" y="155221"/>
                      </a:cubicBezTo>
                      <a:cubicBezTo>
                        <a:pt x="162861" y="157866"/>
                        <a:pt x="162861" y="161041"/>
                        <a:pt x="162861" y="163686"/>
                      </a:cubicBezTo>
                      <a:cubicBezTo>
                        <a:pt x="183335" y="163157"/>
                        <a:pt x="202234" y="160512"/>
                        <a:pt x="220083" y="155750"/>
                      </a:cubicBezTo>
                      <a:cubicBezTo>
                        <a:pt x="219558" y="144640"/>
                        <a:pt x="217983" y="133530"/>
                        <a:pt x="215883" y="122420"/>
                      </a:cubicBezTo>
                      <a:close/>
                      <a:moveTo>
                        <a:pt x="106825" y="120220"/>
                      </a:moveTo>
                      <a:cubicBezTo>
                        <a:pt x="104180" y="131876"/>
                        <a:pt x="102593" y="144062"/>
                        <a:pt x="102064" y="156248"/>
                      </a:cubicBezTo>
                      <a:cubicBezTo>
                        <a:pt x="116877" y="159957"/>
                        <a:pt x="132748" y="162606"/>
                        <a:pt x="149678" y="163136"/>
                      </a:cubicBezTo>
                      <a:cubicBezTo>
                        <a:pt x="149678" y="160487"/>
                        <a:pt x="149678" y="157837"/>
                        <a:pt x="149678" y="155188"/>
                      </a:cubicBezTo>
                      <a:cubicBezTo>
                        <a:pt x="150207" y="146181"/>
                        <a:pt x="150207" y="137174"/>
                        <a:pt x="150207" y="128167"/>
                      </a:cubicBezTo>
                      <a:cubicBezTo>
                        <a:pt x="134864" y="127107"/>
                        <a:pt x="120051" y="124458"/>
                        <a:pt x="106825" y="120220"/>
                      </a:cubicBezTo>
                      <a:close/>
                      <a:moveTo>
                        <a:pt x="259617" y="103988"/>
                      </a:moveTo>
                      <a:cubicBezTo>
                        <a:pt x="250157" y="109775"/>
                        <a:pt x="240173" y="115035"/>
                        <a:pt x="228611" y="118717"/>
                      </a:cubicBezTo>
                      <a:cubicBezTo>
                        <a:pt x="230713" y="129238"/>
                        <a:pt x="232290" y="140810"/>
                        <a:pt x="233341" y="151856"/>
                      </a:cubicBezTo>
                      <a:cubicBezTo>
                        <a:pt x="246479" y="147648"/>
                        <a:pt x="258566" y="141862"/>
                        <a:pt x="269602" y="135024"/>
                      </a:cubicBezTo>
                      <a:cubicBezTo>
                        <a:pt x="267500" y="124503"/>
                        <a:pt x="263821" y="113983"/>
                        <a:pt x="259617" y="103988"/>
                      </a:cubicBezTo>
                      <a:close/>
                      <a:moveTo>
                        <a:pt x="65249" y="99862"/>
                      </a:moveTo>
                      <a:cubicBezTo>
                        <a:pt x="59956" y="111422"/>
                        <a:pt x="55192" y="123507"/>
                        <a:pt x="52545" y="136118"/>
                      </a:cubicBezTo>
                      <a:cubicBezTo>
                        <a:pt x="63661" y="142423"/>
                        <a:pt x="75835" y="148203"/>
                        <a:pt x="89068" y="152407"/>
                      </a:cubicBezTo>
                      <a:cubicBezTo>
                        <a:pt x="90126" y="139796"/>
                        <a:pt x="91714" y="127185"/>
                        <a:pt x="94361" y="115625"/>
                      </a:cubicBezTo>
                      <a:cubicBezTo>
                        <a:pt x="83774" y="111422"/>
                        <a:pt x="73718" y="106167"/>
                        <a:pt x="65249" y="99862"/>
                      </a:cubicBezTo>
                      <a:close/>
                      <a:moveTo>
                        <a:pt x="285381" y="83906"/>
                      </a:moveTo>
                      <a:cubicBezTo>
                        <a:pt x="280663" y="88122"/>
                        <a:pt x="275944" y="92338"/>
                        <a:pt x="270702" y="96554"/>
                      </a:cubicBezTo>
                      <a:cubicBezTo>
                        <a:pt x="275420" y="106567"/>
                        <a:pt x="279090" y="116581"/>
                        <a:pt x="281711" y="127648"/>
                      </a:cubicBezTo>
                      <a:cubicBezTo>
                        <a:pt x="288002" y="122905"/>
                        <a:pt x="293769" y="117635"/>
                        <a:pt x="298487" y="112365"/>
                      </a:cubicBezTo>
                      <a:cubicBezTo>
                        <a:pt x="295342" y="102351"/>
                        <a:pt x="290624" y="92865"/>
                        <a:pt x="285381" y="83906"/>
                      </a:cubicBezTo>
                      <a:close/>
                      <a:moveTo>
                        <a:pt x="39411" y="75928"/>
                      </a:moveTo>
                      <a:cubicBezTo>
                        <a:pt x="32019" y="87020"/>
                        <a:pt x="25683" y="98640"/>
                        <a:pt x="21458" y="111317"/>
                      </a:cubicBezTo>
                      <a:cubicBezTo>
                        <a:pt x="26739" y="117656"/>
                        <a:pt x="33603" y="122938"/>
                        <a:pt x="40995" y="128748"/>
                      </a:cubicBezTo>
                      <a:cubicBezTo>
                        <a:pt x="44163" y="115543"/>
                        <a:pt x="48916" y="103394"/>
                        <a:pt x="54196" y="91774"/>
                      </a:cubicBezTo>
                      <a:cubicBezTo>
                        <a:pt x="48916" y="87020"/>
                        <a:pt x="43635" y="81738"/>
                        <a:pt x="39411" y="75928"/>
                      </a:cubicBezTo>
                      <a:close/>
                      <a:moveTo>
                        <a:pt x="201616" y="73452"/>
                      </a:moveTo>
                      <a:cubicBezTo>
                        <a:pt x="190553" y="76083"/>
                        <a:pt x="178437" y="78187"/>
                        <a:pt x="165267" y="78187"/>
                      </a:cubicBezTo>
                      <a:cubicBezTo>
                        <a:pt x="165267" y="78187"/>
                        <a:pt x="165267" y="78187"/>
                        <a:pt x="164740" y="78187"/>
                      </a:cubicBezTo>
                      <a:cubicBezTo>
                        <a:pt x="164740" y="89762"/>
                        <a:pt x="164214" y="102390"/>
                        <a:pt x="163687" y="115543"/>
                      </a:cubicBezTo>
                      <a:cubicBezTo>
                        <a:pt x="164214" y="115543"/>
                        <a:pt x="164740" y="115543"/>
                        <a:pt x="165267" y="115543"/>
                      </a:cubicBezTo>
                      <a:cubicBezTo>
                        <a:pt x="182125" y="115543"/>
                        <a:pt x="198455" y="113438"/>
                        <a:pt x="213205" y="109756"/>
                      </a:cubicBezTo>
                      <a:cubicBezTo>
                        <a:pt x="210044" y="96602"/>
                        <a:pt x="205830" y="84501"/>
                        <a:pt x="201616" y="73452"/>
                      </a:cubicBezTo>
                      <a:close/>
                      <a:moveTo>
                        <a:pt x="121592" y="70701"/>
                      </a:moveTo>
                      <a:cubicBezTo>
                        <a:pt x="116857" y="81774"/>
                        <a:pt x="113174" y="94429"/>
                        <a:pt x="109491" y="107084"/>
                      </a:cubicBezTo>
                      <a:cubicBezTo>
                        <a:pt x="122119" y="111302"/>
                        <a:pt x="136324" y="113938"/>
                        <a:pt x="150530" y="114993"/>
                      </a:cubicBezTo>
                      <a:cubicBezTo>
                        <a:pt x="151056" y="101811"/>
                        <a:pt x="151582" y="88629"/>
                        <a:pt x="151582" y="77028"/>
                      </a:cubicBezTo>
                      <a:cubicBezTo>
                        <a:pt x="141060" y="75974"/>
                        <a:pt x="131063" y="73865"/>
                        <a:pt x="121592" y="70701"/>
                      </a:cubicBezTo>
                      <a:close/>
                      <a:moveTo>
                        <a:pt x="233321" y="59697"/>
                      </a:moveTo>
                      <a:cubicBezTo>
                        <a:pt x="227511" y="63395"/>
                        <a:pt x="221172" y="66565"/>
                        <a:pt x="214306" y="69207"/>
                      </a:cubicBezTo>
                      <a:cubicBezTo>
                        <a:pt x="218531" y="80302"/>
                        <a:pt x="222757" y="92981"/>
                        <a:pt x="225926" y="106189"/>
                      </a:cubicBezTo>
                      <a:cubicBezTo>
                        <a:pt x="235962" y="102491"/>
                        <a:pt x="245469" y="97736"/>
                        <a:pt x="253921" y="92453"/>
                      </a:cubicBezTo>
                      <a:cubicBezTo>
                        <a:pt x="247582" y="80302"/>
                        <a:pt x="240716" y="69207"/>
                        <a:pt x="233321" y="59697"/>
                      </a:cubicBezTo>
                      <a:close/>
                      <a:moveTo>
                        <a:pt x="92595" y="55846"/>
                      </a:moveTo>
                      <a:cubicBezTo>
                        <a:pt x="85214" y="65360"/>
                        <a:pt x="77832" y="76460"/>
                        <a:pt x="70977" y="88088"/>
                      </a:cubicBezTo>
                      <a:cubicBezTo>
                        <a:pt x="78886" y="93902"/>
                        <a:pt x="87323" y="98660"/>
                        <a:pt x="97341" y="102888"/>
                      </a:cubicBezTo>
                      <a:cubicBezTo>
                        <a:pt x="100505" y="89674"/>
                        <a:pt x="104723" y="76988"/>
                        <a:pt x="108941" y="65360"/>
                      </a:cubicBezTo>
                      <a:cubicBezTo>
                        <a:pt x="103141" y="62717"/>
                        <a:pt x="97341" y="59546"/>
                        <a:pt x="92595" y="55846"/>
                      </a:cubicBezTo>
                      <a:close/>
                      <a:moveTo>
                        <a:pt x="251144" y="44842"/>
                      </a:moveTo>
                      <a:cubicBezTo>
                        <a:pt x="248500" y="47484"/>
                        <a:pt x="246385" y="49598"/>
                        <a:pt x="243742" y="51712"/>
                      </a:cubicBezTo>
                      <a:cubicBezTo>
                        <a:pt x="251144" y="61225"/>
                        <a:pt x="258546" y="72323"/>
                        <a:pt x="264890" y="85007"/>
                      </a:cubicBezTo>
                      <a:cubicBezTo>
                        <a:pt x="269649" y="80779"/>
                        <a:pt x="273878" y="77079"/>
                        <a:pt x="277579" y="72851"/>
                      </a:cubicBezTo>
                      <a:cubicBezTo>
                        <a:pt x="270177" y="62282"/>
                        <a:pt x="261189" y="52769"/>
                        <a:pt x="251144" y="44842"/>
                      </a:cubicBezTo>
                      <a:close/>
                      <a:moveTo>
                        <a:pt x="75908" y="39614"/>
                      </a:moveTo>
                      <a:cubicBezTo>
                        <a:pt x="65327" y="47013"/>
                        <a:pt x="55804" y="55469"/>
                        <a:pt x="47868" y="65510"/>
                      </a:cubicBezTo>
                      <a:cubicBezTo>
                        <a:pt x="51043" y="70795"/>
                        <a:pt x="55804" y="75551"/>
                        <a:pt x="60565" y="79779"/>
                      </a:cubicBezTo>
                      <a:cubicBezTo>
                        <a:pt x="67443" y="67624"/>
                        <a:pt x="74850" y="56526"/>
                        <a:pt x="82256" y="47013"/>
                      </a:cubicBezTo>
                      <a:cubicBezTo>
                        <a:pt x="80140" y="44899"/>
                        <a:pt x="78024" y="42257"/>
                        <a:pt x="75908" y="39614"/>
                      </a:cubicBezTo>
                      <a:close/>
                      <a:moveTo>
                        <a:pt x="224484" y="28060"/>
                      </a:moveTo>
                      <a:cubicBezTo>
                        <a:pt x="228150" y="32293"/>
                        <a:pt x="231815" y="36525"/>
                        <a:pt x="236003" y="41815"/>
                      </a:cubicBezTo>
                      <a:cubicBezTo>
                        <a:pt x="237574" y="40228"/>
                        <a:pt x="239145" y="38641"/>
                        <a:pt x="240716" y="37583"/>
                      </a:cubicBezTo>
                      <a:cubicBezTo>
                        <a:pt x="235480" y="33880"/>
                        <a:pt x="230244" y="31234"/>
                        <a:pt x="224484" y="28060"/>
                      </a:cubicBezTo>
                      <a:close/>
                      <a:moveTo>
                        <a:pt x="101238" y="25309"/>
                      </a:moveTo>
                      <a:cubicBezTo>
                        <a:pt x="95940" y="27410"/>
                        <a:pt x="91172" y="30036"/>
                        <a:pt x="86933" y="32662"/>
                      </a:cubicBezTo>
                      <a:cubicBezTo>
                        <a:pt x="87993" y="34237"/>
                        <a:pt x="89582" y="35288"/>
                        <a:pt x="90642" y="36863"/>
                      </a:cubicBezTo>
                      <a:cubicBezTo>
                        <a:pt x="94350" y="32662"/>
                        <a:pt x="97529" y="28985"/>
                        <a:pt x="101238" y="25309"/>
                      </a:cubicBezTo>
                      <a:close/>
                      <a:moveTo>
                        <a:pt x="189546" y="16506"/>
                      </a:moveTo>
                      <a:cubicBezTo>
                        <a:pt x="195332" y="25959"/>
                        <a:pt x="202695" y="39614"/>
                        <a:pt x="209532" y="56946"/>
                      </a:cubicBezTo>
                      <a:cubicBezTo>
                        <a:pt x="215317" y="54845"/>
                        <a:pt x="220576" y="52219"/>
                        <a:pt x="225310" y="49068"/>
                      </a:cubicBezTo>
                      <a:cubicBezTo>
                        <a:pt x="210584" y="31736"/>
                        <a:pt x="197961" y="20707"/>
                        <a:pt x="194280" y="17556"/>
                      </a:cubicBezTo>
                      <a:cubicBezTo>
                        <a:pt x="192702" y="17031"/>
                        <a:pt x="191124" y="16506"/>
                        <a:pt x="189546" y="16506"/>
                      </a:cubicBezTo>
                      <a:close/>
                      <a:moveTo>
                        <a:pt x="132600" y="15955"/>
                      </a:moveTo>
                      <a:cubicBezTo>
                        <a:pt x="131554" y="15955"/>
                        <a:pt x="130507" y="15955"/>
                        <a:pt x="128938" y="16483"/>
                      </a:cubicBezTo>
                      <a:cubicBezTo>
                        <a:pt x="128938" y="17010"/>
                        <a:pt x="115859" y="27556"/>
                        <a:pt x="100688" y="46010"/>
                      </a:cubicBezTo>
                      <a:cubicBezTo>
                        <a:pt x="104873" y="48647"/>
                        <a:pt x="109058" y="51283"/>
                        <a:pt x="114290" y="53920"/>
                      </a:cubicBezTo>
                      <a:cubicBezTo>
                        <a:pt x="121091" y="37574"/>
                        <a:pt x="127892" y="24919"/>
                        <a:pt x="132600" y="15955"/>
                      </a:cubicBezTo>
                      <a:close/>
                      <a:moveTo>
                        <a:pt x="167974" y="13204"/>
                      </a:moveTo>
                      <a:cubicBezTo>
                        <a:pt x="167447" y="22704"/>
                        <a:pt x="166392" y="40647"/>
                        <a:pt x="165337" y="64924"/>
                      </a:cubicBezTo>
                      <a:cubicBezTo>
                        <a:pt x="176410" y="64924"/>
                        <a:pt x="186956" y="63341"/>
                        <a:pt x="196974" y="60702"/>
                      </a:cubicBezTo>
                      <a:cubicBezTo>
                        <a:pt x="187483" y="38009"/>
                        <a:pt x="177465" y="21121"/>
                        <a:pt x="173247" y="13732"/>
                      </a:cubicBezTo>
                      <a:cubicBezTo>
                        <a:pt x="171665" y="13732"/>
                        <a:pt x="169556" y="13732"/>
                        <a:pt x="167974" y="13204"/>
                      </a:cubicBezTo>
                      <a:close/>
                      <a:moveTo>
                        <a:pt x="149585" y="13204"/>
                      </a:moveTo>
                      <a:cubicBezTo>
                        <a:pt x="145346" y="20059"/>
                        <a:pt x="135810" y="36405"/>
                        <a:pt x="126273" y="58551"/>
                      </a:cubicBezTo>
                      <a:cubicBezTo>
                        <a:pt x="134220" y="61187"/>
                        <a:pt x="143227" y="63296"/>
                        <a:pt x="152764" y="63823"/>
                      </a:cubicBezTo>
                      <a:cubicBezTo>
                        <a:pt x="153294" y="40623"/>
                        <a:pt x="154354" y="22696"/>
                        <a:pt x="154883" y="13204"/>
                      </a:cubicBezTo>
                      <a:cubicBezTo>
                        <a:pt x="153294" y="13204"/>
                        <a:pt x="151175" y="13204"/>
                        <a:pt x="149585" y="13204"/>
                      </a:cubicBezTo>
                      <a:close/>
                      <a:moveTo>
                        <a:pt x="160099" y="0"/>
                      </a:moveTo>
                      <a:cubicBezTo>
                        <a:pt x="192750" y="0"/>
                        <a:pt x="222769" y="10024"/>
                        <a:pt x="248047" y="26906"/>
                      </a:cubicBezTo>
                      <a:cubicBezTo>
                        <a:pt x="251734" y="29017"/>
                        <a:pt x="255420" y="31655"/>
                        <a:pt x="259107" y="34293"/>
                      </a:cubicBezTo>
                      <a:cubicBezTo>
                        <a:pt x="269113" y="42206"/>
                        <a:pt x="278066" y="51703"/>
                        <a:pt x="285965" y="61727"/>
                      </a:cubicBezTo>
                      <a:cubicBezTo>
                        <a:pt x="288598" y="65420"/>
                        <a:pt x="291232" y="69113"/>
                        <a:pt x="293865" y="72806"/>
                      </a:cubicBezTo>
                      <a:cubicBezTo>
                        <a:pt x="299658" y="81775"/>
                        <a:pt x="304398" y="90744"/>
                        <a:pt x="308084" y="100768"/>
                      </a:cubicBezTo>
                      <a:cubicBezTo>
                        <a:pt x="310191" y="105516"/>
                        <a:pt x="311771" y="110264"/>
                        <a:pt x="313350" y="115013"/>
                      </a:cubicBezTo>
                      <a:cubicBezTo>
                        <a:pt x="317564" y="128730"/>
                        <a:pt x="319670" y="142975"/>
                        <a:pt x="319670" y="157747"/>
                      </a:cubicBezTo>
                      <a:cubicBezTo>
                        <a:pt x="319670" y="158275"/>
                        <a:pt x="319670" y="159330"/>
                        <a:pt x="319670" y="160385"/>
                      </a:cubicBezTo>
                      <a:cubicBezTo>
                        <a:pt x="319670" y="165661"/>
                        <a:pt x="319670" y="170937"/>
                        <a:pt x="319144" y="176212"/>
                      </a:cubicBezTo>
                      <a:cubicBezTo>
                        <a:pt x="317037" y="196260"/>
                        <a:pt x="311244" y="215253"/>
                        <a:pt x="302291" y="232664"/>
                      </a:cubicBezTo>
                      <a:cubicBezTo>
                        <a:pt x="298605" y="240577"/>
                        <a:pt x="293865" y="247964"/>
                        <a:pt x="288598" y="254822"/>
                      </a:cubicBezTo>
                      <a:cubicBezTo>
                        <a:pt x="259633" y="294391"/>
                        <a:pt x="212763" y="320242"/>
                        <a:pt x="160099" y="320242"/>
                      </a:cubicBezTo>
                      <a:cubicBezTo>
                        <a:pt x="159572" y="320242"/>
                        <a:pt x="159572" y="320242"/>
                        <a:pt x="159572" y="320242"/>
                      </a:cubicBezTo>
                      <a:cubicBezTo>
                        <a:pt x="159572" y="320242"/>
                        <a:pt x="159572" y="320242"/>
                        <a:pt x="155359" y="320770"/>
                      </a:cubicBezTo>
                      <a:cubicBezTo>
                        <a:pt x="155359" y="320770"/>
                        <a:pt x="155359" y="320242"/>
                        <a:pt x="155359" y="320242"/>
                      </a:cubicBezTo>
                      <a:cubicBezTo>
                        <a:pt x="101642" y="318660"/>
                        <a:pt x="54244" y="290698"/>
                        <a:pt x="26332" y="248491"/>
                      </a:cubicBezTo>
                      <a:cubicBezTo>
                        <a:pt x="21593" y="241105"/>
                        <a:pt x="17379" y="233191"/>
                        <a:pt x="13693" y="225278"/>
                      </a:cubicBezTo>
                      <a:cubicBezTo>
                        <a:pt x="6847" y="209450"/>
                        <a:pt x="2107" y="192567"/>
                        <a:pt x="527" y="174630"/>
                      </a:cubicBezTo>
                      <a:cubicBezTo>
                        <a:pt x="0" y="169881"/>
                        <a:pt x="0" y="165133"/>
                        <a:pt x="0" y="160385"/>
                      </a:cubicBezTo>
                      <a:cubicBezTo>
                        <a:pt x="0" y="158802"/>
                        <a:pt x="0" y="157219"/>
                        <a:pt x="0" y="156164"/>
                      </a:cubicBezTo>
                      <a:cubicBezTo>
                        <a:pt x="527" y="141392"/>
                        <a:pt x="2634" y="127147"/>
                        <a:pt x="6847" y="113958"/>
                      </a:cubicBezTo>
                      <a:cubicBezTo>
                        <a:pt x="8427" y="108682"/>
                        <a:pt x="10006" y="103934"/>
                        <a:pt x="12113" y="99185"/>
                      </a:cubicBezTo>
                      <a:cubicBezTo>
                        <a:pt x="17379" y="86523"/>
                        <a:pt x="23699" y="74916"/>
                        <a:pt x="32125" y="64365"/>
                      </a:cubicBezTo>
                      <a:cubicBezTo>
                        <a:pt x="34758" y="60144"/>
                        <a:pt x="37918" y="56451"/>
                        <a:pt x="41078" y="52758"/>
                      </a:cubicBezTo>
                      <a:cubicBezTo>
                        <a:pt x="49505" y="43789"/>
                        <a:pt x="58984" y="35348"/>
                        <a:pt x="68990" y="28489"/>
                      </a:cubicBezTo>
                      <a:cubicBezTo>
                        <a:pt x="72677" y="25851"/>
                        <a:pt x="76363" y="23213"/>
                        <a:pt x="80576" y="21103"/>
                      </a:cubicBezTo>
                      <a:cubicBezTo>
                        <a:pt x="103748" y="7913"/>
                        <a:pt x="131133" y="0"/>
                        <a:pt x="160099" y="0"/>
                      </a:cubicBezTo>
                      <a:close/>
                    </a:path>
                  </a:pathLst>
                </a:custGeom>
                <a:grpFill/>
                <a:ln>
                  <a:noFill/>
                </a:ln>
                <a:extLst/>
              </p:spPr>
              <p:txBody>
                <a:bodyPr vert="horz" wrap="square" lIns="91440" tIns="45720" rIns="91440" bIns="45720" numCol="1" anchor="t" anchorCtr="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148" name="Freeform 23"/>
                <p:cNvSpPr>
                  <a:spLocks/>
                </p:cNvSpPr>
                <p:nvPr/>
              </p:nvSpPr>
              <p:spPr bwMode="auto">
                <a:xfrm>
                  <a:off x="5007615" y="2323753"/>
                  <a:ext cx="649029" cy="502032"/>
                </a:xfrm>
                <a:custGeom>
                  <a:avLst/>
                  <a:gdLst>
                    <a:gd name="connsiteX0" fmla="*/ 33287 w 649029"/>
                    <a:gd name="connsiteY0" fmla="*/ 88963 h 502032"/>
                    <a:gd name="connsiteX1" fmla="*/ 21098 w 649029"/>
                    <a:gd name="connsiteY1" fmla="*/ 102250 h 502032"/>
                    <a:gd name="connsiteX2" fmla="*/ 21098 w 649029"/>
                    <a:gd name="connsiteY2" fmla="*/ 467370 h 502032"/>
                    <a:gd name="connsiteX3" fmla="*/ 33287 w 649029"/>
                    <a:gd name="connsiteY3" fmla="*/ 480657 h 502032"/>
                    <a:gd name="connsiteX4" fmla="*/ 615742 w 649029"/>
                    <a:gd name="connsiteY4" fmla="*/ 480657 h 502032"/>
                    <a:gd name="connsiteX5" fmla="*/ 627932 w 649029"/>
                    <a:gd name="connsiteY5" fmla="*/ 467370 h 502032"/>
                    <a:gd name="connsiteX6" fmla="*/ 627932 w 649029"/>
                    <a:gd name="connsiteY6" fmla="*/ 102250 h 502032"/>
                    <a:gd name="connsiteX7" fmla="*/ 615742 w 649029"/>
                    <a:gd name="connsiteY7" fmla="*/ 88963 h 502032"/>
                    <a:gd name="connsiteX8" fmla="*/ 71744 w 649029"/>
                    <a:gd name="connsiteY8" fmla="*/ 21375 h 502032"/>
                    <a:gd name="connsiteX9" fmla="*/ 61676 w 649029"/>
                    <a:gd name="connsiteY9" fmla="*/ 31460 h 502032"/>
                    <a:gd name="connsiteX10" fmla="*/ 61676 w 649029"/>
                    <a:gd name="connsiteY10" fmla="*/ 67588 h 502032"/>
                    <a:gd name="connsiteX11" fmla="*/ 281061 w 649029"/>
                    <a:gd name="connsiteY11" fmla="*/ 67588 h 502032"/>
                    <a:gd name="connsiteX12" fmla="*/ 281061 w 649029"/>
                    <a:gd name="connsiteY12" fmla="*/ 31460 h 502032"/>
                    <a:gd name="connsiteX13" fmla="*/ 270993 w 649029"/>
                    <a:gd name="connsiteY13" fmla="*/ 21375 h 502032"/>
                    <a:gd name="connsiteX14" fmla="*/ 71826 w 649029"/>
                    <a:gd name="connsiteY14" fmla="*/ 0 h 502032"/>
                    <a:gd name="connsiteX15" fmla="*/ 271010 w 649029"/>
                    <a:gd name="connsiteY15" fmla="*/ 0 h 502032"/>
                    <a:gd name="connsiteX16" fmla="*/ 302265 w 649029"/>
                    <a:gd name="connsiteY16" fmla="*/ 31399 h 502032"/>
                    <a:gd name="connsiteX17" fmla="*/ 302265 w 649029"/>
                    <a:gd name="connsiteY17" fmla="*/ 59604 h 502032"/>
                    <a:gd name="connsiteX18" fmla="*/ 614285 w 649029"/>
                    <a:gd name="connsiteY18" fmla="*/ 59604 h 502032"/>
                    <a:gd name="connsiteX19" fmla="*/ 625873 w 649029"/>
                    <a:gd name="connsiteY19" fmla="*/ 64461 h 502032"/>
                    <a:gd name="connsiteX20" fmla="*/ 629657 w 649029"/>
                    <a:gd name="connsiteY20" fmla="*/ 73573 h 502032"/>
                    <a:gd name="connsiteX21" fmla="*/ 639294 w 649029"/>
                    <a:gd name="connsiteY21" fmla="*/ 77692 h 502032"/>
                    <a:gd name="connsiteX22" fmla="*/ 649029 w 649029"/>
                    <a:gd name="connsiteY22" fmla="*/ 102152 h 502032"/>
                    <a:gd name="connsiteX23" fmla="*/ 649029 w 649029"/>
                    <a:gd name="connsiteY23" fmla="*/ 467468 h 502032"/>
                    <a:gd name="connsiteX24" fmla="*/ 615651 w 649029"/>
                    <a:gd name="connsiteY24" fmla="*/ 502032 h 502032"/>
                    <a:gd name="connsiteX25" fmla="*/ 33379 w 649029"/>
                    <a:gd name="connsiteY25" fmla="*/ 502032 h 502032"/>
                    <a:gd name="connsiteX26" fmla="*/ 0 w 649029"/>
                    <a:gd name="connsiteY26" fmla="*/ 467468 h 502032"/>
                    <a:gd name="connsiteX27" fmla="*/ 0 w 649029"/>
                    <a:gd name="connsiteY27" fmla="*/ 102152 h 502032"/>
                    <a:gd name="connsiteX28" fmla="*/ 9735 w 649029"/>
                    <a:gd name="connsiteY28" fmla="*/ 77692 h 502032"/>
                    <a:gd name="connsiteX29" fmla="*/ 19371 w 649029"/>
                    <a:gd name="connsiteY29" fmla="*/ 73574 h 502032"/>
                    <a:gd name="connsiteX30" fmla="*/ 23155 w 649029"/>
                    <a:gd name="connsiteY30" fmla="*/ 64461 h 502032"/>
                    <a:gd name="connsiteX31" fmla="*/ 34744 w 649029"/>
                    <a:gd name="connsiteY31" fmla="*/ 59604 h 502032"/>
                    <a:gd name="connsiteX32" fmla="*/ 40571 w 649029"/>
                    <a:gd name="connsiteY32" fmla="*/ 59604 h 502032"/>
                    <a:gd name="connsiteX33" fmla="*/ 40571 w 649029"/>
                    <a:gd name="connsiteY33" fmla="*/ 31399 h 502032"/>
                    <a:gd name="connsiteX34" fmla="*/ 71826 w 649029"/>
                    <a:gd name="connsiteY34" fmla="*/ 0 h 5020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649029" h="502032">
                      <a:moveTo>
                        <a:pt x="33287" y="88963"/>
                      </a:moveTo>
                      <a:cubicBezTo>
                        <a:pt x="26398" y="88963"/>
                        <a:pt x="21098" y="94809"/>
                        <a:pt x="21098" y="102250"/>
                      </a:cubicBezTo>
                      <a:lnTo>
                        <a:pt x="21098" y="467370"/>
                      </a:lnTo>
                      <a:cubicBezTo>
                        <a:pt x="21098" y="474811"/>
                        <a:pt x="26398" y="480657"/>
                        <a:pt x="33287" y="480657"/>
                      </a:cubicBezTo>
                      <a:lnTo>
                        <a:pt x="615742" y="480657"/>
                      </a:lnTo>
                      <a:cubicBezTo>
                        <a:pt x="622632" y="480657"/>
                        <a:pt x="627932" y="474811"/>
                        <a:pt x="627932" y="467370"/>
                      </a:cubicBezTo>
                      <a:lnTo>
                        <a:pt x="627932" y="102250"/>
                      </a:lnTo>
                      <a:cubicBezTo>
                        <a:pt x="627932" y="94809"/>
                        <a:pt x="622632" y="88963"/>
                        <a:pt x="615742" y="88963"/>
                      </a:cubicBezTo>
                      <a:close/>
                      <a:moveTo>
                        <a:pt x="71744" y="21375"/>
                      </a:moveTo>
                      <a:cubicBezTo>
                        <a:pt x="66445" y="21375"/>
                        <a:pt x="61676" y="26152"/>
                        <a:pt x="61676" y="31460"/>
                      </a:cubicBezTo>
                      <a:lnTo>
                        <a:pt x="61676" y="67588"/>
                      </a:lnTo>
                      <a:lnTo>
                        <a:pt x="281061" y="67588"/>
                      </a:lnTo>
                      <a:lnTo>
                        <a:pt x="281061" y="31460"/>
                      </a:lnTo>
                      <a:cubicBezTo>
                        <a:pt x="281061" y="26152"/>
                        <a:pt x="276292" y="21375"/>
                        <a:pt x="270993" y="21375"/>
                      </a:cubicBezTo>
                      <a:close/>
                      <a:moveTo>
                        <a:pt x="71826" y="0"/>
                      </a:moveTo>
                      <a:lnTo>
                        <a:pt x="271010" y="0"/>
                      </a:lnTo>
                      <a:cubicBezTo>
                        <a:pt x="287962" y="0"/>
                        <a:pt x="302265" y="14369"/>
                        <a:pt x="302265" y="31399"/>
                      </a:cubicBezTo>
                      <a:lnTo>
                        <a:pt x="302265" y="59604"/>
                      </a:lnTo>
                      <a:lnTo>
                        <a:pt x="614285" y="59604"/>
                      </a:lnTo>
                      <a:cubicBezTo>
                        <a:pt x="618788" y="59604"/>
                        <a:pt x="622894" y="61467"/>
                        <a:pt x="625873" y="64461"/>
                      </a:cubicBezTo>
                      <a:lnTo>
                        <a:pt x="629657" y="73573"/>
                      </a:lnTo>
                      <a:lnTo>
                        <a:pt x="639294" y="77692"/>
                      </a:lnTo>
                      <a:cubicBezTo>
                        <a:pt x="645320" y="83940"/>
                        <a:pt x="649029" y="92581"/>
                        <a:pt x="649029" y="102152"/>
                      </a:cubicBezTo>
                      <a:lnTo>
                        <a:pt x="649029" y="467468"/>
                      </a:lnTo>
                      <a:cubicBezTo>
                        <a:pt x="649029" y="486611"/>
                        <a:pt x="634194" y="502032"/>
                        <a:pt x="615651" y="502032"/>
                      </a:cubicBezTo>
                      <a:lnTo>
                        <a:pt x="33379" y="502032"/>
                      </a:lnTo>
                      <a:cubicBezTo>
                        <a:pt x="14835" y="502032"/>
                        <a:pt x="0" y="486611"/>
                        <a:pt x="0" y="467468"/>
                      </a:cubicBezTo>
                      <a:lnTo>
                        <a:pt x="0" y="102152"/>
                      </a:lnTo>
                      <a:cubicBezTo>
                        <a:pt x="0" y="92581"/>
                        <a:pt x="3709" y="83940"/>
                        <a:pt x="9735" y="77692"/>
                      </a:cubicBezTo>
                      <a:lnTo>
                        <a:pt x="19371" y="73574"/>
                      </a:lnTo>
                      <a:lnTo>
                        <a:pt x="23155" y="64461"/>
                      </a:lnTo>
                      <a:cubicBezTo>
                        <a:pt x="26135" y="61467"/>
                        <a:pt x="30241" y="59604"/>
                        <a:pt x="34744" y="59604"/>
                      </a:cubicBezTo>
                      <a:lnTo>
                        <a:pt x="40571" y="59604"/>
                      </a:lnTo>
                      <a:lnTo>
                        <a:pt x="40571" y="31399"/>
                      </a:lnTo>
                      <a:cubicBezTo>
                        <a:pt x="40571" y="14369"/>
                        <a:pt x="54344" y="0"/>
                        <a:pt x="7182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grpSp>
          <p:grpSp>
            <p:nvGrpSpPr>
              <p:cNvPr id="138" name="Group 137"/>
              <p:cNvGrpSpPr/>
              <p:nvPr/>
            </p:nvGrpSpPr>
            <p:grpSpPr>
              <a:xfrm>
                <a:off x="10486805" y="2434267"/>
                <a:ext cx="1302888" cy="1542780"/>
                <a:chOff x="10486805" y="2923046"/>
                <a:chExt cx="1302888" cy="1542780"/>
              </a:xfrm>
            </p:grpSpPr>
            <p:sp>
              <p:nvSpPr>
                <p:cNvPr id="139" name="Rectangle 138"/>
                <p:cNvSpPr/>
                <p:nvPr/>
              </p:nvSpPr>
              <p:spPr bwMode="auto">
                <a:xfrm>
                  <a:off x="10802824" y="2923046"/>
                  <a:ext cx="986869" cy="1542780"/>
                </a:xfrm>
                <a:prstGeom prst="rect">
                  <a:avLst/>
                </a:prstGeom>
                <a:noFill/>
                <a:ln w="9525" cap="flat" cmpd="sng" algn="ctr">
                  <a:solidFill>
                    <a:srgbClr val="FFFFFF">
                      <a:lumMod val="65000"/>
                    </a:srgbClr>
                  </a:solidFill>
                  <a:prstDash val="dash"/>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0" name="TextBox 139"/>
                <p:cNvSpPr txBox="1"/>
                <p:nvPr/>
              </p:nvSpPr>
              <p:spPr>
                <a:xfrm>
                  <a:off x="11212738" y="3022354"/>
                  <a:ext cx="473389" cy="187017"/>
                </a:xfrm>
                <a:prstGeom prst="rect">
                  <a:avLst/>
                </a:prstGeom>
                <a:noFill/>
              </p:spPr>
              <p:txBody>
                <a:bodyPr wrap="square" lIns="0" tIns="0" rIns="0" bIns="0" rtlCol="0">
                  <a:spAutoFit/>
                </a:bodyPr>
                <a:lstStyle/>
                <a:p>
                  <a:pPr marL="0" marR="0" lvl="0" indent="0" defTabSz="932563" eaLnBrk="1" fontAlgn="auto" latinLnBrk="0" hangingPunct="1">
                    <a:lnSpc>
                      <a:spcPct val="100000"/>
                    </a:lnSpc>
                    <a:spcBef>
                      <a:spcPct val="0"/>
                    </a:spcBef>
                    <a:spcAft>
                      <a:spcPts val="600"/>
                    </a:spcAft>
                    <a:buClrTx/>
                    <a:buSzTx/>
                    <a:buFontTx/>
                    <a:buNone/>
                    <a:tabLst/>
                    <a:defRPr/>
                  </a:pPr>
                  <a:r>
                    <a:rPr kumimoji="0" lang="en-US" sz="1050" b="0" i="0" u="none" strike="noStrike" kern="0" cap="none" spc="0" normalizeH="0" baseline="0" noProof="0" dirty="0">
                      <a:ln>
                        <a:noFill/>
                      </a:ln>
                      <a:solidFill>
                        <a:srgbClr val="505050"/>
                      </a:solidFill>
                      <a:effectLst/>
                      <a:uLnTx/>
                      <a:uFillTx/>
                      <a:cs typeface="Segoe UI Semilight" panose="020B0402040204020203" pitchFamily="34" charset="0"/>
                    </a:rPr>
                    <a:t>Web</a:t>
                  </a:r>
                </a:p>
              </p:txBody>
            </p:sp>
            <p:sp>
              <p:nvSpPr>
                <p:cNvPr id="141" name="TextBox 140"/>
                <p:cNvSpPr txBox="1"/>
                <p:nvPr/>
              </p:nvSpPr>
              <p:spPr>
                <a:xfrm>
                  <a:off x="11212738" y="3571986"/>
                  <a:ext cx="473389" cy="187017"/>
                </a:xfrm>
                <a:prstGeom prst="rect">
                  <a:avLst/>
                </a:prstGeom>
                <a:noFill/>
              </p:spPr>
              <p:txBody>
                <a:bodyPr wrap="square" lIns="0" tIns="0" rIns="0" bIns="0" rtlCol="0">
                  <a:spAutoFit/>
                </a:bodyPr>
                <a:lstStyle/>
                <a:p>
                  <a:pPr marL="0" marR="0" lvl="0" indent="0" defTabSz="932563" eaLnBrk="1" fontAlgn="auto" latinLnBrk="0" hangingPunct="1">
                    <a:lnSpc>
                      <a:spcPct val="100000"/>
                    </a:lnSpc>
                    <a:spcBef>
                      <a:spcPct val="0"/>
                    </a:spcBef>
                    <a:spcAft>
                      <a:spcPts val="600"/>
                    </a:spcAft>
                    <a:buClrTx/>
                    <a:buSzTx/>
                    <a:buFontTx/>
                    <a:buNone/>
                    <a:tabLst/>
                    <a:defRPr/>
                  </a:pPr>
                  <a:r>
                    <a:rPr kumimoji="0" lang="en-US" sz="1050" b="0" i="0" u="none" strike="noStrike" kern="0" cap="none" spc="0" normalizeH="0" baseline="0" noProof="0" dirty="0">
                      <a:ln>
                        <a:noFill/>
                      </a:ln>
                      <a:solidFill>
                        <a:srgbClr val="505050"/>
                      </a:solidFill>
                      <a:effectLst/>
                      <a:uLnTx/>
                      <a:uFillTx/>
                      <a:cs typeface="Segoe UI Semilight" panose="020B0402040204020203" pitchFamily="34" charset="0"/>
                    </a:rPr>
                    <a:t>Mobile</a:t>
                  </a:r>
                </a:p>
              </p:txBody>
            </p:sp>
            <p:sp>
              <p:nvSpPr>
                <p:cNvPr id="142" name="TextBox 141"/>
                <p:cNvSpPr txBox="1"/>
                <p:nvPr/>
              </p:nvSpPr>
              <p:spPr>
                <a:xfrm>
                  <a:off x="11212738" y="4160203"/>
                  <a:ext cx="473389" cy="187017"/>
                </a:xfrm>
                <a:prstGeom prst="rect">
                  <a:avLst/>
                </a:prstGeom>
                <a:noFill/>
              </p:spPr>
              <p:txBody>
                <a:bodyPr wrap="square" lIns="0" tIns="0" rIns="0" bIns="0" rtlCol="0">
                  <a:spAutoFit/>
                </a:bodyPr>
                <a:lstStyle/>
                <a:p>
                  <a:pPr marL="0" marR="0" lvl="0" indent="0" defTabSz="932563" eaLnBrk="1" fontAlgn="auto" latinLnBrk="0" hangingPunct="1">
                    <a:lnSpc>
                      <a:spcPct val="100000"/>
                    </a:lnSpc>
                    <a:spcBef>
                      <a:spcPct val="0"/>
                    </a:spcBef>
                    <a:spcAft>
                      <a:spcPts val="600"/>
                    </a:spcAft>
                    <a:buClrTx/>
                    <a:buSzTx/>
                    <a:buFontTx/>
                    <a:buNone/>
                    <a:tabLst/>
                    <a:defRPr/>
                  </a:pPr>
                  <a:r>
                    <a:rPr kumimoji="0" lang="en-US" sz="1050" b="0" i="0" u="none" strike="noStrike" kern="0" cap="none" spc="0" normalizeH="0" baseline="0" noProof="0" dirty="0">
                      <a:ln>
                        <a:noFill/>
                      </a:ln>
                      <a:solidFill>
                        <a:srgbClr val="505050"/>
                      </a:solidFill>
                      <a:effectLst/>
                      <a:uLnTx/>
                      <a:uFillTx/>
                      <a:cs typeface="Segoe UI Semilight" panose="020B0402040204020203" pitchFamily="34" charset="0"/>
                    </a:rPr>
                    <a:t>Bots</a:t>
                  </a:r>
                </a:p>
              </p:txBody>
            </p:sp>
            <p:sp>
              <p:nvSpPr>
                <p:cNvPr id="143" name="Freeform 18"/>
                <p:cNvSpPr>
                  <a:spLocks noChangeArrowheads="1"/>
                </p:cNvSpPr>
                <p:nvPr/>
              </p:nvSpPr>
              <p:spPr bwMode="auto">
                <a:xfrm>
                  <a:off x="10907711" y="3020740"/>
                  <a:ext cx="187689" cy="187689"/>
                </a:xfrm>
                <a:custGeom>
                  <a:avLst/>
                  <a:gdLst>
                    <a:gd name="connsiteX0" fmla="*/ 2240514 w 3214688"/>
                    <a:gd name="connsiteY0" fmla="*/ 2452692 h 3214688"/>
                    <a:gd name="connsiteX1" fmla="*/ 2164154 w 3214688"/>
                    <a:gd name="connsiteY1" fmla="*/ 2577661 h 3214688"/>
                    <a:gd name="connsiteX2" fmla="*/ 2066550 w 3214688"/>
                    <a:gd name="connsiteY2" fmla="*/ 2716118 h 3214688"/>
                    <a:gd name="connsiteX3" fmla="*/ 1754615 w 3214688"/>
                    <a:gd name="connsiteY3" fmla="*/ 3074168 h 3214688"/>
                    <a:gd name="connsiteX4" fmla="*/ 1740871 w 3214688"/>
                    <a:gd name="connsiteY4" fmla="*/ 3087292 h 3214688"/>
                    <a:gd name="connsiteX5" fmla="*/ 1759187 w 3214688"/>
                    <a:gd name="connsiteY5" fmla="*/ 3086367 h 3214688"/>
                    <a:gd name="connsiteX6" fmla="*/ 2552008 w 3214688"/>
                    <a:gd name="connsiteY6" fmla="*/ 2754731 h 3214688"/>
                    <a:gd name="connsiteX7" fmla="*/ 2647815 w 3214688"/>
                    <a:gd name="connsiteY7" fmla="*/ 2667609 h 3214688"/>
                    <a:gd name="connsiteX8" fmla="*/ 2533366 w 3214688"/>
                    <a:gd name="connsiteY8" fmla="*/ 2587696 h 3214688"/>
                    <a:gd name="connsiteX9" fmla="*/ 2342448 w 3214688"/>
                    <a:gd name="connsiteY9" fmla="*/ 2491033 h 3214688"/>
                    <a:gd name="connsiteX10" fmla="*/ 974642 w 3214688"/>
                    <a:gd name="connsiteY10" fmla="*/ 2452516 h 3214688"/>
                    <a:gd name="connsiteX11" fmla="*/ 872242 w 3214688"/>
                    <a:gd name="connsiteY11" fmla="*/ 2491033 h 3214688"/>
                    <a:gd name="connsiteX12" fmla="*/ 681324 w 3214688"/>
                    <a:gd name="connsiteY12" fmla="*/ 2587696 h 3214688"/>
                    <a:gd name="connsiteX13" fmla="*/ 566873 w 3214688"/>
                    <a:gd name="connsiteY13" fmla="*/ 2667611 h 3214688"/>
                    <a:gd name="connsiteX14" fmla="*/ 662678 w 3214688"/>
                    <a:gd name="connsiteY14" fmla="*/ 2754731 h 3214688"/>
                    <a:gd name="connsiteX15" fmla="*/ 1455500 w 3214688"/>
                    <a:gd name="connsiteY15" fmla="*/ 3086367 h 3214688"/>
                    <a:gd name="connsiteX16" fmla="*/ 1473960 w 3214688"/>
                    <a:gd name="connsiteY16" fmla="*/ 3087299 h 3214688"/>
                    <a:gd name="connsiteX17" fmla="*/ 1460208 w 3214688"/>
                    <a:gd name="connsiteY17" fmla="*/ 3074168 h 3214688"/>
                    <a:gd name="connsiteX18" fmla="*/ 1148273 w 3214688"/>
                    <a:gd name="connsiteY18" fmla="*/ 2716118 h 3214688"/>
                    <a:gd name="connsiteX19" fmla="*/ 1050800 w 3214688"/>
                    <a:gd name="connsiteY19" fmla="*/ 2577661 h 3214688"/>
                    <a:gd name="connsiteX20" fmla="*/ 1668463 w 3214688"/>
                    <a:gd name="connsiteY20" fmla="*/ 2349078 h 3214688"/>
                    <a:gd name="connsiteX21" fmla="*/ 1668463 w 3214688"/>
                    <a:gd name="connsiteY21" fmla="*/ 2987045 h 3214688"/>
                    <a:gd name="connsiteX22" fmla="*/ 1686282 w 3214688"/>
                    <a:gd name="connsiteY22" fmla="*/ 2969732 h 3214688"/>
                    <a:gd name="connsiteX23" fmla="*/ 2047573 w 3214688"/>
                    <a:gd name="connsiteY23" fmla="*/ 2532767 h 3214688"/>
                    <a:gd name="connsiteX24" fmla="*/ 2118389 w 3214688"/>
                    <a:gd name="connsiteY24" fmla="*/ 2414793 h 3214688"/>
                    <a:gd name="connsiteX25" fmla="*/ 2062644 w 3214688"/>
                    <a:gd name="connsiteY25" fmla="*/ 2398957 h 3214688"/>
                    <a:gd name="connsiteX26" fmla="*/ 1838838 w 3214688"/>
                    <a:gd name="connsiteY26" fmla="*/ 2359062 h 3214688"/>
                    <a:gd name="connsiteX27" fmla="*/ 1546226 w 3214688"/>
                    <a:gd name="connsiteY27" fmla="*/ 2349078 h 3214688"/>
                    <a:gd name="connsiteX28" fmla="*/ 1375851 w 3214688"/>
                    <a:gd name="connsiteY28" fmla="*/ 2359062 h 3214688"/>
                    <a:gd name="connsiteX29" fmla="*/ 1152046 w 3214688"/>
                    <a:gd name="connsiteY29" fmla="*/ 2398957 h 3214688"/>
                    <a:gd name="connsiteX30" fmla="*/ 1097994 w 3214688"/>
                    <a:gd name="connsiteY30" fmla="*/ 2414312 h 3214688"/>
                    <a:gd name="connsiteX31" fmla="*/ 1168773 w 3214688"/>
                    <a:gd name="connsiteY31" fmla="*/ 2532767 h 3214688"/>
                    <a:gd name="connsiteX32" fmla="*/ 1528675 w 3214688"/>
                    <a:gd name="connsiteY32" fmla="*/ 2969732 h 3214688"/>
                    <a:gd name="connsiteX33" fmla="*/ 1546226 w 3214688"/>
                    <a:gd name="connsiteY33" fmla="*/ 2986822 h 3214688"/>
                    <a:gd name="connsiteX34" fmla="*/ 2486262 w 3214688"/>
                    <a:gd name="connsiteY34" fmla="*/ 1668463 h 3214688"/>
                    <a:gd name="connsiteX35" fmla="*/ 2482389 w 3214688"/>
                    <a:gd name="connsiteY35" fmla="*/ 1744921 h 3214688"/>
                    <a:gd name="connsiteX36" fmla="*/ 2321876 w 3214688"/>
                    <a:gd name="connsiteY36" fmla="*/ 2298467 h 3214688"/>
                    <a:gd name="connsiteX37" fmla="*/ 2297383 w 3214688"/>
                    <a:gd name="connsiteY37" fmla="*/ 2345664 h 3214688"/>
                    <a:gd name="connsiteX38" fmla="*/ 2392218 w 3214688"/>
                    <a:gd name="connsiteY38" fmla="*/ 2381629 h 3214688"/>
                    <a:gd name="connsiteX39" fmla="*/ 2596737 w 3214688"/>
                    <a:gd name="connsiteY39" fmla="*/ 2485449 h 3214688"/>
                    <a:gd name="connsiteX40" fmla="*/ 2730520 w 3214688"/>
                    <a:gd name="connsiteY40" fmla="*/ 2578412 h 3214688"/>
                    <a:gd name="connsiteX41" fmla="*/ 2753323 w 3214688"/>
                    <a:gd name="connsiteY41" fmla="*/ 2553309 h 3214688"/>
                    <a:gd name="connsiteX42" fmla="*/ 3084782 w 3214688"/>
                    <a:gd name="connsiteY42" fmla="*/ 1760063 h 3214688"/>
                    <a:gd name="connsiteX43" fmla="*/ 3089405 w 3214688"/>
                    <a:gd name="connsiteY43" fmla="*/ 1668463 h 3214688"/>
                    <a:gd name="connsiteX44" fmla="*/ 1668463 w 3214688"/>
                    <a:gd name="connsiteY44" fmla="*/ 1668463 h 3214688"/>
                    <a:gd name="connsiteX45" fmla="*/ 1668463 w 3214688"/>
                    <a:gd name="connsiteY45" fmla="*/ 2227749 h 3214688"/>
                    <a:gd name="connsiteX46" fmla="*/ 1854174 w 3214688"/>
                    <a:gd name="connsiteY46" fmla="*/ 2238874 h 3214688"/>
                    <a:gd name="connsiteX47" fmla="*/ 2093075 w 3214688"/>
                    <a:gd name="connsiteY47" fmla="*/ 2282190 h 3214688"/>
                    <a:gd name="connsiteX48" fmla="*/ 2180461 w 3214688"/>
                    <a:gd name="connsiteY48" fmla="*/ 2307322 h 3214688"/>
                    <a:gd name="connsiteX49" fmla="*/ 2223231 w 3214688"/>
                    <a:gd name="connsiteY49" fmla="*/ 2220775 h 3214688"/>
                    <a:gd name="connsiteX50" fmla="*/ 2360202 w 3214688"/>
                    <a:gd name="connsiteY50" fmla="*/ 1739141 h 3214688"/>
                    <a:gd name="connsiteX51" fmla="*/ 2363915 w 3214688"/>
                    <a:gd name="connsiteY51" fmla="*/ 1668463 h 3214688"/>
                    <a:gd name="connsiteX52" fmla="*/ 853934 w 3214688"/>
                    <a:gd name="connsiteY52" fmla="*/ 1668463 h 3214688"/>
                    <a:gd name="connsiteX53" fmla="*/ 857628 w 3214688"/>
                    <a:gd name="connsiteY53" fmla="*/ 1739141 h 3214688"/>
                    <a:gd name="connsiteX54" fmla="*/ 993929 w 3214688"/>
                    <a:gd name="connsiteY54" fmla="*/ 2220775 h 3214688"/>
                    <a:gd name="connsiteX55" fmla="*/ 1036215 w 3214688"/>
                    <a:gd name="connsiteY55" fmla="*/ 2306750 h 3214688"/>
                    <a:gd name="connsiteX56" fmla="*/ 1121614 w 3214688"/>
                    <a:gd name="connsiteY56" fmla="*/ 2282190 h 3214688"/>
                    <a:gd name="connsiteX57" fmla="*/ 1360516 w 3214688"/>
                    <a:gd name="connsiteY57" fmla="*/ 2238874 h 3214688"/>
                    <a:gd name="connsiteX58" fmla="*/ 1546226 w 3214688"/>
                    <a:gd name="connsiteY58" fmla="*/ 2227749 h 3214688"/>
                    <a:gd name="connsiteX59" fmla="*/ 1546226 w 3214688"/>
                    <a:gd name="connsiteY59" fmla="*/ 1668463 h 3214688"/>
                    <a:gd name="connsiteX60" fmla="*/ 125282 w 3214688"/>
                    <a:gd name="connsiteY60" fmla="*/ 1668463 h 3214688"/>
                    <a:gd name="connsiteX61" fmla="*/ 129905 w 3214688"/>
                    <a:gd name="connsiteY61" fmla="*/ 1760063 h 3214688"/>
                    <a:gd name="connsiteX62" fmla="*/ 461363 w 3214688"/>
                    <a:gd name="connsiteY62" fmla="*/ 2553309 h 3214688"/>
                    <a:gd name="connsiteX63" fmla="*/ 484168 w 3214688"/>
                    <a:gd name="connsiteY63" fmla="*/ 2578414 h 3214688"/>
                    <a:gd name="connsiteX64" fmla="*/ 617953 w 3214688"/>
                    <a:gd name="connsiteY64" fmla="*/ 2485449 h 3214688"/>
                    <a:gd name="connsiteX65" fmla="*/ 822472 w 3214688"/>
                    <a:gd name="connsiteY65" fmla="*/ 2381629 h 3214688"/>
                    <a:gd name="connsiteX66" fmla="*/ 918086 w 3214688"/>
                    <a:gd name="connsiteY66" fmla="*/ 2345368 h 3214688"/>
                    <a:gd name="connsiteX67" fmla="*/ 893910 w 3214688"/>
                    <a:gd name="connsiteY67" fmla="*/ 2298467 h 3214688"/>
                    <a:gd name="connsiteX68" fmla="*/ 735344 w 3214688"/>
                    <a:gd name="connsiteY68" fmla="*/ 1744921 h 3214688"/>
                    <a:gd name="connsiteX69" fmla="*/ 731546 w 3214688"/>
                    <a:gd name="connsiteY69" fmla="*/ 1668463 h 3214688"/>
                    <a:gd name="connsiteX70" fmla="*/ 1036436 w 3214688"/>
                    <a:gd name="connsiteY70" fmla="*/ 911460 h 3214688"/>
                    <a:gd name="connsiteX71" fmla="*/ 993929 w 3214688"/>
                    <a:gd name="connsiteY71" fmla="*/ 998077 h 3214688"/>
                    <a:gd name="connsiteX72" fmla="*/ 857628 w 3214688"/>
                    <a:gd name="connsiteY72" fmla="*/ 1481228 h 3214688"/>
                    <a:gd name="connsiteX73" fmla="*/ 854245 w 3214688"/>
                    <a:gd name="connsiteY73" fmla="*/ 1546225 h 3214688"/>
                    <a:gd name="connsiteX74" fmla="*/ 1546226 w 3214688"/>
                    <a:gd name="connsiteY74" fmla="*/ 1546225 h 3214688"/>
                    <a:gd name="connsiteX75" fmla="*/ 1546226 w 3214688"/>
                    <a:gd name="connsiteY75" fmla="*/ 990118 h 3214688"/>
                    <a:gd name="connsiteX76" fmla="*/ 1360255 w 3214688"/>
                    <a:gd name="connsiteY76" fmla="*/ 978989 h 3214688"/>
                    <a:gd name="connsiteX77" fmla="*/ 1120814 w 3214688"/>
                    <a:gd name="connsiteY77" fmla="*/ 935673 h 3214688"/>
                    <a:gd name="connsiteX78" fmla="*/ 2180241 w 3214688"/>
                    <a:gd name="connsiteY78" fmla="*/ 910890 h 3214688"/>
                    <a:gd name="connsiteX79" fmla="*/ 2093876 w 3214688"/>
                    <a:gd name="connsiteY79" fmla="*/ 935673 h 3214688"/>
                    <a:gd name="connsiteX80" fmla="*/ 1854434 w 3214688"/>
                    <a:gd name="connsiteY80" fmla="*/ 978989 h 3214688"/>
                    <a:gd name="connsiteX81" fmla="*/ 1668463 w 3214688"/>
                    <a:gd name="connsiteY81" fmla="*/ 990118 h 3214688"/>
                    <a:gd name="connsiteX82" fmla="*/ 1668463 w 3214688"/>
                    <a:gd name="connsiteY82" fmla="*/ 1546225 h 3214688"/>
                    <a:gd name="connsiteX83" fmla="*/ 2363603 w 3214688"/>
                    <a:gd name="connsiteY83" fmla="*/ 1546225 h 3214688"/>
                    <a:gd name="connsiteX84" fmla="*/ 2360202 w 3214688"/>
                    <a:gd name="connsiteY84" fmla="*/ 1481228 h 3214688"/>
                    <a:gd name="connsiteX85" fmla="*/ 2223231 w 3214688"/>
                    <a:gd name="connsiteY85" fmla="*/ 998077 h 3214688"/>
                    <a:gd name="connsiteX86" fmla="*/ 2731519 w 3214688"/>
                    <a:gd name="connsiteY86" fmla="*/ 638964 h 3214688"/>
                    <a:gd name="connsiteX87" fmla="*/ 2597865 w 3214688"/>
                    <a:gd name="connsiteY87" fmla="*/ 732415 h 3214688"/>
                    <a:gd name="connsiteX88" fmla="*/ 2393553 w 3214688"/>
                    <a:gd name="connsiteY88" fmla="*/ 836234 h 3214688"/>
                    <a:gd name="connsiteX89" fmla="*/ 2297528 w 3214688"/>
                    <a:gd name="connsiteY89" fmla="*/ 872602 h 3214688"/>
                    <a:gd name="connsiteX90" fmla="*/ 2321876 w 3214688"/>
                    <a:gd name="connsiteY90" fmla="*/ 919557 h 3214688"/>
                    <a:gd name="connsiteX91" fmla="*/ 2482389 w 3214688"/>
                    <a:gd name="connsiteY91" fmla="*/ 1474977 h 3214688"/>
                    <a:gd name="connsiteX92" fmla="*/ 2485971 w 3214688"/>
                    <a:gd name="connsiteY92" fmla="*/ 1546225 h 3214688"/>
                    <a:gd name="connsiteX93" fmla="*/ 3089325 w 3214688"/>
                    <a:gd name="connsiteY93" fmla="*/ 1546225 h 3214688"/>
                    <a:gd name="connsiteX94" fmla="*/ 3084782 w 3214688"/>
                    <a:gd name="connsiteY94" fmla="*/ 1456213 h 3214688"/>
                    <a:gd name="connsiteX95" fmla="*/ 2753323 w 3214688"/>
                    <a:gd name="connsiteY95" fmla="*/ 662968 h 3214688"/>
                    <a:gd name="connsiteX96" fmla="*/ 483169 w 3214688"/>
                    <a:gd name="connsiteY96" fmla="*/ 638963 h 3214688"/>
                    <a:gd name="connsiteX97" fmla="*/ 461363 w 3214688"/>
                    <a:gd name="connsiteY97" fmla="*/ 662968 h 3214688"/>
                    <a:gd name="connsiteX98" fmla="*/ 129905 w 3214688"/>
                    <a:gd name="connsiteY98" fmla="*/ 1456213 h 3214688"/>
                    <a:gd name="connsiteX99" fmla="*/ 125362 w 3214688"/>
                    <a:gd name="connsiteY99" fmla="*/ 1546225 h 3214688"/>
                    <a:gd name="connsiteX100" fmla="*/ 731831 w 3214688"/>
                    <a:gd name="connsiteY100" fmla="*/ 1546225 h 3214688"/>
                    <a:gd name="connsiteX101" fmla="*/ 735344 w 3214688"/>
                    <a:gd name="connsiteY101" fmla="*/ 1474977 h 3214688"/>
                    <a:gd name="connsiteX102" fmla="*/ 893910 w 3214688"/>
                    <a:gd name="connsiteY102" fmla="*/ 919557 h 3214688"/>
                    <a:gd name="connsiteX103" fmla="*/ 917942 w 3214688"/>
                    <a:gd name="connsiteY103" fmla="*/ 872897 h 3214688"/>
                    <a:gd name="connsiteX104" fmla="*/ 821137 w 3214688"/>
                    <a:gd name="connsiteY104" fmla="*/ 836234 h 3214688"/>
                    <a:gd name="connsiteX105" fmla="*/ 616825 w 3214688"/>
                    <a:gd name="connsiteY105" fmla="*/ 732415 h 3214688"/>
                    <a:gd name="connsiteX106" fmla="*/ 1546226 w 3214688"/>
                    <a:gd name="connsiteY106" fmla="*/ 231046 h 3214688"/>
                    <a:gd name="connsiteX107" fmla="*/ 1528675 w 3214688"/>
                    <a:gd name="connsiteY107" fmla="*/ 248139 h 3214688"/>
                    <a:gd name="connsiteX108" fmla="*/ 1168773 w 3214688"/>
                    <a:gd name="connsiteY108" fmla="*/ 685478 h 3214688"/>
                    <a:gd name="connsiteX109" fmla="*/ 1098769 w 3214688"/>
                    <a:gd name="connsiteY109" fmla="*/ 802845 h 3214688"/>
                    <a:gd name="connsiteX110" fmla="*/ 1152046 w 3214688"/>
                    <a:gd name="connsiteY110" fmla="*/ 818106 h 3214688"/>
                    <a:gd name="connsiteX111" fmla="*/ 1375851 w 3214688"/>
                    <a:gd name="connsiteY111" fmla="*/ 858541 h 3214688"/>
                    <a:gd name="connsiteX112" fmla="*/ 1546226 w 3214688"/>
                    <a:gd name="connsiteY112" fmla="*/ 868716 h 3214688"/>
                    <a:gd name="connsiteX113" fmla="*/ 1668463 w 3214688"/>
                    <a:gd name="connsiteY113" fmla="*/ 230823 h 3214688"/>
                    <a:gd name="connsiteX114" fmla="*/ 1668463 w 3214688"/>
                    <a:gd name="connsiteY114" fmla="*/ 868716 h 3214688"/>
                    <a:gd name="connsiteX115" fmla="*/ 1838838 w 3214688"/>
                    <a:gd name="connsiteY115" fmla="*/ 858541 h 3214688"/>
                    <a:gd name="connsiteX116" fmla="*/ 2062644 w 3214688"/>
                    <a:gd name="connsiteY116" fmla="*/ 818106 h 3214688"/>
                    <a:gd name="connsiteX117" fmla="*/ 2117610 w 3214688"/>
                    <a:gd name="connsiteY117" fmla="*/ 802362 h 3214688"/>
                    <a:gd name="connsiteX118" fmla="*/ 2047573 w 3214688"/>
                    <a:gd name="connsiteY118" fmla="*/ 685478 h 3214688"/>
                    <a:gd name="connsiteX119" fmla="*/ 1686282 w 3214688"/>
                    <a:gd name="connsiteY119" fmla="*/ 248139 h 3214688"/>
                    <a:gd name="connsiteX120" fmla="*/ 1739116 w 3214688"/>
                    <a:gd name="connsiteY120" fmla="*/ 128896 h 3214688"/>
                    <a:gd name="connsiteX121" fmla="*/ 1754615 w 3214688"/>
                    <a:gd name="connsiteY121" fmla="*/ 143696 h 3214688"/>
                    <a:gd name="connsiteX122" fmla="*/ 2066550 w 3214688"/>
                    <a:gd name="connsiteY122" fmla="*/ 501745 h 3214688"/>
                    <a:gd name="connsiteX123" fmla="*/ 2164154 w 3214688"/>
                    <a:gd name="connsiteY123" fmla="*/ 640209 h 3214688"/>
                    <a:gd name="connsiteX124" fmla="*/ 2239903 w 3214688"/>
                    <a:gd name="connsiteY124" fmla="*/ 764214 h 3214688"/>
                    <a:gd name="connsiteX125" fmla="*/ 2342448 w 3214688"/>
                    <a:gd name="connsiteY125" fmla="*/ 725496 h 3214688"/>
                    <a:gd name="connsiteX126" fmla="*/ 2533366 w 3214688"/>
                    <a:gd name="connsiteY126" fmla="*/ 629040 h 3214688"/>
                    <a:gd name="connsiteX127" fmla="*/ 2648575 w 3214688"/>
                    <a:gd name="connsiteY127" fmla="*/ 549358 h 3214688"/>
                    <a:gd name="connsiteX128" fmla="*/ 2552008 w 3214688"/>
                    <a:gd name="connsiteY128" fmla="*/ 461545 h 3214688"/>
                    <a:gd name="connsiteX129" fmla="*/ 1759187 w 3214688"/>
                    <a:gd name="connsiteY129" fmla="*/ 129910 h 3214688"/>
                    <a:gd name="connsiteX130" fmla="*/ 1475715 w 3214688"/>
                    <a:gd name="connsiteY130" fmla="*/ 128888 h 3214688"/>
                    <a:gd name="connsiteX131" fmla="*/ 1455500 w 3214688"/>
                    <a:gd name="connsiteY131" fmla="*/ 129910 h 3214688"/>
                    <a:gd name="connsiteX132" fmla="*/ 662678 w 3214688"/>
                    <a:gd name="connsiteY132" fmla="*/ 461545 h 3214688"/>
                    <a:gd name="connsiteX133" fmla="*/ 566113 w 3214688"/>
                    <a:gd name="connsiteY133" fmla="*/ 549357 h 3214688"/>
                    <a:gd name="connsiteX134" fmla="*/ 681324 w 3214688"/>
                    <a:gd name="connsiteY134" fmla="*/ 629040 h 3214688"/>
                    <a:gd name="connsiteX135" fmla="*/ 872242 w 3214688"/>
                    <a:gd name="connsiteY135" fmla="*/ 725496 h 3214688"/>
                    <a:gd name="connsiteX136" fmla="*/ 975251 w 3214688"/>
                    <a:gd name="connsiteY136" fmla="*/ 764389 h 3214688"/>
                    <a:gd name="connsiteX137" fmla="*/ 1050800 w 3214688"/>
                    <a:gd name="connsiteY137" fmla="*/ 640209 h 3214688"/>
                    <a:gd name="connsiteX138" fmla="*/ 1148273 w 3214688"/>
                    <a:gd name="connsiteY138" fmla="*/ 501745 h 3214688"/>
                    <a:gd name="connsiteX139" fmla="*/ 1460208 w 3214688"/>
                    <a:gd name="connsiteY139" fmla="*/ 143696 h 3214688"/>
                    <a:gd name="connsiteX140" fmla="*/ 1607344 w 3214688"/>
                    <a:gd name="connsiteY140" fmla="*/ 0 h 3214688"/>
                    <a:gd name="connsiteX141" fmla="*/ 3214688 w 3214688"/>
                    <a:gd name="connsiteY141" fmla="*/ 1607344 h 3214688"/>
                    <a:gd name="connsiteX142" fmla="*/ 1607344 w 3214688"/>
                    <a:gd name="connsiteY142" fmla="*/ 3214688 h 3214688"/>
                    <a:gd name="connsiteX143" fmla="*/ 0 w 3214688"/>
                    <a:gd name="connsiteY143" fmla="*/ 1607344 h 3214688"/>
                    <a:gd name="connsiteX144" fmla="*/ 1607344 w 3214688"/>
                    <a:gd name="connsiteY144" fmla="*/ 0 h 32146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Lst>
                  <a:rect l="l" t="t" r="r" b="b"/>
                  <a:pathLst>
                    <a:path w="3214688" h="3214688">
                      <a:moveTo>
                        <a:pt x="2240514" y="2452692"/>
                      </a:moveTo>
                      <a:lnTo>
                        <a:pt x="2164154" y="2577661"/>
                      </a:lnTo>
                      <a:cubicBezTo>
                        <a:pt x="2133682" y="2623995"/>
                        <a:pt x="2101138" y="2670175"/>
                        <a:pt x="2066550" y="2716118"/>
                      </a:cubicBezTo>
                      <a:cubicBezTo>
                        <a:pt x="1950245" y="2873312"/>
                        <a:pt x="1834903" y="2995905"/>
                        <a:pt x="1754615" y="3074168"/>
                      </a:cubicBezTo>
                      <a:lnTo>
                        <a:pt x="1740871" y="3087292"/>
                      </a:lnTo>
                      <a:lnTo>
                        <a:pt x="1759187" y="3086367"/>
                      </a:lnTo>
                      <a:cubicBezTo>
                        <a:pt x="2058736" y="3055930"/>
                        <a:pt x="2331968" y="2936422"/>
                        <a:pt x="2552008" y="2754731"/>
                      </a:cubicBezTo>
                      <a:lnTo>
                        <a:pt x="2647815" y="2667609"/>
                      </a:lnTo>
                      <a:lnTo>
                        <a:pt x="2533366" y="2587696"/>
                      </a:lnTo>
                      <a:cubicBezTo>
                        <a:pt x="2472930" y="2551687"/>
                        <a:pt x="2409077" y="2519400"/>
                        <a:pt x="2342448" y="2491033"/>
                      </a:cubicBezTo>
                      <a:close/>
                      <a:moveTo>
                        <a:pt x="974642" y="2452516"/>
                      </a:moveTo>
                      <a:lnTo>
                        <a:pt x="872242" y="2491033"/>
                      </a:lnTo>
                      <a:cubicBezTo>
                        <a:pt x="805613" y="2519400"/>
                        <a:pt x="741760" y="2551687"/>
                        <a:pt x="681324" y="2587696"/>
                      </a:cubicBezTo>
                      <a:lnTo>
                        <a:pt x="566873" y="2667611"/>
                      </a:lnTo>
                      <a:lnTo>
                        <a:pt x="662678" y="2754731"/>
                      </a:lnTo>
                      <a:cubicBezTo>
                        <a:pt x="882719" y="2936422"/>
                        <a:pt x="1155951" y="3055930"/>
                        <a:pt x="1455500" y="3086367"/>
                      </a:cubicBezTo>
                      <a:lnTo>
                        <a:pt x="1473960" y="3087299"/>
                      </a:lnTo>
                      <a:lnTo>
                        <a:pt x="1460208" y="3074168"/>
                      </a:lnTo>
                      <a:cubicBezTo>
                        <a:pt x="1379921" y="2995905"/>
                        <a:pt x="1264578" y="2873312"/>
                        <a:pt x="1148273" y="2716118"/>
                      </a:cubicBezTo>
                      <a:cubicBezTo>
                        <a:pt x="1113686" y="2670175"/>
                        <a:pt x="1081189" y="2623995"/>
                        <a:pt x="1050800" y="2577661"/>
                      </a:cubicBezTo>
                      <a:close/>
                      <a:moveTo>
                        <a:pt x="1668463" y="2349078"/>
                      </a:moveTo>
                      <a:lnTo>
                        <a:pt x="1668463" y="2987045"/>
                      </a:lnTo>
                      <a:lnTo>
                        <a:pt x="1686282" y="2969732"/>
                      </a:lnTo>
                      <a:cubicBezTo>
                        <a:pt x="1781612" y="2874931"/>
                        <a:pt x="1920253" y="2723080"/>
                        <a:pt x="2047573" y="2532767"/>
                      </a:cubicBezTo>
                      <a:lnTo>
                        <a:pt x="2118389" y="2414793"/>
                      </a:lnTo>
                      <a:lnTo>
                        <a:pt x="2062644" y="2398957"/>
                      </a:lnTo>
                      <a:cubicBezTo>
                        <a:pt x="1989750" y="2381404"/>
                        <a:pt x="1914935" y="2368039"/>
                        <a:pt x="1838838" y="2359062"/>
                      </a:cubicBezTo>
                      <a:close/>
                      <a:moveTo>
                        <a:pt x="1546226" y="2349078"/>
                      </a:moveTo>
                      <a:lnTo>
                        <a:pt x="1375851" y="2359062"/>
                      </a:lnTo>
                      <a:cubicBezTo>
                        <a:pt x="1299755" y="2368039"/>
                        <a:pt x="1224940" y="2381404"/>
                        <a:pt x="1152046" y="2398957"/>
                      </a:cubicBezTo>
                      <a:lnTo>
                        <a:pt x="1097994" y="2414312"/>
                      </a:lnTo>
                      <a:lnTo>
                        <a:pt x="1168773" y="2532767"/>
                      </a:lnTo>
                      <a:cubicBezTo>
                        <a:pt x="1295523" y="2723080"/>
                        <a:pt x="1433595" y="2874931"/>
                        <a:pt x="1528675" y="2969732"/>
                      </a:cubicBezTo>
                      <a:lnTo>
                        <a:pt x="1546226" y="2986822"/>
                      </a:lnTo>
                      <a:close/>
                      <a:moveTo>
                        <a:pt x="2486262" y="1668463"/>
                      </a:moveTo>
                      <a:lnTo>
                        <a:pt x="2482389" y="1744921"/>
                      </a:lnTo>
                      <a:cubicBezTo>
                        <a:pt x="2464263" y="1925703"/>
                        <a:pt x="2410126" y="2111990"/>
                        <a:pt x="2321876" y="2298467"/>
                      </a:cubicBezTo>
                      <a:lnTo>
                        <a:pt x="2297383" y="2345664"/>
                      </a:lnTo>
                      <a:lnTo>
                        <a:pt x="2392218" y="2381629"/>
                      </a:lnTo>
                      <a:cubicBezTo>
                        <a:pt x="2463528" y="2412174"/>
                        <a:pt x="2531927" y="2446867"/>
                        <a:pt x="2596737" y="2485449"/>
                      </a:cubicBezTo>
                      <a:lnTo>
                        <a:pt x="2730520" y="2578412"/>
                      </a:lnTo>
                      <a:lnTo>
                        <a:pt x="2753323" y="2553309"/>
                      </a:lnTo>
                      <a:cubicBezTo>
                        <a:pt x="2934917" y="2333150"/>
                        <a:pt x="3054361" y="2059772"/>
                        <a:pt x="3084782" y="1760063"/>
                      </a:cubicBezTo>
                      <a:lnTo>
                        <a:pt x="3089405" y="1668463"/>
                      </a:lnTo>
                      <a:close/>
                      <a:moveTo>
                        <a:pt x="1668463" y="1668463"/>
                      </a:moveTo>
                      <a:lnTo>
                        <a:pt x="1668463" y="2227749"/>
                      </a:lnTo>
                      <a:lnTo>
                        <a:pt x="1854174" y="2238874"/>
                      </a:lnTo>
                      <a:cubicBezTo>
                        <a:pt x="1935356" y="2248644"/>
                        <a:pt x="2015217" y="2263170"/>
                        <a:pt x="2093075" y="2282190"/>
                      </a:cubicBezTo>
                      <a:lnTo>
                        <a:pt x="2180461" y="2307322"/>
                      </a:lnTo>
                      <a:lnTo>
                        <a:pt x="2223231" y="2220775"/>
                      </a:lnTo>
                      <a:cubicBezTo>
                        <a:pt x="2291457" y="2071357"/>
                        <a:pt x="2342510" y="1908976"/>
                        <a:pt x="2360202" y="1739141"/>
                      </a:cubicBezTo>
                      <a:lnTo>
                        <a:pt x="2363915" y="1668463"/>
                      </a:lnTo>
                      <a:close/>
                      <a:moveTo>
                        <a:pt x="853934" y="1668463"/>
                      </a:moveTo>
                      <a:lnTo>
                        <a:pt x="857628" y="1739141"/>
                      </a:lnTo>
                      <a:cubicBezTo>
                        <a:pt x="875231" y="1908976"/>
                        <a:pt x="926029" y="2071357"/>
                        <a:pt x="993929" y="2220775"/>
                      </a:cubicBezTo>
                      <a:lnTo>
                        <a:pt x="1036215" y="2306750"/>
                      </a:lnTo>
                      <a:lnTo>
                        <a:pt x="1121614" y="2282190"/>
                      </a:lnTo>
                      <a:cubicBezTo>
                        <a:pt x="1199473" y="2263170"/>
                        <a:pt x="1279334" y="2248644"/>
                        <a:pt x="1360516" y="2238874"/>
                      </a:cubicBezTo>
                      <a:lnTo>
                        <a:pt x="1546226" y="2227749"/>
                      </a:lnTo>
                      <a:lnTo>
                        <a:pt x="1546226" y="1668463"/>
                      </a:lnTo>
                      <a:close/>
                      <a:moveTo>
                        <a:pt x="125282" y="1668463"/>
                      </a:moveTo>
                      <a:lnTo>
                        <a:pt x="129905" y="1760063"/>
                      </a:lnTo>
                      <a:cubicBezTo>
                        <a:pt x="160326" y="2059772"/>
                        <a:pt x="279770" y="2333150"/>
                        <a:pt x="461363" y="2553309"/>
                      </a:cubicBezTo>
                      <a:lnTo>
                        <a:pt x="484168" y="2578414"/>
                      </a:lnTo>
                      <a:lnTo>
                        <a:pt x="617953" y="2485449"/>
                      </a:lnTo>
                      <a:cubicBezTo>
                        <a:pt x="682763" y="2446867"/>
                        <a:pt x="751163" y="2412174"/>
                        <a:pt x="822472" y="2381629"/>
                      </a:cubicBezTo>
                      <a:lnTo>
                        <a:pt x="918086" y="2345368"/>
                      </a:lnTo>
                      <a:lnTo>
                        <a:pt x="893910" y="2298467"/>
                      </a:lnTo>
                      <a:cubicBezTo>
                        <a:pt x="806372" y="2111990"/>
                        <a:pt x="753137" y="1925703"/>
                        <a:pt x="735344" y="1744921"/>
                      </a:cubicBezTo>
                      <a:lnTo>
                        <a:pt x="731546" y="1668463"/>
                      </a:lnTo>
                      <a:close/>
                      <a:moveTo>
                        <a:pt x="1036436" y="911460"/>
                      </a:moveTo>
                      <a:lnTo>
                        <a:pt x="993929" y="998077"/>
                      </a:lnTo>
                      <a:cubicBezTo>
                        <a:pt x="926029" y="1147854"/>
                        <a:pt x="875231" y="1310725"/>
                        <a:pt x="857628" y="1481228"/>
                      </a:cubicBezTo>
                      <a:lnTo>
                        <a:pt x="854245" y="1546225"/>
                      </a:lnTo>
                      <a:lnTo>
                        <a:pt x="1546226" y="1546225"/>
                      </a:lnTo>
                      <a:lnTo>
                        <a:pt x="1546226" y="990118"/>
                      </a:lnTo>
                      <a:lnTo>
                        <a:pt x="1360255" y="978989"/>
                      </a:lnTo>
                      <a:cubicBezTo>
                        <a:pt x="1278920" y="969219"/>
                        <a:pt x="1198859" y="954694"/>
                        <a:pt x="1120814" y="935673"/>
                      </a:cubicBezTo>
                      <a:close/>
                      <a:moveTo>
                        <a:pt x="2180241" y="910890"/>
                      </a:moveTo>
                      <a:lnTo>
                        <a:pt x="2093876" y="935673"/>
                      </a:lnTo>
                      <a:cubicBezTo>
                        <a:pt x="2015831" y="954694"/>
                        <a:pt x="1935770" y="969219"/>
                        <a:pt x="1854434" y="978989"/>
                      </a:cubicBezTo>
                      <a:lnTo>
                        <a:pt x="1668463" y="990118"/>
                      </a:lnTo>
                      <a:lnTo>
                        <a:pt x="1668463" y="1546225"/>
                      </a:lnTo>
                      <a:lnTo>
                        <a:pt x="2363603" y="1546225"/>
                      </a:lnTo>
                      <a:lnTo>
                        <a:pt x="2360202" y="1481228"/>
                      </a:lnTo>
                      <a:cubicBezTo>
                        <a:pt x="2342510" y="1310725"/>
                        <a:pt x="2291457" y="1147854"/>
                        <a:pt x="2223231" y="998077"/>
                      </a:cubicBezTo>
                      <a:close/>
                      <a:moveTo>
                        <a:pt x="2731519" y="638964"/>
                      </a:moveTo>
                      <a:lnTo>
                        <a:pt x="2597865" y="732415"/>
                      </a:lnTo>
                      <a:cubicBezTo>
                        <a:pt x="2533258" y="770996"/>
                        <a:pt x="2464907" y="805689"/>
                        <a:pt x="2393553" y="836234"/>
                      </a:cubicBezTo>
                      <a:lnTo>
                        <a:pt x="2297528" y="872602"/>
                      </a:lnTo>
                      <a:lnTo>
                        <a:pt x="2321876" y="919557"/>
                      </a:lnTo>
                      <a:cubicBezTo>
                        <a:pt x="2410126" y="1106247"/>
                        <a:pt x="2464263" y="1293033"/>
                        <a:pt x="2482389" y="1474977"/>
                      </a:cubicBezTo>
                      <a:lnTo>
                        <a:pt x="2485971" y="1546225"/>
                      </a:lnTo>
                      <a:lnTo>
                        <a:pt x="3089325" y="1546225"/>
                      </a:lnTo>
                      <a:lnTo>
                        <a:pt x="3084782" y="1456213"/>
                      </a:lnTo>
                      <a:cubicBezTo>
                        <a:pt x="3054361" y="1156504"/>
                        <a:pt x="2934917" y="883126"/>
                        <a:pt x="2753323" y="662968"/>
                      </a:cubicBezTo>
                      <a:close/>
                      <a:moveTo>
                        <a:pt x="483169" y="638963"/>
                      </a:moveTo>
                      <a:lnTo>
                        <a:pt x="461363" y="662968"/>
                      </a:lnTo>
                      <a:cubicBezTo>
                        <a:pt x="279770" y="883126"/>
                        <a:pt x="160326" y="1156504"/>
                        <a:pt x="129905" y="1456213"/>
                      </a:cubicBezTo>
                      <a:lnTo>
                        <a:pt x="125362" y="1546225"/>
                      </a:lnTo>
                      <a:lnTo>
                        <a:pt x="731831" y="1546225"/>
                      </a:lnTo>
                      <a:lnTo>
                        <a:pt x="735344" y="1474977"/>
                      </a:lnTo>
                      <a:cubicBezTo>
                        <a:pt x="753137" y="1293033"/>
                        <a:pt x="806372" y="1106247"/>
                        <a:pt x="893910" y="919557"/>
                      </a:cubicBezTo>
                      <a:lnTo>
                        <a:pt x="917942" y="872897"/>
                      </a:lnTo>
                      <a:lnTo>
                        <a:pt x="821137" y="836234"/>
                      </a:lnTo>
                      <a:cubicBezTo>
                        <a:pt x="749783" y="805689"/>
                        <a:pt x="681432" y="770996"/>
                        <a:pt x="616825" y="732415"/>
                      </a:cubicBezTo>
                      <a:close/>
                      <a:moveTo>
                        <a:pt x="1546226" y="231046"/>
                      </a:moveTo>
                      <a:lnTo>
                        <a:pt x="1528675" y="248139"/>
                      </a:lnTo>
                      <a:cubicBezTo>
                        <a:pt x="1433595" y="342957"/>
                        <a:pt x="1295523" y="494880"/>
                        <a:pt x="1168773" y="685478"/>
                      </a:cubicBezTo>
                      <a:lnTo>
                        <a:pt x="1098769" y="802845"/>
                      </a:lnTo>
                      <a:lnTo>
                        <a:pt x="1152046" y="818106"/>
                      </a:lnTo>
                      <a:cubicBezTo>
                        <a:pt x="1224940" y="835846"/>
                        <a:pt x="1299755" y="849411"/>
                        <a:pt x="1375851" y="858541"/>
                      </a:cubicBezTo>
                      <a:lnTo>
                        <a:pt x="1546226" y="868716"/>
                      </a:lnTo>
                      <a:close/>
                      <a:moveTo>
                        <a:pt x="1668463" y="230823"/>
                      </a:moveTo>
                      <a:lnTo>
                        <a:pt x="1668463" y="868716"/>
                      </a:lnTo>
                      <a:lnTo>
                        <a:pt x="1838838" y="858541"/>
                      </a:lnTo>
                      <a:cubicBezTo>
                        <a:pt x="1914935" y="849411"/>
                        <a:pt x="1989750" y="835846"/>
                        <a:pt x="2062644" y="818106"/>
                      </a:cubicBezTo>
                      <a:lnTo>
                        <a:pt x="2117610" y="802362"/>
                      </a:lnTo>
                      <a:lnTo>
                        <a:pt x="2047573" y="685478"/>
                      </a:lnTo>
                      <a:cubicBezTo>
                        <a:pt x="1920253" y="494880"/>
                        <a:pt x="1781612" y="342957"/>
                        <a:pt x="1686282" y="248139"/>
                      </a:cubicBezTo>
                      <a:close/>
                      <a:moveTo>
                        <a:pt x="1739116" y="128896"/>
                      </a:moveTo>
                      <a:lnTo>
                        <a:pt x="1754615" y="143696"/>
                      </a:lnTo>
                      <a:cubicBezTo>
                        <a:pt x="1834903" y="221959"/>
                        <a:pt x="1950245" y="344552"/>
                        <a:pt x="2066550" y="501745"/>
                      </a:cubicBezTo>
                      <a:cubicBezTo>
                        <a:pt x="2101138" y="547688"/>
                        <a:pt x="2133682" y="593868"/>
                        <a:pt x="2164154" y="640209"/>
                      </a:cubicBezTo>
                      <a:lnTo>
                        <a:pt x="2239903" y="764214"/>
                      </a:lnTo>
                      <a:lnTo>
                        <a:pt x="2342448" y="725496"/>
                      </a:lnTo>
                      <a:cubicBezTo>
                        <a:pt x="2409077" y="697086"/>
                        <a:pt x="2472930" y="664847"/>
                        <a:pt x="2533366" y="629040"/>
                      </a:cubicBezTo>
                      <a:lnTo>
                        <a:pt x="2648575" y="549358"/>
                      </a:lnTo>
                      <a:lnTo>
                        <a:pt x="2552008" y="461545"/>
                      </a:lnTo>
                      <a:cubicBezTo>
                        <a:pt x="2331968" y="279855"/>
                        <a:pt x="2058736" y="160347"/>
                        <a:pt x="1759187" y="129910"/>
                      </a:cubicBezTo>
                      <a:close/>
                      <a:moveTo>
                        <a:pt x="1475715" y="128888"/>
                      </a:moveTo>
                      <a:lnTo>
                        <a:pt x="1455500" y="129910"/>
                      </a:lnTo>
                      <a:cubicBezTo>
                        <a:pt x="1155951" y="160347"/>
                        <a:pt x="882719" y="279855"/>
                        <a:pt x="662678" y="461545"/>
                      </a:cubicBezTo>
                      <a:lnTo>
                        <a:pt x="566113" y="549357"/>
                      </a:lnTo>
                      <a:lnTo>
                        <a:pt x="681324" y="629040"/>
                      </a:lnTo>
                      <a:cubicBezTo>
                        <a:pt x="741760" y="664847"/>
                        <a:pt x="805613" y="697086"/>
                        <a:pt x="872242" y="725496"/>
                      </a:cubicBezTo>
                      <a:lnTo>
                        <a:pt x="975251" y="764389"/>
                      </a:lnTo>
                      <a:lnTo>
                        <a:pt x="1050800" y="640209"/>
                      </a:lnTo>
                      <a:cubicBezTo>
                        <a:pt x="1081189" y="593868"/>
                        <a:pt x="1113686" y="547688"/>
                        <a:pt x="1148273" y="501745"/>
                      </a:cubicBezTo>
                      <a:cubicBezTo>
                        <a:pt x="1264578" y="344552"/>
                        <a:pt x="1379921" y="221959"/>
                        <a:pt x="1460208" y="143696"/>
                      </a:cubicBezTo>
                      <a:close/>
                      <a:moveTo>
                        <a:pt x="1607344" y="0"/>
                      </a:moveTo>
                      <a:cubicBezTo>
                        <a:pt x="2495056" y="0"/>
                        <a:pt x="3214688" y="719632"/>
                        <a:pt x="3214688" y="1607344"/>
                      </a:cubicBezTo>
                      <a:cubicBezTo>
                        <a:pt x="3214688" y="2495056"/>
                        <a:pt x="2495056" y="3214688"/>
                        <a:pt x="1607344" y="3214688"/>
                      </a:cubicBezTo>
                      <a:cubicBezTo>
                        <a:pt x="719632" y="3214688"/>
                        <a:pt x="0" y="2495056"/>
                        <a:pt x="0" y="1607344"/>
                      </a:cubicBezTo>
                      <a:cubicBezTo>
                        <a:pt x="0" y="719632"/>
                        <a:pt x="719632" y="0"/>
                        <a:pt x="1607344" y="0"/>
                      </a:cubicBezTo>
                      <a:close/>
                    </a:path>
                  </a:pathLst>
                </a:custGeom>
                <a:solidFill>
                  <a:srgbClr val="0078D7"/>
                </a:solidFill>
                <a:ln>
                  <a:noFill/>
                </a:ln>
              </p:spPr>
              <p:txBody>
                <a:bodyPr vert="horz" wrap="square" lIns="91440" tIns="45720" rIns="91440" bIns="45720" numCol="1" anchor="t" anchorCtr="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144" name="Freeform 19"/>
                <p:cNvSpPr>
                  <a:spLocks/>
                </p:cNvSpPr>
                <p:nvPr/>
              </p:nvSpPr>
              <p:spPr bwMode="auto">
                <a:xfrm>
                  <a:off x="10935462" y="3576787"/>
                  <a:ext cx="131222" cy="235796"/>
                </a:xfrm>
                <a:custGeom>
                  <a:avLst/>
                  <a:gdLst>
                    <a:gd name="connsiteX0" fmla="*/ 930274 w 1860550"/>
                    <a:gd name="connsiteY0" fmla="*/ 2997199 h 3343276"/>
                    <a:gd name="connsiteX1" fmla="*/ 898524 w 1860550"/>
                    <a:gd name="connsiteY1" fmla="*/ 3030537 h 3343276"/>
                    <a:gd name="connsiteX2" fmla="*/ 930274 w 1860550"/>
                    <a:gd name="connsiteY2" fmla="*/ 3063875 h 3343276"/>
                    <a:gd name="connsiteX3" fmla="*/ 962024 w 1860550"/>
                    <a:gd name="connsiteY3" fmla="*/ 3030537 h 3343276"/>
                    <a:gd name="connsiteX4" fmla="*/ 930274 w 1860550"/>
                    <a:gd name="connsiteY4" fmla="*/ 2997199 h 3343276"/>
                    <a:gd name="connsiteX5" fmla="*/ 930275 w 1860550"/>
                    <a:gd name="connsiteY5" fmla="*/ 2874962 h 3343276"/>
                    <a:gd name="connsiteX6" fmla="*/ 1084263 w 1860550"/>
                    <a:gd name="connsiteY6" fmla="*/ 3029744 h 3343276"/>
                    <a:gd name="connsiteX7" fmla="*/ 930275 w 1860550"/>
                    <a:gd name="connsiteY7" fmla="*/ 3184526 h 3343276"/>
                    <a:gd name="connsiteX8" fmla="*/ 776287 w 1860550"/>
                    <a:gd name="connsiteY8" fmla="*/ 3029744 h 3343276"/>
                    <a:gd name="connsiteX9" fmla="*/ 930275 w 1860550"/>
                    <a:gd name="connsiteY9" fmla="*/ 2874962 h 3343276"/>
                    <a:gd name="connsiteX10" fmla="*/ 122238 w 1860550"/>
                    <a:gd name="connsiteY10" fmla="*/ 2844800 h 3343276"/>
                    <a:gd name="connsiteX11" fmla="*/ 122238 w 1860550"/>
                    <a:gd name="connsiteY11" fmla="*/ 2858922 h 3343276"/>
                    <a:gd name="connsiteX12" fmla="*/ 122238 w 1860550"/>
                    <a:gd name="connsiteY12" fmla="*/ 2919914 h 3343276"/>
                    <a:gd name="connsiteX13" fmla="*/ 122238 w 1860550"/>
                    <a:gd name="connsiteY13" fmla="*/ 2937881 h 3343276"/>
                    <a:gd name="connsiteX14" fmla="*/ 122238 w 1860550"/>
                    <a:gd name="connsiteY14" fmla="*/ 2976361 h 3343276"/>
                    <a:gd name="connsiteX15" fmla="*/ 122238 w 1860550"/>
                    <a:gd name="connsiteY15" fmla="*/ 2994458 h 3343276"/>
                    <a:gd name="connsiteX16" fmla="*/ 122238 w 1860550"/>
                    <a:gd name="connsiteY16" fmla="*/ 3016807 h 3343276"/>
                    <a:gd name="connsiteX17" fmla="*/ 122238 w 1860550"/>
                    <a:gd name="connsiteY17" fmla="*/ 3032384 h 3343276"/>
                    <a:gd name="connsiteX18" fmla="*/ 122238 w 1860550"/>
                    <a:gd name="connsiteY18" fmla="*/ 3043919 h 3343276"/>
                    <a:gd name="connsiteX19" fmla="*/ 122238 w 1860550"/>
                    <a:gd name="connsiteY19" fmla="*/ 3055388 h 3343276"/>
                    <a:gd name="connsiteX20" fmla="*/ 122238 w 1860550"/>
                    <a:gd name="connsiteY20" fmla="*/ 3067200 h 3343276"/>
                    <a:gd name="connsiteX21" fmla="*/ 122238 w 1860550"/>
                    <a:gd name="connsiteY21" fmla="*/ 3068809 h 3343276"/>
                    <a:gd name="connsiteX22" fmla="*/ 122238 w 1860550"/>
                    <a:gd name="connsiteY22" fmla="*/ 3072174 h 3343276"/>
                    <a:gd name="connsiteX23" fmla="*/ 268324 w 1860550"/>
                    <a:gd name="connsiteY23" fmla="*/ 3221038 h 3343276"/>
                    <a:gd name="connsiteX24" fmla="*/ 1589184 w 1860550"/>
                    <a:gd name="connsiteY24" fmla="*/ 3221038 h 3343276"/>
                    <a:gd name="connsiteX25" fmla="*/ 1738313 w 1860550"/>
                    <a:gd name="connsiteY25" fmla="*/ 3072174 h 3343276"/>
                    <a:gd name="connsiteX26" fmla="*/ 1738313 w 1860550"/>
                    <a:gd name="connsiteY26" fmla="*/ 2997250 h 3343276"/>
                    <a:gd name="connsiteX27" fmla="*/ 1738313 w 1860550"/>
                    <a:gd name="connsiteY27" fmla="*/ 2940804 h 3343276"/>
                    <a:gd name="connsiteX28" fmla="*/ 1738313 w 1860550"/>
                    <a:gd name="connsiteY28" fmla="*/ 2900358 h 3343276"/>
                    <a:gd name="connsiteX29" fmla="*/ 1738313 w 1860550"/>
                    <a:gd name="connsiteY29" fmla="*/ 2873246 h 3343276"/>
                    <a:gd name="connsiteX30" fmla="*/ 1738313 w 1860550"/>
                    <a:gd name="connsiteY30" fmla="*/ 2848356 h 3343276"/>
                    <a:gd name="connsiteX31" fmla="*/ 1738313 w 1860550"/>
                    <a:gd name="connsiteY31" fmla="*/ 2844800 h 3343276"/>
                    <a:gd name="connsiteX32" fmla="*/ 122238 w 1860550"/>
                    <a:gd name="connsiteY32" fmla="*/ 461963 h 3343276"/>
                    <a:gd name="connsiteX33" fmla="*/ 122238 w 1860550"/>
                    <a:gd name="connsiteY33" fmla="*/ 525582 h 3343276"/>
                    <a:gd name="connsiteX34" fmla="*/ 122238 w 1860550"/>
                    <a:gd name="connsiteY34" fmla="*/ 2618936 h 3343276"/>
                    <a:gd name="connsiteX35" fmla="*/ 122238 w 1860550"/>
                    <a:gd name="connsiteY35" fmla="*/ 2722563 h 3343276"/>
                    <a:gd name="connsiteX36" fmla="*/ 169032 w 1860550"/>
                    <a:gd name="connsiteY36" fmla="*/ 2722563 h 3343276"/>
                    <a:gd name="connsiteX37" fmla="*/ 1704747 w 1860550"/>
                    <a:gd name="connsiteY37" fmla="*/ 2722563 h 3343276"/>
                    <a:gd name="connsiteX38" fmla="*/ 1738313 w 1860550"/>
                    <a:gd name="connsiteY38" fmla="*/ 2722563 h 3343276"/>
                    <a:gd name="connsiteX39" fmla="*/ 1738313 w 1860550"/>
                    <a:gd name="connsiteY39" fmla="*/ 2521894 h 3343276"/>
                    <a:gd name="connsiteX40" fmla="*/ 1738313 w 1860550"/>
                    <a:gd name="connsiteY40" fmla="*/ 505665 h 3343276"/>
                    <a:gd name="connsiteX41" fmla="*/ 1738313 w 1860550"/>
                    <a:gd name="connsiteY41" fmla="*/ 461963 h 3343276"/>
                    <a:gd name="connsiteX42" fmla="*/ 1691518 w 1860550"/>
                    <a:gd name="connsiteY42" fmla="*/ 461963 h 3343276"/>
                    <a:gd name="connsiteX43" fmla="*/ 155803 w 1860550"/>
                    <a:gd name="connsiteY43" fmla="*/ 461963 h 3343276"/>
                    <a:gd name="connsiteX44" fmla="*/ 721442 w 1860550"/>
                    <a:gd name="connsiteY44" fmla="*/ 169863 h 3343276"/>
                    <a:gd name="connsiteX45" fmla="*/ 1072433 w 1860550"/>
                    <a:gd name="connsiteY45" fmla="*/ 169863 h 3343276"/>
                    <a:gd name="connsiteX46" fmla="*/ 1133475 w 1860550"/>
                    <a:gd name="connsiteY46" fmla="*/ 230982 h 3343276"/>
                    <a:gd name="connsiteX47" fmla="*/ 1072433 w 1860550"/>
                    <a:gd name="connsiteY47" fmla="*/ 292101 h 3343276"/>
                    <a:gd name="connsiteX48" fmla="*/ 721442 w 1860550"/>
                    <a:gd name="connsiteY48" fmla="*/ 292101 h 3343276"/>
                    <a:gd name="connsiteX49" fmla="*/ 660400 w 1860550"/>
                    <a:gd name="connsiteY49" fmla="*/ 230982 h 3343276"/>
                    <a:gd name="connsiteX50" fmla="*/ 721442 w 1860550"/>
                    <a:gd name="connsiteY50" fmla="*/ 169863 h 3343276"/>
                    <a:gd name="connsiteX51" fmla="*/ 1281907 w 1860550"/>
                    <a:gd name="connsiteY51" fmla="*/ 149225 h 3343276"/>
                    <a:gd name="connsiteX52" fmla="*/ 1363664 w 1860550"/>
                    <a:gd name="connsiteY52" fmla="*/ 229394 h 3343276"/>
                    <a:gd name="connsiteX53" fmla="*/ 1281907 w 1860550"/>
                    <a:gd name="connsiteY53" fmla="*/ 309563 h 3343276"/>
                    <a:gd name="connsiteX54" fmla="*/ 1200150 w 1860550"/>
                    <a:gd name="connsiteY54" fmla="*/ 229394 h 3343276"/>
                    <a:gd name="connsiteX55" fmla="*/ 1281907 w 1860550"/>
                    <a:gd name="connsiteY55" fmla="*/ 149225 h 3343276"/>
                    <a:gd name="connsiteX56" fmla="*/ 268324 w 1860550"/>
                    <a:gd name="connsiteY56" fmla="*/ 122238 h 3343276"/>
                    <a:gd name="connsiteX57" fmla="*/ 122238 w 1860550"/>
                    <a:gd name="connsiteY57" fmla="*/ 271331 h 3343276"/>
                    <a:gd name="connsiteX58" fmla="*/ 122238 w 1860550"/>
                    <a:gd name="connsiteY58" fmla="*/ 341313 h 3343276"/>
                    <a:gd name="connsiteX59" fmla="*/ 1738313 w 1860550"/>
                    <a:gd name="connsiteY59" fmla="*/ 341313 h 3343276"/>
                    <a:gd name="connsiteX60" fmla="*/ 1738313 w 1860550"/>
                    <a:gd name="connsiteY60" fmla="*/ 314869 h 3343276"/>
                    <a:gd name="connsiteX61" fmla="*/ 1738313 w 1860550"/>
                    <a:gd name="connsiteY61" fmla="*/ 300855 h 3343276"/>
                    <a:gd name="connsiteX62" fmla="*/ 1738313 w 1860550"/>
                    <a:gd name="connsiteY62" fmla="*/ 289566 h 3343276"/>
                    <a:gd name="connsiteX63" fmla="*/ 1738313 w 1860550"/>
                    <a:gd name="connsiteY63" fmla="*/ 280079 h 3343276"/>
                    <a:gd name="connsiteX64" fmla="*/ 1738313 w 1860550"/>
                    <a:gd name="connsiteY64" fmla="*/ 276573 h 3343276"/>
                    <a:gd name="connsiteX65" fmla="*/ 1738313 w 1860550"/>
                    <a:gd name="connsiteY65" fmla="*/ 271331 h 3343276"/>
                    <a:gd name="connsiteX66" fmla="*/ 1589184 w 1860550"/>
                    <a:gd name="connsiteY66" fmla="*/ 122238 h 3343276"/>
                    <a:gd name="connsiteX67" fmla="*/ 1469183 w 1860550"/>
                    <a:gd name="connsiteY67" fmla="*/ 122238 h 3343276"/>
                    <a:gd name="connsiteX68" fmla="*/ 1356679 w 1860550"/>
                    <a:gd name="connsiteY68" fmla="*/ 122238 h 3343276"/>
                    <a:gd name="connsiteX69" fmla="*/ 1153197 w 1860550"/>
                    <a:gd name="connsiteY69" fmla="*/ 122238 h 3343276"/>
                    <a:gd name="connsiteX70" fmla="*/ 976803 w 1860550"/>
                    <a:gd name="connsiteY70" fmla="*/ 122238 h 3343276"/>
                    <a:gd name="connsiteX71" fmla="*/ 825562 w 1860550"/>
                    <a:gd name="connsiteY71" fmla="*/ 122238 h 3343276"/>
                    <a:gd name="connsiteX72" fmla="*/ 697539 w 1860550"/>
                    <a:gd name="connsiteY72" fmla="*/ 122238 h 3343276"/>
                    <a:gd name="connsiteX73" fmla="*/ 590799 w 1860550"/>
                    <a:gd name="connsiteY73" fmla="*/ 122238 h 3343276"/>
                    <a:gd name="connsiteX74" fmla="*/ 503408 w 1860550"/>
                    <a:gd name="connsiteY74" fmla="*/ 122238 h 3343276"/>
                    <a:gd name="connsiteX75" fmla="*/ 433431 w 1860550"/>
                    <a:gd name="connsiteY75" fmla="*/ 122238 h 3343276"/>
                    <a:gd name="connsiteX76" fmla="*/ 378933 w 1860550"/>
                    <a:gd name="connsiteY76" fmla="*/ 122238 h 3343276"/>
                    <a:gd name="connsiteX77" fmla="*/ 337979 w 1860550"/>
                    <a:gd name="connsiteY77" fmla="*/ 122238 h 3343276"/>
                    <a:gd name="connsiteX78" fmla="*/ 308633 w 1860550"/>
                    <a:gd name="connsiteY78" fmla="*/ 122238 h 3343276"/>
                    <a:gd name="connsiteX79" fmla="*/ 288962 w 1860550"/>
                    <a:gd name="connsiteY79" fmla="*/ 122238 h 3343276"/>
                    <a:gd name="connsiteX80" fmla="*/ 277031 w 1860550"/>
                    <a:gd name="connsiteY80" fmla="*/ 122238 h 3343276"/>
                    <a:gd name="connsiteX81" fmla="*/ 270904 w 1860550"/>
                    <a:gd name="connsiteY81" fmla="*/ 122238 h 3343276"/>
                    <a:gd name="connsiteX82" fmla="*/ 267968 w 1860550"/>
                    <a:gd name="connsiteY82" fmla="*/ 0 h 3343276"/>
                    <a:gd name="connsiteX83" fmla="*/ 1589537 w 1860550"/>
                    <a:gd name="connsiteY83" fmla="*/ 0 h 3343276"/>
                    <a:gd name="connsiteX84" fmla="*/ 1860550 w 1860550"/>
                    <a:gd name="connsiteY84" fmla="*/ 270492 h 3343276"/>
                    <a:gd name="connsiteX85" fmla="*/ 1860550 w 1860550"/>
                    <a:gd name="connsiteY85" fmla="*/ 270501 h 3343276"/>
                    <a:gd name="connsiteX86" fmla="*/ 1860550 w 1860550"/>
                    <a:gd name="connsiteY86" fmla="*/ 461963 h 3343276"/>
                    <a:gd name="connsiteX87" fmla="*/ 1860550 w 1860550"/>
                    <a:gd name="connsiteY87" fmla="*/ 525090 h 3343276"/>
                    <a:gd name="connsiteX88" fmla="*/ 1860550 w 1860550"/>
                    <a:gd name="connsiteY88" fmla="*/ 2619341 h 3343276"/>
                    <a:gd name="connsiteX89" fmla="*/ 1860550 w 1860550"/>
                    <a:gd name="connsiteY89" fmla="*/ 2722563 h 3343276"/>
                    <a:gd name="connsiteX90" fmla="*/ 1860550 w 1860550"/>
                    <a:gd name="connsiteY90" fmla="*/ 2754314 h 3343276"/>
                    <a:gd name="connsiteX91" fmla="*/ 1860550 w 1860550"/>
                    <a:gd name="connsiteY91" fmla="*/ 2838062 h 3343276"/>
                    <a:gd name="connsiteX92" fmla="*/ 1860550 w 1860550"/>
                    <a:gd name="connsiteY92" fmla="*/ 2859431 h 3343276"/>
                    <a:gd name="connsiteX93" fmla="*/ 1860550 w 1860550"/>
                    <a:gd name="connsiteY93" fmla="*/ 2924856 h 3343276"/>
                    <a:gd name="connsiteX94" fmla="*/ 1860550 w 1860550"/>
                    <a:gd name="connsiteY94" fmla="*/ 2938424 h 3343276"/>
                    <a:gd name="connsiteX95" fmla="*/ 1860550 w 1860550"/>
                    <a:gd name="connsiteY95" fmla="*/ 2987047 h 3343276"/>
                    <a:gd name="connsiteX96" fmla="*/ 1860550 w 1860550"/>
                    <a:gd name="connsiteY96" fmla="*/ 2995025 h 3343276"/>
                    <a:gd name="connsiteX97" fmla="*/ 1860550 w 1860550"/>
                    <a:gd name="connsiteY97" fmla="*/ 3028736 h 3343276"/>
                    <a:gd name="connsiteX98" fmla="*/ 1860550 w 1860550"/>
                    <a:gd name="connsiteY98" fmla="*/ 3032967 h 3343276"/>
                    <a:gd name="connsiteX99" fmla="*/ 1860550 w 1860550"/>
                    <a:gd name="connsiteY99" fmla="*/ 3054023 h 3343276"/>
                    <a:gd name="connsiteX100" fmla="*/ 1860550 w 1860550"/>
                    <a:gd name="connsiteY100" fmla="*/ 3055980 h 3343276"/>
                    <a:gd name="connsiteX101" fmla="*/ 1860550 w 1860550"/>
                    <a:gd name="connsiteY101" fmla="*/ 3067008 h 3343276"/>
                    <a:gd name="connsiteX102" fmla="*/ 1860550 w 1860550"/>
                    <a:gd name="connsiteY102" fmla="*/ 3067798 h 3343276"/>
                    <a:gd name="connsiteX103" fmla="*/ 1860550 w 1860550"/>
                    <a:gd name="connsiteY103" fmla="*/ 3072475 h 3343276"/>
                    <a:gd name="connsiteX104" fmla="*/ 1860550 w 1860550"/>
                    <a:gd name="connsiteY104" fmla="*/ 3072774 h 3343276"/>
                    <a:gd name="connsiteX105" fmla="*/ 1694831 w 1860550"/>
                    <a:gd name="connsiteY105" fmla="*/ 3321952 h 3343276"/>
                    <a:gd name="connsiteX106" fmla="*/ 1593989 w 1860550"/>
                    <a:gd name="connsiteY106" fmla="*/ 3342374 h 3343276"/>
                    <a:gd name="connsiteX107" fmla="*/ 1589537 w 1860550"/>
                    <a:gd name="connsiteY107" fmla="*/ 3343276 h 3343276"/>
                    <a:gd name="connsiteX108" fmla="*/ 267968 w 1860550"/>
                    <a:gd name="connsiteY108" fmla="*/ 3343276 h 3343276"/>
                    <a:gd name="connsiteX109" fmla="*/ 263590 w 1860550"/>
                    <a:gd name="connsiteY109" fmla="*/ 3342374 h 3343276"/>
                    <a:gd name="connsiteX110" fmla="*/ 164435 w 1860550"/>
                    <a:gd name="connsiteY110" fmla="*/ 3321952 h 3343276"/>
                    <a:gd name="connsiteX111" fmla="*/ 0 w 1860550"/>
                    <a:gd name="connsiteY111" fmla="*/ 3072774 h 3343276"/>
                    <a:gd name="connsiteX112" fmla="*/ 0 w 1860550"/>
                    <a:gd name="connsiteY112" fmla="*/ 3072475 h 3343276"/>
                    <a:gd name="connsiteX113" fmla="*/ 0 w 1860550"/>
                    <a:gd name="connsiteY113" fmla="*/ 2956977 h 3343276"/>
                    <a:gd name="connsiteX114" fmla="*/ 0 w 1860550"/>
                    <a:gd name="connsiteY114" fmla="*/ 2870182 h 3343276"/>
                    <a:gd name="connsiteX115" fmla="*/ 0 w 1860550"/>
                    <a:gd name="connsiteY115" fmla="*/ 2807991 h 3343276"/>
                    <a:gd name="connsiteX116" fmla="*/ 0 w 1860550"/>
                    <a:gd name="connsiteY116" fmla="*/ 2787491 h 3343276"/>
                    <a:gd name="connsiteX117" fmla="*/ 0 w 1860550"/>
                    <a:gd name="connsiteY117" fmla="*/ 2766302 h 3343276"/>
                    <a:gd name="connsiteX118" fmla="*/ 0 w 1860550"/>
                    <a:gd name="connsiteY118" fmla="*/ 2741016 h 3343276"/>
                    <a:gd name="connsiteX119" fmla="*/ 0 w 1860550"/>
                    <a:gd name="connsiteY119" fmla="*/ 2728031 h 3343276"/>
                    <a:gd name="connsiteX120" fmla="*/ 0 w 1860550"/>
                    <a:gd name="connsiteY120" fmla="*/ 2722563 h 3343276"/>
                    <a:gd name="connsiteX121" fmla="*/ 0 w 1860550"/>
                    <a:gd name="connsiteY121" fmla="*/ 2522258 h 3343276"/>
                    <a:gd name="connsiteX122" fmla="*/ 0 w 1860550"/>
                    <a:gd name="connsiteY122" fmla="*/ 505164 h 3343276"/>
                    <a:gd name="connsiteX123" fmla="*/ 0 w 1860550"/>
                    <a:gd name="connsiteY123" fmla="*/ 461963 h 3343276"/>
                    <a:gd name="connsiteX124" fmla="*/ 0 w 1860550"/>
                    <a:gd name="connsiteY124" fmla="*/ 418277 h 3343276"/>
                    <a:gd name="connsiteX125" fmla="*/ 0 w 1860550"/>
                    <a:gd name="connsiteY125" fmla="*/ 398763 h 3343276"/>
                    <a:gd name="connsiteX126" fmla="*/ 0 w 1860550"/>
                    <a:gd name="connsiteY126" fmla="*/ 356020 h 3343276"/>
                    <a:gd name="connsiteX127" fmla="*/ 0 w 1860550"/>
                    <a:gd name="connsiteY127" fmla="*/ 351269 h 3343276"/>
                    <a:gd name="connsiteX128" fmla="*/ 0 w 1860550"/>
                    <a:gd name="connsiteY128" fmla="*/ 314287 h 3343276"/>
                    <a:gd name="connsiteX129" fmla="*/ 0 w 1860550"/>
                    <a:gd name="connsiteY129" fmla="*/ 294426 h 3343276"/>
                    <a:gd name="connsiteX130" fmla="*/ 0 w 1860550"/>
                    <a:gd name="connsiteY130" fmla="*/ 288973 h 3343276"/>
                    <a:gd name="connsiteX131" fmla="*/ 0 w 1860550"/>
                    <a:gd name="connsiteY131" fmla="*/ 275975 h 3343276"/>
                    <a:gd name="connsiteX132" fmla="*/ 0 w 1860550"/>
                    <a:gd name="connsiteY132" fmla="*/ 273484 h 3343276"/>
                    <a:gd name="connsiteX133" fmla="*/ 0 w 1860550"/>
                    <a:gd name="connsiteY133" fmla="*/ 270501 h 3343276"/>
                    <a:gd name="connsiteX134" fmla="*/ 0 w 1860550"/>
                    <a:gd name="connsiteY134" fmla="*/ 270492 h 3343276"/>
                    <a:gd name="connsiteX135" fmla="*/ 267968 w 1860550"/>
                    <a:gd name="connsiteY135" fmla="*/ 0 h 33432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Lst>
                  <a:rect l="l" t="t" r="r" b="b"/>
                  <a:pathLst>
                    <a:path w="1860550" h="3343276">
                      <a:moveTo>
                        <a:pt x="930274" y="2997199"/>
                      </a:moveTo>
                      <a:cubicBezTo>
                        <a:pt x="912739" y="2997199"/>
                        <a:pt x="898524" y="3012125"/>
                        <a:pt x="898524" y="3030537"/>
                      </a:cubicBezTo>
                      <a:cubicBezTo>
                        <a:pt x="898524" y="3048949"/>
                        <a:pt x="912739" y="3063875"/>
                        <a:pt x="930274" y="3063875"/>
                      </a:cubicBezTo>
                      <a:cubicBezTo>
                        <a:pt x="947809" y="3063875"/>
                        <a:pt x="962024" y="3048949"/>
                        <a:pt x="962024" y="3030537"/>
                      </a:cubicBezTo>
                      <a:cubicBezTo>
                        <a:pt x="962024" y="3012125"/>
                        <a:pt x="947809" y="2997199"/>
                        <a:pt x="930274" y="2997199"/>
                      </a:cubicBezTo>
                      <a:close/>
                      <a:moveTo>
                        <a:pt x="930275" y="2874962"/>
                      </a:moveTo>
                      <a:cubicBezTo>
                        <a:pt x="1015320" y="2874962"/>
                        <a:pt x="1084263" y="2944260"/>
                        <a:pt x="1084263" y="3029744"/>
                      </a:cubicBezTo>
                      <a:cubicBezTo>
                        <a:pt x="1084263" y="3115228"/>
                        <a:pt x="1015320" y="3184526"/>
                        <a:pt x="930275" y="3184526"/>
                      </a:cubicBezTo>
                      <a:cubicBezTo>
                        <a:pt x="845230" y="3184526"/>
                        <a:pt x="776287" y="3115228"/>
                        <a:pt x="776287" y="3029744"/>
                      </a:cubicBezTo>
                      <a:cubicBezTo>
                        <a:pt x="776287" y="2944260"/>
                        <a:pt x="845230" y="2874962"/>
                        <a:pt x="930275" y="2874962"/>
                      </a:cubicBezTo>
                      <a:close/>
                      <a:moveTo>
                        <a:pt x="122238" y="2844800"/>
                      </a:moveTo>
                      <a:lnTo>
                        <a:pt x="122238" y="2858922"/>
                      </a:lnTo>
                      <a:lnTo>
                        <a:pt x="122238" y="2919914"/>
                      </a:lnTo>
                      <a:lnTo>
                        <a:pt x="122238" y="2937881"/>
                      </a:lnTo>
                      <a:lnTo>
                        <a:pt x="122238" y="2976361"/>
                      </a:lnTo>
                      <a:lnTo>
                        <a:pt x="122238" y="2994458"/>
                      </a:lnTo>
                      <a:lnTo>
                        <a:pt x="122238" y="3016807"/>
                      </a:lnTo>
                      <a:lnTo>
                        <a:pt x="122238" y="3032384"/>
                      </a:lnTo>
                      <a:lnTo>
                        <a:pt x="122238" y="3043919"/>
                      </a:lnTo>
                      <a:lnTo>
                        <a:pt x="122238" y="3055388"/>
                      </a:lnTo>
                      <a:cubicBezTo>
                        <a:pt x="122238" y="3060983"/>
                        <a:pt x="122238" y="3064714"/>
                        <a:pt x="122238" y="3067200"/>
                      </a:cubicBezTo>
                      <a:lnTo>
                        <a:pt x="122238" y="3068809"/>
                      </a:lnTo>
                      <a:lnTo>
                        <a:pt x="122238" y="3072174"/>
                      </a:lnTo>
                      <a:cubicBezTo>
                        <a:pt x="122238" y="3154201"/>
                        <a:pt x="189194" y="3221038"/>
                        <a:pt x="268324" y="3221038"/>
                      </a:cubicBezTo>
                      <a:cubicBezTo>
                        <a:pt x="1589184" y="3221038"/>
                        <a:pt x="1589184" y="3221038"/>
                        <a:pt x="1589184" y="3221038"/>
                      </a:cubicBezTo>
                      <a:cubicBezTo>
                        <a:pt x="1671357" y="3221038"/>
                        <a:pt x="1738313" y="3154201"/>
                        <a:pt x="1738313" y="3072174"/>
                      </a:cubicBezTo>
                      <a:lnTo>
                        <a:pt x="1738313" y="2997250"/>
                      </a:lnTo>
                      <a:lnTo>
                        <a:pt x="1738313" y="2940804"/>
                      </a:lnTo>
                      <a:lnTo>
                        <a:pt x="1738313" y="2900358"/>
                      </a:lnTo>
                      <a:lnTo>
                        <a:pt x="1738313" y="2873246"/>
                      </a:lnTo>
                      <a:lnTo>
                        <a:pt x="1738313" y="2848356"/>
                      </a:lnTo>
                      <a:lnTo>
                        <a:pt x="1738313" y="2844800"/>
                      </a:lnTo>
                      <a:close/>
                      <a:moveTo>
                        <a:pt x="122238" y="461963"/>
                      </a:moveTo>
                      <a:lnTo>
                        <a:pt x="122238" y="525582"/>
                      </a:lnTo>
                      <a:cubicBezTo>
                        <a:pt x="122238" y="1639716"/>
                        <a:pt x="122238" y="2266416"/>
                        <a:pt x="122238" y="2618936"/>
                      </a:cubicBezTo>
                      <a:lnTo>
                        <a:pt x="122238" y="2722563"/>
                      </a:lnTo>
                      <a:lnTo>
                        <a:pt x="169032" y="2722563"/>
                      </a:lnTo>
                      <a:cubicBezTo>
                        <a:pt x="1096639" y="2722563"/>
                        <a:pt x="1515558" y="2722563"/>
                        <a:pt x="1704747" y="2722563"/>
                      </a:cubicBezTo>
                      <a:lnTo>
                        <a:pt x="1738313" y="2722563"/>
                      </a:lnTo>
                      <a:lnTo>
                        <a:pt x="1738313" y="2521894"/>
                      </a:lnTo>
                      <a:cubicBezTo>
                        <a:pt x="1738313" y="1330298"/>
                        <a:pt x="1738313" y="769547"/>
                        <a:pt x="1738313" y="505665"/>
                      </a:cubicBezTo>
                      <a:lnTo>
                        <a:pt x="1738313" y="461963"/>
                      </a:lnTo>
                      <a:lnTo>
                        <a:pt x="1691518" y="461963"/>
                      </a:lnTo>
                      <a:cubicBezTo>
                        <a:pt x="763911" y="461963"/>
                        <a:pt x="344992" y="461963"/>
                        <a:pt x="155803" y="461963"/>
                      </a:cubicBezTo>
                      <a:close/>
                      <a:moveTo>
                        <a:pt x="721442" y="169863"/>
                      </a:moveTo>
                      <a:cubicBezTo>
                        <a:pt x="1072433" y="169863"/>
                        <a:pt x="1072433" y="169863"/>
                        <a:pt x="1072433" y="169863"/>
                      </a:cubicBezTo>
                      <a:cubicBezTo>
                        <a:pt x="1106006" y="169863"/>
                        <a:pt x="1133475" y="197367"/>
                        <a:pt x="1133475" y="230982"/>
                      </a:cubicBezTo>
                      <a:cubicBezTo>
                        <a:pt x="1133475" y="264598"/>
                        <a:pt x="1106006" y="292101"/>
                        <a:pt x="1072433" y="292101"/>
                      </a:cubicBezTo>
                      <a:cubicBezTo>
                        <a:pt x="721442" y="292101"/>
                        <a:pt x="721442" y="292101"/>
                        <a:pt x="721442" y="292101"/>
                      </a:cubicBezTo>
                      <a:cubicBezTo>
                        <a:pt x="687869" y="292101"/>
                        <a:pt x="660400" y="264598"/>
                        <a:pt x="660400" y="230982"/>
                      </a:cubicBezTo>
                      <a:cubicBezTo>
                        <a:pt x="660400" y="197367"/>
                        <a:pt x="687869" y="169863"/>
                        <a:pt x="721442" y="169863"/>
                      </a:cubicBezTo>
                      <a:close/>
                      <a:moveTo>
                        <a:pt x="1281907" y="149225"/>
                      </a:moveTo>
                      <a:cubicBezTo>
                        <a:pt x="1327060" y="149225"/>
                        <a:pt x="1363664" y="185118"/>
                        <a:pt x="1363664" y="229394"/>
                      </a:cubicBezTo>
                      <a:cubicBezTo>
                        <a:pt x="1363664" y="273670"/>
                        <a:pt x="1327060" y="309563"/>
                        <a:pt x="1281907" y="309563"/>
                      </a:cubicBezTo>
                      <a:cubicBezTo>
                        <a:pt x="1236754" y="309563"/>
                        <a:pt x="1200150" y="273670"/>
                        <a:pt x="1200150" y="229394"/>
                      </a:cubicBezTo>
                      <a:cubicBezTo>
                        <a:pt x="1200150" y="185118"/>
                        <a:pt x="1236754" y="149225"/>
                        <a:pt x="1281907" y="149225"/>
                      </a:cubicBezTo>
                      <a:close/>
                      <a:moveTo>
                        <a:pt x="268324" y="122238"/>
                      </a:moveTo>
                      <a:cubicBezTo>
                        <a:pt x="189194" y="122238"/>
                        <a:pt x="122238" y="189178"/>
                        <a:pt x="122238" y="271331"/>
                      </a:cubicBezTo>
                      <a:lnTo>
                        <a:pt x="122238" y="341313"/>
                      </a:lnTo>
                      <a:cubicBezTo>
                        <a:pt x="1738313" y="341313"/>
                        <a:pt x="1738313" y="341313"/>
                        <a:pt x="1738313" y="341313"/>
                      </a:cubicBezTo>
                      <a:lnTo>
                        <a:pt x="1738313" y="314869"/>
                      </a:lnTo>
                      <a:lnTo>
                        <a:pt x="1738313" y="300855"/>
                      </a:lnTo>
                      <a:lnTo>
                        <a:pt x="1738313" y="289566"/>
                      </a:lnTo>
                      <a:lnTo>
                        <a:pt x="1738313" y="280079"/>
                      </a:lnTo>
                      <a:lnTo>
                        <a:pt x="1738313" y="276573"/>
                      </a:lnTo>
                      <a:lnTo>
                        <a:pt x="1738313" y="271331"/>
                      </a:lnTo>
                      <a:cubicBezTo>
                        <a:pt x="1738313" y="189178"/>
                        <a:pt x="1671357" y="122238"/>
                        <a:pt x="1589184" y="122238"/>
                      </a:cubicBezTo>
                      <a:lnTo>
                        <a:pt x="1469183" y="122238"/>
                      </a:lnTo>
                      <a:lnTo>
                        <a:pt x="1356679" y="122238"/>
                      </a:lnTo>
                      <a:lnTo>
                        <a:pt x="1153197" y="122238"/>
                      </a:lnTo>
                      <a:lnTo>
                        <a:pt x="976803" y="122238"/>
                      </a:lnTo>
                      <a:lnTo>
                        <a:pt x="825562" y="122238"/>
                      </a:lnTo>
                      <a:lnTo>
                        <a:pt x="697539" y="122238"/>
                      </a:lnTo>
                      <a:lnTo>
                        <a:pt x="590799" y="122238"/>
                      </a:lnTo>
                      <a:lnTo>
                        <a:pt x="503408" y="122238"/>
                      </a:lnTo>
                      <a:lnTo>
                        <a:pt x="433431" y="122238"/>
                      </a:lnTo>
                      <a:lnTo>
                        <a:pt x="378933" y="122238"/>
                      </a:lnTo>
                      <a:lnTo>
                        <a:pt x="337979" y="122238"/>
                      </a:lnTo>
                      <a:lnTo>
                        <a:pt x="308633" y="122238"/>
                      </a:lnTo>
                      <a:lnTo>
                        <a:pt x="288962" y="122238"/>
                      </a:lnTo>
                      <a:lnTo>
                        <a:pt x="277031" y="122238"/>
                      </a:lnTo>
                      <a:lnTo>
                        <a:pt x="270904" y="122238"/>
                      </a:lnTo>
                      <a:close/>
                      <a:moveTo>
                        <a:pt x="267968" y="0"/>
                      </a:moveTo>
                      <a:cubicBezTo>
                        <a:pt x="1589537" y="0"/>
                        <a:pt x="1589537" y="0"/>
                        <a:pt x="1589537" y="0"/>
                      </a:cubicBezTo>
                      <a:cubicBezTo>
                        <a:pt x="1738747" y="0"/>
                        <a:pt x="1860550" y="121569"/>
                        <a:pt x="1860550" y="270492"/>
                      </a:cubicBezTo>
                      <a:lnTo>
                        <a:pt x="1860550" y="270501"/>
                      </a:lnTo>
                      <a:lnTo>
                        <a:pt x="1860550" y="461963"/>
                      </a:lnTo>
                      <a:lnTo>
                        <a:pt x="1860550" y="525090"/>
                      </a:lnTo>
                      <a:cubicBezTo>
                        <a:pt x="1860550" y="1639702"/>
                        <a:pt x="1860550" y="2266671"/>
                        <a:pt x="1860550" y="2619341"/>
                      </a:cubicBezTo>
                      <a:lnTo>
                        <a:pt x="1860550" y="2722563"/>
                      </a:lnTo>
                      <a:lnTo>
                        <a:pt x="1860550" y="2754314"/>
                      </a:lnTo>
                      <a:lnTo>
                        <a:pt x="1860550" y="2838062"/>
                      </a:lnTo>
                      <a:lnTo>
                        <a:pt x="1860550" y="2859431"/>
                      </a:lnTo>
                      <a:lnTo>
                        <a:pt x="1860550" y="2924856"/>
                      </a:lnTo>
                      <a:lnTo>
                        <a:pt x="1860550" y="2938424"/>
                      </a:lnTo>
                      <a:lnTo>
                        <a:pt x="1860550" y="2987047"/>
                      </a:lnTo>
                      <a:lnTo>
                        <a:pt x="1860550" y="2995025"/>
                      </a:lnTo>
                      <a:lnTo>
                        <a:pt x="1860550" y="3028736"/>
                      </a:lnTo>
                      <a:lnTo>
                        <a:pt x="1860550" y="3032967"/>
                      </a:lnTo>
                      <a:lnTo>
                        <a:pt x="1860550" y="3054023"/>
                      </a:lnTo>
                      <a:lnTo>
                        <a:pt x="1860550" y="3055980"/>
                      </a:lnTo>
                      <a:lnTo>
                        <a:pt x="1860550" y="3067008"/>
                      </a:lnTo>
                      <a:lnTo>
                        <a:pt x="1860550" y="3067798"/>
                      </a:lnTo>
                      <a:lnTo>
                        <a:pt x="1860550" y="3072475"/>
                      </a:lnTo>
                      <a:lnTo>
                        <a:pt x="1860550" y="3072774"/>
                      </a:lnTo>
                      <a:cubicBezTo>
                        <a:pt x="1860550" y="3184470"/>
                        <a:pt x="1792036" y="3280779"/>
                        <a:pt x="1694831" y="3321952"/>
                      </a:cubicBezTo>
                      <a:lnTo>
                        <a:pt x="1593989" y="3342374"/>
                      </a:lnTo>
                      <a:lnTo>
                        <a:pt x="1589537" y="3343276"/>
                      </a:lnTo>
                      <a:cubicBezTo>
                        <a:pt x="267968" y="3343276"/>
                        <a:pt x="267968" y="3343276"/>
                        <a:pt x="267968" y="3343276"/>
                      </a:cubicBezTo>
                      <a:lnTo>
                        <a:pt x="263590" y="3342374"/>
                      </a:lnTo>
                      <a:lnTo>
                        <a:pt x="164435" y="3321952"/>
                      </a:lnTo>
                      <a:cubicBezTo>
                        <a:pt x="68515" y="3280779"/>
                        <a:pt x="0" y="3184470"/>
                        <a:pt x="0" y="3072774"/>
                      </a:cubicBezTo>
                      <a:lnTo>
                        <a:pt x="0" y="3072475"/>
                      </a:lnTo>
                      <a:lnTo>
                        <a:pt x="0" y="2956977"/>
                      </a:lnTo>
                      <a:lnTo>
                        <a:pt x="0" y="2870182"/>
                      </a:lnTo>
                      <a:lnTo>
                        <a:pt x="0" y="2807991"/>
                      </a:lnTo>
                      <a:lnTo>
                        <a:pt x="0" y="2787491"/>
                      </a:lnTo>
                      <a:lnTo>
                        <a:pt x="0" y="2766302"/>
                      </a:lnTo>
                      <a:lnTo>
                        <a:pt x="0" y="2741016"/>
                      </a:lnTo>
                      <a:lnTo>
                        <a:pt x="0" y="2728031"/>
                      </a:lnTo>
                      <a:lnTo>
                        <a:pt x="0" y="2722563"/>
                      </a:lnTo>
                      <a:lnTo>
                        <a:pt x="0" y="2522258"/>
                      </a:lnTo>
                      <a:cubicBezTo>
                        <a:pt x="0" y="1330151"/>
                        <a:pt x="0" y="769160"/>
                        <a:pt x="0" y="505164"/>
                      </a:cubicBezTo>
                      <a:lnTo>
                        <a:pt x="0" y="461963"/>
                      </a:lnTo>
                      <a:lnTo>
                        <a:pt x="0" y="418277"/>
                      </a:lnTo>
                      <a:lnTo>
                        <a:pt x="0" y="398763"/>
                      </a:lnTo>
                      <a:lnTo>
                        <a:pt x="0" y="356020"/>
                      </a:lnTo>
                      <a:lnTo>
                        <a:pt x="0" y="351269"/>
                      </a:lnTo>
                      <a:lnTo>
                        <a:pt x="0" y="314287"/>
                      </a:lnTo>
                      <a:lnTo>
                        <a:pt x="0" y="294426"/>
                      </a:lnTo>
                      <a:lnTo>
                        <a:pt x="0" y="288973"/>
                      </a:lnTo>
                      <a:cubicBezTo>
                        <a:pt x="0" y="282816"/>
                        <a:pt x="0" y="278711"/>
                        <a:pt x="0" y="275975"/>
                      </a:cubicBezTo>
                      <a:lnTo>
                        <a:pt x="0" y="273484"/>
                      </a:lnTo>
                      <a:lnTo>
                        <a:pt x="0" y="270501"/>
                      </a:lnTo>
                      <a:lnTo>
                        <a:pt x="0" y="270492"/>
                      </a:lnTo>
                      <a:cubicBezTo>
                        <a:pt x="0" y="121569"/>
                        <a:pt x="121804" y="0"/>
                        <a:pt x="267968" y="0"/>
                      </a:cubicBezTo>
                      <a:close/>
                    </a:path>
                  </a:pathLst>
                </a:custGeom>
                <a:solidFill>
                  <a:srgbClr val="0078D7"/>
                </a:solidFill>
                <a:ln>
                  <a:noFill/>
                </a:ln>
              </p:spPr>
              <p:txBody>
                <a:bodyPr vert="horz" wrap="square" lIns="91440" tIns="45720" rIns="91440" bIns="45720" numCol="1" anchor="t" anchorCtr="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145" name="Freeform 20"/>
                <p:cNvSpPr/>
                <p:nvPr/>
              </p:nvSpPr>
              <p:spPr bwMode="auto">
                <a:xfrm>
                  <a:off x="10884687" y="4165112"/>
                  <a:ext cx="248428" cy="140196"/>
                </a:xfrm>
                <a:custGeom>
                  <a:avLst/>
                  <a:gdLst>
                    <a:gd name="connsiteX0" fmla="*/ 5333671 w 7645936"/>
                    <a:gd name="connsiteY0" fmla="*/ 2643510 h 4314825"/>
                    <a:gd name="connsiteX1" fmla="*/ 5193195 w 7645936"/>
                    <a:gd name="connsiteY1" fmla="*/ 2783986 h 4314825"/>
                    <a:gd name="connsiteX2" fmla="*/ 5193195 w 7645936"/>
                    <a:gd name="connsiteY2" fmla="*/ 3723500 h 4314825"/>
                    <a:gd name="connsiteX3" fmla="*/ 5333671 w 7645936"/>
                    <a:gd name="connsiteY3" fmla="*/ 3863976 h 4314825"/>
                    <a:gd name="connsiteX4" fmla="*/ 5421017 w 7645936"/>
                    <a:gd name="connsiteY4" fmla="*/ 3863976 h 4314825"/>
                    <a:gd name="connsiteX5" fmla="*/ 5561493 w 7645936"/>
                    <a:gd name="connsiteY5" fmla="*/ 3723500 h 4314825"/>
                    <a:gd name="connsiteX6" fmla="*/ 5561493 w 7645936"/>
                    <a:gd name="connsiteY6" fmla="*/ 2783986 h 4314825"/>
                    <a:gd name="connsiteX7" fmla="*/ 5421017 w 7645936"/>
                    <a:gd name="connsiteY7" fmla="*/ 2643510 h 4314825"/>
                    <a:gd name="connsiteX8" fmla="*/ 4527329 w 7645936"/>
                    <a:gd name="connsiteY8" fmla="*/ 2643510 h 4314825"/>
                    <a:gd name="connsiteX9" fmla="*/ 4386853 w 7645936"/>
                    <a:gd name="connsiteY9" fmla="*/ 2783986 h 4314825"/>
                    <a:gd name="connsiteX10" fmla="*/ 4386853 w 7645936"/>
                    <a:gd name="connsiteY10" fmla="*/ 3723500 h 4314825"/>
                    <a:gd name="connsiteX11" fmla="*/ 4527329 w 7645936"/>
                    <a:gd name="connsiteY11" fmla="*/ 3863976 h 4314825"/>
                    <a:gd name="connsiteX12" fmla="*/ 4614675 w 7645936"/>
                    <a:gd name="connsiteY12" fmla="*/ 3863976 h 4314825"/>
                    <a:gd name="connsiteX13" fmla="*/ 4755151 w 7645936"/>
                    <a:gd name="connsiteY13" fmla="*/ 3723500 h 4314825"/>
                    <a:gd name="connsiteX14" fmla="*/ 4755151 w 7645936"/>
                    <a:gd name="connsiteY14" fmla="*/ 2783986 h 4314825"/>
                    <a:gd name="connsiteX15" fmla="*/ 4614675 w 7645936"/>
                    <a:gd name="connsiteY15" fmla="*/ 2643510 h 4314825"/>
                    <a:gd name="connsiteX16" fmla="*/ 3720987 w 7645936"/>
                    <a:gd name="connsiteY16" fmla="*/ 2643510 h 4314825"/>
                    <a:gd name="connsiteX17" fmla="*/ 3580511 w 7645936"/>
                    <a:gd name="connsiteY17" fmla="*/ 2783986 h 4314825"/>
                    <a:gd name="connsiteX18" fmla="*/ 3580511 w 7645936"/>
                    <a:gd name="connsiteY18" fmla="*/ 3723500 h 4314825"/>
                    <a:gd name="connsiteX19" fmla="*/ 3720987 w 7645936"/>
                    <a:gd name="connsiteY19" fmla="*/ 3863976 h 4314825"/>
                    <a:gd name="connsiteX20" fmla="*/ 3808333 w 7645936"/>
                    <a:gd name="connsiteY20" fmla="*/ 3863976 h 4314825"/>
                    <a:gd name="connsiteX21" fmla="*/ 3948809 w 7645936"/>
                    <a:gd name="connsiteY21" fmla="*/ 3723500 h 4314825"/>
                    <a:gd name="connsiteX22" fmla="*/ 3948809 w 7645936"/>
                    <a:gd name="connsiteY22" fmla="*/ 2783986 h 4314825"/>
                    <a:gd name="connsiteX23" fmla="*/ 3808333 w 7645936"/>
                    <a:gd name="connsiteY23" fmla="*/ 2643510 h 4314825"/>
                    <a:gd name="connsiteX24" fmla="*/ 2914644 w 7645936"/>
                    <a:gd name="connsiteY24" fmla="*/ 2643510 h 4314825"/>
                    <a:gd name="connsiteX25" fmla="*/ 2774168 w 7645936"/>
                    <a:gd name="connsiteY25" fmla="*/ 2783986 h 4314825"/>
                    <a:gd name="connsiteX26" fmla="*/ 2774168 w 7645936"/>
                    <a:gd name="connsiteY26" fmla="*/ 3723500 h 4314825"/>
                    <a:gd name="connsiteX27" fmla="*/ 2914644 w 7645936"/>
                    <a:gd name="connsiteY27" fmla="*/ 3863976 h 4314825"/>
                    <a:gd name="connsiteX28" fmla="*/ 3001990 w 7645936"/>
                    <a:gd name="connsiteY28" fmla="*/ 3863976 h 4314825"/>
                    <a:gd name="connsiteX29" fmla="*/ 3142466 w 7645936"/>
                    <a:gd name="connsiteY29" fmla="*/ 3723500 h 4314825"/>
                    <a:gd name="connsiteX30" fmla="*/ 3142466 w 7645936"/>
                    <a:gd name="connsiteY30" fmla="*/ 2783986 h 4314825"/>
                    <a:gd name="connsiteX31" fmla="*/ 3001990 w 7645936"/>
                    <a:gd name="connsiteY31" fmla="*/ 2643510 h 4314825"/>
                    <a:gd name="connsiteX32" fmla="*/ 2108301 w 7645936"/>
                    <a:gd name="connsiteY32" fmla="*/ 2643510 h 4314825"/>
                    <a:gd name="connsiteX33" fmla="*/ 1967825 w 7645936"/>
                    <a:gd name="connsiteY33" fmla="*/ 2783986 h 4314825"/>
                    <a:gd name="connsiteX34" fmla="*/ 1967825 w 7645936"/>
                    <a:gd name="connsiteY34" fmla="*/ 3723500 h 4314825"/>
                    <a:gd name="connsiteX35" fmla="*/ 2108301 w 7645936"/>
                    <a:gd name="connsiteY35" fmla="*/ 3863976 h 4314825"/>
                    <a:gd name="connsiteX36" fmla="*/ 2195647 w 7645936"/>
                    <a:gd name="connsiteY36" fmla="*/ 3863976 h 4314825"/>
                    <a:gd name="connsiteX37" fmla="*/ 2336123 w 7645936"/>
                    <a:gd name="connsiteY37" fmla="*/ 3723500 h 4314825"/>
                    <a:gd name="connsiteX38" fmla="*/ 2336123 w 7645936"/>
                    <a:gd name="connsiteY38" fmla="*/ 2783986 h 4314825"/>
                    <a:gd name="connsiteX39" fmla="*/ 2195647 w 7645936"/>
                    <a:gd name="connsiteY39" fmla="*/ 2643510 h 4314825"/>
                    <a:gd name="connsiteX40" fmla="*/ 5312536 w 7645936"/>
                    <a:gd name="connsiteY40" fmla="*/ 2564132 h 4314825"/>
                    <a:gd name="connsiteX41" fmla="*/ 5442152 w 7645936"/>
                    <a:gd name="connsiteY41" fmla="*/ 2564132 h 4314825"/>
                    <a:gd name="connsiteX42" fmla="*/ 5650609 w 7645936"/>
                    <a:gd name="connsiteY42" fmla="*/ 2772589 h 4314825"/>
                    <a:gd name="connsiteX43" fmla="*/ 5650609 w 7645936"/>
                    <a:gd name="connsiteY43" fmla="*/ 3734896 h 4314825"/>
                    <a:gd name="connsiteX44" fmla="*/ 5442152 w 7645936"/>
                    <a:gd name="connsiteY44" fmla="*/ 3943353 h 4314825"/>
                    <a:gd name="connsiteX45" fmla="*/ 5312536 w 7645936"/>
                    <a:gd name="connsiteY45" fmla="*/ 3943353 h 4314825"/>
                    <a:gd name="connsiteX46" fmla="*/ 5104079 w 7645936"/>
                    <a:gd name="connsiteY46" fmla="*/ 3734896 h 4314825"/>
                    <a:gd name="connsiteX47" fmla="*/ 5104079 w 7645936"/>
                    <a:gd name="connsiteY47" fmla="*/ 2772589 h 4314825"/>
                    <a:gd name="connsiteX48" fmla="*/ 5312536 w 7645936"/>
                    <a:gd name="connsiteY48" fmla="*/ 2564132 h 4314825"/>
                    <a:gd name="connsiteX49" fmla="*/ 4506194 w 7645936"/>
                    <a:gd name="connsiteY49" fmla="*/ 2564132 h 4314825"/>
                    <a:gd name="connsiteX50" fmla="*/ 4635810 w 7645936"/>
                    <a:gd name="connsiteY50" fmla="*/ 2564132 h 4314825"/>
                    <a:gd name="connsiteX51" fmla="*/ 4844267 w 7645936"/>
                    <a:gd name="connsiteY51" fmla="*/ 2772589 h 4314825"/>
                    <a:gd name="connsiteX52" fmla="*/ 4844267 w 7645936"/>
                    <a:gd name="connsiteY52" fmla="*/ 3734896 h 4314825"/>
                    <a:gd name="connsiteX53" fmla="*/ 4635810 w 7645936"/>
                    <a:gd name="connsiteY53" fmla="*/ 3943353 h 4314825"/>
                    <a:gd name="connsiteX54" fmla="*/ 4506194 w 7645936"/>
                    <a:gd name="connsiteY54" fmla="*/ 3943353 h 4314825"/>
                    <a:gd name="connsiteX55" fmla="*/ 4297737 w 7645936"/>
                    <a:gd name="connsiteY55" fmla="*/ 3734896 h 4314825"/>
                    <a:gd name="connsiteX56" fmla="*/ 4297737 w 7645936"/>
                    <a:gd name="connsiteY56" fmla="*/ 2772589 h 4314825"/>
                    <a:gd name="connsiteX57" fmla="*/ 4506194 w 7645936"/>
                    <a:gd name="connsiteY57" fmla="*/ 2564132 h 4314825"/>
                    <a:gd name="connsiteX58" fmla="*/ 3699852 w 7645936"/>
                    <a:gd name="connsiteY58" fmla="*/ 2564132 h 4314825"/>
                    <a:gd name="connsiteX59" fmla="*/ 3829468 w 7645936"/>
                    <a:gd name="connsiteY59" fmla="*/ 2564132 h 4314825"/>
                    <a:gd name="connsiteX60" fmla="*/ 4037925 w 7645936"/>
                    <a:gd name="connsiteY60" fmla="*/ 2772589 h 4314825"/>
                    <a:gd name="connsiteX61" fmla="*/ 4037925 w 7645936"/>
                    <a:gd name="connsiteY61" fmla="*/ 3734896 h 4314825"/>
                    <a:gd name="connsiteX62" fmla="*/ 3829468 w 7645936"/>
                    <a:gd name="connsiteY62" fmla="*/ 3943353 h 4314825"/>
                    <a:gd name="connsiteX63" fmla="*/ 3699852 w 7645936"/>
                    <a:gd name="connsiteY63" fmla="*/ 3943353 h 4314825"/>
                    <a:gd name="connsiteX64" fmla="*/ 3491395 w 7645936"/>
                    <a:gd name="connsiteY64" fmla="*/ 3734896 h 4314825"/>
                    <a:gd name="connsiteX65" fmla="*/ 3491395 w 7645936"/>
                    <a:gd name="connsiteY65" fmla="*/ 2772589 h 4314825"/>
                    <a:gd name="connsiteX66" fmla="*/ 3699852 w 7645936"/>
                    <a:gd name="connsiteY66" fmla="*/ 2564132 h 4314825"/>
                    <a:gd name="connsiteX67" fmla="*/ 2893509 w 7645936"/>
                    <a:gd name="connsiteY67" fmla="*/ 2564132 h 4314825"/>
                    <a:gd name="connsiteX68" fmla="*/ 3023125 w 7645936"/>
                    <a:gd name="connsiteY68" fmla="*/ 2564132 h 4314825"/>
                    <a:gd name="connsiteX69" fmla="*/ 3231582 w 7645936"/>
                    <a:gd name="connsiteY69" fmla="*/ 2772589 h 4314825"/>
                    <a:gd name="connsiteX70" fmla="*/ 3231582 w 7645936"/>
                    <a:gd name="connsiteY70" fmla="*/ 3734896 h 4314825"/>
                    <a:gd name="connsiteX71" fmla="*/ 3023125 w 7645936"/>
                    <a:gd name="connsiteY71" fmla="*/ 3943353 h 4314825"/>
                    <a:gd name="connsiteX72" fmla="*/ 2893509 w 7645936"/>
                    <a:gd name="connsiteY72" fmla="*/ 3943353 h 4314825"/>
                    <a:gd name="connsiteX73" fmla="*/ 2685052 w 7645936"/>
                    <a:gd name="connsiteY73" fmla="*/ 3734896 h 4314825"/>
                    <a:gd name="connsiteX74" fmla="*/ 2685052 w 7645936"/>
                    <a:gd name="connsiteY74" fmla="*/ 2772589 h 4314825"/>
                    <a:gd name="connsiteX75" fmla="*/ 2893509 w 7645936"/>
                    <a:gd name="connsiteY75" fmla="*/ 2564132 h 4314825"/>
                    <a:gd name="connsiteX76" fmla="*/ 2087166 w 7645936"/>
                    <a:gd name="connsiteY76" fmla="*/ 2564132 h 4314825"/>
                    <a:gd name="connsiteX77" fmla="*/ 2216782 w 7645936"/>
                    <a:gd name="connsiteY77" fmla="*/ 2564132 h 4314825"/>
                    <a:gd name="connsiteX78" fmla="*/ 2425239 w 7645936"/>
                    <a:gd name="connsiteY78" fmla="*/ 2772589 h 4314825"/>
                    <a:gd name="connsiteX79" fmla="*/ 2425239 w 7645936"/>
                    <a:gd name="connsiteY79" fmla="*/ 3734896 h 4314825"/>
                    <a:gd name="connsiteX80" fmla="*/ 2216782 w 7645936"/>
                    <a:gd name="connsiteY80" fmla="*/ 3943353 h 4314825"/>
                    <a:gd name="connsiteX81" fmla="*/ 2087166 w 7645936"/>
                    <a:gd name="connsiteY81" fmla="*/ 3943353 h 4314825"/>
                    <a:gd name="connsiteX82" fmla="*/ 1878709 w 7645936"/>
                    <a:gd name="connsiteY82" fmla="*/ 3734896 h 4314825"/>
                    <a:gd name="connsiteX83" fmla="*/ 1878709 w 7645936"/>
                    <a:gd name="connsiteY83" fmla="*/ 2772589 h 4314825"/>
                    <a:gd name="connsiteX84" fmla="*/ 2087166 w 7645936"/>
                    <a:gd name="connsiteY84" fmla="*/ 2564132 h 4314825"/>
                    <a:gd name="connsiteX85" fmla="*/ 5082919 w 7645936"/>
                    <a:gd name="connsiteY85" fmla="*/ 775812 h 4314825"/>
                    <a:gd name="connsiteX86" fmla="*/ 4576665 w 7645936"/>
                    <a:gd name="connsiteY86" fmla="*/ 1282066 h 4314825"/>
                    <a:gd name="connsiteX87" fmla="*/ 5082919 w 7645936"/>
                    <a:gd name="connsiteY87" fmla="*/ 1788320 h 4314825"/>
                    <a:gd name="connsiteX88" fmla="*/ 5589173 w 7645936"/>
                    <a:gd name="connsiteY88" fmla="*/ 1282066 h 4314825"/>
                    <a:gd name="connsiteX89" fmla="*/ 5082919 w 7645936"/>
                    <a:gd name="connsiteY89" fmla="*/ 775812 h 4314825"/>
                    <a:gd name="connsiteX90" fmla="*/ 2408299 w 7645936"/>
                    <a:gd name="connsiteY90" fmla="*/ 775812 h 4314825"/>
                    <a:gd name="connsiteX91" fmla="*/ 1902046 w 7645936"/>
                    <a:gd name="connsiteY91" fmla="*/ 1282066 h 4314825"/>
                    <a:gd name="connsiteX92" fmla="*/ 2408299 w 7645936"/>
                    <a:gd name="connsiteY92" fmla="*/ 1788320 h 4314825"/>
                    <a:gd name="connsiteX93" fmla="*/ 2914553 w 7645936"/>
                    <a:gd name="connsiteY93" fmla="*/ 1282066 h 4314825"/>
                    <a:gd name="connsiteX94" fmla="*/ 2408299 w 7645936"/>
                    <a:gd name="connsiteY94" fmla="*/ 775812 h 4314825"/>
                    <a:gd name="connsiteX95" fmla="*/ 5082919 w 7645936"/>
                    <a:gd name="connsiteY95" fmla="*/ 661036 h 4314825"/>
                    <a:gd name="connsiteX96" fmla="*/ 5703949 w 7645936"/>
                    <a:gd name="connsiteY96" fmla="*/ 1282066 h 4314825"/>
                    <a:gd name="connsiteX97" fmla="*/ 5082919 w 7645936"/>
                    <a:gd name="connsiteY97" fmla="*/ 1903096 h 4314825"/>
                    <a:gd name="connsiteX98" fmla="*/ 4461889 w 7645936"/>
                    <a:gd name="connsiteY98" fmla="*/ 1282066 h 4314825"/>
                    <a:gd name="connsiteX99" fmla="*/ 5082919 w 7645936"/>
                    <a:gd name="connsiteY99" fmla="*/ 661036 h 4314825"/>
                    <a:gd name="connsiteX100" fmla="*/ 2408299 w 7645936"/>
                    <a:gd name="connsiteY100" fmla="*/ 661036 h 4314825"/>
                    <a:gd name="connsiteX101" fmla="*/ 3029329 w 7645936"/>
                    <a:gd name="connsiteY101" fmla="*/ 1282066 h 4314825"/>
                    <a:gd name="connsiteX102" fmla="*/ 2408299 w 7645936"/>
                    <a:gd name="connsiteY102" fmla="*/ 1903096 h 4314825"/>
                    <a:gd name="connsiteX103" fmla="*/ 1787269 w 7645936"/>
                    <a:gd name="connsiteY103" fmla="*/ 1282066 h 4314825"/>
                    <a:gd name="connsiteX104" fmla="*/ 2408299 w 7645936"/>
                    <a:gd name="connsiteY104" fmla="*/ 661036 h 4314825"/>
                    <a:gd name="connsiteX105" fmla="*/ 1164182 w 7645936"/>
                    <a:gd name="connsiteY105" fmla="*/ 126434 h 4314825"/>
                    <a:gd name="connsiteX106" fmla="*/ 1034158 w 7645936"/>
                    <a:gd name="connsiteY106" fmla="*/ 256457 h 4314825"/>
                    <a:gd name="connsiteX107" fmla="*/ 1034158 w 7645936"/>
                    <a:gd name="connsiteY107" fmla="*/ 1603376 h 4314825"/>
                    <a:gd name="connsiteX108" fmla="*/ 879743 w 7645936"/>
                    <a:gd name="connsiteY108" fmla="*/ 1603376 h 4314825"/>
                    <a:gd name="connsiteX109" fmla="*/ 478976 w 7645936"/>
                    <a:gd name="connsiteY109" fmla="*/ 1603376 h 4314825"/>
                    <a:gd name="connsiteX110" fmla="*/ 478976 w 7645936"/>
                    <a:gd name="connsiteY110" fmla="*/ 1286475 h 4314825"/>
                    <a:gd name="connsiteX111" fmla="*/ 89830 w 7645936"/>
                    <a:gd name="connsiteY111" fmla="*/ 1286475 h 4314825"/>
                    <a:gd name="connsiteX112" fmla="*/ 89830 w 7645936"/>
                    <a:gd name="connsiteY112" fmla="*/ 2046729 h 4314825"/>
                    <a:gd name="connsiteX113" fmla="*/ 478976 w 7645936"/>
                    <a:gd name="connsiteY113" fmla="*/ 2046729 h 4314825"/>
                    <a:gd name="connsiteX114" fmla="*/ 478976 w 7645936"/>
                    <a:gd name="connsiteY114" fmla="*/ 1724026 h 4314825"/>
                    <a:gd name="connsiteX115" fmla="*/ 879743 w 7645936"/>
                    <a:gd name="connsiteY115" fmla="*/ 1724026 h 4314825"/>
                    <a:gd name="connsiteX116" fmla="*/ 1034158 w 7645936"/>
                    <a:gd name="connsiteY116" fmla="*/ 1724026 h 4314825"/>
                    <a:gd name="connsiteX117" fmla="*/ 1034158 w 7645936"/>
                    <a:gd name="connsiteY117" fmla="*/ 4058369 h 4314825"/>
                    <a:gd name="connsiteX118" fmla="*/ 1164182 w 7645936"/>
                    <a:gd name="connsiteY118" fmla="*/ 4188392 h 4314825"/>
                    <a:gd name="connsiteX119" fmla="*/ 6481755 w 7645936"/>
                    <a:gd name="connsiteY119" fmla="*/ 4188392 h 4314825"/>
                    <a:gd name="connsiteX120" fmla="*/ 6611778 w 7645936"/>
                    <a:gd name="connsiteY120" fmla="*/ 4058369 h 4314825"/>
                    <a:gd name="connsiteX121" fmla="*/ 6611778 w 7645936"/>
                    <a:gd name="connsiteY121" fmla="*/ 1724026 h 4314825"/>
                    <a:gd name="connsiteX122" fmla="*/ 6766193 w 7645936"/>
                    <a:gd name="connsiteY122" fmla="*/ 1724026 h 4314825"/>
                    <a:gd name="connsiteX123" fmla="*/ 7166960 w 7645936"/>
                    <a:gd name="connsiteY123" fmla="*/ 1724026 h 4314825"/>
                    <a:gd name="connsiteX124" fmla="*/ 7166960 w 7645936"/>
                    <a:gd name="connsiteY124" fmla="*/ 2046729 h 4314825"/>
                    <a:gd name="connsiteX125" fmla="*/ 7556106 w 7645936"/>
                    <a:gd name="connsiteY125" fmla="*/ 2046729 h 4314825"/>
                    <a:gd name="connsiteX126" fmla="*/ 7556106 w 7645936"/>
                    <a:gd name="connsiteY126" fmla="*/ 1286475 h 4314825"/>
                    <a:gd name="connsiteX127" fmla="*/ 7166960 w 7645936"/>
                    <a:gd name="connsiteY127" fmla="*/ 1286475 h 4314825"/>
                    <a:gd name="connsiteX128" fmla="*/ 7166960 w 7645936"/>
                    <a:gd name="connsiteY128" fmla="*/ 1603376 h 4314825"/>
                    <a:gd name="connsiteX129" fmla="*/ 6766193 w 7645936"/>
                    <a:gd name="connsiteY129" fmla="*/ 1603376 h 4314825"/>
                    <a:gd name="connsiteX130" fmla="*/ 6611778 w 7645936"/>
                    <a:gd name="connsiteY130" fmla="*/ 1603376 h 4314825"/>
                    <a:gd name="connsiteX131" fmla="*/ 6611778 w 7645936"/>
                    <a:gd name="connsiteY131" fmla="*/ 256457 h 4314825"/>
                    <a:gd name="connsiteX132" fmla="*/ 6481755 w 7645936"/>
                    <a:gd name="connsiteY132" fmla="*/ 126434 h 4314825"/>
                    <a:gd name="connsiteX133" fmla="*/ 1011518 w 7645936"/>
                    <a:gd name="connsiteY133" fmla="*/ 0 h 4314825"/>
                    <a:gd name="connsiteX134" fmla="*/ 6634418 w 7645936"/>
                    <a:gd name="connsiteY134" fmla="*/ 0 h 4314825"/>
                    <a:gd name="connsiteX135" fmla="*/ 6766193 w 7645936"/>
                    <a:gd name="connsiteY135" fmla="*/ 131775 h 4314825"/>
                    <a:gd name="connsiteX136" fmla="*/ 6766193 w 7645936"/>
                    <a:gd name="connsiteY136" fmla="*/ 1485987 h 4314825"/>
                    <a:gd name="connsiteX137" fmla="*/ 7077129 w 7645936"/>
                    <a:gd name="connsiteY137" fmla="*/ 1485987 h 4314825"/>
                    <a:gd name="connsiteX138" fmla="*/ 7077129 w 7645936"/>
                    <a:gd name="connsiteY138" fmla="*/ 1193887 h 4314825"/>
                    <a:gd name="connsiteX139" fmla="*/ 7645936 w 7645936"/>
                    <a:gd name="connsiteY139" fmla="*/ 1193887 h 4314825"/>
                    <a:gd name="connsiteX140" fmla="*/ 7645936 w 7645936"/>
                    <a:gd name="connsiteY140" fmla="*/ 2139317 h 4314825"/>
                    <a:gd name="connsiteX141" fmla="*/ 7077129 w 7645936"/>
                    <a:gd name="connsiteY141" fmla="*/ 2139317 h 4314825"/>
                    <a:gd name="connsiteX142" fmla="*/ 7077129 w 7645936"/>
                    <a:gd name="connsiteY142" fmla="*/ 1840719 h 4314825"/>
                    <a:gd name="connsiteX143" fmla="*/ 6766193 w 7645936"/>
                    <a:gd name="connsiteY143" fmla="*/ 1840719 h 4314825"/>
                    <a:gd name="connsiteX144" fmla="*/ 6766193 w 7645936"/>
                    <a:gd name="connsiteY144" fmla="*/ 4183050 h 4314825"/>
                    <a:gd name="connsiteX145" fmla="*/ 6634418 w 7645936"/>
                    <a:gd name="connsiteY145" fmla="*/ 4314825 h 4314825"/>
                    <a:gd name="connsiteX146" fmla="*/ 1011518 w 7645936"/>
                    <a:gd name="connsiteY146" fmla="*/ 4314825 h 4314825"/>
                    <a:gd name="connsiteX147" fmla="*/ 879743 w 7645936"/>
                    <a:gd name="connsiteY147" fmla="*/ 4183050 h 4314825"/>
                    <a:gd name="connsiteX148" fmla="*/ 879743 w 7645936"/>
                    <a:gd name="connsiteY148" fmla="*/ 1840719 h 4314825"/>
                    <a:gd name="connsiteX149" fmla="*/ 568807 w 7645936"/>
                    <a:gd name="connsiteY149" fmla="*/ 1840719 h 4314825"/>
                    <a:gd name="connsiteX150" fmla="*/ 568807 w 7645936"/>
                    <a:gd name="connsiteY150" fmla="*/ 2139317 h 4314825"/>
                    <a:gd name="connsiteX151" fmla="*/ 0 w 7645936"/>
                    <a:gd name="connsiteY151" fmla="*/ 2139317 h 4314825"/>
                    <a:gd name="connsiteX152" fmla="*/ 0 w 7645936"/>
                    <a:gd name="connsiteY152" fmla="*/ 1193887 h 4314825"/>
                    <a:gd name="connsiteX153" fmla="*/ 568807 w 7645936"/>
                    <a:gd name="connsiteY153" fmla="*/ 1193887 h 4314825"/>
                    <a:gd name="connsiteX154" fmla="*/ 568807 w 7645936"/>
                    <a:gd name="connsiteY154" fmla="*/ 1485987 h 4314825"/>
                    <a:gd name="connsiteX155" fmla="*/ 879743 w 7645936"/>
                    <a:gd name="connsiteY155" fmla="*/ 1485987 h 4314825"/>
                    <a:gd name="connsiteX156" fmla="*/ 879743 w 7645936"/>
                    <a:gd name="connsiteY156" fmla="*/ 131775 h 4314825"/>
                    <a:gd name="connsiteX157" fmla="*/ 1011518 w 7645936"/>
                    <a:gd name="connsiteY157" fmla="*/ 0 h 4314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Lst>
                  <a:rect l="l" t="t" r="r" b="b"/>
                  <a:pathLst>
                    <a:path w="7645936" h="4314825">
                      <a:moveTo>
                        <a:pt x="5333671" y="2643510"/>
                      </a:moveTo>
                      <a:cubicBezTo>
                        <a:pt x="5256088" y="2643510"/>
                        <a:pt x="5193195" y="2706403"/>
                        <a:pt x="5193195" y="2783986"/>
                      </a:cubicBezTo>
                      <a:lnTo>
                        <a:pt x="5193195" y="3723500"/>
                      </a:lnTo>
                      <a:cubicBezTo>
                        <a:pt x="5193195" y="3801083"/>
                        <a:pt x="5256088" y="3863976"/>
                        <a:pt x="5333671" y="3863976"/>
                      </a:cubicBezTo>
                      <a:lnTo>
                        <a:pt x="5421017" y="3863976"/>
                      </a:lnTo>
                      <a:cubicBezTo>
                        <a:pt x="5498600" y="3863976"/>
                        <a:pt x="5561493" y="3801083"/>
                        <a:pt x="5561493" y="3723500"/>
                      </a:cubicBezTo>
                      <a:lnTo>
                        <a:pt x="5561493" y="2783986"/>
                      </a:lnTo>
                      <a:cubicBezTo>
                        <a:pt x="5561493" y="2706403"/>
                        <a:pt x="5498600" y="2643510"/>
                        <a:pt x="5421017" y="2643510"/>
                      </a:cubicBezTo>
                      <a:close/>
                      <a:moveTo>
                        <a:pt x="4527329" y="2643510"/>
                      </a:moveTo>
                      <a:cubicBezTo>
                        <a:pt x="4449746" y="2643510"/>
                        <a:pt x="4386853" y="2706403"/>
                        <a:pt x="4386853" y="2783986"/>
                      </a:cubicBezTo>
                      <a:lnTo>
                        <a:pt x="4386853" y="3723500"/>
                      </a:lnTo>
                      <a:cubicBezTo>
                        <a:pt x="4386853" y="3801083"/>
                        <a:pt x="4449746" y="3863976"/>
                        <a:pt x="4527329" y="3863976"/>
                      </a:cubicBezTo>
                      <a:lnTo>
                        <a:pt x="4614675" y="3863976"/>
                      </a:lnTo>
                      <a:cubicBezTo>
                        <a:pt x="4692258" y="3863976"/>
                        <a:pt x="4755151" y="3801083"/>
                        <a:pt x="4755151" y="3723500"/>
                      </a:cubicBezTo>
                      <a:lnTo>
                        <a:pt x="4755151" y="2783986"/>
                      </a:lnTo>
                      <a:cubicBezTo>
                        <a:pt x="4755151" y="2706403"/>
                        <a:pt x="4692258" y="2643510"/>
                        <a:pt x="4614675" y="2643510"/>
                      </a:cubicBezTo>
                      <a:close/>
                      <a:moveTo>
                        <a:pt x="3720987" y="2643510"/>
                      </a:moveTo>
                      <a:cubicBezTo>
                        <a:pt x="3643404" y="2643510"/>
                        <a:pt x="3580511" y="2706403"/>
                        <a:pt x="3580511" y="2783986"/>
                      </a:cubicBezTo>
                      <a:lnTo>
                        <a:pt x="3580511" y="3723500"/>
                      </a:lnTo>
                      <a:cubicBezTo>
                        <a:pt x="3580511" y="3801083"/>
                        <a:pt x="3643404" y="3863976"/>
                        <a:pt x="3720987" y="3863976"/>
                      </a:cubicBezTo>
                      <a:lnTo>
                        <a:pt x="3808333" y="3863976"/>
                      </a:lnTo>
                      <a:cubicBezTo>
                        <a:pt x="3885916" y="3863976"/>
                        <a:pt x="3948809" y="3801083"/>
                        <a:pt x="3948809" y="3723500"/>
                      </a:cubicBezTo>
                      <a:lnTo>
                        <a:pt x="3948809" y="2783986"/>
                      </a:lnTo>
                      <a:cubicBezTo>
                        <a:pt x="3948809" y="2706403"/>
                        <a:pt x="3885916" y="2643510"/>
                        <a:pt x="3808333" y="2643510"/>
                      </a:cubicBezTo>
                      <a:close/>
                      <a:moveTo>
                        <a:pt x="2914644" y="2643510"/>
                      </a:moveTo>
                      <a:cubicBezTo>
                        <a:pt x="2837061" y="2643510"/>
                        <a:pt x="2774168" y="2706403"/>
                        <a:pt x="2774168" y="2783986"/>
                      </a:cubicBezTo>
                      <a:lnTo>
                        <a:pt x="2774168" y="3723500"/>
                      </a:lnTo>
                      <a:cubicBezTo>
                        <a:pt x="2774168" y="3801083"/>
                        <a:pt x="2837061" y="3863976"/>
                        <a:pt x="2914644" y="3863976"/>
                      </a:cubicBezTo>
                      <a:lnTo>
                        <a:pt x="3001990" y="3863976"/>
                      </a:lnTo>
                      <a:cubicBezTo>
                        <a:pt x="3079573" y="3863976"/>
                        <a:pt x="3142466" y="3801083"/>
                        <a:pt x="3142466" y="3723500"/>
                      </a:cubicBezTo>
                      <a:lnTo>
                        <a:pt x="3142466" y="2783986"/>
                      </a:lnTo>
                      <a:cubicBezTo>
                        <a:pt x="3142466" y="2706403"/>
                        <a:pt x="3079573" y="2643510"/>
                        <a:pt x="3001990" y="2643510"/>
                      </a:cubicBezTo>
                      <a:close/>
                      <a:moveTo>
                        <a:pt x="2108301" y="2643510"/>
                      </a:moveTo>
                      <a:cubicBezTo>
                        <a:pt x="2030718" y="2643510"/>
                        <a:pt x="1967825" y="2706403"/>
                        <a:pt x="1967825" y="2783986"/>
                      </a:cubicBezTo>
                      <a:lnTo>
                        <a:pt x="1967825" y="3723500"/>
                      </a:lnTo>
                      <a:cubicBezTo>
                        <a:pt x="1967825" y="3801083"/>
                        <a:pt x="2030718" y="3863976"/>
                        <a:pt x="2108301" y="3863976"/>
                      </a:cubicBezTo>
                      <a:lnTo>
                        <a:pt x="2195647" y="3863976"/>
                      </a:lnTo>
                      <a:cubicBezTo>
                        <a:pt x="2273230" y="3863976"/>
                        <a:pt x="2336123" y="3801083"/>
                        <a:pt x="2336123" y="3723500"/>
                      </a:cubicBezTo>
                      <a:lnTo>
                        <a:pt x="2336123" y="2783986"/>
                      </a:lnTo>
                      <a:cubicBezTo>
                        <a:pt x="2336123" y="2706403"/>
                        <a:pt x="2273230" y="2643510"/>
                        <a:pt x="2195647" y="2643510"/>
                      </a:cubicBezTo>
                      <a:close/>
                      <a:moveTo>
                        <a:pt x="5312536" y="2564132"/>
                      </a:moveTo>
                      <a:lnTo>
                        <a:pt x="5442152" y="2564132"/>
                      </a:lnTo>
                      <a:cubicBezTo>
                        <a:pt x="5557280" y="2564132"/>
                        <a:pt x="5650609" y="2657461"/>
                        <a:pt x="5650609" y="2772589"/>
                      </a:cubicBezTo>
                      <a:lnTo>
                        <a:pt x="5650609" y="3734896"/>
                      </a:lnTo>
                      <a:cubicBezTo>
                        <a:pt x="5650609" y="3850024"/>
                        <a:pt x="5557280" y="3943353"/>
                        <a:pt x="5442152" y="3943353"/>
                      </a:cubicBezTo>
                      <a:lnTo>
                        <a:pt x="5312536" y="3943353"/>
                      </a:lnTo>
                      <a:cubicBezTo>
                        <a:pt x="5197408" y="3943353"/>
                        <a:pt x="5104079" y="3850024"/>
                        <a:pt x="5104079" y="3734896"/>
                      </a:cubicBezTo>
                      <a:lnTo>
                        <a:pt x="5104079" y="2772589"/>
                      </a:lnTo>
                      <a:cubicBezTo>
                        <a:pt x="5104079" y="2657461"/>
                        <a:pt x="5197408" y="2564132"/>
                        <a:pt x="5312536" y="2564132"/>
                      </a:cubicBezTo>
                      <a:close/>
                      <a:moveTo>
                        <a:pt x="4506194" y="2564132"/>
                      </a:moveTo>
                      <a:lnTo>
                        <a:pt x="4635810" y="2564132"/>
                      </a:lnTo>
                      <a:cubicBezTo>
                        <a:pt x="4750938" y="2564132"/>
                        <a:pt x="4844267" y="2657461"/>
                        <a:pt x="4844267" y="2772589"/>
                      </a:cubicBezTo>
                      <a:lnTo>
                        <a:pt x="4844267" y="3734896"/>
                      </a:lnTo>
                      <a:cubicBezTo>
                        <a:pt x="4844267" y="3850024"/>
                        <a:pt x="4750938" y="3943353"/>
                        <a:pt x="4635810" y="3943353"/>
                      </a:cubicBezTo>
                      <a:lnTo>
                        <a:pt x="4506194" y="3943353"/>
                      </a:lnTo>
                      <a:cubicBezTo>
                        <a:pt x="4391066" y="3943353"/>
                        <a:pt x="4297737" y="3850024"/>
                        <a:pt x="4297737" y="3734896"/>
                      </a:cubicBezTo>
                      <a:lnTo>
                        <a:pt x="4297737" y="2772589"/>
                      </a:lnTo>
                      <a:cubicBezTo>
                        <a:pt x="4297737" y="2657461"/>
                        <a:pt x="4391066" y="2564132"/>
                        <a:pt x="4506194" y="2564132"/>
                      </a:cubicBezTo>
                      <a:close/>
                      <a:moveTo>
                        <a:pt x="3699852" y="2564132"/>
                      </a:moveTo>
                      <a:lnTo>
                        <a:pt x="3829468" y="2564132"/>
                      </a:lnTo>
                      <a:cubicBezTo>
                        <a:pt x="3944596" y="2564132"/>
                        <a:pt x="4037925" y="2657461"/>
                        <a:pt x="4037925" y="2772589"/>
                      </a:cubicBezTo>
                      <a:lnTo>
                        <a:pt x="4037925" y="3734896"/>
                      </a:lnTo>
                      <a:cubicBezTo>
                        <a:pt x="4037925" y="3850024"/>
                        <a:pt x="3944596" y="3943353"/>
                        <a:pt x="3829468" y="3943353"/>
                      </a:cubicBezTo>
                      <a:lnTo>
                        <a:pt x="3699852" y="3943353"/>
                      </a:lnTo>
                      <a:cubicBezTo>
                        <a:pt x="3584724" y="3943353"/>
                        <a:pt x="3491395" y="3850024"/>
                        <a:pt x="3491395" y="3734896"/>
                      </a:cubicBezTo>
                      <a:lnTo>
                        <a:pt x="3491395" y="2772589"/>
                      </a:lnTo>
                      <a:cubicBezTo>
                        <a:pt x="3491395" y="2657461"/>
                        <a:pt x="3584724" y="2564132"/>
                        <a:pt x="3699852" y="2564132"/>
                      </a:cubicBezTo>
                      <a:close/>
                      <a:moveTo>
                        <a:pt x="2893509" y="2564132"/>
                      </a:moveTo>
                      <a:lnTo>
                        <a:pt x="3023125" y="2564132"/>
                      </a:lnTo>
                      <a:cubicBezTo>
                        <a:pt x="3138253" y="2564132"/>
                        <a:pt x="3231582" y="2657461"/>
                        <a:pt x="3231582" y="2772589"/>
                      </a:cubicBezTo>
                      <a:lnTo>
                        <a:pt x="3231582" y="3734896"/>
                      </a:lnTo>
                      <a:cubicBezTo>
                        <a:pt x="3231582" y="3850024"/>
                        <a:pt x="3138253" y="3943353"/>
                        <a:pt x="3023125" y="3943353"/>
                      </a:cubicBezTo>
                      <a:lnTo>
                        <a:pt x="2893509" y="3943353"/>
                      </a:lnTo>
                      <a:cubicBezTo>
                        <a:pt x="2778381" y="3943353"/>
                        <a:pt x="2685052" y="3850024"/>
                        <a:pt x="2685052" y="3734896"/>
                      </a:cubicBezTo>
                      <a:lnTo>
                        <a:pt x="2685052" y="2772589"/>
                      </a:lnTo>
                      <a:cubicBezTo>
                        <a:pt x="2685052" y="2657461"/>
                        <a:pt x="2778381" y="2564132"/>
                        <a:pt x="2893509" y="2564132"/>
                      </a:cubicBezTo>
                      <a:close/>
                      <a:moveTo>
                        <a:pt x="2087166" y="2564132"/>
                      </a:moveTo>
                      <a:lnTo>
                        <a:pt x="2216782" y="2564132"/>
                      </a:lnTo>
                      <a:cubicBezTo>
                        <a:pt x="2331910" y="2564132"/>
                        <a:pt x="2425239" y="2657461"/>
                        <a:pt x="2425239" y="2772589"/>
                      </a:cubicBezTo>
                      <a:lnTo>
                        <a:pt x="2425239" y="3734896"/>
                      </a:lnTo>
                      <a:cubicBezTo>
                        <a:pt x="2425239" y="3850024"/>
                        <a:pt x="2331910" y="3943353"/>
                        <a:pt x="2216782" y="3943353"/>
                      </a:cubicBezTo>
                      <a:lnTo>
                        <a:pt x="2087166" y="3943353"/>
                      </a:lnTo>
                      <a:cubicBezTo>
                        <a:pt x="1972038" y="3943353"/>
                        <a:pt x="1878709" y="3850024"/>
                        <a:pt x="1878709" y="3734896"/>
                      </a:cubicBezTo>
                      <a:lnTo>
                        <a:pt x="1878709" y="2772589"/>
                      </a:lnTo>
                      <a:cubicBezTo>
                        <a:pt x="1878709" y="2657461"/>
                        <a:pt x="1972038" y="2564132"/>
                        <a:pt x="2087166" y="2564132"/>
                      </a:cubicBezTo>
                      <a:close/>
                      <a:moveTo>
                        <a:pt x="5082919" y="775812"/>
                      </a:moveTo>
                      <a:cubicBezTo>
                        <a:pt x="4803323" y="775812"/>
                        <a:pt x="4576665" y="1002470"/>
                        <a:pt x="4576665" y="1282066"/>
                      </a:cubicBezTo>
                      <a:cubicBezTo>
                        <a:pt x="4576665" y="1561662"/>
                        <a:pt x="4803323" y="1788320"/>
                        <a:pt x="5082919" y="1788320"/>
                      </a:cubicBezTo>
                      <a:cubicBezTo>
                        <a:pt x="5362515" y="1788320"/>
                        <a:pt x="5589173" y="1561662"/>
                        <a:pt x="5589173" y="1282066"/>
                      </a:cubicBezTo>
                      <a:cubicBezTo>
                        <a:pt x="5589173" y="1002470"/>
                        <a:pt x="5362515" y="775812"/>
                        <a:pt x="5082919" y="775812"/>
                      </a:cubicBezTo>
                      <a:close/>
                      <a:moveTo>
                        <a:pt x="2408299" y="775812"/>
                      </a:moveTo>
                      <a:cubicBezTo>
                        <a:pt x="2128703" y="775812"/>
                        <a:pt x="1902046" y="1002470"/>
                        <a:pt x="1902046" y="1282066"/>
                      </a:cubicBezTo>
                      <a:cubicBezTo>
                        <a:pt x="1902046" y="1561662"/>
                        <a:pt x="2128703" y="1788320"/>
                        <a:pt x="2408299" y="1788320"/>
                      </a:cubicBezTo>
                      <a:cubicBezTo>
                        <a:pt x="2687895" y="1788320"/>
                        <a:pt x="2914553" y="1561662"/>
                        <a:pt x="2914553" y="1282066"/>
                      </a:cubicBezTo>
                      <a:cubicBezTo>
                        <a:pt x="2914553" y="1002470"/>
                        <a:pt x="2687895" y="775812"/>
                        <a:pt x="2408299" y="775812"/>
                      </a:cubicBezTo>
                      <a:close/>
                      <a:moveTo>
                        <a:pt x="5082919" y="661036"/>
                      </a:moveTo>
                      <a:cubicBezTo>
                        <a:pt x="5425904" y="661036"/>
                        <a:pt x="5703949" y="939081"/>
                        <a:pt x="5703949" y="1282066"/>
                      </a:cubicBezTo>
                      <a:cubicBezTo>
                        <a:pt x="5703949" y="1625051"/>
                        <a:pt x="5425904" y="1903096"/>
                        <a:pt x="5082919" y="1903096"/>
                      </a:cubicBezTo>
                      <a:cubicBezTo>
                        <a:pt x="4739934" y="1903096"/>
                        <a:pt x="4461889" y="1625051"/>
                        <a:pt x="4461889" y="1282066"/>
                      </a:cubicBezTo>
                      <a:cubicBezTo>
                        <a:pt x="4461889" y="939081"/>
                        <a:pt x="4739934" y="661036"/>
                        <a:pt x="5082919" y="661036"/>
                      </a:cubicBezTo>
                      <a:close/>
                      <a:moveTo>
                        <a:pt x="2408299" y="661036"/>
                      </a:moveTo>
                      <a:cubicBezTo>
                        <a:pt x="2751284" y="661036"/>
                        <a:pt x="3029329" y="939081"/>
                        <a:pt x="3029329" y="1282066"/>
                      </a:cubicBezTo>
                      <a:cubicBezTo>
                        <a:pt x="3029329" y="1625051"/>
                        <a:pt x="2751284" y="1903096"/>
                        <a:pt x="2408299" y="1903096"/>
                      </a:cubicBezTo>
                      <a:cubicBezTo>
                        <a:pt x="2065314" y="1903096"/>
                        <a:pt x="1787269" y="1625051"/>
                        <a:pt x="1787269" y="1282066"/>
                      </a:cubicBezTo>
                      <a:cubicBezTo>
                        <a:pt x="1787269" y="939081"/>
                        <a:pt x="2065314" y="661036"/>
                        <a:pt x="2408299" y="661036"/>
                      </a:cubicBezTo>
                      <a:close/>
                      <a:moveTo>
                        <a:pt x="1164182" y="126434"/>
                      </a:moveTo>
                      <a:cubicBezTo>
                        <a:pt x="1092372" y="126434"/>
                        <a:pt x="1034158" y="184647"/>
                        <a:pt x="1034158" y="256457"/>
                      </a:cubicBezTo>
                      <a:lnTo>
                        <a:pt x="1034158" y="1603376"/>
                      </a:lnTo>
                      <a:lnTo>
                        <a:pt x="879743" y="1603376"/>
                      </a:lnTo>
                      <a:lnTo>
                        <a:pt x="478976" y="1603376"/>
                      </a:lnTo>
                      <a:lnTo>
                        <a:pt x="478976" y="1286475"/>
                      </a:lnTo>
                      <a:lnTo>
                        <a:pt x="89830" y="1286475"/>
                      </a:lnTo>
                      <a:lnTo>
                        <a:pt x="89830" y="2046729"/>
                      </a:lnTo>
                      <a:lnTo>
                        <a:pt x="478976" y="2046729"/>
                      </a:lnTo>
                      <a:lnTo>
                        <a:pt x="478976" y="1724026"/>
                      </a:lnTo>
                      <a:lnTo>
                        <a:pt x="879743" y="1724026"/>
                      </a:lnTo>
                      <a:lnTo>
                        <a:pt x="1034158" y="1724026"/>
                      </a:lnTo>
                      <a:lnTo>
                        <a:pt x="1034158" y="4058369"/>
                      </a:lnTo>
                      <a:cubicBezTo>
                        <a:pt x="1034158" y="4130179"/>
                        <a:pt x="1092372" y="4188392"/>
                        <a:pt x="1164182" y="4188392"/>
                      </a:cubicBezTo>
                      <a:lnTo>
                        <a:pt x="6481755" y="4188392"/>
                      </a:lnTo>
                      <a:cubicBezTo>
                        <a:pt x="6553565" y="4188392"/>
                        <a:pt x="6611778" y="4130179"/>
                        <a:pt x="6611778" y="4058369"/>
                      </a:cubicBezTo>
                      <a:lnTo>
                        <a:pt x="6611778" y="1724026"/>
                      </a:lnTo>
                      <a:lnTo>
                        <a:pt x="6766193" y="1724026"/>
                      </a:lnTo>
                      <a:lnTo>
                        <a:pt x="7166960" y="1724026"/>
                      </a:lnTo>
                      <a:lnTo>
                        <a:pt x="7166960" y="2046729"/>
                      </a:lnTo>
                      <a:lnTo>
                        <a:pt x="7556106" y="2046729"/>
                      </a:lnTo>
                      <a:lnTo>
                        <a:pt x="7556106" y="1286475"/>
                      </a:lnTo>
                      <a:lnTo>
                        <a:pt x="7166960" y="1286475"/>
                      </a:lnTo>
                      <a:lnTo>
                        <a:pt x="7166960" y="1603376"/>
                      </a:lnTo>
                      <a:lnTo>
                        <a:pt x="6766193" y="1603376"/>
                      </a:lnTo>
                      <a:lnTo>
                        <a:pt x="6611778" y="1603376"/>
                      </a:lnTo>
                      <a:lnTo>
                        <a:pt x="6611778" y="256457"/>
                      </a:lnTo>
                      <a:cubicBezTo>
                        <a:pt x="6611778" y="184647"/>
                        <a:pt x="6553565" y="126434"/>
                        <a:pt x="6481755" y="126434"/>
                      </a:cubicBezTo>
                      <a:close/>
                      <a:moveTo>
                        <a:pt x="1011518" y="0"/>
                      </a:moveTo>
                      <a:lnTo>
                        <a:pt x="6634418" y="0"/>
                      </a:lnTo>
                      <a:cubicBezTo>
                        <a:pt x="6707195" y="0"/>
                        <a:pt x="6766193" y="58999"/>
                        <a:pt x="6766193" y="131775"/>
                      </a:cubicBezTo>
                      <a:lnTo>
                        <a:pt x="6766193" y="1485987"/>
                      </a:lnTo>
                      <a:lnTo>
                        <a:pt x="7077129" y="1485987"/>
                      </a:lnTo>
                      <a:lnTo>
                        <a:pt x="7077129" y="1193887"/>
                      </a:lnTo>
                      <a:lnTo>
                        <a:pt x="7645936" y="1193887"/>
                      </a:lnTo>
                      <a:lnTo>
                        <a:pt x="7645936" y="2139317"/>
                      </a:lnTo>
                      <a:lnTo>
                        <a:pt x="7077129" y="2139317"/>
                      </a:lnTo>
                      <a:lnTo>
                        <a:pt x="7077129" y="1840719"/>
                      </a:lnTo>
                      <a:lnTo>
                        <a:pt x="6766193" y="1840719"/>
                      </a:lnTo>
                      <a:lnTo>
                        <a:pt x="6766193" y="4183050"/>
                      </a:lnTo>
                      <a:cubicBezTo>
                        <a:pt x="6766193" y="4255827"/>
                        <a:pt x="6707195" y="4314825"/>
                        <a:pt x="6634418" y="4314825"/>
                      </a:cubicBezTo>
                      <a:lnTo>
                        <a:pt x="1011518" y="4314825"/>
                      </a:lnTo>
                      <a:cubicBezTo>
                        <a:pt x="938741" y="4314825"/>
                        <a:pt x="879743" y="4255827"/>
                        <a:pt x="879743" y="4183050"/>
                      </a:cubicBezTo>
                      <a:lnTo>
                        <a:pt x="879743" y="1840719"/>
                      </a:lnTo>
                      <a:lnTo>
                        <a:pt x="568807" y="1840719"/>
                      </a:lnTo>
                      <a:lnTo>
                        <a:pt x="568807" y="2139317"/>
                      </a:lnTo>
                      <a:lnTo>
                        <a:pt x="0" y="2139317"/>
                      </a:lnTo>
                      <a:lnTo>
                        <a:pt x="0" y="1193887"/>
                      </a:lnTo>
                      <a:lnTo>
                        <a:pt x="568807" y="1193887"/>
                      </a:lnTo>
                      <a:lnTo>
                        <a:pt x="568807" y="1485987"/>
                      </a:lnTo>
                      <a:lnTo>
                        <a:pt x="879743" y="1485987"/>
                      </a:lnTo>
                      <a:lnTo>
                        <a:pt x="879743" y="131775"/>
                      </a:lnTo>
                      <a:cubicBezTo>
                        <a:pt x="879743" y="58999"/>
                        <a:pt x="938741" y="0"/>
                        <a:pt x="1011518" y="0"/>
                      </a:cubicBezTo>
                      <a:close/>
                    </a:path>
                  </a:pathLst>
                </a:custGeom>
                <a:solidFill>
                  <a:srgbClr val="0078D7"/>
                </a:solidFill>
                <a:ln w="3175" cap="flat" cmpd="sng" algn="ctr">
                  <a:solidFill>
                    <a:srgbClr val="0078D7"/>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46" name="Straight Connector 145"/>
                <p:cNvCxnSpPr/>
                <p:nvPr/>
              </p:nvCxnSpPr>
              <p:spPr>
                <a:xfrm flipH="1">
                  <a:off x="10486805" y="3605293"/>
                  <a:ext cx="308472" cy="0"/>
                </a:xfrm>
                <a:prstGeom prst="line">
                  <a:avLst/>
                </a:prstGeom>
                <a:noFill/>
                <a:ln w="9525" cap="flat" cmpd="sng" algn="ctr">
                  <a:solidFill>
                    <a:srgbClr val="FFFFFF">
                      <a:lumMod val="65000"/>
                    </a:srgbClr>
                  </a:solidFill>
                  <a:prstDash val="solid"/>
                  <a:headEnd type="none" w="med" len="med"/>
                  <a:tailEnd type="none" w="med" len="med"/>
                </a:ln>
                <a:effectLst/>
              </p:spPr>
            </p:cxnSp>
          </p:grpSp>
        </p:grpSp>
      </p:grpSp>
      <p:grpSp>
        <p:nvGrpSpPr>
          <p:cNvPr id="155" name="Group 154"/>
          <p:cNvGrpSpPr/>
          <p:nvPr/>
        </p:nvGrpSpPr>
        <p:grpSpPr>
          <a:xfrm>
            <a:off x="7329456" y="1657048"/>
            <a:ext cx="2567731" cy="4551232"/>
            <a:chOff x="7329456" y="1657048"/>
            <a:chExt cx="2567731" cy="4551232"/>
          </a:xfrm>
        </p:grpSpPr>
        <p:sp>
          <p:nvSpPr>
            <p:cNvPr id="156" name="Rectangle 155"/>
            <p:cNvSpPr/>
            <p:nvPr/>
          </p:nvSpPr>
          <p:spPr bwMode="auto">
            <a:xfrm>
              <a:off x="7759316" y="1657048"/>
              <a:ext cx="1737360" cy="2734231"/>
            </a:xfrm>
            <a:prstGeom prst="rect">
              <a:avLst/>
            </a:prstGeom>
            <a:solidFill>
              <a:schemeClr val="accent1"/>
            </a:solidFill>
            <a:ln w="3175">
              <a:noFill/>
            </a:ln>
            <a:effectLst/>
          </p:spPr>
          <p:txBody>
            <a:bodyPr spcFirstLastPara="0" vert="horz" wrap="square" lIns="18281" tIns="91440" rIns="18281" bIns="91401" numCol="1" spcCol="1270" anchor="t" anchorCtr="0">
              <a:noAutofit/>
            </a:bodyPr>
            <a:lstStyle/>
            <a:p>
              <a:pPr marL="0" marR="0" lvl="0" indent="0" algn="ctr" defTabSz="725012" eaLnBrk="1" fontAlgn="auto" latinLnBrk="0" hangingPunct="1">
                <a:lnSpc>
                  <a:spcPct val="100000"/>
                </a:lnSpc>
                <a:spcBef>
                  <a:spcPct val="0"/>
                </a:spcBef>
                <a:spcAft>
                  <a:spcPct val="35000"/>
                </a:spcAft>
                <a:buClrTx/>
                <a:buSzTx/>
                <a:buFontTx/>
                <a:buNone/>
                <a:tabLst/>
                <a:defRPr/>
              </a:pPr>
              <a:r>
                <a:rPr kumimoji="0" lang="en-US" sz="1400" b="0" i="0" u="none" strike="noStrike" kern="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Intelligence</a:t>
              </a:r>
            </a:p>
          </p:txBody>
        </p:sp>
        <p:sp>
          <p:nvSpPr>
            <p:cNvPr id="157" name="Rectangle 156"/>
            <p:cNvSpPr/>
            <p:nvPr/>
          </p:nvSpPr>
          <p:spPr bwMode="auto">
            <a:xfrm>
              <a:off x="7759316" y="4491484"/>
              <a:ext cx="1737360" cy="1352961"/>
            </a:xfrm>
            <a:prstGeom prst="rect">
              <a:avLst/>
            </a:prstGeom>
            <a:solidFill>
              <a:schemeClr val="accent1"/>
            </a:solidFill>
            <a:ln w="3175">
              <a:noFill/>
            </a:ln>
            <a:effectLst/>
          </p:spPr>
          <p:txBody>
            <a:bodyPr spcFirstLastPara="0" vert="horz" wrap="square" lIns="18281" tIns="91440" rIns="18281" bIns="91401" numCol="1" spcCol="1270" anchor="t" anchorCtr="0">
              <a:noAutofit/>
            </a:bodyPr>
            <a:lstStyle/>
            <a:p>
              <a:pPr marL="0" marR="0" lvl="0" indent="0" algn="ctr" defTabSz="725012" eaLnBrk="1" fontAlgn="auto" latinLnBrk="0" hangingPunct="1">
                <a:lnSpc>
                  <a:spcPct val="100000"/>
                </a:lnSpc>
                <a:spcBef>
                  <a:spcPct val="0"/>
                </a:spcBef>
                <a:spcAft>
                  <a:spcPct val="35000"/>
                </a:spcAft>
                <a:buClrTx/>
                <a:buSzTx/>
                <a:buFontTx/>
                <a:buNone/>
                <a:tabLst/>
                <a:defRPr/>
              </a:pPr>
              <a:r>
                <a:rPr kumimoji="0" lang="en-US" sz="1400" b="0" i="0" u="none" strike="noStrike" kern="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Dashboards &amp; Visualizations</a:t>
              </a:r>
            </a:p>
          </p:txBody>
        </p:sp>
        <p:sp>
          <p:nvSpPr>
            <p:cNvPr id="158" name="Rectangle 157"/>
            <p:cNvSpPr/>
            <p:nvPr/>
          </p:nvSpPr>
          <p:spPr>
            <a:xfrm>
              <a:off x="8282077" y="3724639"/>
              <a:ext cx="1268870" cy="261610"/>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FFFFFF"/>
                  </a:solidFill>
                  <a:effectLst/>
                  <a:uLnTx/>
                  <a:uFillTx/>
                  <a:cs typeface="Segoe UI Semilight" panose="020B0402040204020203" pitchFamily="34" charset="0"/>
                </a:rPr>
                <a:t>Cortana</a:t>
              </a:r>
            </a:p>
          </p:txBody>
        </p:sp>
        <p:grpSp>
          <p:nvGrpSpPr>
            <p:cNvPr id="159" name="Group 158"/>
            <p:cNvGrpSpPr/>
            <p:nvPr/>
          </p:nvGrpSpPr>
          <p:grpSpPr>
            <a:xfrm>
              <a:off x="7886100" y="3695712"/>
              <a:ext cx="315759" cy="315759"/>
              <a:chOff x="3236100" y="589298"/>
              <a:chExt cx="5641200" cy="5641200"/>
            </a:xfrm>
          </p:grpSpPr>
          <p:sp>
            <p:nvSpPr>
              <p:cNvPr id="178" name="Freeform 53"/>
              <p:cNvSpPr/>
              <p:nvPr/>
            </p:nvSpPr>
            <p:spPr bwMode="auto">
              <a:xfrm>
                <a:off x="3236100" y="589298"/>
                <a:ext cx="5641200" cy="5641200"/>
              </a:xfrm>
              <a:custGeom>
                <a:avLst/>
                <a:gdLst>
                  <a:gd name="connsiteX0" fmla="*/ 2820600 w 5641200"/>
                  <a:gd name="connsiteY0" fmla="*/ 378999 h 5641200"/>
                  <a:gd name="connsiteX1" fmla="*/ 378999 w 5641200"/>
                  <a:gd name="connsiteY1" fmla="*/ 2820600 h 5641200"/>
                  <a:gd name="connsiteX2" fmla="*/ 2820600 w 5641200"/>
                  <a:gd name="connsiteY2" fmla="*/ 5262201 h 5641200"/>
                  <a:gd name="connsiteX3" fmla="*/ 5262201 w 5641200"/>
                  <a:gd name="connsiteY3" fmla="*/ 2820600 h 5641200"/>
                  <a:gd name="connsiteX4" fmla="*/ 2820600 w 5641200"/>
                  <a:gd name="connsiteY4" fmla="*/ 378999 h 5641200"/>
                  <a:gd name="connsiteX5" fmla="*/ 2820600 w 5641200"/>
                  <a:gd name="connsiteY5" fmla="*/ 0 h 5641200"/>
                  <a:gd name="connsiteX6" fmla="*/ 5641200 w 5641200"/>
                  <a:gd name="connsiteY6" fmla="*/ 2820600 h 5641200"/>
                  <a:gd name="connsiteX7" fmla="*/ 2820600 w 5641200"/>
                  <a:gd name="connsiteY7" fmla="*/ 5641200 h 5641200"/>
                  <a:gd name="connsiteX8" fmla="*/ 0 w 5641200"/>
                  <a:gd name="connsiteY8" fmla="*/ 2820600 h 5641200"/>
                  <a:gd name="connsiteX9" fmla="*/ 2820600 w 5641200"/>
                  <a:gd name="connsiteY9" fmla="*/ 0 h 5641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641200" h="5641200">
                    <a:moveTo>
                      <a:pt x="2820600" y="378999"/>
                    </a:moveTo>
                    <a:cubicBezTo>
                      <a:pt x="1472141" y="378999"/>
                      <a:pt x="378999" y="1472141"/>
                      <a:pt x="378999" y="2820600"/>
                    </a:cubicBezTo>
                    <a:cubicBezTo>
                      <a:pt x="378999" y="4169059"/>
                      <a:pt x="1472141" y="5262201"/>
                      <a:pt x="2820600" y="5262201"/>
                    </a:cubicBezTo>
                    <a:cubicBezTo>
                      <a:pt x="4169059" y="5262201"/>
                      <a:pt x="5262201" y="4169059"/>
                      <a:pt x="5262201" y="2820600"/>
                    </a:cubicBezTo>
                    <a:cubicBezTo>
                      <a:pt x="5262201" y="1472141"/>
                      <a:pt x="4169059" y="378999"/>
                      <a:pt x="2820600" y="378999"/>
                    </a:cubicBezTo>
                    <a:close/>
                    <a:moveTo>
                      <a:pt x="2820600" y="0"/>
                    </a:moveTo>
                    <a:cubicBezTo>
                      <a:pt x="4378374" y="0"/>
                      <a:pt x="5641200" y="1262826"/>
                      <a:pt x="5641200" y="2820600"/>
                    </a:cubicBezTo>
                    <a:cubicBezTo>
                      <a:pt x="5641200" y="4378374"/>
                      <a:pt x="4378374" y="5641200"/>
                      <a:pt x="2820600" y="5641200"/>
                    </a:cubicBezTo>
                    <a:cubicBezTo>
                      <a:pt x="1262826" y="5641200"/>
                      <a:pt x="0" y="4378374"/>
                      <a:pt x="0" y="2820600"/>
                    </a:cubicBezTo>
                    <a:cubicBezTo>
                      <a:pt x="0" y="1262826"/>
                      <a:pt x="1262826" y="0"/>
                      <a:pt x="2820600"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3600" b="0" i="0" u="none" strike="noStrike" kern="0" cap="none" spc="0" normalizeH="0" baseline="0" noProof="0" dirty="0">
                  <a:ln>
                    <a:noFill/>
                  </a:ln>
                  <a:solidFill>
                    <a:srgbClr val="FFFFFF"/>
                  </a:solidFill>
                  <a:effectLst/>
                  <a:uLnTx/>
                  <a:uFillTx/>
                  <a:latin typeface="Segoe UI"/>
                  <a:ea typeface="Segoe UI" pitchFamily="34" charset="0"/>
                  <a:cs typeface="Segoe UI" pitchFamily="34" charset="0"/>
                </a:endParaRPr>
              </a:p>
            </p:txBody>
          </p:sp>
          <p:sp>
            <p:nvSpPr>
              <p:cNvPr id="179" name="Freeform 54"/>
              <p:cNvSpPr/>
              <p:nvPr/>
            </p:nvSpPr>
            <p:spPr bwMode="auto">
              <a:xfrm>
                <a:off x="3615099" y="968297"/>
                <a:ext cx="4883202" cy="4883202"/>
              </a:xfrm>
              <a:custGeom>
                <a:avLst/>
                <a:gdLst>
                  <a:gd name="connsiteX0" fmla="*/ 2441601 w 4883202"/>
                  <a:gd name="connsiteY0" fmla="*/ 535401 h 4883202"/>
                  <a:gd name="connsiteX1" fmla="*/ 535401 w 4883202"/>
                  <a:gd name="connsiteY1" fmla="*/ 2441601 h 4883202"/>
                  <a:gd name="connsiteX2" fmla="*/ 2441601 w 4883202"/>
                  <a:gd name="connsiteY2" fmla="*/ 4347801 h 4883202"/>
                  <a:gd name="connsiteX3" fmla="*/ 4347801 w 4883202"/>
                  <a:gd name="connsiteY3" fmla="*/ 2441601 h 4883202"/>
                  <a:gd name="connsiteX4" fmla="*/ 2441601 w 4883202"/>
                  <a:gd name="connsiteY4" fmla="*/ 535401 h 4883202"/>
                  <a:gd name="connsiteX5" fmla="*/ 2441601 w 4883202"/>
                  <a:gd name="connsiteY5" fmla="*/ 0 h 4883202"/>
                  <a:gd name="connsiteX6" fmla="*/ 4883202 w 4883202"/>
                  <a:gd name="connsiteY6" fmla="*/ 2441601 h 4883202"/>
                  <a:gd name="connsiteX7" fmla="*/ 2441601 w 4883202"/>
                  <a:gd name="connsiteY7" fmla="*/ 4883202 h 4883202"/>
                  <a:gd name="connsiteX8" fmla="*/ 0 w 4883202"/>
                  <a:gd name="connsiteY8" fmla="*/ 2441601 h 4883202"/>
                  <a:gd name="connsiteX9" fmla="*/ 2441601 w 4883202"/>
                  <a:gd name="connsiteY9" fmla="*/ 0 h 48832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883202" h="4883202">
                    <a:moveTo>
                      <a:pt x="2441601" y="535401"/>
                    </a:moveTo>
                    <a:cubicBezTo>
                      <a:pt x="1388836" y="535401"/>
                      <a:pt x="535401" y="1388836"/>
                      <a:pt x="535401" y="2441601"/>
                    </a:cubicBezTo>
                    <a:cubicBezTo>
                      <a:pt x="535401" y="3494366"/>
                      <a:pt x="1388836" y="4347801"/>
                      <a:pt x="2441601" y="4347801"/>
                    </a:cubicBezTo>
                    <a:cubicBezTo>
                      <a:pt x="3494366" y="4347801"/>
                      <a:pt x="4347801" y="3494366"/>
                      <a:pt x="4347801" y="2441601"/>
                    </a:cubicBezTo>
                    <a:cubicBezTo>
                      <a:pt x="4347801" y="1388836"/>
                      <a:pt x="3494366" y="535401"/>
                      <a:pt x="2441601" y="535401"/>
                    </a:cubicBezTo>
                    <a:close/>
                    <a:moveTo>
                      <a:pt x="2441601" y="0"/>
                    </a:moveTo>
                    <a:cubicBezTo>
                      <a:pt x="3790060" y="0"/>
                      <a:pt x="4883202" y="1093142"/>
                      <a:pt x="4883202" y="2441601"/>
                    </a:cubicBezTo>
                    <a:cubicBezTo>
                      <a:pt x="4883202" y="3790060"/>
                      <a:pt x="3790060" y="4883202"/>
                      <a:pt x="2441601" y="4883202"/>
                    </a:cubicBezTo>
                    <a:cubicBezTo>
                      <a:pt x="1093142" y="4883202"/>
                      <a:pt x="0" y="3790060"/>
                      <a:pt x="0" y="2441601"/>
                    </a:cubicBezTo>
                    <a:cubicBezTo>
                      <a:pt x="0" y="1093142"/>
                      <a:pt x="1093142" y="0"/>
                      <a:pt x="2441601" y="0"/>
                    </a:cubicBezTo>
                    <a:close/>
                  </a:path>
                </a:pathLst>
              </a:custGeom>
              <a:solidFill>
                <a:srgbClr val="FFFFFF">
                  <a:lumMod val="85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3600" b="0" i="0" u="none" strike="noStrike" kern="0" cap="none" spc="0" normalizeH="0" baseline="0" noProof="0" dirty="0">
                  <a:ln>
                    <a:noFill/>
                  </a:ln>
                  <a:solidFill>
                    <a:srgbClr val="FFFFFF"/>
                  </a:solidFill>
                  <a:effectLst/>
                  <a:uLnTx/>
                  <a:uFillTx/>
                  <a:latin typeface="Segoe UI"/>
                  <a:ea typeface="Segoe UI" pitchFamily="34" charset="0"/>
                  <a:cs typeface="Segoe UI" pitchFamily="34" charset="0"/>
                </a:endParaRPr>
              </a:p>
            </p:txBody>
          </p:sp>
        </p:grpSp>
        <p:cxnSp>
          <p:nvCxnSpPr>
            <p:cNvPr id="160" name="Straight Connector 159"/>
            <p:cNvCxnSpPr/>
            <p:nvPr/>
          </p:nvCxnSpPr>
          <p:spPr>
            <a:xfrm>
              <a:off x="7329456" y="6118143"/>
              <a:ext cx="2377440" cy="0"/>
            </a:xfrm>
            <a:prstGeom prst="line">
              <a:avLst/>
            </a:prstGeom>
            <a:solidFill>
              <a:srgbClr val="FFFFFF">
                <a:lumMod val="85000"/>
              </a:srgbClr>
            </a:solidFill>
            <a:ln w="28575" cap="flat" cmpd="sng" algn="ctr">
              <a:solidFill>
                <a:srgbClr val="002050"/>
              </a:solidFill>
              <a:prstDash val="solid"/>
              <a:headEnd type="none"/>
              <a:tailEnd type="none"/>
            </a:ln>
            <a:effectLst/>
          </p:spPr>
        </p:cxnSp>
        <p:grpSp>
          <p:nvGrpSpPr>
            <p:cNvPr id="161" name="Group 160"/>
            <p:cNvGrpSpPr/>
            <p:nvPr/>
          </p:nvGrpSpPr>
          <p:grpSpPr>
            <a:xfrm rot="13500000">
              <a:off x="9515255" y="6028138"/>
              <a:ext cx="181498" cy="178786"/>
              <a:chOff x="402446" y="5872915"/>
              <a:chExt cx="292608" cy="288235"/>
            </a:xfrm>
            <a:solidFill>
              <a:srgbClr val="FFFFFF">
                <a:lumMod val="85000"/>
              </a:srgbClr>
            </a:solidFill>
          </p:grpSpPr>
          <p:cxnSp>
            <p:nvCxnSpPr>
              <p:cNvPr id="176" name="Straight Connector 175"/>
              <p:cNvCxnSpPr/>
              <p:nvPr/>
            </p:nvCxnSpPr>
            <p:spPr>
              <a:xfrm>
                <a:off x="412598" y="5872915"/>
                <a:ext cx="0" cy="288235"/>
              </a:xfrm>
              <a:prstGeom prst="line">
                <a:avLst/>
              </a:prstGeom>
              <a:grpFill/>
              <a:ln w="28575" cap="flat" cmpd="sng" algn="ctr">
                <a:solidFill>
                  <a:srgbClr val="002050"/>
                </a:solidFill>
                <a:prstDash val="solid"/>
                <a:headEnd type="none"/>
                <a:tailEnd type="none"/>
              </a:ln>
              <a:effectLst/>
            </p:spPr>
          </p:cxnSp>
          <p:cxnSp>
            <p:nvCxnSpPr>
              <p:cNvPr id="177" name="Straight Connector 176"/>
              <p:cNvCxnSpPr/>
              <p:nvPr/>
            </p:nvCxnSpPr>
            <p:spPr>
              <a:xfrm>
                <a:off x="402446" y="6148978"/>
                <a:ext cx="292608" cy="0"/>
              </a:xfrm>
              <a:prstGeom prst="line">
                <a:avLst/>
              </a:prstGeom>
              <a:grpFill/>
              <a:ln w="28575" cap="flat" cmpd="sng" algn="ctr">
                <a:solidFill>
                  <a:srgbClr val="002050"/>
                </a:solidFill>
                <a:prstDash val="solid"/>
                <a:headEnd type="none"/>
                <a:tailEnd type="none"/>
              </a:ln>
              <a:effectLst/>
            </p:spPr>
          </p:cxnSp>
        </p:grpSp>
        <p:cxnSp>
          <p:nvCxnSpPr>
            <p:cNvPr id="162" name="Straight Connector 161"/>
            <p:cNvCxnSpPr/>
            <p:nvPr/>
          </p:nvCxnSpPr>
          <p:spPr>
            <a:xfrm flipH="1">
              <a:off x="9588715" y="3765778"/>
              <a:ext cx="308472" cy="0"/>
            </a:xfrm>
            <a:prstGeom prst="line">
              <a:avLst/>
            </a:prstGeom>
            <a:noFill/>
            <a:ln w="12700" cap="flat" cmpd="sng" algn="ctr">
              <a:solidFill>
                <a:srgbClr val="0078D7"/>
              </a:solidFill>
              <a:prstDash val="solid"/>
              <a:headEnd type="none"/>
              <a:tailEnd type="none"/>
            </a:ln>
            <a:effectLst/>
          </p:spPr>
        </p:cxnSp>
        <p:sp>
          <p:nvSpPr>
            <p:cNvPr id="163" name="Rectangle 162"/>
            <p:cNvSpPr/>
            <p:nvPr/>
          </p:nvSpPr>
          <p:spPr>
            <a:xfrm>
              <a:off x="8282077" y="3055939"/>
              <a:ext cx="1268870" cy="430887"/>
            </a:xfrm>
            <a:prstGeom prst="rect">
              <a:avLst/>
            </a:prstGeom>
          </p:spPr>
          <p:txBody>
            <a:bodyPr wrap="square"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FFFFFF"/>
                  </a:solidFill>
                  <a:effectLst/>
                  <a:uLnTx/>
                  <a:uFillTx/>
                  <a:cs typeface="Segoe UI Semilight" panose="020B0402040204020203" pitchFamily="34" charset="0"/>
                </a:rPr>
                <a:t>Bot </a:t>
              </a:r>
              <a:br>
                <a:rPr kumimoji="0" lang="en-US" sz="1100" b="0" i="0" u="none" strike="noStrike" kern="0" cap="none" spc="0" normalizeH="0" baseline="0" noProof="0" dirty="0">
                  <a:ln>
                    <a:noFill/>
                  </a:ln>
                  <a:solidFill>
                    <a:srgbClr val="FFFFFF"/>
                  </a:solidFill>
                  <a:effectLst/>
                  <a:uLnTx/>
                  <a:uFillTx/>
                  <a:cs typeface="Segoe UI Semilight" panose="020B0402040204020203" pitchFamily="34" charset="0"/>
                </a:rPr>
              </a:br>
              <a:r>
                <a:rPr kumimoji="0" lang="en-US" sz="1100" b="0" i="0" u="none" strike="noStrike" kern="0" cap="none" spc="0" normalizeH="0" baseline="0" noProof="0" dirty="0">
                  <a:ln>
                    <a:noFill/>
                  </a:ln>
                  <a:solidFill>
                    <a:srgbClr val="FFFFFF"/>
                  </a:solidFill>
                  <a:effectLst/>
                  <a:uLnTx/>
                  <a:uFillTx/>
                  <a:cs typeface="Segoe UI Semilight" panose="020B0402040204020203" pitchFamily="34" charset="0"/>
                </a:rPr>
                <a:t>Framework</a:t>
              </a:r>
            </a:p>
          </p:txBody>
        </p:sp>
        <p:sp>
          <p:nvSpPr>
            <p:cNvPr id="164" name="Rectangle 163"/>
            <p:cNvSpPr/>
            <p:nvPr/>
          </p:nvSpPr>
          <p:spPr>
            <a:xfrm>
              <a:off x="8282077" y="2443589"/>
              <a:ext cx="1268870" cy="430887"/>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FFFFFF"/>
                  </a:solidFill>
                  <a:effectLst/>
                  <a:uLnTx/>
                  <a:uFillTx/>
                  <a:cs typeface="Segoe UI Semilight" panose="020B0402040204020203" pitchFamily="34" charset="0"/>
                </a:rPr>
                <a:t>Cognitive Services</a:t>
              </a:r>
            </a:p>
          </p:txBody>
        </p:sp>
        <p:grpSp>
          <p:nvGrpSpPr>
            <p:cNvPr id="165" name="Group 164"/>
            <p:cNvGrpSpPr/>
            <p:nvPr/>
          </p:nvGrpSpPr>
          <p:grpSpPr>
            <a:xfrm>
              <a:off x="7830264" y="2521994"/>
              <a:ext cx="427431" cy="274077"/>
              <a:chOff x="7822816" y="2717080"/>
              <a:chExt cx="427431" cy="274077"/>
            </a:xfrm>
          </p:grpSpPr>
          <p:sp>
            <p:nvSpPr>
              <p:cNvPr id="174" name="Freeform 49"/>
              <p:cNvSpPr>
                <a:spLocks/>
              </p:cNvSpPr>
              <p:nvPr/>
            </p:nvSpPr>
            <p:spPr bwMode="auto">
              <a:xfrm flipH="1">
                <a:off x="7822816" y="2717080"/>
                <a:ext cx="427431" cy="274077"/>
              </a:xfrm>
              <a:custGeom>
                <a:avLst/>
                <a:gdLst>
                  <a:gd name="connsiteX0" fmla="*/ 1918425 w 3835400"/>
                  <a:gd name="connsiteY0" fmla="*/ 122238 h 2295525"/>
                  <a:gd name="connsiteX1" fmla="*/ 1304995 w 3835400"/>
                  <a:gd name="connsiteY1" fmla="*/ 621307 h 2295525"/>
                  <a:gd name="connsiteX2" fmla="*/ 1292848 w 3835400"/>
                  <a:gd name="connsiteY2" fmla="*/ 752160 h 2295525"/>
                  <a:gd name="connsiteX3" fmla="*/ 1226039 w 3835400"/>
                  <a:gd name="connsiteY3" fmla="*/ 806936 h 2295525"/>
                  <a:gd name="connsiteX4" fmla="*/ 1168340 w 3835400"/>
                  <a:gd name="connsiteY4" fmla="*/ 800850 h 2295525"/>
                  <a:gd name="connsiteX5" fmla="*/ 800889 w 3835400"/>
                  <a:gd name="connsiteY5" fmla="*/ 953005 h 2295525"/>
                  <a:gd name="connsiteX6" fmla="*/ 758374 w 3835400"/>
                  <a:gd name="connsiteY6" fmla="*/ 1004737 h 2295525"/>
                  <a:gd name="connsiteX7" fmla="*/ 706749 w 3835400"/>
                  <a:gd name="connsiteY7" fmla="*/ 1026039 h 2295525"/>
                  <a:gd name="connsiteX8" fmla="*/ 694602 w 3835400"/>
                  <a:gd name="connsiteY8" fmla="*/ 1026039 h 2295525"/>
                  <a:gd name="connsiteX9" fmla="*/ 120650 w 3835400"/>
                  <a:gd name="connsiteY9" fmla="*/ 1598142 h 2295525"/>
                  <a:gd name="connsiteX10" fmla="*/ 636903 w 3835400"/>
                  <a:gd name="connsiteY10" fmla="*/ 2170245 h 2295525"/>
                  <a:gd name="connsiteX11" fmla="*/ 679418 w 3835400"/>
                  <a:gd name="connsiteY11" fmla="*/ 2173288 h 2295525"/>
                  <a:gd name="connsiteX12" fmla="*/ 682455 w 3835400"/>
                  <a:gd name="connsiteY12" fmla="*/ 2173288 h 2295525"/>
                  <a:gd name="connsiteX13" fmla="*/ 688528 w 3835400"/>
                  <a:gd name="connsiteY13" fmla="*/ 2173288 h 2295525"/>
                  <a:gd name="connsiteX14" fmla="*/ 3151358 w 3835400"/>
                  <a:gd name="connsiteY14" fmla="*/ 2173288 h 2295525"/>
                  <a:gd name="connsiteX15" fmla="*/ 3160469 w 3835400"/>
                  <a:gd name="connsiteY15" fmla="*/ 2173288 h 2295525"/>
                  <a:gd name="connsiteX16" fmla="*/ 3169579 w 3835400"/>
                  <a:gd name="connsiteY16" fmla="*/ 2173288 h 2295525"/>
                  <a:gd name="connsiteX17" fmla="*/ 3193873 w 3835400"/>
                  <a:gd name="connsiteY17" fmla="*/ 2173288 h 2295525"/>
                  <a:gd name="connsiteX18" fmla="*/ 3713163 w 3835400"/>
                  <a:gd name="connsiteY18" fmla="*/ 1655961 h 2295525"/>
                  <a:gd name="connsiteX19" fmla="*/ 3488441 w 3835400"/>
                  <a:gd name="connsiteY19" fmla="*/ 1226884 h 2295525"/>
                  <a:gd name="connsiteX20" fmla="*/ 3442890 w 3835400"/>
                  <a:gd name="connsiteY20" fmla="*/ 1202539 h 2295525"/>
                  <a:gd name="connsiteX21" fmla="*/ 3409485 w 3835400"/>
                  <a:gd name="connsiteY21" fmla="*/ 1144720 h 2295525"/>
                  <a:gd name="connsiteX22" fmla="*/ 3415558 w 3835400"/>
                  <a:gd name="connsiteY22" fmla="*/ 1059513 h 2295525"/>
                  <a:gd name="connsiteX23" fmla="*/ 2789981 w 3835400"/>
                  <a:gd name="connsiteY23" fmla="*/ 435678 h 2295525"/>
                  <a:gd name="connsiteX24" fmla="*/ 2604738 w 3835400"/>
                  <a:gd name="connsiteY24" fmla="*/ 463065 h 2295525"/>
                  <a:gd name="connsiteX25" fmla="*/ 2547039 w 3835400"/>
                  <a:gd name="connsiteY25" fmla="*/ 484367 h 2295525"/>
                  <a:gd name="connsiteX26" fmla="*/ 2471119 w 3835400"/>
                  <a:gd name="connsiteY26" fmla="*/ 456979 h 2295525"/>
                  <a:gd name="connsiteX27" fmla="*/ 2437715 w 3835400"/>
                  <a:gd name="connsiteY27" fmla="*/ 396117 h 2295525"/>
                  <a:gd name="connsiteX28" fmla="*/ 1918425 w 3835400"/>
                  <a:gd name="connsiteY28" fmla="*/ 122238 h 2295525"/>
                  <a:gd name="connsiteX29" fmla="*/ 1919219 w 3835400"/>
                  <a:gd name="connsiteY29" fmla="*/ 0 h 2295525"/>
                  <a:gd name="connsiteX30" fmla="*/ 2541750 w 3835400"/>
                  <a:gd name="connsiteY30" fmla="*/ 331847 h 2295525"/>
                  <a:gd name="connsiteX31" fmla="*/ 2544787 w 3835400"/>
                  <a:gd name="connsiteY31" fmla="*/ 334891 h 2295525"/>
                  <a:gd name="connsiteX32" fmla="*/ 2553897 w 3835400"/>
                  <a:gd name="connsiteY32" fmla="*/ 353158 h 2295525"/>
                  <a:gd name="connsiteX33" fmla="*/ 2563007 w 3835400"/>
                  <a:gd name="connsiteY33" fmla="*/ 350113 h 2295525"/>
                  <a:gd name="connsiteX34" fmla="*/ 2566044 w 3835400"/>
                  <a:gd name="connsiteY34" fmla="*/ 347069 h 2295525"/>
                  <a:gd name="connsiteX35" fmla="*/ 2790762 w 3835400"/>
                  <a:gd name="connsiteY35" fmla="*/ 313580 h 2295525"/>
                  <a:gd name="connsiteX36" fmla="*/ 3537800 w 3835400"/>
                  <a:gd name="connsiteY36" fmla="*/ 1062518 h 2295525"/>
                  <a:gd name="connsiteX37" fmla="*/ 3537800 w 3835400"/>
                  <a:gd name="connsiteY37" fmla="*/ 1065562 h 2295525"/>
                  <a:gd name="connsiteX38" fmla="*/ 3534763 w 3835400"/>
                  <a:gd name="connsiteY38" fmla="*/ 1114274 h 2295525"/>
                  <a:gd name="connsiteX39" fmla="*/ 3546910 w 3835400"/>
                  <a:gd name="connsiteY39" fmla="*/ 1120363 h 2295525"/>
                  <a:gd name="connsiteX40" fmla="*/ 3552983 w 3835400"/>
                  <a:gd name="connsiteY40" fmla="*/ 1123407 h 2295525"/>
                  <a:gd name="connsiteX41" fmla="*/ 3835400 w 3835400"/>
                  <a:gd name="connsiteY41" fmla="*/ 1656188 h 2295525"/>
                  <a:gd name="connsiteX42" fmla="*/ 3194648 w 3835400"/>
                  <a:gd name="connsiteY42" fmla="*/ 2295525 h 2295525"/>
                  <a:gd name="connsiteX43" fmla="*/ 3191612 w 3835400"/>
                  <a:gd name="connsiteY43" fmla="*/ 2295525 h 2295525"/>
                  <a:gd name="connsiteX44" fmla="*/ 3170355 w 3835400"/>
                  <a:gd name="connsiteY44" fmla="*/ 2295525 h 2295525"/>
                  <a:gd name="connsiteX45" fmla="*/ 3161244 w 3835400"/>
                  <a:gd name="connsiteY45" fmla="*/ 2295525 h 2295525"/>
                  <a:gd name="connsiteX46" fmla="*/ 3155171 w 3835400"/>
                  <a:gd name="connsiteY46" fmla="*/ 2295525 h 2295525"/>
                  <a:gd name="connsiteX47" fmla="*/ 686303 w 3835400"/>
                  <a:gd name="connsiteY47" fmla="*/ 2295525 h 2295525"/>
                  <a:gd name="connsiteX48" fmla="*/ 680230 w 3835400"/>
                  <a:gd name="connsiteY48" fmla="*/ 2295525 h 2295525"/>
                  <a:gd name="connsiteX49" fmla="*/ 671119 w 3835400"/>
                  <a:gd name="connsiteY49" fmla="*/ 2295525 h 2295525"/>
                  <a:gd name="connsiteX50" fmla="*/ 628605 w 3835400"/>
                  <a:gd name="connsiteY50" fmla="*/ 2292481 h 2295525"/>
                  <a:gd name="connsiteX51" fmla="*/ 625568 w 3835400"/>
                  <a:gd name="connsiteY51" fmla="*/ 2292481 h 2295525"/>
                  <a:gd name="connsiteX52" fmla="*/ 0 w 3835400"/>
                  <a:gd name="connsiteY52" fmla="*/ 1598343 h 2295525"/>
                  <a:gd name="connsiteX53" fmla="*/ 683266 w 3835400"/>
                  <a:gd name="connsiteY53" fmla="*/ 904206 h 2295525"/>
                  <a:gd name="connsiteX54" fmla="*/ 710597 w 3835400"/>
                  <a:gd name="connsiteY54" fmla="*/ 873761 h 2295525"/>
                  <a:gd name="connsiteX55" fmla="*/ 713634 w 3835400"/>
                  <a:gd name="connsiteY55" fmla="*/ 867672 h 2295525"/>
                  <a:gd name="connsiteX56" fmla="*/ 1172181 w 3835400"/>
                  <a:gd name="connsiteY56" fmla="*/ 678915 h 2295525"/>
                  <a:gd name="connsiteX57" fmla="*/ 1178255 w 3835400"/>
                  <a:gd name="connsiteY57" fmla="*/ 678915 h 2295525"/>
                  <a:gd name="connsiteX58" fmla="*/ 1184328 w 3835400"/>
                  <a:gd name="connsiteY58" fmla="*/ 605848 h 2295525"/>
                  <a:gd name="connsiteX59" fmla="*/ 1187365 w 3835400"/>
                  <a:gd name="connsiteY59" fmla="*/ 599759 h 2295525"/>
                  <a:gd name="connsiteX60" fmla="*/ 1919219 w 3835400"/>
                  <a:gd name="connsiteY60" fmla="*/ 0 h 2295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3835400" h="2295525">
                    <a:moveTo>
                      <a:pt x="1918425" y="122238"/>
                    </a:moveTo>
                    <a:cubicBezTo>
                      <a:pt x="1623857" y="122238"/>
                      <a:pt x="1365731" y="332212"/>
                      <a:pt x="1304995" y="621307"/>
                    </a:cubicBezTo>
                    <a:cubicBezTo>
                      <a:pt x="1292848" y="752160"/>
                      <a:pt x="1292848" y="752160"/>
                      <a:pt x="1292848" y="752160"/>
                    </a:cubicBezTo>
                    <a:cubicBezTo>
                      <a:pt x="1289811" y="785634"/>
                      <a:pt x="1259443" y="809979"/>
                      <a:pt x="1226039" y="806936"/>
                    </a:cubicBezTo>
                    <a:cubicBezTo>
                      <a:pt x="1168340" y="800850"/>
                      <a:pt x="1168340" y="800850"/>
                      <a:pt x="1168340" y="800850"/>
                    </a:cubicBezTo>
                    <a:cubicBezTo>
                      <a:pt x="1028648" y="800850"/>
                      <a:pt x="898066" y="855625"/>
                      <a:pt x="800889" y="953005"/>
                    </a:cubicBezTo>
                    <a:cubicBezTo>
                      <a:pt x="758374" y="1004737"/>
                      <a:pt x="758374" y="1004737"/>
                      <a:pt x="758374" y="1004737"/>
                    </a:cubicBezTo>
                    <a:cubicBezTo>
                      <a:pt x="746227" y="1019953"/>
                      <a:pt x="728007" y="1026039"/>
                      <a:pt x="706749" y="1026039"/>
                    </a:cubicBezTo>
                    <a:cubicBezTo>
                      <a:pt x="694602" y="1026039"/>
                      <a:pt x="694602" y="1026039"/>
                      <a:pt x="694602" y="1026039"/>
                    </a:cubicBezTo>
                    <a:cubicBezTo>
                      <a:pt x="378777" y="1026039"/>
                      <a:pt x="120650" y="1281660"/>
                      <a:pt x="120650" y="1598142"/>
                    </a:cubicBezTo>
                    <a:cubicBezTo>
                      <a:pt x="120650" y="1893323"/>
                      <a:pt x="342335" y="2139814"/>
                      <a:pt x="636903" y="2170245"/>
                    </a:cubicBezTo>
                    <a:cubicBezTo>
                      <a:pt x="679418" y="2173288"/>
                      <a:pt x="679418" y="2173288"/>
                      <a:pt x="679418" y="2173288"/>
                    </a:cubicBezTo>
                    <a:cubicBezTo>
                      <a:pt x="679418" y="2173288"/>
                      <a:pt x="679418" y="2173288"/>
                      <a:pt x="682455" y="2173288"/>
                    </a:cubicBezTo>
                    <a:lnTo>
                      <a:pt x="688528" y="2173288"/>
                    </a:lnTo>
                    <a:cubicBezTo>
                      <a:pt x="3151358" y="2173288"/>
                      <a:pt x="3151358" y="2173288"/>
                      <a:pt x="3151358" y="2173288"/>
                    </a:cubicBezTo>
                    <a:cubicBezTo>
                      <a:pt x="3160469" y="2173288"/>
                      <a:pt x="3160469" y="2173288"/>
                      <a:pt x="3160469" y="2173288"/>
                    </a:cubicBezTo>
                    <a:cubicBezTo>
                      <a:pt x="3163506" y="2173288"/>
                      <a:pt x="3166542" y="2173288"/>
                      <a:pt x="3169579" y="2173288"/>
                    </a:cubicBezTo>
                    <a:cubicBezTo>
                      <a:pt x="3193873" y="2173288"/>
                      <a:pt x="3193873" y="2173288"/>
                      <a:pt x="3193873" y="2173288"/>
                    </a:cubicBezTo>
                    <a:cubicBezTo>
                      <a:pt x="3482368" y="2173288"/>
                      <a:pt x="3713163" y="1938969"/>
                      <a:pt x="3713163" y="1655961"/>
                    </a:cubicBezTo>
                    <a:cubicBezTo>
                      <a:pt x="3713163" y="1482504"/>
                      <a:pt x="3628133" y="1324263"/>
                      <a:pt x="3488441" y="1226884"/>
                    </a:cubicBezTo>
                    <a:cubicBezTo>
                      <a:pt x="3442890" y="1202539"/>
                      <a:pt x="3442890" y="1202539"/>
                      <a:pt x="3442890" y="1202539"/>
                    </a:cubicBezTo>
                    <a:cubicBezTo>
                      <a:pt x="3421632" y="1190367"/>
                      <a:pt x="3409485" y="1169065"/>
                      <a:pt x="3409485" y="1144720"/>
                    </a:cubicBezTo>
                    <a:cubicBezTo>
                      <a:pt x="3415558" y="1059513"/>
                      <a:pt x="3415558" y="1059513"/>
                      <a:pt x="3415558" y="1059513"/>
                    </a:cubicBezTo>
                    <a:cubicBezTo>
                      <a:pt x="3415558" y="715643"/>
                      <a:pt x="3133138" y="435678"/>
                      <a:pt x="2789981" y="435678"/>
                    </a:cubicBezTo>
                    <a:cubicBezTo>
                      <a:pt x="2726209" y="435678"/>
                      <a:pt x="2662437" y="444807"/>
                      <a:pt x="2604738" y="463065"/>
                    </a:cubicBezTo>
                    <a:cubicBezTo>
                      <a:pt x="2547039" y="484367"/>
                      <a:pt x="2547039" y="484367"/>
                      <a:pt x="2547039" y="484367"/>
                    </a:cubicBezTo>
                    <a:cubicBezTo>
                      <a:pt x="2516671" y="496540"/>
                      <a:pt x="2486303" y="484367"/>
                      <a:pt x="2471119" y="456979"/>
                    </a:cubicBezTo>
                    <a:cubicBezTo>
                      <a:pt x="2437715" y="396117"/>
                      <a:pt x="2437715" y="396117"/>
                      <a:pt x="2437715" y="396117"/>
                    </a:cubicBezTo>
                    <a:cubicBezTo>
                      <a:pt x="2322317" y="225704"/>
                      <a:pt x="2127963" y="122238"/>
                      <a:pt x="1918425" y="122238"/>
                    </a:cubicBezTo>
                    <a:close/>
                    <a:moveTo>
                      <a:pt x="1919219" y="0"/>
                    </a:moveTo>
                    <a:cubicBezTo>
                      <a:pt x="2168231" y="0"/>
                      <a:pt x="2402060" y="124823"/>
                      <a:pt x="2541750" y="331847"/>
                    </a:cubicBezTo>
                    <a:cubicBezTo>
                      <a:pt x="2541750" y="331847"/>
                      <a:pt x="2544787" y="334891"/>
                      <a:pt x="2544787" y="334891"/>
                    </a:cubicBezTo>
                    <a:cubicBezTo>
                      <a:pt x="2553897" y="353158"/>
                      <a:pt x="2553897" y="353158"/>
                      <a:pt x="2553897" y="353158"/>
                    </a:cubicBezTo>
                    <a:cubicBezTo>
                      <a:pt x="2563007" y="350113"/>
                      <a:pt x="2563007" y="350113"/>
                      <a:pt x="2563007" y="350113"/>
                    </a:cubicBezTo>
                    <a:cubicBezTo>
                      <a:pt x="2566044" y="350113"/>
                      <a:pt x="2566044" y="347069"/>
                      <a:pt x="2566044" y="347069"/>
                    </a:cubicBezTo>
                    <a:cubicBezTo>
                      <a:pt x="2638925" y="325758"/>
                      <a:pt x="2714844" y="313580"/>
                      <a:pt x="2790762" y="313580"/>
                    </a:cubicBezTo>
                    <a:cubicBezTo>
                      <a:pt x="3203759" y="313580"/>
                      <a:pt x="3537800" y="648471"/>
                      <a:pt x="3537800" y="1062518"/>
                    </a:cubicBezTo>
                    <a:cubicBezTo>
                      <a:pt x="3537800" y="1062518"/>
                      <a:pt x="3537800" y="1065562"/>
                      <a:pt x="3537800" y="1065562"/>
                    </a:cubicBezTo>
                    <a:cubicBezTo>
                      <a:pt x="3534763" y="1114274"/>
                      <a:pt x="3534763" y="1114274"/>
                      <a:pt x="3534763" y="1114274"/>
                    </a:cubicBezTo>
                    <a:cubicBezTo>
                      <a:pt x="3546910" y="1120363"/>
                      <a:pt x="3546910" y="1120363"/>
                      <a:pt x="3546910" y="1120363"/>
                    </a:cubicBezTo>
                    <a:cubicBezTo>
                      <a:pt x="3549947" y="1123407"/>
                      <a:pt x="3552983" y="1123407"/>
                      <a:pt x="3552983" y="1123407"/>
                    </a:cubicBezTo>
                    <a:cubicBezTo>
                      <a:pt x="3729114" y="1245185"/>
                      <a:pt x="3835400" y="1443076"/>
                      <a:pt x="3835400" y="1656188"/>
                    </a:cubicBezTo>
                    <a:cubicBezTo>
                      <a:pt x="3835400" y="2009346"/>
                      <a:pt x="3546910" y="2295525"/>
                      <a:pt x="3194648" y="2295525"/>
                    </a:cubicBezTo>
                    <a:cubicBezTo>
                      <a:pt x="3194648" y="2295525"/>
                      <a:pt x="3191612" y="2295525"/>
                      <a:pt x="3191612" y="2295525"/>
                    </a:cubicBezTo>
                    <a:cubicBezTo>
                      <a:pt x="3170355" y="2295525"/>
                      <a:pt x="3170355" y="2295525"/>
                      <a:pt x="3170355" y="2295525"/>
                    </a:cubicBezTo>
                    <a:cubicBezTo>
                      <a:pt x="3161244" y="2295525"/>
                      <a:pt x="3161244" y="2295525"/>
                      <a:pt x="3161244" y="2295525"/>
                    </a:cubicBezTo>
                    <a:cubicBezTo>
                      <a:pt x="3158208" y="2295525"/>
                      <a:pt x="3158208" y="2295525"/>
                      <a:pt x="3155171" y="2295525"/>
                    </a:cubicBezTo>
                    <a:cubicBezTo>
                      <a:pt x="686303" y="2295525"/>
                      <a:pt x="686303" y="2295525"/>
                      <a:pt x="686303" y="2295525"/>
                    </a:cubicBezTo>
                    <a:cubicBezTo>
                      <a:pt x="686303" y="2295525"/>
                      <a:pt x="683266" y="2295525"/>
                      <a:pt x="680230" y="2295525"/>
                    </a:cubicBezTo>
                    <a:cubicBezTo>
                      <a:pt x="671119" y="2295525"/>
                      <a:pt x="671119" y="2295525"/>
                      <a:pt x="671119" y="2295525"/>
                    </a:cubicBezTo>
                    <a:cubicBezTo>
                      <a:pt x="628605" y="2292481"/>
                      <a:pt x="628605" y="2292481"/>
                      <a:pt x="628605" y="2292481"/>
                    </a:cubicBezTo>
                    <a:cubicBezTo>
                      <a:pt x="628605" y="2292481"/>
                      <a:pt x="628605" y="2292481"/>
                      <a:pt x="625568" y="2292481"/>
                    </a:cubicBezTo>
                    <a:cubicBezTo>
                      <a:pt x="270270" y="2255947"/>
                      <a:pt x="0" y="1957590"/>
                      <a:pt x="0" y="1598343"/>
                    </a:cubicBezTo>
                    <a:cubicBezTo>
                      <a:pt x="0" y="1220830"/>
                      <a:pt x="306711" y="910295"/>
                      <a:pt x="683266" y="904206"/>
                    </a:cubicBezTo>
                    <a:cubicBezTo>
                      <a:pt x="710597" y="873761"/>
                      <a:pt x="710597" y="873761"/>
                      <a:pt x="710597" y="873761"/>
                    </a:cubicBezTo>
                    <a:cubicBezTo>
                      <a:pt x="710597" y="870717"/>
                      <a:pt x="713634" y="870717"/>
                      <a:pt x="713634" y="867672"/>
                    </a:cubicBezTo>
                    <a:cubicBezTo>
                      <a:pt x="835103" y="745894"/>
                      <a:pt x="999087" y="678915"/>
                      <a:pt x="1172181" y="678915"/>
                    </a:cubicBezTo>
                    <a:cubicBezTo>
                      <a:pt x="1172181" y="678915"/>
                      <a:pt x="1175218" y="678915"/>
                      <a:pt x="1178255" y="678915"/>
                    </a:cubicBezTo>
                    <a:cubicBezTo>
                      <a:pt x="1184328" y="605848"/>
                      <a:pt x="1184328" y="605848"/>
                      <a:pt x="1184328" y="605848"/>
                    </a:cubicBezTo>
                    <a:cubicBezTo>
                      <a:pt x="1184328" y="602804"/>
                      <a:pt x="1184328" y="599759"/>
                      <a:pt x="1187365" y="599759"/>
                    </a:cubicBezTo>
                    <a:cubicBezTo>
                      <a:pt x="1257210" y="252691"/>
                      <a:pt x="1566957" y="0"/>
                      <a:pt x="1919219" y="0"/>
                    </a:cubicBezTo>
                    <a:close/>
                  </a:path>
                </a:pathLst>
              </a:custGeom>
              <a:solidFill>
                <a:srgbClr val="FFFFFF"/>
              </a:solidFill>
              <a:ln>
                <a:noFill/>
              </a:ln>
            </p:spPr>
            <p:txBody>
              <a:bodyPr vert="horz" wrap="square" lIns="91440" tIns="45720" rIns="91440" bIns="45720" numCol="1" anchor="t" anchorCtr="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175" name="Freeform 109"/>
              <p:cNvSpPr>
                <a:spLocks/>
              </p:cNvSpPr>
              <p:nvPr/>
            </p:nvSpPr>
            <p:spPr bwMode="auto">
              <a:xfrm>
                <a:off x="7936686" y="2796097"/>
                <a:ext cx="148270" cy="149376"/>
              </a:xfrm>
              <a:custGeom>
                <a:avLst/>
                <a:gdLst>
                  <a:gd name="T0" fmla="*/ 680 w 701"/>
                  <a:gd name="T1" fmla="*/ 640 h 704"/>
                  <a:gd name="T2" fmla="*/ 568 w 701"/>
                  <a:gd name="T3" fmla="*/ 571 h 704"/>
                  <a:gd name="T4" fmla="*/ 531 w 701"/>
                  <a:gd name="T5" fmla="*/ 573 h 704"/>
                  <a:gd name="T6" fmla="*/ 351 w 701"/>
                  <a:gd name="T7" fmla="*/ 637 h 704"/>
                  <a:gd name="T8" fmla="*/ 64 w 701"/>
                  <a:gd name="T9" fmla="*/ 350 h 704"/>
                  <a:gd name="T10" fmla="*/ 351 w 701"/>
                  <a:gd name="T11" fmla="*/ 64 h 704"/>
                  <a:gd name="T12" fmla="*/ 631 w 701"/>
                  <a:gd name="T13" fmla="*/ 294 h 704"/>
                  <a:gd name="T14" fmla="*/ 474 w 701"/>
                  <a:gd name="T15" fmla="*/ 294 h 704"/>
                  <a:gd name="T16" fmla="*/ 445 w 701"/>
                  <a:gd name="T17" fmla="*/ 312 h 704"/>
                  <a:gd name="T18" fmla="*/ 432 w 701"/>
                  <a:gd name="T19" fmla="*/ 338 h 704"/>
                  <a:gd name="T20" fmla="*/ 320 w 701"/>
                  <a:gd name="T21" fmla="*/ 203 h 704"/>
                  <a:gd name="T22" fmla="*/ 284 w 701"/>
                  <a:gd name="T23" fmla="*/ 193 h 704"/>
                  <a:gd name="T24" fmla="*/ 263 w 701"/>
                  <a:gd name="T25" fmla="*/ 223 h 704"/>
                  <a:gd name="T26" fmla="*/ 263 w 701"/>
                  <a:gd name="T27" fmla="*/ 327 h 704"/>
                  <a:gd name="T28" fmla="*/ 192 w 701"/>
                  <a:gd name="T29" fmla="*/ 327 h 704"/>
                  <a:gd name="T30" fmla="*/ 160 w 701"/>
                  <a:gd name="T31" fmla="*/ 359 h 704"/>
                  <a:gd name="T32" fmla="*/ 192 w 701"/>
                  <a:gd name="T33" fmla="*/ 391 h 704"/>
                  <a:gd name="T34" fmla="*/ 295 w 701"/>
                  <a:gd name="T35" fmla="*/ 391 h 704"/>
                  <a:gd name="T36" fmla="*/ 327 w 701"/>
                  <a:gd name="T37" fmla="*/ 359 h 704"/>
                  <a:gd name="T38" fmla="*/ 327 w 701"/>
                  <a:gd name="T39" fmla="*/ 311 h 704"/>
                  <a:gd name="T40" fmla="*/ 414 w 701"/>
                  <a:gd name="T41" fmla="*/ 416 h 704"/>
                  <a:gd name="T42" fmla="*/ 439 w 701"/>
                  <a:gd name="T43" fmla="*/ 428 h 704"/>
                  <a:gd name="T44" fmla="*/ 443 w 701"/>
                  <a:gd name="T45" fmla="*/ 428 h 704"/>
                  <a:gd name="T46" fmla="*/ 468 w 701"/>
                  <a:gd name="T47" fmla="*/ 410 h 704"/>
                  <a:gd name="T48" fmla="*/ 494 w 701"/>
                  <a:gd name="T49" fmla="*/ 358 h 704"/>
                  <a:gd name="T50" fmla="*/ 661 w 701"/>
                  <a:gd name="T51" fmla="*/ 358 h 704"/>
                  <a:gd name="T52" fmla="*/ 665 w 701"/>
                  <a:gd name="T53" fmla="*/ 358 h 704"/>
                  <a:gd name="T54" fmla="*/ 670 w 701"/>
                  <a:gd name="T55" fmla="*/ 358 h 704"/>
                  <a:gd name="T56" fmla="*/ 700 w 701"/>
                  <a:gd name="T57" fmla="*/ 324 h 704"/>
                  <a:gd name="T58" fmla="*/ 589 w 701"/>
                  <a:gd name="T59" fmla="*/ 94 h 704"/>
                  <a:gd name="T60" fmla="*/ 351 w 701"/>
                  <a:gd name="T61" fmla="*/ 0 h 704"/>
                  <a:gd name="T62" fmla="*/ 0 w 701"/>
                  <a:gd name="T63" fmla="*/ 350 h 704"/>
                  <a:gd name="T64" fmla="*/ 351 w 701"/>
                  <a:gd name="T65" fmla="*/ 701 h 704"/>
                  <a:gd name="T66" fmla="*/ 553 w 701"/>
                  <a:gd name="T67" fmla="*/ 637 h 704"/>
                  <a:gd name="T68" fmla="*/ 646 w 701"/>
                  <a:gd name="T69" fmla="*/ 694 h 704"/>
                  <a:gd name="T70" fmla="*/ 690 w 701"/>
                  <a:gd name="T71" fmla="*/ 684 h 704"/>
                  <a:gd name="T72" fmla="*/ 680 w 701"/>
                  <a:gd name="T73" fmla="*/ 640 h 7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01" h="704">
                    <a:moveTo>
                      <a:pt x="680" y="640"/>
                    </a:moveTo>
                    <a:cubicBezTo>
                      <a:pt x="568" y="571"/>
                      <a:pt x="568" y="571"/>
                      <a:pt x="568" y="571"/>
                    </a:cubicBezTo>
                    <a:cubicBezTo>
                      <a:pt x="556" y="564"/>
                      <a:pt x="541" y="564"/>
                      <a:pt x="531" y="573"/>
                    </a:cubicBezTo>
                    <a:cubicBezTo>
                      <a:pt x="479" y="615"/>
                      <a:pt x="417" y="637"/>
                      <a:pt x="351" y="637"/>
                    </a:cubicBezTo>
                    <a:cubicBezTo>
                      <a:pt x="193" y="637"/>
                      <a:pt x="64" y="508"/>
                      <a:pt x="64" y="350"/>
                    </a:cubicBezTo>
                    <a:cubicBezTo>
                      <a:pt x="64" y="193"/>
                      <a:pt x="193" y="64"/>
                      <a:pt x="351" y="64"/>
                    </a:cubicBezTo>
                    <a:cubicBezTo>
                      <a:pt x="488" y="64"/>
                      <a:pt x="605" y="163"/>
                      <a:pt x="631" y="294"/>
                    </a:cubicBezTo>
                    <a:cubicBezTo>
                      <a:pt x="474" y="294"/>
                      <a:pt x="474" y="294"/>
                      <a:pt x="474" y="294"/>
                    </a:cubicBezTo>
                    <a:cubicBezTo>
                      <a:pt x="462" y="294"/>
                      <a:pt x="451" y="301"/>
                      <a:pt x="445" y="312"/>
                    </a:cubicBezTo>
                    <a:cubicBezTo>
                      <a:pt x="432" y="338"/>
                      <a:pt x="432" y="338"/>
                      <a:pt x="432" y="338"/>
                    </a:cubicBezTo>
                    <a:cubicBezTo>
                      <a:pt x="320" y="203"/>
                      <a:pt x="320" y="203"/>
                      <a:pt x="320" y="203"/>
                    </a:cubicBezTo>
                    <a:cubicBezTo>
                      <a:pt x="311" y="192"/>
                      <a:pt x="297" y="188"/>
                      <a:pt x="284" y="193"/>
                    </a:cubicBezTo>
                    <a:cubicBezTo>
                      <a:pt x="271" y="197"/>
                      <a:pt x="263" y="210"/>
                      <a:pt x="263" y="223"/>
                    </a:cubicBezTo>
                    <a:cubicBezTo>
                      <a:pt x="263" y="327"/>
                      <a:pt x="263" y="327"/>
                      <a:pt x="263" y="327"/>
                    </a:cubicBezTo>
                    <a:cubicBezTo>
                      <a:pt x="192" y="327"/>
                      <a:pt x="192" y="327"/>
                      <a:pt x="192" y="327"/>
                    </a:cubicBezTo>
                    <a:cubicBezTo>
                      <a:pt x="174" y="327"/>
                      <a:pt x="160" y="341"/>
                      <a:pt x="160" y="359"/>
                    </a:cubicBezTo>
                    <a:cubicBezTo>
                      <a:pt x="160" y="377"/>
                      <a:pt x="174" y="391"/>
                      <a:pt x="192" y="391"/>
                    </a:cubicBezTo>
                    <a:cubicBezTo>
                      <a:pt x="295" y="391"/>
                      <a:pt x="295" y="391"/>
                      <a:pt x="295" y="391"/>
                    </a:cubicBezTo>
                    <a:cubicBezTo>
                      <a:pt x="313" y="391"/>
                      <a:pt x="327" y="377"/>
                      <a:pt x="327" y="359"/>
                    </a:cubicBezTo>
                    <a:cubicBezTo>
                      <a:pt x="327" y="311"/>
                      <a:pt x="327" y="311"/>
                      <a:pt x="327" y="311"/>
                    </a:cubicBezTo>
                    <a:cubicBezTo>
                      <a:pt x="414" y="416"/>
                      <a:pt x="414" y="416"/>
                      <a:pt x="414" y="416"/>
                    </a:cubicBezTo>
                    <a:cubicBezTo>
                      <a:pt x="421" y="424"/>
                      <a:pt x="430" y="428"/>
                      <a:pt x="439" y="428"/>
                    </a:cubicBezTo>
                    <a:cubicBezTo>
                      <a:pt x="440" y="428"/>
                      <a:pt x="441" y="428"/>
                      <a:pt x="443" y="428"/>
                    </a:cubicBezTo>
                    <a:cubicBezTo>
                      <a:pt x="453" y="427"/>
                      <a:pt x="463" y="420"/>
                      <a:pt x="468" y="410"/>
                    </a:cubicBezTo>
                    <a:cubicBezTo>
                      <a:pt x="494" y="358"/>
                      <a:pt x="494" y="358"/>
                      <a:pt x="494" y="358"/>
                    </a:cubicBezTo>
                    <a:cubicBezTo>
                      <a:pt x="661" y="358"/>
                      <a:pt x="661" y="358"/>
                      <a:pt x="661" y="358"/>
                    </a:cubicBezTo>
                    <a:cubicBezTo>
                      <a:pt x="662" y="358"/>
                      <a:pt x="663" y="358"/>
                      <a:pt x="665" y="358"/>
                    </a:cubicBezTo>
                    <a:cubicBezTo>
                      <a:pt x="666" y="358"/>
                      <a:pt x="668" y="358"/>
                      <a:pt x="670" y="358"/>
                    </a:cubicBezTo>
                    <a:cubicBezTo>
                      <a:pt x="688" y="357"/>
                      <a:pt x="701" y="341"/>
                      <a:pt x="700" y="324"/>
                    </a:cubicBezTo>
                    <a:cubicBezTo>
                      <a:pt x="693" y="236"/>
                      <a:pt x="654" y="154"/>
                      <a:pt x="589" y="94"/>
                    </a:cubicBezTo>
                    <a:cubicBezTo>
                      <a:pt x="524" y="33"/>
                      <a:pt x="439" y="0"/>
                      <a:pt x="351" y="0"/>
                    </a:cubicBezTo>
                    <a:cubicBezTo>
                      <a:pt x="157" y="0"/>
                      <a:pt x="0" y="157"/>
                      <a:pt x="0" y="350"/>
                    </a:cubicBezTo>
                    <a:cubicBezTo>
                      <a:pt x="0" y="544"/>
                      <a:pt x="157" y="701"/>
                      <a:pt x="351" y="701"/>
                    </a:cubicBezTo>
                    <a:cubicBezTo>
                      <a:pt x="423" y="701"/>
                      <a:pt x="494" y="678"/>
                      <a:pt x="553" y="637"/>
                    </a:cubicBezTo>
                    <a:cubicBezTo>
                      <a:pt x="646" y="694"/>
                      <a:pt x="646" y="694"/>
                      <a:pt x="646" y="694"/>
                    </a:cubicBezTo>
                    <a:cubicBezTo>
                      <a:pt x="661" y="704"/>
                      <a:pt x="681" y="699"/>
                      <a:pt x="690" y="684"/>
                    </a:cubicBezTo>
                    <a:cubicBezTo>
                      <a:pt x="700" y="669"/>
                      <a:pt x="695" y="649"/>
                      <a:pt x="680" y="640"/>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grpSp>
        <p:sp>
          <p:nvSpPr>
            <p:cNvPr id="166" name="Rectangle 165"/>
            <p:cNvSpPr/>
            <p:nvPr/>
          </p:nvSpPr>
          <p:spPr>
            <a:xfrm>
              <a:off x="8241821" y="5297166"/>
              <a:ext cx="1271016" cy="261610"/>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FFFFFF"/>
                  </a:solidFill>
                  <a:effectLst/>
                  <a:uLnTx/>
                  <a:uFillTx/>
                  <a:cs typeface="Segoe UI Semilight" panose="020B0402040204020203" pitchFamily="34" charset="0"/>
                </a:rPr>
                <a:t>Power BI</a:t>
              </a:r>
            </a:p>
          </p:txBody>
        </p:sp>
        <p:grpSp>
          <p:nvGrpSpPr>
            <p:cNvPr id="167" name="Group 166"/>
            <p:cNvGrpSpPr/>
            <p:nvPr/>
          </p:nvGrpSpPr>
          <p:grpSpPr>
            <a:xfrm>
              <a:off x="7884058" y="5324140"/>
              <a:ext cx="324905" cy="207663"/>
              <a:chOff x="7884058" y="5368509"/>
              <a:chExt cx="324905" cy="207663"/>
            </a:xfrm>
          </p:grpSpPr>
          <p:sp>
            <p:nvSpPr>
              <p:cNvPr id="169" name="Freeform 5"/>
              <p:cNvSpPr>
                <a:spLocks noEditPoints="1"/>
              </p:cNvSpPr>
              <p:nvPr/>
            </p:nvSpPr>
            <p:spPr bwMode="auto">
              <a:xfrm>
                <a:off x="7884058" y="5368509"/>
                <a:ext cx="324905" cy="207663"/>
              </a:xfrm>
              <a:custGeom>
                <a:avLst/>
                <a:gdLst>
                  <a:gd name="T0" fmla="*/ 296 w 296"/>
                  <a:gd name="T1" fmla="*/ 164 h 188"/>
                  <a:gd name="T2" fmla="*/ 296 w 296"/>
                  <a:gd name="T3" fmla="*/ 188 h 188"/>
                  <a:gd name="T4" fmla="*/ 0 w 296"/>
                  <a:gd name="T5" fmla="*/ 188 h 188"/>
                  <a:gd name="T6" fmla="*/ 0 w 296"/>
                  <a:gd name="T7" fmla="*/ 164 h 188"/>
                  <a:gd name="T8" fmla="*/ 21 w 296"/>
                  <a:gd name="T9" fmla="*/ 164 h 188"/>
                  <a:gd name="T10" fmla="*/ 20 w 296"/>
                  <a:gd name="T11" fmla="*/ 22 h 188"/>
                  <a:gd name="T12" fmla="*/ 42 w 296"/>
                  <a:gd name="T13" fmla="*/ 0 h 188"/>
                  <a:gd name="T14" fmla="*/ 222 w 296"/>
                  <a:gd name="T15" fmla="*/ 1 h 188"/>
                  <a:gd name="T16" fmla="*/ 275 w 296"/>
                  <a:gd name="T17" fmla="*/ 54 h 188"/>
                  <a:gd name="T18" fmla="*/ 275 w 296"/>
                  <a:gd name="T19" fmla="*/ 164 h 188"/>
                  <a:gd name="T20" fmla="*/ 296 w 296"/>
                  <a:gd name="T21" fmla="*/ 164 h 188"/>
                  <a:gd name="T22" fmla="*/ 251 w 296"/>
                  <a:gd name="T23" fmla="*/ 164 h 188"/>
                  <a:gd name="T24" fmla="*/ 251 w 296"/>
                  <a:gd name="T25" fmla="*/ 25 h 188"/>
                  <a:gd name="T26" fmla="*/ 45 w 296"/>
                  <a:gd name="T27" fmla="*/ 25 h 188"/>
                  <a:gd name="T28" fmla="*/ 45 w 296"/>
                  <a:gd name="T29" fmla="*/ 164 h 188"/>
                  <a:gd name="T30" fmla="*/ 251 w 296"/>
                  <a:gd name="T31" fmla="*/ 164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96" h="188">
                    <a:moveTo>
                      <a:pt x="296" y="164"/>
                    </a:moveTo>
                    <a:cubicBezTo>
                      <a:pt x="296" y="172"/>
                      <a:pt x="296" y="180"/>
                      <a:pt x="296" y="188"/>
                    </a:cubicBezTo>
                    <a:cubicBezTo>
                      <a:pt x="197" y="188"/>
                      <a:pt x="99" y="188"/>
                      <a:pt x="0" y="188"/>
                    </a:cubicBezTo>
                    <a:cubicBezTo>
                      <a:pt x="0" y="180"/>
                      <a:pt x="0" y="172"/>
                      <a:pt x="0" y="164"/>
                    </a:cubicBezTo>
                    <a:cubicBezTo>
                      <a:pt x="6" y="164"/>
                      <a:pt x="13" y="164"/>
                      <a:pt x="21" y="164"/>
                    </a:cubicBezTo>
                    <a:cubicBezTo>
                      <a:pt x="21" y="115"/>
                      <a:pt x="21" y="69"/>
                      <a:pt x="20" y="22"/>
                    </a:cubicBezTo>
                    <a:cubicBezTo>
                      <a:pt x="20" y="6"/>
                      <a:pt x="25" y="0"/>
                      <a:pt x="42" y="0"/>
                    </a:cubicBezTo>
                    <a:cubicBezTo>
                      <a:pt x="102" y="1"/>
                      <a:pt x="162" y="1"/>
                      <a:pt x="222" y="1"/>
                    </a:cubicBezTo>
                    <a:cubicBezTo>
                      <a:pt x="275" y="1"/>
                      <a:pt x="275" y="1"/>
                      <a:pt x="275" y="54"/>
                    </a:cubicBezTo>
                    <a:cubicBezTo>
                      <a:pt x="275" y="91"/>
                      <a:pt x="275" y="127"/>
                      <a:pt x="275" y="164"/>
                    </a:cubicBezTo>
                    <a:cubicBezTo>
                      <a:pt x="284" y="164"/>
                      <a:pt x="290" y="164"/>
                      <a:pt x="296" y="164"/>
                    </a:cubicBezTo>
                    <a:close/>
                    <a:moveTo>
                      <a:pt x="251" y="164"/>
                    </a:moveTo>
                    <a:cubicBezTo>
                      <a:pt x="251" y="116"/>
                      <a:pt x="251" y="70"/>
                      <a:pt x="251" y="25"/>
                    </a:cubicBezTo>
                    <a:cubicBezTo>
                      <a:pt x="181" y="25"/>
                      <a:pt x="113" y="25"/>
                      <a:pt x="45" y="25"/>
                    </a:cubicBezTo>
                    <a:cubicBezTo>
                      <a:pt x="45" y="72"/>
                      <a:pt x="45" y="118"/>
                      <a:pt x="45" y="164"/>
                    </a:cubicBezTo>
                    <a:cubicBezTo>
                      <a:pt x="114" y="164"/>
                      <a:pt x="182" y="164"/>
                      <a:pt x="251" y="164"/>
                    </a:cubicBezTo>
                    <a:close/>
                  </a:path>
                </a:pathLst>
              </a:custGeom>
              <a:solidFill>
                <a:srgbClr val="FFFFFF"/>
              </a:solidFill>
              <a:ln>
                <a:noFill/>
              </a:ln>
            </p:spPr>
            <p:txBody>
              <a:bodyPr vert="horz" wrap="square" lIns="89642" tIns="44821" rIns="89642" bIns="44821"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FFFFFF"/>
                  </a:solidFill>
                  <a:effectLst/>
                  <a:uLnTx/>
                  <a:uFillTx/>
                </a:endParaRPr>
              </a:p>
            </p:txBody>
          </p:sp>
          <p:sp>
            <p:nvSpPr>
              <p:cNvPr id="170" name="Freeform 6"/>
              <p:cNvSpPr>
                <a:spLocks/>
              </p:cNvSpPr>
              <p:nvPr/>
            </p:nvSpPr>
            <p:spPr bwMode="auto">
              <a:xfrm>
                <a:off x="8002832" y="5412187"/>
                <a:ext cx="35248" cy="124138"/>
              </a:xfrm>
              <a:custGeom>
                <a:avLst/>
                <a:gdLst>
                  <a:gd name="T0" fmla="*/ 31 w 32"/>
                  <a:gd name="T1" fmla="*/ 58 h 112"/>
                  <a:gd name="T2" fmla="*/ 32 w 32"/>
                  <a:gd name="T3" fmla="*/ 94 h 112"/>
                  <a:gd name="T4" fmla="*/ 16 w 32"/>
                  <a:gd name="T5" fmla="*/ 112 h 112"/>
                  <a:gd name="T6" fmla="*/ 0 w 32"/>
                  <a:gd name="T7" fmla="*/ 93 h 112"/>
                  <a:gd name="T8" fmla="*/ 0 w 32"/>
                  <a:gd name="T9" fmla="*/ 15 h 112"/>
                  <a:gd name="T10" fmla="*/ 15 w 32"/>
                  <a:gd name="T11" fmla="*/ 0 h 112"/>
                  <a:gd name="T12" fmla="*/ 32 w 32"/>
                  <a:gd name="T13" fmla="*/ 16 h 112"/>
                  <a:gd name="T14" fmla="*/ 31 w 32"/>
                  <a:gd name="T15" fmla="*/ 58 h 1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 h="112">
                    <a:moveTo>
                      <a:pt x="31" y="58"/>
                    </a:moveTo>
                    <a:cubicBezTo>
                      <a:pt x="31" y="70"/>
                      <a:pt x="31" y="82"/>
                      <a:pt x="32" y="94"/>
                    </a:cubicBezTo>
                    <a:cubicBezTo>
                      <a:pt x="32" y="105"/>
                      <a:pt x="30" y="112"/>
                      <a:pt x="16" y="112"/>
                    </a:cubicBezTo>
                    <a:cubicBezTo>
                      <a:pt x="1" y="112"/>
                      <a:pt x="0" y="104"/>
                      <a:pt x="0" y="93"/>
                    </a:cubicBezTo>
                    <a:cubicBezTo>
                      <a:pt x="1" y="67"/>
                      <a:pt x="1" y="41"/>
                      <a:pt x="0" y="15"/>
                    </a:cubicBezTo>
                    <a:cubicBezTo>
                      <a:pt x="0" y="4"/>
                      <a:pt x="4" y="0"/>
                      <a:pt x="15" y="0"/>
                    </a:cubicBezTo>
                    <a:cubicBezTo>
                      <a:pt x="27" y="0"/>
                      <a:pt x="32" y="4"/>
                      <a:pt x="32" y="16"/>
                    </a:cubicBezTo>
                    <a:cubicBezTo>
                      <a:pt x="31" y="30"/>
                      <a:pt x="31" y="44"/>
                      <a:pt x="31" y="58"/>
                    </a:cubicBezTo>
                    <a:close/>
                  </a:path>
                </a:pathLst>
              </a:custGeom>
              <a:solidFill>
                <a:srgbClr val="FFFFFF"/>
              </a:solidFill>
              <a:ln>
                <a:noFill/>
              </a:ln>
            </p:spPr>
            <p:txBody>
              <a:bodyPr vert="horz" wrap="square" lIns="89642" tIns="44821" rIns="89642" bIns="44821"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FFFFFF"/>
                  </a:solidFill>
                  <a:effectLst/>
                  <a:uLnTx/>
                  <a:uFillTx/>
                </a:endParaRPr>
              </a:p>
            </p:txBody>
          </p:sp>
          <p:sp>
            <p:nvSpPr>
              <p:cNvPr id="171" name="Freeform 7"/>
              <p:cNvSpPr>
                <a:spLocks/>
              </p:cNvSpPr>
              <p:nvPr/>
            </p:nvSpPr>
            <p:spPr bwMode="auto">
              <a:xfrm>
                <a:off x="8055706" y="5447436"/>
                <a:ext cx="36015" cy="88889"/>
              </a:xfrm>
              <a:custGeom>
                <a:avLst/>
                <a:gdLst>
                  <a:gd name="T0" fmla="*/ 31 w 33"/>
                  <a:gd name="T1" fmla="*/ 40 h 80"/>
                  <a:gd name="T2" fmla="*/ 32 w 33"/>
                  <a:gd name="T3" fmla="*/ 62 h 80"/>
                  <a:gd name="T4" fmla="*/ 16 w 33"/>
                  <a:gd name="T5" fmla="*/ 80 h 80"/>
                  <a:gd name="T6" fmla="*/ 0 w 33"/>
                  <a:gd name="T7" fmla="*/ 61 h 80"/>
                  <a:gd name="T8" fmla="*/ 0 w 33"/>
                  <a:gd name="T9" fmla="*/ 17 h 80"/>
                  <a:gd name="T10" fmla="*/ 15 w 33"/>
                  <a:gd name="T11" fmla="*/ 0 h 80"/>
                  <a:gd name="T12" fmla="*/ 32 w 33"/>
                  <a:gd name="T13" fmla="*/ 18 h 80"/>
                  <a:gd name="T14" fmla="*/ 31 w 33"/>
                  <a:gd name="T15" fmla="*/ 40 h 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3" h="80">
                    <a:moveTo>
                      <a:pt x="31" y="40"/>
                    </a:moveTo>
                    <a:cubicBezTo>
                      <a:pt x="31" y="47"/>
                      <a:pt x="31" y="54"/>
                      <a:pt x="32" y="62"/>
                    </a:cubicBezTo>
                    <a:cubicBezTo>
                      <a:pt x="32" y="73"/>
                      <a:pt x="30" y="80"/>
                      <a:pt x="16" y="80"/>
                    </a:cubicBezTo>
                    <a:cubicBezTo>
                      <a:pt x="1" y="80"/>
                      <a:pt x="0" y="72"/>
                      <a:pt x="0" y="61"/>
                    </a:cubicBezTo>
                    <a:cubicBezTo>
                      <a:pt x="1" y="46"/>
                      <a:pt x="1" y="32"/>
                      <a:pt x="0" y="17"/>
                    </a:cubicBezTo>
                    <a:cubicBezTo>
                      <a:pt x="0" y="6"/>
                      <a:pt x="2" y="0"/>
                      <a:pt x="15" y="0"/>
                    </a:cubicBezTo>
                    <a:cubicBezTo>
                      <a:pt x="29" y="0"/>
                      <a:pt x="33" y="6"/>
                      <a:pt x="32" y="18"/>
                    </a:cubicBezTo>
                    <a:cubicBezTo>
                      <a:pt x="31" y="25"/>
                      <a:pt x="31" y="33"/>
                      <a:pt x="31" y="40"/>
                    </a:cubicBezTo>
                    <a:close/>
                  </a:path>
                </a:pathLst>
              </a:custGeom>
              <a:solidFill>
                <a:srgbClr val="FFFFFF"/>
              </a:solidFill>
              <a:ln>
                <a:noFill/>
              </a:ln>
            </p:spPr>
            <p:txBody>
              <a:bodyPr vert="horz" wrap="square" lIns="89642" tIns="44821" rIns="89642" bIns="44821"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FFFFFF"/>
                  </a:solidFill>
                  <a:effectLst/>
                  <a:uLnTx/>
                  <a:uFillTx/>
                </a:endParaRPr>
              </a:p>
            </p:txBody>
          </p:sp>
          <p:sp>
            <p:nvSpPr>
              <p:cNvPr id="172" name="Freeform 8"/>
              <p:cNvSpPr>
                <a:spLocks/>
              </p:cNvSpPr>
              <p:nvPr/>
            </p:nvSpPr>
            <p:spPr bwMode="auto">
              <a:xfrm>
                <a:off x="7943062" y="5478854"/>
                <a:ext cx="49808" cy="57471"/>
              </a:xfrm>
              <a:custGeom>
                <a:avLst/>
                <a:gdLst>
                  <a:gd name="T0" fmla="*/ 6 w 45"/>
                  <a:gd name="T1" fmla="*/ 26 h 52"/>
                  <a:gd name="T2" fmla="*/ 22 w 45"/>
                  <a:gd name="T3" fmla="*/ 0 h 52"/>
                  <a:gd name="T4" fmla="*/ 37 w 45"/>
                  <a:gd name="T5" fmla="*/ 25 h 52"/>
                  <a:gd name="T6" fmla="*/ 23 w 45"/>
                  <a:gd name="T7" fmla="*/ 52 h 52"/>
                  <a:gd name="T8" fmla="*/ 6 w 45"/>
                  <a:gd name="T9" fmla="*/ 26 h 52"/>
                </a:gdLst>
                <a:ahLst/>
                <a:cxnLst>
                  <a:cxn ang="0">
                    <a:pos x="T0" y="T1"/>
                  </a:cxn>
                  <a:cxn ang="0">
                    <a:pos x="T2" y="T3"/>
                  </a:cxn>
                  <a:cxn ang="0">
                    <a:pos x="T4" y="T5"/>
                  </a:cxn>
                  <a:cxn ang="0">
                    <a:pos x="T6" y="T7"/>
                  </a:cxn>
                  <a:cxn ang="0">
                    <a:pos x="T8" y="T9"/>
                  </a:cxn>
                </a:cxnLst>
                <a:rect l="0" t="0" r="r" b="b"/>
                <a:pathLst>
                  <a:path w="45" h="52">
                    <a:moveTo>
                      <a:pt x="6" y="26"/>
                    </a:moveTo>
                    <a:cubicBezTo>
                      <a:pt x="8" y="16"/>
                      <a:pt x="0" y="0"/>
                      <a:pt x="22" y="0"/>
                    </a:cubicBezTo>
                    <a:cubicBezTo>
                      <a:pt x="43" y="0"/>
                      <a:pt x="38" y="14"/>
                      <a:pt x="37" y="25"/>
                    </a:cubicBezTo>
                    <a:cubicBezTo>
                      <a:pt x="36" y="35"/>
                      <a:pt x="45" y="51"/>
                      <a:pt x="23" y="52"/>
                    </a:cubicBezTo>
                    <a:cubicBezTo>
                      <a:pt x="1" y="52"/>
                      <a:pt x="8" y="37"/>
                      <a:pt x="6" y="26"/>
                    </a:cubicBezTo>
                    <a:close/>
                  </a:path>
                </a:pathLst>
              </a:custGeom>
              <a:solidFill>
                <a:srgbClr val="FFFFFF"/>
              </a:solidFill>
              <a:ln>
                <a:noFill/>
              </a:ln>
            </p:spPr>
            <p:txBody>
              <a:bodyPr vert="horz" wrap="square" lIns="89642" tIns="44821" rIns="89642" bIns="44821"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FFFFFF"/>
                  </a:solidFill>
                  <a:effectLst/>
                  <a:uLnTx/>
                  <a:uFillTx/>
                </a:endParaRPr>
              </a:p>
            </p:txBody>
          </p:sp>
          <p:sp>
            <p:nvSpPr>
              <p:cNvPr id="173" name="Freeform 9"/>
              <p:cNvSpPr>
                <a:spLocks/>
              </p:cNvSpPr>
              <p:nvPr/>
            </p:nvSpPr>
            <p:spPr bwMode="auto">
              <a:xfrm>
                <a:off x="8104749" y="5487282"/>
                <a:ext cx="42145" cy="49042"/>
              </a:xfrm>
              <a:custGeom>
                <a:avLst/>
                <a:gdLst>
                  <a:gd name="T0" fmla="*/ 34 w 38"/>
                  <a:gd name="T1" fmla="*/ 21 h 44"/>
                  <a:gd name="T2" fmla="*/ 19 w 38"/>
                  <a:gd name="T3" fmla="*/ 44 h 44"/>
                  <a:gd name="T4" fmla="*/ 3 w 38"/>
                  <a:gd name="T5" fmla="*/ 22 h 44"/>
                  <a:gd name="T6" fmla="*/ 20 w 38"/>
                  <a:gd name="T7" fmla="*/ 0 h 44"/>
                  <a:gd name="T8" fmla="*/ 34 w 38"/>
                  <a:gd name="T9" fmla="*/ 21 h 44"/>
                </a:gdLst>
                <a:ahLst/>
                <a:cxnLst>
                  <a:cxn ang="0">
                    <a:pos x="T0" y="T1"/>
                  </a:cxn>
                  <a:cxn ang="0">
                    <a:pos x="T2" y="T3"/>
                  </a:cxn>
                  <a:cxn ang="0">
                    <a:pos x="T4" y="T5"/>
                  </a:cxn>
                  <a:cxn ang="0">
                    <a:pos x="T6" y="T7"/>
                  </a:cxn>
                  <a:cxn ang="0">
                    <a:pos x="T8" y="T9"/>
                  </a:cxn>
                </a:cxnLst>
                <a:rect l="0" t="0" r="r" b="b"/>
                <a:pathLst>
                  <a:path w="38" h="44">
                    <a:moveTo>
                      <a:pt x="34" y="21"/>
                    </a:moveTo>
                    <a:cubicBezTo>
                      <a:pt x="34" y="32"/>
                      <a:pt x="38" y="44"/>
                      <a:pt x="19" y="44"/>
                    </a:cubicBezTo>
                    <a:cubicBezTo>
                      <a:pt x="0" y="44"/>
                      <a:pt x="4" y="32"/>
                      <a:pt x="3" y="22"/>
                    </a:cubicBezTo>
                    <a:cubicBezTo>
                      <a:pt x="3" y="10"/>
                      <a:pt x="2" y="0"/>
                      <a:pt x="20" y="0"/>
                    </a:cubicBezTo>
                    <a:cubicBezTo>
                      <a:pt x="37" y="0"/>
                      <a:pt x="34" y="11"/>
                      <a:pt x="34" y="21"/>
                    </a:cubicBezTo>
                    <a:close/>
                  </a:path>
                </a:pathLst>
              </a:custGeom>
              <a:solidFill>
                <a:srgbClr val="FFFFFF"/>
              </a:solidFill>
              <a:ln>
                <a:noFill/>
              </a:ln>
            </p:spPr>
            <p:txBody>
              <a:bodyPr vert="horz" wrap="square" lIns="89642" tIns="44821" rIns="89642" bIns="44821"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FFFFFF"/>
                  </a:solidFill>
                  <a:effectLst/>
                  <a:uLnTx/>
                  <a:uFillTx/>
                </a:endParaRPr>
              </a:p>
            </p:txBody>
          </p:sp>
        </p:grpSp>
        <p:sp>
          <p:nvSpPr>
            <p:cNvPr id="168" name="Freeform 43"/>
            <p:cNvSpPr/>
            <p:nvPr/>
          </p:nvSpPr>
          <p:spPr bwMode="auto">
            <a:xfrm>
              <a:off x="7857300" y="3140323"/>
              <a:ext cx="373358" cy="253796"/>
            </a:xfrm>
            <a:custGeom>
              <a:avLst/>
              <a:gdLst>
                <a:gd name="connsiteX0" fmla="*/ 3322794 w 5223983"/>
                <a:gd name="connsiteY0" fmla="*/ 1406050 h 3551081"/>
                <a:gd name="connsiteX1" fmla="*/ 3699984 w 5223983"/>
                <a:gd name="connsiteY1" fmla="*/ 1783240 h 3551081"/>
                <a:gd name="connsiteX2" fmla="*/ 3322794 w 5223983"/>
                <a:gd name="connsiteY2" fmla="*/ 2160430 h 3551081"/>
                <a:gd name="connsiteX3" fmla="*/ 2945604 w 5223983"/>
                <a:gd name="connsiteY3" fmla="*/ 1783240 h 3551081"/>
                <a:gd name="connsiteX4" fmla="*/ 3322794 w 5223983"/>
                <a:gd name="connsiteY4" fmla="*/ 1406050 h 3551081"/>
                <a:gd name="connsiteX5" fmla="*/ 1901190 w 5223983"/>
                <a:gd name="connsiteY5" fmla="*/ 1406050 h 3551081"/>
                <a:gd name="connsiteX6" fmla="*/ 2278380 w 5223983"/>
                <a:gd name="connsiteY6" fmla="*/ 1783240 h 3551081"/>
                <a:gd name="connsiteX7" fmla="*/ 1901190 w 5223983"/>
                <a:gd name="connsiteY7" fmla="*/ 2160430 h 3551081"/>
                <a:gd name="connsiteX8" fmla="*/ 1524000 w 5223983"/>
                <a:gd name="connsiteY8" fmla="*/ 1783240 h 3551081"/>
                <a:gd name="connsiteX9" fmla="*/ 1901190 w 5223983"/>
                <a:gd name="connsiteY9" fmla="*/ 1406050 h 3551081"/>
                <a:gd name="connsiteX10" fmla="*/ 3444555 w 5223983"/>
                <a:gd name="connsiteY10" fmla="*/ 1 h 3551081"/>
                <a:gd name="connsiteX11" fmla="*/ 5223983 w 5223983"/>
                <a:gd name="connsiteY11" fmla="*/ 1779430 h 3551081"/>
                <a:gd name="connsiteX12" fmla="*/ 3452333 w 5223983"/>
                <a:gd name="connsiteY12" fmla="*/ 3551081 h 3551081"/>
                <a:gd name="connsiteX13" fmla="*/ 3296124 w 5223983"/>
                <a:gd name="connsiteY13" fmla="*/ 3394871 h 3551081"/>
                <a:gd name="connsiteX14" fmla="*/ 4919183 w 5223983"/>
                <a:gd name="connsiteY14" fmla="*/ 1771811 h 3551081"/>
                <a:gd name="connsiteX15" fmla="*/ 3295964 w 5223983"/>
                <a:gd name="connsiteY15" fmla="*/ 148592 h 3551081"/>
                <a:gd name="connsiteX16" fmla="*/ 1779429 w 5223983"/>
                <a:gd name="connsiteY16" fmla="*/ 0 h 3551081"/>
                <a:gd name="connsiteX17" fmla="*/ 1928020 w 5223983"/>
                <a:gd name="connsiteY17" fmla="*/ 148590 h 3551081"/>
                <a:gd name="connsiteX18" fmla="*/ 304801 w 5223983"/>
                <a:gd name="connsiteY18" fmla="*/ 1771809 h 3551081"/>
                <a:gd name="connsiteX19" fmla="*/ 1927860 w 5223983"/>
                <a:gd name="connsiteY19" fmla="*/ 3394869 h 3551081"/>
                <a:gd name="connsiteX20" fmla="*/ 1771651 w 5223983"/>
                <a:gd name="connsiteY20" fmla="*/ 3551079 h 3551081"/>
                <a:gd name="connsiteX21" fmla="*/ 0 w 5223983"/>
                <a:gd name="connsiteY21" fmla="*/ 1779428 h 35510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5223983" h="3551081">
                  <a:moveTo>
                    <a:pt x="3322794" y="1406050"/>
                  </a:moveTo>
                  <a:cubicBezTo>
                    <a:pt x="3531110" y="1406050"/>
                    <a:pt x="3699984" y="1574924"/>
                    <a:pt x="3699984" y="1783240"/>
                  </a:cubicBezTo>
                  <a:cubicBezTo>
                    <a:pt x="3699984" y="1991556"/>
                    <a:pt x="3531110" y="2160430"/>
                    <a:pt x="3322794" y="2160430"/>
                  </a:cubicBezTo>
                  <a:cubicBezTo>
                    <a:pt x="3114478" y="2160430"/>
                    <a:pt x="2945604" y="1991556"/>
                    <a:pt x="2945604" y="1783240"/>
                  </a:cubicBezTo>
                  <a:cubicBezTo>
                    <a:pt x="2945604" y="1574924"/>
                    <a:pt x="3114478" y="1406050"/>
                    <a:pt x="3322794" y="1406050"/>
                  </a:cubicBezTo>
                  <a:close/>
                  <a:moveTo>
                    <a:pt x="1901190" y="1406050"/>
                  </a:moveTo>
                  <a:cubicBezTo>
                    <a:pt x="2109506" y="1406050"/>
                    <a:pt x="2278380" y="1574924"/>
                    <a:pt x="2278380" y="1783240"/>
                  </a:cubicBezTo>
                  <a:cubicBezTo>
                    <a:pt x="2278380" y="1991556"/>
                    <a:pt x="2109506" y="2160430"/>
                    <a:pt x="1901190" y="2160430"/>
                  </a:cubicBezTo>
                  <a:cubicBezTo>
                    <a:pt x="1692874" y="2160430"/>
                    <a:pt x="1524000" y="1991556"/>
                    <a:pt x="1524000" y="1783240"/>
                  </a:cubicBezTo>
                  <a:cubicBezTo>
                    <a:pt x="1524000" y="1574924"/>
                    <a:pt x="1692874" y="1406050"/>
                    <a:pt x="1901190" y="1406050"/>
                  </a:cubicBezTo>
                  <a:close/>
                  <a:moveTo>
                    <a:pt x="3444555" y="1"/>
                  </a:moveTo>
                  <a:lnTo>
                    <a:pt x="5223983" y="1779430"/>
                  </a:lnTo>
                  <a:lnTo>
                    <a:pt x="3452333" y="3551081"/>
                  </a:lnTo>
                  <a:lnTo>
                    <a:pt x="3296124" y="3394871"/>
                  </a:lnTo>
                  <a:lnTo>
                    <a:pt x="4919183" y="1771811"/>
                  </a:lnTo>
                  <a:lnTo>
                    <a:pt x="3295964" y="148592"/>
                  </a:lnTo>
                  <a:close/>
                  <a:moveTo>
                    <a:pt x="1779429" y="0"/>
                  </a:moveTo>
                  <a:lnTo>
                    <a:pt x="1928020" y="148590"/>
                  </a:lnTo>
                  <a:lnTo>
                    <a:pt x="304801" y="1771809"/>
                  </a:lnTo>
                  <a:lnTo>
                    <a:pt x="1927860" y="3394869"/>
                  </a:lnTo>
                  <a:lnTo>
                    <a:pt x="1771651" y="3551079"/>
                  </a:lnTo>
                  <a:lnTo>
                    <a:pt x="0" y="1779428"/>
                  </a:ln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a:ln>
                  <a:noFill/>
                </a:ln>
                <a:solidFill>
                  <a:srgbClr val="FFFFFF"/>
                </a:solidFill>
                <a:effectLst/>
                <a:uLnTx/>
                <a:uFillTx/>
                <a:latin typeface="Segoe UI"/>
                <a:ea typeface="Segoe UI" pitchFamily="34" charset="0"/>
                <a:cs typeface="Segoe UI" pitchFamily="34" charset="0"/>
              </a:endParaRPr>
            </a:p>
          </p:txBody>
        </p:sp>
      </p:grpSp>
      <p:grpSp>
        <p:nvGrpSpPr>
          <p:cNvPr id="180" name="Group 179"/>
          <p:cNvGrpSpPr/>
          <p:nvPr/>
        </p:nvGrpSpPr>
        <p:grpSpPr>
          <a:xfrm>
            <a:off x="2019368" y="1657048"/>
            <a:ext cx="2377440" cy="4551232"/>
            <a:chOff x="2019368" y="1657048"/>
            <a:chExt cx="2377440" cy="4551232"/>
          </a:xfrm>
        </p:grpSpPr>
        <p:sp>
          <p:nvSpPr>
            <p:cNvPr id="181" name="Rectangle 180"/>
            <p:cNvSpPr/>
            <p:nvPr/>
          </p:nvSpPr>
          <p:spPr bwMode="auto">
            <a:xfrm>
              <a:off x="2186019" y="1657048"/>
              <a:ext cx="1737360" cy="4187396"/>
            </a:xfrm>
            <a:prstGeom prst="rect">
              <a:avLst/>
            </a:prstGeom>
            <a:solidFill>
              <a:schemeClr val="accent1"/>
            </a:solidFill>
            <a:ln w="3175">
              <a:noFill/>
            </a:ln>
            <a:effectLst/>
          </p:spPr>
          <p:txBody>
            <a:bodyPr spcFirstLastPara="0" vert="horz" wrap="square" lIns="18281" tIns="91440" rIns="18281" bIns="91401" numCol="1" spcCol="1270" anchor="t" anchorCtr="0">
              <a:noAutofit/>
            </a:bodyPr>
            <a:lstStyle/>
            <a:p>
              <a:pPr marL="0" marR="0" lvl="0" indent="0" algn="ctr" defTabSz="725012" eaLnBrk="1" fontAlgn="auto" latinLnBrk="0" hangingPunct="1">
                <a:lnSpc>
                  <a:spcPct val="100000"/>
                </a:lnSpc>
                <a:spcBef>
                  <a:spcPct val="0"/>
                </a:spcBef>
                <a:spcAft>
                  <a:spcPct val="35000"/>
                </a:spcAft>
                <a:buClrTx/>
                <a:buSzTx/>
                <a:buFontTx/>
                <a:buNone/>
                <a:tabLst/>
                <a:defRPr/>
              </a:pPr>
              <a:r>
                <a:rPr kumimoji="0" lang="en-US" sz="1400" b="0" i="0" u="none" strike="noStrike" kern="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Information Management</a:t>
              </a:r>
            </a:p>
          </p:txBody>
        </p:sp>
        <p:sp>
          <p:nvSpPr>
            <p:cNvPr id="182" name="Rectangle 181"/>
            <p:cNvSpPr/>
            <p:nvPr/>
          </p:nvSpPr>
          <p:spPr>
            <a:xfrm>
              <a:off x="2652706" y="3724639"/>
              <a:ext cx="1271016" cy="261610"/>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FFFFFF"/>
                  </a:solidFill>
                  <a:effectLst/>
                  <a:uLnTx/>
                  <a:uFillTx/>
                  <a:cs typeface="Segoe UI Semilight" panose="020B0402040204020203" pitchFamily="34" charset="0"/>
                </a:rPr>
                <a:t>Event Hubs</a:t>
              </a:r>
              <a:endParaRPr kumimoji="0" lang="en-US" sz="1100" b="0" i="0" u="none" strike="noStrike" kern="0" cap="none" spc="0" normalizeH="0" baseline="0" noProof="0" dirty="0">
                <a:ln>
                  <a:noFill/>
                </a:ln>
                <a:solidFill>
                  <a:srgbClr val="FFFFFF"/>
                </a:solidFill>
                <a:effectLst/>
                <a:uLnTx/>
                <a:uFillTx/>
              </a:endParaRPr>
            </a:p>
          </p:txBody>
        </p:sp>
        <p:cxnSp>
          <p:nvCxnSpPr>
            <p:cNvPr id="183" name="Straight Connector 182"/>
            <p:cNvCxnSpPr/>
            <p:nvPr/>
          </p:nvCxnSpPr>
          <p:spPr>
            <a:xfrm>
              <a:off x="2019368" y="6118143"/>
              <a:ext cx="2377440" cy="0"/>
            </a:xfrm>
            <a:prstGeom prst="line">
              <a:avLst/>
            </a:prstGeom>
            <a:solidFill>
              <a:srgbClr val="FFFFFF">
                <a:lumMod val="85000"/>
              </a:srgbClr>
            </a:solidFill>
            <a:ln w="28575" cap="flat" cmpd="sng" algn="ctr">
              <a:solidFill>
                <a:srgbClr val="002050"/>
              </a:solidFill>
              <a:prstDash val="solid"/>
              <a:headEnd type="none"/>
              <a:tailEnd type="none"/>
            </a:ln>
            <a:effectLst/>
          </p:spPr>
        </p:cxnSp>
        <p:grpSp>
          <p:nvGrpSpPr>
            <p:cNvPr id="184" name="Group 183"/>
            <p:cNvGrpSpPr/>
            <p:nvPr/>
          </p:nvGrpSpPr>
          <p:grpSpPr>
            <a:xfrm rot="13500000">
              <a:off x="4205167" y="6028138"/>
              <a:ext cx="181498" cy="178786"/>
              <a:chOff x="402446" y="5872915"/>
              <a:chExt cx="292608" cy="288235"/>
            </a:xfrm>
            <a:solidFill>
              <a:srgbClr val="FFFFFF">
                <a:lumMod val="85000"/>
              </a:srgbClr>
            </a:solidFill>
          </p:grpSpPr>
          <p:cxnSp>
            <p:nvCxnSpPr>
              <p:cNvPr id="193" name="Straight Connector 192"/>
              <p:cNvCxnSpPr/>
              <p:nvPr/>
            </p:nvCxnSpPr>
            <p:spPr>
              <a:xfrm>
                <a:off x="412598" y="5872915"/>
                <a:ext cx="0" cy="288235"/>
              </a:xfrm>
              <a:prstGeom prst="line">
                <a:avLst/>
              </a:prstGeom>
              <a:grpFill/>
              <a:ln w="28575" cap="flat" cmpd="sng" algn="ctr">
                <a:solidFill>
                  <a:srgbClr val="002050"/>
                </a:solidFill>
                <a:prstDash val="solid"/>
                <a:headEnd type="none"/>
                <a:tailEnd type="none"/>
              </a:ln>
              <a:effectLst/>
            </p:spPr>
          </p:cxnSp>
          <p:cxnSp>
            <p:nvCxnSpPr>
              <p:cNvPr id="194" name="Straight Connector 193"/>
              <p:cNvCxnSpPr/>
              <p:nvPr/>
            </p:nvCxnSpPr>
            <p:spPr>
              <a:xfrm>
                <a:off x="402446" y="6148978"/>
                <a:ext cx="292608" cy="0"/>
              </a:xfrm>
              <a:prstGeom prst="line">
                <a:avLst/>
              </a:prstGeom>
              <a:grpFill/>
              <a:ln w="28575" cap="flat" cmpd="sng" algn="ctr">
                <a:solidFill>
                  <a:srgbClr val="002050"/>
                </a:solidFill>
                <a:prstDash val="solid"/>
                <a:headEnd type="none"/>
                <a:tailEnd type="none"/>
              </a:ln>
              <a:effectLst/>
            </p:spPr>
          </p:cxnSp>
        </p:grpSp>
        <p:sp>
          <p:nvSpPr>
            <p:cNvPr id="185" name="Rectangle 184"/>
            <p:cNvSpPr/>
            <p:nvPr/>
          </p:nvSpPr>
          <p:spPr>
            <a:xfrm>
              <a:off x="2652706" y="3161800"/>
              <a:ext cx="1271016" cy="261610"/>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FFFFFF"/>
                  </a:solidFill>
                  <a:effectLst/>
                  <a:uLnTx/>
                  <a:uFillTx/>
                  <a:cs typeface="Segoe UI Semilight" panose="020B0402040204020203" pitchFamily="34" charset="0"/>
                </a:rPr>
                <a:t>Data Catalog</a:t>
              </a:r>
            </a:p>
          </p:txBody>
        </p:sp>
        <p:grpSp>
          <p:nvGrpSpPr>
            <p:cNvPr id="186" name="Group 185"/>
            <p:cNvGrpSpPr/>
            <p:nvPr/>
          </p:nvGrpSpPr>
          <p:grpSpPr>
            <a:xfrm>
              <a:off x="2337798" y="3119355"/>
              <a:ext cx="274997" cy="292527"/>
              <a:chOff x="3232150" y="382588"/>
              <a:chExt cx="5727700" cy="6092825"/>
            </a:xfrm>
            <a:solidFill>
              <a:srgbClr val="FFFFFF"/>
            </a:solidFill>
          </p:grpSpPr>
          <p:sp>
            <p:nvSpPr>
              <p:cNvPr id="190" name="Freeform 10"/>
              <p:cNvSpPr>
                <a:spLocks/>
              </p:cNvSpPr>
              <p:nvPr/>
            </p:nvSpPr>
            <p:spPr bwMode="auto">
              <a:xfrm>
                <a:off x="3232150" y="382588"/>
                <a:ext cx="4492625" cy="4781550"/>
              </a:xfrm>
              <a:custGeom>
                <a:avLst/>
                <a:gdLst>
                  <a:gd name="T0" fmla="*/ 490 w 2830"/>
                  <a:gd name="T1" fmla="*/ 280 h 3012"/>
                  <a:gd name="T2" fmla="*/ 458 w 2830"/>
                  <a:gd name="T3" fmla="*/ 274 h 3012"/>
                  <a:gd name="T4" fmla="*/ 422 w 2830"/>
                  <a:gd name="T5" fmla="*/ 246 h 3012"/>
                  <a:gd name="T6" fmla="*/ 410 w 2830"/>
                  <a:gd name="T7" fmla="*/ 200 h 3012"/>
                  <a:gd name="T8" fmla="*/ 416 w 2830"/>
                  <a:gd name="T9" fmla="*/ 170 h 3012"/>
                  <a:gd name="T10" fmla="*/ 444 w 2830"/>
                  <a:gd name="T11" fmla="*/ 134 h 3012"/>
                  <a:gd name="T12" fmla="*/ 490 w 2830"/>
                  <a:gd name="T13" fmla="*/ 120 h 3012"/>
                  <a:gd name="T14" fmla="*/ 2724 w 2830"/>
                  <a:gd name="T15" fmla="*/ 1362 h 3012"/>
                  <a:gd name="T16" fmla="*/ 2830 w 2830"/>
                  <a:gd name="T17" fmla="*/ 0 h 3012"/>
                  <a:gd name="T18" fmla="*/ 382 w 2830"/>
                  <a:gd name="T19" fmla="*/ 16 h 3012"/>
                  <a:gd name="T20" fmla="*/ 314 w 2830"/>
                  <a:gd name="T21" fmla="*/ 74 h 3012"/>
                  <a:gd name="T22" fmla="*/ 266 w 2830"/>
                  <a:gd name="T23" fmla="*/ 130 h 3012"/>
                  <a:gd name="T24" fmla="*/ 222 w 2830"/>
                  <a:gd name="T25" fmla="*/ 206 h 3012"/>
                  <a:gd name="T26" fmla="*/ 214 w 2830"/>
                  <a:gd name="T27" fmla="*/ 736 h 3012"/>
                  <a:gd name="T28" fmla="*/ 62 w 2830"/>
                  <a:gd name="T29" fmla="*/ 738 h 3012"/>
                  <a:gd name="T30" fmla="*/ 22 w 2830"/>
                  <a:gd name="T31" fmla="*/ 760 h 3012"/>
                  <a:gd name="T32" fmla="*/ 0 w 2830"/>
                  <a:gd name="T33" fmla="*/ 800 h 3012"/>
                  <a:gd name="T34" fmla="*/ 0 w 2830"/>
                  <a:gd name="T35" fmla="*/ 832 h 3012"/>
                  <a:gd name="T36" fmla="*/ 22 w 2830"/>
                  <a:gd name="T37" fmla="*/ 872 h 3012"/>
                  <a:gd name="T38" fmla="*/ 62 w 2830"/>
                  <a:gd name="T39" fmla="*/ 894 h 3012"/>
                  <a:gd name="T40" fmla="*/ 214 w 2830"/>
                  <a:gd name="T41" fmla="*/ 896 h 3012"/>
                  <a:gd name="T42" fmla="*/ 80 w 2830"/>
                  <a:gd name="T43" fmla="*/ 1556 h 3012"/>
                  <a:gd name="T44" fmla="*/ 34 w 2830"/>
                  <a:gd name="T45" fmla="*/ 1570 h 3012"/>
                  <a:gd name="T46" fmla="*/ 6 w 2830"/>
                  <a:gd name="T47" fmla="*/ 1606 h 3012"/>
                  <a:gd name="T48" fmla="*/ 0 w 2830"/>
                  <a:gd name="T49" fmla="*/ 1636 h 3012"/>
                  <a:gd name="T50" fmla="*/ 12 w 2830"/>
                  <a:gd name="T51" fmla="*/ 1682 h 3012"/>
                  <a:gd name="T52" fmla="*/ 48 w 2830"/>
                  <a:gd name="T53" fmla="*/ 1710 h 3012"/>
                  <a:gd name="T54" fmla="*/ 214 w 2830"/>
                  <a:gd name="T55" fmla="*/ 1716 h 3012"/>
                  <a:gd name="T56" fmla="*/ 80 w 2830"/>
                  <a:gd name="T57" fmla="*/ 2314 h 3012"/>
                  <a:gd name="T58" fmla="*/ 48 w 2830"/>
                  <a:gd name="T59" fmla="*/ 2320 h 3012"/>
                  <a:gd name="T60" fmla="*/ 12 w 2830"/>
                  <a:gd name="T61" fmla="*/ 2348 h 3012"/>
                  <a:gd name="T62" fmla="*/ 0 w 2830"/>
                  <a:gd name="T63" fmla="*/ 2394 h 3012"/>
                  <a:gd name="T64" fmla="*/ 6 w 2830"/>
                  <a:gd name="T65" fmla="*/ 2424 h 3012"/>
                  <a:gd name="T66" fmla="*/ 34 w 2830"/>
                  <a:gd name="T67" fmla="*/ 2460 h 3012"/>
                  <a:gd name="T68" fmla="*/ 80 w 2830"/>
                  <a:gd name="T69" fmla="*/ 2474 h 3012"/>
                  <a:gd name="T70" fmla="*/ 214 w 2830"/>
                  <a:gd name="T71" fmla="*/ 2854 h 3012"/>
                  <a:gd name="T72" fmla="*/ 220 w 2830"/>
                  <a:gd name="T73" fmla="*/ 2910 h 3012"/>
                  <a:gd name="T74" fmla="*/ 250 w 2830"/>
                  <a:gd name="T75" fmla="*/ 2966 h 3012"/>
                  <a:gd name="T76" fmla="*/ 292 w 2830"/>
                  <a:gd name="T77" fmla="*/ 2998 h 3012"/>
                  <a:gd name="T78" fmla="*/ 346 w 2830"/>
                  <a:gd name="T79" fmla="*/ 3010 h 3012"/>
                  <a:gd name="T80" fmla="*/ 1744 w 2830"/>
                  <a:gd name="T81" fmla="*/ 3012 h 3012"/>
                  <a:gd name="T82" fmla="*/ 1746 w 2830"/>
                  <a:gd name="T83" fmla="*/ 1702 h 3012"/>
                  <a:gd name="T84" fmla="*/ 1786 w 2830"/>
                  <a:gd name="T85" fmla="*/ 1632 h 3012"/>
                  <a:gd name="T86" fmla="*/ 1840 w 2830"/>
                  <a:gd name="T87" fmla="*/ 1572 h 3012"/>
                  <a:gd name="T88" fmla="*/ 1900 w 2830"/>
                  <a:gd name="T89" fmla="*/ 1530 h 3012"/>
                  <a:gd name="T90" fmla="*/ 1952 w 2830"/>
                  <a:gd name="T91" fmla="*/ 1502 h 3012"/>
                  <a:gd name="T92" fmla="*/ 2048 w 2830"/>
                  <a:gd name="T93" fmla="*/ 1458 h 3012"/>
                  <a:gd name="T94" fmla="*/ 2162 w 2830"/>
                  <a:gd name="T95" fmla="*/ 1424 h 3012"/>
                  <a:gd name="T96" fmla="*/ 2376 w 2830"/>
                  <a:gd name="T97" fmla="*/ 1382 h 3012"/>
                  <a:gd name="T98" fmla="*/ 2564 w 2830"/>
                  <a:gd name="T99" fmla="*/ 1366 h 30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830" h="3012">
                    <a:moveTo>
                      <a:pt x="2564" y="1366"/>
                    </a:moveTo>
                    <a:lnTo>
                      <a:pt x="2564" y="280"/>
                    </a:lnTo>
                    <a:lnTo>
                      <a:pt x="490" y="280"/>
                    </a:lnTo>
                    <a:lnTo>
                      <a:pt x="490" y="280"/>
                    </a:lnTo>
                    <a:lnTo>
                      <a:pt x="472" y="280"/>
                    </a:lnTo>
                    <a:lnTo>
                      <a:pt x="458" y="274"/>
                    </a:lnTo>
                    <a:lnTo>
                      <a:pt x="444" y="268"/>
                    </a:lnTo>
                    <a:lnTo>
                      <a:pt x="432" y="258"/>
                    </a:lnTo>
                    <a:lnTo>
                      <a:pt x="422" y="246"/>
                    </a:lnTo>
                    <a:lnTo>
                      <a:pt x="416" y="232"/>
                    </a:lnTo>
                    <a:lnTo>
                      <a:pt x="410" y="216"/>
                    </a:lnTo>
                    <a:lnTo>
                      <a:pt x="410" y="200"/>
                    </a:lnTo>
                    <a:lnTo>
                      <a:pt x="410" y="200"/>
                    </a:lnTo>
                    <a:lnTo>
                      <a:pt x="410" y="184"/>
                    </a:lnTo>
                    <a:lnTo>
                      <a:pt x="416" y="170"/>
                    </a:lnTo>
                    <a:lnTo>
                      <a:pt x="422" y="156"/>
                    </a:lnTo>
                    <a:lnTo>
                      <a:pt x="432" y="144"/>
                    </a:lnTo>
                    <a:lnTo>
                      <a:pt x="444" y="134"/>
                    </a:lnTo>
                    <a:lnTo>
                      <a:pt x="458" y="126"/>
                    </a:lnTo>
                    <a:lnTo>
                      <a:pt x="472" y="122"/>
                    </a:lnTo>
                    <a:lnTo>
                      <a:pt x="490" y="120"/>
                    </a:lnTo>
                    <a:lnTo>
                      <a:pt x="2724" y="120"/>
                    </a:lnTo>
                    <a:lnTo>
                      <a:pt x="2724" y="1362"/>
                    </a:lnTo>
                    <a:lnTo>
                      <a:pt x="2724" y="1362"/>
                    </a:lnTo>
                    <a:lnTo>
                      <a:pt x="2776" y="1364"/>
                    </a:lnTo>
                    <a:lnTo>
                      <a:pt x="2830" y="1366"/>
                    </a:lnTo>
                    <a:lnTo>
                      <a:pt x="2830" y="0"/>
                    </a:lnTo>
                    <a:lnTo>
                      <a:pt x="410" y="0"/>
                    </a:lnTo>
                    <a:lnTo>
                      <a:pt x="410" y="0"/>
                    </a:lnTo>
                    <a:lnTo>
                      <a:pt x="382" y="16"/>
                    </a:lnTo>
                    <a:lnTo>
                      <a:pt x="356" y="36"/>
                    </a:lnTo>
                    <a:lnTo>
                      <a:pt x="334" y="54"/>
                    </a:lnTo>
                    <a:lnTo>
                      <a:pt x="314" y="74"/>
                    </a:lnTo>
                    <a:lnTo>
                      <a:pt x="296" y="92"/>
                    </a:lnTo>
                    <a:lnTo>
                      <a:pt x="280" y="112"/>
                    </a:lnTo>
                    <a:lnTo>
                      <a:pt x="266" y="130"/>
                    </a:lnTo>
                    <a:lnTo>
                      <a:pt x="254" y="148"/>
                    </a:lnTo>
                    <a:lnTo>
                      <a:pt x="234" y="180"/>
                    </a:lnTo>
                    <a:lnTo>
                      <a:pt x="222" y="206"/>
                    </a:lnTo>
                    <a:lnTo>
                      <a:pt x="214" y="230"/>
                    </a:lnTo>
                    <a:lnTo>
                      <a:pt x="214" y="230"/>
                    </a:lnTo>
                    <a:lnTo>
                      <a:pt x="214" y="736"/>
                    </a:lnTo>
                    <a:lnTo>
                      <a:pt x="80" y="736"/>
                    </a:lnTo>
                    <a:lnTo>
                      <a:pt x="80" y="736"/>
                    </a:lnTo>
                    <a:lnTo>
                      <a:pt x="62" y="738"/>
                    </a:lnTo>
                    <a:lnTo>
                      <a:pt x="48" y="742"/>
                    </a:lnTo>
                    <a:lnTo>
                      <a:pt x="34" y="750"/>
                    </a:lnTo>
                    <a:lnTo>
                      <a:pt x="22" y="760"/>
                    </a:lnTo>
                    <a:lnTo>
                      <a:pt x="12" y="772"/>
                    </a:lnTo>
                    <a:lnTo>
                      <a:pt x="6" y="784"/>
                    </a:lnTo>
                    <a:lnTo>
                      <a:pt x="0" y="800"/>
                    </a:lnTo>
                    <a:lnTo>
                      <a:pt x="0" y="816"/>
                    </a:lnTo>
                    <a:lnTo>
                      <a:pt x="0" y="816"/>
                    </a:lnTo>
                    <a:lnTo>
                      <a:pt x="0" y="832"/>
                    </a:lnTo>
                    <a:lnTo>
                      <a:pt x="6" y="846"/>
                    </a:lnTo>
                    <a:lnTo>
                      <a:pt x="12" y="860"/>
                    </a:lnTo>
                    <a:lnTo>
                      <a:pt x="22" y="872"/>
                    </a:lnTo>
                    <a:lnTo>
                      <a:pt x="34" y="882"/>
                    </a:lnTo>
                    <a:lnTo>
                      <a:pt x="48" y="890"/>
                    </a:lnTo>
                    <a:lnTo>
                      <a:pt x="62" y="894"/>
                    </a:lnTo>
                    <a:lnTo>
                      <a:pt x="80" y="896"/>
                    </a:lnTo>
                    <a:lnTo>
                      <a:pt x="214" y="896"/>
                    </a:lnTo>
                    <a:lnTo>
                      <a:pt x="214" y="896"/>
                    </a:lnTo>
                    <a:lnTo>
                      <a:pt x="214" y="1556"/>
                    </a:lnTo>
                    <a:lnTo>
                      <a:pt x="80" y="1556"/>
                    </a:lnTo>
                    <a:lnTo>
                      <a:pt x="80" y="1556"/>
                    </a:lnTo>
                    <a:lnTo>
                      <a:pt x="62" y="1558"/>
                    </a:lnTo>
                    <a:lnTo>
                      <a:pt x="48" y="1562"/>
                    </a:lnTo>
                    <a:lnTo>
                      <a:pt x="34" y="1570"/>
                    </a:lnTo>
                    <a:lnTo>
                      <a:pt x="22" y="1580"/>
                    </a:lnTo>
                    <a:lnTo>
                      <a:pt x="12" y="1592"/>
                    </a:lnTo>
                    <a:lnTo>
                      <a:pt x="6" y="1606"/>
                    </a:lnTo>
                    <a:lnTo>
                      <a:pt x="0" y="1620"/>
                    </a:lnTo>
                    <a:lnTo>
                      <a:pt x="0" y="1636"/>
                    </a:lnTo>
                    <a:lnTo>
                      <a:pt x="0" y="1636"/>
                    </a:lnTo>
                    <a:lnTo>
                      <a:pt x="0" y="1652"/>
                    </a:lnTo>
                    <a:lnTo>
                      <a:pt x="6" y="1668"/>
                    </a:lnTo>
                    <a:lnTo>
                      <a:pt x="12" y="1682"/>
                    </a:lnTo>
                    <a:lnTo>
                      <a:pt x="22" y="1694"/>
                    </a:lnTo>
                    <a:lnTo>
                      <a:pt x="34" y="1702"/>
                    </a:lnTo>
                    <a:lnTo>
                      <a:pt x="48" y="1710"/>
                    </a:lnTo>
                    <a:lnTo>
                      <a:pt x="62" y="1716"/>
                    </a:lnTo>
                    <a:lnTo>
                      <a:pt x="80" y="1716"/>
                    </a:lnTo>
                    <a:lnTo>
                      <a:pt x="214" y="1716"/>
                    </a:lnTo>
                    <a:lnTo>
                      <a:pt x="214" y="1716"/>
                    </a:lnTo>
                    <a:lnTo>
                      <a:pt x="214" y="2314"/>
                    </a:lnTo>
                    <a:lnTo>
                      <a:pt x="80" y="2314"/>
                    </a:lnTo>
                    <a:lnTo>
                      <a:pt x="80" y="2314"/>
                    </a:lnTo>
                    <a:lnTo>
                      <a:pt x="62" y="2316"/>
                    </a:lnTo>
                    <a:lnTo>
                      <a:pt x="48" y="2320"/>
                    </a:lnTo>
                    <a:lnTo>
                      <a:pt x="34" y="2328"/>
                    </a:lnTo>
                    <a:lnTo>
                      <a:pt x="22" y="2338"/>
                    </a:lnTo>
                    <a:lnTo>
                      <a:pt x="12" y="2348"/>
                    </a:lnTo>
                    <a:lnTo>
                      <a:pt x="6" y="2362"/>
                    </a:lnTo>
                    <a:lnTo>
                      <a:pt x="0" y="2378"/>
                    </a:lnTo>
                    <a:lnTo>
                      <a:pt x="0" y="2394"/>
                    </a:lnTo>
                    <a:lnTo>
                      <a:pt x="0" y="2394"/>
                    </a:lnTo>
                    <a:lnTo>
                      <a:pt x="0" y="2410"/>
                    </a:lnTo>
                    <a:lnTo>
                      <a:pt x="6" y="2424"/>
                    </a:lnTo>
                    <a:lnTo>
                      <a:pt x="12" y="2438"/>
                    </a:lnTo>
                    <a:lnTo>
                      <a:pt x="22" y="2450"/>
                    </a:lnTo>
                    <a:lnTo>
                      <a:pt x="34" y="2460"/>
                    </a:lnTo>
                    <a:lnTo>
                      <a:pt x="48" y="2468"/>
                    </a:lnTo>
                    <a:lnTo>
                      <a:pt x="62" y="2472"/>
                    </a:lnTo>
                    <a:lnTo>
                      <a:pt x="80" y="2474"/>
                    </a:lnTo>
                    <a:lnTo>
                      <a:pt x="214" y="2474"/>
                    </a:lnTo>
                    <a:lnTo>
                      <a:pt x="214" y="2474"/>
                    </a:lnTo>
                    <a:lnTo>
                      <a:pt x="214" y="2854"/>
                    </a:lnTo>
                    <a:lnTo>
                      <a:pt x="214" y="2854"/>
                    </a:lnTo>
                    <a:lnTo>
                      <a:pt x="216" y="2884"/>
                    </a:lnTo>
                    <a:lnTo>
                      <a:pt x="220" y="2910"/>
                    </a:lnTo>
                    <a:lnTo>
                      <a:pt x="228" y="2932"/>
                    </a:lnTo>
                    <a:lnTo>
                      <a:pt x="238" y="2952"/>
                    </a:lnTo>
                    <a:lnTo>
                      <a:pt x="250" y="2966"/>
                    </a:lnTo>
                    <a:lnTo>
                      <a:pt x="262" y="2980"/>
                    </a:lnTo>
                    <a:lnTo>
                      <a:pt x="276" y="2990"/>
                    </a:lnTo>
                    <a:lnTo>
                      <a:pt x="292" y="2998"/>
                    </a:lnTo>
                    <a:lnTo>
                      <a:pt x="306" y="3002"/>
                    </a:lnTo>
                    <a:lnTo>
                      <a:pt x="320" y="3006"/>
                    </a:lnTo>
                    <a:lnTo>
                      <a:pt x="346" y="3010"/>
                    </a:lnTo>
                    <a:lnTo>
                      <a:pt x="364" y="3012"/>
                    </a:lnTo>
                    <a:lnTo>
                      <a:pt x="370" y="3012"/>
                    </a:lnTo>
                    <a:lnTo>
                      <a:pt x="1744" y="3012"/>
                    </a:lnTo>
                    <a:lnTo>
                      <a:pt x="1744" y="1710"/>
                    </a:lnTo>
                    <a:lnTo>
                      <a:pt x="1746" y="1702"/>
                    </a:lnTo>
                    <a:lnTo>
                      <a:pt x="1746" y="1702"/>
                    </a:lnTo>
                    <a:lnTo>
                      <a:pt x="1756" y="1680"/>
                    </a:lnTo>
                    <a:lnTo>
                      <a:pt x="1768" y="1658"/>
                    </a:lnTo>
                    <a:lnTo>
                      <a:pt x="1786" y="1632"/>
                    </a:lnTo>
                    <a:lnTo>
                      <a:pt x="1810" y="1602"/>
                    </a:lnTo>
                    <a:lnTo>
                      <a:pt x="1824" y="1588"/>
                    </a:lnTo>
                    <a:lnTo>
                      <a:pt x="1840" y="1572"/>
                    </a:lnTo>
                    <a:lnTo>
                      <a:pt x="1858" y="1558"/>
                    </a:lnTo>
                    <a:lnTo>
                      <a:pt x="1878" y="1544"/>
                    </a:lnTo>
                    <a:lnTo>
                      <a:pt x="1900" y="1530"/>
                    </a:lnTo>
                    <a:lnTo>
                      <a:pt x="1924" y="1518"/>
                    </a:lnTo>
                    <a:lnTo>
                      <a:pt x="1924" y="1518"/>
                    </a:lnTo>
                    <a:lnTo>
                      <a:pt x="1952" y="1502"/>
                    </a:lnTo>
                    <a:lnTo>
                      <a:pt x="1982" y="1486"/>
                    </a:lnTo>
                    <a:lnTo>
                      <a:pt x="2014" y="1472"/>
                    </a:lnTo>
                    <a:lnTo>
                      <a:pt x="2048" y="1458"/>
                    </a:lnTo>
                    <a:lnTo>
                      <a:pt x="2086" y="1446"/>
                    </a:lnTo>
                    <a:lnTo>
                      <a:pt x="2122" y="1434"/>
                    </a:lnTo>
                    <a:lnTo>
                      <a:pt x="2162" y="1424"/>
                    </a:lnTo>
                    <a:lnTo>
                      <a:pt x="2202" y="1414"/>
                    </a:lnTo>
                    <a:lnTo>
                      <a:pt x="2288" y="1396"/>
                    </a:lnTo>
                    <a:lnTo>
                      <a:pt x="2376" y="1382"/>
                    </a:lnTo>
                    <a:lnTo>
                      <a:pt x="2470" y="1372"/>
                    </a:lnTo>
                    <a:lnTo>
                      <a:pt x="2564" y="1366"/>
                    </a:lnTo>
                    <a:lnTo>
                      <a:pt x="2564" y="13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191" name="Freeform 11"/>
              <p:cNvSpPr>
                <a:spLocks/>
              </p:cNvSpPr>
              <p:nvPr/>
            </p:nvSpPr>
            <p:spPr bwMode="auto">
              <a:xfrm>
                <a:off x="6134100" y="3106738"/>
                <a:ext cx="2825750" cy="3368675"/>
              </a:xfrm>
              <a:custGeom>
                <a:avLst/>
                <a:gdLst>
                  <a:gd name="T0" fmla="*/ 866 w 1780"/>
                  <a:gd name="T1" fmla="*/ 356 h 2122"/>
                  <a:gd name="T2" fmla="*/ 730 w 1780"/>
                  <a:gd name="T3" fmla="*/ 352 h 2122"/>
                  <a:gd name="T4" fmla="*/ 594 w 1780"/>
                  <a:gd name="T5" fmla="*/ 340 h 2122"/>
                  <a:gd name="T6" fmla="*/ 464 w 1780"/>
                  <a:gd name="T7" fmla="*/ 322 h 2122"/>
                  <a:gd name="T8" fmla="*/ 342 w 1780"/>
                  <a:gd name="T9" fmla="*/ 296 h 2122"/>
                  <a:gd name="T10" fmla="*/ 232 w 1780"/>
                  <a:gd name="T11" fmla="*/ 262 h 2122"/>
                  <a:gd name="T12" fmla="*/ 136 w 1780"/>
                  <a:gd name="T13" fmla="*/ 222 h 2122"/>
                  <a:gd name="T14" fmla="*/ 58 w 1780"/>
                  <a:gd name="T15" fmla="*/ 174 h 2122"/>
                  <a:gd name="T16" fmla="*/ 12 w 1780"/>
                  <a:gd name="T17" fmla="*/ 134 h 2122"/>
                  <a:gd name="T18" fmla="*/ 0 w 1780"/>
                  <a:gd name="T19" fmla="*/ 1940 h 2122"/>
                  <a:gd name="T20" fmla="*/ 26 w 1780"/>
                  <a:gd name="T21" fmla="*/ 1960 h 2122"/>
                  <a:gd name="T22" fmla="*/ 90 w 1780"/>
                  <a:gd name="T23" fmla="*/ 1996 h 2122"/>
                  <a:gd name="T24" fmla="*/ 174 w 1780"/>
                  <a:gd name="T25" fmla="*/ 2030 h 2122"/>
                  <a:gd name="T26" fmla="*/ 272 w 1780"/>
                  <a:gd name="T27" fmla="*/ 2058 h 2122"/>
                  <a:gd name="T28" fmla="*/ 386 w 1780"/>
                  <a:gd name="T29" fmla="*/ 2082 h 2122"/>
                  <a:gd name="T30" fmla="*/ 512 w 1780"/>
                  <a:gd name="T31" fmla="*/ 2102 h 2122"/>
                  <a:gd name="T32" fmla="*/ 646 w 1780"/>
                  <a:gd name="T33" fmla="*/ 2114 h 2122"/>
                  <a:gd name="T34" fmla="*/ 790 w 1780"/>
                  <a:gd name="T35" fmla="*/ 2122 h 2122"/>
                  <a:gd name="T36" fmla="*/ 866 w 1780"/>
                  <a:gd name="T37" fmla="*/ 2122 h 2122"/>
                  <a:gd name="T38" fmla="*/ 1050 w 1780"/>
                  <a:gd name="T39" fmla="*/ 2118 h 2122"/>
                  <a:gd name="T40" fmla="*/ 1222 w 1780"/>
                  <a:gd name="T41" fmla="*/ 2102 h 2122"/>
                  <a:gd name="T42" fmla="*/ 1376 w 1780"/>
                  <a:gd name="T43" fmla="*/ 2076 h 2122"/>
                  <a:gd name="T44" fmla="*/ 1512 w 1780"/>
                  <a:gd name="T45" fmla="*/ 2044 h 2122"/>
                  <a:gd name="T46" fmla="*/ 1624 w 1780"/>
                  <a:gd name="T47" fmla="*/ 2004 h 2122"/>
                  <a:gd name="T48" fmla="*/ 1690 w 1780"/>
                  <a:gd name="T49" fmla="*/ 1970 h 2122"/>
                  <a:gd name="T50" fmla="*/ 1724 w 1780"/>
                  <a:gd name="T51" fmla="*/ 1946 h 2122"/>
                  <a:gd name="T52" fmla="*/ 1750 w 1780"/>
                  <a:gd name="T53" fmla="*/ 1922 h 2122"/>
                  <a:gd name="T54" fmla="*/ 1770 w 1780"/>
                  <a:gd name="T55" fmla="*/ 1894 h 2122"/>
                  <a:gd name="T56" fmla="*/ 1778 w 1780"/>
                  <a:gd name="T57" fmla="*/ 1868 h 2122"/>
                  <a:gd name="T58" fmla="*/ 1780 w 1780"/>
                  <a:gd name="T59" fmla="*/ 0 h 2122"/>
                  <a:gd name="T60" fmla="*/ 1778 w 1780"/>
                  <a:gd name="T61" fmla="*/ 22 h 2122"/>
                  <a:gd name="T62" fmla="*/ 1768 w 1780"/>
                  <a:gd name="T63" fmla="*/ 64 h 2122"/>
                  <a:gd name="T64" fmla="*/ 1748 w 1780"/>
                  <a:gd name="T65" fmla="*/ 102 h 2122"/>
                  <a:gd name="T66" fmla="*/ 1718 w 1780"/>
                  <a:gd name="T67" fmla="*/ 138 h 2122"/>
                  <a:gd name="T68" fmla="*/ 1682 w 1780"/>
                  <a:gd name="T69" fmla="*/ 170 h 2122"/>
                  <a:gd name="T70" fmla="*/ 1636 w 1780"/>
                  <a:gd name="T71" fmla="*/ 202 h 2122"/>
                  <a:gd name="T72" fmla="*/ 1584 w 1780"/>
                  <a:gd name="T73" fmla="*/ 228 h 2122"/>
                  <a:gd name="T74" fmla="*/ 1494 w 1780"/>
                  <a:gd name="T75" fmla="*/ 266 h 2122"/>
                  <a:gd name="T76" fmla="*/ 1356 w 1780"/>
                  <a:gd name="T77" fmla="*/ 304 h 2122"/>
                  <a:gd name="T78" fmla="*/ 1200 w 1780"/>
                  <a:gd name="T79" fmla="*/ 332 h 2122"/>
                  <a:gd name="T80" fmla="*/ 1036 w 1780"/>
                  <a:gd name="T81" fmla="*/ 350 h 2122"/>
                  <a:gd name="T82" fmla="*/ 866 w 1780"/>
                  <a:gd name="T83" fmla="*/ 356 h 2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780" h="2122">
                    <a:moveTo>
                      <a:pt x="866" y="356"/>
                    </a:moveTo>
                    <a:lnTo>
                      <a:pt x="866" y="356"/>
                    </a:lnTo>
                    <a:lnTo>
                      <a:pt x="798" y="354"/>
                    </a:lnTo>
                    <a:lnTo>
                      <a:pt x="730" y="352"/>
                    </a:lnTo>
                    <a:lnTo>
                      <a:pt x="660" y="348"/>
                    </a:lnTo>
                    <a:lnTo>
                      <a:pt x="594" y="340"/>
                    </a:lnTo>
                    <a:lnTo>
                      <a:pt x="528" y="332"/>
                    </a:lnTo>
                    <a:lnTo>
                      <a:pt x="464" y="322"/>
                    </a:lnTo>
                    <a:lnTo>
                      <a:pt x="402" y="310"/>
                    </a:lnTo>
                    <a:lnTo>
                      <a:pt x="342" y="296"/>
                    </a:lnTo>
                    <a:lnTo>
                      <a:pt x="286" y="280"/>
                    </a:lnTo>
                    <a:lnTo>
                      <a:pt x="232" y="262"/>
                    </a:lnTo>
                    <a:lnTo>
                      <a:pt x="182" y="244"/>
                    </a:lnTo>
                    <a:lnTo>
                      <a:pt x="136" y="222"/>
                    </a:lnTo>
                    <a:lnTo>
                      <a:pt x="96" y="200"/>
                    </a:lnTo>
                    <a:lnTo>
                      <a:pt x="58" y="174"/>
                    </a:lnTo>
                    <a:lnTo>
                      <a:pt x="26" y="148"/>
                    </a:lnTo>
                    <a:lnTo>
                      <a:pt x="12" y="134"/>
                    </a:lnTo>
                    <a:lnTo>
                      <a:pt x="0" y="120"/>
                    </a:lnTo>
                    <a:lnTo>
                      <a:pt x="0" y="1940"/>
                    </a:lnTo>
                    <a:lnTo>
                      <a:pt x="0" y="1940"/>
                    </a:lnTo>
                    <a:lnTo>
                      <a:pt x="26" y="1960"/>
                    </a:lnTo>
                    <a:lnTo>
                      <a:pt x="56" y="1978"/>
                    </a:lnTo>
                    <a:lnTo>
                      <a:pt x="90" y="1996"/>
                    </a:lnTo>
                    <a:lnTo>
                      <a:pt x="130" y="2014"/>
                    </a:lnTo>
                    <a:lnTo>
                      <a:pt x="174" y="2030"/>
                    </a:lnTo>
                    <a:lnTo>
                      <a:pt x="222" y="2044"/>
                    </a:lnTo>
                    <a:lnTo>
                      <a:pt x="272" y="2058"/>
                    </a:lnTo>
                    <a:lnTo>
                      <a:pt x="328" y="2072"/>
                    </a:lnTo>
                    <a:lnTo>
                      <a:pt x="386" y="2082"/>
                    </a:lnTo>
                    <a:lnTo>
                      <a:pt x="448" y="2092"/>
                    </a:lnTo>
                    <a:lnTo>
                      <a:pt x="512" y="2102"/>
                    </a:lnTo>
                    <a:lnTo>
                      <a:pt x="578" y="2108"/>
                    </a:lnTo>
                    <a:lnTo>
                      <a:pt x="646" y="2114"/>
                    </a:lnTo>
                    <a:lnTo>
                      <a:pt x="718" y="2118"/>
                    </a:lnTo>
                    <a:lnTo>
                      <a:pt x="790" y="2122"/>
                    </a:lnTo>
                    <a:lnTo>
                      <a:pt x="866" y="2122"/>
                    </a:lnTo>
                    <a:lnTo>
                      <a:pt x="866" y="2122"/>
                    </a:lnTo>
                    <a:lnTo>
                      <a:pt x="958" y="2122"/>
                    </a:lnTo>
                    <a:lnTo>
                      <a:pt x="1050" y="2118"/>
                    </a:lnTo>
                    <a:lnTo>
                      <a:pt x="1138" y="2110"/>
                    </a:lnTo>
                    <a:lnTo>
                      <a:pt x="1222" y="2102"/>
                    </a:lnTo>
                    <a:lnTo>
                      <a:pt x="1302" y="2090"/>
                    </a:lnTo>
                    <a:lnTo>
                      <a:pt x="1376" y="2076"/>
                    </a:lnTo>
                    <a:lnTo>
                      <a:pt x="1446" y="2062"/>
                    </a:lnTo>
                    <a:lnTo>
                      <a:pt x="1512" y="2044"/>
                    </a:lnTo>
                    <a:lnTo>
                      <a:pt x="1570" y="2024"/>
                    </a:lnTo>
                    <a:lnTo>
                      <a:pt x="1624" y="2004"/>
                    </a:lnTo>
                    <a:lnTo>
                      <a:pt x="1670" y="1982"/>
                    </a:lnTo>
                    <a:lnTo>
                      <a:pt x="1690" y="1970"/>
                    </a:lnTo>
                    <a:lnTo>
                      <a:pt x="1708" y="1958"/>
                    </a:lnTo>
                    <a:lnTo>
                      <a:pt x="1724" y="1946"/>
                    </a:lnTo>
                    <a:lnTo>
                      <a:pt x="1738" y="1934"/>
                    </a:lnTo>
                    <a:lnTo>
                      <a:pt x="1750" y="1922"/>
                    </a:lnTo>
                    <a:lnTo>
                      <a:pt x="1762" y="1908"/>
                    </a:lnTo>
                    <a:lnTo>
                      <a:pt x="1770" y="1894"/>
                    </a:lnTo>
                    <a:lnTo>
                      <a:pt x="1774" y="1882"/>
                    </a:lnTo>
                    <a:lnTo>
                      <a:pt x="1778" y="1868"/>
                    </a:lnTo>
                    <a:lnTo>
                      <a:pt x="1780" y="1854"/>
                    </a:lnTo>
                    <a:lnTo>
                      <a:pt x="1780" y="0"/>
                    </a:lnTo>
                    <a:lnTo>
                      <a:pt x="1780" y="0"/>
                    </a:lnTo>
                    <a:lnTo>
                      <a:pt x="1778" y="22"/>
                    </a:lnTo>
                    <a:lnTo>
                      <a:pt x="1774" y="44"/>
                    </a:lnTo>
                    <a:lnTo>
                      <a:pt x="1768" y="64"/>
                    </a:lnTo>
                    <a:lnTo>
                      <a:pt x="1760" y="82"/>
                    </a:lnTo>
                    <a:lnTo>
                      <a:pt x="1748" y="102"/>
                    </a:lnTo>
                    <a:lnTo>
                      <a:pt x="1734" y="120"/>
                    </a:lnTo>
                    <a:lnTo>
                      <a:pt x="1718" y="138"/>
                    </a:lnTo>
                    <a:lnTo>
                      <a:pt x="1700" y="154"/>
                    </a:lnTo>
                    <a:lnTo>
                      <a:pt x="1682" y="170"/>
                    </a:lnTo>
                    <a:lnTo>
                      <a:pt x="1660" y="186"/>
                    </a:lnTo>
                    <a:lnTo>
                      <a:pt x="1636" y="202"/>
                    </a:lnTo>
                    <a:lnTo>
                      <a:pt x="1610" y="216"/>
                    </a:lnTo>
                    <a:lnTo>
                      <a:pt x="1584" y="228"/>
                    </a:lnTo>
                    <a:lnTo>
                      <a:pt x="1554" y="242"/>
                    </a:lnTo>
                    <a:lnTo>
                      <a:pt x="1494" y="266"/>
                    </a:lnTo>
                    <a:lnTo>
                      <a:pt x="1426" y="286"/>
                    </a:lnTo>
                    <a:lnTo>
                      <a:pt x="1356" y="304"/>
                    </a:lnTo>
                    <a:lnTo>
                      <a:pt x="1280" y="320"/>
                    </a:lnTo>
                    <a:lnTo>
                      <a:pt x="1200" y="332"/>
                    </a:lnTo>
                    <a:lnTo>
                      <a:pt x="1120" y="342"/>
                    </a:lnTo>
                    <a:lnTo>
                      <a:pt x="1036" y="350"/>
                    </a:lnTo>
                    <a:lnTo>
                      <a:pt x="952" y="354"/>
                    </a:lnTo>
                    <a:lnTo>
                      <a:pt x="866" y="356"/>
                    </a:lnTo>
                    <a:lnTo>
                      <a:pt x="866" y="3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192" name="Freeform 12"/>
              <p:cNvSpPr>
                <a:spLocks/>
              </p:cNvSpPr>
              <p:nvPr/>
            </p:nvSpPr>
            <p:spPr bwMode="auto">
              <a:xfrm>
                <a:off x="6299200" y="2779713"/>
                <a:ext cx="2422525" cy="654050"/>
              </a:xfrm>
              <a:custGeom>
                <a:avLst/>
                <a:gdLst>
                  <a:gd name="T0" fmla="*/ 0 w 1526"/>
                  <a:gd name="T1" fmla="*/ 206 h 412"/>
                  <a:gd name="T2" fmla="*/ 2 w 1526"/>
                  <a:gd name="T3" fmla="*/ 220 h 412"/>
                  <a:gd name="T4" fmla="*/ 12 w 1526"/>
                  <a:gd name="T5" fmla="*/ 236 h 412"/>
                  <a:gd name="T6" fmla="*/ 52 w 1526"/>
                  <a:gd name="T7" fmla="*/ 270 h 412"/>
                  <a:gd name="T8" fmla="*/ 116 w 1526"/>
                  <a:gd name="T9" fmla="*/ 304 h 412"/>
                  <a:gd name="T10" fmla="*/ 204 w 1526"/>
                  <a:gd name="T11" fmla="*/ 336 h 412"/>
                  <a:gd name="T12" fmla="*/ 312 w 1526"/>
                  <a:gd name="T13" fmla="*/ 366 h 412"/>
                  <a:gd name="T14" fmla="*/ 444 w 1526"/>
                  <a:gd name="T15" fmla="*/ 390 h 412"/>
                  <a:gd name="T16" fmla="*/ 594 w 1526"/>
                  <a:gd name="T17" fmla="*/ 406 h 412"/>
                  <a:gd name="T18" fmla="*/ 762 w 1526"/>
                  <a:gd name="T19" fmla="*/ 412 h 412"/>
                  <a:gd name="T20" fmla="*/ 850 w 1526"/>
                  <a:gd name="T21" fmla="*/ 412 h 412"/>
                  <a:gd name="T22" fmla="*/ 1010 w 1526"/>
                  <a:gd name="T23" fmla="*/ 400 h 412"/>
                  <a:gd name="T24" fmla="*/ 1150 w 1526"/>
                  <a:gd name="T25" fmla="*/ 380 h 412"/>
                  <a:gd name="T26" fmla="*/ 1270 w 1526"/>
                  <a:gd name="T27" fmla="*/ 352 h 412"/>
                  <a:gd name="T28" fmla="*/ 1370 w 1526"/>
                  <a:gd name="T29" fmla="*/ 320 h 412"/>
                  <a:gd name="T30" fmla="*/ 1446 w 1526"/>
                  <a:gd name="T31" fmla="*/ 286 h 412"/>
                  <a:gd name="T32" fmla="*/ 1496 w 1526"/>
                  <a:gd name="T33" fmla="*/ 252 h 412"/>
                  <a:gd name="T34" fmla="*/ 1520 w 1526"/>
                  <a:gd name="T35" fmla="*/ 228 h 412"/>
                  <a:gd name="T36" fmla="*/ 1526 w 1526"/>
                  <a:gd name="T37" fmla="*/ 214 h 412"/>
                  <a:gd name="T38" fmla="*/ 1526 w 1526"/>
                  <a:gd name="T39" fmla="*/ 206 h 412"/>
                  <a:gd name="T40" fmla="*/ 1524 w 1526"/>
                  <a:gd name="T41" fmla="*/ 192 h 412"/>
                  <a:gd name="T42" fmla="*/ 1514 w 1526"/>
                  <a:gd name="T43" fmla="*/ 176 h 412"/>
                  <a:gd name="T44" fmla="*/ 1474 w 1526"/>
                  <a:gd name="T45" fmla="*/ 144 h 412"/>
                  <a:gd name="T46" fmla="*/ 1410 w 1526"/>
                  <a:gd name="T47" fmla="*/ 110 h 412"/>
                  <a:gd name="T48" fmla="*/ 1322 w 1526"/>
                  <a:gd name="T49" fmla="*/ 76 h 412"/>
                  <a:gd name="T50" fmla="*/ 1212 w 1526"/>
                  <a:gd name="T51" fmla="*/ 46 h 412"/>
                  <a:gd name="T52" fmla="*/ 1082 w 1526"/>
                  <a:gd name="T53" fmla="*/ 22 h 412"/>
                  <a:gd name="T54" fmla="*/ 932 w 1526"/>
                  <a:gd name="T55" fmla="*/ 6 h 412"/>
                  <a:gd name="T56" fmla="*/ 762 w 1526"/>
                  <a:gd name="T57" fmla="*/ 0 h 412"/>
                  <a:gd name="T58" fmla="*/ 676 w 1526"/>
                  <a:gd name="T59" fmla="*/ 2 h 412"/>
                  <a:gd name="T60" fmla="*/ 516 w 1526"/>
                  <a:gd name="T61" fmla="*/ 14 h 412"/>
                  <a:gd name="T62" fmla="*/ 376 w 1526"/>
                  <a:gd name="T63" fmla="*/ 34 h 412"/>
                  <a:gd name="T64" fmla="*/ 256 w 1526"/>
                  <a:gd name="T65" fmla="*/ 60 h 412"/>
                  <a:gd name="T66" fmla="*/ 156 w 1526"/>
                  <a:gd name="T67" fmla="*/ 92 h 412"/>
                  <a:gd name="T68" fmla="*/ 80 w 1526"/>
                  <a:gd name="T69" fmla="*/ 126 h 412"/>
                  <a:gd name="T70" fmla="*/ 28 w 1526"/>
                  <a:gd name="T71" fmla="*/ 160 h 412"/>
                  <a:gd name="T72" fmla="*/ 6 w 1526"/>
                  <a:gd name="T73" fmla="*/ 184 h 412"/>
                  <a:gd name="T74" fmla="*/ 0 w 1526"/>
                  <a:gd name="T75" fmla="*/ 200 h 412"/>
                  <a:gd name="T76" fmla="*/ 0 w 1526"/>
                  <a:gd name="T77" fmla="*/ 206 h 4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526" h="412">
                    <a:moveTo>
                      <a:pt x="0" y="206"/>
                    </a:moveTo>
                    <a:lnTo>
                      <a:pt x="0" y="206"/>
                    </a:lnTo>
                    <a:lnTo>
                      <a:pt x="0" y="214"/>
                    </a:lnTo>
                    <a:lnTo>
                      <a:pt x="2" y="220"/>
                    </a:lnTo>
                    <a:lnTo>
                      <a:pt x="6" y="228"/>
                    </a:lnTo>
                    <a:lnTo>
                      <a:pt x="12" y="236"/>
                    </a:lnTo>
                    <a:lnTo>
                      <a:pt x="28" y="252"/>
                    </a:lnTo>
                    <a:lnTo>
                      <a:pt x="52" y="270"/>
                    </a:lnTo>
                    <a:lnTo>
                      <a:pt x="80" y="286"/>
                    </a:lnTo>
                    <a:lnTo>
                      <a:pt x="116" y="304"/>
                    </a:lnTo>
                    <a:lnTo>
                      <a:pt x="156" y="320"/>
                    </a:lnTo>
                    <a:lnTo>
                      <a:pt x="204" y="336"/>
                    </a:lnTo>
                    <a:lnTo>
                      <a:pt x="256" y="352"/>
                    </a:lnTo>
                    <a:lnTo>
                      <a:pt x="312" y="366"/>
                    </a:lnTo>
                    <a:lnTo>
                      <a:pt x="376" y="380"/>
                    </a:lnTo>
                    <a:lnTo>
                      <a:pt x="444" y="390"/>
                    </a:lnTo>
                    <a:lnTo>
                      <a:pt x="516" y="400"/>
                    </a:lnTo>
                    <a:lnTo>
                      <a:pt x="594" y="406"/>
                    </a:lnTo>
                    <a:lnTo>
                      <a:pt x="676" y="412"/>
                    </a:lnTo>
                    <a:lnTo>
                      <a:pt x="762" y="412"/>
                    </a:lnTo>
                    <a:lnTo>
                      <a:pt x="762" y="412"/>
                    </a:lnTo>
                    <a:lnTo>
                      <a:pt x="850" y="412"/>
                    </a:lnTo>
                    <a:lnTo>
                      <a:pt x="932" y="406"/>
                    </a:lnTo>
                    <a:lnTo>
                      <a:pt x="1010" y="400"/>
                    </a:lnTo>
                    <a:lnTo>
                      <a:pt x="1082" y="390"/>
                    </a:lnTo>
                    <a:lnTo>
                      <a:pt x="1150" y="380"/>
                    </a:lnTo>
                    <a:lnTo>
                      <a:pt x="1212" y="366"/>
                    </a:lnTo>
                    <a:lnTo>
                      <a:pt x="1270" y="352"/>
                    </a:lnTo>
                    <a:lnTo>
                      <a:pt x="1322" y="336"/>
                    </a:lnTo>
                    <a:lnTo>
                      <a:pt x="1370" y="320"/>
                    </a:lnTo>
                    <a:lnTo>
                      <a:pt x="1410" y="304"/>
                    </a:lnTo>
                    <a:lnTo>
                      <a:pt x="1446" y="286"/>
                    </a:lnTo>
                    <a:lnTo>
                      <a:pt x="1474" y="270"/>
                    </a:lnTo>
                    <a:lnTo>
                      <a:pt x="1496" y="252"/>
                    </a:lnTo>
                    <a:lnTo>
                      <a:pt x="1514" y="236"/>
                    </a:lnTo>
                    <a:lnTo>
                      <a:pt x="1520" y="228"/>
                    </a:lnTo>
                    <a:lnTo>
                      <a:pt x="1524" y="220"/>
                    </a:lnTo>
                    <a:lnTo>
                      <a:pt x="1526" y="214"/>
                    </a:lnTo>
                    <a:lnTo>
                      <a:pt x="1526" y="206"/>
                    </a:lnTo>
                    <a:lnTo>
                      <a:pt x="1526" y="206"/>
                    </a:lnTo>
                    <a:lnTo>
                      <a:pt x="1526" y="200"/>
                    </a:lnTo>
                    <a:lnTo>
                      <a:pt x="1524" y="192"/>
                    </a:lnTo>
                    <a:lnTo>
                      <a:pt x="1520" y="184"/>
                    </a:lnTo>
                    <a:lnTo>
                      <a:pt x="1514" y="176"/>
                    </a:lnTo>
                    <a:lnTo>
                      <a:pt x="1496" y="160"/>
                    </a:lnTo>
                    <a:lnTo>
                      <a:pt x="1474" y="144"/>
                    </a:lnTo>
                    <a:lnTo>
                      <a:pt x="1446" y="126"/>
                    </a:lnTo>
                    <a:lnTo>
                      <a:pt x="1410" y="110"/>
                    </a:lnTo>
                    <a:lnTo>
                      <a:pt x="1370" y="92"/>
                    </a:lnTo>
                    <a:lnTo>
                      <a:pt x="1322" y="76"/>
                    </a:lnTo>
                    <a:lnTo>
                      <a:pt x="1270" y="60"/>
                    </a:lnTo>
                    <a:lnTo>
                      <a:pt x="1212" y="46"/>
                    </a:lnTo>
                    <a:lnTo>
                      <a:pt x="1150" y="34"/>
                    </a:lnTo>
                    <a:lnTo>
                      <a:pt x="1082" y="22"/>
                    </a:lnTo>
                    <a:lnTo>
                      <a:pt x="1010" y="14"/>
                    </a:lnTo>
                    <a:lnTo>
                      <a:pt x="932" y="6"/>
                    </a:lnTo>
                    <a:lnTo>
                      <a:pt x="850" y="2"/>
                    </a:lnTo>
                    <a:lnTo>
                      <a:pt x="762" y="0"/>
                    </a:lnTo>
                    <a:lnTo>
                      <a:pt x="762" y="0"/>
                    </a:lnTo>
                    <a:lnTo>
                      <a:pt x="676" y="2"/>
                    </a:lnTo>
                    <a:lnTo>
                      <a:pt x="594" y="6"/>
                    </a:lnTo>
                    <a:lnTo>
                      <a:pt x="516" y="14"/>
                    </a:lnTo>
                    <a:lnTo>
                      <a:pt x="444" y="22"/>
                    </a:lnTo>
                    <a:lnTo>
                      <a:pt x="376" y="34"/>
                    </a:lnTo>
                    <a:lnTo>
                      <a:pt x="312" y="46"/>
                    </a:lnTo>
                    <a:lnTo>
                      <a:pt x="256" y="60"/>
                    </a:lnTo>
                    <a:lnTo>
                      <a:pt x="204" y="76"/>
                    </a:lnTo>
                    <a:lnTo>
                      <a:pt x="156" y="92"/>
                    </a:lnTo>
                    <a:lnTo>
                      <a:pt x="116" y="110"/>
                    </a:lnTo>
                    <a:lnTo>
                      <a:pt x="80" y="126"/>
                    </a:lnTo>
                    <a:lnTo>
                      <a:pt x="52" y="144"/>
                    </a:lnTo>
                    <a:lnTo>
                      <a:pt x="28" y="160"/>
                    </a:lnTo>
                    <a:lnTo>
                      <a:pt x="12" y="176"/>
                    </a:lnTo>
                    <a:lnTo>
                      <a:pt x="6" y="184"/>
                    </a:lnTo>
                    <a:lnTo>
                      <a:pt x="2" y="192"/>
                    </a:lnTo>
                    <a:lnTo>
                      <a:pt x="0" y="200"/>
                    </a:lnTo>
                    <a:lnTo>
                      <a:pt x="0" y="206"/>
                    </a:lnTo>
                    <a:lnTo>
                      <a:pt x="0" y="20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grpSp>
        <p:sp>
          <p:nvSpPr>
            <p:cNvPr id="187" name="Rectangle 186"/>
            <p:cNvSpPr/>
            <p:nvPr/>
          </p:nvSpPr>
          <p:spPr>
            <a:xfrm>
              <a:off x="2652706" y="2528227"/>
              <a:ext cx="1271016" cy="261610"/>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FFFFFF"/>
                  </a:solidFill>
                  <a:effectLst/>
                  <a:uLnTx/>
                  <a:uFillTx/>
                  <a:cs typeface="Segoe UI Semilight" panose="020B0402040204020203" pitchFamily="34" charset="0"/>
                </a:rPr>
                <a:t>Data Factory </a:t>
              </a:r>
              <a:endParaRPr kumimoji="0" lang="en-US" sz="1100" b="0" i="0" u="none" strike="noStrike" kern="0" cap="none" spc="0" normalizeH="0" baseline="0" noProof="0" dirty="0">
                <a:ln>
                  <a:noFill/>
                </a:ln>
                <a:solidFill>
                  <a:srgbClr val="FFFFFF"/>
                </a:solidFill>
                <a:effectLst/>
                <a:uLnTx/>
                <a:uFillTx/>
              </a:endParaRPr>
            </a:p>
          </p:txBody>
        </p:sp>
        <p:sp>
          <p:nvSpPr>
            <p:cNvPr id="188" name="Freeform 63"/>
            <p:cNvSpPr/>
            <p:nvPr/>
          </p:nvSpPr>
          <p:spPr bwMode="auto">
            <a:xfrm>
              <a:off x="2333792" y="2466963"/>
              <a:ext cx="286460" cy="301030"/>
            </a:xfrm>
            <a:custGeom>
              <a:avLst/>
              <a:gdLst>
                <a:gd name="connsiteX0" fmla="*/ 1931382 w 2687091"/>
                <a:gd name="connsiteY0" fmla="*/ 1799512 h 2823758"/>
                <a:gd name="connsiteX1" fmla="*/ 1931382 w 2687091"/>
                <a:gd name="connsiteY1" fmla="*/ 2128383 h 2823758"/>
                <a:gd name="connsiteX2" fmla="*/ 2260253 w 2687091"/>
                <a:gd name="connsiteY2" fmla="*/ 2128383 h 2823758"/>
                <a:gd name="connsiteX3" fmla="*/ 2260253 w 2687091"/>
                <a:gd name="connsiteY3" fmla="*/ 1799512 h 2823758"/>
                <a:gd name="connsiteX4" fmla="*/ 1372033 w 2687091"/>
                <a:gd name="connsiteY4" fmla="*/ 1799512 h 2823758"/>
                <a:gd name="connsiteX5" fmla="*/ 1372033 w 2687091"/>
                <a:gd name="connsiteY5" fmla="*/ 2128383 h 2823758"/>
                <a:gd name="connsiteX6" fmla="*/ 1700904 w 2687091"/>
                <a:gd name="connsiteY6" fmla="*/ 2128383 h 2823758"/>
                <a:gd name="connsiteX7" fmla="*/ 1700904 w 2687091"/>
                <a:gd name="connsiteY7" fmla="*/ 1799512 h 2823758"/>
                <a:gd name="connsiteX8" fmla="*/ 812685 w 2687091"/>
                <a:gd name="connsiteY8" fmla="*/ 1799512 h 2823758"/>
                <a:gd name="connsiteX9" fmla="*/ 812685 w 2687091"/>
                <a:gd name="connsiteY9" fmla="*/ 2128383 h 2823758"/>
                <a:gd name="connsiteX10" fmla="*/ 1141555 w 2687091"/>
                <a:gd name="connsiteY10" fmla="*/ 2128383 h 2823758"/>
                <a:gd name="connsiteX11" fmla="*/ 1141555 w 2687091"/>
                <a:gd name="connsiteY11" fmla="*/ 1799512 h 2823758"/>
                <a:gd name="connsiteX12" fmla="*/ 486277 w 2687091"/>
                <a:gd name="connsiteY12" fmla="*/ 93827 h 2823758"/>
                <a:gd name="connsiteX13" fmla="*/ 103872 w 2687091"/>
                <a:gd name="connsiteY13" fmla="*/ 162103 h 2823758"/>
                <a:gd name="connsiteX14" fmla="*/ 486277 w 2687091"/>
                <a:gd name="connsiteY14" fmla="*/ 230379 h 2823758"/>
                <a:gd name="connsiteX15" fmla="*/ 868682 w 2687091"/>
                <a:gd name="connsiteY15" fmla="*/ 162103 h 2823758"/>
                <a:gd name="connsiteX16" fmla="*/ 486277 w 2687091"/>
                <a:gd name="connsiteY16" fmla="*/ 93827 h 2823758"/>
                <a:gd name="connsiteX17" fmla="*/ 486276 w 2687091"/>
                <a:gd name="connsiteY17" fmla="*/ 0 h 2823758"/>
                <a:gd name="connsiteX18" fmla="*/ 486277 w 2687091"/>
                <a:gd name="connsiteY18" fmla="*/ 0 h 2823758"/>
                <a:gd name="connsiteX19" fmla="*/ 972553 w 2687091"/>
                <a:gd name="connsiteY19" fmla="*/ 100893 h 2823758"/>
                <a:gd name="connsiteX20" fmla="*/ 972552 w 2687091"/>
                <a:gd name="connsiteY20" fmla="*/ 706248 h 2823758"/>
                <a:gd name="connsiteX21" fmla="*/ 972552 w 2687091"/>
                <a:gd name="connsiteY21" fmla="*/ 1342945 h 2823758"/>
                <a:gd name="connsiteX22" fmla="*/ 1792243 w 2687091"/>
                <a:gd name="connsiteY22" fmla="*/ 722637 h 2823758"/>
                <a:gd name="connsiteX23" fmla="*/ 1792243 w 2687091"/>
                <a:gd name="connsiteY23" fmla="*/ 1365018 h 2823758"/>
                <a:gd name="connsiteX24" fmla="*/ 2687091 w 2687091"/>
                <a:gd name="connsiteY24" fmla="*/ 723934 h 2823758"/>
                <a:gd name="connsiteX25" fmla="*/ 2687091 w 2687091"/>
                <a:gd name="connsiteY25" fmla="*/ 1573518 h 2823758"/>
                <a:gd name="connsiteX26" fmla="*/ 2687091 w 2687091"/>
                <a:gd name="connsiteY26" fmla="*/ 1833418 h 2823758"/>
                <a:gd name="connsiteX27" fmla="*/ 2687091 w 2687091"/>
                <a:gd name="connsiteY27" fmla="*/ 2090363 h 2823758"/>
                <a:gd name="connsiteX28" fmla="*/ 2687091 w 2687091"/>
                <a:gd name="connsiteY28" fmla="*/ 2468997 h 2823758"/>
                <a:gd name="connsiteX29" fmla="*/ 2687091 w 2687091"/>
                <a:gd name="connsiteY29" fmla="*/ 2823758 h 2823758"/>
                <a:gd name="connsiteX30" fmla="*/ 186290 w 2687091"/>
                <a:gd name="connsiteY30" fmla="*/ 2823758 h 2823758"/>
                <a:gd name="connsiteX31" fmla="*/ 186290 w 2687091"/>
                <a:gd name="connsiteY31" fmla="*/ 2823753 h 2823758"/>
                <a:gd name="connsiteX32" fmla="*/ 1 w 2687091"/>
                <a:gd name="connsiteY32" fmla="*/ 2823753 h 2823758"/>
                <a:gd name="connsiteX33" fmla="*/ 1 w 2687091"/>
                <a:gd name="connsiteY33" fmla="*/ 706250 h 2823758"/>
                <a:gd name="connsiteX34" fmla="*/ 0 w 2687091"/>
                <a:gd name="connsiteY34" fmla="*/ 706248 h 2823758"/>
                <a:gd name="connsiteX35" fmla="*/ 1 w 2687091"/>
                <a:gd name="connsiteY35" fmla="*/ 100895 h 2823758"/>
                <a:gd name="connsiteX36" fmla="*/ 0 w 2687091"/>
                <a:gd name="connsiteY36" fmla="*/ 100893 h 2823758"/>
                <a:gd name="connsiteX37" fmla="*/ 486276 w 2687091"/>
                <a:gd name="connsiteY37" fmla="*/ 0 h 2823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687091" h="2823758">
                  <a:moveTo>
                    <a:pt x="1931382" y="1799512"/>
                  </a:moveTo>
                  <a:lnTo>
                    <a:pt x="1931382" y="2128383"/>
                  </a:lnTo>
                  <a:lnTo>
                    <a:pt x="2260253" y="2128383"/>
                  </a:lnTo>
                  <a:lnTo>
                    <a:pt x="2260253" y="1799512"/>
                  </a:lnTo>
                  <a:close/>
                  <a:moveTo>
                    <a:pt x="1372033" y="1799512"/>
                  </a:moveTo>
                  <a:lnTo>
                    <a:pt x="1372033" y="2128383"/>
                  </a:lnTo>
                  <a:lnTo>
                    <a:pt x="1700904" y="2128383"/>
                  </a:lnTo>
                  <a:lnTo>
                    <a:pt x="1700904" y="1799512"/>
                  </a:lnTo>
                  <a:close/>
                  <a:moveTo>
                    <a:pt x="812685" y="1799512"/>
                  </a:moveTo>
                  <a:lnTo>
                    <a:pt x="812685" y="2128383"/>
                  </a:lnTo>
                  <a:lnTo>
                    <a:pt x="1141555" y="2128383"/>
                  </a:lnTo>
                  <a:lnTo>
                    <a:pt x="1141555" y="1799512"/>
                  </a:lnTo>
                  <a:close/>
                  <a:moveTo>
                    <a:pt x="486277" y="93827"/>
                  </a:moveTo>
                  <a:cubicBezTo>
                    <a:pt x="275081" y="93827"/>
                    <a:pt x="103872" y="124395"/>
                    <a:pt x="103872" y="162103"/>
                  </a:cubicBezTo>
                  <a:cubicBezTo>
                    <a:pt x="103872" y="199811"/>
                    <a:pt x="275081" y="230379"/>
                    <a:pt x="486277" y="230379"/>
                  </a:cubicBezTo>
                  <a:cubicBezTo>
                    <a:pt x="697473" y="230379"/>
                    <a:pt x="868682" y="199811"/>
                    <a:pt x="868682" y="162103"/>
                  </a:cubicBezTo>
                  <a:cubicBezTo>
                    <a:pt x="868682" y="124395"/>
                    <a:pt x="697473" y="93827"/>
                    <a:pt x="486277" y="93827"/>
                  </a:cubicBezTo>
                  <a:close/>
                  <a:moveTo>
                    <a:pt x="486276" y="0"/>
                  </a:moveTo>
                  <a:lnTo>
                    <a:pt x="486277" y="0"/>
                  </a:lnTo>
                  <a:cubicBezTo>
                    <a:pt x="754840" y="0"/>
                    <a:pt x="972553" y="45171"/>
                    <a:pt x="972553" y="100893"/>
                  </a:cubicBezTo>
                  <a:cubicBezTo>
                    <a:pt x="972553" y="302678"/>
                    <a:pt x="972552" y="504463"/>
                    <a:pt x="972552" y="706248"/>
                  </a:cubicBezTo>
                  <a:lnTo>
                    <a:pt x="972552" y="1342945"/>
                  </a:lnTo>
                  <a:lnTo>
                    <a:pt x="1792243" y="722637"/>
                  </a:lnTo>
                  <a:lnTo>
                    <a:pt x="1792243" y="1365018"/>
                  </a:lnTo>
                  <a:lnTo>
                    <a:pt x="2687091" y="723934"/>
                  </a:lnTo>
                  <a:lnTo>
                    <a:pt x="2687091" y="1573518"/>
                  </a:lnTo>
                  <a:lnTo>
                    <a:pt x="2687091" y="1833418"/>
                  </a:lnTo>
                  <a:lnTo>
                    <a:pt x="2687091" y="2090363"/>
                  </a:lnTo>
                  <a:lnTo>
                    <a:pt x="2687091" y="2468997"/>
                  </a:lnTo>
                  <a:lnTo>
                    <a:pt x="2687091" y="2823758"/>
                  </a:lnTo>
                  <a:lnTo>
                    <a:pt x="186290" y="2823758"/>
                  </a:lnTo>
                  <a:lnTo>
                    <a:pt x="186290" y="2823753"/>
                  </a:lnTo>
                  <a:lnTo>
                    <a:pt x="1" y="2823753"/>
                  </a:lnTo>
                  <a:lnTo>
                    <a:pt x="1" y="706250"/>
                  </a:lnTo>
                  <a:lnTo>
                    <a:pt x="0" y="706248"/>
                  </a:lnTo>
                  <a:lnTo>
                    <a:pt x="1" y="100895"/>
                  </a:lnTo>
                  <a:lnTo>
                    <a:pt x="0" y="100893"/>
                  </a:lnTo>
                  <a:cubicBezTo>
                    <a:pt x="0" y="45171"/>
                    <a:pt x="217713" y="0"/>
                    <a:pt x="486276"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a:ln>
                  <a:noFill/>
                </a:ln>
                <a:solidFill>
                  <a:srgbClr val="FFFFFF"/>
                </a:solidFill>
                <a:effectLst/>
                <a:uLnTx/>
                <a:uFillTx/>
                <a:latin typeface="Segoe UI"/>
                <a:ea typeface="Segoe UI" pitchFamily="34" charset="0"/>
                <a:cs typeface="Segoe UI" pitchFamily="34" charset="0"/>
              </a:endParaRPr>
            </a:p>
          </p:txBody>
        </p:sp>
        <p:sp>
          <p:nvSpPr>
            <p:cNvPr id="189" name="Freeform 64"/>
            <p:cNvSpPr/>
            <p:nvPr/>
          </p:nvSpPr>
          <p:spPr bwMode="auto">
            <a:xfrm>
              <a:off x="2354114" y="3729564"/>
              <a:ext cx="231574" cy="242335"/>
            </a:xfrm>
            <a:custGeom>
              <a:avLst/>
              <a:gdLst>
                <a:gd name="connsiteX0" fmla="*/ 84139 w 3657601"/>
                <a:gd name="connsiteY0" fmla="*/ 2916238 h 3827556"/>
                <a:gd name="connsiteX1" fmla="*/ 420687 w 3657601"/>
                <a:gd name="connsiteY1" fmla="*/ 2916238 h 3827556"/>
                <a:gd name="connsiteX2" fmla="*/ 504826 w 3657601"/>
                <a:gd name="connsiteY2" fmla="*/ 3000377 h 3827556"/>
                <a:gd name="connsiteX3" fmla="*/ 504826 w 3657601"/>
                <a:gd name="connsiteY3" fmla="*/ 3306764 h 3827556"/>
                <a:gd name="connsiteX4" fmla="*/ 3152775 w 3657601"/>
                <a:gd name="connsiteY4" fmla="*/ 3306764 h 3827556"/>
                <a:gd name="connsiteX5" fmla="*/ 3152775 w 3657601"/>
                <a:gd name="connsiteY5" fmla="*/ 3000377 h 3827556"/>
                <a:gd name="connsiteX6" fmla="*/ 3236914 w 3657601"/>
                <a:gd name="connsiteY6" fmla="*/ 2916238 h 3827556"/>
                <a:gd name="connsiteX7" fmla="*/ 3573462 w 3657601"/>
                <a:gd name="connsiteY7" fmla="*/ 2916238 h 3827556"/>
                <a:gd name="connsiteX8" fmla="*/ 3657601 w 3657601"/>
                <a:gd name="connsiteY8" fmla="*/ 3000377 h 3827556"/>
                <a:gd name="connsiteX9" fmla="*/ 3657601 w 3657601"/>
                <a:gd name="connsiteY9" fmla="*/ 3827556 h 3827556"/>
                <a:gd name="connsiteX10" fmla="*/ 3657600 w 3657601"/>
                <a:gd name="connsiteY10" fmla="*/ 3827556 h 3827556"/>
                <a:gd name="connsiteX11" fmla="*/ 3152775 w 3657601"/>
                <a:gd name="connsiteY11" fmla="*/ 3827556 h 3827556"/>
                <a:gd name="connsiteX12" fmla="*/ 504826 w 3657601"/>
                <a:gd name="connsiteY12" fmla="*/ 3827556 h 3827556"/>
                <a:gd name="connsiteX13" fmla="*/ 0 w 3657601"/>
                <a:gd name="connsiteY13" fmla="*/ 3827556 h 3827556"/>
                <a:gd name="connsiteX14" fmla="*/ 0 w 3657601"/>
                <a:gd name="connsiteY14" fmla="*/ 3306764 h 3827556"/>
                <a:gd name="connsiteX15" fmla="*/ 0 w 3657601"/>
                <a:gd name="connsiteY15" fmla="*/ 3000377 h 3827556"/>
                <a:gd name="connsiteX16" fmla="*/ 84139 w 3657601"/>
                <a:gd name="connsiteY16" fmla="*/ 2916238 h 3827556"/>
                <a:gd name="connsiteX17" fmla="*/ 805598 w 3657601"/>
                <a:gd name="connsiteY17" fmla="*/ 2427382 h 3827556"/>
                <a:gd name="connsiteX18" fmla="*/ 1347052 w 3657601"/>
                <a:gd name="connsiteY18" fmla="*/ 2427382 h 3827556"/>
                <a:gd name="connsiteX19" fmla="*/ 1390650 w 3657601"/>
                <a:gd name="connsiteY19" fmla="*/ 2470980 h 3827556"/>
                <a:gd name="connsiteX20" fmla="*/ 1390650 w 3657601"/>
                <a:gd name="connsiteY20" fmla="*/ 2869558 h 3827556"/>
                <a:gd name="connsiteX21" fmla="*/ 1347052 w 3657601"/>
                <a:gd name="connsiteY21" fmla="*/ 2913156 h 3827556"/>
                <a:gd name="connsiteX22" fmla="*/ 805598 w 3657601"/>
                <a:gd name="connsiteY22" fmla="*/ 2913156 h 3827556"/>
                <a:gd name="connsiteX23" fmla="*/ 762000 w 3657601"/>
                <a:gd name="connsiteY23" fmla="*/ 2869558 h 3827556"/>
                <a:gd name="connsiteX24" fmla="*/ 762000 w 3657601"/>
                <a:gd name="connsiteY24" fmla="*/ 2470980 h 3827556"/>
                <a:gd name="connsiteX25" fmla="*/ 805598 w 3657601"/>
                <a:gd name="connsiteY25" fmla="*/ 2427382 h 3827556"/>
                <a:gd name="connsiteX26" fmla="*/ 1681898 w 3657601"/>
                <a:gd name="connsiteY26" fmla="*/ 2047199 h 3827556"/>
                <a:gd name="connsiteX27" fmla="*/ 2223352 w 3657601"/>
                <a:gd name="connsiteY27" fmla="*/ 2047199 h 3827556"/>
                <a:gd name="connsiteX28" fmla="*/ 2266950 w 3657601"/>
                <a:gd name="connsiteY28" fmla="*/ 2090797 h 3827556"/>
                <a:gd name="connsiteX29" fmla="*/ 2266950 w 3657601"/>
                <a:gd name="connsiteY29" fmla="*/ 2489375 h 3827556"/>
                <a:gd name="connsiteX30" fmla="*/ 2223352 w 3657601"/>
                <a:gd name="connsiteY30" fmla="*/ 2532973 h 3827556"/>
                <a:gd name="connsiteX31" fmla="*/ 1681898 w 3657601"/>
                <a:gd name="connsiteY31" fmla="*/ 2532973 h 3827556"/>
                <a:gd name="connsiteX32" fmla="*/ 1638300 w 3657601"/>
                <a:gd name="connsiteY32" fmla="*/ 2489375 h 3827556"/>
                <a:gd name="connsiteX33" fmla="*/ 1638300 w 3657601"/>
                <a:gd name="connsiteY33" fmla="*/ 2090797 h 3827556"/>
                <a:gd name="connsiteX34" fmla="*/ 1681898 w 3657601"/>
                <a:gd name="connsiteY34" fmla="*/ 2047199 h 3827556"/>
                <a:gd name="connsiteX35" fmla="*/ 805598 w 3657601"/>
                <a:gd name="connsiteY35" fmla="*/ 1669351 h 3827556"/>
                <a:gd name="connsiteX36" fmla="*/ 1347052 w 3657601"/>
                <a:gd name="connsiteY36" fmla="*/ 1669351 h 3827556"/>
                <a:gd name="connsiteX37" fmla="*/ 1390650 w 3657601"/>
                <a:gd name="connsiteY37" fmla="*/ 1712949 h 3827556"/>
                <a:gd name="connsiteX38" fmla="*/ 1390650 w 3657601"/>
                <a:gd name="connsiteY38" fmla="*/ 2111527 h 3827556"/>
                <a:gd name="connsiteX39" fmla="*/ 1347052 w 3657601"/>
                <a:gd name="connsiteY39" fmla="*/ 2155125 h 3827556"/>
                <a:gd name="connsiteX40" fmla="*/ 805598 w 3657601"/>
                <a:gd name="connsiteY40" fmla="*/ 2155125 h 3827556"/>
                <a:gd name="connsiteX41" fmla="*/ 762000 w 3657601"/>
                <a:gd name="connsiteY41" fmla="*/ 2111527 h 3827556"/>
                <a:gd name="connsiteX42" fmla="*/ 762000 w 3657601"/>
                <a:gd name="connsiteY42" fmla="*/ 1712949 h 3827556"/>
                <a:gd name="connsiteX43" fmla="*/ 805598 w 3657601"/>
                <a:gd name="connsiteY43" fmla="*/ 1669351 h 3827556"/>
                <a:gd name="connsiteX44" fmla="*/ 2558198 w 3657601"/>
                <a:gd name="connsiteY44" fmla="*/ 1645318 h 3827556"/>
                <a:gd name="connsiteX45" fmla="*/ 3099652 w 3657601"/>
                <a:gd name="connsiteY45" fmla="*/ 1645318 h 3827556"/>
                <a:gd name="connsiteX46" fmla="*/ 3143250 w 3657601"/>
                <a:gd name="connsiteY46" fmla="*/ 1688916 h 3827556"/>
                <a:gd name="connsiteX47" fmla="*/ 3143250 w 3657601"/>
                <a:gd name="connsiteY47" fmla="*/ 2087494 h 3827556"/>
                <a:gd name="connsiteX48" fmla="*/ 3099652 w 3657601"/>
                <a:gd name="connsiteY48" fmla="*/ 2131092 h 3827556"/>
                <a:gd name="connsiteX49" fmla="*/ 2558198 w 3657601"/>
                <a:gd name="connsiteY49" fmla="*/ 2131092 h 3827556"/>
                <a:gd name="connsiteX50" fmla="*/ 2514600 w 3657601"/>
                <a:gd name="connsiteY50" fmla="*/ 2087494 h 3827556"/>
                <a:gd name="connsiteX51" fmla="*/ 2514600 w 3657601"/>
                <a:gd name="connsiteY51" fmla="*/ 1688916 h 3827556"/>
                <a:gd name="connsiteX52" fmla="*/ 2558198 w 3657601"/>
                <a:gd name="connsiteY52" fmla="*/ 1645318 h 3827556"/>
                <a:gd name="connsiteX53" fmla="*/ 1681898 w 3657601"/>
                <a:gd name="connsiteY53" fmla="*/ 1288793 h 3827556"/>
                <a:gd name="connsiteX54" fmla="*/ 2223352 w 3657601"/>
                <a:gd name="connsiteY54" fmla="*/ 1288793 h 3827556"/>
                <a:gd name="connsiteX55" fmla="*/ 2266950 w 3657601"/>
                <a:gd name="connsiteY55" fmla="*/ 1332391 h 3827556"/>
                <a:gd name="connsiteX56" fmla="*/ 2266950 w 3657601"/>
                <a:gd name="connsiteY56" fmla="*/ 1730969 h 3827556"/>
                <a:gd name="connsiteX57" fmla="*/ 2223352 w 3657601"/>
                <a:gd name="connsiteY57" fmla="*/ 1774567 h 3827556"/>
                <a:gd name="connsiteX58" fmla="*/ 1681898 w 3657601"/>
                <a:gd name="connsiteY58" fmla="*/ 1774567 h 3827556"/>
                <a:gd name="connsiteX59" fmla="*/ 1638300 w 3657601"/>
                <a:gd name="connsiteY59" fmla="*/ 1730969 h 3827556"/>
                <a:gd name="connsiteX60" fmla="*/ 1638300 w 3657601"/>
                <a:gd name="connsiteY60" fmla="*/ 1332391 h 3827556"/>
                <a:gd name="connsiteX61" fmla="*/ 1681898 w 3657601"/>
                <a:gd name="connsiteY61" fmla="*/ 1288793 h 3827556"/>
                <a:gd name="connsiteX62" fmla="*/ 805598 w 3657601"/>
                <a:gd name="connsiteY62" fmla="*/ 911320 h 3827556"/>
                <a:gd name="connsiteX63" fmla="*/ 1347052 w 3657601"/>
                <a:gd name="connsiteY63" fmla="*/ 911320 h 3827556"/>
                <a:gd name="connsiteX64" fmla="*/ 1390650 w 3657601"/>
                <a:gd name="connsiteY64" fmla="*/ 954918 h 3827556"/>
                <a:gd name="connsiteX65" fmla="*/ 1390650 w 3657601"/>
                <a:gd name="connsiteY65" fmla="*/ 1353496 h 3827556"/>
                <a:gd name="connsiteX66" fmla="*/ 1347052 w 3657601"/>
                <a:gd name="connsiteY66" fmla="*/ 1397094 h 3827556"/>
                <a:gd name="connsiteX67" fmla="*/ 805598 w 3657601"/>
                <a:gd name="connsiteY67" fmla="*/ 1397094 h 3827556"/>
                <a:gd name="connsiteX68" fmla="*/ 762000 w 3657601"/>
                <a:gd name="connsiteY68" fmla="*/ 1353496 h 3827556"/>
                <a:gd name="connsiteX69" fmla="*/ 762000 w 3657601"/>
                <a:gd name="connsiteY69" fmla="*/ 954918 h 3827556"/>
                <a:gd name="connsiteX70" fmla="*/ 805598 w 3657601"/>
                <a:gd name="connsiteY70" fmla="*/ 911320 h 3827556"/>
                <a:gd name="connsiteX71" fmla="*/ 0 w 3657601"/>
                <a:gd name="connsiteY71" fmla="*/ 0 h 3827556"/>
                <a:gd name="connsiteX72" fmla="*/ 1 w 3657601"/>
                <a:gd name="connsiteY72" fmla="*/ 0 h 3827556"/>
                <a:gd name="connsiteX73" fmla="*/ 504826 w 3657601"/>
                <a:gd name="connsiteY73" fmla="*/ 0 h 3827556"/>
                <a:gd name="connsiteX74" fmla="*/ 3152775 w 3657601"/>
                <a:gd name="connsiteY74" fmla="*/ 0 h 3827556"/>
                <a:gd name="connsiteX75" fmla="*/ 3657601 w 3657601"/>
                <a:gd name="connsiteY75" fmla="*/ 0 h 3827556"/>
                <a:gd name="connsiteX76" fmla="*/ 3657601 w 3657601"/>
                <a:gd name="connsiteY76" fmla="*/ 520792 h 3827556"/>
                <a:gd name="connsiteX77" fmla="*/ 3657601 w 3657601"/>
                <a:gd name="connsiteY77" fmla="*/ 827179 h 3827556"/>
                <a:gd name="connsiteX78" fmla="*/ 3573462 w 3657601"/>
                <a:gd name="connsiteY78" fmla="*/ 911318 h 3827556"/>
                <a:gd name="connsiteX79" fmla="*/ 3236914 w 3657601"/>
                <a:gd name="connsiteY79" fmla="*/ 911318 h 3827556"/>
                <a:gd name="connsiteX80" fmla="*/ 3152775 w 3657601"/>
                <a:gd name="connsiteY80" fmla="*/ 827179 h 3827556"/>
                <a:gd name="connsiteX81" fmla="*/ 3152775 w 3657601"/>
                <a:gd name="connsiteY81" fmla="*/ 520792 h 3827556"/>
                <a:gd name="connsiteX82" fmla="*/ 504826 w 3657601"/>
                <a:gd name="connsiteY82" fmla="*/ 520792 h 3827556"/>
                <a:gd name="connsiteX83" fmla="*/ 504826 w 3657601"/>
                <a:gd name="connsiteY83" fmla="*/ 827179 h 3827556"/>
                <a:gd name="connsiteX84" fmla="*/ 420687 w 3657601"/>
                <a:gd name="connsiteY84" fmla="*/ 911318 h 3827556"/>
                <a:gd name="connsiteX85" fmla="*/ 84139 w 3657601"/>
                <a:gd name="connsiteY85" fmla="*/ 911318 h 3827556"/>
                <a:gd name="connsiteX86" fmla="*/ 0 w 3657601"/>
                <a:gd name="connsiteY86" fmla="*/ 827179 h 38275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3657601" h="3827556">
                  <a:moveTo>
                    <a:pt x="84139" y="2916238"/>
                  </a:moveTo>
                  <a:lnTo>
                    <a:pt x="420687" y="2916238"/>
                  </a:lnTo>
                  <a:cubicBezTo>
                    <a:pt x="467156" y="2916238"/>
                    <a:pt x="504826" y="2953908"/>
                    <a:pt x="504826" y="3000377"/>
                  </a:cubicBezTo>
                  <a:lnTo>
                    <a:pt x="504826" y="3306764"/>
                  </a:lnTo>
                  <a:lnTo>
                    <a:pt x="3152775" y="3306764"/>
                  </a:lnTo>
                  <a:lnTo>
                    <a:pt x="3152775" y="3000377"/>
                  </a:lnTo>
                  <a:cubicBezTo>
                    <a:pt x="3152775" y="2953908"/>
                    <a:pt x="3190445" y="2916238"/>
                    <a:pt x="3236914" y="2916238"/>
                  </a:cubicBezTo>
                  <a:lnTo>
                    <a:pt x="3573462" y="2916238"/>
                  </a:lnTo>
                  <a:cubicBezTo>
                    <a:pt x="3619931" y="2916238"/>
                    <a:pt x="3657601" y="2953908"/>
                    <a:pt x="3657601" y="3000377"/>
                  </a:cubicBezTo>
                  <a:lnTo>
                    <a:pt x="3657601" y="3827556"/>
                  </a:lnTo>
                  <a:lnTo>
                    <a:pt x="3657600" y="3827556"/>
                  </a:lnTo>
                  <a:lnTo>
                    <a:pt x="3152775" y="3827556"/>
                  </a:lnTo>
                  <a:lnTo>
                    <a:pt x="504826" y="3827556"/>
                  </a:lnTo>
                  <a:lnTo>
                    <a:pt x="0" y="3827556"/>
                  </a:lnTo>
                  <a:lnTo>
                    <a:pt x="0" y="3306764"/>
                  </a:lnTo>
                  <a:lnTo>
                    <a:pt x="0" y="3000377"/>
                  </a:lnTo>
                  <a:cubicBezTo>
                    <a:pt x="0" y="2953908"/>
                    <a:pt x="37670" y="2916238"/>
                    <a:pt x="84139" y="2916238"/>
                  </a:cubicBezTo>
                  <a:close/>
                  <a:moveTo>
                    <a:pt x="805598" y="2427382"/>
                  </a:moveTo>
                  <a:lnTo>
                    <a:pt x="1347052" y="2427382"/>
                  </a:lnTo>
                  <a:cubicBezTo>
                    <a:pt x="1371131" y="2427382"/>
                    <a:pt x="1390650" y="2446901"/>
                    <a:pt x="1390650" y="2470980"/>
                  </a:cubicBezTo>
                  <a:lnTo>
                    <a:pt x="1390650" y="2869558"/>
                  </a:lnTo>
                  <a:cubicBezTo>
                    <a:pt x="1390650" y="2893637"/>
                    <a:pt x="1371131" y="2913156"/>
                    <a:pt x="1347052" y="2913156"/>
                  </a:cubicBezTo>
                  <a:lnTo>
                    <a:pt x="805598" y="2913156"/>
                  </a:lnTo>
                  <a:cubicBezTo>
                    <a:pt x="781519" y="2913156"/>
                    <a:pt x="762000" y="2893637"/>
                    <a:pt x="762000" y="2869558"/>
                  </a:cubicBezTo>
                  <a:lnTo>
                    <a:pt x="762000" y="2470980"/>
                  </a:lnTo>
                  <a:cubicBezTo>
                    <a:pt x="762000" y="2446901"/>
                    <a:pt x="781519" y="2427382"/>
                    <a:pt x="805598" y="2427382"/>
                  </a:cubicBezTo>
                  <a:close/>
                  <a:moveTo>
                    <a:pt x="1681898" y="2047199"/>
                  </a:moveTo>
                  <a:lnTo>
                    <a:pt x="2223352" y="2047199"/>
                  </a:lnTo>
                  <a:cubicBezTo>
                    <a:pt x="2247431" y="2047199"/>
                    <a:pt x="2266950" y="2066718"/>
                    <a:pt x="2266950" y="2090797"/>
                  </a:cubicBezTo>
                  <a:lnTo>
                    <a:pt x="2266950" y="2489375"/>
                  </a:lnTo>
                  <a:cubicBezTo>
                    <a:pt x="2266950" y="2513454"/>
                    <a:pt x="2247431" y="2532973"/>
                    <a:pt x="2223352" y="2532973"/>
                  </a:cubicBezTo>
                  <a:lnTo>
                    <a:pt x="1681898" y="2532973"/>
                  </a:lnTo>
                  <a:cubicBezTo>
                    <a:pt x="1657819" y="2532973"/>
                    <a:pt x="1638300" y="2513454"/>
                    <a:pt x="1638300" y="2489375"/>
                  </a:cubicBezTo>
                  <a:lnTo>
                    <a:pt x="1638300" y="2090797"/>
                  </a:lnTo>
                  <a:cubicBezTo>
                    <a:pt x="1638300" y="2066718"/>
                    <a:pt x="1657819" y="2047199"/>
                    <a:pt x="1681898" y="2047199"/>
                  </a:cubicBezTo>
                  <a:close/>
                  <a:moveTo>
                    <a:pt x="805598" y="1669351"/>
                  </a:moveTo>
                  <a:lnTo>
                    <a:pt x="1347052" y="1669351"/>
                  </a:lnTo>
                  <a:cubicBezTo>
                    <a:pt x="1371131" y="1669351"/>
                    <a:pt x="1390650" y="1688870"/>
                    <a:pt x="1390650" y="1712949"/>
                  </a:cubicBezTo>
                  <a:lnTo>
                    <a:pt x="1390650" y="2111527"/>
                  </a:lnTo>
                  <a:cubicBezTo>
                    <a:pt x="1390650" y="2135606"/>
                    <a:pt x="1371131" y="2155125"/>
                    <a:pt x="1347052" y="2155125"/>
                  </a:cubicBezTo>
                  <a:lnTo>
                    <a:pt x="805598" y="2155125"/>
                  </a:lnTo>
                  <a:cubicBezTo>
                    <a:pt x="781519" y="2155125"/>
                    <a:pt x="762000" y="2135606"/>
                    <a:pt x="762000" y="2111527"/>
                  </a:cubicBezTo>
                  <a:lnTo>
                    <a:pt x="762000" y="1712949"/>
                  </a:lnTo>
                  <a:cubicBezTo>
                    <a:pt x="762000" y="1688870"/>
                    <a:pt x="781519" y="1669351"/>
                    <a:pt x="805598" y="1669351"/>
                  </a:cubicBezTo>
                  <a:close/>
                  <a:moveTo>
                    <a:pt x="2558198" y="1645318"/>
                  </a:moveTo>
                  <a:lnTo>
                    <a:pt x="3099652" y="1645318"/>
                  </a:lnTo>
                  <a:cubicBezTo>
                    <a:pt x="3123731" y="1645318"/>
                    <a:pt x="3143250" y="1664837"/>
                    <a:pt x="3143250" y="1688916"/>
                  </a:cubicBezTo>
                  <a:lnTo>
                    <a:pt x="3143250" y="2087494"/>
                  </a:lnTo>
                  <a:cubicBezTo>
                    <a:pt x="3143250" y="2111573"/>
                    <a:pt x="3123731" y="2131092"/>
                    <a:pt x="3099652" y="2131092"/>
                  </a:cubicBezTo>
                  <a:lnTo>
                    <a:pt x="2558198" y="2131092"/>
                  </a:lnTo>
                  <a:cubicBezTo>
                    <a:pt x="2534119" y="2131092"/>
                    <a:pt x="2514600" y="2111573"/>
                    <a:pt x="2514600" y="2087494"/>
                  </a:cubicBezTo>
                  <a:lnTo>
                    <a:pt x="2514600" y="1688916"/>
                  </a:lnTo>
                  <a:cubicBezTo>
                    <a:pt x="2514600" y="1664837"/>
                    <a:pt x="2534119" y="1645318"/>
                    <a:pt x="2558198" y="1645318"/>
                  </a:cubicBezTo>
                  <a:close/>
                  <a:moveTo>
                    <a:pt x="1681898" y="1288793"/>
                  </a:moveTo>
                  <a:lnTo>
                    <a:pt x="2223352" y="1288793"/>
                  </a:lnTo>
                  <a:cubicBezTo>
                    <a:pt x="2247431" y="1288793"/>
                    <a:pt x="2266950" y="1308312"/>
                    <a:pt x="2266950" y="1332391"/>
                  </a:cubicBezTo>
                  <a:lnTo>
                    <a:pt x="2266950" y="1730969"/>
                  </a:lnTo>
                  <a:cubicBezTo>
                    <a:pt x="2266950" y="1755048"/>
                    <a:pt x="2247431" y="1774567"/>
                    <a:pt x="2223352" y="1774567"/>
                  </a:cubicBezTo>
                  <a:lnTo>
                    <a:pt x="1681898" y="1774567"/>
                  </a:lnTo>
                  <a:cubicBezTo>
                    <a:pt x="1657819" y="1774567"/>
                    <a:pt x="1638300" y="1755048"/>
                    <a:pt x="1638300" y="1730969"/>
                  </a:cubicBezTo>
                  <a:lnTo>
                    <a:pt x="1638300" y="1332391"/>
                  </a:lnTo>
                  <a:cubicBezTo>
                    <a:pt x="1638300" y="1308312"/>
                    <a:pt x="1657819" y="1288793"/>
                    <a:pt x="1681898" y="1288793"/>
                  </a:cubicBezTo>
                  <a:close/>
                  <a:moveTo>
                    <a:pt x="805598" y="911320"/>
                  </a:moveTo>
                  <a:lnTo>
                    <a:pt x="1347052" y="911320"/>
                  </a:lnTo>
                  <a:cubicBezTo>
                    <a:pt x="1371131" y="911320"/>
                    <a:pt x="1390650" y="930839"/>
                    <a:pt x="1390650" y="954918"/>
                  </a:cubicBezTo>
                  <a:lnTo>
                    <a:pt x="1390650" y="1353496"/>
                  </a:lnTo>
                  <a:cubicBezTo>
                    <a:pt x="1390650" y="1377575"/>
                    <a:pt x="1371131" y="1397094"/>
                    <a:pt x="1347052" y="1397094"/>
                  </a:cubicBezTo>
                  <a:lnTo>
                    <a:pt x="805598" y="1397094"/>
                  </a:lnTo>
                  <a:cubicBezTo>
                    <a:pt x="781519" y="1397094"/>
                    <a:pt x="762000" y="1377575"/>
                    <a:pt x="762000" y="1353496"/>
                  </a:cubicBezTo>
                  <a:lnTo>
                    <a:pt x="762000" y="954918"/>
                  </a:lnTo>
                  <a:cubicBezTo>
                    <a:pt x="762000" y="930839"/>
                    <a:pt x="781519" y="911320"/>
                    <a:pt x="805598" y="911320"/>
                  </a:cubicBezTo>
                  <a:close/>
                  <a:moveTo>
                    <a:pt x="0" y="0"/>
                  </a:moveTo>
                  <a:lnTo>
                    <a:pt x="1" y="0"/>
                  </a:lnTo>
                  <a:lnTo>
                    <a:pt x="504826" y="0"/>
                  </a:lnTo>
                  <a:lnTo>
                    <a:pt x="3152775" y="0"/>
                  </a:lnTo>
                  <a:lnTo>
                    <a:pt x="3657601" y="0"/>
                  </a:lnTo>
                  <a:lnTo>
                    <a:pt x="3657601" y="520792"/>
                  </a:lnTo>
                  <a:lnTo>
                    <a:pt x="3657601" y="827179"/>
                  </a:lnTo>
                  <a:cubicBezTo>
                    <a:pt x="3657601" y="873648"/>
                    <a:pt x="3619931" y="911318"/>
                    <a:pt x="3573462" y="911318"/>
                  </a:cubicBezTo>
                  <a:lnTo>
                    <a:pt x="3236914" y="911318"/>
                  </a:lnTo>
                  <a:cubicBezTo>
                    <a:pt x="3190445" y="911318"/>
                    <a:pt x="3152775" y="873648"/>
                    <a:pt x="3152775" y="827179"/>
                  </a:cubicBezTo>
                  <a:lnTo>
                    <a:pt x="3152775" y="520792"/>
                  </a:lnTo>
                  <a:lnTo>
                    <a:pt x="504826" y="520792"/>
                  </a:lnTo>
                  <a:lnTo>
                    <a:pt x="504826" y="827179"/>
                  </a:lnTo>
                  <a:cubicBezTo>
                    <a:pt x="504826" y="873648"/>
                    <a:pt x="467156" y="911318"/>
                    <a:pt x="420687" y="911318"/>
                  </a:cubicBezTo>
                  <a:lnTo>
                    <a:pt x="84139" y="911318"/>
                  </a:lnTo>
                  <a:cubicBezTo>
                    <a:pt x="37670" y="911318"/>
                    <a:pt x="0" y="873648"/>
                    <a:pt x="0" y="827179"/>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a:ln>
                  <a:noFill/>
                </a:ln>
                <a:solidFill>
                  <a:srgbClr val="FFFFFF"/>
                </a:solidFill>
                <a:effectLst/>
                <a:uLnTx/>
                <a:uFillTx/>
                <a:latin typeface="Segoe UI"/>
                <a:ea typeface="Segoe UI" pitchFamily="34" charset="0"/>
                <a:cs typeface="Segoe UI" pitchFamily="34" charset="0"/>
              </a:endParaRPr>
            </a:p>
          </p:txBody>
        </p:sp>
      </p:grpSp>
      <p:sp>
        <p:nvSpPr>
          <p:cNvPr id="195" name="Rectangle 194"/>
          <p:cNvSpPr/>
          <p:nvPr/>
        </p:nvSpPr>
        <p:spPr bwMode="auto">
          <a:xfrm>
            <a:off x="5901551" y="1657049"/>
            <a:ext cx="1737360" cy="4187396"/>
          </a:xfrm>
          <a:prstGeom prst="rect">
            <a:avLst/>
          </a:prstGeom>
          <a:solidFill>
            <a:schemeClr val="accent1"/>
          </a:solidFill>
          <a:ln w="3175">
            <a:noFill/>
          </a:ln>
          <a:effectLst/>
        </p:spPr>
        <p:txBody>
          <a:bodyPr spcFirstLastPara="0" vert="horz" wrap="square" lIns="18281" tIns="91440" rIns="18281" bIns="91401" numCol="1" spcCol="1270" anchor="t" anchorCtr="0">
            <a:noAutofit/>
          </a:bodyPr>
          <a:lstStyle/>
          <a:p>
            <a:pPr marL="0" marR="0" lvl="0" indent="0" algn="ctr" defTabSz="725012" eaLnBrk="1" fontAlgn="auto" latinLnBrk="0" hangingPunct="1">
              <a:lnSpc>
                <a:spcPct val="100000"/>
              </a:lnSpc>
              <a:spcBef>
                <a:spcPct val="0"/>
              </a:spcBef>
              <a:spcAft>
                <a:spcPct val="35000"/>
              </a:spcAft>
              <a:buClrTx/>
              <a:buSzTx/>
              <a:buFontTx/>
              <a:buNone/>
              <a:tabLst/>
              <a:defRPr/>
            </a:pPr>
            <a:r>
              <a:rPr kumimoji="0" lang="en-US" sz="1400" b="0" i="0" u="none" strike="noStrike" kern="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Machine Learning and Analytics</a:t>
            </a:r>
          </a:p>
        </p:txBody>
      </p:sp>
      <p:sp>
        <p:nvSpPr>
          <p:cNvPr id="196" name="Rectangle 195"/>
          <p:cNvSpPr/>
          <p:nvPr/>
        </p:nvSpPr>
        <p:spPr bwMode="auto">
          <a:xfrm>
            <a:off x="5898267" y="3599114"/>
            <a:ext cx="1710318" cy="57663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srgbClr val="00BCF2"/>
              </a:solidFill>
              <a:effectLst/>
              <a:uLnTx/>
              <a:uFillTx/>
              <a:ea typeface="Segoe UI" pitchFamily="34" charset="0"/>
              <a:cs typeface="Segoe UI" pitchFamily="34" charset="0"/>
            </a:endParaRPr>
          </a:p>
        </p:txBody>
      </p:sp>
      <p:sp>
        <p:nvSpPr>
          <p:cNvPr id="197" name="Rectangle 196"/>
          <p:cNvSpPr/>
          <p:nvPr/>
        </p:nvSpPr>
        <p:spPr>
          <a:xfrm>
            <a:off x="6340519" y="3555362"/>
            <a:ext cx="1268870" cy="600164"/>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chemeClr val="bg1"/>
                </a:solidFill>
                <a:effectLst/>
                <a:uLnTx/>
                <a:uFillTx/>
                <a:cs typeface="Segoe UI Semilight" panose="020B0402040204020203" pitchFamily="34" charset="0"/>
              </a:rPr>
              <a:t>HDInsight </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chemeClr val="bg1"/>
                </a:solidFill>
                <a:effectLst/>
                <a:uLnTx/>
                <a:uFillTx/>
                <a:cs typeface="Segoe UI Semilight" panose="020B0402040204020203" pitchFamily="34" charset="0"/>
              </a:rPr>
              <a:t>(Hadoop and Spark)</a:t>
            </a:r>
          </a:p>
        </p:txBody>
      </p:sp>
      <p:sp>
        <p:nvSpPr>
          <p:cNvPr id="198" name="Rectangle 197"/>
          <p:cNvSpPr/>
          <p:nvPr/>
        </p:nvSpPr>
        <p:spPr>
          <a:xfrm>
            <a:off x="6340519" y="4283607"/>
            <a:ext cx="1268870" cy="261610"/>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FFFFFF"/>
                </a:solidFill>
                <a:effectLst/>
                <a:uLnTx/>
                <a:uFillTx/>
                <a:cs typeface="Segoe UI Semilight" panose="020B0402040204020203" pitchFamily="34" charset="0"/>
              </a:rPr>
              <a:t>Stream Analytics</a:t>
            </a:r>
          </a:p>
        </p:txBody>
      </p:sp>
      <p:sp>
        <p:nvSpPr>
          <p:cNvPr id="199" name="Rectangle 198"/>
          <p:cNvSpPr/>
          <p:nvPr/>
        </p:nvSpPr>
        <p:spPr bwMode="auto">
          <a:xfrm>
            <a:off x="5893826" y="3073130"/>
            <a:ext cx="1714759" cy="48859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srgbClr val="00BCF2"/>
              </a:solidFill>
              <a:effectLst/>
              <a:uLnTx/>
              <a:uFillTx/>
              <a:ea typeface="Segoe UI" pitchFamily="34" charset="0"/>
              <a:cs typeface="Segoe UI" pitchFamily="34" charset="0"/>
            </a:endParaRPr>
          </a:p>
        </p:txBody>
      </p:sp>
      <p:sp>
        <p:nvSpPr>
          <p:cNvPr id="200" name="Rectangle 199"/>
          <p:cNvSpPr/>
          <p:nvPr/>
        </p:nvSpPr>
        <p:spPr>
          <a:xfrm>
            <a:off x="5123071" y="5932865"/>
            <a:ext cx="1455527" cy="369332"/>
          </a:xfrm>
          <a:prstGeom prst="rect">
            <a:avLst/>
          </a:prstGeom>
        </p:spPr>
        <p:txBody>
          <a:bodyPr wrap="none" lIns="0" tIns="0" rIns="0" bIns="0" anchor="ctr">
            <a:spAutoFit/>
          </a:bodyPr>
          <a:lstStyle/>
          <a:p>
            <a:pPr marL="0" marR="0" lvl="0" indent="0" algn="ctr" defTabSz="725012" eaLnBrk="1" fontAlgn="auto" latinLnBrk="0" hangingPunct="1">
              <a:lnSpc>
                <a:spcPct val="100000"/>
              </a:lnSpc>
              <a:spcBef>
                <a:spcPct val="0"/>
              </a:spcBef>
              <a:spcAft>
                <a:spcPct val="35000"/>
              </a:spcAft>
              <a:buClrTx/>
              <a:buSzTx/>
              <a:buFontTx/>
              <a:buNone/>
              <a:tabLst/>
              <a:defRPr/>
            </a:pPr>
            <a:r>
              <a:rPr kumimoji="0" lang="en-US" sz="2400" b="0" i="0" u="none" strike="noStrike" kern="0" cap="none" spc="0" normalizeH="0" baseline="0" noProof="0" dirty="0">
                <a:ln>
                  <a:noFill/>
                </a:ln>
                <a:solidFill>
                  <a:srgbClr val="002050"/>
                </a:solidFill>
                <a:effectLst/>
                <a:uLnTx/>
                <a:uFillTx/>
                <a:latin typeface="Segoe UI Light"/>
              </a:rPr>
              <a:t>Intelligence</a:t>
            </a:r>
            <a:endParaRPr kumimoji="0" lang="en-US" sz="1800" b="1" i="0" u="none" strike="noStrike" kern="0" cap="none" spc="-30" normalizeH="0" baseline="0" noProof="0" dirty="0">
              <a:ln>
                <a:noFill/>
              </a:ln>
              <a:solidFill>
                <a:srgbClr val="002050"/>
              </a:solidFill>
              <a:effectLst/>
              <a:uLnTx/>
              <a:uFillTx/>
              <a:latin typeface="Segoe UI Semilight" panose="020B0402040204020203" pitchFamily="34" charset="0"/>
              <a:cs typeface="Segoe UI Semilight" panose="020B0402040204020203" pitchFamily="34" charset="0"/>
            </a:endParaRPr>
          </a:p>
        </p:txBody>
      </p:sp>
      <p:sp>
        <p:nvSpPr>
          <p:cNvPr id="201" name="Rectangle 200"/>
          <p:cNvSpPr/>
          <p:nvPr/>
        </p:nvSpPr>
        <p:spPr>
          <a:xfrm>
            <a:off x="6340519" y="3055939"/>
            <a:ext cx="1268870" cy="430887"/>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chemeClr val="bg1"/>
                </a:solidFill>
                <a:effectLst/>
                <a:uLnTx/>
                <a:uFillTx/>
                <a:cs typeface="Segoe UI Semilight" panose="020B0402040204020203" pitchFamily="34" charset="0"/>
              </a:rPr>
              <a:t>Data Lake Analytics</a:t>
            </a:r>
          </a:p>
        </p:txBody>
      </p:sp>
      <p:sp>
        <p:nvSpPr>
          <p:cNvPr id="202" name="Rectangle 201"/>
          <p:cNvSpPr/>
          <p:nvPr/>
        </p:nvSpPr>
        <p:spPr>
          <a:xfrm>
            <a:off x="6340519" y="2443589"/>
            <a:ext cx="1268870" cy="430887"/>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FFFFFF"/>
                </a:solidFill>
                <a:effectLst/>
                <a:uLnTx/>
                <a:uFillTx/>
                <a:cs typeface="Segoe UI Semilight" panose="020B0402040204020203" pitchFamily="34" charset="0"/>
              </a:rPr>
              <a:t>Machine Learning</a:t>
            </a:r>
          </a:p>
        </p:txBody>
      </p:sp>
      <p:grpSp>
        <p:nvGrpSpPr>
          <p:cNvPr id="203" name="Group 202"/>
          <p:cNvGrpSpPr/>
          <p:nvPr/>
        </p:nvGrpSpPr>
        <p:grpSpPr>
          <a:xfrm>
            <a:off x="5982706" y="4285927"/>
            <a:ext cx="352655" cy="270905"/>
            <a:chOff x="1260022" y="5196402"/>
            <a:chExt cx="3273425" cy="2514600"/>
          </a:xfrm>
          <a:solidFill>
            <a:srgbClr val="FFFFFF"/>
          </a:solidFill>
        </p:grpSpPr>
        <p:sp>
          <p:nvSpPr>
            <p:cNvPr id="204" name="Freeform 79"/>
            <p:cNvSpPr>
              <a:spLocks/>
            </p:cNvSpPr>
            <p:nvPr/>
          </p:nvSpPr>
          <p:spPr bwMode="auto">
            <a:xfrm>
              <a:off x="2247447" y="5196402"/>
              <a:ext cx="2286000" cy="2514600"/>
            </a:xfrm>
            <a:custGeom>
              <a:avLst/>
              <a:gdLst>
                <a:gd name="T0" fmla="*/ 307 w 609"/>
                <a:gd name="T1" fmla="*/ 0 h 669"/>
                <a:gd name="T2" fmla="*/ 341 w 609"/>
                <a:gd name="T3" fmla="*/ 90 h 669"/>
                <a:gd name="T4" fmla="*/ 395 w 609"/>
                <a:gd name="T5" fmla="*/ 114 h 669"/>
                <a:gd name="T6" fmla="*/ 482 w 609"/>
                <a:gd name="T7" fmla="*/ 68 h 669"/>
                <a:gd name="T8" fmla="*/ 537 w 609"/>
                <a:gd name="T9" fmla="*/ 123 h 669"/>
                <a:gd name="T10" fmla="*/ 494 w 609"/>
                <a:gd name="T11" fmla="*/ 208 h 669"/>
                <a:gd name="T12" fmla="*/ 516 w 609"/>
                <a:gd name="T13" fmla="*/ 261 h 669"/>
                <a:gd name="T14" fmla="*/ 609 w 609"/>
                <a:gd name="T15" fmla="*/ 293 h 669"/>
                <a:gd name="T16" fmla="*/ 609 w 609"/>
                <a:gd name="T17" fmla="*/ 369 h 669"/>
                <a:gd name="T18" fmla="*/ 517 w 609"/>
                <a:gd name="T19" fmla="*/ 401 h 669"/>
                <a:gd name="T20" fmla="*/ 493 w 609"/>
                <a:gd name="T21" fmla="*/ 454 h 669"/>
                <a:gd name="T22" fmla="*/ 535 w 609"/>
                <a:gd name="T23" fmla="*/ 540 h 669"/>
                <a:gd name="T24" fmla="*/ 480 w 609"/>
                <a:gd name="T25" fmla="*/ 595 h 669"/>
                <a:gd name="T26" fmla="*/ 394 w 609"/>
                <a:gd name="T27" fmla="*/ 556 h 669"/>
                <a:gd name="T28" fmla="*/ 339 w 609"/>
                <a:gd name="T29" fmla="*/ 579 h 669"/>
                <a:gd name="T30" fmla="*/ 309 w 609"/>
                <a:gd name="T31" fmla="*/ 669 h 669"/>
                <a:gd name="T32" fmla="*/ 231 w 609"/>
                <a:gd name="T33" fmla="*/ 669 h 669"/>
                <a:gd name="T34" fmla="*/ 201 w 609"/>
                <a:gd name="T35" fmla="*/ 579 h 669"/>
                <a:gd name="T36" fmla="*/ 148 w 609"/>
                <a:gd name="T37" fmla="*/ 558 h 669"/>
                <a:gd name="T38" fmla="*/ 63 w 609"/>
                <a:gd name="T39" fmla="*/ 600 h 669"/>
                <a:gd name="T40" fmla="*/ 7 w 609"/>
                <a:gd name="T41" fmla="*/ 546 h 669"/>
                <a:gd name="T42" fmla="*/ 24 w 609"/>
                <a:gd name="T43" fmla="*/ 519 h 669"/>
                <a:gd name="T44" fmla="*/ 102 w 609"/>
                <a:gd name="T45" fmla="*/ 479 h 669"/>
                <a:gd name="T46" fmla="*/ 171 w 609"/>
                <a:gd name="T47" fmla="*/ 431 h 669"/>
                <a:gd name="T48" fmla="*/ 208 w 609"/>
                <a:gd name="T49" fmla="*/ 457 h 669"/>
                <a:gd name="T50" fmla="*/ 411 w 609"/>
                <a:gd name="T51" fmla="*/ 332 h 669"/>
                <a:gd name="T52" fmla="*/ 339 w 609"/>
                <a:gd name="T53" fmla="*/ 213 h 669"/>
                <a:gd name="T54" fmla="*/ 180 w 609"/>
                <a:gd name="T55" fmla="*/ 146 h 669"/>
                <a:gd name="T56" fmla="*/ 28 w 609"/>
                <a:gd name="T57" fmla="*/ 180 h 669"/>
                <a:gd name="T58" fmla="*/ 0 w 609"/>
                <a:gd name="T59" fmla="*/ 127 h 669"/>
                <a:gd name="T60" fmla="*/ 51 w 609"/>
                <a:gd name="T61" fmla="*/ 72 h 669"/>
                <a:gd name="T62" fmla="*/ 143 w 609"/>
                <a:gd name="T63" fmla="*/ 113 h 669"/>
                <a:gd name="T64" fmla="*/ 196 w 609"/>
                <a:gd name="T65" fmla="*/ 90 h 669"/>
                <a:gd name="T66" fmla="*/ 233 w 609"/>
                <a:gd name="T67" fmla="*/ 0 h 669"/>
                <a:gd name="T68" fmla="*/ 307 w 609"/>
                <a:gd name="T69" fmla="*/ 0 h 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09" h="669">
                  <a:moveTo>
                    <a:pt x="307" y="0"/>
                  </a:moveTo>
                  <a:cubicBezTo>
                    <a:pt x="319" y="29"/>
                    <a:pt x="331" y="58"/>
                    <a:pt x="341" y="90"/>
                  </a:cubicBezTo>
                  <a:cubicBezTo>
                    <a:pt x="358" y="98"/>
                    <a:pt x="378" y="105"/>
                    <a:pt x="395" y="114"/>
                  </a:cubicBezTo>
                  <a:cubicBezTo>
                    <a:pt x="423" y="98"/>
                    <a:pt x="455" y="86"/>
                    <a:pt x="482" y="68"/>
                  </a:cubicBezTo>
                  <a:cubicBezTo>
                    <a:pt x="503" y="85"/>
                    <a:pt x="521" y="103"/>
                    <a:pt x="537" y="123"/>
                  </a:cubicBezTo>
                  <a:cubicBezTo>
                    <a:pt x="521" y="150"/>
                    <a:pt x="509" y="181"/>
                    <a:pt x="494" y="208"/>
                  </a:cubicBezTo>
                  <a:cubicBezTo>
                    <a:pt x="500" y="227"/>
                    <a:pt x="510" y="242"/>
                    <a:pt x="516" y="261"/>
                  </a:cubicBezTo>
                  <a:cubicBezTo>
                    <a:pt x="546" y="272"/>
                    <a:pt x="576" y="284"/>
                    <a:pt x="609" y="293"/>
                  </a:cubicBezTo>
                  <a:cubicBezTo>
                    <a:pt x="609" y="318"/>
                    <a:pt x="609" y="344"/>
                    <a:pt x="609" y="369"/>
                  </a:cubicBezTo>
                  <a:cubicBezTo>
                    <a:pt x="579" y="380"/>
                    <a:pt x="549" y="391"/>
                    <a:pt x="517" y="401"/>
                  </a:cubicBezTo>
                  <a:cubicBezTo>
                    <a:pt x="508" y="417"/>
                    <a:pt x="502" y="437"/>
                    <a:pt x="493" y="454"/>
                  </a:cubicBezTo>
                  <a:cubicBezTo>
                    <a:pt x="506" y="484"/>
                    <a:pt x="519" y="513"/>
                    <a:pt x="535" y="540"/>
                  </a:cubicBezTo>
                  <a:cubicBezTo>
                    <a:pt x="519" y="561"/>
                    <a:pt x="501" y="579"/>
                    <a:pt x="480" y="595"/>
                  </a:cubicBezTo>
                  <a:cubicBezTo>
                    <a:pt x="453" y="581"/>
                    <a:pt x="422" y="570"/>
                    <a:pt x="394" y="556"/>
                  </a:cubicBezTo>
                  <a:cubicBezTo>
                    <a:pt x="374" y="562"/>
                    <a:pt x="357" y="572"/>
                    <a:pt x="339" y="579"/>
                  </a:cubicBezTo>
                  <a:cubicBezTo>
                    <a:pt x="329" y="609"/>
                    <a:pt x="317" y="638"/>
                    <a:pt x="309" y="669"/>
                  </a:cubicBezTo>
                  <a:cubicBezTo>
                    <a:pt x="283" y="669"/>
                    <a:pt x="257" y="669"/>
                    <a:pt x="231" y="669"/>
                  </a:cubicBezTo>
                  <a:cubicBezTo>
                    <a:pt x="221" y="640"/>
                    <a:pt x="211" y="610"/>
                    <a:pt x="201" y="579"/>
                  </a:cubicBezTo>
                  <a:cubicBezTo>
                    <a:pt x="183" y="572"/>
                    <a:pt x="166" y="564"/>
                    <a:pt x="148" y="558"/>
                  </a:cubicBezTo>
                  <a:cubicBezTo>
                    <a:pt x="118" y="571"/>
                    <a:pt x="92" y="587"/>
                    <a:pt x="63" y="600"/>
                  </a:cubicBezTo>
                  <a:cubicBezTo>
                    <a:pt x="44" y="590"/>
                    <a:pt x="23" y="565"/>
                    <a:pt x="7" y="546"/>
                  </a:cubicBezTo>
                  <a:cubicBezTo>
                    <a:pt x="14" y="538"/>
                    <a:pt x="20" y="529"/>
                    <a:pt x="24" y="519"/>
                  </a:cubicBezTo>
                  <a:cubicBezTo>
                    <a:pt x="53" y="509"/>
                    <a:pt x="77" y="498"/>
                    <a:pt x="102" y="479"/>
                  </a:cubicBezTo>
                  <a:cubicBezTo>
                    <a:pt x="119" y="466"/>
                    <a:pt x="144" y="427"/>
                    <a:pt x="171" y="431"/>
                  </a:cubicBezTo>
                  <a:cubicBezTo>
                    <a:pt x="182" y="432"/>
                    <a:pt x="193" y="450"/>
                    <a:pt x="208" y="457"/>
                  </a:cubicBezTo>
                  <a:cubicBezTo>
                    <a:pt x="301" y="505"/>
                    <a:pt x="414" y="433"/>
                    <a:pt x="411" y="332"/>
                  </a:cubicBezTo>
                  <a:cubicBezTo>
                    <a:pt x="410" y="268"/>
                    <a:pt x="377" y="244"/>
                    <a:pt x="339" y="213"/>
                  </a:cubicBezTo>
                  <a:cubicBezTo>
                    <a:pt x="299" y="181"/>
                    <a:pt x="244" y="151"/>
                    <a:pt x="180" y="146"/>
                  </a:cubicBezTo>
                  <a:cubicBezTo>
                    <a:pt x="125" y="142"/>
                    <a:pt x="75" y="156"/>
                    <a:pt x="28" y="180"/>
                  </a:cubicBezTo>
                  <a:cubicBezTo>
                    <a:pt x="19" y="162"/>
                    <a:pt x="10" y="144"/>
                    <a:pt x="0" y="127"/>
                  </a:cubicBezTo>
                  <a:cubicBezTo>
                    <a:pt x="14" y="106"/>
                    <a:pt x="35" y="92"/>
                    <a:pt x="51" y="72"/>
                  </a:cubicBezTo>
                  <a:cubicBezTo>
                    <a:pt x="81" y="86"/>
                    <a:pt x="112" y="99"/>
                    <a:pt x="143" y="113"/>
                  </a:cubicBezTo>
                  <a:cubicBezTo>
                    <a:pt x="160" y="105"/>
                    <a:pt x="177" y="97"/>
                    <a:pt x="196" y="90"/>
                  </a:cubicBezTo>
                  <a:cubicBezTo>
                    <a:pt x="209" y="60"/>
                    <a:pt x="218" y="27"/>
                    <a:pt x="233" y="0"/>
                  </a:cubicBezTo>
                  <a:cubicBezTo>
                    <a:pt x="258" y="0"/>
                    <a:pt x="282" y="0"/>
                    <a:pt x="30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205" name="Freeform 80"/>
            <p:cNvSpPr>
              <a:spLocks/>
            </p:cNvSpPr>
            <p:nvPr/>
          </p:nvSpPr>
          <p:spPr bwMode="auto">
            <a:xfrm>
              <a:off x="1620384" y="5858389"/>
              <a:ext cx="1892300" cy="604838"/>
            </a:xfrm>
            <a:custGeom>
              <a:avLst/>
              <a:gdLst>
                <a:gd name="T0" fmla="*/ 319 w 504"/>
                <a:gd name="T1" fmla="*/ 4 h 161"/>
                <a:gd name="T2" fmla="*/ 486 w 504"/>
                <a:gd name="T3" fmla="*/ 67 h 161"/>
                <a:gd name="T4" fmla="*/ 502 w 504"/>
                <a:gd name="T5" fmla="*/ 90 h 161"/>
                <a:gd name="T6" fmla="*/ 490 w 504"/>
                <a:gd name="T7" fmla="*/ 115 h 161"/>
                <a:gd name="T8" fmla="*/ 455 w 504"/>
                <a:gd name="T9" fmla="*/ 90 h 161"/>
                <a:gd name="T10" fmla="*/ 327 w 504"/>
                <a:gd name="T11" fmla="*/ 37 h 161"/>
                <a:gd name="T12" fmla="*/ 216 w 504"/>
                <a:gd name="T13" fmla="*/ 69 h 161"/>
                <a:gd name="T14" fmla="*/ 68 w 504"/>
                <a:gd name="T15" fmla="*/ 143 h 161"/>
                <a:gd name="T16" fmla="*/ 2 w 504"/>
                <a:gd name="T17" fmla="*/ 99 h 161"/>
                <a:gd name="T18" fmla="*/ 11 w 504"/>
                <a:gd name="T19" fmla="*/ 76 h 161"/>
                <a:gd name="T20" fmla="*/ 76 w 504"/>
                <a:gd name="T21" fmla="*/ 110 h 161"/>
                <a:gd name="T22" fmla="*/ 174 w 504"/>
                <a:gd name="T23" fmla="*/ 57 h 161"/>
                <a:gd name="T24" fmla="*/ 319 w 504"/>
                <a:gd name="T25" fmla="*/ 4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04" h="161">
                  <a:moveTo>
                    <a:pt x="319" y="4"/>
                  </a:moveTo>
                  <a:cubicBezTo>
                    <a:pt x="384" y="0"/>
                    <a:pt x="445" y="29"/>
                    <a:pt x="486" y="67"/>
                  </a:cubicBezTo>
                  <a:cubicBezTo>
                    <a:pt x="490" y="71"/>
                    <a:pt x="501" y="81"/>
                    <a:pt x="502" y="90"/>
                  </a:cubicBezTo>
                  <a:cubicBezTo>
                    <a:pt x="504" y="101"/>
                    <a:pt x="499" y="113"/>
                    <a:pt x="490" y="115"/>
                  </a:cubicBezTo>
                  <a:cubicBezTo>
                    <a:pt x="480" y="117"/>
                    <a:pt x="461" y="97"/>
                    <a:pt x="455" y="90"/>
                  </a:cubicBezTo>
                  <a:cubicBezTo>
                    <a:pt x="424" y="61"/>
                    <a:pt x="384" y="38"/>
                    <a:pt x="327" y="37"/>
                  </a:cubicBezTo>
                  <a:cubicBezTo>
                    <a:pt x="284" y="37"/>
                    <a:pt x="245" y="51"/>
                    <a:pt x="216" y="69"/>
                  </a:cubicBezTo>
                  <a:cubicBezTo>
                    <a:pt x="173" y="96"/>
                    <a:pt x="147" y="161"/>
                    <a:pt x="68" y="143"/>
                  </a:cubicBezTo>
                  <a:cubicBezTo>
                    <a:pt x="45" y="138"/>
                    <a:pt x="7" y="123"/>
                    <a:pt x="2" y="99"/>
                  </a:cubicBezTo>
                  <a:cubicBezTo>
                    <a:pt x="0" y="91"/>
                    <a:pt x="1" y="80"/>
                    <a:pt x="11" y="76"/>
                  </a:cubicBezTo>
                  <a:cubicBezTo>
                    <a:pt x="31" y="70"/>
                    <a:pt x="54" y="107"/>
                    <a:pt x="76" y="110"/>
                  </a:cubicBezTo>
                  <a:cubicBezTo>
                    <a:pt x="126" y="116"/>
                    <a:pt x="147" y="79"/>
                    <a:pt x="174" y="57"/>
                  </a:cubicBezTo>
                  <a:cubicBezTo>
                    <a:pt x="208" y="29"/>
                    <a:pt x="256" y="8"/>
                    <a:pt x="319"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206" name="Freeform 81"/>
            <p:cNvSpPr>
              <a:spLocks/>
            </p:cNvSpPr>
            <p:nvPr/>
          </p:nvSpPr>
          <p:spPr bwMode="auto">
            <a:xfrm>
              <a:off x="1394959" y="6174302"/>
              <a:ext cx="1952625" cy="593725"/>
            </a:xfrm>
            <a:custGeom>
              <a:avLst/>
              <a:gdLst>
                <a:gd name="T0" fmla="*/ 366 w 520"/>
                <a:gd name="T1" fmla="*/ 6 h 158"/>
                <a:gd name="T2" fmla="*/ 508 w 520"/>
                <a:gd name="T3" fmla="*/ 59 h 158"/>
                <a:gd name="T4" fmla="*/ 506 w 520"/>
                <a:gd name="T5" fmla="*/ 95 h 158"/>
                <a:gd name="T6" fmla="*/ 453 w 520"/>
                <a:gd name="T7" fmla="*/ 59 h 158"/>
                <a:gd name="T8" fmla="*/ 290 w 520"/>
                <a:gd name="T9" fmla="*/ 74 h 158"/>
                <a:gd name="T10" fmla="*/ 260 w 520"/>
                <a:gd name="T11" fmla="*/ 105 h 158"/>
                <a:gd name="T12" fmla="*/ 32 w 520"/>
                <a:gd name="T13" fmla="*/ 97 h 158"/>
                <a:gd name="T14" fmla="*/ 27 w 520"/>
                <a:gd name="T15" fmla="*/ 51 h 158"/>
                <a:gd name="T16" fmla="*/ 78 w 520"/>
                <a:gd name="T17" fmla="*/ 88 h 158"/>
                <a:gd name="T18" fmla="*/ 230 w 520"/>
                <a:gd name="T19" fmla="*/ 82 h 158"/>
                <a:gd name="T20" fmla="*/ 366 w 520"/>
                <a:gd name="T21" fmla="*/ 6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20" h="158">
                  <a:moveTo>
                    <a:pt x="366" y="6"/>
                  </a:moveTo>
                  <a:cubicBezTo>
                    <a:pt x="422" y="0"/>
                    <a:pt x="479" y="24"/>
                    <a:pt x="508" y="59"/>
                  </a:cubicBezTo>
                  <a:cubicBezTo>
                    <a:pt x="520" y="75"/>
                    <a:pt x="518" y="91"/>
                    <a:pt x="506" y="95"/>
                  </a:cubicBezTo>
                  <a:cubicBezTo>
                    <a:pt x="488" y="100"/>
                    <a:pt x="467" y="68"/>
                    <a:pt x="453" y="59"/>
                  </a:cubicBezTo>
                  <a:cubicBezTo>
                    <a:pt x="402" y="29"/>
                    <a:pt x="333" y="38"/>
                    <a:pt x="290" y="74"/>
                  </a:cubicBezTo>
                  <a:cubicBezTo>
                    <a:pt x="281" y="82"/>
                    <a:pt x="270" y="97"/>
                    <a:pt x="260" y="105"/>
                  </a:cubicBezTo>
                  <a:cubicBezTo>
                    <a:pt x="195" y="158"/>
                    <a:pt x="91" y="149"/>
                    <a:pt x="32" y="97"/>
                  </a:cubicBezTo>
                  <a:cubicBezTo>
                    <a:pt x="24" y="89"/>
                    <a:pt x="0" y="56"/>
                    <a:pt x="27" y="51"/>
                  </a:cubicBezTo>
                  <a:cubicBezTo>
                    <a:pt x="43" y="47"/>
                    <a:pt x="61" y="77"/>
                    <a:pt x="78" y="88"/>
                  </a:cubicBezTo>
                  <a:cubicBezTo>
                    <a:pt x="125" y="116"/>
                    <a:pt x="190" y="109"/>
                    <a:pt x="230" y="82"/>
                  </a:cubicBezTo>
                  <a:cubicBezTo>
                    <a:pt x="277" y="51"/>
                    <a:pt x="292" y="14"/>
                    <a:pt x="366"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207" name="Freeform 82"/>
            <p:cNvSpPr>
              <a:spLocks/>
            </p:cNvSpPr>
            <p:nvPr/>
          </p:nvSpPr>
          <p:spPr bwMode="auto">
            <a:xfrm>
              <a:off x="1260022" y="6493389"/>
              <a:ext cx="1930400" cy="566738"/>
            </a:xfrm>
            <a:custGeom>
              <a:avLst/>
              <a:gdLst>
                <a:gd name="T0" fmla="*/ 10 w 514"/>
                <a:gd name="T1" fmla="*/ 35 h 151"/>
                <a:gd name="T2" fmla="*/ 63 w 514"/>
                <a:gd name="T3" fmla="*/ 72 h 151"/>
                <a:gd name="T4" fmla="*/ 211 w 514"/>
                <a:gd name="T5" fmla="*/ 111 h 151"/>
                <a:gd name="T6" fmla="*/ 296 w 514"/>
                <a:gd name="T7" fmla="*/ 77 h 151"/>
                <a:gd name="T8" fmla="*/ 436 w 514"/>
                <a:gd name="T9" fmla="*/ 8 h 151"/>
                <a:gd name="T10" fmla="*/ 510 w 514"/>
                <a:gd name="T11" fmla="*/ 49 h 151"/>
                <a:gd name="T12" fmla="*/ 501 w 514"/>
                <a:gd name="T13" fmla="*/ 73 h 151"/>
                <a:gd name="T14" fmla="*/ 448 w 514"/>
                <a:gd name="T15" fmla="*/ 42 h 151"/>
                <a:gd name="T16" fmla="*/ 323 w 514"/>
                <a:gd name="T17" fmla="*/ 103 h 151"/>
                <a:gd name="T18" fmla="*/ 165 w 514"/>
                <a:gd name="T19" fmla="*/ 146 h 151"/>
                <a:gd name="T20" fmla="*/ 63 w 514"/>
                <a:gd name="T21" fmla="*/ 111 h 151"/>
                <a:gd name="T22" fmla="*/ 10 w 514"/>
                <a:gd name="T23" fmla="*/ 35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14" h="151">
                  <a:moveTo>
                    <a:pt x="10" y="35"/>
                  </a:moveTo>
                  <a:cubicBezTo>
                    <a:pt x="40" y="37"/>
                    <a:pt x="46" y="59"/>
                    <a:pt x="63" y="72"/>
                  </a:cubicBezTo>
                  <a:cubicBezTo>
                    <a:pt x="95" y="96"/>
                    <a:pt x="147" y="117"/>
                    <a:pt x="211" y="111"/>
                  </a:cubicBezTo>
                  <a:cubicBezTo>
                    <a:pt x="248" y="107"/>
                    <a:pt x="274" y="92"/>
                    <a:pt x="296" y="77"/>
                  </a:cubicBezTo>
                  <a:cubicBezTo>
                    <a:pt x="338" y="48"/>
                    <a:pt x="358" y="0"/>
                    <a:pt x="436" y="8"/>
                  </a:cubicBezTo>
                  <a:cubicBezTo>
                    <a:pt x="454" y="10"/>
                    <a:pt x="503" y="25"/>
                    <a:pt x="510" y="49"/>
                  </a:cubicBezTo>
                  <a:cubicBezTo>
                    <a:pt x="512" y="58"/>
                    <a:pt x="514" y="70"/>
                    <a:pt x="501" y="73"/>
                  </a:cubicBezTo>
                  <a:cubicBezTo>
                    <a:pt x="484" y="78"/>
                    <a:pt x="467" y="48"/>
                    <a:pt x="448" y="42"/>
                  </a:cubicBezTo>
                  <a:cubicBezTo>
                    <a:pt x="388" y="23"/>
                    <a:pt x="360" y="77"/>
                    <a:pt x="323" y="103"/>
                  </a:cubicBezTo>
                  <a:cubicBezTo>
                    <a:pt x="286" y="130"/>
                    <a:pt x="237" y="151"/>
                    <a:pt x="165" y="146"/>
                  </a:cubicBezTo>
                  <a:cubicBezTo>
                    <a:pt x="129" y="143"/>
                    <a:pt x="92" y="129"/>
                    <a:pt x="63" y="111"/>
                  </a:cubicBezTo>
                  <a:cubicBezTo>
                    <a:pt x="38" y="95"/>
                    <a:pt x="0" y="73"/>
                    <a:pt x="10" y="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grpSp>
      <p:sp>
        <p:nvSpPr>
          <p:cNvPr id="208" name="Freeform 83"/>
          <p:cNvSpPr>
            <a:spLocks/>
          </p:cNvSpPr>
          <p:nvPr/>
        </p:nvSpPr>
        <p:spPr bwMode="auto">
          <a:xfrm>
            <a:off x="5984022" y="3716926"/>
            <a:ext cx="366380" cy="277258"/>
          </a:xfrm>
          <a:custGeom>
            <a:avLst/>
            <a:gdLst>
              <a:gd name="connsiteX0" fmla="*/ 5546725 w 8802688"/>
              <a:gd name="connsiteY0" fmla="*/ 4819650 h 6677025"/>
              <a:gd name="connsiteX1" fmla="*/ 5573713 w 8802688"/>
              <a:gd name="connsiteY1" fmla="*/ 4926013 h 6677025"/>
              <a:gd name="connsiteX2" fmla="*/ 5603875 w 8802688"/>
              <a:gd name="connsiteY2" fmla="*/ 5024438 h 6677025"/>
              <a:gd name="connsiteX3" fmla="*/ 5630863 w 8802688"/>
              <a:gd name="connsiteY3" fmla="*/ 5122863 h 6677025"/>
              <a:gd name="connsiteX4" fmla="*/ 5657850 w 8802688"/>
              <a:gd name="connsiteY4" fmla="*/ 5229225 h 6677025"/>
              <a:gd name="connsiteX5" fmla="*/ 5668963 w 8802688"/>
              <a:gd name="connsiteY5" fmla="*/ 5313363 h 6677025"/>
              <a:gd name="connsiteX6" fmla="*/ 5681663 w 8802688"/>
              <a:gd name="connsiteY6" fmla="*/ 5399088 h 6677025"/>
              <a:gd name="connsiteX7" fmla="*/ 5686425 w 8802688"/>
              <a:gd name="connsiteY7" fmla="*/ 5484813 h 6677025"/>
              <a:gd name="connsiteX8" fmla="*/ 5689600 w 8802688"/>
              <a:gd name="connsiteY8" fmla="*/ 5572126 h 6677025"/>
              <a:gd name="connsiteX9" fmla="*/ 5695950 w 8802688"/>
              <a:gd name="connsiteY9" fmla="*/ 5749926 h 6677025"/>
              <a:gd name="connsiteX10" fmla="*/ 5695950 w 8802688"/>
              <a:gd name="connsiteY10" fmla="*/ 5940426 h 6677025"/>
              <a:gd name="connsiteX11" fmla="*/ 5692775 w 8802688"/>
              <a:gd name="connsiteY11" fmla="*/ 5957888 h 6677025"/>
              <a:gd name="connsiteX12" fmla="*/ 5689600 w 8802688"/>
              <a:gd name="connsiteY12" fmla="*/ 5978526 h 6677025"/>
              <a:gd name="connsiteX13" fmla="*/ 5681663 w 8802688"/>
              <a:gd name="connsiteY13" fmla="*/ 6002338 h 6677025"/>
              <a:gd name="connsiteX14" fmla="*/ 5672138 w 8802688"/>
              <a:gd name="connsiteY14" fmla="*/ 6029326 h 6677025"/>
              <a:gd name="connsiteX15" fmla="*/ 5659438 w 8802688"/>
              <a:gd name="connsiteY15" fmla="*/ 6053138 h 6677025"/>
              <a:gd name="connsiteX16" fmla="*/ 5648325 w 8802688"/>
              <a:gd name="connsiteY16" fmla="*/ 6070601 h 6677025"/>
              <a:gd name="connsiteX17" fmla="*/ 5634038 w 8802688"/>
              <a:gd name="connsiteY17" fmla="*/ 6086476 h 6677025"/>
              <a:gd name="connsiteX18" fmla="*/ 5627688 w 8802688"/>
              <a:gd name="connsiteY18" fmla="*/ 6088063 h 6677025"/>
              <a:gd name="connsiteX19" fmla="*/ 5621338 w 8802688"/>
              <a:gd name="connsiteY19" fmla="*/ 6088063 h 6677025"/>
              <a:gd name="connsiteX20" fmla="*/ 5526088 w 8802688"/>
              <a:gd name="connsiteY20" fmla="*/ 6100763 h 6677025"/>
              <a:gd name="connsiteX21" fmla="*/ 5430838 w 8802688"/>
              <a:gd name="connsiteY21" fmla="*/ 6107113 h 6677025"/>
              <a:gd name="connsiteX22" fmla="*/ 5338763 w 8802688"/>
              <a:gd name="connsiteY22" fmla="*/ 6107113 h 6677025"/>
              <a:gd name="connsiteX23" fmla="*/ 5249862 w 8802688"/>
              <a:gd name="connsiteY23" fmla="*/ 6103938 h 6677025"/>
              <a:gd name="connsiteX24" fmla="*/ 5068887 w 8802688"/>
              <a:gd name="connsiteY24" fmla="*/ 6094413 h 6677025"/>
              <a:gd name="connsiteX25" fmla="*/ 4973637 w 8802688"/>
              <a:gd name="connsiteY25" fmla="*/ 6091238 h 6677025"/>
              <a:gd name="connsiteX26" fmla="*/ 4878387 w 8802688"/>
              <a:gd name="connsiteY26" fmla="*/ 6088063 h 6677025"/>
              <a:gd name="connsiteX27" fmla="*/ 5045075 w 8802688"/>
              <a:gd name="connsiteY27" fmla="*/ 5780088 h 6677025"/>
              <a:gd name="connsiteX28" fmla="*/ 5213350 w 8802688"/>
              <a:gd name="connsiteY28" fmla="*/ 5467350 h 6677025"/>
              <a:gd name="connsiteX29" fmla="*/ 5380038 w 8802688"/>
              <a:gd name="connsiteY29" fmla="*/ 5149850 h 6677025"/>
              <a:gd name="connsiteX30" fmla="*/ 576262 w 8802688"/>
              <a:gd name="connsiteY30" fmla="*/ 4632325 h 6677025"/>
              <a:gd name="connsiteX31" fmla="*/ 685799 w 8802688"/>
              <a:gd name="connsiteY31" fmla="*/ 4827588 h 6677025"/>
              <a:gd name="connsiteX32" fmla="*/ 796925 w 8802688"/>
              <a:gd name="connsiteY32" fmla="*/ 5030788 h 6677025"/>
              <a:gd name="connsiteX33" fmla="*/ 909637 w 8802688"/>
              <a:gd name="connsiteY33" fmla="*/ 5235575 h 6677025"/>
              <a:gd name="connsiteX34" fmla="*/ 1019175 w 8802688"/>
              <a:gd name="connsiteY34" fmla="*/ 5456238 h 6677025"/>
              <a:gd name="connsiteX35" fmla="*/ 1031875 w 8802688"/>
              <a:gd name="connsiteY35" fmla="*/ 5481638 h 6677025"/>
              <a:gd name="connsiteX36" fmla="*/ 1039812 w 8802688"/>
              <a:gd name="connsiteY36" fmla="*/ 5508626 h 6677025"/>
              <a:gd name="connsiteX37" fmla="*/ 1046162 w 8802688"/>
              <a:gd name="connsiteY37" fmla="*/ 5532438 h 6677025"/>
              <a:gd name="connsiteX38" fmla="*/ 1049337 w 8802688"/>
              <a:gd name="connsiteY38" fmla="*/ 5559426 h 6677025"/>
              <a:gd name="connsiteX39" fmla="*/ 1049337 w 8802688"/>
              <a:gd name="connsiteY39" fmla="*/ 5580063 h 6677025"/>
              <a:gd name="connsiteX40" fmla="*/ 1046162 w 8802688"/>
              <a:gd name="connsiteY40" fmla="*/ 5600701 h 6677025"/>
              <a:gd name="connsiteX41" fmla="*/ 1039812 w 8802688"/>
              <a:gd name="connsiteY41" fmla="*/ 5621338 h 6677025"/>
              <a:gd name="connsiteX42" fmla="*/ 1028699 w 8802688"/>
              <a:gd name="connsiteY42" fmla="*/ 5640388 h 6677025"/>
              <a:gd name="connsiteX43" fmla="*/ 1019175 w 8802688"/>
              <a:gd name="connsiteY43" fmla="*/ 5657851 h 6677025"/>
              <a:gd name="connsiteX44" fmla="*/ 1004887 w 8802688"/>
              <a:gd name="connsiteY44" fmla="*/ 5672138 h 6677025"/>
              <a:gd name="connsiteX45" fmla="*/ 987425 w 8802688"/>
              <a:gd name="connsiteY45" fmla="*/ 5684838 h 6677025"/>
              <a:gd name="connsiteX46" fmla="*/ 968375 w 8802688"/>
              <a:gd name="connsiteY46" fmla="*/ 5695951 h 6677025"/>
              <a:gd name="connsiteX47" fmla="*/ 947737 w 8802688"/>
              <a:gd name="connsiteY47" fmla="*/ 5705476 h 6677025"/>
              <a:gd name="connsiteX48" fmla="*/ 923925 w 8802688"/>
              <a:gd name="connsiteY48" fmla="*/ 5711826 h 6677025"/>
              <a:gd name="connsiteX49" fmla="*/ 896937 w 8802688"/>
              <a:gd name="connsiteY49" fmla="*/ 5713413 h 6677025"/>
              <a:gd name="connsiteX50" fmla="*/ 871537 w 8802688"/>
              <a:gd name="connsiteY50" fmla="*/ 5716588 h 6677025"/>
              <a:gd name="connsiteX51" fmla="*/ 844549 w 8802688"/>
              <a:gd name="connsiteY51" fmla="*/ 5716588 h 6677025"/>
              <a:gd name="connsiteX52" fmla="*/ 814387 w 8802688"/>
              <a:gd name="connsiteY52" fmla="*/ 5716588 h 6677025"/>
              <a:gd name="connsiteX53" fmla="*/ 787399 w 8802688"/>
              <a:gd name="connsiteY53" fmla="*/ 5713413 h 6677025"/>
              <a:gd name="connsiteX54" fmla="*/ 757237 w 8802688"/>
              <a:gd name="connsiteY54" fmla="*/ 5711826 h 6677025"/>
              <a:gd name="connsiteX55" fmla="*/ 728662 w 8802688"/>
              <a:gd name="connsiteY55" fmla="*/ 5702301 h 6677025"/>
              <a:gd name="connsiteX56" fmla="*/ 695325 w 8802688"/>
              <a:gd name="connsiteY56" fmla="*/ 5692776 h 6677025"/>
              <a:gd name="connsiteX57" fmla="*/ 636587 w 8802688"/>
              <a:gd name="connsiteY57" fmla="*/ 5668963 h 6677025"/>
              <a:gd name="connsiteX58" fmla="*/ 576262 w 8802688"/>
              <a:gd name="connsiteY58" fmla="*/ 5637213 h 6677025"/>
              <a:gd name="connsiteX59" fmla="*/ 520699 w 8802688"/>
              <a:gd name="connsiteY59" fmla="*/ 5600701 h 6677025"/>
              <a:gd name="connsiteX60" fmla="*/ 463549 w 8802688"/>
              <a:gd name="connsiteY60" fmla="*/ 5556251 h 6677025"/>
              <a:gd name="connsiteX61" fmla="*/ 406399 w 8802688"/>
              <a:gd name="connsiteY61" fmla="*/ 5508626 h 6677025"/>
              <a:gd name="connsiteX62" fmla="*/ 360362 w 8802688"/>
              <a:gd name="connsiteY62" fmla="*/ 5457826 h 6677025"/>
              <a:gd name="connsiteX63" fmla="*/ 312737 w 8802688"/>
              <a:gd name="connsiteY63" fmla="*/ 5405438 h 6677025"/>
              <a:gd name="connsiteX64" fmla="*/ 269875 w 8802688"/>
              <a:gd name="connsiteY64" fmla="*/ 5351463 h 6677025"/>
              <a:gd name="connsiteX65" fmla="*/ 234949 w 8802688"/>
              <a:gd name="connsiteY65" fmla="*/ 5294313 h 6677025"/>
              <a:gd name="connsiteX66" fmla="*/ 207962 w 8802688"/>
              <a:gd name="connsiteY66" fmla="*/ 5238750 h 6677025"/>
              <a:gd name="connsiteX67" fmla="*/ 184149 w 8802688"/>
              <a:gd name="connsiteY67" fmla="*/ 5184775 h 6677025"/>
              <a:gd name="connsiteX68" fmla="*/ 177799 w 8802688"/>
              <a:gd name="connsiteY68" fmla="*/ 5157788 h 6677025"/>
              <a:gd name="connsiteX69" fmla="*/ 173037 w 8802688"/>
              <a:gd name="connsiteY69" fmla="*/ 5130800 h 6677025"/>
              <a:gd name="connsiteX70" fmla="*/ 169862 w 8802688"/>
              <a:gd name="connsiteY70" fmla="*/ 5105400 h 6677025"/>
              <a:gd name="connsiteX71" fmla="*/ 166687 w 8802688"/>
              <a:gd name="connsiteY71" fmla="*/ 5081588 h 6677025"/>
              <a:gd name="connsiteX72" fmla="*/ 169862 w 8802688"/>
              <a:gd name="connsiteY72" fmla="*/ 5054600 h 6677025"/>
              <a:gd name="connsiteX73" fmla="*/ 173037 w 8802688"/>
              <a:gd name="connsiteY73" fmla="*/ 5024438 h 6677025"/>
              <a:gd name="connsiteX74" fmla="*/ 180975 w 8802688"/>
              <a:gd name="connsiteY74" fmla="*/ 4997450 h 6677025"/>
              <a:gd name="connsiteX75" fmla="*/ 190499 w 8802688"/>
              <a:gd name="connsiteY75" fmla="*/ 4973638 h 6677025"/>
              <a:gd name="connsiteX76" fmla="*/ 201612 w 8802688"/>
              <a:gd name="connsiteY76" fmla="*/ 4949825 h 6677025"/>
              <a:gd name="connsiteX77" fmla="*/ 214312 w 8802688"/>
              <a:gd name="connsiteY77" fmla="*/ 4929188 h 6677025"/>
              <a:gd name="connsiteX78" fmla="*/ 228599 w 8802688"/>
              <a:gd name="connsiteY78" fmla="*/ 4908550 h 6677025"/>
              <a:gd name="connsiteX79" fmla="*/ 241299 w 8802688"/>
              <a:gd name="connsiteY79" fmla="*/ 4894263 h 6677025"/>
              <a:gd name="connsiteX80" fmla="*/ 285749 w 8802688"/>
              <a:gd name="connsiteY80" fmla="*/ 4851400 h 6677025"/>
              <a:gd name="connsiteX81" fmla="*/ 330199 w 8802688"/>
              <a:gd name="connsiteY81" fmla="*/ 4816475 h 6677025"/>
              <a:gd name="connsiteX82" fmla="*/ 377825 w 8802688"/>
              <a:gd name="connsiteY82" fmla="*/ 4779963 h 6677025"/>
              <a:gd name="connsiteX83" fmla="*/ 422275 w 8802688"/>
              <a:gd name="connsiteY83" fmla="*/ 4748213 h 6677025"/>
              <a:gd name="connsiteX84" fmla="*/ 507999 w 8802688"/>
              <a:gd name="connsiteY84" fmla="*/ 4687888 h 6677025"/>
              <a:gd name="connsiteX85" fmla="*/ 544512 w 8802688"/>
              <a:gd name="connsiteY85" fmla="*/ 4662488 h 6677025"/>
              <a:gd name="connsiteX86" fmla="*/ 6180138 w 8802688"/>
              <a:gd name="connsiteY86" fmla="*/ 3546475 h 6677025"/>
              <a:gd name="connsiteX87" fmla="*/ 6124576 w 8802688"/>
              <a:gd name="connsiteY87" fmla="*/ 3562350 h 6677025"/>
              <a:gd name="connsiteX88" fmla="*/ 6076951 w 8802688"/>
              <a:gd name="connsiteY88" fmla="*/ 3579813 h 6677025"/>
              <a:gd name="connsiteX89" fmla="*/ 6037263 w 8802688"/>
              <a:gd name="connsiteY89" fmla="*/ 3600450 h 6677025"/>
              <a:gd name="connsiteX90" fmla="*/ 6002338 w 8802688"/>
              <a:gd name="connsiteY90" fmla="*/ 3624263 h 6677025"/>
              <a:gd name="connsiteX91" fmla="*/ 5978526 w 8802688"/>
              <a:gd name="connsiteY91" fmla="*/ 3651250 h 6677025"/>
              <a:gd name="connsiteX92" fmla="*/ 5961063 w 8802688"/>
              <a:gd name="connsiteY92" fmla="*/ 3678238 h 6677025"/>
              <a:gd name="connsiteX93" fmla="*/ 5948363 w 8802688"/>
              <a:gd name="connsiteY93" fmla="*/ 3705225 h 6677025"/>
              <a:gd name="connsiteX94" fmla="*/ 5945188 w 8802688"/>
              <a:gd name="connsiteY94" fmla="*/ 3719513 h 6677025"/>
              <a:gd name="connsiteX95" fmla="*/ 5945188 w 8802688"/>
              <a:gd name="connsiteY95" fmla="*/ 3733800 h 6677025"/>
              <a:gd name="connsiteX96" fmla="*/ 5986463 w 8802688"/>
              <a:gd name="connsiteY96" fmla="*/ 3698875 h 6677025"/>
              <a:gd name="connsiteX97" fmla="*/ 6046788 w 8802688"/>
              <a:gd name="connsiteY97" fmla="*/ 3654425 h 6677025"/>
              <a:gd name="connsiteX98" fmla="*/ 6115051 w 8802688"/>
              <a:gd name="connsiteY98" fmla="*/ 3600450 h 6677025"/>
              <a:gd name="connsiteX99" fmla="*/ 6148388 w 8802688"/>
              <a:gd name="connsiteY99" fmla="*/ 3573463 h 6677025"/>
              <a:gd name="connsiteX100" fmla="*/ 279400 w 8802688"/>
              <a:gd name="connsiteY100" fmla="*/ 2203450 h 6677025"/>
              <a:gd name="connsiteX101" fmla="*/ 354013 w 8802688"/>
              <a:gd name="connsiteY101" fmla="*/ 2203450 h 6677025"/>
              <a:gd name="connsiteX102" fmla="*/ 327025 w 8802688"/>
              <a:gd name="connsiteY102" fmla="*/ 2274888 h 6677025"/>
              <a:gd name="connsiteX103" fmla="*/ 303213 w 8802688"/>
              <a:gd name="connsiteY103" fmla="*/ 2343150 h 6677025"/>
              <a:gd name="connsiteX104" fmla="*/ 261938 w 8802688"/>
              <a:gd name="connsiteY104" fmla="*/ 2482850 h 6677025"/>
              <a:gd name="connsiteX105" fmla="*/ 217488 w 8802688"/>
              <a:gd name="connsiteY105" fmla="*/ 2625726 h 6677025"/>
              <a:gd name="connsiteX106" fmla="*/ 193675 w 8802688"/>
              <a:gd name="connsiteY106" fmla="*/ 2693988 h 6677025"/>
              <a:gd name="connsiteX107" fmla="*/ 166688 w 8802688"/>
              <a:gd name="connsiteY107" fmla="*/ 2765425 h 6677025"/>
              <a:gd name="connsiteX108" fmla="*/ 169863 w 8802688"/>
              <a:gd name="connsiteY108" fmla="*/ 2792413 h 6677025"/>
              <a:gd name="connsiteX109" fmla="*/ 173038 w 8802688"/>
              <a:gd name="connsiteY109" fmla="*/ 2819400 h 6677025"/>
              <a:gd name="connsiteX110" fmla="*/ 180975 w 8802688"/>
              <a:gd name="connsiteY110" fmla="*/ 2844801 h 6677025"/>
              <a:gd name="connsiteX111" fmla="*/ 190500 w 8802688"/>
              <a:gd name="connsiteY111" fmla="*/ 2871788 h 6677025"/>
              <a:gd name="connsiteX112" fmla="*/ 201613 w 8802688"/>
              <a:gd name="connsiteY112" fmla="*/ 2895601 h 6677025"/>
              <a:gd name="connsiteX113" fmla="*/ 214313 w 8802688"/>
              <a:gd name="connsiteY113" fmla="*/ 2916238 h 6677025"/>
              <a:gd name="connsiteX114" fmla="*/ 228600 w 8802688"/>
              <a:gd name="connsiteY114" fmla="*/ 2935288 h 6677025"/>
              <a:gd name="connsiteX115" fmla="*/ 241300 w 8802688"/>
              <a:gd name="connsiteY115" fmla="*/ 2952751 h 6677025"/>
              <a:gd name="connsiteX116" fmla="*/ 242888 w 8802688"/>
              <a:gd name="connsiteY116" fmla="*/ 2959101 h 6677025"/>
              <a:gd name="connsiteX117" fmla="*/ 242888 w 8802688"/>
              <a:gd name="connsiteY117" fmla="*/ 2963863 h 6677025"/>
              <a:gd name="connsiteX118" fmla="*/ 255588 w 8802688"/>
              <a:gd name="connsiteY118" fmla="*/ 2973388 h 6677025"/>
              <a:gd name="connsiteX119" fmla="*/ 266700 w 8802688"/>
              <a:gd name="connsiteY119" fmla="*/ 2979738 h 6677025"/>
              <a:gd name="connsiteX120" fmla="*/ 288925 w 8802688"/>
              <a:gd name="connsiteY120" fmla="*/ 2984501 h 6677025"/>
              <a:gd name="connsiteX121" fmla="*/ 336550 w 8802688"/>
              <a:gd name="connsiteY121" fmla="*/ 2987676 h 6677025"/>
              <a:gd name="connsiteX122" fmla="*/ 388938 w 8802688"/>
              <a:gd name="connsiteY122" fmla="*/ 2987676 h 6677025"/>
              <a:gd name="connsiteX123" fmla="*/ 404813 w 8802688"/>
              <a:gd name="connsiteY123" fmla="*/ 2987676 h 6677025"/>
              <a:gd name="connsiteX124" fmla="*/ 425450 w 8802688"/>
              <a:gd name="connsiteY124" fmla="*/ 2982913 h 6677025"/>
              <a:gd name="connsiteX125" fmla="*/ 469900 w 8802688"/>
              <a:gd name="connsiteY125" fmla="*/ 2963863 h 6677025"/>
              <a:gd name="connsiteX126" fmla="*/ 520700 w 8802688"/>
              <a:gd name="connsiteY126" fmla="*/ 2940051 h 6677025"/>
              <a:gd name="connsiteX127" fmla="*/ 576263 w 8802688"/>
              <a:gd name="connsiteY127" fmla="*/ 2914651 h 6677025"/>
              <a:gd name="connsiteX128" fmla="*/ 573088 w 8802688"/>
              <a:gd name="connsiteY128" fmla="*/ 2946401 h 6677025"/>
              <a:gd name="connsiteX129" fmla="*/ 568325 w 8802688"/>
              <a:gd name="connsiteY129" fmla="*/ 2979738 h 6677025"/>
              <a:gd name="connsiteX130" fmla="*/ 558801 w 8802688"/>
              <a:gd name="connsiteY130" fmla="*/ 3008313 h 6677025"/>
              <a:gd name="connsiteX131" fmla="*/ 544513 w 8802688"/>
              <a:gd name="connsiteY131" fmla="*/ 3038476 h 6677025"/>
              <a:gd name="connsiteX132" fmla="*/ 528638 w 8802688"/>
              <a:gd name="connsiteY132" fmla="*/ 3062288 h 6677025"/>
              <a:gd name="connsiteX133" fmla="*/ 508000 w 8802688"/>
              <a:gd name="connsiteY133" fmla="*/ 3086101 h 6677025"/>
              <a:gd name="connsiteX134" fmla="*/ 487363 w 8802688"/>
              <a:gd name="connsiteY134" fmla="*/ 3106738 h 6677025"/>
              <a:gd name="connsiteX135" fmla="*/ 463550 w 8802688"/>
              <a:gd name="connsiteY135" fmla="*/ 3124201 h 6677025"/>
              <a:gd name="connsiteX136" fmla="*/ 439738 w 8802688"/>
              <a:gd name="connsiteY136" fmla="*/ 3136901 h 6677025"/>
              <a:gd name="connsiteX137" fmla="*/ 412750 w 8802688"/>
              <a:gd name="connsiteY137" fmla="*/ 3148013 h 6677025"/>
              <a:gd name="connsiteX138" fmla="*/ 382588 w 8802688"/>
              <a:gd name="connsiteY138" fmla="*/ 3157538 h 6677025"/>
              <a:gd name="connsiteX139" fmla="*/ 357188 w 8802688"/>
              <a:gd name="connsiteY139" fmla="*/ 3160713 h 6677025"/>
              <a:gd name="connsiteX140" fmla="*/ 327025 w 8802688"/>
              <a:gd name="connsiteY140" fmla="*/ 3160713 h 6677025"/>
              <a:gd name="connsiteX141" fmla="*/ 296863 w 8802688"/>
              <a:gd name="connsiteY141" fmla="*/ 3157538 h 6677025"/>
              <a:gd name="connsiteX142" fmla="*/ 269875 w 8802688"/>
              <a:gd name="connsiteY142" fmla="*/ 3148013 h 6677025"/>
              <a:gd name="connsiteX143" fmla="*/ 241300 w 8802688"/>
              <a:gd name="connsiteY143" fmla="*/ 3136901 h 6677025"/>
              <a:gd name="connsiteX144" fmla="*/ 228600 w 8802688"/>
              <a:gd name="connsiteY144" fmla="*/ 3130551 h 6677025"/>
              <a:gd name="connsiteX145" fmla="*/ 214313 w 8802688"/>
              <a:gd name="connsiteY145" fmla="*/ 3119438 h 6677025"/>
              <a:gd name="connsiteX146" fmla="*/ 187325 w 8802688"/>
              <a:gd name="connsiteY146" fmla="*/ 3092451 h 6677025"/>
              <a:gd name="connsiteX147" fmla="*/ 160338 w 8802688"/>
              <a:gd name="connsiteY147" fmla="*/ 3055938 h 6677025"/>
              <a:gd name="connsiteX148" fmla="*/ 133350 w 8802688"/>
              <a:gd name="connsiteY148" fmla="*/ 3017838 h 6677025"/>
              <a:gd name="connsiteX149" fmla="*/ 109538 w 8802688"/>
              <a:gd name="connsiteY149" fmla="*/ 2970213 h 6677025"/>
              <a:gd name="connsiteX150" fmla="*/ 85725 w 8802688"/>
              <a:gd name="connsiteY150" fmla="*/ 2922588 h 6677025"/>
              <a:gd name="connsiteX151" fmla="*/ 65088 w 8802688"/>
              <a:gd name="connsiteY151" fmla="*/ 2868613 h 6677025"/>
              <a:gd name="connsiteX152" fmla="*/ 47625 w 8802688"/>
              <a:gd name="connsiteY152" fmla="*/ 2816225 h 6677025"/>
              <a:gd name="connsiteX153" fmla="*/ 30163 w 8802688"/>
              <a:gd name="connsiteY153" fmla="*/ 2762250 h 6677025"/>
              <a:gd name="connsiteX154" fmla="*/ 17463 w 8802688"/>
              <a:gd name="connsiteY154" fmla="*/ 2708275 h 6677025"/>
              <a:gd name="connsiteX155" fmla="*/ 9525 w 8802688"/>
              <a:gd name="connsiteY155" fmla="*/ 2655888 h 6677025"/>
              <a:gd name="connsiteX156" fmla="*/ 3175 w 8802688"/>
              <a:gd name="connsiteY156" fmla="*/ 2608263 h 6677025"/>
              <a:gd name="connsiteX157" fmla="*/ 0 w 8802688"/>
              <a:gd name="connsiteY157" fmla="*/ 2563813 h 6677025"/>
              <a:gd name="connsiteX158" fmla="*/ 0 w 8802688"/>
              <a:gd name="connsiteY158" fmla="*/ 2524125 h 6677025"/>
              <a:gd name="connsiteX159" fmla="*/ 9525 w 8802688"/>
              <a:gd name="connsiteY159" fmla="*/ 2492375 h 6677025"/>
              <a:gd name="connsiteX160" fmla="*/ 11113 w 8802688"/>
              <a:gd name="connsiteY160" fmla="*/ 2476500 h 6677025"/>
              <a:gd name="connsiteX161" fmla="*/ 17463 w 8802688"/>
              <a:gd name="connsiteY161" fmla="*/ 2465388 h 6677025"/>
              <a:gd name="connsiteX162" fmla="*/ 47625 w 8802688"/>
              <a:gd name="connsiteY162" fmla="*/ 2425700 h 6677025"/>
              <a:gd name="connsiteX163" fmla="*/ 79375 w 8802688"/>
              <a:gd name="connsiteY163" fmla="*/ 2387600 h 6677025"/>
              <a:gd name="connsiteX164" fmla="*/ 112713 w 8802688"/>
              <a:gd name="connsiteY164" fmla="*/ 2352675 h 6677025"/>
              <a:gd name="connsiteX165" fmla="*/ 149225 w 8802688"/>
              <a:gd name="connsiteY165" fmla="*/ 2322513 h 6677025"/>
              <a:gd name="connsiteX166" fmla="*/ 217488 w 8802688"/>
              <a:gd name="connsiteY166" fmla="*/ 2260600 h 6677025"/>
              <a:gd name="connsiteX167" fmla="*/ 5886450 w 8802688"/>
              <a:gd name="connsiteY167" fmla="*/ 2019300 h 6677025"/>
              <a:gd name="connsiteX168" fmla="*/ 5907087 w 8802688"/>
              <a:gd name="connsiteY168" fmla="*/ 2022475 h 6677025"/>
              <a:gd name="connsiteX169" fmla="*/ 5930900 w 8802688"/>
              <a:gd name="connsiteY169" fmla="*/ 2028825 h 6677025"/>
              <a:gd name="connsiteX170" fmla="*/ 5957888 w 8802688"/>
              <a:gd name="connsiteY170" fmla="*/ 2036763 h 6677025"/>
              <a:gd name="connsiteX171" fmla="*/ 5984875 w 8802688"/>
              <a:gd name="connsiteY171" fmla="*/ 2049463 h 6677025"/>
              <a:gd name="connsiteX172" fmla="*/ 6010275 w 8802688"/>
              <a:gd name="connsiteY172" fmla="*/ 2060575 h 6677025"/>
              <a:gd name="connsiteX173" fmla="*/ 6034088 w 8802688"/>
              <a:gd name="connsiteY173" fmla="*/ 2078038 h 6677025"/>
              <a:gd name="connsiteX174" fmla="*/ 6057900 w 8802688"/>
              <a:gd name="connsiteY174" fmla="*/ 2093913 h 6677025"/>
              <a:gd name="connsiteX175" fmla="*/ 5951538 w 8802688"/>
              <a:gd name="connsiteY175" fmla="*/ 2170113 h 6677025"/>
              <a:gd name="connsiteX176" fmla="*/ 5897562 w 8802688"/>
              <a:gd name="connsiteY176" fmla="*/ 2209800 h 6677025"/>
              <a:gd name="connsiteX177" fmla="*/ 5838825 w 8802688"/>
              <a:gd name="connsiteY177" fmla="*/ 2244725 h 6677025"/>
              <a:gd name="connsiteX178" fmla="*/ 5811837 w 8802688"/>
              <a:gd name="connsiteY178" fmla="*/ 2216150 h 6677025"/>
              <a:gd name="connsiteX179" fmla="*/ 5788025 w 8802688"/>
              <a:gd name="connsiteY179" fmla="*/ 2182813 h 6677025"/>
              <a:gd name="connsiteX180" fmla="*/ 5775325 w 8802688"/>
              <a:gd name="connsiteY180" fmla="*/ 2165350 h 6677025"/>
              <a:gd name="connsiteX181" fmla="*/ 5770562 w 8802688"/>
              <a:gd name="connsiteY181" fmla="*/ 2146300 h 6677025"/>
              <a:gd name="connsiteX182" fmla="*/ 5764212 w 8802688"/>
              <a:gd name="connsiteY182" fmla="*/ 2132013 h 6677025"/>
              <a:gd name="connsiteX183" fmla="*/ 5764212 w 8802688"/>
              <a:gd name="connsiteY183" fmla="*/ 2117725 h 6677025"/>
              <a:gd name="connsiteX184" fmla="*/ 5770562 w 8802688"/>
              <a:gd name="connsiteY184" fmla="*/ 2101850 h 6677025"/>
              <a:gd name="connsiteX185" fmla="*/ 5778500 w 8802688"/>
              <a:gd name="connsiteY185" fmla="*/ 2087563 h 6677025"/>
              <a:gd name="connsiteX186" fmla="*/ 5791200 w 8802688"/>
              <a:gd name="connsiteY186" fmla="*/ 2073275 h 6677025"/>
              <a:gd name="connsiteX187" fmla="*/ 5805487 w 8802688"/>
              <a:gd name="connsiteY187" fmla="*/ 2057400 h 6677025"/>
              <a:gd name="connsiteX188" fmla="*/ 5821362 w 8802688"/>
              <a:gd name="connsiteY188" fmla="*/ 2046288 h 6677025"/>
              <a:gd name="connsiteX189" fmla="*/ 5838825 w 8802688"/>
              <a:gd name="connsiteY189" fmla="*/ 2033588 h 6677025"/>
              <a:gd name="connsiteX190" fmla="*/ 5853112 w 8802688"/>
              <a:gd name="connsiteY190" fmla="*/ 2025650 h 6677025"/>
              <a:gd name="connsiteX191" fmla="*/ 5870575 w 8802688"/>
              <a:gd name="connsiteY191" fmla="*/ 2022475 h 6677025"/>
              <a:gd name="connsiteX192" fmla="*/ 6169026 w 8802688"/>
              <a:gd name="connsiteY192" fmla="*/ 1685925 h 6677025"/>
              <a:gd name="connsiteX193" fmla="*/ 6076951 w 8802688"/>
              <a:gd name="connsiteY193" fmla="*/ 1712913 h 6677025"/>
              <a:gd name="connsiteX194" fmla="*/ 5984875 w 8802688"/>
              <a:gd name="connsiteY194" fmla="*/ 1739900 h 6677025"/>
              <a:gd name="connsiteX195" fmla="*/ 5938838 w 8802688"/>
              <a:gd name="connsiteY195" fmla="*/ 1757363 h 6677025"/>
              <a:gd name="connsiteX196" fmla="*/ 5894388 w 8802688"/>
              <a:gd name="connsiteY196" fmla="*/ 1774825 h 6677025"/>
              <a:gd name="connsiteX197" fmla="*/ 5849938 w 8802688"/>
              <a:gd name="connsiteY197" fmla="*/ 1798638 h 6677025"/>
              <a:gd name="connsiteX198" fmla="*/ 5805488 w 8802688"/>
              <a:gd name="connsiteY198" fmla="*/ 1828800 h 6677025"/>
              <a:gd name="connsiteX199" fmla="*/ 5764213 w 8802688"/>
              <a:gd name="connsiteY199" fmla="*/ 1862138 h 6677025"/>
              <a:gd name="connsiteX200" fmla="*/ 5722938 w 8802688"/>
              <a:gd name="connsiteY200" fmla="*/ 1897063 h 6677025"/>
              <a:gd name="connsiteX201" fmla="*/ 5683250 w 8802688"/>
              <a:gd name="connsiteY201" fmla="*/ 1933575 h 6677025"/>
              <a:gd name="connsiteX202" fmla="*/ 5648325 w 8802688"/>
              <a:gd name="connsiteY202" fmla="*/ 1971675 h 6677025"/>
              <a:gd name="connsiteX203" fmla="*/ 5576888 w 8802688"/>
              <a:gd name="connsiteY203" fmla="*/ 2052638 h 6677025"/>
              <a:gd name="connsiteX204" fmla="*/ 5502275 w 8802688"/>
              <a:gd name="connsiteY204" fmla="*/ 2128838 h 6677025"/>
              <a:gd name="connsiteX205" fmla="*/ 5522913 w 8802688"/>
              <a:gd name="connsiteY205" fmla="*/ 2122488 h 6677025"/>
              <a:gd name="connsiteX206" fmla="*/ 5543550 w 8802688"/>
              <a:gd name="connsiteY206" fmla="*/ 2117725 h 6677025"/>
              <a:gd name="connsiteX207" fmla="*/ 5586413 w 8802688"/>
              <a:gd name="connsiteY207" fmla="*/ 2098675 h 6677025"/>
              <a:gd name="connsiteX208" fmla="*/ 5607050 w 8802688"/>
              <a:gd name="connsiteY208" fmla="*/ 2093913 h 6677025"/>
              <a:gd name="connsiteX209" fmla="*/ 5624513 w 8802688"/>
              <a:gd name="connsiteY209" fmla="*/ 2087563 h 6677025"/>
              <a:gd name="connsiteX210" fmla="*/ 5641975 w 8802688"/>
              <a:gd name="connsiteY210" fmla="*/ 2087563 h 6677025"/>
              <a:gd name="connsiteX211" fmla="*/ 5657850 w 8802688"/>
              <a:gd name="connsiteY211" fmla="*/ 2093913 h 6677025"/>
              <a:gd name="connsiteX212" fmla="*/ 5832475 w 8802688"/>
              <a:gd name="connsiteY212" fmla="*/ 2357438 h 6677025"/>
              <a:gd name="connsiteX213" fmla="*/ 5975350 w 8802688"/>
              <a:gd name="connsiteY213" fmla="*/ 2265363 h 6677025"/>
              <a:gd name="connsiteX214" fmla="*/ 6115051 w 8802688"/>
              <a:gd name="connsiteY214" fmla="*/ 2170113 h 6677025"/>
              <a:gd name="connsiteX215" fmla="*/ 6264276 w 8802688"/>
              <a:gd name="connsiteY215" fmla="*/ 2078038 h 6677025"/>
              <a:gd name="connsiteX216" fmla="*/ 6340476 w 8802688"/>
              <a:gd name="connsiteY216" fmla="*/ 2030413 h 6677025"/>
              <a:gd name="connsiteX217" fmla="*/ 6424613 w 8802688"/>
              <a:gd name="connsiteY217" fmla="*/ 1982788 h 6677025"/>
              <a:gd name="connsiteX218" fmla="*/ 6400801 w 8802688"/>
              <a:gd name="connsiteY218" fmla="*/ 1981200 h 6677025"/>
              <a:gd name="connsiteX219" fmla="*/ 6364288 w 8802688"/>
              <a:gd name="connsiteY219" fmla="*/ 1971675 h 6677025"/>
              <a:gd name="connsiteX220" fmla="*/ 6323013 w 8802688"/>
              <a:gd name="connsiteY220" fmla="*/ 1958975 h 6677025"/>
              <a:gd name="connsiteX221" fmla="*/ 6302376 w 8802688"/>
              <a:gd name="connsiteY221" fmla="*/ 1947863 h 6677025"/>
              <a:gd name="connsiteX222" fmla="*/ 6281738 w 8802688"/>
              <a:gd name="connsiteY222" fmla="*/ 1935163 h 6677025"/>
              <a:gd name="connsiteX223" fmla="*/ 6261101 w 8802688"/>
              <a:gd name="connsiteY223" fmla="*/ 1917700 h 6677025"/>
              <a:gd name="connsiteX224" fmla="*/ 6240463 w 8802688"/>
              <a:gd name="connsiteY224" fmla="*/ 1900238 h 6677025"/>
              <a:gd name="connsiteX225" fmla="*/ 6221413 w 8802688"/>
              <a:gd name="connsiteY225" fmla="*/ 1876425 h 6677025"/>
              <a:gd name="connsiteX226" fmla="*/ 6203951 w 8802688"/>
              <a:gd name="connsiteY226" fmla="*/ 1849438 h 6677025"/>
              <a:gd name="connsiteX227" fmla="*/ 6192838 w 8802688"/>
              <a:gd name="connsiteY227" fmla="*/ 1817688 h 6677025"/>
              <a:gd name="connsiteX228" fmla="*/ 6180138 w 8802688"/>
              <a:gd name="connsiteY228" fmla="*/ 1778000 h 6677025"/>
              <a:gd name="connsiteX229" fmla="*/ 6170613 w 8802688"/>
              <a:gd name="connsiteY229" fmla="*/ 1736725 h 6677025"/>
              <a:gd name="connsiteX230" fmla="*/ 8401050 w 8802688"/>
              <a:gd name="connsiteY230" fmla="*/ 1338262 h 6677025"/>
              <a:gd name="connsiteX231" fmla="*/ 8332788 w 8802688"/>
              <a:gd name="connsiteY231" fmla="*/ 1382712 h 6677025"/>
              <a:gd name="connsiteX232" fmla="*/ 8264525 w 8802688"/>
              <a:gd name="connsiteY232" fmla="*/ 1430337 h 6677025"/>
              <a:gd name="connsiteX233" fmla="*/ 8131175 w 8802688"/>
              <a:gd name="connsiteY233" fmla="*/ 1531937 h 6677025"/>
              <a:gd name="connsiteX234" fmla="*/ 8002588 w 8802688"/>
              <a:gd name="connsiteY234" fmla="*/ 1630363 h 6677025"/>
              <a:gd name="connsiteX235" fmla="*/ 7886700 w 8802688"/>
              <a:gd name="connsiteY235" fmla="*/ 1722438 h 6677025"/>
              <a:gd name="connsiteX236" fmla="*/ 7920038 w 8802688"/>
              <a:gd name="connsiteY236" fmla="*/ 1727200 h 6677025"/>
              <a:gd name="connsiteX237" fmla="*/ 7954963 w 8802688"/>
              <a:gd name="connsiteY237" fmla="*/ 1727200 h 6677025"/>
              <a:gd name="connsiteX238" fmla="*/ 7993063 w 8802688"/>
              <a:gd name="connsiteY238" fmla="*/ 1725613 h 6677025"/>
              <a:gd name="connsiteX239" fmla="*/ 8029575 w 8802688"/>
              <a:gd name="connsiteY239" fmla="*/ 1716088 h 6677025"/>
              <a:gd name="connsiteX240" fmla="*/ 8064500 w 8802688"/>
              <a:gd name="connsiteY240" fmla="*/ 1703388 h 6677025"/>
              <a:gd name="connsiteX241" fmla="*/ 8101013 w 8802688"/>
              <a:gd name="connsiteY241" fmla="*/ 1689100 h 6677025"/>
              <a:gd name="connsiteX242" fmla="*/ 8135938 w 8802688"/>
              <a:gd name="connsiteY242" fmla="*/ 1668463 h 6677025"/>
              <a:gd name="connsiteX243" fmla="*/ 8172450 w 8802688"/>
              <a:gd name="connsiteY243" fmla="*/ 1644650 h 6677025"/>
              <a:gd name="connsiteX244" fmla="*/ 8204200 w 8802688"/>
              <a:gd name="connsiteY244" fmla="*/ 1617662 h 6677025"/>
              <a:gd name="connsiteX245" fmla="*/ 8237538 w 8802688"/>
              <a:gd name="connsiteY245" fmla="*/ 1587500 h 6677025"/>
              <a:gd name="connsiteX246" fmla="*/ 8270875 w 8802688"/>
              <a:gd name="connsiteY246" fmla="*/ 1555750 h 6677025"/>
              <a:gd name="connsiteX247" fmla="*/ 8299450 w 8802688"/>
              <a:gd name="connsiteY247" fmla="*/ 1516062 h 6677025"/>
              <a:gd name="connsiteX248" fmla="*/ 8329613 w 8802688"/>
              <a:gd name="connsiteY248" fmla="*/ 1477963 h 6677025"/>
              <a:gd name="connsiteX249" fmla="*/ 8356600 w 8802688"/>
              <a:gd name="connsiteY249" fmla="*/ 1433512 h 6677025"/>
              <a:gd name="connsiteX250" fmla="*/ 8380413 w 8802688"/>
              <a:gd name="connsiteY250" fmla="*/ 1389062 h 6677025"/>
              <a:gd name="connsiteX251" fmla="*/ 4067176 w 8802688"/>
              <a:gd name="connsiteY251" fmla="*/ 1181100 h 6677025"/>
              <a:gd name="connsiteX252" fmla="*/ 3979864 w 8802688"/>
              <a:gd name="connsiteY252" fmla="*/ 1184275 h 6677025"/>
              <a:gd name="connsiteX253" fmla="*/ 3900489 w 8802688"/>
              <a:gd name="connsiteY253" fmla="*/ 1192213 h 6677025"/>
              <a:gd name="connsiteX254" fmla="*/ 3860801 w 8802688"/>
              <a:gd name="connsiteY254" fmla="*/ 1201738 h 6677025"/>
              <a:gd name="connsiteX255" fmla="*/ 3825876 w 8802688"/>
              <a:gd name="connsiteY255" fmla="*/ 1211263 h 6677025"/>
              <a:gd name="connsiteX256" fmla="*/ 3790951 w 8802688"/>
              <a:gd name="connsiteY256" fmla="*/ 1219200 h 6677025"/>
              <a:gd name="connsiteX257" fmla="*/ 3757613 w 8802688"/>
              <a:gd name="connsiteY257" fmla="*/ 1231900 h 6677025"/>
              <a:gd name="connsiteX258" fmla="*/ 3724276 w 8802688"/>
              <a:gd name="connsiteY258" fmla="*/ 1246188 h 6677025"/>
              <a:gd name="connsiteX259" fmla="*/ 3695701 w 8802688"/>
              <a:gd name="connsiteY259" fmla="*/ 1260475 h 6677025"/>
              <a:gd name="connsiteX260" fmla="*/ 3665538 w 8802688"/>
              <a:gd name="connsiteY260" fmla="*/ 1279525 h 6677025"/>
              <a:gd name="connsiteX261" fmla="*/ 3635376 w 8802688"/>
              <a:gd name="connsiteY261" fmla="*/ 1296988 h 6677025"/>
              <a:gd name="connsiteX262" fmla="*/ 3608388 w 8802688"/>
              <a:gd name="connsiteY262" fmla="*/ 1317625 h 6677025"/>
              <a:gd name="connsiteX263" fmla="*/ 3581401 w 8802688"/>
              <a:gd name="connsiteY263" fmla="*/ 1341438 h 6677025"/>
              <a:gd name="connsiteX264" fmla="*/ 3557588 w 8802688"/>
              <a:gd name="connsiteY264" fmla="*/ 1365250 h 6677025"/>
              <a:gd name="connsiteX265" fmla="*/ 3533776 w 8802688"/>
              <a:gd name="connsiteY265" fmla="*/ 1392238 h 6677025"/>
              <a:gd name="connsiteX266" fmla="*/ 3509963 w 8802688"/>
              <a:gd name="connsiteY266" fmla="*/ 1419225 h 6677025"/>
              <a:gd name="connsiteX267" fmla="*/ 3489326 w 8802688"/>
              <a:gd name="connsiteY267" fmla="*/ 1450975 h 6677025"/>
              <a:gd name="connsiteX268" fmla="*/ 3468688 w 8802688"/>
              <a:gd name="connsiteY268" fmla="*/ 1481138 h 6677025"/>
              <a:gd name="connsiteX269" fmla="*/ 3448051 w 8802688"/>
              <a:gd name="connsiteY269" fmla="*/ 1516063 h 6677025"/>
              <a:gd name="connsiteX270" fmla="*/ 3413126 w 8802688"/>
              <a:gd name="connsiteY270" fmla="*/ 1590675 h 6677025"/>
              <a:gd name="connsiteX271" fmla="*/ 3379788 w 8802688"/>
              <a:gd name="connsiteY271" fmla="*/ 1671638 h 6677025"/>
              <a:gd name="connsiteX272" fmla="*/ 3349626 w 8802688"/>
              <a:gd name="connsiteY272" fmla="*/ 1763713 h 6677025"/>
              <a:gd name="connsiteX273" fmla="*/ 3325813 w 8802688"/>
              <a:gd name="connsiteY273" fmla="*/ 1865313 h 6677025"/>
              <a:gd name="connsiteX274" fmla="*/ 3302001 w 8802688"/>
              <a:gd name="connsiteY274" fmla="*/ 1971676 h 6677025"/>
              <a:gd name="connsiteX275" fmla="*/ 3281363 w 8802688"/>
              <a:gd name="connsiteY275" fmla="*/ 2090738 h 6677025"/>
              <a:gd name="connsiteX276" fmla="*/ 3368676 w 8802688"/>
              <a:gd name="connsiteY276" fmla="*/ 1944688 h 6677025"/>
              <a:gd name="connsiteX277" fmla="*/ 3451226 w 8802688"/>
              <a:gd name="connsiteY277" fmla="*/ 1787526 h 6677025"/>
              <a:gd name="connsiteX278" fmla="*/ 3533776 w 8802688"/>
              <a:gd name="connsiteY278" fmla="*/ 1624013 h 6677025"/>
              <a:gd name="connsiteX279" fmla="*/ 3617913 w 8802688"/>
              <a:gd name="connsiteY279" fmla="*/ 1454150 h 6677025"/>
              <a:gd name="connsiteX280" fmla="*/ 3652838 w 8802688"/>
              <a:gd name="connsiteY280" fmla="*/ 1454150 h 6677025"/>
              <a:gd name="connsiteX281" fmla="*/ 3656013 w 8802688"/>
              <a:gd name="connsiteY281" fmla="*/ 1495425 h 6677025"/>
              <a:gd name="connsiteX282" fmla="*/ 3659188 w 8802688"/>
              <a:gd name="connsiteY282" fmla="*/ 1531938 h 6677025"/>
              <a:gd name="connsiteX283" fmla="*/ 3673476 w 8802688"/>
              <a:gd name="connsiteY283" fmla="*/ 1600200 h 6677025"/>
              <a:gd name="connsiteX284" fmla="*/ 3686176 w 8802688"/>
              <a:gd name="connsiteY284" fmla="*/ 1658938 h 6677025"/>
              <a:gd name="connsiteX285" fmla="*/ 3689351 w 8802688"/>
              <a:gd name="connsiteY285" fmla="*/ 1689100 h 6677025"/>
              <a:gd name="connsiteX286" fmla="*/ 3692526 w 8802688"/>
              <a:gd name="connsiteY286" fmla="*/ 1716088 h 6677025"/>
              <a:gd name="connsiteX287" fmla="*/ 3713163 w 8802688"/>
              <a:gd name="connsiteY287" fmla="*/ 1662113 h 6677025"/>
              <a:gd name="connsiteX288" fmla="*/ 3736976 w 8802688"/>
              <a:gd name="connsiteY288" fmla="*/ 1609725 h 6677025"/>
              <a:gd name="connsiteX289" fmla="*/ 3757613 w 8802688"/>
              <a:gd name="connsiteY289" fmla="*/ 1562101 h 6677025"/>
              <a:gd name="connsiteX290" fmla="*/ 3784601 w 8802688"/>
              <a:gd name="connsiteY290" fmla="*/ 1514475 h 6677025"/>
              <a:gd name="connsiteX291" fmla="*/ 3811588 w 8802688"/>
              <a:gd name="connsiteY291" fmla="*/ 1471613 h 6677025"/>
              <a:gd name="connsiteX292" fmla="*/ 3840163 w 8802688"/>
              <a:gd name="connsiteY292" fmla="*/ 1430338 h 6677025"/>
              <a:gd name="connsiteX293" fmla="*/ 3870326 w 8802688"/>
              <a:gd name="connsiteY293" fmla="*/ 1392238 h 6677025"/>
              <a:gd name="connsiteX294" fmla="*/ 3906839 w 8802688"/>
              <a:gd name="connsiteY294" fmla="*/ 1355725 h 6677025"/>
              <a:gd name="connsiteX295" fmla="*/ 3941764 w 8802688"/>
              <a:gd name="connsiteY295" fmla="*/ 1327150 h 6677025"/>
              <a:gd name="connsiteX296" fmla="*/ 3979864 w 8802688"/>
              <a:gd name="connsiteY296" fmla="*/ 1296988 h 6677025"/>
              <a:gd name="connsiteX297" fmla="*/ 4022726 w 8802688"/>
              <a:gd name="connsiteY297" fmla="*/ 1273175 h 6677025"/>
              <a:gd name="connsiteX298" fmla="*/ 4067176 w 8802688"/>
              <a:gd name="connsiteY298" fmla="*/ 1249363 h 6677025"/>
              <a:gd name="connsiteX299" fmla="*/ 4117976 w 8802688"/>
              <a:gd name="connsiteY299" fmla="*/ 1231900 h 6677025"/>
              <a:gd name="connsiteX300" fmla="*/ 4167189 w 8802688"/>
              <a:gd name="connsiteY300" fmla="*/ 1216025 h 6677025"/>
              <a:gd name="connsiteX301" fmla="*/ 4224339 w 8802688"/>
              <a:gd name="connsiteY301" fmla="*/ 1201738 h 6677025"/>
              <a:gd name="connsiteX302" fmla="*/ 4286251 w 8802688"/>
              <a:gd name="connsiteY302" fmla="*/ 1195388 h 6677025"/>
              <a:gd name="connsiteX303" fmla="*/ 4170364 w 8802688"/>
              <a:gd name="connsiteY303" fmla="*/ 1184275 h 6677025"/>
              <a:gd name="connsiteX304" fmla="*/ 4117976 w 8802688"/>
              <a:gd name="connsiteY304" fmla="*/ 1181100 h 6677025"/>
              <a:gd name="connsiteX305" fmla="*/ 5586413 w 8802688"/>
              <a:gd name="connsiteY305" fmla="*/ 1166812 h 6677025"/>
              <a:gd name="connsiteX306" fmla="*/ 5481638 w 8802688"/>
              <a:gd name="connsiteY306" fmla="*/ 1204912 h 6677025"/>
              <a:gd name="connsiteX307" fmla="*/ 5437188 w 8802688"/>
              <a:gd name="connsiteY307" fmla="*/ 1225550 h 6677025"/>
              <a:gd name="connsiteX308" fmla="*/ 5399088 w 8802688"/>
              <a:gd name="connsiteY308" fmla="*/ 1243012 h 6677025"/>
              <a:gd name="connsiteX309" fmla="*/ 5365751 w 8802688"/>
              <a:gd name="connsiteY309" fmla="*/ 1260475 h 6677025"/>
              <a:gd name="connsiteX310" fmla="*/ 5335588 w 8802688"/>
              <a:gd name="connsiteY310" fmla="*/ 1282700 h 6677025"/>
              <a:gd name="connsiteX311" fmla="*/ 5308601 w 8802688"/>
              <a:gd name="connsiteY311" fmla="*/ 1300162 h 6677025"/>
              <a:gd name="connsiteX312" fmla="*/ 5287963 w 8802688"/>
              <a:gd name="connsiteY312" fmla="*/ 1320800 h 6677025"/>
              <a:gd name="connsiteX313" fmla="*/ 5270501 w 8802688"/>
              <a:gd name="connsiteY313" fmla="*/ 1341437 h 6677025"/>
              <a:gd name="connsiteX314" fmla="*/ 5259388 w 8802688"/>
              <a:gd name="connsiteY314" fmla="*/ 1362075 h 6677025"/>
              <a:gd name="connsiteX315" fmla="*/ 5246688 w 8802688"/>
              <a:gd name="connsiteY315" fmla="*/ 1385887 h 6677025"/>
              <a:gd name="connsiteX316" fmla="*/ 5240338 w 8802688"/>
              <a:gd name="connsiteY316" fmla="*/ 1409700 h 6677025"/>
              <a:gd name="connsiteX317" fmla="*/ 5237163 w 8802688"/>
              <a:gd name="connsiteY317" fmla="*/ 1436687 h 6677025"/>
              <a:gd name="connsiteX318" fmla="*/ 5237163 w 8802688"/>
              <a:gd name="connsiteY318" fmla="*/ 1463675 h 6677025"/>
              <a:gd name="connsiteX319" fmla="*/ 5240338 w 8802688"/>
              <a:gd name="connsiteY319" fmla="*/ 1492250 h 6677025"/>
              <a:gd name="connsiteX320" fmla="*/ 5246688 w 8802688"/>
              <a:gd name="connsiteY320" fmla="*/ 1525587 h 6677025"/>
              <a:gd name="connsiteX321" fmla="*/ 5287963 w 8802688"/>
              <a:gd name="connsiteY321" fmla="*/ 1484312 h 6677025"/>
              <a:gd name="connsiteX322" fmla="*/ 5330826 w 8802688"/>
              <a:gd name="connsiteY322" fmla="*/ 1439862 h 6677025"/>
              <a:gd name="connsiteX323" fmla="*/ 5416551 w 8802688"/>
              <a:gd name="connsiteY323" fmla="*/ 1347787 h 6677025"/>
              <a:gd name="connsiteX324" fmla="*/ 5499101 w 8802688"/>
              <a:gd name="connsiteY324" fmla="*/ 1252537 h 6677025"/>
              <a:gd name="connsiteX325" fmla="*/ 5540376 w 8802688"/>
              <a:gd name="connsiteY325" fmla="*/ 1208087 h 6677025"/>
              <a:gd name="connsiteX326" fmla="*/ 5434013 w 8802688"/>
              <a:gd name="connsiteY326" fmla="*/ 0 h 6677025"/>
              <a:gd name="connsiteX327" fmla="*/ 5519738 w 8802688"/>
              <a:gd name="connsiteY327" fmla="*/ 3175 h 6677025"/>
              <a:gd name="connsiteX328" fmla="*/ 5610226 w 8802688"/>
              <a:gd name="connsiteY328" fmla="*/ 12700 h 6677025"/>
              <a:gd name="connsiteX329" fmla="*/ 5699126 w 8802688"/>
              <a:gd name="connsiteY329" fmla="*/ 30163 h 6677025"/>
              <a:gd name="connsiteX330" fmla="*/ 5788026 w 8802688"/>
              <a:gd name="connsiteY330" fmla="*/ 50800 h 6677025"/>
              <a:gd name="connsiteX331" fmla="*/ 5876926 w 8802688"/>
              <a:gd name="connsiteY331" fmla="*/ 77788 h 6677025"/>
              <a:gd name="connsiteX332" fmla="*/ 5965826 w 8802688"/>
              <a:gd name="connsiteY332" fmla="*/ 111125 h 6677025"/>
              <a:gd name="connsiteX333" fmla="*/ 6054726 w 8802688"/>
              <a:gd name="connsiteY333" fmla="*/ 146050 h 6677025"/>
              <a:gd name="connsiteX334" fmla="*/ 6142038 w 8802688"/>
              <a:gd name="connsiteY334" fmla="*/ 187325 h 6677025"/>
              <a:gd name="connsiteX335" fmla="*/ 6237288 w 8802688"/>
              <a:gd name="connsiteY335" fmla="*/ 258763 h 6677025"/>
              <a:gd name="connsiteX336" fmla="*/ 6329363 w 8802688"/>
              <a:gd name="connsiteY336" fmla="*/ 333375 h 6677025"/>
              <a:gd name="connsiteX337" fmla="*/ 6418263 w 8802688"/>
              <a:gd name="connsiteY337" fmla="*/ 407988 h 6677025"/>
              <a:gd name="connsiteX338" fmla="*/ 6507163 w 8802688"/>
              <a:gd name="connsiteY338" fmla="*/ 485775 h 6677025"/>
              <a:gd name="connsiteX339" fmla="*/ 6677026 w 8802688"/>
              <a:gd name="connsiteY339" fmla="*/ 639763 h 6677025"/>
              <a:gd name="connsiteX340" fmla="*/ 6762751 w 8802688"/>
              <a:gd name="connsiteY340" fmla="*/ 714375 h 6677025"/>
              <a:gd name="connsiteX341" fmla="*/ 6846888 w 8802688"/>
              <a:gd name="connsiteY341" fmla="*/ 785813 h 6677025"/>
              <a:gd name="connsiteX342" fmla="*/ 6846888 w 8802688"/>
              <a:gd name="connsiteY342" fmla="*/ 796926 h 6677025"/>
              <a:gd name="connsiteX343" fmla="*/ 6851651 w 8802688"/>
              <a:gd name="connsiteY343" fmla="*/ 812801 h 6677025"/>
              <a:gd name="connsiteX344" fmla="*/ 6858001 w 8802688"/>
              <a:gd name="connsiteY344" fmla="*/ 823913 h 6677025"/>
              <a:gd name="connsiteX345" fmla="*/ 6867526 w 8802688"/>
              <a:gd name="connsiteY345" fmla="*/ 836613 h 6677025"/>
              <a:gd name="connsiteX346" fmla="*/ 6878638 w 8802688"/>
              <a:gd name="connsiteY346" fmla="*/ 844550 h 6677025"/>
              <a:gd name="connsiteX347" fmla="*/ 6891338 w 8802688"/>
              <a:gd name="connsiteY347" fmla="*/ 854075 h 6677025"/>
              <a:gd name="connsiteX348" fmla="*/ 6905626 w 8802688"/>
              <a:gd name="connsiteY348" fmla="*/ 857250 h 6677025"/>
              <a:gd name="connsiteX349" fmla="*/ 6919913 w 8802688"/>
              <a:gd name="connsiteY349" fmla="*/ 860425 h 6677025"/>
              <a:gd name="connsiteX350" fmla="*/ 6973888 w 8802688"/>
              <a:gd name="connsiteY350" fmla="*/ 868363 h 6677025"/>
              <a:gd name="connsiteX351" fmla="*/ 7024688 w 8802688"/>
              <a:gd name="connsiteY351" fmla="*/ 884238 h 6677025"/>
              <a:gd name="connsiteX352" fmla="*/ 7072313 w 8802688"/>
              <a:gd name="connsiteY352" fmla="*/ 901700 h 6677025"/>
              <a:gd name="connsiteX353" fmla="*/ 7116763 w 8802688"/>
              <a:gd name="connsiteY353" fmla="*/ 925513 h 6677025"/>
              <a:gd name="connsiteX354" fmla="*/ 7158038 w 8802688"/>
              <a:gd name="connsiteY354" fmla="*/ 952500 h 6677025"/>
              <a:gd name="connsiteX355" fmla="*/ 7199313 w 8802688"/>
              <a:gd name="connsiteY355" fmla="*/ 981075 h 6677025"/>
              <a:gd name="connsiteX356" fmla="*/ 7235826 w 8802688"/>
              <a:gd name="connsiteY356" fmla="*/ 1014413 h 6677025"/>
              <a:gd name="connsiteX357" fmla="*/ 7270751 w 8802688"/>
              <a:gd name="connsiteY357" fmla="*/ 1049338 h 6677025"/>
              <a:gd name="connsiteX358" fmla="*/ 7307263 w 8802688"/>
              <a:gd name="connsiteY358" fmla="*/ 1089025 h 6677025"/>
              <a:gd name="connsiteX359" fmla="*/ 7337426 w 8802688"/>
              <a:gd name="connsiteY359" fmla="*/ 1127125 h 6677025"/>
              <a:gd name="connsiteX360" fmla="*/ 7399338 w 8802688"/>
              <a:gd name="connsiteY360" fmla="*/ 1211263 h 6677025"/>
              <a:gd name="connsiteX361" fmla="*/ 7454901 w 8802688"/>
              <a:gd name="connsiteY361" fmla="*/ 1296988 h 6677025"/>
              <a:gd name="connsiteX362" fmla="*/ 7512051 w 8802688"/>
              <a:gd name="connsiteY362" fmla="*/ 1382713 h 6677025"/>
              <a:gd name="connsiteX363" fmla="*/ 7069138 w 8802688"/>
              <a:gd name="connsiteY363" fmla="*/ 1492250 h 6677025"/>
              <a:gd name="connsiteX364" fmla="*/ 7083426 w 8802688"/>
              <a:gd name="connsiteY364" fmla="*/ 1573213 h 6677025"/>
              <a:gd name="connsiteX365" fmla="*/ 7092951 w 8802688"/>
              <a:gd name="connsiteY365" fmla="*/ 1611313 h 6677025"/>
              <a:gd name="connsiteX366" fmla="*/ 7104063 w 8802688"/>
              <a:gd name="connsiteY366" fmla="*/ 1647826 h 6677025"/>
              <a:gd name="connsiteX367" fmla="*/ 7116763 w 8802688"/>
              <a:gd name="connsiteY367" fmla="*/ 1677988 h 6677025"/>
              <a:gd name="connsiteX368" fmla="*/ 7131051 w 8802688"/>
              <a:gd name="connsiteY368" fmla="*/ 1706563 h 6677025"/>
              <a:gd name="connsiteX369" fmla="*/ 7150101 w 8802688"/>
              <a:gd name="connsiteY369" fmla="*/ 1733550 h 6677025"/>
              <a:gd name="connsiteX370" fmla="*/ 7170738 w 8802688"/>
              <a:gd name="connsiteY370" fmla="*/ 1754188 h 6677025"/>
              <a:gd name="connsiteX371" fmla="*/ 7191376 w 8802688"/>
              <a:gd name="connsiteY371" fmla="*/ 1774825 h 6677025"/>
              <a:gd name="connsiteX372" fmla="*/ 7218363 w 8802688"/>
              <a:gd name="connsiteY372" fmla="*/ 1790700 h 6677025"/>
              <a:gd name="connsiteX373" fmla="*/ 7243763 w 8802688"/>
              <a:gd name="connsiteY373" fmla="*/ 1801813 h 6677025"/>
              <a:gd name="connsiteX374" fmla="*/ 7277101 w 8802688"/>
              <a:gd name="connsiteY374" fmla="*/ 1811338 h 6677025"/>
              <a:gd name="connsiteX375" fmla="*/ 7310438 w 8802688"/>
              <a:gd name="connsiteY375" fmla="*/ 1814513 h 6677025"/>
              <a:gd name="connsiteX376" fmla="*/ 7348538 w 8802688"/>
              <a:gd name="connsiteY376" fmla="*/ 1811338 h 6677025"/>
              <a:gd name="connsiteX377" fmla="*/ 7392988 w 8802688"/>
              <a:gd name="connsiteY377" fmla="*/ 1804988 h 6677025"/>
              <a:gd name="connsiteX378" fmla="*/ 7437438 w 8802688"/>
              <a:gd name="connsiteY378" fmla="*/ 1793875 h 6677025"/>
              <a:gd name="connsiteX379" fmla="*/ 7550151 w 8802688"/>
              <a:gd name="connsiteY379" fmla="*/ 1906588 h 6677025"/>
              <a:gd name="connsiteX380" fmla="*/ 7362826 w 8802688"/>
              <a:gd name="connsiteY380" fmla="*/ 1941513 h 6677025"/>
              <a:gd name="connsiteX381" fmla="*/ 7221538 w 8802688"/>
              <a:gd name="connsiteY381" fmla="*/ 1974850 h 6677025"/>
              <a:gd name="connsiteX382" fmla="*/ 7164388 w 8802688"/>
              <a:gd name="connsiteY382" fmla="*/ 1992313 h 6677025"/>
              <a:gd name="connsiteX383" fmla="*/ 7116763 w 8802688"/>
              <a:gd name="connsiteY383" fmla="*/ 2006600 h 6677025"/>
              <a:gd name="connsiteX384" fmla="*/ 7075488 w 8802688"/>
              <a:gd name="connsiteY384" fmla="*/ 2025650 h 6677025"/>
              <a:gd name="connsiteX385" fmla="*/ 7038976 w 8802688"/>
              <a:gd name="connsiteY385" fmla="*/ 2046288 h 6677025"/>
              <a:gd name="connsiteX386" fmla="*/ 7011988 w 8802688"/>
              <a:gd name="connsiteY386" fmla="*/ 2066925 h 6677025"/>
              <a:gd name="connsiteX387" fmla="*/ 6988176 w 8802688"/>
              <a:gd name="connsiteY387" fmla="*/ 2093913 h 6677025"/>
              <a:gd name="connsiteX388" fmla="*/ 6970713 w 8802688"/>
              <a:gd name="connsiteY388" fmla="*/ 2122488 h 6677025"/>
              <a:gd name="connsiteX389" fmla="*/ 6956426 w 8802688"/>
              <a:gd name="connsiteY389" fmla="*/ 2159000 h 6677025"/>
              <a:gd name="connsiteX390" fmla="*/ 6943726 w 8802688"/>
              <a:gd name="connsiteY390" fmla="*/ 2197100 h 6677025"/>
              <a:gd name="connsiteX391" fmla="*/ 6935788 w 8802688"/>
              <a:gd name="connsiteY391" fmla="*/ 2241550 h 6677025"/>
              <a:gd name="connsiteX392" fmla="*/ 6926263 w 8802688"/>
              <a:gd name="connsiteY392" fmla="*/ 2295525 h 6677025"/>
              <a:gd name="connsiteX393" fmla="*/ 6919913 w 8802688"/>
              <a:gd name="connsiteY393" fmla="*/ 2355850 h 6677025"/>
              <a:gd name="connsiteX394" fmla="*/ 6946901 w 8802688"/>
              <a:gd name="connsiteY394" fmla="*/ 2298700 h 6677025"/>
              <a:gd name="connsiteX395" fmla="*/ 6973888 w 8802688"/>
              <a:gd name="connsiteY395" fmla="*/ 2244725 h 6677025"/>
              <a:gd name="connsiteX396" fmla="*/ 7004051 w 8802688"/>
              <a:gd name="connsiteY396" fmla="*/ 2200275 h 6677025"/>
              <a:gd name="connsiteX397" fmla="*/ 7015163 w 8802688"/>
              <a:gd name="connsiteY397" fmla="*/ 2182813 h 6677025"/>
              <a:gd name="connsiteX398" fmla="*/ 7031038 w 8802688"/>
              <a:gd name="connsiteY398" fmla="*/ 2168525 h 6677025"/>
              <a:gd name="connsiteX399" fmla="*/ 7081838 w 8802688"/>
              <a:gd name="connsiteY399" fmla="*/ 2117725 h 6677025"/>
              <a:gd name="connsiteX400" fmla="*/ 7127876 w 8802688"/>
              <a:gd name="connsiteY400" fmla="*/ 2073276 h 6677025"/>
              <a:gd name="connsiteX401" fmla="*/ 7181851 w 8802688"/>
              <a:gd name="connsiteY401" fmla="*/ 2030413 h 6677025"/>
              <a:gd name="connsiteX402" fmla="*/ 7253288 w 8802688"/>
              <a:gd name="connsiteY402" fmla="*/ 1981200 h 6677025"/>
              <a:gd name="connsiteX403" fmla="*/ 7226301 w 8802688"/>
              <a:gd name="connsiteY403" fmla="*/ 2135188 h 6677025"/>
              <a:gd name="connsiteX404" fmla="*/ 7197726 w 8802688"/>
              <a:gd name="connsiteY404" fmla="*/ 2268538 h 6677025"/>
              <a:gd name="connsiteX405" fmla="*/ 7170738 w 8802688"/>
              <a:gd name="connsiteY405" fmla="*/ 2390775 h 6677025"/>
              <a:gd name="connsiteX406" fmla="*/ 7140576 w 8802688"/>
              <a:gd name="connsiteY406" fmla="*/ 2503488 h 6677025"/>
              <a:gd name="connsiteX407" fmla="*/ 7178676 w 8802688"/>
              <a:gd name="connsiteY407" fmla="*/ 2503488 h 6677025"/>
              <a:gd name="connsiteX408" fmla="*/ 7235826 w 8802688"/>
              <a:gd name="connsiteY408" fmla="*/ 2414588 h 6677025"/>
              <a:gd name="connsiteX409" fmla="*/ 7289801 w 8802688"/>
              <a:gd name="connsiteY409" fmla="*/ 2316163 h 6677025"/>
              <a:gd name="connsiteX410" fmla="*/ 7345363 w 8802688"/>
              <a:gd name="connsiteY410" fmla="*/ 2217738 h 6677025"/>
              <a:gd name="connsiteX411" fmla="*/ 7402513 w 8802688"/>
              <a:gd name="connsiteY411" fmla="*/ 2128838 h 6677025"/>
              <a:gd name="connsiteX412" fmla="*/ 7405688 w 8802688"/>
              <a:gd name="connsiteY412" fmla="*/ 2117725 h 6677025"/>
              <a:gd name="connsiteX413" fmla="*/ 7413626 w 8802688"/>
              <a:gd name="connsiteY413" fmla="*/ 2108200 h 6677025"/>
              <a:gd name="connsiteX414" fmla="*/ 7426326 w 8802688"/>
              <a:gd name="connsiteY414" fmla="*/ 2098675 h 6677025"/>
              <a:gd name="connsiteX415" fmla="*/ 7443788 w 8802688"/>
              <a:gd name="connsiteY415" fmla="*/ 2093913 h 6677025"/>
              <a:gd name="connsiteX416" fmla="*/ 7478713 w 8802688"/>
              <a:gd name="connsiteY416" fmla="*/ 2076451 h 6677025"/>
              <a:gd name="connsiteX417" fmla="*/ 7497763 w 8802688"/>
              <a:gd name="connsiteY417" fmla="*/ 2066925 h 6677025"/>
              <a:gd name="connsiteX418" fmla="*/ 7512051 w 8802688"/>
              <a:gd name="connsiteY418" fmla="*/ 2054225 h 6677025"/>
              <a:gd name="connsiteX419" fmla="*/ 7539038 w 8802688"/>
              <a:gd name="connsiteY419" fmla="*/ 2084388 h 6677025"/>
              <a:gd name="connsiteX420" fmla="*/ 7553326 w 8802688"/>
              <a:gd name="connsiteY420" fmla="*/ 2098675 h 6677025"/>
              <a:gd name="connsiteX421" fmla="*/ 7562851 w 8802688"/>
              <a:gd name="connsiteY421" fmla="*/ 2114550 h 6677025"/>
              <a:gd name="connsiteX422" fmla="*/ 7573963 w 8802688"/>
              <a:gd name="connsiteY422" fmla="*/ 2135188 h 6677025"/>
              <a:gd name="connsiteX423" fmla="*/ 7580313 w 8802688"/>
              <a:gd name="connsiteY423" fmla="*/ 2155825 h 6677025"/>
              <a:gd name="connsiteX424" fmla="*/ 7586663 w 8802688"/>
              <a:gd name="connsiteY424" fmla="*/ 2176463 h 6677025"/>
              <a:gd name="connsiteX425" fmla="*/ 7586663 w 8802688"/>
              <a:gd name="connsiteY425" fmla="*/ 2203450 h 6677025"/>
              <a:gd name="connsiteX426" fmla="*/ 7586663 w 8802688"/>
              <a:gd name="connsiteY426" fmla="*/ 2262188 h 6677025"/>
              <a:gd name="connsiteX427" fmla="*/ 7580313 w 8802688"/>
              <a:gd name="connsiteY427" fmla="*/ 2322513 h 6677025"/>
              <a:gd name="connsiteX428" fmla="*/ 7569201 w 8802688"/>
              <a:gd name="connsiteY428" fmla="*/ 2452688 h 6677025"/>
              <a:gd name="connsiteX429" fmla="*/ 7556501 w 8802688"/>
              <a:gd name="connsiteY429" fmla="*/ 2587625 h 6677025"/>
              <a:gd name="connsiteX430" fmla="*/ 7550151 w 8802688"/>
              <a:gd name="connsiteY430" fmla="*/ 2659063 h 6677025"/>
              <a:gd name="connsiteX431" fmla="*/ 7550151 w 8802688"/>
              <a:gd name="connsiteY431" fmla="*/ 2727325 h 6677025"/>
              <a:gd name="connsiteX432" fmla="*/ 7589838 w 8802688"/>
              <a:gd name="connsiteY432" fmla="*/ 2613025 h 6677025"/>
              <a:gd name="connsiteX433" fmla="*/ 7624763 w 8802688"/>
              <a:gd name="connsiteY433" fmla="*/ 2503488 h 6677025"/>
              <a:gd name="connsiteX434" fmla="*/ 7654926 w 8802688"/>
              <a:gd name="connsiteY434" fmla="*/ 2390775 h 6677025"/>
              <a:gd name="connsiteX435" fmla="*/ 7666038 w 8802688"/>
              <a:gd name="connsiteY435" fmla="*/ 2333625 h 6677025"/>
              <a:gd name="connsiteX436" fmla="*/ 7675563 w 8802688"/>
              <a:gd name="connsiteY436" fmla="*/ 2278063 h 6677025"/>
              <a:gd name="connsiteX437" fmla="*/ 7681913 w 8802688"/>
              <a:gd name="connsiteY437" fmla="*/ 2224088 h 6677025"/>
              <a:gd name="connsiteX438" fmla="*/ 7688263 w 8802688"/>
              <a:gd name="connsiteY438" fmla="*/ 2168525 h 6677025"/>
              <a:gd name="connsiteX439" fmla="*/ 7689851 w 8802688"/>
              <a:gd name="connsiteY439" fmla="*/ 2111375 h 6677025"/>
              <a:gd name="connsiteX440" fmla="*/ 7689851 w 8802688"/>
              <a:gd name="connsiteY440" fmla="*/ 2054225 h 6677025"/>
              <a:gd name="connsiteX441" fmla="*/ 7688263 w 8802688"/>
              <a:gd name="connsiteY441" fmla="*/ 1998663 h 6677025"/>
              <a:gd name="connsiteX442" fmla="*/ 7681913 w 8802688"/>
              <a:gd name="connsiteY442" fmla="*/ 1941513 h 6677025"/>
              <a:gd name="connsiteX443" fmla="*/ 7672388 w 8802688"/>
              <a:gd name="connsiteY443" fmla="*/ 1885950 h 6677025"/>
              <a:gd name="connsiteX444" fmla="*/ 7661276 w 8802688"/>
              <a:gd name="connsiteY444" fmla="*/ 1831975 h 6677025"/>
              <a:gd name="connsiteX445" fmla="*/ 7654926 w 8802688"/>
              <a:gd name="connsiteY445" fmla="*/ 1811338 h 6677025"/>
              <a:gd name="connsiteX446" fmla="*/ 7651751 w 8802688"/>
              <a:gd name="connsiteY446" fmla="*/ 1790700 h 6677025"/>
              <a:gd name="connsiteX447" fmla="*/ 7651751 w 8802688"/>
              <a:gd name="connsiteY447" fmla="*/ 1773238 h 6677025"/>
              <a:gd name="connsiteX448" fmla="*/ 7651751 w 8802688"/>
              <a:gd name="connsiteY448" fmla="*/ 1754188 h 6677025"/>
              <a:gd name="connsiteX449" fmla="*/ 7654926 w 8802688"/>
              <a:gd name="connsiteY449" fmla="*/ 1736725 h 6677025"/>
              <a:gd name="connsiteX450" fmla="*/ 7661276 w 8802688"/>
              <a:gd name="connsiteY450" fmla="*/ 1719263 h 6677025"/>
              <a:gd name="connsiteX451" fmla="*/ 7675563 w 8802688"/>
              <a:gd name="connsiteY451" fmla="*/ 1689100 h 6677025"/>
              <a:gd name="connsiteX452" fmla="*/ 7696201 w 8802688"/>
              <a:gd name="connsiteY452" fmla="*/ 1665288 h 6677025"/>
              <a:gd name="connsiteX453" fmla="*/ 7720013 w 8802688"/>
              <a:gd name="connsiteY453" fmla="*/ 1641476 h 6677025"/>
              <a:gd name="connsiteX454" fmla="*/ 7743826 w 8802688"/>
              <a:gd name="connsiteY454" fmla="*/ 1620838 h 6677025"/>
              <a:gd name="connsiteX455" fmla="*/ 7773988 w 8802688"/>
              <a:gd name="connsiteY455" fmla="*/ 1606550 h 6677025"/>
              <a:gd name="connsiteX456" fmla="*/ 7805738 w 8802688"/>
              <a:gd name="connsiteY456" fmla="*/ 1590675 h 6677025"/>
              <a:gd name="connsiteX457" fmla="*/ 7839076 w 8802688"/>
              <a:gd name="connsiteY457" fmla="*/ 1576388 h 6677025"/>
              <a:gd name="connsiteX458" fmla="*/ 7904163 w 8802688"/>
              <a:gd name="connsiteY458" fmla="*/ 1538288 h 6677025"/>
              <a:gd name="connsiteX459" fmla="*/ 7967663 w 8802688"/>
              <a:gd name="connsiteY459" fmla="*/ 1495425 h 6677025"/>
              <a:gd name="connsiteX460" fmla="*/ 8026401 w 8802688"/>
              <a:gd name="connsiteY460" fmla="*/ 1447801 h 6677025"/>
              <a:gd name="connsiteX461" fmla="*/ 8085138 w 8802688"/>
              <a:gd name="connsiteY461" fmla="*/ 1398588 h 6677025"/>
              <a:gd name="connsiteX462" fmla="*/ 8142288 w 8802688"/>
              <a:gd name="connsiteY462" fmla="*/ 1344613 h 6677025"/>
              <a:gd name="connsiteX463" fmla="*/ 8255001 w 8802688"/>
              <a:gd name="connsiteY463" fmla="*/ 1235076 h 6677025"/>
              <a:gd name="connsiteX464" fmla="*/ 8275638 w 8802688"/>
              <a:gd name="connsiteY464" fmla="*/ 1208088 h 6677025"/>
              <a:gd name="connsiteX465" fmla="*/ 8296276 w 8802688"/>
              <a:gd name="connsiteY465" fmla="*/ 1187450 h 6677025"/>
              <a:gd name="connsiteX466" fmla="*/ 8318501 w 8802688"/>
              <a:gd name="connsiteY466" fmla="*/ 1168400 h 6677025"/>
              <a:gd name="connsiteX467" fmla="*/ 8339138 w 8802688"/>
              <a:gd name="connsiteY467" fmla="*/ 1154113 h 6677025"/>
              <a:gd name="connsiteX468" fmla="*/ 8359776 w 8802688"/>
              <a:gd name="connsiteY468" fmla="*/ 1144588 h 6677025"/>
              <a:gd name="connsiteX469" fmla="*/ 8377238 w 8802688"/>
              <a:gd name="connsiteY469" fmla="*/ 1139825 h 6677025"/>
              <a:gd name="connsiteX470" fmla="*/ 8397876 w 8802688"/>
              <a:gd name="connsiteY470" fmla="*/ 1139825 h 6677025"/>
              <a:gd name="connsiteX471" fmla="*/ 8415338 w 8802688"/>
              <a:gd name="connsiteY471" fmla="*/ 1139825 h 6677025"/>
              <a:gd name="connsiteX472" fmla="*/ 8435976 w 8802688"/>
              <a:gd name="connsiteY472" fmla="*/ 1144588 h 6677025"/>
              <a:gd name="connsiteX473" fmla="*/ 8455026 w 8802688"/>
              <a:gd name="connsiteY473" fmla="*/ 1154113 h 6677025"/>
              <a:gd name="connsiteX474" fmla="*/ 8472488 w 8802688"/>
              <a:gd name="connsiteY474" fmla="*/ 1166813 h 6677025"/>
              <a:gd name="connsiteX475" fmla="*/ 8489951 w 8802688"/>
              <a:gd name="connsiteY475" fmla="*/ 1181100 h 6677025"/>
              <a:gd name="connsiteX476" fmla="*/ 8504238 w 8802688"/>
              <a:gd name="connsiteY476" fmla="*/ 1198563 h 6677025"/>
              <a:gd name="connsiteX477" fmla="*/ 8523288 w 8802688"/>
              <a:gd name="connsiteY477" fmla="*/ 1219201 h 6677025"/>
              <a:gd name="connsiteX478" fmla="*/ 8537576 w 8802688"/>
              <a:gd name="connsiteY478" fmla="*/ 1243013 h 6677025"/>
              <a:gd name="connsiteX479" fmla="*/ 8551863 w 8802688"/>
              <a:gd name="connsiteY479" fmla="*/ 1270000 h 6677025"/>
              <a:gd name="connsiteX480" fmla="*/ 8605838 w 8802688"/>
              <a:gd name="connsiteY480" fmla="*/ 1403350 h 6677025"/>
              <a:gd name="connsiteX481" fmla="*/ 8659813 w 8802688"/>
              <a:gd name="connsiteY481" fmla="*/ 1531938 h 6677025"/>
              <a:gd name="connsiteX482" fmla="*/ 8680451 w 8802688"/>
              <a:gd name="connsiteY482" fmla="*/ 1593850 h 6677025"/>
              <a:gd name="connsiteX483" fmla="*/ 8704263 w 8802688"/>
              <a:gd name="connsiteY483" fmla="*/ 1658938 h 6677025"/>
              <a:gd name="connsiteX484" fmla="*/ 8721726 w 8802688"/>
              <a:gd name="connsiteY484" fmla="*/ 1725613 h 6677025"/>
              <a:gd name="connsiteX485" fmla="*/ 8737601 w 8802688"/>
              <a:gd name="connsiteY485" fmla="*/ 1793875 h 6677025"/>
              <a:gd name="connsiteX486" fmla="*/ 8763001 w 8802688"/>
              <a:gd name="connsiteY486" fmla="*/ 1974850 h 6677025"/>
              <a:gd name="connsiteX487" fmla="*/ 8785226 w 8802688"/>
              <a:gd name="connsiteY487" fmla="*/ 2149475 h 6677025"/>
              <a:gd name="connsiteX488" fmla="*/ 8789988 w 8802688"/>
              <a:gd name="connsiteY488" fmla="*/ 2238375 h 6677025"/>
              <a:gd name="connsiteX489" fmla="*/ 8796338 w 8802688"/>
              <a:gd name="connsiteY489" fmla="*/ 2325688 h 6677025"/>
              <a:gd name="connsiteX490" fmla="*/ 8802688 w 8802688"/>
              <a:gd name="connsiteY490" fmla="*/ 2411413 h 6677025"/>
              <a:gd name="connsiteX491" fmla="*/ 8802688 w 8802688"/>
              <a:gd name="connsiteY491" fmla="*/ 2497138 h 6677025"/>
              <a:gd name="connsiteX492" fmla="*/ 8802688 w 8802688"/>
              <a:gd name="connsiteY492" fmla="*/ 2584450 h 6677025"/>
              <a:gd name="connsiteX493" fmla="*/ 8796338 w 8802688"/>
              <a:gd name="connsiteY493" fmla="*/ 2670175 h 6677025"/>
              <a:gd name="connsiteX494" fmla="*/ 8789988 w 8802688"/>
              <a:gd name="connsiteY494" fmla="*/ 2752725 h 6677025"/>
              <a:gd name="connsiteX495" fmla="*/ 8778876 w 8802688"/>
              <a:gd name="connsiteY495" fmla="*/ 2840038 h 6677025"/>
              <a:gd name="connsiteX496" fmla="*/ 8763001 w 8802688"/>
              <a:gd name="connsiteY496" fmla="*/ 2922588 h 6677025"/>
              <a:gd name="connsiteX497" fmla="*/ 8748713 w 8802688"/>
              <a:gd name="connsiteY497" fmla="*/ 3006725 h 6677025"/>
              <a:gd name="connsiteX498" fmla="*/ 8724901 w 8802688"/>
              <a:gd name="connsiteY498" fmla="*/ 3092450 h 6677025"/>
              <a:gd name="connsiteX499" fmla="*/ 8701088 w 8802688"/>
              <a:gd name="connsiteY499" fmla="*/ 3175000 h 6677025"/>
              <a:gd name="connsiteX500" fmla="*/ 8670926 w 8802688"/>
              <a:gd name="connsiteY500" fmla="*/ 3249613 h 6677025"/>
              <a:gd name="connsiteX501" fmla="*/ 8642351 w 8802688"/>
              <a:gd name="connsiteY501" fmla="*/ 3321050 h 6677025"/>
              <a:gd name="connsiteX502" fmla="*/ 8609013 w 8802688"/>
              <a:gd name="connsiteY502" fmla="*/ 3389313 h 6677025"/>
              <a:gd name="connsiteX503" fmla="*/ 8575676 w 8802688"/>
              <a:gd name="connsiteY503" fmla="*/ 3451225 h 6677025"/>
              <a:gd name="connsiteX504" fmla="*/ 8543926 w 8802688"/>
              <a:gd name="connsiteY504" fmla="*/ 3514725 h 6677025"/>
              <a:gd name="connsiteX505" fmla="*/ 8507413 w 8802688"/>
              <a:gd name="connsiteY505" fmla="*/ 3570288 h 6677025"/>
              <a:gd name="connsiteX506" fmla="*/ 8469313 w 8802688"/>
              <a:gd name="connsiteY506" fmla="*/ 3621088 h 6677025"/>
              <a:gd name="connsiteX507" fmla="*/ 8431213 w 8802688"/>
              <a:gd name="connsiteY507" fmla="*/ 3671888 h 6677025"/>
              <a:gd name="connsiteX508" fmla="*/ 8391526 w 8802688"/>
              <a:gd name="connsiteY508" fmla="*/ 3719513 h 6677025"/>
              <a:gd name="connsiteX509" fmla="*/ 8350251 w 8802688"/>
              <a:gd name="connsiteY509" fmla="*/ 3760788 h 6677025"/>
              <a:gd name="connsiteX510" fmla="*/ 8305801 w 8802688"/>
              <a:gd name="connsiteY510" fmla="*/ 3802063 h 6677025"/>
              <a:gd name="connsiteX511" fmla="*/ 8261351 w 8802688"/>
              <a:gd name="connsiteY511" fmla="*/ 3838575 h 6677025"/>
              <a:gd name="connsiteX512" fmla="*/ 8216901 w 8802688"/>
              <a:gd name="connsiteY512" fmla="*/ 3870325 h 6677025"/>
              <a:gd name="connsiteX513" fmla="*/ 8172451 w 8802688"/>
              <a:gd name="connsiteY513" fmla="*/ 3903663 h 6677025"/>
              <a:gd name="connsiteX514" fmla="*/ 8124826 w 8802688"/>
              <a:gd name="connsiteY514" fmla="*/ 3930650 h 6677025"/>
              <a:gd name="connsiteX515" fmla="*/ 8074026 w 8802688"/>
              <a:gd name="connsiteY515" fmla="*/ 3954463 h 6677025"/>
              <a:gd name="connsiteX516" fmla="*/ 8023226 w 8802688"/>
              <a:gd name="connsiteY516" fmla="*/ 3978275 h 6677025"/>
              <a:gd name="connsiteX517" fmla="*/ 7972426 w 8802688"/>
              <a:gd name="connsiteY517" fmla="*/ 3995738 h 6677025"/>
              <a:gd name="connsiteX518" fmla="*/ 7920038 w 8802688"/>
              <a:gd name="connsiteY518" fmla="*/ 4013200 h 6677025"/>
              <a:gd name="connsiteX519" fmla="*/ 7866063 w 8802688"/>
              <a:gd name="connsiteY519" fmla="*/ 4029075 h 6677025"/>
              <a:gd name="connsiteX520" fmla="*/ 7812088 w 8802688"/>
              <a:gd name="connsiteY520" fmla="*/ 4040188 h 6677025"/>
              <a:gd name="connsiteX521" fmla="*/ 7756526 w 8802688"/>
              <a:gd name="connsiteY521" fmla="*/ 4049713 h 6677025"/>
              <a:gd name="connsiteX522" fmla="*/ 7699376 w 8802688"/>
              <a:gd name="connsiteY522" fmla="*/ 4057650 h 6677025"/>
              <a:gd name="connsiteX523" fmla="*/ 7640638 w 8802688"/>
              <a:gd name="connsiteY523" fmla="*/ 4064000 h 6677025"/>
              <a:gd name="connsiteX524" fmla="*/ 7583488 w 8802688"/>
              <a:gd name="connsiteY524" fmla="*/ 4067175 h 6677025"/>
              <a:gd name="connsiteX525" fmla="*/ 7521576 w 8802688"/>
              <a:gd name="connsiteY525" fmla="*/ 4067175 h 6677025"/>
              <a:gd name="connsiteX526" fmla="*/ 7461251 w 8802688"/>
              <a:gd name="connsiteY526" fmla="*/ 4067175 h 6677025"/>
              <a:gd name="connsiteX527" fmla="*/ 7399338 w 8802688"/>
              <a:gd name="connsiteY527" fmla="*/ 4064000 h 6677025"/>
              <a:gd name="connsiteX528" fmla="*/ 7270751 w 8802688"/>
              <a:gd name="connsiteY528" fmla="*/ 4052888 h 6677025"/>
              <a:gd name="connsiteX529" fmla="*/ 7140576 w 8802688"/>
              <a:gd name="connsiteY529" fmla="*/ 4033838 h 6677025"/>
              <a:gd name="connsiteX530" fmla="*/ 7018338 w 8802688"/>
              <a:gd name="connsiteY530" fmla="*/ 4016375 h 6677025"/>
              <a:gd name="connsiteX531" fmla="*/ 6896101 w 8802688"/>
              <a:gd name="connsiteY531" fmla="*/ 3992563 h 6677025"/>
              <a:gd name="connsiteX532" fmla="*/ 6780213 w 8802688"/>
              <a:gd name="connsiteY532" fmla="*/ 3965575 h 6677025"/>
              <a:gd name="connsiteX533" fmla="*/ 6664326 w 8802688"/>
              <a:gd name="connsiteY533" fmla="*/ 3937000 h 6677025"/>
              <a:gd name="connsiteX534" fmla="*/ 6438901 w 8802688"/>
              <a:gd name="connsiteY534" fmla="*/ 3870325 h 6677025"/>
              <a:gd name="connsiteX535" fmla="*/ 6326188 w 8802688"/>
              <a:gd name="connsiteY535" fmla="*/ 3841750 h 6677025"/>
              <a:gd name="connsiteX536" fmla="*/ 6216651 w 8802688"/>
              <a:gd name="connsiteY536" fmla="*/ 3811588 h 6677025"/>
              <a:gd name="connsiteX537" fmla="*/ 6186488 w 8802688"/>
              <a:gd name="connsiteY537" fmla="*/ 3951288 h 6677025"/>
              <a:gd name="connsiteX538" fmla="*/ 6162676 w 8802688"/>
              <a:gd name="connsiteY538" fmla="*/ 4094163 h 6677025"/>
              <a:gd name="connsiteX539" fmla="*/ 6153151 w 8802688"/>
              <a:gd name="connsiteY539" fmla="*/ 4171950 h 6677025"/>
              <a:gd name="connsiteX540" fmla="*/ 6148388 w 8802688"/>
              <a:gd name="connsiteY540" fmla="*/ 4244975 h 6677025"/>
              <a:gd name="connsiteX541" fmla="*/ 6142038 w 8802688"/>
              <a:gd name="connsiteY541" fmla="*/ 4325938 h 6677025"/>
              <a:gd name="connsiteX542" fmla="*/ 6142038 w 8802688"/>
              <a:gd name="connsiteY542" fmla="*/ 4408488 h 6677025"/>
              <a:gd name="connsiteX543" fmla="*/ 6142038 w 8802688"/>
              <a:gd name="connsiteY543" fmla="*/ 4438650 h 6677025"/>
              <a:gd name="connsiteX544" fmla="*/ 6148388 w 8802688"/>
              <a:gd name="connsiteY544" fmla="*/ 4468813 h 6677025"/>
              <a:gd name="connsiteX545" fmla="*/ 6156326 w 8802688"/>
              <a:gd name="connsiteY545" fmla="*/ 4500563 h 6677025"/>
              <a:gd name="connsiteX546" fmla="*/ 6169026 w 8802688"/>
              <a:gd name="connsiteY546" fmla="*/ 4530725 h 6677025"/>
              <a:gd name="connsiteX547" fmla="*/ 6183313 w 8802688"/>
              <a:gd name="connsiteY547" fmla="*/ 4554538 h 6677025"/>
              <a:gd name="connsiteX548" fmla="*/ 6203951 w 8802688"/>
              <a:gd name="connsiteY548" fmla="*/ 4575175 h 6677025"/>
              <a:gd name="connsiteX549" fmla="*/ 6213476 w 8802688"/>
              <a:gd name="connsiteY549" fmla="*/ 4584700 h 6677025"/>
              <a:gd name="connsiteX550" fmla="*/ 6224588 w 8802688"/>
              <a:gd name="connsiteY550" fmla="*/ 4591050 h 6677025"/>
              <a:gd name="connsiteX551" fmla="*/ 6237288 w 8802688"/>
              <a:gd name="connsiteY551" fmla="*/ 4594225 h 6677025"/>
              <a:gd name="connsiteX552" fmla="*/ 6251576 w 8802688"/>
              <a:gd name="connsiteY552" fmla="*/ 4595813 h 6677025"/>
              <a:gd name="connsiteX553" fmla="*/ 6281738 w 8802688"/>
              <a:gd name="connsiteY553" fmla="*/ 4608513 h 6677025"/>
              <a:gd name="connsiteX554" fmla="*/ 6313488 w 8802688"/>
              <a:gd name="connsiteY554" fmla="*/ 4619625 h 6677025"/>
              <a:gd name="connsiteX555" fmla="*/ 6350001 w 8802688"/>
              <a:gd name="connsiteY555" fmla="*/ 4629150 h 6677025"/>
              <a:gd name="connsiteX556" fmla="*/ 6384926 w 8802688"/>
              <a:gd name="connsiteY556" fmla="*/ 4632325 h 6677025"/>
              <a:gd name="connsiteX557" fmla="*/ 6405563 w 8802688"/>
              <a:gd name="connsiteY557" fmla="*/ 4632325 h 6677025"/>
              <a:gd name="connsiteX558" fmla="*/ 6424613 w 8802688"/>
              <a:gd name="connsiteY558" fmla="*/ 4629150 h 6677025"/>
              <a:gd name="connsiteX559" fmla="*/ 6445251 w 8802688"/>
              <a:gd name="connsiteY559" fmla="*/ 4622800 h 6677025"/>
              <a:gd name="connsiteX560" fmla="*/ 6465888 w 8802688"/>
              <a:gd name="connsiteY560" fmla="*/ 4616450 h 6677025"/>
              <a:gd name="connsiteX561" fmla="*/ 6486526 w 8802688"/>
              <a:gd name="connsiteY561" fmla="*/ 4605338 h 6677025"/>
              <a:gd name="connsiteX562" fmla="*/ 6507163 w 8802688"/>
              <a:gd name="connsiteY562" fmla="*/ 4594225 h 6677025"/>
              <a:gd name="connsiteX563" fmla="*/ 6527801 w 8802688"/>
              <a:gd name="connsiteY563" fmla="*/ 4575175 h 6677025"/>
              <a:gd name="connsiteX564" fmla="*/ 6548438 w 8802688"/>
              <a:gd name="connsiteY564" fmla="*/ 4557713 h 6677025"/>
              <a:gd name="connsiteX565" fmla="*/ 6578601 w 8802688"/>
              <a:gd name="connsiteY565" fmla="*/ 4516438 h 6677025"/>
              <a:gd name="connsiteX566" fmla="*/ 6608763 w 8802688"/>
              <a:gd name="connsiteY566" fmla="*/ 4476750 h 6677025"/>
              <a:gd name="connsiteX567" fmla="*/ 6673851 w 8802688"/>
              <a:gd name="connsiteY567" fmla="*/ 4403725 h 6677025"/>
              <a:gd name="connsiteX568" fmla="*/ 6704013 w 8802688"/>
              <a:gd name="connsiteY568" fmla="*/ 4364038 h 6677025"/>
              <a:gd name="connsiteX569" fmla="*/ 6731001 w 8802688"/>
              <a:gd name="connsiteY569" fmla="*/ 4319588 h 6677025"/>
              <a:gd name="connsiteX570" fmla="*/ 6754813 w 8802688"/>
              <a:gd name="connsiteY570" fmla="*/ 4275138 h 6677025"/>
              <a:gd name="connsiteX571" fmla="*/ 6762751 w 8802688"/>
              <a:gd name="connsiteY571" fmla="*/ 4248150 h 6677025"/>
              <a:gd name="connsiteX572" fmla="*/ 6772276 w 8802688"/>
              <a:gd name="connsiteY572" fmla="*/ 4221163 h 6677025"/>
              <a:gd name="connsiteX573" fmla="*/ 6775451 w 8802688"/>
              <a:gd name="connsiteY573" fmla="*/ 4210050 h 6677025"/>
              <a:gd name="connsiteX574" fmla="*/ 6783388 w 8802688"/>
              <a:gd name="connsiteY574" fmla="*/ 4197350 h 6677025"/>
              <a:gd name="connsiteX575" fmla="*/ 6796088 w 8802688"/>
              <a:gd name="connsiteY575" fmla="*/ 4192588 h 6677025"/>
              <a:gd name="connsiteX576" fmla="*/ 6813551 w 8802688"/>
              <a:gd name="connsiteY576" fmla="*/ 4183063 h 6677025"/>
              <a:gd name="connsiteX577" fmla="*/ 6848476 w 8802688"/>
              <a:gd name="connsiteY577" fmla="*/ 4168775 h 6677025"/>
              <a:gd name="connsiteX578" fmla="*/ 6867526 w 8802688"/>
              <a:gd name="connsiteY578" fmla="*/ 4159250 h 6677025"/>
              <a:gd name="connsiteX579" fmla="*/ 6881813 w 8802688"/>
              <a:gd name="connsiteY579" fmla="*/ 4148138 h 6677025"/>
              <a:gd name="connsiteX580" fmla="*/ 6881813 w 8802688"/>
              <a:gd name="connsiteY580" fmla="*/ 4200525 h 6677025"/>
              <a:gd name="connsiteX581" fmla="*/ 6875463 w 8802688"/>
              <a:gd name="connsiteY581" fmla="*/ 4254500 h 6677025"/>
              <a:gd name="connsiteX582" fmla="*/ 6867526 w 8802688"/>
              <a:gd name="connsiteY582" fmla="*/ 4302125 h 6677025"/>
              <a:gd name="connsiteX583" fmla="*/ 6854826 w 8802688"/>
              <a:gd name="connsiteY583" fmla="*/ 4349750 h 6677025"/>
              <a:gd name="connsiteX584" fmla="*/ 6840538 w 8802688"/>
              <a:gd name="connsiteY584" fmla="*/ 4394200 h 6677025"/>
              <a:gd name="connsiteX585" fmla="*/ 6823076 w 8802688"/>
              <a:gd name="connsiteY585" fmla="*/ 4435475 h 6677025"/>
              <a:gd name="connsiteX586" fmla="*/ 6800851 w 8802688"/>
              <a:gd name="connsiteY586" fmla="*/ 4475163 h 6677025"/>
              <a:gd name="connsiteX587" fmla="*/ 6775451 w 8802688"/>
              <a:gd name="connsiteY587" fmla="*/ 4510088 h 6677025"/>
              <a:gd name="connsiteX588" fmla="*/ 6748463 w 8802688"/>
              <a:gd name="connsiteY588" fmla="*/ 4546600 h 6677025"/>
              <a:gd name="connsiteX589" fmla="*/ 6718301 w 8802688"/>
              <a:gd name="connsiteY589" fmla="*/ 4575175 h 6677025"/>
              <a:gd name="connsiteX590" fmla="*/ 6683376 w 8802688"/>
              <a:gd name="connsiteY590" fmla="*/ 4605338 h 6677025"/>
              <a:gd name="connsiteX591" fmla="*/ 6646863 w 8802688"/>
              <a:gd name="connsiteY591" fmla="*/ 4629150 h 6677025"/>
              <a:gd name="connsiteX592" fmla="*/ 6608763 w 8802688"/>
              <a:gd name="connsiteY592" fmla="*/ 4652963 h 6677025"/>
              <a:gd name="connsiteX593" fmla="*/ 6567488 w 8802688"/>
              <a:gd name="connsiteY593" fmla="*/ 4673600 h 6677025"/>
              <a:gd name="connsiteX594" fmla="*/ 6521451 w 8802688"/>
              <a:gd name="connsiteY594" fmla="*/ 4691063 h 6677025"/>
              <a:gd name="connsiteX595" fmla="*/ 6473826 w 8802688"/>
              <a:gd name="connsiteY595" fmla="*/ 4706938 h 6677025"/>
              <a:gd name="connsiteX596" fmla="*/ 6438901 w 8802688"/>
              <a:gd name="connsiteY596" fmla="*/ 4718050 h 6677025"/>
              <a:gd name="connsiteX597" fmla="*/ 6403976 w 8802688"/>
              <a:gd name="connsiteY597" fmla="*/ 4727575 h 6677025"/>
              <a:gd name="connsiteX598" fmla="*/ 6370638 w 8802688"/>
              <a:gd name="connsiteY598" fmla="*/ 4733925 h 6677025"/>
              <a:gd name="connsiteX599" fmla="*/ 6334126 w 8802688"/>
              <a:gd name="connsiteY599" fmla="*/ 4735513 h 6677025"/>
              <a:gd name="connsiteX600" fmla="*/ 6302376 w 8802688"/>
              <a:gd name="connsiteY600" fmla="*/ 4735513 h 6677025"/>
              <a:gd name="connsiteX601" fmla="*/ 6265863 w 8802688"/>
              <a:gd name="connsiteY601" fmla="*/ 4733925 h 6677025"/>
              <a:gd name="connsiteX602" fmla="*/ 6234113 w 8802688"/>
              <a:gd name="connsiteY602" fmla="*/ 4724400 h 6677025"/>
              <a:gd name="connsiteX603" fmla="*/ 6200776 w 8802688"/>
              <a:gd name="connsiteY603" fmla="*/ 4714875 h 6677025"/>
              <a:gd name="connsiteX604" fmla="*/ 6169026 w 8802688"/>
              <a:gd name="connsiteY604" fmla="*/ 4703763 h 6677025"/>
              <a:gd name="connsiteX605" fmla="*/ 6135688 w 8802688"/>
              <a:gd name="connsiteY605" fmla="*/ 4691063 h 6677025"/>
              <a:gd name="connsiteX606" fmla="*/ 6102351 w 8802688"/>
              <a:gd name="connsiteY606" fmla="*/ 4673600 h 6677025"/>
              <a:gd name="connsiteX607" fmla="*/ 6073776 w 8802688"/>
              <a:gd name="connsiteY607" fmla="*/ 4656138 h 6677025"/>
              <a:gd name="connsiteX608" fmla="*/ 6040438 w 8802688"/>
              <a:gd name="connsiteY608" fmla="*/ 4632325 h 6677025"/>
              <a:gd name="connsiteX609" fmla="*/ 6010276 w 8802688"/>
              <a:gd name="connsiteY609" fmla="*/ 4611688 h 6677025"/>
              <a:gd name="connsiteX610" fmla="*/ 5984876 w 8802688"/>
              <a:gd name="connsiteY610" fmla="*/ 4584700 h 6677025"/>
              <a:gd name="connsiteX611" fmla="*/ 5954713 w 8802688"/>
              <a:gd name="connsiteY611" fmla="*/ 4557713 h 6677025"/>
              <a:gd name="connsiteX612" fmla="*/ 5903913 w 8802688"/>
              <a:gd name="connsiteY612" fmla="*/ 4510088 h 6677025"/>
              <a:gd name="connsiteX613" fmla="*/ 5853113 w 8802688"/>
              <a:gd name="connsiteY613" fmla="*/ 4465638 h 6677025"/>
              <a:gd name="connsiteX614" fmla="*/ 5802313 w 8802688"/>
              <a:gd name="connsiteY614" fmla="*/ 4424363 h 6677025"/>
              <a:gd name="connsiteX615" fmla="*/ 5746751 w 8802688"/>
              <a:gd name="connsiteY615" fmla="*/ 4384675 h 6677025"/>
              <a:gd name="connsiteX616" fmla="*/ 5692776 w 8802688"/>
              <a:gd name="connsiteY616" fmla="*/ 4349750 h 6677025"/>
              <a:gd name="connsiteX617" fmla="*/ 5635626 w 8802688"/>
              <a:gd name="connsiteY617" fmla="*/ 4316413 h 6677025"/>
              <a:gd name="connsiteX618" fmla="*/ 5576888 w 8802688"/>
              <a:gd name="connsiteY618" fmla="*/ 4284663 h 6677025"/>
              <a:gd name="connsiteX619" fmla="*/ 5519738 w 8802688"/>
              <a:gd name="connsiteY619" fmla="*/ 4254500 h 6677025"/>
              <a:gd name="connsiteX620" fmla="*/ 5399088 w 8802688"/>
              <a:gd name="connsiteY620" fmla="*/ 4197350 h 6677025"/>
              <a:gd name="connsiteX621" fmla="*/ 5276851 w 8802688"/>
              <a:gd name="connsiteY621" fmla="*/ 4141788 h 6677025"/>
              <a:gd name="connsiteX622" fmla="*/ 5027613 w 8802688"/>
              <a:gd name="connsiteY622" fmla="*/ 4033838 h 6677025"/>
              <a:gd name="connsiteX623" fmla="*/ 5110163 w 8802688"/>
              <a:gd name="connsiteY623" fmla="*/ 4090988 h 6677025"/>
              <a:gd name="connsiteX624" fmla="*/ 5151438 w 8802688"/>
              <a:gd name="connsiteY624" fmla="*/ 4121150 h 6677025"/>
              <a:gd name="connsiteX625" fmla="*/ 5191126 w 8802688"/>
              <a:gd name="connsiteY625" fmla="*/ 4151313 h 6677025"/>
              <a:gd name="connsiteX626" fmla="*/ 5226051 w 8802688"/>
              <a:gd name="connsiteY626" fmla="*/ 4183063 h 6677025"/>
              <a:gd name="connsiteX627" fmla="*/ 5260976 w 8802688"/>
              <a:gd name="connsiteY627" fmla="*/ 4219575 h 6677025"/>
              <a:gd name="connsiteX628" fmla="*/ 5294313 w 8802688"/>
              <a:gd name="connsiteY628" fmla="*/ 4254500 h 6677025"/>
              <a:gd name="connsiteX629" fmla="*/ 5324476 w 8802688"/>
              <a:gd name="connsiteY629" fmla="*/ 4295775 h 6677025"/>
              <a:gd name="connsiteX630" fmla="*/ 5356226 w 8802688"/>
              <a:gd name="connsiteY630" fmla="*/ 4329113 h 6677025"/>
              <a:gd name="connsiteX631" fmla="*/ 5392738 w 8802688"/>
              <a:gd name="connsiteY631" fmla="*/ 4370388 h 6677025"/>
              <a:gd name="connsiteX632" fmla="*/ 5410201 w 8802688"/>
              <a:gd name="connsiteY632" fmla="*/ 4391025 h 6677025"/>
              <a:gd name="connsiteX633" fmla="*/ 5422901 w 8802688"/>
              <a:gd name="connsiteY633" fmla="*/ 4411663 h 6677025"/>
              <a:gd name="connsiteX634" fmla="*/ 5430838 w 8802688"/>
              <a:gd name="connsiteY634" fmla="*/ 4430713 h 6677025"/>
              <a:gd name="connsiteX635" fmla="*/ 5434013 w 8802688"/>
              <a:gd name="connsiteY635" fmla="*/ 4445000 h 6677025"/>
              <a:gd name="connsiteX636" fmla="*/ 5376863 w 8802688"/>
              <a:gd name="connsiteY636" fmla="*/ 4656138 h 6677025"/>
              <a:gd name="connsiteX637" fmla="*/ 5348288 w 8802688"/>
              <a:gd name="connsiteY637" fmla="*/ 4759325 h 6677025"/>
              <a:gd name="connsiteX638" fmla="*/ 5314951 w 8802688"/>
              <a:gd name="connsiteY638" fmla="*/ 4864100 h 6677025"/>
              <a:gd name="connsiteX639" fmla="*/ 5280026 w 8802688"/>
              <a:gd name="connsiteY639" fmla="*/ 4965700 h 6677025"/>
              <a:gd name="connsiteX640" fmla="*/ 5243513 w 8802688"/>
              <a:gd name="connsiteY640" fmla="*/ 5068888 h 6677025"/>
              <a:gd name="connsiteX641" fmla="*/ 5205413 w 8802688"/>
              <a:gd name="connsiteY641" fmla="*/ 5167313 h 6677025"/>
              <a:gd name="connsiteX642" fmla="*/ 5160963 w 8802688"/>
              <a:gd name="connsiteY642" fmla="*/ 5268913 h 6677025"/>
              <a:gd name="connsiteX643" fmla="*/ 5116513 w 8802688"/>
              <a:gd name="connsiteY643" fmla="*/ 5362575 h 6677025"/>
              <a:gd name="connsiteX644" fmla="*/ 5068888 w 8802688"/>
              <a:gd name="connsiteY644" fmla="*/ 5457825 h 6677025"/>
              <a:gd name="connsiteX645" fmla="*/ 5014913 w 8802688"/>
              <a:gd name="connsiteY645" fmla="*/ 5553075 h 6677025"/>
              <a:gd name="connsiteX646" fmla="*/ 4960938 w 8802688"/>
              <a:gd name="connsiteY646" fmla="*/ 5643563 h 6677025"/>
              <a:gd name="connsiteX647" fmla="*/ 4902201 w 8802688"/>
              <a:gd name="connsiteY647" fmla="*/ 5732463 h 6677025"/>
              <a:gd name="connsiteX648" fmla="*/ 4837113 w 8802688"/>
              <a:gd name="connsiteY648" fmla="*/ 5815013 h 6677025"/>
              <a:gd name="connsiteX649" fmla="*/ 4768850 w 8802688"/>
              <a:gd name="connsiteY649" fmla="*/ 5899150 h 6677025"/>
              <a:gd name="connsiteX650" fmla="*/ 4694238 w 8802688"/>
              <a:gd name="connsiteY650" fmla="*/ 5978525 h 6677025"/>
              <a:gd name="connsiteX651" fmla="*/ 4581525 w 8802688"/>
              <a:gd name="connsiteY651" fmla="*/ 6062663 h 6677025"/>
              <a:gd name="connsiteX652" fmla="*/ 4470400 w 8802688"/>
              <a:gd name="connsiteY652" fmla="*/ 6151563 h 6677025"/>
              <a:gd name="connsiteX653" fmla="*/ 4360863 w 8802688"/>
              <a:gd name="connsiteY653" fmla="*/ 6246813 h 6677025"/>
              <a:gd name="connsiteX654" fmla="*/ 4303713 w 8802688"/>
              <a:gd name="connsiteY654" fmla="*/ 6296025 h 6677025"/>
              <a:gd name="connsiteX655" fmla="*/ 4248150 w 8802688"/>
              <a:gd name="connsiteY655" fmla="*/ 6350000 h 6677025"/>
              <a:gd name="connsiteX656" fmla="*/ 4221163 w 8802688"/>
              <a:gd name="connsiteY656" fmla="*/ 6365875 h 6677025"/>
              <a:gd name="connsiteX657" fmla="*/ 4194175 w 8802688"/>
              <a:gd name="connsiteY657" fmla="*/ 6386513 h 6677025"/>
              <a:gd name="connsiteX658" fmla="*/ 4167188 w 8802688"/>
              <a:gd name="connsiteY658" fmla="*/ 6407150 h 6677025"/>
              <a:gd name="connsiteX659" fmla="*/ 4140200 w 8802688"/>
              <a:gd name="connsiteY659" fmla="*/ 6430963 h 6677025"/>
              <a:gd name="connsiteX660" fmla="*/ 4117975 w 8802688"/>
              <a:gd name="connsiteY660" fmla="*/ 6454775 h 6677025"/>
              <a:gd name="connsiteX661" fmla="*/ 4095750 w 8802688"/>
              <a:gd name="connsiteY661" fmla="*/ 6481763 h 6677025"/>
              <a:gd name="connsiteX662" fmla="*/ 4078288 w 8802688"/>
              <a:gd name="connsiteY662" fmla="*/ 6510338 h 6677025"/>
              <a:gd name="connsiteX663" fmla="*/ 4064000 w 8802688"/>
              <a:gd name="connsiteY663" fmla="*/ 6537325 h 6677025"/>
              <a:gd name="connsiteX664" fmla="*/ 4033838 w 8802688"/>
              <a:gd name="connsiteY664" fmla="*/ 6564313 h 6677025"/>
              <a:gd name="connsiteX665" fmla="*/ 4003675 w 8802688"/>
              <a:gd name="connsiteY665" fmla="*/ 6588125 h 6677025"/>
              <a:gd name="connsiteX666" fmla="*/ 3975100 w 8802688"/>
              <a:gd name="connsiteY666" fmla="*/ 6608763 h 6677025"/>
              <a:gd name="connsiteX667" fmla="*/ 3944938 w 8802688"/>
              <a:gd name="connsiteY667" fmla="*/ 6626225 h 6677025"/>
              <a:gd name="connsiteX668" fmla="*/ 3914775 w 8802688"/>
              <a:gd name="connsiteY668" fmla="*/ 6645275 h 6677025"/>
              <a:gd name="connsiteX669" fmla="*/ 3884613 w 8802688"/>
              <a:gd name="connsiteY669" fmla="*/ 6656388 h 6677025"/>
              <a:gd name="connsiteX670" fmla="*/ 3852863 w 8802688"/>
              <a:gd name="connsiteY670" fmla="*/ 6665913 h 6677025"/>
              <a:gd name="connsiteX671" fmla="*/ 3822700 w 8802688"/>
              <a:gd name="connsiteY671" fmla="*/ 6673850 h 6677025"/>
              <a:gd name="connsiteX672" fmla="*/ 3790950 w 8802688"/>
              <a:gd name="connsiteY672" fmla="*/ 6677025 h 6677025"/>
              <a:gd name="connsiteX673" fmla="*/ 3760788 w 8802688"/>
              <a:gd name="connsiteY673" fmla="*/ 6677025 h 6677025"/>
              <a:gd name="connsiteX674" fmla="*/ 3727450 w 8802688"/>
              <a:gd name="connsiteY674" fmla="*/ 6673850 h 6677025"/>
              <a:gd name="connsiteX675" fmla="*/ 3697288 w 8802688"/>
              <a:gd name="connsiteY675" fmla="*/ 6669088 h 6677025"/>
              <a:gd name="connsiteX676" fmla="*/ 3668713 w 8802688"/>
              <a:gd name="connsiteY676" fmla="*/ 6659563 h 6677025"/>
              <a:gd name="connsiteX677" fmla="*/ 3638550 w 8802688"/>
              <a:gd name="connsiteY677" fmla="*/ 6646863 h 6677025"/>
              <a:gd name="connsiteX678" fmla="*/ 3608388 w 8802688"/>
              <a:gd name="connsiteY678" fmla="*/ 6632575 h 6677025"/>
              <a:gd name="connsiteX679" fmla="*/ 3579813 w 8802688"/>
              <a:gd name="connsiteY679" fmla="*/ 6611938 h 6677025"/>
              <a:gd name="connsiteX680" fmla="*/ 3525838 w 8802688"/>
              <a:gd name="connsiteY680" fmla="*/ 6543675 h 6677025"/>
              <a:gd name="connsiteX681" fmla="*/ 3475038 w 8802688"/>
              <a:gd name="connsiteY681" fmla="*/ 6472238 h 6677025"/>
              <a:gd name="connsiteX682" fmla="*/ 3427413 w 8802688"/>
              <a:gd name="connsiteY682" fmla="*/ 6400800 h 6677025"/>
              <a:gd name="connsiteX683" fmla="*/ 3379788 w 8802688"/>
              <a:gd name="connsiteY683" fmla="*/ 6326188 h 6677025"/>
              <a:gd name="connsiteX684" fmla="*/ 3335338 w 8802688"/>
              <a:gd name="connsiteY684" fmla="*/ 6251575 h 6677025"/>
              <a:gd name="connsiteX685" fmla="*/ 3294063 w 8802688"/>
              <a:gd name="connsiteY685" fmla="*/ 6175375 h 6677025"/>
              <a:gd name="connsiteX686" fmla="*/ 3252788 w 8802688"/>
              <a:gd name="connsiteY686" fmla="*/ 6097588 h 6677025"/>
              <a:gd name="connsiteX687" fmla="*/ 3209925 w 8802688"/>
              <a:gd name="connsiteY687" fmla="*/ 6015038 h 6677025"/>
              <a:gd name="connsiteX688" fmla="*/ 3195638 w 8802688"/>
              <a:gd name="connsiteY688" fmla="*/ 5999163 h 6677025"/>
              <a:gd name="connsiteX689" fmla="*/ 3186113 w 8802688"/>
              <a:gd name="connsiteY689" fmla="*/ 5984875 h 6677025"/>
              <a:gd name="connsiteX690" fmla="*/ 3181350 w 8802688"/>
              <a:gd name="connsiteY690" fmla="*/ 5967413 h 6677025"/>
              <a:gd name="connsiteX691" fmla="*/ 3175000 w 8802688"/>
              <a:gd name="connsiteY691" fmla="*/ 5946775 h 6677025"/>
              <a:gd name="connsiteX692" fmla="*/ 3171825 w 8802688"/>
              <a:gd name="connsiteY692" fmla="*/ 5927725 h 6677025"/>
              <a:gd name="connsiteX693" fmla="*/ 3171825 w 8802688"/>
              <a:gd name="connsiteY693" fmla="*/ 5907088 h 6677025"/>
              <a:gd name="connsiteX694" fmla="*/ 3175000 w 8802688"/>
              <a:gd name="connsiteY694" fmla="*/ 5886450 h 6677025"/>
              <a:gd name="connsiteX695" fmla="*/ 3181350 w 8802688"/>
              <a:gd name="connsiteY695" fmla="*/ 5865813 h 6677025"/>
              <a:gd name="connsiteX696" fmla="*/ 3189288 w 8802688"/>
              <a:gd name="connsiteY696" fmla="*/ 5845175 h 6677025"/>
              <a:gd name="connsiteX697" fmla="*/ 3201988 w 8802688"/>
              <a:gd name="connsiteY697" fmla="*/ 5824538 h 6677025"/>
              <a:gd name="connsiteX698" fmla="*/ 3213100 w 8802688"/>
              <a:gd name="connsiteY698" fmla="*/ 5803900 h 6677025"/>
              <a:gd name="connsiteX699" fmla="*/ 3230563 w 8802688"/>
              <a:gd name="connsiteY699" fmla="*/ 5783263 h 6677025"/>
              <a:gd name="connsiteX700" fmla="*/ 3249613 w 8802688"/>
              <a:gd name="connsiteY700" fmla="*/ 5764213 h 6677025"/>
              <a:gd name="connsiteX701" fmla="*/ 3270250 w 8802688"/>
              <a:gd name="connsiteY701" fmla="*/ 5746750 h 6677025"/>
              <a:gd name="connsiteX702" fmla="*/ 3294063 w 8802688"/>
              <a:gd name="connsiteY702" fmla="*/ 5732463 h 6677025"/>
              <a:gd name="connsiteX703" fmla="*/ 3321050 w 8802688"/>
              <a:gd name="connsiteY703" fmla="*/ 5716588 h 6677025"/>
              <a:gd name="connsiteX704" fmla="*/ 3362325 w 8802688"/>
              <a:gd name="connsiteY704" fmla="*/ 5699125 h 6677025"/>
              <a:gd name="connsiteX705" fmla="*/ 3403600 w 8802688"/>
              <a:gd name="connsiteY705" fmla="*/ 5681663 h 6677025"/>
              <a:gd name="connsiteX706" fmla="*/ 3492500 w 8802688"/>
              <a:gd name="connsiteY706" fmla="*/ 5637213 h 6677025"/>
              <a:gd name="connsiteX707" fmla="*/ 3587750 w 8802688"/>
              <a:gd name="connsiteY707" fmla="*/ 5583238 h 6677025"/>
              <a:gd name="connsiteX708" fmla="*/ 3692525 w 8802688"/>
              <a:gd name="connsiteY708" fmla="*/ 5529263 h 6677025"/>
              <a:gd name="connsiteX709" fmla="*/ 3692525 w 8802688"/>
              <a:gd name="connsiteY709" fmla="*/ 5081588 h 6677025"/>
              <a:gd name="connsiteX710" fmla="*/ 3683000 w 8802688"/>
              <a:gd name="connsiteY710" fmla="*/ 5116513 h 6677025"/>
              <a:gd name="connsiteX711" fmla="*/ 3673475 w 8802688"/>
              <a:gd name="connsiteY711" fmla="*/ 5153025 h 6677025"/>
              <a:gd name="connsiteX712" fmla="*/ 3665538 w 8802688"/>
              <a:gd name="connsiteY712" fmla="*/ 5184775 h 6677025"/>
              <a:gd name="connsiteX713" fmla="*/ 3652838 w 8802688"/>
              <a:gd name="connsiteY713" fmla="*/ 5211763 h 6677025"/>
              <a:gd name="connsiteX714" fmla="*/ 3641725 w 8802688"/>
              <a:gd name="connsiteY714" fmla="*/ 5238750 h 6677025"/>
              <a:gd name="connsiteX715" fmla="*/ 3629025 w 8802688"/>
              <a:gd name="connsiteY715" fmla="*/ 5265738 h 6677025"/>
              <a:gd name="connsiteX716" fmla="*/ 3614738 w 8802688"/>
              <a:gd name="connsiteY716" fmla="*/ 5286375 h 6677025"/>
              <a:gd name="connsiteX717" fmla="*/ 3600450 w 8802688"/>
              <a:gd name="connsiteY717" fmla="*/ 5307013 h 6677025"/>
              <a:gd name="connsiteX718" fmla="*/ 3581400 w 8802688"/>
              <a:gd name="connsiteY718" fmla="*/ 5324475 h 6677025"/>
              <a:gd name="connsiteX719" fmla="*/ 3567113 w 8802688"/>
              <a:gd name="connsiteY719" fmla="*/ 5340350 h 6677025"/>
              <a:gd name="connsiteX720" fmla="*/ 3549650 w 8802688"/>
              <a:gd name="connsiteY720" fmla="*/ 5354638 h 6677025"/>
              <a:gd name="connsiteX721" fmla="*/ 3529013 w 8802688"/>
              <a:gd name="connsiteY721" fmla="*/ 5365750 h 6677025"/>
              <a:gd name="connsiteX722" fmla="*/ 3489325 w 8802688"/>
              <a:gd name="connsiteY722" fmla="*/ 5386388 h 6677025"/>
              <a:gd name="connsiteX723" fmla="*/ 3451225 w 8802688"/>
              <a:gd name="connsiteY723" fmla="*/ 5402263 h 6677025"/>
              <a:gd name="connsiteX724" fmla="*/ 3406775 w 8802688"/>
              <a:gd name="connsiteY724" fmla="*/ 5413375 h 6677025"/>
              <a:gd name="connsiteX725" fmla="*/ 3365500 w 8802688"/>
              <a:gd name="connsiteY725" fmla="*/ 5419725 h 6677025"/>
              <a:gd name="connsiteX726" fmla="*/ 3321050 w 8802688"/>
              <a:gd name="connsiteY726" fmla="*/ 5422900 h 6677025"/>
              <a:gd name="connsiteX727" fmla="*/ 3273425 w 8802688"/>
              <a:gd name="connsiteY727" fmla="*/ 5422900 h 6677025"/>
              <a:gd name="connsiteX728" fmla="*/ 3182938 w 8802688"/>
              <a:gd name="connsiteY728" fmla="*/ 5419725 h 6677025"/>
              <a:gd name="connsiteX729" fmla="*/ 3097213 w 8802688"/>
              <a:gd name="connsiteY729" fmla="*/ 5416550 h 6677025"/>
              <a:gd name="connsiteX730" fmla="*/ 2838450 w 8802688"/>
              <a:gd name="connsiteY730" fmla="*/ 5416550 h 6677025"/>
              <a:gd name="connsiteX731" fmla="*/ 2770188 w 8802688"/>
              <a:gd name="connsiteY731" fmla="*/ 5416550 h 6677025"/>
              <a:gd name="connsiteX732" fmla="*/ 2708275 w 8802688"/>
              <a:gd name="connsiteY732" fmla="*/ 5413375 h 6677025"/>
              <a:gd name="connsiteX733" fmla="*/ 2678113 w 8802688"/>
              <a:gd name="connsiteY733" fmla="*/ 5408613 h 6677025"/>
              <a:gd name="connsiteX734" fmla="*/ 2647950 w 8802688"/>
              <a:gd name="connsiteY734" fmla="*/ 5402263 h 6677025"/>
              <a:gd name="connsiteX735" fmla="*/ 2622550 w 8802688"/>
              <a:gd name="connsiteY735" fmla="*/ 5395913 h 6677025"/>
              <a:gd name="connsiteX736" fmla="*/ 2598738 w 8802688"/>
              <a:gd name="connsiteY736" fmla="*/ 5384800 h 6677025"/>
              <a:gd name="connsiteX737" fmla="*/ 2574925 w 8802688"/>
              <a:gd name="connsiteY737" fmla="*/ 5368925 h 6677025"/>
              <a:gd name="connsiteX738" fmla="*/ 2554288 w 8802688"/>
              <a:gd name="connsiteY738" fmla="*/ 5354638 h 6677025"/>
              <a:gd name="connsiteX739" fmla="*/ 2532063 w 8802688"/>
              <a:gd name="connsiteY739" fmla="*/ 5330825 h 6677025"/>
              <a:gd name="connsiteX740" fmla="*/ 2514600 w 8802688"/>
              <a:gd name="connsiteY740" fmla="*/ 5307013 h 6677025"/>
              <a:gd name="connsiteX741" fmla="*/ 2500313 w 8802688"/>
              <a:gd name="connsiteY741" fmla="*/ 5276850 h 6677025"/>
              <a:gd name="connsiteX742" fmla="*/ 2484438 w 8802688"/>
              <a:gd name="connsiteY742" fmla="*/ 5241925 h 6677025"/>
              <a:gd name="connsiteX743" fmla="*/ 2476500 w 8802688"/>
              <a:gd name="connsiteY743" fmla="*/ 5202238 h 6677025"/>
              <a:gd name="connsiteX744" fmla="*/ 2466975 w 8802688"/>
              <a:gd name="connsiteY744" fmla="*/ 5154613 h 6677025"/>
              <a:gd name="connsiteX745" fmla="*/ 2466975 w 8802688"/>
              <a:gd name="connsiteY745" fmla="*/ 5229225 h 6677025"/>
              <a:gd name="connsiteX746" fmla="*/ 2466975 w 8802688"/>
              <a:gd name="connsiteY746" fmla="*/ 5341938 h 6677025"/>
              <a:gd name="connsiteX747" fmla="*/ 2466975 w 8802688"/>
              <a:gd name="connsiteY747" fmla="*/ 5440363 h 6677025"/>
              <a:gd name="connsiteX748" fmla="*/ 2463800 w 8802688"/>
              <a:gd name="connsiteY748" fmla="*/ 5538788 h 6677025"/>
              <a:gd name="connsiteX749" fmla="*/ 2459038 w 8802688"/>
              <a:gd name="connsiteY749" fmla="*/ 5634038 h 6677025"/>
              <a:gd name="connsiteX750" fmla="*/ 2452688 w 8802688"/>
              <a:gd name="connsiteY750" fmla="*/ 5681663 h 6677025"/>
              <a:gd name="connsiteX751" fmla="*/ 2443163 w 8802688"/>
              <a:gd name="connsiteY751" fmla="*/ 5729288 h 6677025"/>
              <a:gd name="connsiteX752" fmla="*/ 2435225 w 8802688"/>
              <a:gd name="connsiteY752" fmla="*/ 5776913 h 6677025"/>
              <a:gd name="connsiteX753" fmla="*/ 2422525 w 8802688"/>
              <a:gd name="connsiteY753" fmla="*/ 5824538 h 6677025"/>
              <a:gd name="connsiteX754" fmla="*/ 2408238 w 8802688"/>
              <a:gd name="connsiteY754" fmla="*/ 5868988 h 6677025"/>
              <a:gd name="connsiteX755" fmla="*/ 2390775 w 8802688"/>
              <a:gd name="connsiteY755" fmla="*/ 5916613 h 6677025"/>
              <a:gd name="connsiteX756" fmla="*/ 2368550 w 8802688"/>
              <a:gd name="connsiteY756" fmla="*/ 5961063 h 6677025"/>
              <a:gd name="connsiteX757" fmla="*/ 2343150 w 8802688"/>
              <a:gd name="connsiteY757" fmla="*/ 6002338 h 6677025"/>
              <a:gd name="connsiteX758" fmla="*/ 2316163 w 8802688"/>
              <a:gd name="connsiteY758" fmla="*/ 6046788 h 6677025"/>
              <a:gd name="connsiteX759" fmla="*/ 2282825 w 8802688"/>
              <a:gd name="connsiteY759" fmla="*/ 6088063 h 6677025"/>
              <a:gd name="connsiteX760" fmla="*/ 2268538 w 8802688"/>
              <a:gd name="connsiteY760" fmla="*/ 6103938 h 6677025"/>
              <a:gd name="connsiteX761" fmla="*/ 2255838 w 8802688"/>
              <a:gd name="connsiteY761" fmla="*/ 6121400 h 6677025"/>
              <a:gd name="connsiteX762" fmla="*/ 2238375 w 8802688"/>
              <a:gd name="connsiteY762" fmla="*/ 6156325 h 6677025"/>
              <a:gd name="connsiteX763" fmla="*/ 2224088 w 8802688"/>
              <a:gd name="connsiteY763" fmla="*/ 6199188 h 6677025"/>
              <a:gd name="connsiteX764" fmla="*/ 2211388 w 8802688"/>
              <a:gd name="connsiteY764" fmla="*/ 6243638 h 6677025"/>
              <a:gd name="connsiteX765" fmla="*/ 2193925 w 8802688"/>
              <a:gd name="connsiteY765" fmla="*/ 6335713 h 6677025"/>
              <a:gd name="connsiteX766" fmla="*/ 2181225 w 8802688"/>
              <a:gd name="connsiteY766" fmla="*/ 6383338 h 6677025"/>
              <a:gd name="connsiteX767" fmla="*/ 2170113 w 8802688"/>
              <a:gd name="connsiteY767" fmla="*/ 6424613 h 6677025"/>
              <a:gd name="connsiteX768" fmla="*/ 2166938 w 8802688"/>
              <a:gd name="connsiteY768" fmla="*/ 6442075 h 6677025"/>
              <a:gd name="connsiteX769" fmla="*/ 2157413 w 8802688"/>
              <a:gd name="connsiteY769" fmla="*/ 6459538 h 6677025"/>
              <a:gd name="connsiteX770" fmla="*/ 2143125 w 8802688"/>
              <a:gd name="connsiteY770" fmla="*/ 6478588 h 6677025"/>
              <a:gd name="connsiteX771" fmla="*/ 2125663 w 8802688"/>
              <a:gd name="connsiteY771" fmla="*/ 6496050 h 6677025"/>
              <a:gd name="connsiteX772" fmla="*/ 2101850 w 8802688"/>
              <a:gd name="connsiteY772" fmla="*/ 6510338 h 6677025"/>
              <a:gd name="connsiteX773" fmla="*/ 2078038 w 8802688"/>
              <a:gd name="connsiteY773" fmla="*/ 6526213 h 6677025"/>
              <a:gd name="connsiteX774" fmla="*/ 2051050 w 8802688"/>
              <a:gd name="connsiteY774" fmla="*/ 6534150 h 6677025"/>
              <a:gd name="connsiteX775" fmla="*/ 2020888 w 8802688"/>
              <a:gd name="connsiteY775" fmla="*/ 6537325 h 6677025"/>
              <a:gd name="connsiteX776" fmla="*/ 1828800 w 8802688"/>
              <a:gd name="connsiteY776" fmla="*/ 6507163 h 6677025"/>
              <a:gd name="connsiteX777" fmla="*/ 1628775 w 8802688"/>
              <a:gd name="connsiteY777" fmla="*/ 6478588 h 6677025"/>
              <a:gd name="connsiteX778" fmla="*/ 1525588 w 8802688"/>
              <a:gd name="connsiteY778" fmla="*/ 6457950 h 6677025"/>
              <a:gd name="connsiteX779" fmla="*/ 1420813 w 8802688"/>
              <a:gd name="connsiteY779" fmla="*/ 6435725 h 6677025"/>
              <a:gd name="connsiteX780" fmla="*/ 1316038 w 8802688"/>
              <a:gd name="connsiteY780" fmla="*/ 6415088 h 6677025"/>
              <a:gd name="connsiteX781" fmla="*/ 1206500 w 8802688"/>
              <a:gd name="connsiteY781" fmla="*/ 6389688 h 6677025"/>
              <a:gd name="connsiteX782" fmla="*/ 1168400 w 8802688"/>
              <a:gd name="connsiteY782" fmla="*/ 6370638 h 6677025"/>
              <a:gd name="connsiteX783" fmla="*/ 1150938 w 8802688"/>
              <a:gd name="connsiteY783" fmla="*/ 6362700 h 6677025"/>
              <a:gd name="connsiteX784" fmla="*/ 1135063 w 8802688"/>
              <a:gd name="connsiteY784" fmla="*/ 6353175 h 6677025"/>
              <a:gd name="connsiteX785" fmla="*/ 1123950 w 8802688"/>
              <a:gd name="connsiteY785" fmla="*/ 6342063 h 6677025"/>
              <a:gd name="connsiteX786" fmla="*/ 1111250 w 8802688"/>
              <a:gd name="connsiteY786" fmla="*/ 6326188 h 6677025"/>
              <a:gd name="connsiteX787" fmla="*/ 1103313 w 8802688"/>
              <a:gd name="connsiteY787" fmla="*/ 6311900 h 6677025"/>
              <a:gd name="connsiteX788" fmla="*/ 1093788 w 8802688"/>
              <a:gd name="connsiteY788" fmla="*/ 6294438 h 6677025"/>
              <a:gd name="connsiteX789" fmla="*/ 1087438 w 8802688"/>
              <a:gd name="connsiteY789" fmla="*/ 6275388 h 6677025"/>
              <a:gd name="connsiteX790" fmla="*/ 1084263 w 8802688"/>
              <a:gd name="connsiteY790" fmla="*/ 6254750 h 6677025"/>
              <a:gd name="connsiteX791" fmla="*/ 1082675 w 8802688"/>
              <a:gd name="connsiteY791" fmla="*/ 6234113 h 6677025"/>
              <a:gd name="connsiteX792" fmla="*/ 1082675 w 8802688"/>
              <a:gd name="connsiteY792" fmla="*/ 6210300 h 6677025"/>
              <a:gd name="connsiteX793" fmla="*/ 1084263 w 8802688"/>
              <a:gd name="connsiteY793" fmla="*/ 6154738 h 6677025"/>
              <a:gd name="connsiteX794" fmla="*/ 1093788 w 8802688"/>
              <a:gd name="connsiteY794" fmla="*/ 6088063 h 6677025"/>
              <a:gd name="connsiteX795" fmla="*/ 1120775 w 8802688"/>
              <a:gd name="connsiteY795" fmla="*/ 6046788 h 6677025"/>
              <a:gd name="connsiteX796" fmla="*/ 1144588 w 8802688"/>
              <a:gd name="connsiteY796" fmla="*/ 5999163 h 6677025"/>
              <a:gd name="connsiteX797" fmla="*/ 1162050 w 8802688"/>
              <a:gd name="connsiteY797" fmla="*/ 5948363 h 6677025"/>
              <a:gd name="connsiteX798" fmla="*/ 1176338 w 8802688"/>
              <a:gd name="connsiteY798" fmla="*/ 5899150 h 6677025"/>
              <a:gd name="connsiteX799" fmla="*/ 1189038 w 8802688"/>
              <a:gd name="connsiteY799" fmla="*/ 5845175 h 6677025"/>
              <a:gd name="connsiteX800" fmla="*/ 1198563 w 8802688"/>
              <a:gd name="connsiteY800" fmla="*/ 5788025 h 6677025"/>
              <a:gd name="connsiteX801" fmla="*/ 1203325 w 8802688"/>
              <a:gd name="connsiteY801" fmla="*/ 5735638 h 6677025"/>
              <a:gd name="connsiteX802" fmla="*/ 1206500 w 8802688"/>
              <a:gd name="connsiteY802" fmla="*/ 5678488 h 6677025"/>
              <a:gd name="connsiteX803" fmla="*/ 1212850 w 8802688"/>
              <a:gd name="connsiteY803" fmla="*/ 5657850 h 6677025"/>
              <a:gd name="connsiteX804" fmla="*/ 1216025 w 8802688"/>
              <a:gd name="connsiteY804" fmla="*/ 5634038 h 6677025"/>
              <a:gd name="connsiteX805" fmla="*/ 1216025 w 8802688"/>
              <a:gd name="connsiteY805" fmla="*/ 5613400 h 6677025"/>
              <a:gd name="connsiteX806" fmla="*/ 1216025 w 8802688"/>
              <a:gd name="connsiteY806" fmla="*/ 5589588 h 6677025"/>
              <a:gd name="connsiteX807" fmla="*/ 1209675 w 8802688"/>
              <a:gd name="connsiteY807" fmla="*/ 5541963 h 6677025"/>
              <a:gd name="connsiteX808" fmla="*/ 1198563 w 8802688"/>
              <a:gd name="connsiteY808" fmla="*/ 5497513 h 6677025"/>
              <a:gd name="connsiteX809" fmla="*/ 1179513 w 8802688"/>
              <a:gd name="connsiteY809" fmla="*/ 5453063 h 6677025"/>
              <a:gd name="connsiteX810" fmla="*/ 1165225 w 8802688"/>
              <a:gd name="connsiteY810" fmla="*/ 5410200 h 6677025"/>
              <a:gd name="connsiteX811" fmla="*/ 1131888 w 8802688"/>
              <a:gd name="connsiteY811" fmla="*/ 5341938 h 6677025"/>
              <a:gd name="connsiteX812" fmla="*/ 1069975 w 8802688"/>
              <a:gd name="connsiteY812" fmla="*/ 5238750 h 6677025"/>
              <a:gd name="connsiteX813" fmla="*/ 1012825 w 8802688"/>
              <a:gd name="connsiteY813" fmla="*/ 5130800 h 6677025"/>
              <a:gd name="connsiteX814" fmla="*/ 957263 w 8802688"/>
              <a:gd name="connsiteY814" fmla="*/ 5027613 h 6677025"/>
              <a:gd name="connsiteX815" fmla="*/ 903288 w 8802688"/>
              <a:gd name="connsiteY815" fmla="*/ 4919663 h 6677025"/>
              <a:gd name="connsiteX816" fmla="*/ 855663 w 8802688"/>
              <a:gd name="connsiteY816" fmla="*/ 4813300 h 6677025"/>
              <a:gd name="connsiteX817" fmla="*/ 811213 w 8802688"/>
              <a:gd name="connsiteY817" fmla="*/ 4706938 h 6677025"/>
              <a:gd name="connsiteX818" fmla="*/ 769938 w 8802688"/>
              <a:gd name="connsiteY818" fmla="*/ 4598988 h 6677025"/>
              <a:gd name="connsiteX819" fmla="*/ 733425 w 8802688"/>
              <a:gd name="connsiteY819" fmla="*/ 4492625 h 6677025"/>
              <a:gd name="connsiteX820" fmla="*/ 701675 w 8802688"/>
              <a:gd name="connsiteY820" fmla="*/ 4383088 h 6677025"/>
              <a:gd name="connsiteX821" fmla="*/ 671513 w 8802688"/>
              <a:gd name="connsiteY821" fmla="*/ 4271963 h 6677025"/>
              <a:gd name="connsiteX822" fmla="*/ 647700 w 8802688"/>
              <a:gd name="connsiteY822" fmla="*/ 4162425 h 6677025"/>
              <a:gd name="connsiteX823" fmla="*/ 630238 w 8802688"/>
              <a:gd name="connsiteY823" fmla="*/ 4049713 h 6677025"/>
              <a:gd name="connsiteX824" fmla="*/ 617538 w 8802688"/>
              <a:gd name="connsiteY824" fmla="*/ 3937000 h 6677025"/>
              <a:gd name="connsiteX825" fmla="*/ 609600 w 8802688"/>
              <a:gd name="connsiteY825" fmla="*/ 3821113 h 6677025"/>
              <a:gd name="connsiteX826" fmla="*/ 609600 w 8802688"/>
              <a:gd name="connsiteY826" fmla="*/ 3705225 h 6677025"/>
              <a:gd name="connsiteX827" fmla="*/ 612775 w 8802688"/>
              <a:gd name="connsiteY827" fmla="*/ 3586163 h 6677025"/>
              <a:gd name="connsiteX828" fmla="*/ 620713 w 8802688"/>
              <a:gd name="connsiteY828" fmla="*/ 3470275 h 6677025"/>
              <a:gd name="connsiteX829" fmla="*/ 636588 w 8802688"/>
              <a:gd name="connsiteY829" fmla="*/ 3354388 h 6677025"/>
              <a:gd name="connsiteX830" fmla="*/ 657225 w 8802688"/>
              <a:gd name="connsiteY830" fmla="*/ 3243263 h 6677025"/>
              <a:gd name="connsiteX831" fmla="*/ 681038 w 8802688"/>
              <a:gd name="connsiteY831" fmla="*/ 3136900 h 6677025"/>
              <a:gd name="connsiteX832" fmla="*/ 709613 w 8802688"/>
              <a:gd name="connsiteY832" fmla="*/ 3032125 h 6677025"/>
              <a:gd name="connsiteX833" fmla="*/ 746125 w 8802688"/>
              <a:gd name="connsiteY833" fmla="*/ 2932113 h 6677025"/>
              <a:gd name="connsiteX834" fmla="*/ 784225 w 8802688"/>
              <a:gd name="connsiteY834" fmla="*/ 2833688 h 6677025"/>
              <a:gd name="connsiteX835" fmla="*/ 828675 w 8802688"/>
              <a:gd name="connsiteY835" fmla="*/ 2735263 h 6677025"/>
              <a:gd name="connsiteX836" fmla="*/ 879475 w 8802688"/>
              <a:gd name="connsiteY836" fmla="*/ 2643188 h 6677025"/>
              <a:gd name="connsiteX837" fmla="*/ 933450 w 8802688"/>
              <a:gd name="connsiteY837" fmla="*/ 2551113 h 6677025"/>
              <a:gd name="connsiteX838" fmla="*/ 992188 w 8802688"/>
              <a:gd name="connsiteY838" fmla="*/ 2465388 h 6677025"/>
              <a:gd name="connsiteX839" fmla="*/ 1055688 w 8802688"/>
              <a:gd name="connsiteY839" fmla="*/ 2379663 h 6677025"/>
              <a:gd name="connsiteX840" fmla="*/ 1123950 w 8802688"/>
              <a:gd name="connsiteY840" fmla="*/ 2295525 h 6677025"/>
              <a:gd name="connsiteX841" fmla="*/ 1195388 w 8802688"/>
              <a:gd name="connsiteY841" fmla="*/ 2212975 h 6677025"/>
              <a:gd name="connsiteX842" fmla="*/ 1271588 w 8802688"/>
              <a:gd name="connsiteY842" fmla="*/ 2132013 h 6677025"/>
              <a:gd name="connsiteX843" fmla="*/ 1355725 w 8802688"/>
              <a:gd name="connsiteY843" fmla="*/ 2054225 h 6677025"/>
              <a:gd name="connsiteX844" fmla="*/ 1423988 w 8802688"/>
              <a:gd name="connsiteY844" fmla="*/ 2001838 h 6677025"/>
              <a:gd name="connsiteX845" fmla="*/ 1495425 w 8802688"/>
              <a:gd name="connsiteY845" fmla="*/ 1951038 h 6677025"/>
              <a:gd name="connsiteX846" fmla="*/ 1566863 w 8802688"/>
              <a:gd name="connsiteY846" fmla="*/ 1900238 h 6677025"/>
              <a:gd name="connsiteX847" fmla="*/ 1641475 w 8802688"/>
              <a:gd name="connsiteY847" fmla="*/ 1855788 h 6677025"/>
              <a:gd name="connsiteX848" fmla="*/ 1714500 w 8802688"/>
              <a:gd name="connsiteY848" fmla="*/ 1814513 h 6677025"/>
              <a:gd name="connsiteX849" fmla="*/ 1789113 w 8802688"/>
              <a:gd name="connsiteY849" fmla="*/ 1774825 h 6677025"/>
              <a:gd name="connsiteX850" fmla="*/ 1866900 w 8802688"/>
              <a:gd name="connsiteY850" fmla="*/ 1739900 h 6677025"/>
              <a:gd name="connsiteX851" fmla="*/ 1944688 w 8802688"/>
              <a:gd name="connsiteY851" fmla="*/ 1703388 h 6677025"/>
              <a:gd name="connsiteX852" fmla="*/ 2020888 w 8802688"/>
              <a:gd name="connsiteY852" fmla="*/ 1671638 h 6677025"/>
              <a:gd name="connsiteX853" fmla="*/ 2101850 w 8802688"/>
              <a:gd name="connsiteY853" fmla="*/ 1641476 h 6677025"/>
              <a:gd name="connsiteX854" fmla="*/ 2184400 w 8802688"/>
              <a:gd name="connsiteY854" fmla="*/ 1614488 h 6677025"/>
              <a:gd name="connsiteX855" fmla="*/ 2268538 w 8802688"/>
              <a:gd name="connsiteY855" fmla="*/ 1587500 h 6677025"/>
              <a:gd name="connsiteX856" fmla="*/ 2351088 w 8802688"/>
              <a:gd name="connsiteY856" fmla="*/ 1562100 h 6677025"/>
              <a:gd name="connsiteX857" fmla="*/ 2436813 w 8802688"/>
              <a:gd name="connsiteY857" fmla="*/ 1538288 h 6677025"/>
              <a:gd name="connsiteX858" fmla="*/ 2616200 w 8802688"/>
              <a:gd name="connsiteY858" fmla="*/ 1492250 h 6677025"/>
              <a:gd name="connsiteX859" fmla="*/ 2725738 w 8802688"/>
              <a:gd name="connsiteY859" fmla="*/ 1492250 h 6677025"/>
              <a:gd name="connsiteX860" fmla="*/ 2654300 w 8802688"/>
              <a:gd name="connsiteY860" fmla="*/ 1590675 h 6677025"/>
              <a:gd name="connsiteX861" fmla="*/ 2582863 w 8802688"/>
              <a:gd name="connsiteY861" fmla="*/ 1682750 h 6677025"/>
              <a:gd name="connsiteX862" fmla="*/ 2435225 w 8802688"/>
              <a:gd name="connsiteY862" fmla="*/ 1866901 h 6677025"/>
              <a:gd name="connsiteX863" fmla="*/ 2363788 w 8802688"/>
              <a:gd name="connsiteY863" fmla="*/ 1958975 h 6677025"/>
              <a:gd name="connsiteX864" fmla="*/ 2295525 w 8802688"/>
              <a:gd name="connsiteY864" fmla="*/ 2052638 h 6677025"/>
              <a:gd name="connsiteX865" fmla="*/ 2228850 w 8802688"/>
              <a:gd name="connsiteY865" fmla="*/ 2144713 h 6677025"/>
              <a:gd name="connsiteX866" fmla="*/ 2200275 w 8802688"/>
              <a:gd name="connsiteY866" fmla="*/ 2192338 h 6677025"/>
              <a:gd name="connsiteX867" fmla="*/ 2170113 w 8802688"/>
              <a:gd name="connsiteY867" fmla="*/ 2241550 h 6677025"/>
              <a:gd name="connsiteX868" fmla="*/ 2089150 w 8802688"/>
              <a:gd name="connsiteY868" fmla="*/ 2355850 h 6677025"/>
              <a:gd name="connsiteX869" fmla="*/ 2047875 w 8802688"/>
              <a:gd name="connsiteY869" fmla="*/ 2411413 h 6677025"/>
              <a:gd name="connsiteX870" fmla="*/ 2012950 w 8802688"/>
              <a:gd name="connsiteY870" fmla="*/ 2471738 h 6677025"/>
              <a:gd name="connsiteX871" fmla="*/ 1979613 w 8802688"/>
              <a:gd name="connsiteY871" fmla="*/ 2530475 h 6677025"/>
              <a:gd name="connsiteX872" fmla="*/ 1952625 w 8802688"/>
              <a:gd name="connsiteY872" fmla="*/ 2592388 h 6677025"/>
              <a:gd name="connsiteX873" fmla="*/ 1928813 w 8802688"/>
              <a:gd name="connsiteY873" fmla="*/ 2659063 h 6677025"/>
              <a:gd name="connsiteX874" fmla="*/ 1917700 w 8802688"/>
              <a:gd name="connsiteY874" fmla="*/ 2693988 h 6677025"/>
              <a:gd name="connsiteX875" fmla="*/ 1911350 w 8802688"/>
              <a:gd name="connsiteY875" fmla="*/ 2727325 h 6677025"/>
              <a:gd name="connsiteX876" fmla="*/ 1893888 w 8802688"/>
              <a:gd name="connsiteY876" fmla="*/ 2776538 h 6677025"/>
              <a:gd name="connsiteX877" fmla="*/ 1881188 w 8802688"/>
              <a:gd name="connsiteY877" fmla="*/ 2824163 h 6677025"/>
              <a:gd name="connsiteX878" fmla="*/ 1873250 w 8802688"/>
              <a:gd name="connsiteY878" fmla="*/ 2868613 h 6677025"/>
              <a:gd name="connsiteX879" fmla="*/ 1873250 w 8802688"/>
              <a:gd name="connsiteY879" fmla="*/ 2916238 h 6677025"/>
              <a:gd name="connsiteX880" fmla="*/ 1876425 w 8802688"/>
              <a:gd name="connsiteY880" fmla="*/ 2962275 h 6677025"/>
              <a:gd name="connsiteX881" fmla="*/ 1881188 w 8802688"/>
              <a:gd name="connsiteY881" fmla="*/ 3006725 h 6677025"/>
              <a:gd name="connsiteX882" fmla="*/ 1893888 w 8802688"/>
              <a:gd name="connsiteY882" fmla="*/ 3048000 h 6677025"/>
              <a:gd name="connsiteX883" fmla="*/ 1905000 w 8802688"/>
              <a:gd name="connsiteY883" fmla="*/ 3092450 h 6677025"/>
              <a:gd name="connsiteX884" fmla="*/ 1924050 w 8802688"/>
              <a:gd name="connsiteY884" fmla="*/ 3133725 h 6677025"/>
              <a:gd name="connsiteX885" fmla="*/ 1944688 w 8802688"/>
              <a:gd name="connsiteY885" fmla="*/ 3171825 h 6677025"/>
              <a:gd name="connsiteX886" fmla="*/ 1965325 w 8802688"/>
              <a:gd name="connsiteY886" fmla="*/ 3214688 h 6677025"/>
              <a:gd name="connsiteX887" fmla="*/ 1989138 w 8802688"/>
              <a:gd name="connsiteY887" fmla="*/ 3252788 h 6677025"/>
              <a:gd name="connsiteX888" fmla="*/ 2041525 w 8802688"/>
              <a:gd name="connsiteY888" fmla="*/ 3327400 h 6677025"/>
              <a:gd name="connsiteX889" fmla="*/ 2095500 w 8802688"/>
              <a:gd name="connsiteY889" fmla="*/ 3398838 h 6677025"/>
              <a:gd name="connsiteX890" fmla="*/ 2149475 w 8802688"/>
              <a:gd name="connsiteY890" fmla="*/ 3470275 h 6677025"/>
              <a:gd name="connsiteX891" fmla="*/ 2197100 w 8802688"/>
              <a:gd name="connsiteY891" fmla="*/ 3541713 h 6677025"/>
              <a:gd name="connsiteX892" fmla="*/ 2217738 w 8802688"/>
              <a:gd name="connsiteY892" fmla="*/ 3576638 h 6677025"/>
              <a:gd name="connsiteX893" fmla="*/ 2238375 w 8802688"/>
              <a:gd name="connsiteY893" fmla="*/ 3613150 h 6677025"/>
              <a:gd name="connsiteX894" fmla="*/ 2252663 w 8802688"/>
              <a:gd name="connsiteY894" fmla="*/ 3648075 h 6677025"/>
              <a:gd name="connsiteX895" fmla="*/ 2268538 w 8802688"/>
              <a:gd name="connsiteY895" fmla="*/ 3684588 h 6677025"/>
              <a:gd name="connsiteX896" fmla="*/ 2279650 w 8802688"/>
              <a:gd name="connsiteY896" fmla="*/ 3722688 h 6677025"/>
              <a:gd name="connsiteX897" fmla="*/ 2286000 w 8802688"/>
              <a:gd name="connsiteY897" fmla="*/ 3757613 h 6677025"/>
              <a:gd name="connsiteX898" fmla="*/ 2289175 w 8802688"/>
              <a:gd name="connsiteY898" fmla="*/ 3797300 h 6677025"/>
              <a:gd name="connsiteX899" fmla="*/ 2289175 w 8802688"/>
              <a:gd name="connsiteY899" fmla="*/ 3835400 h 6677025"/>
              <a:gd name="connsiteX900" fmla="*/ 2286000 w 8802688"/>
              <a:gd name="connsiteY900" fmla="*/ 3873500 h 6677025"/>
              <a:gd name="connsiteX901" fmla="*/ 2276475 w 8802688"/>
              <a:gd name="connsiteY901" fmla="*/ 3916363 h 6677025"/>
              <a:gd name="connsiteX902" fmla="*/ 2262188 w 8802688"/>
              <a:gd name="connsiteY902" fmla="*/ 3954463 h 6677025"/>
              <a:gd name="connsiteX903" fmla="*/ 2244725 w 8802688"/>
              <a:gd name="connsiteY903" fmla="*/ 3995738 h 6677025"/>
              <a:gd name="connsiteX904" fmla="*/ 2232025 w 8802688"/>
              <a:gd name="connsiteY904" fmla="*/ 4013200 h 6677025"/>
              <a:gd name="connsiteX905" fmla="*/ 2224088 w 8802688"/>
              <a:gd name="connsiteY905" fmla="*/ 4037013 h 6677025"/>
              <a:gd name="connsiteX906" fmla="*/ 2217738 w 8802688"/>
              <a:gd name="connsiteY906" fmla="*/ 4064000 h 6677025"/>
              <a:gd name="connsiteX907" fmla="*/ 2217738 w 8802688"/>
              <a:gd name="connsiteY907" fmla="*/ 4090988 h 6677025"/>
              <a:gd name="connsiteX908" fmla="*/ 2217738 w 8802688"/>
              <a:gd name="connsiteY908" fmla="*/ 4117975 h 6677025"/>
              <a:gd name="connsiteX909" fmla="*/ 2224088 w 8802688"/>
              <a:gd name="connsiteY909" fmla="*/ 4144963 h 6677025"/>
              <a:gd name="connsiteX910" fmla="*/ 2232025 w 8802688"/>
              <a:gd name="connsiteY910" fmla="*/ 4168775 h 6677025"/>
              <a:gd name="connsiteX911" fmla="*/ 2244725 w 8802688"/>
              <a:gd name="connsiteY911" fmla="*/ 4183063 h 6677025"/>
              <a:gd name="connsiteX912" fmla="*/ 2306638 w 8802688"/>
              <a:gd name="connsiteY912" fmla="*/ 4251325 h 6677025"/>
              <a:gd name="connsiteX913" fmla="*/ 2368550 w 8802688"/>
              <a:gd name="connsiteY913" fmla="*/ 4313238 h 6677025"/>
              <a:gd name="connsiteX914" fmla="*/ 2435225 w 8802688"/>
              <a:gd name="connsiteY914" fmla="*/ 4373563 h 6677025"/>
              <a:gd name="connsiteX915" fmla="*/ 2497138 w 8802688"/>
              <a:gd name="connsiteY915" fmla="*/ 4424363 h 6677025"/>
              <a:gd name="connsiteX916" fmla="*/ 2562225 w 8802688"/>
              <a:gd name="connsiteY916" fmla="*/ 4471988 h 6677025"/>
              <a:gd name="connsiteX917" fmla="*/ 2627313 w 8802688"/>
              <a:gd name="connsiteY917" fmla="*/ 4510088 h 6677025"/>
              <a:gd name="connsiteX918" fmla="*/ 2660650 w 8802688"/>
              <a:gd name="connsiteY918" fmla="*/ 4527550 h 6677025"/>
              <a:gd name="connsiteX919" fmla="*/ 2695575 w 8802688"/>
              <a:gd name="connsiteY919" fmla="*/ 4543425 h 6677025"/>
              <a:gd name="connsiteX920" fmla="*/ 2728913 w 8802688"/>
              <a:gd name="connsiteY920" fmla="*/ 4554538 h 6677025"/>
              <a:gd name="connsiteX921" fmla="*/ 2763838 w 8802688"/>
              <a:gd name="connsiteY921" fmla="*/ 4567238 h 6677025"/>
              <a:gd name="connsiteX922" fmla="*/ 2800350 w 8802688"/>
              <a:gd name="connsiteY922" fmla="*/ 4575175 h 6677025"/>
              <a:gd name="connsiteX923" fmla="*/ 2835275 w 8802688"/>
              <a:gd name="connsiteY923" fmla="*/ 4584700 h 6677025"/>
              <a:gd name="connsiteX924" fmla="*/ 2871788 w 8802688"/>
              <a:gd name="connsiteY924" fmla="*/ 4591050 h 6677025"/>
              <a:gd name="connsiteX925" fmla="*/ 2906713 w 8802688"/>
              <a:gd name="connsiteY925" fmla="*/ 4594225 h 6677025"/>
              <a:gd name="connsiteX926" fmla="*/ 2943225 w 8802688"/>
              <a:gd name="connsiteY926" fmla="*/ 4594225 h 6677025"/>
              <a:gd name="connsiteX927" fmla="*/ 2981325 w 8802688"/>
              <a:gd name="connsiteY927" fmla="*/ 4594225 h 6677025"/>
              <a:gd name="connsiteX928" fmla="*/ 3021013 w 8802688"/>
              <a:gd name="connsiteY928" fmla="*/ 4591050 h 6677025"/>
              <a:gd name="connsiteX929" fmla="*/ 3059113 w 8802688"/>
              <a:gd name="connsiteY929" fmla="*/ 4584700 h 6677025"/>
              <a:gd name="connsiteX930" fmla="*/ 3097213 w 8802688"/>
              <a:gd name="connsiteY930" fmla="*/ 4575175 h 6677025"/>
              <a:gd name="connsiteX931" fmla="*/ 3138488 w 8802688"/>
              <a:gd name="connsiteY931" fmla="*/ 4564063 h 6677025"/>
              <a:gd name="connsiteX932" fmla="*/ 3178175 w 8802688"/>
              <a:gd name="connsiteY932" fmla="*/ 4551363 h 6677025"/>
              <a:gd name="connsiteX933" fmla="*/ 3219450 w 8802688"/>
              <a:gd name="connsiteY933" fmla="*/ 4537075 h 6677025"/>
              <a:gd name="connsiteX934" fmla="*/ 3263900 w 8802688"/>
              <a:gd name="connsiteY934" fmla="*/ 4516438 h 6677025"/>
              <a:gd name="connsiteX935" fmla="*/ 3305175 w 8802688"/>
              <a:gd name="connsiteY935" fmla="*/ 4495800 h 6677025"/>
              <a:gd name="connsiteX936" fmla="*/ 3349625 w 8802688"/>
              <a:gd name="connsiteY936" fmla="*/ 4471988 h 6677025"/>
              <a:gd name="connsiteX937" fmla="*/ 3394075 w 8802688"/>
              <a:gd name="connsiteY937" fmla="*/ 4445000 h 6677025"/>
              <a:gd name="connsiteX938" fmla="*/ 3617913 w 8802688"/>
              <a:gd name="connsiteY938" fmla="*/ 4329113 h 6677025"/>
              <a:gd name="connsiteX939" fmla="*/ 3730625 w 8802688"/>
              <a:gd name="connsiteY939" fmla="*/ 4271963 h 6677025"/>
              <a:gd name="connsiteX940" fmla="*/ 3843338 w 8802688"/>
              <a:gd name="connsiteY940" fmla="*/ 4216400 h 6677025"/>
              <a:gd name="connsiteX941" fmla="*/ 3959225 w 8802688"/>
              <a:gd name="connsiteY941" fmla="*/ 4168775 h 6677025"/>
              <a:gd name="connsiteX942" fmla="*/ 4019550 w 8802688"/>
              <a:gd name="connsiteY942" fmla="*/ 4144963 h 6677025"/>
              <a:gd name="connsiteX943" fmla="*/ 4078288 w 8802688"/>
              <a:gd name="connsiteY943" fmla="*/ 4124325 h 6677025"/>
              <a:gd name="connsiteX944" fmla="*/ 4138613 w 8802688"/>
              <a:gd name="connsiteY944" fmla="*/ 4108450 h 6677025"/>
              <a:gd name="connsiteX945" fmla="*/ 4197350 w 8802688"/>
              <a:gd name="connsiteY945" fmla="*/ 4094163 h 6677025"/>
              <a:gd name="connsiteX946" fmla="*/ 4259263 w 8802688"/>
              <a:gd name="connsiteY946" fmla="*/ 4081463 h 6677025"/>
              <a:gd name="connsiteX947" fmla="*/ 4322763 w 8802688"/>
              <a:gd name="connsiteY947" fmla="*/ 4073525 h 6677025"/>
              <a:gd name="connsiteX948" fmla="*/ 4337050 w 8802688"/>
              <a:gd name="connsiteY948" fmla="*/ 4067175 h 6677025"/>
              <a:gd name="connsiteX949" fmla="*/ 4354513 w 8802688"/>
              <a:gd name="connsiteY949" fmla="*/ 4057650 h 6677025"/>
              <a:gd name="connsiteX950" fmla="*/ 4375150 w 8802688"/>
              <a:gd name="connsiteY950" fmla="*/ 4043363 h 6677025"/>
              <a:gd name="connsiteX951" fmla="*/ 4397375 w 8802688"/>
              <a:gd name="connsiteY951" fmla="*/ 4025900 h 6677025"/>
              <a:gd name="connsiteX952" fmla="*/ 4418013 w 8802688"/>
              <a:gd name="connsiteY952" fmla="*/ 4002088 h 6677025"/>
              <a:gd name="connsiteX953" fmla="*/ 4438650 w 8802688"/>
              <a:gd name="connsiteY953" fmla="*/ 3978275 h 6677025"/>
              <a:gd name="connsiteX954" fmla="*/ 4456113 w 8802688"/>
              <a:gd name="connsiteY954" fmla="*/ 3951288 h 6677025"/>
              <a:gd name="connsiteX955" fmla="*/ 4470400 w 8802688"/>
              <a:gd name="connsiteY955" fmla="*/ 3921125 h 6677025"/>
              <a:gd name="connsiteX956" fmla="*/ 4497388 w 8802688"/>
              <a:gd name="connsiteY956" fmla="*/ 3844925 h 6677025"/>
              <a:gd name="connsiteX957" fmla="*/ 4518025 w 8802688"/>
              <a:gd name="connsiteY957" fmla="*/ 3767138 h 6677025"/>
              <a:gd name="connsiteX958" fmla="*/ 4537075 w 8802688"/>
              <a:gd name="connsiteY958" fmla="*/ 3689350 h 6677025"/>
              <a:gd name="connsiteX959" fmla="*/ 4548188 w 8802688"/>
              <a:gd name="connsiteY959" fmla="*/ 3613150 h 6677025"/>
              <a:gd name="connsiteX960" fmla="*/ 4560888 w 8802688"/>
              <a:gd name="connsiteY960" fmla="*/ 3535363 h 6677025"/>
              <a:gd name="connsiteX961" fmla="*/ 4565650 w 8802688"/>
              <a:gd name="connsiteY961" fmla="*/ 3457575 h 6677025"/>
              <a:gd name="connsiteX962" fmla="*/ 4572000 w 8802688"/>
              <a:gd name="connsiteY962" fmla="*/ 3381375 h 6677025"/>
              <a:gd name="connsiteX963" fmla="*/ 4572000 w 8802688"/>
              <a:gd name="connsiteY963" fmla="*/ 3300413 h 6677025"/>
              <a:gd name="connsiteX964" fmla="*/ 4572000 w 8802688"/>
              <a:gd name="connsiteY964" fmla="*/ 3222625 h 6677025"/>
              <a:gd name="connsiteX965" fmla="*/ 4568825 w 8802688"/>
              <a:gd name="connsiteY965" fmla="*/ 3143250 h 6677025"/>
              <a:gd name="connsiteX966" fmla="*/ 4562475 w 8802688"/>
              <a:gd name="connsiteY966" fmla="*/ 3062288 h 6677025"/>
              <a:gd name="connsiteX967" fmla="*/ 4554538 w 8802688"/>
              <a:gd name="connsiteY967" fmla="*/ 2982913 h 6677025"/>
              <a:gd name="connsiteX968" fmla="*/ 4533900 w 8802688"/>
              <a:gd name="connsiteY968" fmla="*/ 2819400 h 6677025"/>
              <a:gd name="connsiteX969" fmla="*/ 4506913 w 8802688"/>
              <a:gd name="connsiteY969" fmla="*/ 2652713 h 6677025"/>
              <a:gd name="connsiteX970" fmla="*/ 4479925 w 8802688"/>
              <a:gd name="connsiteY970" fmla="*/ 2476500 h 6677025"/>
              <a:gd name="connsiteX971" fmla="*/ 4446588 w 8802688"/>
              <a:gd name="connsiteY971" fmla="*/ 2292351 h 6677025"/>
              <a:gd name="connsiteX972" fmla="*/ 4429125 w 8802688"/>
              <a:gd name="connsiteY972" fmla="*/ 2197100 h 6677025"/>
              <a:gd name="connsiteX973" fmla="*/ 4408488 w 8802688"/>
              <a:gd name="connsiteY973" fmla="*/ 2098675 h 6677025"/>
              <a:gd name="connsiteX974" fmla="*/ 4384675 w 8802688"/>
              <a:gd name="connsiteY974" fmla="*/ 2005013 h 6677025"/>
              <a:gd name="connsiteX975" fmla="*/ 4360863 w 8802688"/>
              <a:gd name="connsiteY975" fmla="*/ 1906588 h 6677025"/>
              <a:gd name="connsiteX976" fmla="*/ 4360863 w 8802688"/>
              <a:gd name="connsiteY976" fmla="*/ 2765425 h 6677025"/>
              <a:gd name="connsiteX977" fmla="*/ 4360863 w 8802688"/>
              <a:gd name="connsiteY977" fmla="*/ 3698875 h 6677025"/>
              <a:gd name="connsiteX978" fmla="*/ 4357688 w 8802688"/>
              <a:gd name="connsiteY978" fmla="*/ 3725863 h 6677025"/>
              <a:gd name="connsiteX979" fmla="*/ 4354513 w 8802688"/>
              <a:gd name="connsiteY979" fmla="*/ 3752850 h 6677025"/>
              <a:gd name="connsiteX980" fmla="*/ 4349750 w 8802688"/>
              <a:gd name="connsiteY980" fmla="*/ 3776663 h 6677025"/>
              <a:gd name="connsiteX981" fmla="*/ 4340225 w 8802688"/>
              <a:gd name="connsiteY981" fmla="*/ 3797300 h 6677025"/>
              <a:gd name="connsiteX982" fmla="*/ 4327525 w 8802688"/>
              <a:gd name="connsiteY982" fmla="*/ 3817938 h 6677025"/>
              <a:gd name="connsiteX983" fmla="*/ 4316413 w 8802688"/>
              <a:gd name="connsiteY983" fmla="*/ 3838575 h 6677025"/>
              <a:gd name="connsiteX984" fmla="*/ 4302125 w 8802688"/>
              <a:gd name="connsiteY984" fmla="*/ 3856038 h 6677025"/>
              <a:gd name="connsiteX985" fmla="*/ 4286250 w 8802688"/>
              <a:gd name="connsiteY985" fmla="*/ 3870325 h 6677025"/>
              <a:gd name="connsiteX986" fmla="*/ 4265613 w 8802688"/>
              <a:gd name="connsiteY986" fmla="*/ 3886200 h 6677025"/>
              <a:gd name="connsiteX987" fmla="*/ 4248150 w 8802688"/>
              <a:gd name="connsiteY987" fmla="*/ 3900488 h 6677025"/>
              <a:gd name="connsiteX988" fmla="*/ 4203700 w 8802688"/>
              <a:gd name="connsiteY988" fmla="*/ 3924300 h 6677025"/>
              <a:gd name="connsiteX989" fmla="*/ 4152900 w 8802688"/>
              <a:gd name="connsiteY989" fmla="*/ 3944938 h 6677025"/>
              <a:gd name="connsiteX990" fmla="*/ 4098925 w 8802688"/>
              <a:gd name="connsiteY990" fmla="*/ 3960813 h 6677025"/>
              <a:gd name="connsiteX991" fmla="*/ 4000500 w 8802688"/>
              <a:gd name="connsiteY991" fmla="*/ 3989388 h 6677025"/>
              <a:gd name="connsiteX992" fmla="*/ 3906838 w 8802688"/>
              <a:gd name="connsiteY992" fmla="*/ 4022725 h 6677025"/>
              <a:gd name="connsiteX993" fmla="*/ 3811588 w 8802688"/>
              <a:gd name="connsiteY993" fmla="*/ 4057650 h 6677025"/>
              <a:gd name="connsiteX994" fmla="*/ 3716338 w 8802688"/>
              <a:gd name="connsiteY994" fmla="*/ 4100513 h 6677025"/>
              <a:gd name="connsiteX995" fmla="*/ 3621088 w 8802688"/>
              <a:gd name="connsiteY995" fmla="*/ 4144963 h 6677025"/>
              <a:gd name="connsiteX996" fmla="*/ 3532188 w 8802688"/>
              <a:gd name="connsiteY996" fmla="*/ 4192588 h 6677025"/>
              <a:gd name="connsiteX997" fmla="*/ 3441700 w 8802688"/>
              <a:gd name="connsiteY997" fmla="*/ 4243388 h 6677025"/>
              <a:gd name="connsiteX998" fmla="*/ 3359150 w 8802688"/>
              <a:gd name="connsiteY998" fmla="*/ 4295775 h 6677025"/>
              <a:gd name="connsiteX999" fmla="*/ 3287713 w 8802688"/>
              <a:gd name="connsiteY999" fmla="*/ 4329113 h 6677025"/>
              <a:gd name="connsiteX1000" fmla="*/ 3222625 w 8802688"/>
              <a:gd name="connsiteY1000" fmla="*/ 4359275 h 6677025"/>
              <a:gd name="connsiteX1001" fmla="*/ 3157538 w 8802688"/>
              <a:gd name="connsiteY1001" fmla="*/ 4379913 h 6677025"/>
              <a:gd name="connsiteX1002" fmla="*/ 3094038 w 8802688"/>
              <a:gd name="connsiteY1002" fmla="*/ 4400550 h 6677025"/>
              <a:gd name="connsiteX1003" fmla="*/ 3032125 w 8802688"/>
              <a:gd name="connsiteY1003" fmla="*/ 4411663 h 6677025"/>
              <a:gd name="connsiteX1004" fmla="*/ 2973388 w 8802688"/>
              <a:gd name="connsiteY1004" fmla="*/ 4421188 h 6677025"/>
              <a:gd name="connsiteX1005" fmla="*/ 2913063 w 8802688"/>
              <a:gd name="connsiteY1005" fmla="*/ 4421188 h 6677025"/>
              <a:gd name="connsiteX1006" fmla="*/ 2857500 w 8802688"/>
              <a:gd name="connsiteY1006" fmla="*/ 4418013 h 6677025"/>
              <a:gd name="connsiteX1007" fmla="*/ 2803525 w 8802688"/>
              <a:gd name="connsiteY1007" fmla="*/ 4406900 h 6677025"/>
              <a:gd name="connsiteX1008" fmla="*/ 2749550 w 8802688"/>
              <a:gd name="connsiteY1008" fmla="*/ 4391025 h 6677025"/>
              <a:gd name="connsiteX1009" fmla="*/ 2698750 w 8802688"/>
              <a:gd name="connsiteY1009" fmla="*/ 4367213 h 6677025"/>
              <a:gd name="connsiteX1010" fmla="*/ 2647950 w 8802688"/>
              <a:gd name="connsiteY1010" fmla="*/ 4337050 h 6677025"/>
              <a:gd name="connsiteX1011" fmla="*/ 2600325 w 8802688"/>
              <a:gd name="connsiteY1011" fmla="*/ 4302125 h 6677025"/>
              <a:gd name="connsiteX1012" fmla="*/ 2554288 w 8802688"/>
              <a:gd name="connsiteY1012" fmla="*/ 4257675 h 6677025"/>
              <a:gd name="connsiteX1013" fmla="*/ 2508250 w 8802688"/>
              <a:gd name="connsiteY1013" fmla="*/ 4206875 h 6677025"/>
              <a:gd name="connsiteX1014" fmla="*/ 2466975 w 8802688"/>
              <a:gd name="connsiteY1014" fmla="*/ 4148138 h 6677025"/>
              <a:gd name="connsiteX1015" fmla="*/ 2452688 w 8802688"/>
              <a:gd name="connsiteY1015" fmla="*/ 4117975 h 6677025"/>
              <a:gd name="connsiteX1016" fmla="*/ 2439988 w 8802688"/>
              <a:gd name="connsiteY1016" fmla="*/ 4084638 h 6677025"/>
              <a:gd name="connsiteX1017" fmla="*/ 2428875 w 8802688"/>
              <a:gd name="connsiteY1017" fmla="*/ 4049713 h 6677025"/>
              <a:gd name="connsiteX1018" fmla="*/ 2419350 w 8802688"/>
              <a:gd name="connsiteY1018" fmla="*/ 4016375 h 6677025"/>
              <a:gd name="connsiteX1019" fmla="*/ 2416175 w 8802688"/>
              <a:gd name="connsiteY1019" fmla="*/ 3981450 h 6677025"/>
              <a:gd name="connsiteX1020" fmla="*/ 2416175 w 8802688"/>
              <a:gd name="connsiteY1020" fmla="*/ 3948113 h 6677025"/>
              <a:gd name="connsiteX1021" fmla="*/ 2419350 w 8802688"/>
              <a:gd name="connsiteY1021" fmla="*/ 3916363 h 6677025"/>
              <a:gd name="connsiteX1022" fmla="*/ 2425700 w 8802688"/>
              <a:gd name="connsiteY1022" fmla="*/ 3900488 h 6677025"/>
              <a:gd name="connsiteX1023" fmla="*/ 2432050 w 8802688"/>
              <a:gd name="connsiteY1023" fmla="*/ 3886200 h 6677025"/>
              <a:gd name="connsiteX1024" fmla="*/ 2446338 w 8802688"/>
              <a:gd name="connsiteY1024" fmla="*/ 3829050 h 6677025"/>
              <a:gd name="connsiteX1025" fmla="*/ 2463800 w 8802688"/>
              <a:gd name="connsiteY1025" fmla="*/ 3778250 h 6677025"/>
              <a:gd name="connsiteX1026" fmla="*/ 2484438 w 8802688"/>
              <a:gd name="connsiteY1026" fmla="*/ 3730625 h 6677025"/>
              <a:gd name="connsiteX1027" fmla="*/ 2508250 w 8802688"/>
              <a:gd name="connsiteY1027" fmla="*/ 3684588 h 6677025"/>
              <a:gd name="connsiteX1028" fmla="*/ 2535238 w 8802688"/>
              <a:gd name="connsiteY1028" fmla="*/ 3638550 h 6677025"/>
              <a:gd name="connsiteX1029" fmla="*/ 2559050 w 8802688"/>
              <a:gd name="connsiteY1029" fmla="*/ 3597275 h 6677025"/>
              <a:gd name="connsiteX1030" fmla="*/ 2616200 w 8802688"/>
              <a:gd name="connsiteY1030" fmla="*/ 3511550 h 6677025"/>
              <a:gd name="connsiteX1031" fmla="*/ 2667000 w 8802688"/>
              <a:gd name="connsiteY1031" fmla="*/ 3406775 h 6677025"/>
              <a:gd name="connsiteX1032" fmla="*/ 2705100 w 8802688"/>
              <a:gd name="connsiteY1032" fmla="*/ 3311525 h 6677025"/>
              <a:gd name="connsiteX1033" fmla="*/ 2735263 w 8802688"/>
              <a:gd name="connsiteY1033" fmla="*/ 3222625 h 6677025"/>
              <a:gd name="connsiteX1034" fmla="*/ 2763838 w 8802688"/>
              <a:gd name="connsiteY1034" fmla="*/ 3136900 h 6677025"/>
              <a:gd name="connsiteX1035" fmla="*/ 2722563 w 8802688"/>
              <a:gd name="connsiteY1035" fmla="*/ 3181350 h 6677025"/>
              <a:gd name="connsiteX1036" fmla="*/ 2681288 w 8802688"/>
              <a:gd name="connsiteY1036" fmla="*/ 3228975 h 6677025"/>
              <a:gd name="connsiteX1037" fmla="*/ 2598738 w 8802688"/>
              <a:gd name="connsiteY1037" fmla="*/ 3330575 h 6677025"/>
              <a:gd name="connsiteX1038" fmla="*/ 2514600 w 8802688"/>
              <a:gd name="connsiteY1038" fmla="*/ 3436938 h 6677025"/>
              <a:gd name="connsiteX1039" fmla="*/ 2432050 w 8802688"/>
              <a:gd name="connsiteY1039" fmla="*/ 3549650 h 6677025"/>
              <a:gd name="connsiteX1040" fmla="*/ 2374900 w 8802688"/>
              <a:gd name="connsiteY1040" fmla="*/ 3478213 h 6677025"/>
              <a:gd name="connsiteX1041" fmla="*/ 2324100 w 8802688"/>
              <a:gd name="connsiteY1041" fmla="*/ 3409950 h 6677025"/>
              <a:gd name="connsiteX1042" fmla="*/ 2276475 w 8802688"/>
              <a:gd name="connsiteY1042" fmla="*/ 3338513 h 6677025"/>
              <a:gd name="connsiteX1043" fmla="*/ 2228850 w 8802688"/>
              <a:gd name="connsiteY1043" fmla="*/ 3267075 h 6677025"/>
              <a:gd name="connsiteX1044" fmla="*/ 2143125 w 8802688"/>
              <a:gd name="connsiteY1044" fmla="*/ 3127375 h 6677025"/>
              <a:gd name="connsiteX1045" fmla="*/ 2060575 w 8802688"/>
              <a:gd name="connsiteY1045" fmla="*/ 2987675 h 6677025"/>
              <a:gd name="connsiteX1046" fmla="*/ 2047875 w 8802688"/>
              <a:gd name="connsiteY1046" fmla="*/ 2973388 h 6677025"/>
              <a:gd name="connsiteX1047" fmla="*/ 2039938 w 8802688"/>
              <a:gd name="connsiteY1047" fmla="*/ 2955925 h 6677025"/>
              <a:gd name="connsiteX1048" fmla="*/ 2030413 w 8802688"/>
              <a:gd name="connsiteY1048" fmla="*/ 2935288 h 6677025"/>
              <a:gd name="connsiteX1049" fmla="*/ 2027238 w 8802688"/>
              <a:gd name="connsiteY1049" fmla="*/ 2914650 h 6677025"/>
              <a:gd name="connsiteX1050" fmla="*/ 2020888 w 8802688"/>
              <a:gd name="connsiteY1050" fmla="*/ 2871788 h 6677025"/>
              <a:gd name="connsiteX1051" fmla="*/ 2020888 w 8802688"/>
              <a:gd name="connsiteY1051" fmla="*/ 2840038 h 6677025"/>
              <a:gd name="connsiteX1052" fmla="*/ 2063750 w 8802688"/>
              <a:gd name="connsiteY1052" fmla="*/ 2755900 h 6677025"/>
              <a:gd name="connsiteX1053" fmla="*/ 2101850 w 8802688"/>
              <a:gd name="connsiteY1053" fmla="*/ 2673350 h 6677025"/>
              <a:gd name="connsiteX1054" fmla="*/ 2176463 w 8802688"/>
              <a:gd name="connsiteY1054" fmla="*/ 2506663 h 6677025"/>
              <a:gd name="connsiteX1055" fmla="*/ 2214563 w 8802688"/>
              <a:gd name="connsiteY1055" fmla="*/ 2428875 h 6677025"/>
              <a:gd name="connsiteX1056" fmla="*/ 2255838 w 8802688"/>
              <a:gd name="connsiteY1056" fmla="*/ 2352675 h 6677025"/>
              <a:gd name="connsiteX1057" fmla="*/ 2303463 w 8802688"/>
              <a:gd name="connsiteY1057" fmla="*/ 2274888 h 6677025"/>
              <a:gd name="connsiteX1058" fmla="*/ 2330450 w 8802688"/>
              <a:gd name="connsiteY1058" fmla="*/ 2238375 h 6677025"/>
              <a:gd name="connsiteX1059" fmla="*/ 2357438 w 8802688"/>
              <a:gd name="connsiteY1059" fmla="*/ 2203450 h 6677025"/>
              <a:gd name="connsiteX1060" fmla="*/ 2482850 w 8802688"/>
              <a:gd name="connsiteY1060" fmla="*/ 2054225 h 6677025"/>
              <a:gd name="connsiteX1061" fmla="*/ 2613025 w 8802688"/>
              <a:gd name="connsiteY1061" fmla="*/ 1909763 h 6677025"/>
              <a:gd name="connsiteX1062" fmla="*/ 2743200 w 8802688"/>
              <a:gd name="connsiteY1062" fmla="*/ 1766888 h 6677025"/>
              <a:gd name="connsiteX1063" fmla="*/ 2874963 w 8802688"/>
              <a:gd name="connsiteY1063" fmla="*/ 1630363 h 6677025"/>
              <a:gd name="connsiteX1064" fmla="*/ 3138488 w 8802688"/>
              <a:gd name="connsiteY1064" fmla="*/ 1358900 h 6677025"/>
              <a:gd name="connsiteX1065" fmla="*/ 3267075 w 8802688"/>
              <a:gd name="connsiteY1065" fmla="*/ 1222376 h 6677025"/>
              <a:gd name="connsiteX1066" fmla="*/ 3394075 w 8802688"/>
              <a:gd name="connsiteY1066" fmla="*/ 1082675 h 6677025"/>
              <a:gd name="connsiteX1067" fmla="*/ 3430588 w 8802688"/>
              <a:gd name="connsiteY1067" fmla="*/ 1044576 h 6677025"/>
              <a:gd name="connsiteX1068" fmla="*/ 3468688 w 8802688"/>
              <a:gd name="connsiteY1068" fmla="*/ 1011238 h 6677025"/>
              <a:gd name="connsiteX1069" fmla="*/ 3508375 w 8802688"/>
              <a:gd name="connsiteY1069" fmla="*/ 984250 h 6677025"/>
              <a:gd name="connsiteX1070" fmla="*/ 3546475 w 8802688"/>
              <a:gd name="connsiteY1070" fmla="*/ 963613 h 6677025"/>
              <a:gd name="connsiteX1071" fmla="*/ 3587750 w 8802688"/>
              <a:gd name="connsiteY1071" fmla="*/ 946150 h 6677025"/>
              <a:gd name="connsiteX1072" fmla="*/ 3629025 w 8802688"/>
              <a:gd name="connsiteY1072" fmla="*/ 933450 h 6677025"/>
              <a:gd name="connsiteX1073" fmla="*/ 3671888 w 8802688"/>
              <a:gd name="connsiteY1073" fmla="*/ 922338 h 6677025"/>
              <a:gd name="connsiteX1074" fmla="*/ 3716338 w 8802688"/>
              <a:gd name="connsiteY1074" fmla="*/ 915988 h 6677025"/>
              <a:gd name="connsiteX1075" fmla="*/ 3802063 w 8802688"/>
              <a:gd name="connsiteY1075" fmla="*/ 904875 h 6677025"/>
              <a:gd name="connsiteX1076" fmla="*/ 3890963 w 8802688"/>
              <a:gd name="connsiteY1076" fmla="*/ 895350 h 6677025"/>
              <a:gd name="connsiteX1077" fmla="*/ 3932238 w 8802688"/>
              <a:gd name="connsiteY1077" fmla="*/ 889000 h 6677025"/>
              <a:gd name="connsiteX1078" fmla="*/ 3976688 w 8802688"/>
              <a:gd name="connsiteY1078" fmla="*/ 881063 h 6677025"/>
              <a:gd name="connsiteX1079" fmla="*/ 4022725 w 8802688"/>
              <a:gd name="connsiteY1079" fmla="*/ 871538 h 6677025"/>
              <a:gd name="connsiteX1080" fmla="*/ 4064000 w 8802688"/>
              <a:gd name="connsiteY1080" fmla="*/ 860425 h 6677025"/>
              <a:gd name="connsiteX1081" fmla="*/ 4090988 w 8802688"/>
              <a:gd name="connsiteY1081" fmla="*/ 857250 h 6677025"/>
              <a:gd name="connsiteX1082" fmla="*/ 4117975 w 8802688"/>
              <a:gd name="connsiteY1082" fmla="*/ 854075 h 6677025"/>
              <a:gd name="connsiteX1083" fmla="*/ 4143375 w 8802688"/>
              <a:gd name="connsiteY1083" fmla="*/ 844550 h 6677025"/>
              <a:gd name="connsiteX1084" fmla="*/ 4170363 w 8802688"/>
              <a:gd name="connsiteY1084" fmla="*/ 836613 h 6677025"/>
              <a:gd name="connsiteX1085" fmla="*/ 4191000 w 8802688"/>
              <a:gd name="connsiteY1085" fmla="*/ 823913 h 6677025"/>
              <a:gd name="connsiteX1086" fmla="*/ 4214813 w 8802688"/>
              <a:gd name="connsiteY1086" fmla="*/ 812801 h 6677025"/>
              <a:gd name="connsiteX1087" fmla="*/ 4233863 w 8802688"/>
              <a:gd name="connsiteY1087" fmla="*/ 796926 h 6677025"/>
              <a:gd name="connsiteX1088" fmla="*/ 4248150 w 8802688"/>
              <a:gd name="connsiteY1088" fmla="*/ 785813 h 6677025"/>
              <a:gd name="connsiteX1089" fmla="*/ 3876675 w 8802688"/>
              <a:gd name="connsiteY1089" fmla="*/ 785813 h 6677025"/>
              <a:gd name="connsiteX1090" fmla="*/ 3906838 w 8802688"/>
              <a:gd name="connsiteY1090" fmla="*/ 728663 h 6677025"/>
              <a:gd name="connsiteX1091" fmla="*/ 3938588 w 8802688"/>
              <a:gd name="connsiteY1091" fmla="*/ 677863 h 6677025"/>
              <a:gd name="connsiteX1092" fmla="*/ 3971925 w 8802688"/>
              <a:gd name="connsiteY1092" fmla="*/ 630238 h 6677025"/>
              <a:gd name="connsiteX1093" fmla="*/ 4006850 w 8802688"/>
              <a:gd name="connsiteY1093" fmla="*/ 585788 h 6677025"/>
              <a:gd name="connsiteX1094" fmla="*/ 4046538 w 8802688"/>
              <a:gd name="connsiteY1094" fmla="*/ 544513 h 6677025"/>
              <a:gd name="connsiteX1095" fmla="*/ 4084638 w 8802688"/>
              <a:gd name="connsiteY1095" fmla="*/ 506413 h 6677025"/>
              <a:gd name="connsiteX1096" fmla="*/ 4125913 w 8802688"/>
              <a:gd name="connsiteY1096" fmla="*/ 466725 h 6677025"/>
              <a:gd name="connsiteX1097" fmla="*/ 4170363 w 8802688"/>
              <a:gd name="connsiteY1097" fmla="*/ 434975 h 6677025"/>
              <a:gd name="connsiteX1098" fmla="*/ 4211638 w 8802688"/>
              <a:gd name="connsiteY1098" fmla="*/ 401638 h 6677025"/>
              <a:gd name="connsiteX1099" fmla="*/ 4259263 w 8802688"/>
              <a:gd name="connsiteY1099" fmla="*/ 373063 h 6677025"/>
              <a:gd name="connsiteX1100" fmla="*/ 4303713 w 8802688"/>
              <a:gd name="connsiteY1100" fmla="*/ 342900 h 6677025"/>
              <a:gd name="connsiteX1101" fmla="*/ 4351338 w 8802688"/>
              <a:gd name="connsiteY1101" fmla="*/ 315913 h 6677025"/>
              <a:gd name="connsiteX1102" fmla="*/ 4446588 w 8802688"/>
              <a:gd name="connsiteY1102" fmla="*/ 268288 h 6677025"/>
              <a:gd name="connsiteX1103" fmla="*/ 4545013 w 8802688"/>
              <a:gd name="connsiteY1103" fmla="*/ 223838 h 6677025"/>
              <a:gd name="connsiteX1104" fmla="*/ 4654550 w 8802688"/>
              <a:gd name="connsiteY1104" fmla="*/ 193675 h 6677025"/>
              <a:gd name="connsiteX1105" fmla="*/ 4768850 w 8802688"/>
              <a:gd name="connsiteY1105" fmla="*/ 163513 h 6677025"/>
              <a:gd name="connsiteX1106" fmla="*/ 4991101 w 8802688"/>
              <a:gd name="connsiteY1106" fmla="*/ 98425 h 6677025"/>
              <a:gd name="connsiteX1107" fmla="*/ 5100638 w 8802688"/>
              <a:gd name="connsiteY1107" fmla="*/ 69850 h 6677025"/>
              <a:gd name="connsiteX1108" fmla="*/ 5213351 w 8802688"/>
              <a:gd name="connsiteY1108" fmla="*/ 39688 h 6677025"/>
              <a:gd name="connsiteX1109" fmla="*/ 5324476 w 8802688"/>
              <a:gd name="connsiteY1109" fmla="*/ 19050 h 66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Lst>
            <a:rect l="l" t="t" r="r" b="b"/>
            <a:pathLst>
              <a:path w="8802688" h="6677025">
                <a:moveTo>
                  <a:pt x="5546725" y="4819650"/>
                </a:moveTo>
                <a:lnTo>
                  <a:pt x="5573713" y="4926013"/>
                </a:lnTo>
                <a:lnTo>
                  <a:pt x="5603875" y="5024438"/>
                </a:lnTo>
                <a:lnTo>
                  <a:pt x="5630863" y="5122863"/>
                </a:lnTo>
                <a:lnTo>
                  <a:pt x="5657850" y="5229225"/>
                </a:lnTo>
                <a:lnTo>
                  <a:pt x="5668963" y="5313363"/>
                </a:lnTo>
                <a:lnTo>
                  <a:pt x="5681663" y="5399088"/>
                </a:lnTo>
                <a:lnTo>
                  <a:pt x="5686425" y="5484813"/>
                </a:lnTo>
                <a:lnTo>
                  <a:pt x="5689600" y="5572126"/>
                </a:lnTo>
                <a:lnTo>
                  <a:pt x="5695950" y="5749926"/>
                </a:lnTo>
                <a:lnTo>
                  <a:pt x="5695950" y="5940426"/>
                </a:lnTo>
                <a:lnTo>
                  <a:pt x="5692775" y="5957888"/>
                </a:lnTo>
                <a:lnTo>
                  <a:pt x="5689600" y="5978526"/>
                </a:lnTo>
                <a:lnTo>
                  <a:pt x="5681663" y="6002338"/>
                </a:lnTo>
                <a:lnTo>
                  <a:pt x="5672138" y="6029326"/>
                </a:lnTo>
                <a:lnTo>
                  <a:pt x="5659438" y="6053138"/>
                </a:lnTo>
                <a:lnTo>
                  <a:pt x="5648325" y="6070601"/>
                </a:lnTo>
                <a:lnTo>
                  <a:pt x="5634038" y="6086476"/>
                </a:lnTo>
                <a:lnTo>
                  <a:pt x="5627688" y="6088063"/>
                </a:lnTo>
                <a:lnTo>
                  <a:pt x="5621338" y="6088063"/>
                </a:lnTo>
                <a:lnTo>
                  <a:pt x="5526088" y="6100763"/>
                </a:lnTo>
                <a:lnTo>
                  <a:pt x="5430838" y="6107113"/>
                </a:lnTo>
                <a:lnTo>
                  <a:pt x="5338763" y="6107113"/>
                </a:lnTo>
                <a:lnTo>
                  <a:pt x="5249862" y="6103938"/>
                </a:lnTo>
                <a:lnTo>
                  <a:pt x="5068887" y="6094413"/>
                </a:lnTo>
                <a:lnTo>
                  <a:pt x="4973637" y="6091238"/>
                </a:lnTo>
                <a:lnTo>
                  <a:pt x="4878387" y="6088063"/>
                </a:lnTo>
                <a:lnTo>
                  <a:pt x="5045075" y="5780088"/>
                </a:lnTo>
                <a:lnTo>
                  <a:pt x="5213350" y="5467350"/>
                </a:lnTo>
                <a:lnTo>
                  <a:pt x="5380038" y="5149850"/>
                </a:lnTo>
                <a:close/>
                <a:moveTo>
                  <a:pt x="576262" y="4632325"/>
                </a:moveTo>
                <a:lnTo>
                  <a:pt x="685799" y="4827588"/>
                </a:lnTo>
                <a:lnTo>
                  <a:pt x="796925" y="5030788"/>
                </a:lnTo>
                <a:lnTo>
                  <a:pt x="909637" y="5235575"/>
                </a:lnTo>
                <a:lnTo>
                  <a:pt x="1019175" y="5456238"/>
                </a:lnTo>
                <a:lnTo>
                  <a:pt x="1031875" y="5481638"/>
                </a:lnTo>
                <a:lnTo>
                  <a:pt x="1039812" y="5508626"/>
                </a:lnTo>
                <a:lnTo>
                  <a:pt x="1046162" y="5532438"/>
                </a:lnTo>
                <a:lnTo>
                  <a:pt x="1049337" y="5559426"/>
                </a:lnTo>
                <a:lnTo>
                  <a:pt x="1049337" y="5580063"/>
                </a:lnTo>
                <a:lnTo>
                  <a:pt x="1046162" y="5600701"/>
                </a:lnTo>
                <a:lnTo>
                  <a:pt x="1039812" y="5621338"/>
                </a:lnTo>
                <a:lnTo>
                  <a:pt x="1028699" y="5640388"/>
                </a:lnTo>
                <a:lnTo>
                  <a:pt x="1019175" y="5657851"/>
                </a:lnTo>
                <a:lnTo>
                  <a:pt x="1004887" y="5672138"/>
                </a:lnTo>
                <a:lnTo>
                  <a:pt x="987425" y="5684838"/>
                </a:lnTo>
                <a:lnTo>
                  <a:pt x="968375" y="5695951"/>
                </a:lnTo>
                <a:lnTo>
                  <a:pt x="947737" y="5705476"/>
                </a:lnTo>
                <a:lnTo>
                  <a:pt x="923925" y="5711826"/>
                </a:lnTo>
                <a:lnTo>
                  <a:pt x="896937" y="5713413"/>
                </a:lnTo>
                <a:lnTo>
                  <a:pt x="871537" y="5716588"/>
                </a:lnTo>
                <a:lnTo>
                  <a:pt x="844549" y="5716588"/>
                </a:lnTo>
                <a:lnTo>
                  <a:pt x="814387" y="5716588"/>
                </a:lnTo>
                <a:lnTo>
                  <a:pt x="787399" y="5713413"/>
                </a:lnTo>
                <a:lnTo>
                  <a:pt x="757237" y="5711826"/>
                </a:lnTo>
                <a:lnTo>
                  <a:pt x="728662" y="5702301"/>
                </a:lnTo>
                <a:lnTo>
                  <a:pt x="695325" y="5692776"/>
                </a:lnTo>
                <a:lnTo>
                  <a:pt x="636587" y="5668963"/>
                </a:lnTo>
                <a:lnTo>
                  <a:pt x="576262" y="5637213"/>
                </a:lnTo>
                <a:lnTo>
                  <a:pt x="520699" y="5600701"/>
                </a:lnTo>
                <a:lnTo>
                  <a:pt x="463549" y="5556251"/>
                </a:lnTo>
                <a:lnTo>
                  <a:pt x="406399" y="5508626"/>
                </a:lnTo>
                <a:lnTo>
                  <a:pt x="360362" y="5457826"/>
                </a:lnTo>
                <a:lnTo>
                  <a:pt x="312737" y="5405438"/>
                </a:lnTo>
                <a:lnTo>
                  <a:pt x="269875" y="5351463"/>
                </a:lnTo>
                <a:lnTo>
                  <a:pt x="234949" y="5294313"/>
                </a:lnTo>
                <a:lnTo>
                  <a:pt x="207962" y="5238750"/>
                </a:lnTo>
                <a:lnTo>
                  <a:pt x="184149" y="5184775"/>
                </a:lnTo>
                <a:lnTo>
                  <a:pt x="177799" y="5157788"/>
                </a:lnTo>
                <a:lnTo>
                  <a:pt x="173037" y="5130800"/>
                </a:lnTo>
                <a:lnTo>
                  <a:pt x="169862" y="5105400"/>
                </a:lnTo>
                <a:lnTo>
                  <a:pt x="166687" y="5081588"/>
                </a:lnTo>
                <a:lnTo>
                  <a:pt x="169862" y="5054600"/>
                </a:lnTo>
                <a:lnTo>
                  <a:pt x="173037" y="5024438"/>
                </a:lnTo>
                <a:lnTo>
                  <a:pt x="180975" y="4997450"/>
                </a:lnTo>
                <a:lnTo>
                  <a:pt x="190499" y="4973638"/>
                </a:lnTo>
                <a:lnTo>
                  <a:pt x="201612" y="4949825"/>
                </a:lnTo>
                <a:lnTo>
                  <a:pt x="214312" y="4929188"/>
                </a:lnTo>
                <a:lnTo>
                  <a:pt x="228599" y="4908550"/>
                </a:lnTo>
                <a:lnTo>
                  <a:pt x="241299" y="4894263"/>
                </a:lnTo>
                <a:lnTo>
                  <a:pt x="285749" y="4851400"/>
                </a:lnTo>
                <a:lnTo>
                  <a:pt x="330199" y="4816475"/>
                </a:lnTo>
                <a:lnTo>
                  <a:pt x="377825" y="4779963"/>
                </a:lnTo>
                <a:lnTo>
                  <a:pt x="422275" y="4748213"/>
                </a:lnTo>
                <a:lnTo>
                  <a:pt x="507999" y="4687888"/>
                </a:lnTo>
                <a:lnTo>
                  <a:pt x="544512" y="4662488"/>
                </a:lnTo>
                <a:close/>
                <a:moveTo>
                  <a:pt x="6180138" y="3546475"/>
                </a:moveTo>
                <a:lnTo>
                  <a:pt x="6124576" y="3562350"/>
                </a:lnTo>
                <a:lnTo>
                  <a:pt x="6076951" y="3579813"/>
                </a:lnTo>
                <a:lnTo>
                  <a:pt x="6037263" y="3600450"/>
                </a:lnTo>
                <a:lnTo>
                  <a:pt x="6002338" y="3624263"/>
                </a:lnTo>
                <a:lnTo>
                  <a:pt x="5978526" y="3651250"/>
                </a:lnTo>
                <a:lnTo>
                  <a:pt x="5961063" y="3678238"/>
                </a:lnTo>
                <a:lnTo>
                  <a:pt x="5948363" y="3705225"/>
                </a:lnTo>
                <a:lnTo>
                  <a:pt x="5945188" y="3719513"/>
                </a:lnTo>
                <a:lnTo>
                  <a:pt x="5945188" y="3733800"/>
                </a:lnTo>
                <a:lnTo>
                  <a:pt x="5986463" y="3698875"/>
                </a:lnTo>
                <a:lnTo>
                  <a:pt x="6046788" y="3654425"/>
                </a:lnTo>
                <a:lnTo>
                  <a:pt x="6115051" y="3600450"/>
                </a:lnTo>
                <a:lnTo>
                  <a:pt x="6148388" y="3573463"/>
                </a:lnTo>
                <a:close/>
                <a:moveTo>
                  <a:pt x="279400" y="2203450"/>
                </a:moveTo>
                <a:lnTo>
                  <a:pt x="354013" y="2203450"/>
                </a:lnTo>
                <a:lnTo>
                  <a:pt x="327025" y="2274888"/>
                </a:lnTo>
                <a:lnTo>
                  <a:pt x="303213" y="2343150"/>
                </a:lnTo>
                <a:lnTo>
                  <a:pt x="261938" y="2482850"/>
                </a:lnTo>
                <a:lnTo>
                  <a:pt x="217488" y="2625726"/>
                </a:lnTo>
                <a:lnTo>
                  <a:pt x="193675" y="2693988"/>
                </a:lnTo>
                <a:lnTo>
                  <a:pt x="166688" y="2765425"/>
                </a:lnTo>
                <a:lnTo>
                  <a:pt x="169863" y="2792413"/>
                </a:lnTo>
                <a:lnTo>
                  <a:pt x="173038" y="2819400"/>
                </a:lnTo>
                <a:lnTo>
                  <a:pt x="180975" y="2844801"/>
                </a:lnTo>
                <a:lnTo>
                  <a:pt x="190500" y="2871788"/>
                </a:lnTo>
                <a:lnTo>
                  <a:pt x="201613" y="2895601"/>
                </a:lnTo>
                <a:lnTo>
                  <a:pt x="214313" y="2916238"/>
                </a:lnTo>
                <a:lnTo>
                  <a:pt x="228600" y="2935288"/>
                </a:lnTo>
                <a:lnTo>
                  <a:pt x="241300" y="2952751"/>
                </a:lnTo>
                <a:lnTo>
                  <a:pt x="242888" y="2959101"/>
                </a:lnTo>
                <a:lnTo>
                  <a:pt x="242888" y="2963863"/>
                </a:lnTo>
                <a:lnTo>
                  <a:pt x="255588" y="2973388"/>
                </a:lnTo>
                <a:lnTo>
                  <a:pt x="266700" y="2979738"/>
                </a:lnTo>
                <a:lnTo>
                  <a:pt x="288925" y="2984501"/>
                </a:lnTo>
                <a:lnTo>
                  <a:pt x="336550" y="2987676"/>
                </a:lnTo>
                <a:lnTo>
                  <a:pt x="388938" y="2987676"/>
                </a:lnTo>
                <a:lnTo>
                  <a:pt x="404813" y="2987676"/>
                </a:lnTo>
                <a:lnTo>
                  <a:pt x="425450" y="2982913"/>
                </a:lnTo>
                <a:lnTo>
                  <a:pt x="469900" y="2963863"/>
                </a:lnTo>
                <a:lnTo>
                  <a:pt x="520700" y="2940051"/>
                </a:lnTo>
                <a:lnTo>
                  <a:pt x="576263" y="2914651"/>
                </a:lnTo>
                <a:lnTo>
                  <a:pt x="573088" y="2946401"/>
                </a:lnTo>
                <a:lnTo>
                  <a:pt x="568325" y="2979738"/>
                </a:lnTo>
                <a:lnTo>
                  <a:pt x="558801" y="3008313"/>
                </a:lnTo>
                <a:lnTo>
                  <a:pt x="544513" y="3038476"/>
                </a:lnTo>
                <a:lnTo>
                  <a:pt x="528638" y="3062288"/>
                </a:lnTo>
                <a:lnTo>
                  <a:pt x="508000" y="3086101"/>
                </a:lnTo>
                <a:lnTo>
                  <a:pt x="487363" y="3106738"/>
                </a:lnTo>
                <a:lnTo>
                  <a:pt x="463550" y="3124201"/>
                </a:lnTo>
                <a:lnTo>
                  <a:pt x="439738" y="3136901"/>
                </a:lnTo>
                <a:lnTo>
                  <a:pt x="412750" y="3148013"/>
                </a:lnTo>
                <a:lnTo>
                  <a:pt x="382588" y="3157538"/>
                </a:lnTo>
                <a:lnTo>
                  <a:pt x="357188" y="3160713"/>
                </a:lnTo>
                <a:lnTo>
                  <a:pt x="327025" y="3160713"/>
                </a:lnTo>
                <a:lnTo>
                  <a:pt x="296863" y="3157538"/>
                </a:lnTo>
                <a:lnTo>
                  <a:pt x="269875" y="3148013"/>
                </a:lnTo>
                <a:lnTo>
                  <a:pt x="241300" y="3136901"/>
                </a:lnTo>
                <a:lnTo>
                  <a:pt x="228600" y="3130551"/>
                </a:lnTo>
                <a:lnTo>
                  <a:pt x="214313" y="3119438"/>
                </a:lnTo>
                <a:lnTo>
                  <a:pt x="187325" y="3092451"/>
                </a:lnTo>
                <a:lnTo>
                  <a:pt x="160338" y="3055938"/>
                </a:lnTo>
                <a:lnTo>
                  <a:pt x="133350" y="3017838"/>
                </a:lnTo>
                <a:lnTo>
                  <a:pt x="109538" y="2970213"/>
                </a:lnTo>
                <a:lnTo>
                  <a:pt x="85725" y="2922588"/>
                </a:lnTo>
                <a:lnTo>
                  <a:pt x="65088" y="2868613"/>
                </a:lnTo>
                <a:lnTo>
                  <a:pt x="47625" y="2816225"/>
                </a:lnTo>
                <a:lnTo>
                  <a:pt x="30163" y="2762250"/>
                </a:lnTo>
                <a:lnTo>
                  <a:pt x="17463" y="2708275"/>
                </a:lnTo>
                <a:lnTo>
                  <a:pt x="9525" y="2655888"/>
                </a:lnTo>
                <a:lnTo>
                  <a:pt x="3175" y="2608263"/>
                </a:lnTo>
                <a:lnTo>
                  <a:pt x="0" y="2563813"/>
                </a:lnTo>
                <a:lnTo>
                  <a:pt x="0" y="2524125"/>
                </a:lnTo>
                <a:lnTo>
                  <a:pt x="9525" y="2492375"/>
                </a:lnTo>
                <a:lnTo>
                  <a:pt x="11113" y="2476500"/>
                </a:lnTo>
                <a:lnTo>
                  <a:pt x="17463" y="2465388"/>
                </a:lnTo>
                <a:lnTo>
                  <a:pt x="47625" y="2425700"/>
                </a:lnTo>
                <a:lnTo>
                  <a:pt x="79375" y="2387600"/>
                </a:lnTo>
                <a:lnTo>
                  <a:pt x="112713" y="2352675"/>
                </a:lnTo>
                <a:lnTo>
                  <a:pt x="149225" y="2322513"/>
                </a:lnTo>
                <a:lnTo>
                  <a:pt x="217488" y="2260600"/>
                </a:lnTo>
                <a:close/>
                <a:moveTo>
                  <a:pt x="5886450" y="2019300"/>
                </a:moveTo>
                <a:lnTo>
                  <a:pt x="5907087" y="2022475"/>
                </a:lnTo>
                <a:lnTo>
                  <a:pt x="5930900" y="2028825"/>
                </a:lnTo>
                <a:lnTo>
                  <a:pt x="5957888" y="2036763"/>
                </a:lnTo>
                <a:lnTo>
                  <a:pt x="5984875" y="2049463"/>
                </a:lnTo>
                <a:lnTo>
                  <a:pt x="6010275" y="2060575"/>
                </a:lnTo>
                <a:lnTo>
                  <a:pt x="6034088" y="2078038"/>
                </a:lnTo>
                <a:lnTo>
                  <a:pt x="6057900" y="2093913"/>
                </a:lnTo>
                <a:lnTo>
                  <a:pt x="5951538" y="2170113"/>
                </a:lnTo>
                <a:lnTo>
                  <a:pt x="5897562" y="2209800"/>
                </a:lnTo>
                <a:lnTo>
                  <a:pt x="5838825" y="2244725"/>
                </a:lnTo>
                <a:lnTo>
                  <a:pt x="5811837" y="2216150"/>
                </a:lnTo>
                <a:lnTo>
                  <a:pt x="5788025" y="2182813"/>
                </a:lnTo>
                <a:lnTo>
                  <a:pt x="5775325" y="2165350"/>
                </a:lnTo>
                <a:lnTo>
                  <a:pt x="5770562" y="2146300"/>
                </a:lnTo>
                <a:lnTo>
                  <a:pt x="5764212" y="2132013"/>
                </a:lnTo>
                <a:lnTo>
                  <a:pt x="5764212" y="2117725"/>
                </a:lnTo>
                <a:lnTo>
                  <a:pt x="5770562" y="2101850"/>
                </a:lnTo>
                <a:lnTo>
                  <a:pt x="5778500" y="2087563"/>
                </a:lnTo>
                <a:lnTo>
                  <a:pt x="5791200" y="2073275"/>
                </a:lnTo>
                <a:lnTo>
                  <a:pt x="5805487" y="2057400"/>
                </a:lnTo>
                <a:lnTo>
                  <a:pt x="5821362" y="2046288"/>
                </a:lnTo>
                <a:lnTo>
                  <a:pt x="5838825" y="2033588"/>
                </a:lnTo>
                <a:lnTo>
                  <a:pt x="5853112" y="2025650"/>
                </a:lnTo>
                <a:lnTo>
                  <a:pt x="5870575" y="2022475"/>
                </a:lnTo>
                <a:close/>
                <a:moveTo>
                  <a:pt x="6169026" y="1685925"/>
                </a:moveTo>
                <a:lnTo>
                  <a:pt x="6076951" y="1712913"/>
                </a:lnTo>
                <a:lnTo>
                  <a:pt x="5984875" y="1739900"/>
                </a:lnTo>
                <a:lnTo>
                  <a:pt x="5938838" y="1757363"/>
                </a:lnTo>
                <a:lnTo>
                  <a:pt x="5894388" y="1774825"/>
                </a:lnTo>
                <a:lnTo>
                  <a:pt x="5849938" y="1798638"/>
                </a:lnTo>
                <a:lnTo>
                  <a:pt x="5805488" y="1828800"/>
                </a:lnTo>
                <a:lnTo>
                  <a:pt x="5764213" y="1862138"/>
                </a:lnTo>
                <a:lnTo>
                  <a:pt x="5722938" y="1897063"/>
                </a:lnTo>
                <a:lnTo>
                  <a:pt x="5683250" y="1933575"/>
                </a:lnTo>
                <a:lnTo>
                  <a:pt x="5648325" y="1971675"/>
                </a:lnTo>
                <a:lnTo>
                  <a:pt x="5576888" y="2052638"/>
                </a:lnTo>
                <a:lnTo>
                  <a:pt x="5502275" y="2128838"/>
                </a:lnTo>
                <a:lnTo>
                  <a:pt x="5522913" y="2122488"/>
                </a:lnTo>
                <a:lnTo>
                  <a:pt x="5543550" y="2117725"/>
                </a:lnTo>
                <a:lnTo>
                  <a:pt x="5586413" y="2098675"/>
                </a:lnTo>
                <a:lnTo>
                  <a:pt x="5607050" y="2093913"/>
                </a:lnTo>
                <a:lnTo>
                  <a:pt x="5624513" y="2087563"/>
                </a:lnTo>
                <a:lnTo>
                  <a:pt x="5641975" y="2087563"/>
                </a:lnTo>
                <a:lnTo>
                  <a:pt x="5657850" y="2093913"/>
                </a:lnTo>
                <a:lnTo>
                  <a:pt x="5832475" y="2357438"/>
                </a:lnTo>
                <a:lnTo>
                  <a:pt x="5975350" y="2265363"/>
                </a:lnTo>
                <a:lnTo>
                  <a:pt x="6115051" y="2170113"/>
                </a:lnTo>
                <a:lnTo>
                  <a:pt x="6264276" y="2078038"/>
                </a:lnTo>
                <a:lnTo>
                  <a:pt x="6340476" y="2030413"/>
                </a:lnTo>
                <a:lnTo>
                  <a:pt x="6424613" y="1982788"/>
                </a:lnTo>
                <a:lnTo>
                  <a:pt x="6400801" y="1981200"/>
                </a:lnTo>
                <a:lnTo>
                  <a:pt x="6364288" y="1971675"/>
                </a:lnTo>
                <a:lnTo>
                  <a:pt x="6323013" y="1958975"/>
                </a:lnTo>
                <a:lnTo>
                  <a:pt x="6302376" y="1947863"/>
                </a:lnTo>
                <a:lnTo>
                  <a:pt x="6281738" y="1935163"/>
                </a:lnTo>
                <a:lnTo>
                  <a:pt x="6261101" y="1917700"/>
                </a:lnTo>
                <a:lnTo>
                  <a:pt x="6240463" y="1900238"/>
                </a:lnTo>
                <a:lnTo>
                  <a:pt x="6221413" y="1876425"/>
                </a:lnTo>
                <a:lnTo>
                  <a:pt x="6203951" y="1849438"/>
                </a:lnTo>
                <a:lnTo>
                  <a:pt x="6192838" y="1817688"/>
                </a:lnTo>
                <a:lnTo>
                  <a:pt x="6180138" y="1778000"/>
                </a:lnTo>
                <a:lnTo>
                  <a:pt x="6170613" y="1736725"/>
                </a:lnTo>
                <a:close/>
                <a:moveTo>
                  <a:pt x="8401050" y="1338262"/>
                </a:moveTo>
                <a:lnTo>
                  <a:pt x="8332788" y="1382712"/>
                </a:lnTo>
                <a:lnTo>
                  <a:pt x="8264525" y="1430337"/>
                </a:lnTo>
                <a:lnTo>
                  <a:pt x="8131175" y="1531937"/>
                </a:lnTo>
                <a:lnTo>
                  <a:pt x="8002588" y="1630363"/>
                </a:lnTo>
                <a:lnTo>
                  <a:pt x="7886700" y="1722438"/>
                </a:lnTo>
                <a:lnTo>
                  <a:pt x="7920038" y="1727200"/>
                </a:lnTo>
                <a:lnTo>
                  <a:pt x="7954963" y="1727200"/>
                </a:lnTo>
                <a:lnTo>
                  <a:pt x="7993063" y="1725613"/>
                </a:lnTo>
                <a:lnTo>
                  <a:pt x="8029575" y="1716088"/>
                </a:lnTo>
                <a:lnTo>
                  <a:pt x="8064500" y="1703388"/>
                </a:lnTo>
                <a:lnTo>
                  <a:pt x="8101013" y="1689100"/>
                </a:lnTo>
                <a:lnTo>
                  <a:pt x="8135938" y="1668463"/>
                </a:lnTo>
                <a:lnTo>
                  <a:pt x="8172450" y="1644650"/>
                </a:lnTo>
                <a:lnTo>
                  <a:pt x="8204200" y="1617662"/>
                </a:lnTo>
                <a:lnTo>
                  <a:pt x="8237538" y="1587500"/>
                </a:lnTo>
                <a:lnTo>
                  <a:pt x="8270875" y="1555750"/>
                </a:lnTo>
                <a:lnTo>
                  <a:pt x="8299450" y="1516062"/>
                </a:lnTo>
                <a:lnTo>
                  <a:pt x="8329613" y="1477963"/>
                </a:lnTo>
                <a:lnTo>
                  <a:pt x="8356600" y="1433512"/>
                </a:lnTo>
                <a:lnTo>
                  <a:pt x="8380413" y="1389062"/>
                </a:lnTo>
                <a:close/>
                <a:moveTo>
                  <a:pt x="4067176" y="1181100"/>
                </a:moveTo>
                <a:lnTo>
                  <a:pt x="3979864" y="1184275"/>
                </a:lnTo>
                <a:lnTo>
                  <a:pt x="3900489" y="1192213"/>
                </a:lnTo>
                <a:lnTo>
                  <a:pt x="3860801" y="1201738"/>
                </a:lnTo>
                <a:lnTo>
                  <a:pt x="3825876" y="1211263"/>
                </a:lnTo>
                <a:lnTo>
                  <a:pt x="3790951" y="1219200"/>
                </a:lnTo>
                <a:lnTo>
                  <a:pt x="3757613" y="1231900"/>
                </a:lnTo>
                <a:lnTo>
                  <a:pt x="3724276" y="1246188"/>
                </a:lnTo>
                <a:lnTo>
                  <a:pt x="3695701" y="1260475"/>
                </a:lnTo>
                <a:lnTo>
                  <a:pt x="3665538" y="1279525"/>
                </a:lnTo>
                <a:lnTo>
                  <a:pt x="3635376" y="1296988"/>
                </a:lnTo>
                <a:lnTo>
                  <a:pt x="3608388" y="1317625"/>
                </a:lnTo>
                <a:lnTo>
                  <a:pt x="3581401" y="1341438"/>
                </a:lnTo>
                <a:lnTo>
                  <a:pt x="3557588" y="1365250"/>
                </a:lnTo>
                <a:lnTo>
                  <a:pt x="3533776" y="1392238"/>
                </a:lnTo>
                <a:lnTo>
                  <a:pt x="3509963" y="1419225"/>
                </a:lnTo>
                <a:lnTo>
                  <a:pt x="3489326" y="1450975"/>
                </a:lnTo>
                <a:lnTo>
                  <a:pt x="3468688" y="1481138"/>
                </a:lnTo>
                <a:lnTo>
                  <a:pt x="3448051" y="1516063"/>
                </a:lnTo>
                <a:lnTo>
                  <a:pt x="3413126" y="1590675"/>
                </a:lnTo>
                <a:lnTo>
                  <a:pt x="3379788" y="1671638"/>
                </a:lnTo>
                <a:lnTo>
                  <a:pt x="3349626" y="1763713"/>
                </a:lnTo>
                <a:lnTo>
                  <a:pt x="3325813" y="1865313"/>
                </a:lnTo>
                <a:lnTo>
                  <a:pt x="3302001" y="1971676"/>
                </a:lnTo>
                <a:lnTo>
                  <a:pt x="3281363" y="2090738"/>
                </a:lnTo>
                <a:lnTo>
                  <a:pt x="3368676" y="1944688"/>
                </a:lnTo>
                <a:lnTo>
                  <a:pt x="3451226" y="1787526"/>
                </a:lnTo>
                <a:lnTo>
                  <a:pt x="3533776" y="1624013"/>
                </a:lnTo>
                <a:lnTo>
                  <a:pt x="3617913" y="1454150"/>
                </a:lnTo>
                <a:lnTo>
                  <a:pt x="3652838" y="1454150"/>
                </a:lnTo>
                <a:lnTo>
                  <a:pt x="3656013" y="1495425"/>
                </a:lnTo>
                <a:lnTo>
                  <a:pt x="3659188" y="1531938"/>
                </a:lnTo>
                <a:lnTo>
                  <a:pt x="3673476" y="1600200"/>
                </a:lnTo>
                <a:lnTo>
                  <a:pt x="3686176" y="1658938"/>
                </a:lnTo>
                <a:lnTo>
                  <a:pt x="3689351" y="1689100"/>
                </a:lnTo>
                <a:lnTo>
                  <a:pt x="3692526" y="1716088"/>
                </a:lnTo>
                <a:lnTo>
                  <a:pt x="3713163" y="1662113"/>
                </a:lnTo>
                <a:lnTo>
                  <a:pt x="3736976" y="1609725"/>
                </a:lnTo>
                <a:lnTo>
                  <a:pt x="3757613" y="1562101"/>
                </a:lnTo>
                <a:lnTo>
                  <a:pt x="3784601" y="1514475"/>
                </a:lnTo>
                <a:lnTo>
                  <a:pt x="3811588" y="1471613"/>
                </a:lnTo>
                <a:lnTo>
                  <a:pt x="3840163" y="1430338"/>
                </a:lnTo>
                <a:lnTo>
                  <a:pt x="3870326" y="1392238"/>
                </a:lnTo>
                <a:lnTo>
                  <a:pt x="3906839" y="1355725"/>
                </a:lnTo>
                <a:lnTo>
                  <a:pt x="3941764" y="1327150"/>
                </a:lnTo>
                <a:lnTo>
                  <a:pt x="3979864" y="1296988"/>
                </a:lnTo>
                <a:lnTo>
                  <a:pt x="4022726" y="1273175"/>
                </a:lnTo>
                <a:lnTo>
                  <a:pt x="4067176" y="1249363"/>
                </a:lnTo>
                <a:lnTo>
                  <a:pt x="4117976" y="1231900"/>
                </a:lnTo>
                <a:lnTo>
                  <a:pt x="4167189" y="1216025"/>
                </a:lnTo>
                <a:lnTo>
                  <a:pt x="4224339" y="1201738"/>
                </a:lnTo>
                <a:lnTo>
                  <a:pt x="4286251" y="1195388"/>
                </a:lnTo>
                <a:lnTo>
                  <a:pt x="4170364" y="1184275"/>
                </a:lnTo>
                <a:lnTo>
                  <a:pt x="4117976" y="1181100"/>
                </a:lnTo>
                <a:close/>
                <a:moveTo>
                  <a:pt x="5586413" y="1166812"/>
                </a:moveTo>
                <a:lnTo>
                  <a:pt x="5481638" y="1204912"/>
                </a:lnTo>
                <a:lnTo>
                  <a:pt x="5437188" y="1225550"/>
                </a:lnTo>
                <a:lnTo>
                  <a:pt x="5399088" y="1243012"/>
                </a:lnTo>
                <a:lnTo>
                  <a:pt x="5365751" y="1260475"/>
                </a:lnTo>
                <a:lnTo>
                  <a:pt x="5335588" y="1282700"/>
                </a:lnTo>
                <a:lnTo>
                  <a:pt x="5308601" y="1300162"/>
                </a:lnTo>
                <a:lnTo>
                  <a:pt x="5287963" y="1320800"/>
                </a:lnTo>
                <a:lnTo>
                  <a:pt x="5270501" y="1341437"/>
                </a:lnTo>
                <a:lnTo>
                  <a:pt x="5259388" y="1362075"/>
                </a:lnTo>
                <a:lnTo>
                  <a:pt x="5246688" y="1385887"/>
                </a:lnTo>
                <a:lnTo>
                  <a:pt x="5240338" y="1409700"/>
                </a:lnTo>
                <a:lnTo>
                  <a:pt x="5237163" y="1436687"/>
                </a:lnTo>
                <a:lnTo>
                  <a:pt x="5237163" y="1463675"/>
                </a:lnTo>
                <a:lnTo>
                  <a:pt x="5240338" y="1492250"/>
                </a:lnTo>
                <a:lnTo>
                  <a:pt x="5246688" y="1525587"/>
                </a:lnTo>
                <a:lnTo>
                  <a:pt x="5287963" y="1484312"/>
                </a:lnTo>
                <a:lnTo>
                  <a:pt x="5330826" y="1439862"/>
                </a:lnTo>
                <a:lnTo>
                  <a:pt x="5416551" y="1347787"/>
                </a:lnTo>
                <a:lnTo>
                  <a:pt x="5499101" y="1252537"/>
                </a:lnTo>
                <a:lnTo>
                  <a:pt x="5540376" y="1208087"/>
                </a:lnTo>
                <a:close/>
                <a:moveTo>
                  <a:pt x="5434013" y="0"/>
                </a:moveTo>
                <a:lnTo>
                  <a:pt x="5519738" y="3175"/>
                </a:lnTo>
                <a:lnTo>
                  <a:pt x="5610226" y="12700"/>
                </a:lnTo>
                <a:lnTo>
                  <a:pt x="5699126" y="30163"/>
                </a:lnTo>
                <a:lnTo>
                  <a:pt x="5788026" y="50800"/>
                </a:lnTo>
                <a:lnTo>
                  <a:pt x="5876926" y="77788"/>
                </a:lnTo>
                <a:lnTo>
                  <a:pt x="5965826" y="111125"/>
                </a:lnTo>
                <a:lnTo>
                  <a:pt x="6054726" y="146050"/>
                </a:lnTo>
                <a:lnTo>
                  <a:pt x="6142038" y="187325"/>
                </a:lnTo>
                <a:lnTo>
                  <a:pt x="6237288" y="258763"/>
                </a:lnTo>
                <a:lnTo>
                  <a:pt x="6329363" y="333375"/>
                </a:lnTo>
                <a:lnTo>
                  <a:pt x="6418263" y="407988"/>
                </a:lnTo>
                <a:lnTo>
                  <a:pt x="6507163" y="485775"/>
                </a:lnTo>
                <a:lnTo>
                  <a:pt x="6677026" y="639763"/>
                </a:lnTo>
                <a:lnTo>
                  <a:pt x="6762751" y="714375"/>
                </a:lnTo>
                <a:lnTo>
                  <a:pt x="6846888" y="785813"/>
                </a:lnTo>
                <a:lnTo>
                  <a:pt x="6846888" y="796926"/>
                </a:lnTo>
                <a:lnTo>
                  <a:pt x="6851651" y="812801"/>
                </a:lnTo>
                <a:lnTo>
                  <a:pt x="6858001" y="823913"/>
                </a:lnTo>
                <a:lnTo>
                  <a:pt x="6867526" y="836613"/>
                </a:lnTo>
                <a:lnTo>
                  <a:pt x="6878638" y="844550"/>
                </a:lnTo>
                <a:lnTo>
                  <a:pt x="6891338" y="854075"/>
                </a:lnTo>
                <a:lnTo>
                  <a:pt x="6905626" y="857250"/>
                </a:lnTo>
                <a:lnTo>
                  <a:pt x="6919913" y="860425"/>
                </a:lnTo>
                <a:lnTo>
                  <a:pt x="6973888" y="868363"/>
                </a:lnTo>
                <a:lnTo>
                  <a:pt x="7024688" y="884238"/>
                </a:lnTo>
                <a:lnTo>
                  <a:pt x="7072313" y="901700"/>
                </a:lnTo>
                <a:lnTo>
                  <a:pt x="7116763" y="925513"/>
                </a:lnTo>
                <a:lnTo>
                  <a:pt x="7158038" y="952500"/>
                </a:lnTo>
                <a:lnTo>
                  <a:pt x="7199313" y="981075"/>
                </a:lnTo>
                <a:lnTo>
                  <a:pt x="7235826" y="1014413"/>
                </a:lnTo>
                <a:lnTo>
                  <a:pt x="7270751" y="1049338"/>
                </a:lnTo>
                <a:lnTo>
                  <a:pt x="7307263" y="1089025"/>
                </a:lnTo>
                <a:lnTo>
                  <a:pt x="7337426" y="1127125"/>
                </a:lnTo>
                <a:lnTo>
                  <a:pt x="7399338" y="1211263"/>
                </a:lnTo>
                <a:lnTo>
                  <a:pt x="7454901" y="1296988"/>
                </a:lnTo>
                <a:lnTo>
                  <a:pt x="7512051" y="1382713"/>
                </a:lnTo>
                <a:lnTo>
                  <a:pt x="7069138" y="1492250"/>
                </a:lnTo>
                <a:lnTo>
                  <a:pt x="7083426" y="1573213"/>
                </a:lnTo>
                <a:lnTo>
                  <a:pt x="7092951" y="1611313"/>
                </a:lnTo>
                <a:lnTo>
                  <a:pt x="7104063" y="1647826"/>
                </a:lnTo>
                <a:lnTo>
                  <a:pt x="7116763" y="1677988"/>
                </a:lnTo>
                <a:lnTo>
                  <a:pt x="7131051" y="1706563"/>
                </a:lnTo>
                <a:lnTo>
                  <a:pt x="7150101" y="1733550"/>
                </a:lnTo>
                <a:lnTo>
                  <a:pt x="7170738" y="1754188"/>
                </a:lnTo>
                <a:lnTo>
                  <a:pt x="7191376" y="1774825"/>
                </a:lnTo>
                <a:lnTo>
                  <a:pt x="7218363" y="1790700"/>
                </a:lnTo>
                <a:lnTo>
                  <a:pt x="7243763" y="1801813"/>
                </a:lnTo>
                <a:lnTo>
                  <a:pt x="7277101" y="1811338"/>
                </a:lnTo>
                <a:lnTo>
                  <a:pt x="7310438" y="1814513"/>
                </a:lnTo>
                <a:lnTo>
                  <a:pt x="7348538" y="1811338"/>
                </a:lnTo>
                <a:lnTo>
                  <a:pt x="7392988" y="1804988"/>
                </a:lnTo>
                <a:lnTo>
                  <a:pt x="7437438" y="1793875"/>
                </a:lnTo>
                <a:lnTo>
                  <a:pt x="7550151" y="1906588"/>
                </a:lnTo>
                <a:lnTo>
                  <a:pt x="7362826" y="1941513"/>
                </a:lnTo>
                <a:lnTo>
                  <a:pt x="7221538" y="1974850"/>
                </a:lnTo>
                <a:lnTo>
                  <a:pt x="7164388" y="1992313"/>
                </a:lnTo>
                <a:lnTo>
                  <a:pt x="7116763" y="2006600"/>
                </a:lnTo>
                <a:lnTo>
                  <a:pt x="7075488" y="2025650"/>
                </a:lnTo>
                <a:lnTo>
                  <a:pt x="7038976" y="2046288"/>
                </a:lnTo>
                <a:lnTo>
                  <a:pt x="7011988" y="2066925"/>
                </a:lnTo>
                <a:lnTo>
                  <a:pt x="6988176" y="2093913"/>
                </a:lnTo>
                <a:lnTo>
                  <a:pt x="6970713" y="2122488"/>
                </a:lnTo>
                <a:lnTo>
                  <a:pt x="6956426" y="2159000"/>
                </a:lnTo>
                <a:lnTo>
                  <a:pt x="6943726" y="2197100"/>
                </a:lnTo>
                <a:lnTo>
                  <a:pt x="6935788" y="2241550"/>
                </a:lnTo>
                <a:lnTo>
                  <a:pt x="6926263" y="2295525"/>
                </a:lnTo>
                <a:lnTo>
                  <a:pt x="6919913" y="2355850"/>
                </a:lnTo>
                <a:lnTo>
                  <a:pt x="6946901" y="2298700"/>
                </a:lnTo>
                <a:lnTo>
                  <a:pt x="6973888" y="2244725"/>
                </a:lnTo>
                <a:lnTo>
                  <a:pt x="7004051" y="2200275"/>
                </a:lnTo>
                <a:lnTo>
                  <a:pt x="7015163" y="2182813"/>
                </a:lnTo>
                <a:lnTo>
                  <a:pt x="7031038" y="2168525"/>
                </a:lnTo>
                <a:lnTo>
                  <a:pt x="7081838" y="2117725"/>
                </a:lnTo>
                <a:lnTo>
                  <a:pt x="7127876" y="2073276"/>
                </a:lnTo>
                <a:lnTo>
                  <a:pt x="7181851" y="2030413"/>
                </a:lnTo>
                <a:lnTo>
                  <a:pt x="7253288" y="1981200"/>
                </a:lnTo>
                <a:lnTo>
                  <a:pt x="7226301" y="2135188"/>
                </a:lnTo>
                <a:lnTo>
                  <a:pt x="7197726" y="2268538"/>
                </a:lnTo>
                <a:lnTo>
                  <a:pt x="7170738" y="2390775"/>
                </a:lnTo>
                <a:lnTo>
                  <a:pt x="7140576" y="2503488"/>
                </a:lnTo>
                <a:lnTo>
                  <a:pt x="7178676" y="2503488"/>
                </a:lnTo>
                <a:lnTo>
                  <a:pt x="7235826" y="2414588"/>
                </a:lnTo>
                <a:lnTo>
                  <a:pt x="7289801" y="2316163"/>
                </a:lnTo>
                <a:lnTo>
                  <a:pt x="7345363" y="2217738"/>
                </a:lnTo>
                <a:lnTo>
                  <a:pt x="7402513" y="2128838"/>
                </a:lnTo>
                <a:lnTo>
                  <a:pt x="7405688" y="2117725"/>
                </a:lnTo>
                <a:lnTo>
                  <a:pt x="7413626" y="2108200"/>
                </a:lnTo>
                <a:lnTo>
                  <a:pt x="7426326" y="2098675"/>
                </a:lnTo>
                <a:lnTo>
                  <a:pt x="7443788" y="2093913"/>
                </a:lnTo>
                <a:lnTo>
                  <a:pt x="7478713" y="2076451"/>
                </a:lnTo>
                <a:lnTo>
                  <a:pt x="7497763" y="2066925"/>
                </a:lnTo>
                <a:lnTo>
                  <a:pt x="7512051" y="2054225"/>
                </a:lnTo>
                <a:lnTo>
                  <a:pt x="7539038" y="2084388"/>
                </a:lnTo>
                <a:lnTo>
                  <a:pt x="7553326" y="2098675"/>
                </a:lnTo>
                <a:lnTo>
                  <a:pt x="7562851" y="2114550"/>
                </a:lnTo>
                <a:lnTo>
                  <a:pt x="7573963" y="2135188"/>
                </a:lnTo>
                <a:lnTo>
                  <a:pt x="7580313" y="2155825"/>
                </a:lnTo>
                <a:lnTo>
                  <a:pt x="7586663" y="2176463"/>
                </a:lnTo>
                <a:lnTo>
                  <a:pt x="7586663" y="2203450"/>
                </a:lnTo>
                <a:lnTo>
                  <a:pt x="7586663" y="2262188"/>
                </a:lnTo>
                <a:lnTo>
                  <a:pt x="7580313" y="2322513"/>
                </a:lnTo>
                <a:lnTo>
                  <a:pt x="7569201" y="2452688"/>
                </a:lnTo>
                <a:lnTo>
                  <a:pt x="7556501" y="2587625"/>
                </a:lnTo>
                <a:lnTo>
                  <a:pt x="7550151" y="2659063"/>
                </a:lnTo>
                <a:lnTo>
                  <a:pt x="7550151" y="2727325"/>
                </a:lnTo>
                <a:lnTo>
                  <a:pt x="7589838" y="2613025"/>
                </a:lnTo>
                <a:lnTo>
                  <a:pt x="7624763" y="2503488"/>
                </a:lnTo>
                <a:lnTo>
                  <a:pt x="7654926" y="2390775"/>
                </a:lnTo>
                <a:lnTo>
                  <a:pt x="7666038" y="2333625"/>
                </a:lnTo>
                <a:lnTo>
                  <a:pt x="7675563" y="2278063"/>
                </a:lnTo>
                <a:lnTo>
                  <a:pt x="7681913" y="2224088"/>
                </a:lnTo>
                <a:lnTo>
                  <a:pt x="7688263" y="2168525"/>
                </a:lnTo>
                <a:lnTo>
                  <a:pt x="7689851" y="2111375"/>
                </a:lnTo>
                <a:lnTo>
                  <a:pt x="7689851" y="2054225"/>
                </a:lnTo>
                <a:lnTo>
                  <a:pt x="7688263" y="1998663"/>
                </a:lnTo>
                <a:lnTo>
                  <a:pt x="7681913" y="1941513"/>
                </a:lnTo>
                <a:lnTo>
                  <a:pt x="7672388" y="1885950"/>
                </a:lnTo>
                <a:lnTo>
                  <a:pt x="7661276" y="1831975"/>
                </a:lnTo>
                <a:lnTo>
                  <a:pt x="7654926" y="1811338"/>
                </a:lnTo>
                <a:lnTo>
                  <a:pt x="7651751" y="1790700"/>
                </a:lnTo>
                <a:lnTo>
                  <a:pt x="7651751" y="1773238"/>
                </a:lnTo>
                <a:lnTo>
                  <a:pt x="7651751" y="1754188"/>
                </a:lnTo>
                <a:lnTo>
                  <a:pt x="7654926" y="1736725"/>
                </a:lnTo>
                <a:lnTo>
                  <a:pt x="7661276" y="1719263"/>
                </a:lnTo>
                <a:lnTo>
                  <a:pt x="7675563" y="1689100"/>
                </a:lnTo>
                <a:lnTo>
                  <a:pt x="7696201" y="1665288"/>
                </a:lnTo>
                <a:lnTo>
                  <a:pt x="7720013" y="1641476"/>
                </a:lnTo>
                <a:lnTo>
                  <a:pt x="7743826" y="1620838"/>
                </a:lnTo>
                <a:lnTo>
                  <a:pt x="7773988" y="1606550"/>
                </a:lnTo>
                <a:lnTo>
                  <a:pt x="7805738" y="1590675"/>
                </a:lnTo>
                <a:lnTo>
                  <a:pt x="7839076" y="1576388"/>
                </a:lnTo>
                <a:lnTo>
                  <a:pt x="7904163" y="1538288"/>
                </a:lnTo>
                <a:lnTo>
                  <a:pt x="7967663" y="1495425"/>
                </a:lnTo>
                <a:lnTo>
                  <a:pt x="8026401" y="1447801"/>
                </a:lnTo>
                <a:lnTo>
                  <a:pt x="8085138" y="1398588"/>
                </a:lnTo>
                <a:lnTo>
                  <a:pt x="8142288" y="1344613"/>
                </a:lnTo>
                <a:lnTo>
                  <a:pt x="8255001" y="1235076"/>
                </a:lnTo>
                <a:lnTo>
                  <a:pt x="8275638" y="1208088"/>
                </a:lnTo>
                <a:lnTo>
                  <a:pt x="8296276" y="1187450"/>
                </a:lnTo>
                <a:lnTo>
                  <a:pt x="8318501" y="1168400"/>
                </a:lnTo>
                <a:lnTo>
                  <a:pt x="8339138" y="1154113"/>
                </a:lnTo>
                <a:lnTo>
                  <a:pt x="8359776" y="1144588"/>
                </a:lnTo>
                <a:lnTo>
                  <a:pt x="8377238" y="1139825"/>
                </a:lnTo>
                <a:lnTo>
                  <a:pt x="8397876" y="1139825"/>
                </a:lnTo>
                <a:lnTo>
                  <a:pt x="8415338" y="1139825"/>
                </a:lnTo>
                <a:lnTo>
                  <a:pt x="8435976" y="1144588"/>
                </a:lnTo>
                <a:lnTo>
                  <a:pt x="8455026" y="1154113"/>
                </a:lnTo>
                <a:lnTo>
                  <a:pt x="8472488" y="1166813"/>
                </a:lnTo>
                <a:lnTo>
                  <a:pt x="8489951" y="1181100"/>
                </a:lnTo>
                <a:lnTo>
                  <a:pt x="8504238" y="1198563"/>
                </a:lnTo>
                <a:lnTo>
                  <a:pt x="8523288" y="1219201"/>
                </a:lnTo>
                <a:lnTo>
                  <a:pt x="8537576" y="1243013"/>
                </a:lnTo>
                <a:lnTo>
                  <a:pt x="8551863" y="1270000"/>
                </a:lnTo>
                <a:lnTo>
                  <a:pt x="8605838" y="1403350"/>
                </a:lnTo>
                <a:lnTo>
                  <a:pt x="8659813" y="1531938"/>
                </a:lnTo>
                <a:lnTo>
                  <a:pt x="8680451" y="1593850"/>
                </a:lnTo>
                <a:lnTo>
                  <a:pt x="8704263" y="1658938"/>
                </a:lnTo>
                <a:lnTo>
                  <a:pt x="8721726" y="1725613"/>
                </a:lnTo>
                <a:lnTo>
                  <a:pt x="8737601" y="1793875"/>
                </a:lnTo>
                <a:lnTo>
                  <a:pt x="8763001" y="1974850"/>
                </a:lnTo>
                <a:lnTo>
                  <a:pt x="8785226" y="2149475"/>
                </a:lnTo>
                <a:lnTo>
                  <a:pt x="8789988" y="2238375"/>
                </a:lnTo>
                <a:lnTo>
                  <a:pt x="8796338" y="2325688"/>
                </a:lnTo>
                <a:lnTo>
                  <a:pt x="8802688" y="2411413"/>
                </a:lnTo>
                <a:lnTo>
                  <a:pt x="8802688" y="2497138"/>
                </a:lnTo>
                <a:lnTo>
                  <a:pt x="8802688" y="2584450"/>
                </a:lnTo>
                <a:lnTo>
                  <a:pt x="8796338" y="2670175"/>
                </a:lnTo>
                <a:lnTo>
                  <a:pt x="8789988" y="2752725"/>
                </a:lnTo>
                <a:lnTo>
                  <a:pt x="8778876" y="2840038"/>
                </a:lnTo>
                <a:lnTo>
                  <a:pt x="8763001" y="2922588"/>
                </a:lnTo>
                <a:lnTo>
                  <a:pt x="8748713" y="3006725"/>
                </a:lnTo>
                <a:lnTo>
                  <a:pt x="8724901" y="3092450"/>
                </a:lnTo>
                <a:lnTo>
                  <a:pt x="8701088" y="3175000"/>
                </a:lnTo>
                <a:lnTo>
                  <a:pt x="8670926" y="3249613"/>
                </a:lnTo>
                <a:lnTo>
                  <a:pt x="8642351" y="3321050"/>
                </a:lnTo>
                <a:lnTo>
                  <a:pt x="8609013" y="3389313"/>
                </a:lnTo>
                <a:lnTo>
                  <a:pt x="8575676" y="3451225"/>
                </a:lnTo>
                <a:lnTo>
                  <a:pt x="8543926" y="3514725"/>
                </a:lnTo>
                <a:lnTo>
                  <a:pt x="8507413" y="3570288"/>
                </a:lnTo>
                <a:lnTo>
                  <a:pt x="8469313" y="3621088"/>
                </a:lnTo>
                <a:lnTo>
                  <a:pt x="8431213" y="3671888"/>
                </a:lnTo>
                <a:lnTo>
                  <a:pt x="8391526" y="3719513"/>
                </a:lnTo>
                <a:lnTo>
                  <a:pt x="8350251" y="3760788"/>
                </a:lnTo>
                <a:lnTo>
                  <a:pt x="8305801" y="3802063"/>
                </a:lnTo>
                <a:lnTo>
                  <a:pt x="8261351" y="3838575"/>
                </a:lnTo>
                <a:lnTo>
                  <a:pt x="8216901" y="3870325"/>
                </a:lnTo>
                <a:lnTo>
                  <a:pt x="8172451" y="3903663"/>
                </a:lnTo>
                <a:lnTo>
                  <a:pt x="8124826" y="3930650"/>
                </a:lnTo>
                <a:lnTo>
                  <a:pt x="8074026" y="3954463"/>
                </a:lnTo>
                <a:lnTo>
                  <a:pt x="8023226" y="3978275"/>
                </a:lnTo>
                <a:lnTo>
                  <a:pt x="7972426" y="3995738"/>
                </a:lnTo>
                <a:lnTo>
                  <a:pt x="7920038" y="4013200"/>
                </a:lnTo>
                <a:lnTo>
                  <a:pt x="7866063" y="4029075"/>
                </a:lnTo>
                <a:lnTo>
                  <a:pt x="7812088" y="4040188"/>
                </a:lnTo>
                <a:lnTo>
                  <a:pt x="7756526" y="4049713"/>
                </a:lnTo>
                <a:lnTo>
                  <a:pt x="7699376" y="4057650"/>
                </a:lnTo>
                <a:lnTo>
                  <a:pt x="7640638" y="4064000"/>
                </a:lnTo>
                <a:lnTo>
                  <a:pt x="7583488" y="4067175"/>
                </a:lnTo>
                <a:lnTo>
                  <a:pt x="7521576" y="4067175"/>
                </a:lnTo>
                <a:lnTo>
                  <a:pt x="7461251" y="4067175"/>
                </a:lnTo>
                <a:lnTo>
                  <a:pt x="7399338" y="4064000"/>
                </a:lnTo>
                <a:lnTo>
                  <a:pt x="7270751" y="4052888"/>
                </a:lnTo>
                <a:lnTo>
                  <a:pt x="7140576" y="4033838"/>
                </a:lnTo>
                <a:lnTo>
                  <a:pt x="7018338" y="4016375"/>
                </a:lnTo>
                <a:lnTo>
                  <a:pt x="6896101" y="3992563"/>
                </a:lnTo>
                <a:lnTo>
                  <a:pt x="6780213" y="3965575"/>
                </a:lnTo>
                <a:lnTo>
                  <a:pt x="6664326" y="3937000"/>
                </a:lnTo>
                <a:lnTo>
                  <a:pt x="6438901" y="3870325"/>
                </a:lnTo>
                <a:lnTo>
                  <a:pt x="6326188" y="3841750"/>
                </a:lnTo>
                <a:lnTo>
                  <a:pt x="6216651" y="3811588"/>
                </a:lnTo>
                <a:lnTo>
                  <a:pt x="6186488" y="3951288"/>
                </a:lnTo>
                <a:lnTo>
                  <a:pt x="6162676" y="4094163"/>
                </a:lnTo>
                <a:lnTo>
                  <a:pt x="6153151" y="4171950"/>
                </a:lnTo>
                <a:lnTo>
                  <a:pt x="6148388" y="4244975"/>
                </a:lnTo>
                <a:lnTo>
                  <a:pt x="6142038" y="4325938"/>
                </a:lnTo>
                <a:lnTo>
                  <a:pt x="6142038" y="4408488"/>
                </a:lnTo>
                <a:lnTo>
                  <a:pt x="6142038" y="4438650"/>
                </a:lnTo>
                <a:lnTo>
                  <a:pt x="6148388" y="4468813"/>
                </a:lnTo>
                <a:lnTo>
                  <a:pt x="6156326" y="4500563"/>
                </a:lnTo>
                <a:lnTo>
                  <a:pt x="6169026" y="4530725"/>
                </a:lnTo>
                <a:lnTo>
                  <a:pt x="6183313" y="4554538"/>
                </a:lnTo>
                <a:lnTo>
                  <a:pt x="6203951" y="4575175"/>
                </a:lnTo>
                <a:lnTo>
                  <a:pt x="6213476" y="4584700"/>
                </a:lnTo>
                <a:lnTo>
                  <a:pt x="6224588" y="4591050"/>
                </a:lnTo>
                <a:lnTo>
                  <a:pt x="6237288" y="4594225"/>
                </a:lnTo>
                <a:lnTo>
                  <a:pt x="6251576" y="4595813"/>
                </a:lnTo>
                <a:lnTo>
                  <a:pt x="6281738" y="4608513"/>
                </a:lnTo>
                <a:lnTo>
                  <a:pt x="6313488" y="4619625"/>
                </a:lnTo>
                <a:lnTo>
                  <a:pt x="6350001" y="4629150"/>
                </a:lnTo>
                <a:lnTo>
                  <a:pt x="6384926" y="4632325"/>
                </a:lnTo>
                <a:lnTo>
                  <a:pt x="6405563" y="4632325"/>
                </a:lnTo>
                <a:lnTo>
                  <a:pt x="6424613" y="4629150"/>
                </a:lnTo>
                <a:lnTo>
                  <a:pt x="6445251" y="4622800"/>
                </a:lnTo>
                <a:lnTo>
                  <a:pt x="6465888" y="4616450"/>
                </a:lnTo>
                <a:lnTo>
                  <a:pt x="6486526" y="4605338"/>
                </a:lnTo>
                <a:lnTo>
                  <a:pt x="6507163" y="4594225"/>
                </a:lnTo>
                <a:lnTo>
                  <a:pt x="6527801" y="4575175"/>
                </a:lnTo>
                <a:lnTo>
                  <a:pt x="6548438" y="4557713"/>
                </a:lnTo>
                <a:lnTo>
                  <a:pt x="6578601" y="4516438"/>
                </a:lnTo>
                <a:lnTo>
                  <a:pt x="6608763" y="4476750"/>
                </a:lnTo>
                <a:lnTo>
                  <a:pt x="6673851" y="4403725"/>
                </a:lnTo>
                <a:lnTo>
                  <a:pt x="6704013" y="4364038"/>
                </a:lnTo>
                <a:lnTo>
                  <a:pt x="6731001" y="4319588"/>
                </a:lnTo>
                <a:lnTo>
                  <a:pt x="6754813" y="4275138"/>
                </a:lnTo>
                <a:lnTo>
                  <a:pt x="6762751" y="4248150"/>
                </a:lnTo>
                <a:lnTo>
                  <a:pt x="6772276" y="4221163"/>
                </a:lnTo>
                <a:lnTo>
                  <a:pt x="6775451" y="4210050"/>
                </a:lnTo>
                <a:lnTo>
                  <a:pt x="6783388" y="4197350"/>
                </a:lnTo>
                <a:lnTo>
                  <a:pt x="6796088" y="4192588"/>
                </a:lnTo>
                <a:lnTo>
                  <a:pt x="6813551" y="4183063"/>
                </a:lnTo>
                <a:lnTo>
                  <a:pt x="6848476" y="4168775"/>
                </a:lnTo>
                <a:lnTo>
                  <a:pt x="6867526" y="4159250"/>
                </a:lnTo>
                <a:lnTo>
                  <a:pt x="6881813" y="4148138"/>
                </a:lnTo>
                <a:lnTo>
                  <a:pt x="6881813" y="4200525"/>
                </a:lnTo>
                <a:lnTo>
                  <a:pt x="6875463" y="4254500"/>
                </a:lnTo>
                <a:lnTo>
                  <a:pt x="6867526" y="4302125"/>
                </a:lnTo>
                <a:lnTo>
                  <a:pt x="6854826" y="4349750"/>
                </a:lnTo>
                <a:lnTo>
                  <a:pt x="6840538" y="4394200"/>
                </a:lnTo>
                <a:lnTo>
                  <a:pt x="6823076" y="4435475"/>
                </a:lnTo>
                <a:lnTo>
                  <a:pt x="6800851" y="4475163"/>
                </a:lnTo>
                <a:lnTo>
                  <a:pt x="6775451" y="4510088"/>
                </a:lnTo>
                <a:lnTo>
                  <a:pt x="6748463" y="4546600"/>
                </a:lnTo>
                <a:lnTo>
                  <a:pt x="6718301" y="4575175"/>
                </a:lnTo>
                <a:lnTo>
                  <a:pt x="6683376" y="4605338"/>
                </a:lnTo>
                <a:lnTo>
                  <a:pt x="6646863" y="4629150"/>
                </a:lnTo>
                <a:lnTo>
                  <a:pt x="6608763" y="4652963"/>
                </a:lnTo>
                <a:lnTo>
                  <a:pt x="6567488" y="4673600"/>
                </a:lnTo>
                <a:lnTo>
                  <a:pt x="6521451" y="4691063"/>
                </a:lnTo>
                <a:lnTo>
                  <a:pt x="6473826" y="4706938"/>
                </a:lnTo>
                <a:lnTo>
                  <a:pt x="6438901" y="4718050"/>
                </a:lnTo>
                <a:lnTo>
                  <a:pt x="6403976" y="4727575"/>
                </a:lnTo>
                <a:lnTo>
                  <a:pt x="6370638" y="4733925"/>
                </a:lnTo>
                <a:lnTo>
                  <a:pt x="6334126" y="4735513"/>
                </a:lnTo>
                <a:lnTo>
                  <a:pt x="6302376" y="4735513"/>
                </a:lnTo>
                <a:lnTo>
                  <a:pt x="6265863" y="4733925"/>
                </a:lnTo>
                <a:lnTo>
                  <a:pt x="6234113" y="4724400"/>
                </a:lnTo>
                <a:lnTo>
                  <a:pt x="6200776" y="4714875"/>
                </a:lnTo>
                <a:lnTo>
                  <a:pt x="6169026" y="4703763"/>
                </a:lnTo>
                <a:lnTo>
                  <a:pt x="6135688" y="4691063"/>
                </a:lnTo>
                <a:lnTo>
                  <a:pt x="6102351" y="4673600"/>
                </a:lnTo>
                <a:lnTo>
                  <a:pt x="6073776" y="4656138"/>
                </a:lnTo>
                <a:lnTo>
                  <a:pt x="6040438" y="4632325"/>
                </a:lnTo>
                <a:lnTo>
                  <a:pt x="6010276" y="4611688"/>
                </a:lnTo>
                <a:lnTo>
                  <a:pt x="5984876" y="4584700"/>
                </a:lnTo>
                <a:lnTo>
                  <a:pt x="5954713" y="4557713"/>
                </a:lnTo>
                <a:lnTo>
                  <a:pt x="5903913" y="4510088"/>
                </a:lnTo>
                <a:lnTo>
                  <a:pt x="5853113" y="4465638"/>
                </a:lnTo>
                <a:lnTo>
                  <a:pt x="5802313" y="4424363"/>
                </a:lnTo>
                <a:lnTo>
                  <a:pt x="5746751" y="4384675"/>
                </a:lnTo>
                <a:lnTo>
                  <a:pt x="5692776" y="4349750"/>
                </a:lnTo>
                <a:lnTo>
                  <a:pt x="5635626" y="4316413"/>
                </a:lnTo>
                <a:lnTo>
                  <a:pt x="5576888" y="4284663"/>
                </a:lnTo>
                <a:lnTo>
                  <a:pt x="5519738" y="4254500"/>
                </a:lnTo>
                <a:lnTo>
                  <a:pt x="5399088" y="4197350"/>
                </a:lnTo>
                <a:lnTo>
                  <a:pt x="5276851" y="4141788"/>
                </a:lnTo>
                <a:lnTo>
                  <a:pt x="5027613" y="4033838"/>
                </a:lnTo>
                <a:lnTo>
                  <a:pt x="5110163" y="4090988"/>
                </a:lnTo>
                <a:lnTo>
                  <a:pt x="5151438" y="4121150"/>
                </a:lnTo>
                <a:lnTo>
                  <a:pt x="5191126" y="4151313"/>
                </a:lnTo>
                <a:lnTo>
                  <a:pt x="5226051" y="4183063"/>
                </a:lnTo>
                <a:lnTo>
                  <a:pt x="5260976" y="4219575"/>
                </a:lnTo>
                <a:lnTo>
                  <a:pt x="5294313" y="4254500"/>
                </a:lnTo>
                <a:lnTo>
                  <a:pt x="5324476" y="4295775"/>
                </a:lnTo>
                <a:lnTo>
                  <a:pt x="5356226" y="4329113"/>
                </a:lnTo>
                <a:lnTo>
                  <a:pt x="5392738" y="4370388"/>
                </a:lnTo>
                <a:lnTo>
                  <a:pt x="5410201" y="4391025"/>
                </a:lnTo>
                <a:lnTo>
                  <a:pt x="5422901" y="4411663"/>
                </a:lnTo>
                <a:lnTo>
                  <a:pt x="5430838" y="4430713"/>
                </a:lnTo>
                <a:lnTo>
                  <a:pt x="5434013" y="4445000"/>
                </a:lnTo>
                <a:lnTo>
                  <a:pt x="5376863" y="4656138"/>
                </a:lnTo>
                <a:lnTo>
                  <a:pt x="5348288" y="4759325"/>
                </a:lnTo>
                <a:lnTo>
                  <a:pt x="5314951" y="4864100"/>
                </a:lnTo>
                <a:lnTo>
                  <a:pt x="5280026" y="4965700"/>
                </a:lnTo>
                <a:lnTo>
                  <a:pt x="5243513" y="5068888"/>
                </a:lnTo>
                <a:lnTo>
                  <a:pt x="5205413" y="5167313"/>
                </a:lnTo>
                <a:lnTo>
                  <a:pt x="5160963" y="5268913"/>
                </a:lnTo>
                <a:lnTo>
                  <a:pt x="5116513" y="5362575"/>
                </a:lnTo>
                <a:lnTo>
                  <a:pt x="5068888" y="5457825"/>
                </a:lnTo>
                <a:lnTo>
                  <a:pt x="5014913" y="5553075"/>
                </a:lnTo>
                <a:lnTo>
                  <a:pt x="4960938" y="5643563"/>
                </a:lnTo>
                <a:lnTo>
                  <a:pt x="4902201" y="5732463"/>
                </a:lnTo>
                <a:lnTo>
                  <a:pt x="4837113" y="5815013"/>
                </a:lnTo>
                <a:lnTo>
                  <a:pt x="4768850" y="5899150"/>
                </a:lnTo>
                <a:lnTo>
                  <a:pt x="4694238" y="5978525"/>
                </a:lnTo>
                <a:lnTo>
                  <a:pt x="4581525" y="6062663"/>
                </a:lnTo>
                <a:lnTo>
                  <a:pt x="4470400" y="6151563"/>
                </a:lnTo>
                <a:lnTo>
                  <a:pt x="4360863" y="6246813"/>
                </a:lnTo>
                <a:lnTo>
                  <a:pt x="4303713" y="6296025"/>
                </a:lnTo>
                <a:lnTo>
                  <a:pt x="4248150" y="6350000"/>
                </a:lnTo>
                <a:lnTo>
                  <a:pt x="4221163" y="6365875"/>
                </a:lnTo>
                <a:lnTo>
                  <a:pt x="4194175" y="6386513"/>
                </a:lnTo>
                <a:lnTo>
                  <a:pt x="4167188" y="6407150"/>
                </a:lnTo>
                <a:lnTo>
                  <a:pt x="4140200" y="6430963"/>
                </a:lnTo>
                <a:lnTo>
                  <a:pt x="4117975" y="6454775"/>
                </a:lnTo>
                <a:lnTo>
                  <a:pt x="4095750" y="6481763"/>
                </a:lnTo>
                <a:lnTo>
                  <a:pt x="4078288" y="6510338"/>
                </a:lnTo>
                <a:lnTo>
                  <a:pt x="4064000" y="6537325"/>
                </a:lnTo>
                <a:lnTo>
                  <a:pt x="4033838" y="6564313"/>
                </a:lnTo>
                <a:lnTo>
                  <a:pt x="4003675" y="6588125"/>
                </a:lnTo>
                <a:lnTo>
                  <a:pt x="3975100" y="6608763"/>
                </a:lnTo>
                <a:lnTo>
                  <a:pt x="3944938" y="6626225"/>
                </a:lnTo>
                <a:lnTo>
                  <a:pt x="3914775" y="6645275"/>
                </a:lnTo>
                <a:lnTo>
                  <a:pt x="3884613" y="6656388"/>
                </a:lnTo>
                <a:lnTo>
                  <a:pt x="3852863" y="6665913"/>
                </a:lnTo>
                <a:lnTo>
                  <a:pt x="3822700" y="6673850"/>
                </a:lnTo>
                <a:lnTo>
                  <a:pt x="3790950" y="6677025"/>
                </a:lnTo>
                <a:lnTo>
                  <a:pt x="3760788" y="6677025"/>
                </a:lnTo>
                <a:lnTo>
                  <a:pt x="3727450" y="6673850"/>
                </a:lnTo>
                <a:lnTo>
                  <a:pt x="3697288" y="6669088"/>
                </a:lnTo>
                <a:lnTo>
                  <a:pt x="3668713" y="6659563"/>
                </a:lnTo>
                <a:lnTo>
                  <a:pt x="3638550" y="6646863"/>
                </a:lnTo>
                <a:lnTo>
                  <a:pt x="3608388" y="6632575"/>
                </a:lnTo>
                <a:lnTo>
                  <a:pt x="3579813" y="6611938"/>
                </a:lnTo>
                <a:lnTo>
                  <a:pt x="3525838" y="6543675"/>
                </a:lnTo>
                <a:lnTo>
                  <a:pt x="3475038" y="6472238"/>
                </a:lnTo>
                <a:lnTo>
                  <a:pt x="3427413" y="6400800"/>
                </a:lnTo>
                <a:lnTo>
                  <a:pt x="3379788" y="6326188"/>
                </a:lnTo>
                <a:lnTo>
                  <a:pt x="3335338" y="6251575"/>
                </a:lnTo>
                <a:lnTo>
                  <a:pt x="3294063" y="6175375"/>
                </a:lnTo>
                <a:lnTo>
                  <a:pt x="3252788" y="6097588"/>
                </a:lnTo>
                <a:lnTo>
                  <a:pt x="3209925" y="6015038"/>
                </a:lnTo>
                <a:lnTo>
                  <a:pt x="3195638" y="5999163"/>
                </a:lnTo>
                <a:lnTo>
                  <a:pt x="3186113" y="5984875"/>
                </a:lnTo>
                <a:lnTo>
                  <a:pt x="3181350" y="5967413"/>
                </a:lnTo>
                <a:lnTo>
                  <a:pt x="3175000" y="5946775"/>
                </a:lnTo>
                <a:lnTo>
                  <a:pt x="3171825" y="5927725"/>
                </a:lnTo>
                <a:lnTo>
                  <a:pt x="3171825" y="5907088"/>
                </a:lnTo>
                <a:lnTo>
                  <a:pt x="3175000" y="5886450"/>
                </a:lnTo>
                <a:lnTo>
                  <a:pt x="3181350" y="5865813"/>
                </a:lnTo>
                <a:lnTo>
                  <a:pt x="3189288" y="5845175"/>
                </a:lnTo>
                <a:lnTo>
                  <a:pt x="3201988" y="5824538"/>
                </a:lnTo>
                <a:lnTo>
                  <a:pt x="3213100" y="5803900"/>
                </a:lnTo>
                <a:lnTo>
                  <a:pt x="3230563" y="5783263"/>
                </a:lnTo>
                <a:lnTo>
                  <a:pt x="3249613" y="5764213"/>
                </a:lnTo>
                <a:lnTo>
                  <a:pt x="3270250" y="5746750"/>
                </a:lnTo>
                <a:lnTo>
                  <a:pt x="3294063" y="5732463"/>
                </a:lnTo>
                <a:lnTo>
                  <a:pt x="3321050" y="5716588"/>
                </a:lnTo>
                <a:lnTo>
                  <a:pt x="3362325" y="5699125"/>
                </a:lnTo>
                <a:lnTo>
                  <a:pt x="3403600" y="5681663"/>
                </a:lnTo>
                <a:lnTo>
                  <a:pt x="3492500" y="5637213"/>
                </a:lnTo>
                <a:lnTo>
                  <a:pt x="3587750" y="5583238"/>
                </a:lnTo>
                <a:lnTo>
                  <a:pt x="3692525" y="5529263"/>
                </a:lnTo>
                <a:lnTo>
                  <a:pt x="3692525" y="5081588"/>
                </a:lnTo>
                <a:lnTo>
                  <a:pt x="3683000" y="5116513"/>
                </a:lnTo>
                <a:lnTo>
                  <a:pt x="3673475" y="5153025"/>
                </a:lnTo>
                <a:lnTo>
                  <a:pt x="3665538" y="5184775"/>
                </a:lnTo>
                <a:lnTo>
                  <a:pt x="3652838" y="5211763"/>
                </a:lnTo>
                <a:lnTo>
                  <a:pt x="3641725" y="5238750"/>
                </a:lnTo>
                <a:lnTo>
                  <a:pt x="3629025" y="5265738"/>
                </a:lnTo>
                <a:lnTo>
                  <a:pt x="3614738" y="5286375"/>
                </a:lnTo>
                <a:lnTo>
                  <a:pt x="3600450" y="5307013"/>
                </a:lnTo>
                <a:lnTo>
                  <a:pt x="3581400" y="5324475"/>
                </a:lnTo>
                <a:lnTo>
                  <a:pt x="3567113" y="5340350"/>
                </a:lnTo>
                <a:lnTo>
                  <a:pt x="3549650" y="5354638"/>
                </a:lnTo>
                <a:lnTo>
                  <a:pt x="3529013" y="5365750"/>
                </a:lnTo>
                <a:lnTo>
                  <a:pt x="3489325" y="5386388"/>
                </a:lnTo>
                <a:lnTo>
                  <a:pt x="3451225" y="5402263"/>
                </a:lnTo>
                <a:lnTo>
                  <a:pt x="3406775" y="5413375"/>
                </a:lnTo>
                <a:lnTo>
                  <a:pt x="3365500" y="5419725"/>
                </a:lnTo>
                <a:lnTo>
                  <a:pt x="3321050" y="5422900"/>
                </a:lnTo>
                <a:lnTo>
                  <a:pt x="3273425" y="5422900"/>
                </a:lnTo>
                <a:lnTo>
                  <a:pt x="3182938" y="5419725"/>
                </a:lnTo>
                <a:lnTo>
                  <a:pt x="3097213" y="5416550"/>
                </a:lnTo>
                <a:lnTo>
                  <a:pt x="2838450" y="5416550"/>
                </a:lnTo>
                <a:lnTo>
                  <a:pt x="2770188" y="5416550"/>
                </a:lnTo>
                <a:lnTo>
                  <a:pt x="2708275" y="5413375"/>
                </a:lnTo>
                <a:lnTo>
                  <a:pt x="2678113" y="5408613"/>
                </a:lnTo>
                <a:lnTo>
                  <a:pt x="2647950" y="5402263"/>
                </a:lnTo>
                <a:lnTo>
                  <a:pt x="2622550" y="5395913"/>
                </a:lnTo>
                <a:lnTo>
                  <a:pt x="2598738" y="5384800"/>
                </a:lnTo>
                <a:lnTo>
                  <a:pt x="2574925" y="5368925"/>
                </a:lnTo>
                <a:lnTo>
                  <a:pt x="2554288" y="5354638"/>
                </a:lnTo>
                <a:lnTo>
                  <a:pt x="2532063" y="5330825"/>
                </a:lnTo>
                <a:lnTo>
                  <a:pt x="2514600" y="5307013"/>
                </a:lnTo>
                <a:lnTo>
                  <a:pt x="2500313" y="5276850"/>
                </a:lnTo>
                <a:lnTo>
                  <a:pt x="2484438" y="5241925"/>
                </a:lnTo>
                <a:lnTo>
                  <a:pt x="2476500" y="5202238"/>
                </a:lnTo>
                <a:lnTo>
                  <a:pt x="2466975" y="5154613"/>
                </a:lnTo>
                <a:lnTo>
                  <a:pt x="2466975" y="5229225"/>
                </a:lnTo>
                <a:lnTo>
                  <a:pt x="2466975" y="5341938"/>
                </a:lnTo>
                <a:lnTo>
                  <a:pt x="2466975" y="5440363"/>
                </a:lnTo>
                <a:lnTo>
                  <a:pt x="2463800" y="5538788"/>
                </a:lnTo>
                <a:lnTo>
                  <a:pt x="2459038" y="5634038"/>
                </a:lnTo>
                <a:lnTo>
                  <a:pt x="2452688" y="5681663"/>
                </a:lnTo>
                <a:lnTo>
                  <a:pt x="2443163" y="5729288"/>
                </a:lnTo>
                <a:lnTo>
                  <a:pt x="2435225" y="5776913"/>
                </a:lnTo>
                <a:lnTo>
                  <a:pt x="2422525" y="5824538"/>
                </a:lnTo>
                <a:lnTo>
                  <a:pt x="2408238" y="5868988"/>
                </a:lnTo>
                <a:lnTo>
                  <a:pt x="2390775" y="5916613"/>
                </a:lnTo>
                <a:lnTo>
                  <a:pt x="2368550" y="5961063"/>
                </a:lnTo>
                <a:lnTo>
                  <a:pt x="2343150" y="6002338"/>
                </a:lnTo>
                <a:lnTo>
                  <a:pt x="2316163" y="6046788"/>
                </a:lnTo>
                <a:lnTo>
                  <a:pt x="2282825" y="6088063"/>
                </a:lnTo>
                <a:lnTo>
                  <a:pt x="2268538" y="6103938"/>
                </a:lnTo>
                <a:lnTo>
                  <a:pt x="2255838" y="6121400"/>
                </a:lnTo>
                <a:lnTo>
                  <a:pt x="2238375" y="6156325"/>
                </a:lnTo>
                <a:lnTo>
                  <a:pt x="2224088" y="6199188"/>
                </a:lnTo>
                <a:lnTo>
                  <a:pt x="2211388" y="6243638"/>
                </a:lnTo>
                <a:lnTo>
                  <a:pt x="2193925" y="6335713"/>
                </a:lnTo>
                <a:lnTo>
                  <a:pt x="2181225" y="6383338"/>
                </a:lnTo>
                <a:lnTo>
                  <a:pt x="2170113" y="6424613"/>
                </a:lnTo>
                <a:lnTo>
                  <a:pt x="2166938" y="6442075"/>
                </a:lnTo>
                <a:lnTo>
                  <a:pt x="2157413" y="6459538"/>
                </a:lnTo>
                <a:lnTo>
                  <a:pt x="2143125" y="6478588"/>
                </a:lnTo>
                <a:lnTo>
                  <a:pt x="2125663" y="6496050"/>
                </a:lnTo>
                <a:lnTo>
                  <a:pt x="2101850" y="6510338"/>
                </a:lnTo>
                <a:lnTo>
                  <a:pt x="2078038" y="6526213"/>
                </a:lnTo>
                <a:lnTo>
                  <a:pt x="2051050" y="6534150"/>
                </a:lnTo>
                <a:lnTo>
                  <a:pt x="2020888" y="6537325"/>
                </a:lnTo>
                <a:lnTo>
                  <a:pt x="1828800" y="6507163"/>
                </a:lnTo>
                <a:lnTo>
                  <a:pt x="1628775" y="6478588"/>
                </a:lnTo>
                <a:lnTo>
                  <a:pt x="1525588" y="6457950"/>
                </a:lnTo>
                <a:lnTo>
                  <a:pt x="1420813" y="6435725"/>
                </a:lnTo>
                <a:lnTo>
                  <a:pt x="1316038" y="6415088"/>
                </a:lnTo>
                <a:lnTo>
                  <a:pt x="1206500" y="6389688"/>
                </a:lnTo>
                <a:lnTo>
                  <a:pt x="1168400" y="6370638"/>
                </a:lnTo>
                <a:lnTo>
                  <a:pt x="1150938" y="6362700"/>
                </a:lnTo>
                <a:lnTo>
                  <a:pt x="1135063" y="6353175"/>
                </a:lnTo>
                <a:lnTo>
                  <a:pt x="1123950" y="6342063"/>
                </a:lnTo>
                <a:lnTo>
                  <a:pt x="1111250" y="6326188"/>
                </a:lnTo>
                <a:lnTo>
                  <a:pt x="1103313" y="6311900"/>
                </a:lnTo>
                <a:lnTo>
                  <a:pt x="1093788" y="6294438"/>
                </a:lnTo>
                <a:lnTo>
                  <a:pt x="1087438" y="6275388"/>
                </a:lnTo>
                <a:lnTo>
                  <a:pt x="1084263" y="6254750"/>
                </a:lnTo>
                <a:lnTo>
                  <a:pt x="1082675" y="6234113"/>
                </a:lnTo>
                <a:lnTo>
                  <a:pt x="1082675" y="6210300"/>
                </a:lnTo>
                <a:lnTo>
                  <a:pt x="1084263" y="6154738"/>
                </a:lnTo>
                <a:lnTo>
                  <a:pt x="1093788" y="6088063"/>
                </a:lnTo>
                <a:lnTo>
                  <a:pt x="1120775" y="6046788"/>
                </a:lnTo>
                <a:lnTo>
                  <a:pt x="1144588" y="5999163"/>
                </a:lnTo>
                <a:lnTo>
                  <a:pt x="1162050" y="5948363"/>
                </a:lnTo>
                <a:lnTo>
                  <a:pt x="1176338" y="5899150"/>
                </a:lnTo>
                <a:lnTo>
                  <a:pt x="1189038" y="5845175"/>
                </a:lnTo>
                <a:lnTo>
                  <a:pt x="1198563" y="5788025"/>
                </a:lnTo>
                <a:lnTo>
                  <a:pt x="1203325" y="5735638"/>
                </a:lnTo>
                <a:lnTo>
                  <a:pt x="1206500" y="5678488"/>
                </a:lnTo>
                <a:lnTo>
                  <a:pt x="1212850" y="5657850"/>
                </a:lnTo>
                <a:lnTo>
                  <a:pt x="1216025" y="5634038"/>
                </a:lnTo>
                <a:lnTo>
                  <a:pt x="1216025" y="5613400"/>
                </a:lnTo>
                <a:lnTo>
                  <a:pt x="1216025" y="5589588"/>
                </a:lnTo>
                <a:lnTo>
                  <a:pt x="1209675" y="5541963"/>
                </a:lnTo>
                <a:lnTo>
                  <a:pt x="1198563" y="5497513"/>
                </a:lnTo>
                <a:lnTo>
                  <a:pt x="1179513" y="5453063"/>
                </a:lnTo>
                <a:lnTo>
                  <a:pt x="1165225" y="5410200"/>
                </a:lnTo>
                <a:lnTo>
                  <a:pt x="1131888" y="5341938"/>
                </a:lnTo>
                <a:lnTo>
                  <a:pt x="1069975" y="5238750"/>
                </a:lnTo>
                <a:lnTo>
                  <a:pt x="1012825" y="5130800"/>
                </a:lnTo>
                <a:lnTo>
                  <a:pt x="957263" y="5027613"/>
                </a:lnTo>
                <a:lnTo>
                  <a:pt x="903288" y="4919663"/>
                </a:lnTo>
                <a:lnTo>
                  <a:pt x="855663" y="4813300"/>
                </a:lnTo>
                <a:lnTo>
                  <a:pt x="811213" y="4706938"/>
                </a:lnTo>
                <a:lnTo>
                  <a:pt x="769938" y="4598988"/>
                </a:lnTo>
                <a:lnTo>
                  <a:pt x="733425" y="4492625"/>
                </a:lnTo>
                <a:lnTo>
                  <a:pt x="701675" y="4383088"/>
                </a:lnTo>
                <a:lnTo>
                  <a:pt x="671513" y="4271963"/>
                </a:lnTo>
                <a:lnTo>
                  <a:pt x="647700" y="4162425"/>
                </a:lnTo>
                <a:lnTo>
                  <a:pt x="630238" y="4049713"/>
                </a:lnTo>
                <a:lnTo>
                  <a:pt x="617538" y="3937000"/>
                </a:lnTo>
                <a:lnTo>
                  <a:pt x="609600" y="3821113"/>
                </a:lnTo>
                <a:lnTo>
                  <a:pt x="609600" y="3705225"/>
                </a:lnTo>
                <a:lnTo>
                  <a:pt x="612775" y="3586163"/>
                </a:lnTo>
                <a:lnTo>
                  <a:pt x="620713" y="3470275"/>
                </a:lnTo>
                <a:lnTo>
                  <a:pt x="636588" y="3354388"/>
                </a:lnTo>
                <a:lnTo>
                  <a:pt x="657225" y="3243263"/>
                </a:lnTo>
                <a:lnTo>
                  <a:pt x="681038" y="3136900"/>
                </a:lnTo>
                <a:lnTo>
                  <a:pt x="709613" y="3032125"/>
                </a:lnTo>
                <a:lnTo>
                  <a:pt x="746125" y="2932113"/>
                </a:lnTo>
                <a:lnTo>
                  <a:pt x="784225" y="2833688"/>
                </a:lnTo>
                <a:lnTo>
                  <a:pt x="828675" y="2735263"/>
                </a:lnTo>
                <a:lnTo>
                  <a:pt x="879475" y="2643188"/>
                </a:lnTo>
                <a:lnTo>
                  <a:pt x="933450" y="2551113"/>
                </a:lnTo>
                <a:lnTo>
                  <a:pt x="992188" y="2465388"/>
                </a:lnTo>
                <a:lnTo>
                  <a:pt x="1055688" y="2379663"/>
                </a:lnTo>
                <a:lnTo>
                  <a:pt x="1123950" y="2295525"/>
                </a:lnTo>
                <a:lnTo>
                  <a:pt x="1195388" y="2212975"/>
                </a:lnTo>
                <a:lnTo>
                  <a:pt x="1271588" y="2132013"/>
                </a:lnTo>
                <a:lnTo>
                  <a:pt x="1355725" y="2054225"/>
                </a:lnTo>
                <a:lnTo>
                  <a:pt x="1423988" y="2001838"/>
                </a:lnTo>
                <a:lnTo>
                  <a:pt x="1495425" y="1951038"/>
                </a:lnTo>
                <a:lnTo>
                  <a:pt x="1566863" y="1900238"/>
                </a:lnTo>
                <a:lnTo>
                  <a:pt x="1641475" y="1855788"/>
                </a:lnTo>
                <a:lnTo>
                  <a:pt x="1714500" y="1814513"/>
                </a:lnTo>
                <a:lnTo>
                  <a:pt x="1789113" y="1774825"/>
                </a:lnTo>
                <a:lnTo>
                  <a:pt x="1866900" y="1739900"/>
                </a:lnTo>
                <a:lnTo>
                  <a:pt x="1944688" y="1703388"/>
                </a:lnTo>
                <a:lnTo>
                  <a:pt x="2020888" y="1671638"/>
                </a:lnTo>
                <a:lnTo>
                  <a:pt x="2101850" y="1641476"/>
                </a:lnTo>
                <a:lnTo>
                  <a:pt x="2184400" y="1614488"/>
                </a:lnTo>
                <a:lnTo>
                  <a:pt x="2268538" y="1587500"/>
                </a:lnTo>
                <a:lnTo>
                  <a:pt x="2351088" y="1562100"/>
                </a:lnTo>
                <a:lnTo>
                  <a:pt x="2436813" y="1538288"/>
                </a:lnTo>
                <a:lnTo>
                  <a:pt x="2616200" y="1492250"/>
                </a:lnTo>
                <a:lnTo>
                  <a:pt x="2725738" y="1492250"/>
                </a:lnTo>
                <a:lnTo>
                  <a:pt x="2654300" y="1590675"/>
                </a:lnTo>
                <a:lnTo>
                  <a:pt x="2582863" y="1682750"/>
                </a:lnTo>
                <a:lnTo>
                  <a:pt x="2435225" y="1866901"/>
                </a:lnTo>
                <a:lnTo>
                  <a:pt x="2363788" y="1958975"/>
                </a:lnTo>
                <a:lnTo>
                  <a:pt x="2295525" y="2052638"/>
                </a:lnTo>
                <a:lnTo>
                  <a:pt x="2228850" y="2144713"/>
                </a:lnTo>
                <a:lnTo>
                  <a:pt x="2200275" y="2192338"/>
                </a:lnTo>
                <a:lnTo>
                  <a:pt x="2170113" y="2241550"/>
                </a:lnTo>
                <a:lnTo>
                  <a:pt x="2089150" y="2355850"/>
                </a:lnTo>
                <a:lnTo>
                  <a:pt x="2047875" y="2411413"/>
                </a:lnTo>
                <a:lnTo>
                  <a:pt x="2012950" y="2471738"/>
                </a:lnTo>
                <a:lnTo>
                  <a:pt x="1979613" y="2530475"/>
                </a:lnTo>
                <a:lnTo>
                  <a:pt x="1952625" y="2592388"/>
                </a:lnTo>
                <a:lnTo>
                  <a:pt x="1928813" y="2659063"/>
                </a:lnTo>
                <a:lnTo>
                  <a:pt x="1917700" y="2693988"/>
                </a:lnTo>
                <a:lnTo>
                  <a:pt x="1911350" y="2727325"/>
                </a:lnTo>
                <a:lnTo>
                  <a:pt x="1893888" y="2776538"/>
                </a:lnTo>
                <a:lnTo>
                  <a:pt x="1881188" y="2824163"/>
                </a:lnTo>
                <a:lnTo>
                  <a:pt x="1873250" y="2868613"/>
                </a:lnTo>
                <a:lnTo>
                  <a:pt x="1873250" y="2916238"/>
                </a:lnTo>
                <a:lnTo>
                  <a:pt x="1876425" y="2962275"/>
                </a:lnTo>
                <a:lnTo>
                  <a:pt x="1881188" y="3006725"/>
                </a:lnTo>
                <a:lnTo>
                  <a:pt x="1893888" y="3048000"/>
                </a:lnTo>
                <a:lnTo>
                  <a:pt x="1905000" y="3092450"/>
                </a:lnTo>
                <a:lnTo>
                  <a:pt x="1924050" y="3133725"/>
                </a:lnTo>
                <a:lnTo>
                  <a:pt x="1944688" y="3171825"/>
                </a:lnTo>
                <a:lnTo>
                  <a:pt x="1965325" y="3214688"/>
                </a:lnTo>
                <a:lnTo>
                  <a:pt x="1989138" y="3252788"/>
                </a:lnTo>
                <a:lnTo>
                  <a:pt x="2041525" y="3327400"/>
                </a:lnTo>
                <a:lnTo>
                  <a:pt x="2095500" y="3398838"/>
                </a:lnTo>
                <a:lnTo>
                  <a:pt x="2149475" y="3470275"/>
                </a:lnTo>
                <a:lnTo>
                  <a:pt x="2197100" y="3541713"/>
                </a:lnTo>
                <a:lnTo>
                  <a:pt x="2217738" y="3576638"/>
                </a:lnTo>
                <a:lnTo>
                  <a:pt x="2238375" y="3613150"/>
                </a:lnTo>
                <a:lnTo>
                  <a:pt x="2252663" y="3648075"/>
                </a:lnTo>
                <a:lnTo>
                  <a:pt x="2268538" y="3684588"/>
                </a:lnTo>
                <a:lnTo>
                  <a:pt x="2279650" y="3722688"/>
                </a:lnTo>
                <a:lnTo>
                  <a:pt x="2286000" y="3757613"/>
                </a:lnTo>
                <a:lnTo>
                  <a:pt x="2289175" y="3797300"/>
                </a:lnTo>
                <a:lnTo>
                  <a:pt x="2289175" y="3835400"/>
                </a:lnTo>
                <a:lnTo>
                  <a:pt x="2286000" y="3873500"/>
                </a:lnTo>
                <a:lnTo>
                  <a:pt x="2276475" y="3916363"/>
                </a:lnTo>
                <a:lnTo>
                  <a:pt x="2262188" y="3954463"/>
                </a:lnTo>
                <a:lnTo>
                  <a:pt x="2244725" y="3995738"/>
                </a:lnTo>
                <a:lnTo>
                  <a:pt x="2232025" y="4013200"/>
                </a:lnTo>
                <a:lnTo>
                  <a:pt x="2224088" y="4037013"/>
                </a:lnTo>
                <a:lnTo>
                  <a:pt x="2217738" y="4064000"/>
                </a:lnTo>
                <a:lnTo>
                  <a:pt x="2217738" y="4090988"/>
                </a:lnTo>
                <a:lnTo>
                  <a:pt x="2217738" y="4117975"/>
                </a:lnTo>
                <a:lnTo>
                  <a:pt x="2224088" y="4144963"/>
                </a:lnTo>
                <a:lnTo>
                  <a:pt x="2232025" y="4168775"/>
                </a:lnTo>
                <a:lnTo>
                  <a:pt x="2244725" y="4183063"/>
                </a:lnTo>
                <a:lnTo>
                  <a:pt x="2306638" y="4251325"/>
                </a:lnTo>
                <a:lnTo>
                  <a:pt x="2368550" y="4313238"/>
                </a:lnTo>
                <a:lnTo>
                  <a:pt x="2435225" y="4373563"/>
                </a:lnTo>
                <a:lnTo>
                  <a:pt x="2497138" y="4424363"/>
                </a:lnTo>
                <a:lnTo>
                  <a:pt x="2562225" y="4471988"/>
                </a:lnTo>
                <a:lnTo>
                  <a:pt x="2627313" y="4510088"/>
                </a:lnTo>
                <a:lnTo>
                  <a:pt x="2660650" y="4527550"/>
                </a:lnTo>
                <a:lnTo>
                  <a:pt x="2695575" y="4543425"/>
                </a:lnTo>
                <a:lnTo>
                  <a:pt x="2728913" y="4554538"/>
                </a:lnTo>
                <a:lnTo>
                  <a:pt x="2763838" y="4567238"/>
                </a:lnTo>
                <a:lnTo>
                  <a:pt x="2800350" y="4575175"/>
                </a:lnTo>
                <a:lnTo>
                  <a:pt x="2835275" y="4584700"/>
                </a:lnTo>
                <a:lnTo>
                  <a:pt x="2871788" y="4591050"/>
                </a:lnTo>
                <a:lnTo>
                  <a:pt x="2906713" y="4594225"/>
                </a:lnTo>
                <a:lnTo>
                  <a:pt x="2943225" y="4594225"/>
                </a:lnTo>
                <a:lnTo>
                  <a:pt x="2981325" y="4594225"/>
                </a:lnTo>
                <a:lnTo>
                  <a:pt x="3021013" y="4591050"/>
                </a:lnTo>
                <a:lnTo>
                  <a:pt x="3059113" y="4584700"/>
                </a:lnTo>
                <a:lnTo>
                  <a:pt x="3097213" y="4575175"/>
                </a:lnTo>
                <a:lnTo>
                  <a:pt x="3138488" y="4564063"/>
                </a:lnTo>
                <a:lnTo>
                  <a:pt x="3178175" y="4551363"/>
                </a:lnTo>
                <a:lnTo>
                  <a:pt x="3219450" y="4537075"/>
                </a:lnTo>
                <a:lnTo>
                  <a:pt x="3263900" y="4516438"/>
                </a:lnTo>
                <a:lnTo>
                  <a:pt x="3305175" y="4495800"/>
                </a:lnTo>
                <a:lnTo>
                  <a:pt x="3349625" y="4471988"/>
                </a:lnTo>
                <a:lnTo>
                  <a:pt x="3394075" y="4445000"/>
                </a:lnTo>
                <a:lnTo>
                  <a:pt x="3617913" y="4329113"/>
                </a:lnTo>
                <a:lnTo>
                  <a:pt x="3730625" y="4271963"/>
                </a:lnTo>
                <a:lnTo>
                  <a:pt x="3843338" y="4216400"/>
                </a:lnTo>
                <a:lnTo>
                  <a:pt x="3959225" y="4168775"/>
                </a:lnTo>
                <a:lnTo>
                  <a:pt x="4019550" y="4144963"/>
                </a:lnTo>
                <a:lnTo>
                  <a:pt x="4078288" y="4124325"/>
                </a:lnTo>
                <a:lnTo>
                  <a:pt x="4138613" y="4108450"/>
                </a:lnTo>
                <a:lnTo>
                  <a:pt x="4197350" y="4094163"/>
                </a:lnTo>
                <a:lnTo>
                  <a:pt x="4259263" y="4081463"/>
                </a:lnTo>
                <a:lnTo>
                  <a:pt x="4322763" y="4073525"/>
                </a:lnTo>
                <a:lnTo>
                  <a:pt x="4337050" y="4067175"/>
                </a:lnTo>
                <a:lnTo>
                  <a:pt x="4354513" y="4057650"/>
                </a:lnTo>
                <a:lnTo>
                  <a:pt x="4375150" y="4043363"/>
                </a:lnTo>
                <a:lnTo>
                  <a:pt x="4397375" y="4025900"/>
                </a:lnTo>
                <a:lnTo>
                  <a:pt x="4418013" y="4002088"/>
                </a:lnTo>
                <a:lnTo>
                  <a:pt x="4438650" y="3978275"/>
                </a:lnTo>
                <a:lnTo>
                  <a:pt x="4456113" y="3951288"/>
                </a:lnTo>
                <a:lnTo>
                  <a:pt x="4470400" y="3921125"/>
                </a:lnTo>
                <a:lnTo>
                  <a:pt x="4497388" y="3844925"/>
                </a:lnTo>
                <a:lnTo>
                  <a:pt x="4518025" y="3767138"/>
                </a:lnTo>
                <a:lnTo>
                  <a:pt x="4537075" y="3689350"/>
                </a:lnTo>
                <a:lnTo>
                  <a:pt x="4548188" y="3613150"/>
                </a:lnTo>
                <a:lnTo>
                  <a:pt x="4560888" y="3535363"/>
                </a:lnTo>
                <a:lnTo>
                  <a:pt x="4565650" y="3457575"/>
                </a:lnTo>
                <a:lnTo>
                  <a:pt x="4572000" y="3381375"/>
                </a:lnTo>
                <a:lnTo>
                  <a:pt x="4572000" y="3300413"/>
                </a:lnTo>
                <a:lnTo>
                  <a:pt x="4572000" y="3222625"/>
                </a:lnTo>
                <a:lnTo>
                  <a:pt x="4568825" y="3143250"/>
                </a:lnTo>
                <a:lnTo>
                  <a:pt x="4562475" y="3062288"/>
                </a:lnTo>
                <a:lnTo>
                  <a:pt x="4554538" y="2982913"/>
                </a:lnTo>
                <a:lnTo>
                  <a:pt x="4533900" y="2819400"/>
                </a:lnTo>
                <a:lnTo>
                  <a:pt x="4506913" y="2652713"/>
                </a:lnTo>
                <a:lnTo>
                  <a:pt x="4479925" y="2476500"/>
                </a:lnTo>
                <a:lnTo>
                  <a:pt x="4446588" y="2292351"/>
                </a:lnTo>
                <a:lnTo>
                  <a:pt x="4429125" y="2197100"/>
                </a:lnTo>
                <a:lnTo>
                  <a:pt x="4408488" y="2098675"/>
                </a:lnTo>
                <a:lnTo>
                  <a:pt x="4384675" y="2005013"/>
                </a:lnTo>
                <a:lnTo>
                  <a:pt x="4360863" y="1906588"/>
                </a:lnTo>
                <a:lnTo>
                  <a:pt x="4360863" y="2765425"/>
                </a:lnTo>
                <a:lnTo>
                  <a:pt x="4360863" y="3698875"/>
                </a:lnTo>
                <a:lnTo>
                  <a:pt x="4357688" y="3725863"/>
                </a:lnTo>
                <a:lnTo>
                  <a:pt x="4354513" y="3752850"/>
                </a:lnTo>
                <a:lnTo>
                  <a:pt x="4349750" y="3776663"/>
                </a:lnTo>
                <a:lnTo>
                  <a:pt x="4340225" y="3797300"/>
                </a:lnTo>
                <a:lnTo>
                  <a:pt x="4327525" y="3817938"/>
                </a:lnTo>
                <a:lnTo>
                  <a:pt x="4316413" y="3838575"/>
                </a:lnTo>
                <a:lnTo>
                  <a:pt x="4302125" y="3856038"/>
                </a:lnTo>
                <a:lnTo>
                  <a:pt x="4286250" y="3870325"/>
                </a:lnTo>
                <a:lnTo>
                  <a:pt x="4265613" y="3886200"/>
                </a:lnTo>
                <a:lnTo>
                  <a:pt x="4248150" y="3900488"/>
                </a:lnTo>
                <a:lnTo>
                  <a:pt x="4203700" y="3924300"/>
                </a:lnTo>
                <a:lnTo>
                  <a:pt x="4152900" y="3944938"/>
                </a:lnTo>
                <a:lnTo>
                  <a:pt x="4098925" y="3960813"/>
                </a:lnTo>
                <a:lnTo>
                  <a:pt x="4000500" y="3989388"/>
                </a:lnTo>
                <a:lnTo>
                  <a:pt x="3906838" y="4022725"/>
                </a:lnTo>
                <a:lnTo>
                  <a:pt x="3811588" y="4057650"/>
                </a:lnTo>
                <a:lnTo>
                  <a:pt x="3716338" y="4100513"/>
                </a:lnTo>
                <a:lnTo>
                  <a:pt x="3621088" y="4144963"/>
                </a:lnTo>
                <a:lnTo>
                  <a:pt x="3532188" y="4192588"/>
                </a:lnTo>
                <a:lnTo>
                  <a:pt x="3441700" y="4243388"/>
                </a:lnTo>
                <a:lnTo>
                  <a:pt x="3359150" y="4295775"/>
                </a:lnTo>
                <a:lnTo>
                  <a:pt x="3287713" y="4329113"/>
                </a:lnTo>
                <a:lnTo>
                  <a:pt x="3222625" y="4359275"/>
                </a:lnTo>
                <a:lnTo>
                  <a:pt x="3157538" y="4379913"/>
                </a:lnTo>
                <a:lnTo>
                  <a:pt x="3094038" y="4400550"/>
                </a:lnTo>
                <a:lnTo>
                  <a:pt x="3032125" y="4411663"/>
                </a:lnTo>
                <a:lnTo>
                  <a:pt x="2973388" y="4421188"/>
                </a:lnTo>
                <a:lnTo>
                  <a:pt x="2913063" y="4421188"/>
                </a:lnTo>
                <a:lnTo>
                  <a:pt x="2857500" y="4418013"/>
                </a:lnTo>
                <a:lnTo>
                  <a:pt x="2803525" y="4406900"/>
                </a:lnTo>
                <a:lnTo>
                  <a:pt x="2749550" y="4391025"/>
                </a:lnTo>
                <a:lnTo>
                  <a:pt x="2698750" y="4367213"/>
                </a:lnTo>
                <a:lnTo>
                  <a:pt x="2647950" y="4337050"/>
                </a:lnTo>
                <a:lnTo>
                  <a:pt x="2600325" y="4302125"/>
                </a:lnTo>
                <a:lnTo>
                  <a:pt x="2554288" y="4257675"/>
                </a:lnTo>
                <a:lnTo>
                  <a:pt x="2508250" y="4206875"/>
                </a:lnTo>
                <a:lnTo>
                  <a:pt x="2466975" y="4148138"/>
                </a:lnTo>
                <a:lnTo>
                  <a:pt x="2452688" y="4117975"/>
                </a:lnTo>
                <a:lnTo>
                  <a:pt x="2439988" y="4084638"/>
                </a:lnTo>
                <a:lnTo>
                  <a:pt x="2428875" y="4049713"/>
                </a:lnTo>
                <a:lnTo>
                  <a:pt x="2419350" y="4016375"/>
                </a:lnTo>
                <a:lnTo>
                  <a:pt x="2416175" y="3981450"/>
                </a:lnTo>
                <a:lnTo>
                  <a:pt x="2416175" y="3948113"/>
                </a:lnTo>
                <a:lnTo>
                  <a:pt x="2419350" y="3916363"/>
                </a:lnTo>
                <a:lnTo>
                  <a:pt x="2425700" y="3900488"/>
                </a:lnTo>
                <a:lnTo>
                  <a:pt x="2432050" y="3886200"/>
                </a:lnTo>
                <a:lnTo>
                  <a:pt x="2446338" y="3829050"/>
                </a:lnTo>
                <a:lnTo>
                  <a:pt x="2463800" y="3778250"/>
                </a:lnTo>
                <a:lnTo>
                  <a:pt x="2484438" y="3730625"/>
                </a:lnTo>
                <a:lnTo>
                  <a:pt x="2508250" y="3684588"/>
                </a:lnTo>
                <a:lnTo>
                  <a:pt x="2535238" y="3638550"/>
                </a:lnTo>
                <a:lnTo>
                  <a:pt x="2559050" y="3597275"/>
                </a:lnTo>
                <a:lnTo>
                  <a:pt x="2616200" y="3511550"/>
                </a:lnTo>
                <a:lnTo>
                  <a:pt x="2667000" y="3406775"/>
                </a:lnTo>
                <a:lnTo>
                  <a:pt x="2705100" y="3311525"/>
                </a:lnTo>
                <a:lnTo>
                  <a:pt x="2735263" y="3222625"/>
                </a:lnTo>
                <a:lnTo>
                  <a:pt x="2763838" y="3136900"/>
                </a:lnTo>
                <a:lnTo>
                  <a:pt x="2722563" y="3181350"/>
                </a:lnTo>
                <a:lnTo>
                  <a:pt x="2681288" y="3228975"/>
                </a:lnTo>
                <a:lnTo>
                  <a:pt x="2598738" y="3330575"/>
                </a:lnTo>
                <a:lnTo>
                  <a:pt x="2514600" y="3436938"/>
                </a:lnTo>
                <a:lnTo>
                  <a:pt x="2432050" y="3549650"/>
                </a:lnTo>
                <a:lnTo>
                  <a:pt x="2374900" y="3478213"/>
                </a:lnTo>
                <a:lnTo>
                  <a:pt x="2324100" y="3409950"/>
                </a:lnTo>
                <a:lnTo>
                  <a:pt x="2276475" y="3338513"/>
                </a:lnTo>
                <a:lnTo>
                  <a:pt x="2228850" y="3267075"/>
                </a:lnTo>
                <a:lnTo>
                  <a:pt x="2143125" y="3127375"/>
                </a:lnTo>
                <a:lnTo>
                  <a:pt x="2060575" y="2987675"/>
                </a:lnTo>
                <a:lnTo>
                  <a:pt x="2047875" y="2973388"/>
                </a:lnTo>
                <a:lnTo>
                  <a:pt x="2039938" y="2955925"/>
                </a:lnTo>
                <a:lnTo>
                  <a:pt x="2030413" y="2935288"/>
                </a:lnTo>
                <a:lnTo>
                  <a:pt x="2027238" y="2914650"/>
                </a:lnTo>
                <a:lnTo>
                  <a:pt x="2020888" y="2871788"/>
                </a:lnTo>
                <a:lnTo>
                  <a:pt x="2020888" y="2840038"/>
                </a:lnTo>
                <a:lnTo>
                  <a:pt x="2063750" y="2755900"/>
                </a:lnTo>
                <a:lnTo>
                  <a:pt x="2101850" y="2673350"/>
                </a:lnTo>
                <a:lnTo>
                  <a:pt x="2176463" y="2506663"/>
                </a:lnTo>
                <a:lnTo>
                  <a:pt x="2214563" y="2428875"/>
                </a:lnTo>
                <a:lnTo>
                  <a:pt x="2255838" y="2352675"/>
                </a:lnTo>
                <a:lnTo>
                  <a:pt x="2303463" y="2274888"/>
                </a:lnTo>
                <a:lnTo>
                  <a:pt x="2330450" y="2238375"/>
                </a:lnTo>
                <a:lnTo>
                  <a:pt x="2357438" y="2203450"/>
                </a:lnTo>
                <a:lnTo>
                  <a:pt x="2482850" y="2054225"/>
                </a:lnTo>
                <a:lnTo>
                  <a:pt x="2613025" y="1909763"/>
                </a:lnTo>
                <a:lnTo>
                  <a:pt x="2743200" y="1766888"/>
                </a:lnTo>
                <a:lnTo>
                  <a:pt x="2874963" y="1630363"/>
                </a:lnTo>
                <a:lnTo>
                  <a:pt x="3138488" y="1358900"/>
                </a:lnTo>
                <a:lnTo>
                  <a:pt x="3267075" y="1222376"/>
                </a:lnTo>
                <a:lnTo>
                  <a:pt x="3394075" y="1082675"/>
                </a:lnTo>
                <a:lnTo>
                  <a:pt x="3430588" y="1044576"/>
                </a:lnTo>
                <a:lnTo>
                  <a:pt x="3468688" y="1011238"/>
                </a:lnTo>
                <a:lnTo>
                  <a:pt x="3508375" y="984250"/>
                </a:lnTo>
                <a:lnTo>
                  <a:pt x="3546475" y="963613"/>
                </a:lnTo>
                <a:lnTo>
                  <a:pt x="3587750" y="946150"/>
                </a:lnTo>
                <a:lnTo>
                  <a:pt x="3629025" y="933450"/>
                </a:lnTo>
                <a:lnTo>
                  <a:pt x="3671888" y="922338"/>
                </a:lnTo>
                <a:lnTo>
                  <a:pt x="3716338" y="915988"/>
                </a:lnTo>
                <a:lnTo>
                  <a:pt x="3802063" y="904875"/>
                </a:lnTo>
                <a:lnTo>
                  <a:pt x="3890963" y="895350"/>
                </a:lnTo>
                <a:lnTo>
                  <a:pt x="3932238" y="889000"/>
                </a:lnTo>
                <a:lnTo>
                  <a:pt x="3976688" y="881063"/>
                </a:lnTo>
                <a:lnTo>
                  <a:pt x="4022725" y="871538"/>
                </a:lnTo>
                <a:lnTo>
                  <a:pt x="4064000" y="860425"/>
                </a:lnTo>
                <a:lnTo>
                  <a:pt x="4090988" y="857250"/>
                </a:lnTo>
                <a:lnTo>
                  <a:pt x="4117975" y="854075"/>
                </a:lnTo>
                <a:lnTo>
                  <a:pt x="4143375" y="844550"/>
                </a:lnTo>
                <a:lnTo>
                  <a:pt x="4170363" y="836613"/>
                </a:lnTo>
                <a:lnTo>
                  <a:pt x="4191000" y="823913"/>
                </a:lnTo>
                <a:lnTo>
                  <a:pt x="4214813" y="812801"/>
                </a:lnTo>
                <a:lnTo>
                  <a:pt x="4233863" y="796926"/>
                </a:lnTo>
                <a:lnTo>
                  <a:pt x="4248150" y="785813"/>
                </a:lnTo>
                <a:lnTo>
                  <a:pt x="3876675" y="785813"/>
                </a:lnTo>
                <a:lnTo>
                  <a:pt x="3906838" y="728663"/>
                </a:lnTo>
                <a:lnTo>
                  <a:pt x="3938588" y="677863"/>
                </a:lnTo>
                <a:lnTo>
                  <a:pt x="3971925" y="630238"/>
                </a:lnTo>
                <a:lnTo>
                  <a:pt x="4006850" y="585788"/>
                </a:lnTo>
                <a:lnTo>
                  <a:pt x="4046538" y="544513"/>
                </a:lnTo>
                <a:lnTo>
                  <a:pt x="4084638" y="506413"/>
                </a:lnTo>
                <a:lnTo>
                  <a:pt x="4125913" y="466725"/>
                </a:lnTo>
                <a:lnTo>
                  <a:pt x="4170363" y="434975"/>
                </a:lnTo>
                <a:lnTo>
                  <a:pt x="4211638" y="401638"/>
                </a:lnTo>
                <a:lnTo>
                  <a:pt x="4259263" y="373063"/>
                </a:lnTo>
                <a:lnTo>
                  <a:pt x="4303713" y="342900"/>
                </a:lnTo>
                <a:lnTo>
                  <a:pt x="4351338" y="315913"/>
                </a:lnTo>
                <a:lnTo>
                  <a:pt x="4446588" y="268288"/>
                </a:lnTo>
                <a:lnTo>
                  <a:pt x="4545013" y="223838"/>
                </a:lnTo>
                <a:lnTo>
                  <a:pt x="4654550" y="193675"/>
                </a:lnTo>
                <a:lnTo>
                  <a:pt x="4768850" y="163513"/>
                </a:lnTo>
                <a:lnTo>
                  <a:pt x="4991101" y="98425"/>
                </a:lnTo>
                <a:lnTo>
                  <a:pt x="5100638" y="69850"/>
                </a:lnTo>
                <a:lnTo>
                  <a:pt x="5213351" y="39688"/>
                </a:lnTo>
                <a:lnTo>
                  <a:pt x="5324476" y="19050"/>
                </a:lnTo>
                <a:close/>
              </a:path>
            </a:pathLst>
          </a:custGeom>
          <a:solidFill>
            <a:schemeClr val="bg1"/>
          </a:solidFill>
          <a:ln w="6350">
            <a:solidFill>
              <a:schemeClr val="bg1"/>
            </a:solid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FFFFFF"/>
              </a:solidFill>
              <a:effectLst/>
              <a:uLnTx/>
              <a:uFillTx/>
            </a:endParaRPr>
          </a:p>
        </p:txBody>
      </p:sp>
      <p:sp>
        <p:nvSpPr>
          <p:cNvPr id="209" name="Freeform 84"/>
          <p:cNvSpPr/>
          <p:nvPr/>
        </p:nvSpPr>
        <p:spPr bwMode="auto">
          <a:xfrm flipH="1">
            <a:off x="6027271" y="2521823"/>
            <a:ext cx="267252" cy="282819"/>
          </a:xfrm>
          <a:custGeom>
            <a:avLst/>
            <a:gdLst>
              <a:gd name="connsiteX0" fmla="*/ 1820774 w 3146654"/>
              <a:gd name="connsiteY0" fmla="*/ 396240 h 3329940"/>
              <a:gd name="connsiteX1" fmla="*/ 1820774 w 3146654"/>
              <a:gd name="connsiteY1" fmla="*/ 1062990 h 3329940"/>
              <a:gd name="connsiteX2" fmla="*/ 2760574 w 3146654"/>
              <a:gd name="connsiteY2" fmla="*/ 2815590 h 3329940"/>
              <a:gd name="connsiteX3" fmla="*/ 2722474 w 3146654"/>
              <a:gd name="connsiteY3" fmla="*/ 2923540 h 3329940"/>
              <a:gd name="connsiteX4" fmla="*/ 2455774 w 3146654"/>
              <a:gd name="connsiteY4" fmla="*/ 2923540 h 3329940"/>
              <a:gd name="connsiteX5" fmla="*/ 1693774 w 3146654"/>
              <a:gd name="connsiteY5" fmla="*/ 1418590 h 3329940"/>
              <a:gd name="connsiteX6" fmla="*/ 1141324 w 3146654"/>
              <a:gd name="connsiteY6" fmla="*/ 1418590 h 3329940"/>
              <a:gd name="connsiteX7" fmla="*/ 1331824 w 3146654"/>
              <a:gd name="connsiteY7" fmla="*/ 999490 h 3329940"/>
              <a:gd name="connsiteX8" fmla="*/ 1331824 w 3146654"/>
              <a:gd name="connsiteY8" fmla="*/ 396240 h 3329940"/>
              <a:gd name="connsiteX9" fmla="*/ 2415134 w 3146654"/>
              <a:gd name="connsiteY9" fmla="*/ 0 h 3329940"/>
              <a:gd name="connsiteX10" fmla="*/ 2369414 w 3146654"/>
              <a:gd name="connsiteY10" fmla="*/ 0 h 3329940"/>
              <a:gd name="connsiteX11" fmla="*/ 1607414 w 3146654"/>
              <a:gd name="connsiteY11" fmla="*/ 0 h 3329940"/>
              <a:gd name="connsiteX12" fmla="*/ 1584960 w 3146654"/>
              <a:gd name="connsiteY12" fmla="*/ 0 h 3329940"/>
              <a:gd name="connsiteX13" fmla="*/ 1561694 w 3146654"/>
              <a:gd name="connsiteY13" fmla="*/ 0 h 3329940"/>
              <a:gd name="connsiteX14" fmla="*/ 1539240 w 3146654"/>
              <a:gd name="connsiteY14" fmla="*/ 0 h 3329940"/>
              <a:gd name="connsiteX15" fmla="*/ 777240 w 3146654"/>
              <a:gd name="connsiteY15" fmla="*/ 0 h 3329940"/>
              <a:gd name="connsiteX16" fmla="*/ 731520 w 3146654"/>
              <a:gd name="connsiteY16" fmla="*/ 0 h 3329940"/>
              <a:gd name="connsiteX17" fmla="*/ 731520 w 3146654"/>
              <a:gd name="connsiteY17" fmla="*/ 381000 h 3329940"/>
              <a:gd name="connsiteX18" fmla="*/ 784860 w 3146654"/>
              <a:gd name="connsiteY18" fmla="*/ 381000 h 3329940"/>
              <a:gd name="connsiteX19" fmla="*/ 960120 w 3146654"/>
              <a:gd name="connsiteY19" fmla="*/ 381000 h 3329940"/>
              <a:gd name="connsiteX20" fmla="*/ 960120 w 3146654"/>
              <a:gd name="connsiteY20" fmla="*/ 899160 h 3329940"/>
              <a:gd name="connsiteX21" fmla="*/ 0 w 3146654"/>
              <a:gd name="connsiteY21" fmla="*/ 2834640 h 3329940"/>
              <a:gd name="connsiteX22" fmla="*/ 297180 w 3146654"/>
              <a:gd name="connsiteY22" fmla="*/ 3329940 h 3329940"/>
              <a:gd name="connsiteX23" fmla="*/ 1561694 w 3146654"/>
              <a:gd name="connsiteY23" fmla="*/ 3329940 h 3329940"/>
              <a:gd name="connsiteX24" fmla="*/ 1584960 w 3146654"/>
              <a:gd name="connsiteY24" fmla="*/ 3329940 h 3329940"/>
              <a:gd name="connsiteX25" fmla="*/ 2849474 w 3146654"/>
              <a:gd name="connsiteY25" fmla="*/ 3329940 h 3329940"/>
              <a:gd name="connsiteX26" fmla="*/ 3146654 w 3146654"/>
              <a:gd name="connsiteY26" fmla="*/ 2834640 h 3329940"/>
              <a:gd name="connsiteX27" fmla="*/ 2186534 w 3146654"/>
              <a:gd name="connsiteY27" fmla="*/ 899160 h 3329940"/>
              <a:gd name="connsiteX28" fmla="*/ 2186534 w 3146654"/>
              <a:gd name="connsiteY28" fmla="*/ 381000 h 3329940"/>
              <a:gd name="connsiteX29" fmla="*/ 2361794 w 3146654"/>
              <a:gd name="connsiteY29" fmla="*/ 381000 h 3329940"/>
              <a:gd name="connsiteX30" fmla="*/ 2415134 w 3146654"/>
              <a:gd name="connsiteY30" fmla="*/ 381000 h 3329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3146654" h="3329940">
                <a:moveTo>
                  <a:pt x="1820774" y="396240"/>
                </a:moveTo>
                <a:lnTo>
                  <a:pt x="1820774" y="1062990"/>
                </a:lnTo>
                <a:lnTo>
                  <a:pt x="2760574" y="2815590"/>
                </a:lnTo>
                <a:lnTo>
                  <a:pt x="2722474" y="2923540"/>
                </a:lnTo>
                <a:lnTo>
                  <a:pt x="2455774" y="2923540"/>
                </a:lnTo>
                <a:lnTo>
                  <a:pt x="1693774" y="1418590"/>
                </a:lnTo>
                <a:lnTo>
                  <a:pt x="1141324" y="1418590"/>
                </a:lnTo>
                <a:lnTo>
                  <a:pt x="1331824" y="999490"/>
                </a:lnTo>
                <a:lnTo>
                  <a:pt x="1331824" y="396240"/>
                </a:lnTo>
                <a:close/>
                <a:moveTo>
                  <a:pt x="2415134" y="0"/>
                </a:moveTo>
                <a:lnTo>
                  <a:pt x="2369414" y="0"/>
                </a:lnTo>
                <a:lnTo>
                  <a:pt x="1607414" y="0"/>
                </a:lnTo>
                <a:lnTo>
                  <a:pt x="1584960" y="0"/>
                </a:lnTo>
                <a:lnTo>
                  <a:pt x="1561694" y="0"/>
                </a:lnTo>
                <a:lnTo>
                  <a:pt x="1539240" y="0"/>
                </a:lnTo>
                <a:lnTo>
                  <a:pt x="777240" y="0"/>
                </a:lnTo>
                <a:lnTo>
                  <a:pt x="731520" y="0"/>
                </a:lnTo>
                <a:lnTo>
                  <a:pt x="731520" y="381000"/>
                </a:lnTo>
                <a:lnTo>
                  <a:pt x="784860" y="381000"/>
                </a:lnTo>
                <a:lnTo>
                  <a:pt x="960120" y="381000"/>
                </a:lnTo>
                <a:lnTo>
                  <a:pt x="960120" y="899160"/>
                </a:lnTo>
                <a:lnTo>
                  <a:pt x="0" y="2834640"/>
                </a:lnTo>
                <a:lnTo>
                  <a:pt x="297180" y="3329940"/>
                </a:lnTo>
                <a:lnTo>
                  <a:pt x="1561694" y="3329940"/>
                </a:lnTo>
                <a:lnTo>
                  <a:pt x="1584960" y="3329940"/>
                </a:lnTo>
                <a:lnTo>
                  <a:pt x="2849474" y="3329940"/>
                </a:lnTo>
                <a:lnTo>
                  <a:pt x="3146654" y="2834640"/>
                </a:lnTo>
                <a:lnTo>
                  <a:pt x="2186534" y="899160"/>
                </a:lnTo>
                <a:lnTo>
                  <a:pt x="2186534" y="381000"/>
                </a:lnTo>
                <a:lnTo>
                  <a:pt x="2361794" y="381000"/>
                </a:lnTo>
                <a:lnTo>
                  <a:pt x="2415134" y="381000"/>
                </a:ln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a:ln>
                <a:noFill/>
              </a:ln>
              <a:solidFill>
                <a:srgbClr val="FFFFFF"/>
              </a:solidFill>
              <a:effectLst/>
              <a:uLnTx/>
              <a:uFillTx/>
              <a:latin typeface="Segoe UI"/>
              <a:ea typeface="Segoe UI" pitchFamily="34" charset="0"/>
              <a:cs typeface="Segoe UI" pitchFamily="34" charset="0"/>
            </a:endParaRPr>
          </a:p>
        </p:txBody>
      </p:sp>
      <p:sp>
        <p:nvSpPr>
          <p:cNvPr id="210" name="Rectangle 209"/>
          <p:cNvSpPr/>
          <p:nvPr/>
        </p:nvSpPr>
        <p:spPr bwMode="auto">
          <a:xfrm>
            <a:off x="4043785" y="1657049"/>
            <a:ext cx="1768038" cy="4187396"/>
          </a:xfrm>
          <a:prstGeom prst="rect">
            <a:avLst/>
          </a:prstGeom>
          <a:solidFill>
            <a:schemeClr val="accent1"/>
          </a:solidFill>
          <a:ln w="3175">
            <a:noFill/>
          </a:ln>
          <a:effectLst/>
        </p:spPr>
        <p:txBody>
          <a:bodyPr spcFirstLastPara="0" vert="horz" wrap="square" lIns="18281" tIns="91440" rIns="18281" bIns="91401" numCol="1" spcCol="1270" anchor="t" anchorCtr="0">
            <a:noAutofit/>
          </a:bodyPr>
          <a:lstStyle/>
          <a:p>
            <a:pPr marL="0" marR="0" lvl="0" indent="0" algn="ctr" defTabSz="725012" eaLnBrk="1" fontAlgn="auto" latinLnBrk="0" hangingPunct="1">
              <a:lnSpc>
                <a:spcPct val="100000"/>
              </a:lnSpc>
              <a:spcBef>
                <a:spcPct val="0"/>
              </a:spcBef>
              <a:spcAft>
                <a:spcPct val="35000"/>
              </a:spcAft>
              <a:buClrTx/>
              <a:buSzTx/>
              <a:buFontTx/>
              <a:buNone/>
              <a:tabLst/>
              <a:defRPr/>
            </a:pPr>
            <a:r>
              <a:rPr kumimoji="0" lang="en-US" sz="1400" b="0" i="0" u="none" strike="noStrike" kern="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Big Data Stores</a:t>
            </a:r>
          </a:p>
        </p:txBody>
      </p:sp>
      <p:sp>
        <p:nvSpPr>
          <p:cNvPr id="211" name="Rectangle 210"/>
          <p:cNvSpPr/>
          <p:nvPr/>
        </p:nvSpPr>
        <p:spPr>
          <a:xfrm>
            <a:off x="4494612" y="2438419"/>
            <a:ext cx="1271016" cy="430887"/>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FFFFFF"/>
                </a:solidFill>
                <a:effectLst/>
                <a:uLnTx/>
                <a:uFillTx/>
                <a:cs typeface="Segoe UI Semilight" panose="020B0402040204020203" pitchFamily="34" charset="0"/>
              </a:rPr>
              <a:t>SQL Data </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FFFFFF"/>
                </a:solidFill>
                <a:effectLst/>
                <a:uLnTx/>
                <a:uFillTx/>
                <a:cs typeface="Segoe UI Semilight" panose="020B0402040204020203" pitchFamily="34" charset="0"/>
              </a:rPr>
              <a:t>Warehouse</a:t>
            </a:r>
          </a:p>
        </p:txBody>
      </p:sp>
      <p:sp>
        <p:nvSpPr>
          <p:cNvPr id="212" name="Rectangle 211"/>
          <p:cNvSpPr/>
          <p:nvPr/>
        </p:nvSpPr>
        <p:spPr bwMode="auto">
          <a:xfrm>
            <a:off x="4059019" y="3373917"/>
            <a:ext cx="1706610" cy="48859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schemeClr val="tx1"/>
              </a:solidFill>
              <a:effectLst/>
              <a:uLnTx/>
              <a:uFillTx/>
              <a:ea typeface="Segoe UI" pitchFamily="34" charset="0"/>
              <a:cs typeface="Segoe UI" pitchFamily="34" charset="0"/>
            </a:endParaRPr>
          </a:p>
        </p:txBody>
      </p:sp>
      <p:sp>
        <p:nvSpPr>
          <p:cNvPr id="213" name="Rectangle 212"/>
          <p:cNvSpPr/>
          <p:nvPr/>
        </p:nvSpPr>
        <p:spPr>
          <a:xfrm>
            <a:off x="4513932" y="3481558"/>
            <a:ext cx="1271016" cy="261610"/>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chemeClr val="bg1"/>
                </a:solidFill>
                <a:effectLst/>
                <a:uLnTx/>
                <a:uFillTx/>
                <a:cs typeface="Segoe UI Semilight" panose="020B0402040204020203" pitchFamily="34" charset="0"/>
              </a:rPr>
              <a:t>Data Lake Store</a:t>
            </a:r>
          </a:p>
        </p:txBody>
      </p:sp>
      <p:grpSp>
        <p:nvGrpSpPr>
          <p:cNvPr id="214" name="Group 213"/>
          <p:cNvGrpSpPr/>
          <p:nvPr/>
        </p:nvGrpSpPr>
        <p:grpSpPr>
          <a:xfrm>
            <a:off x="4172908" y="2501835"/>
            <a:ext cx="248256" cy="304055"/>
            <a:chOff x="-3084513" y="3390510"/>
            <a:chExt cx="2716213" cy="3363913"/>
          </a:xfrm>
          <a:solidFill>
            <a:srgbClr val="FFFFFF"/>
          </a:solidFill>
        </p:grpSpPr>
        <p:sp>
          <p:nvSpPr>
            <p:cNvPr id="215" name="Freeform 40"/>
            <p:cNvSpPr>
              <a:spLocks noEditPoints="1"/>
            </p:cNvSpPr>
            <p:nvPr/>
          </p:nvSpPr>
          <p:spPr bwMode="auto">
            <a:xfrm>
              <a:off x="-3084513" y="3390510"/>
              <a:ext cx="2716213" cy="3363913"/>
            </a:xfrm>
            <a:custGeom>
              <a:avLst/>
              <a:gdLst>
                <a:gd name="T0" fmla="*/ 896 w 896"/>
                <a:gd name="T1" fmla="*/ 212 h 1107"/>
                <a:gd name="T2" fmla="*/ 448 w 896"/>
                <a:gd name="T3" fmla="*/ 0 h 1107"/>
                <a:gd name="T4" fmla="*/ 0 w 896"/>
                <a:gd name="T5" fmla="*/ 212 h 1107"/>
                <a:gd name="T6" fmla="*/ 1 w 896"/>
                <a:gd name="T7" fmla="*/ 219 h 1107"/>
                <a:gd name="T8" fmla="*/ 0 w 896"/>
                <a:gd name="T9" fmla="*/ 894 h 1107"/>
                <a:gd name="T10" fmla="*/ 448 w 896"/>
                <a:gd name="T11" fmla="*/ 1107 h 1107"/>
                <a:gd name="T12" fmla="*/ 896 w 896"/>
                <a:gd name="T13" fmla="*/ 894 h 1107"/>
                <a:gd name="T14" fmla="*/ 895 w 896"/>
                <a:gd name="T15" fmla="*/ 219 h 1107"/>
                <a:gd name="T16" fmla="*/ 305 w 896"/>
                <a:gd name="T17" fmla="*/ 679 h 1107"/>
                <a:gd name="T18" fmla="*/ 253 w 896"/>
                <a:gd name="T19" fmla="*/ 716 h 1107"/>
                <a:gd name="T20" fmla="*/ 178 w 896"/>
                <a:gd name="T21" fmla="*/ 717 h 1107"/>
                <a:gd name="T22" fmla="*/ 146 w 896"/>
                <a:gd name="T23" fmla="*/ 648 h 1107"/>
                <a:gd name="T24" fmla="*/ 213 w 896"/>
                <a:gd name="T25" fmla="*/ 674 h 1107"/>
                <a:gd name="T26" fmla="*/ 244 w 896"/>
                <a:gd name="T27" fmla="*/ 667 h 1107"/>
                <a:gd name="T28" fmla="*/ 255 w 896"/>
                <a:gd name="T29" fmla="*/ 648 h 1107"/>
                <a:gd name="T30" fmla="*/ 240 w 896"/>
                <a:gd name="T31" fmla="*/ 623 h 1107"/>
                <a:gd name="T32" fmla="*/ 202 w 896"/>
                <a:gd name="T33" fmla="*/ 604 h 1107"/>
                <a:gd name="T34" fmla="*/ 145 w 896"/>
                <a:gd name="T35" fmla="*/ 529 h 1107"/>
                <a:gd name="T36" fmla="*/ 174 w 896"/>
                <a:gd name="T37" fmla="*/ 470 h 1107"/>
                <a:gd name="T38" fmla="*/ 241 w 896"/>
                <a:gd name="T39" fmla="*/ 452 h 1107"/>
                <a:gd name="T40" fmla="*/ 302 w 896"/>
                <a:gd name="T41" fmla="*/ 462 h 1107"/>
                <a:gd name="T42" fmla="*/ 288 w 896"/>
                <a:gd name="T43" fmla="*/ 508 h 1107"/>
                <a:gd name="T44" fmla="*/ 258 w 896"/>
                <a:gd name="T45" fmla="*/ 499 h 1107"/>
                <a:gd name="T46" fmla="*/ 227 w 896"/>
                <a:gd name="T47" fmla="*/ 500 h 1107"/>
                <a:gd name="T48" fmla="*/ 206 w 896"/>
                <a:gd name="T49" fmla="*/ 513 h 1107"/>
                <a:gd name="T50" fmla="*/ 206 w 896"/>
                <a:gd name="T51" fmla="*/ 536 h 1107"/>
                <a:gd name="T52" fmla="*/ 230 w 896"/>
                <a:gd name="T53" fmla="*/ 555 h 1107"/>
                <a:gd name="T54" fmla="*/ 275 w 896"/>
                <a:gd name="T55" fmla="*/ 578 h 1107"/>
                <a:gd name="T56" fmla="*/ 308 w 896"/>
                <a:gd name="T57" fmla="*/ 615 h 1107"/>
                <a:gd name="T58" fmla="*/ 305 w 896"/>
                <a:gd name="T59" fmla="*/ 679 h 1107"/>
                <a:gd name="T60" fmla="*/ 491 w 896"/>
                <a:gd name="T61" fmla="*/ 716 h 1107"/>
                <a:gd name="T62" fmla="*/ 370 w 896"/>
                <a:gd name="T63" fmla="*/ 684 h 1107"/>
                <a:gd name="T64" fmla="*/ 371 w 896"/>
                <a:gd name="T65" fmla="*/ 490 h 1107"/>
                <a:gd name="T66" fmla="*/ 544 w 896"/>
                <a:gd name="T67" fmla="*/ 488 h 1107"/>
                <a:gd name="T68" fmla="*/ 543 w 896"/>
                <a:gd name="T69" fmla="*/ 683 h 1107"/>
                <a:gd name="T70" fmla="*/ 538 w 896"/>
                <a:gd name="T71" fmla="*/ 687 h 1107"/>
                <a:gd name="T72" fmla="*/ 523 w 896"/>
                <a:gd name="T73" fmla="*/ 751 h 1107"/>
                <a:gd name="T74" fmla="*/ 617 w 896"/>
                <a:gd name="T75" fmla="*/ 716 h 1107"/>
                <a:gd name="T76" fmla="*/ 671 w 896"/>
                <a:gd name="T77" fmla="*/ 456 h 1107"/>
                <a:gd name="T78" fmla="*/ 762 w 896"/>
                <a:gd name="T79" fmla="*/ 668 h 1107"/>
                <a:gd name="T80" fmla="*/ 448 w 896"/>
                <a:gd name="T81" fmla="*/ 329 h 1107"/>
                <a:gd name="T82" fmla="*/ 448 w 896"/>
                <a:gd name="T83" fmla="*/ 73 h 1107"/>
                <a:gd name="T84" fmla="*/ 448 w 896"/>
                <a:gd name="T85" fmla="*/ 329 h 1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96" h="1107">
                  <a:moveTo>
                    <a:pt x="896" y="215"/>
                  </a:moveTo>
                  <a:cubicBezTo>
                    <a:pt x="896" y="214"/>
                    <a:pt x="896" y="213"/>
                    <a:pt x="896" y="212"/>
                  </a:cubicBezTo>
                  <a:cubicBezTo>
                    <a:pt x="896" y="148"/>
                    <a:pt x="844" y="91"/>
                    <a:pt x="751" y="53"/>
                  </a:cubicBezTo>
                  <a:cubicBezTo>
                    <a:pt x="669" y="18"/>
                    <a:pt x="561" y="0"/>
                    <a:pt x="448" y="0"/>
                  </a:cubicBezTo>
                  <a:cubicBezTo>
                    <a:pt x="335" y="0"/>
                    <a:pt x="227" y="18"/>
                    <a:pt x="146" y="52"/>
                  </a:cubicBezTo>
                  <a:cubicBezTo>
                    <a:pt x="52" y="91"/>
                    <a:pt x="0" y="148"/>
                    <a:pt x="0" y="212"/>
                  </a:cubicBezTo>
                  <a:cubicBezTo>
                    <a:pt x="0" y="213"/>
                    <a:pt x="0" y="214"/>
                    <a:pt x="1" y="215"/>
                  </a:cubicBezTo>
                  <a:cubicBezTo>
                    <a:pt x="1" y="219"/>
                    <a:pt x="1" y="219"/>
                    <a:pt x="1" y="219"/>
                  </a:cubicBezTo>
                  <a:cubicBezTo>
                    <a:pt x="1" y="220"/>
                    <a:pt x="0" y="222"/>
                    <a:pt x="0" y="224"/>
                  </a:cubicBezTo>
                  <a:cubicBezTo>
                    <a:pt x="0" y="894"/>
                    <a:pt x="0" y="894"/>
                    <a:pt x="0" y="894"/>
                  </a:cubicBezTo>
                  <a:cubicBezTo>
                    <a:pt x="0" y="959"/>
                    <a:pt x="52" y="1016"/>
                    <a:pt x="146" y="1054"/>
                  </a:cubicBezTo>
                  <a:cubicBezTo>
                    <a:pt x="227" y="1088"/>
                    <a:pt x="335" y="1107"/>
                    <a:pt x="448" y="1107"/>
                  </a:cubicBezTo>
                  <a:cubicBezTo>
                    <a:pt x="561" y="1107"/>
                    <a:pt x="669" y="1088"/>
                    <a:pt x="751" y="1054"/>
                  </a:cubicBezTo>
                  <a:cubicBezTo>
                    <a:pt x="844" y="1016"/>
                    <a:pt x="896" y="959"/>
                    <a:pt x="896" y="894"/>
                  </a:cubicBezTo>
                  <a:cubicBezTo>
                    <a:pt x="896" y="224"/>
                    <a:pt x="896" y="224"/>
                    <a:pt x="896" y="224"/>
                  </a:cubicBezTo>
                  <a:cubicBezTo>
                    <a:pt x="896" y="222"/>
                    <a:pt x="896" y="220"/>
                    <a:pt x="895" y="219"/>
                  </a:cubicBezTo>
                  <a:lnTo>
                    <a:pt x="896" y="215"/>
                  </a:lnTo>
                  <a:close/>
                  <a:moveTo>
                    <a:pt x="305" y="679"/>
                  </a:moveTo>
                  <a:cubicBezTo>
                    <a:pt x="300" y="689"/>
                    <a:pt x="293" y="697"/>
                    <a:pt x="284" y="703"/>
                  </a:cubicBezTo>
                  <a:cubicBezTo>
                    <a:pt x="275" y="709"/>
                    <a:pt x="265" y="714"/>
                    <a:pt x="253" y="716"/>
                  </a:cubicBezTo>
                  <a:cubicBezTo>
                    <a:pt x="241" y="719"/>
                    <a:pt x="229" y="720"/>
                    <a:pt x="216" y="720"/>
                  </a:cubicBezTo>
                  <a:cubicBezTo>
                    <a:pt x="202" y="720"/>
                    <a:pt x="190" y="719"/>
                    <a:pt x="178" y="717"/>
                  </a:cubicBezTo>
                  <a:cubicBezTo>
                    <a:pt x="166" y="714"/>
                    <a:pt x="155" y="711"/>
                    <a:pt x="146" y="706"/>
                  </a:cubicBezTo>
                  <a:cubicBezTo>
                    <a:pt x="146" y="648"/>
                    <a:pt x="146" y="648"/>
                    <a:pt x="146" y="648"/>
                  </a:cubicBezTo>
                  <a:cubicBezTo>
                    <a:pt x="156" y="657"/>
                    <a:pt x="167" y="663"/>
                    <a:pt x="178" y="668"/>
                  </a:cubicBezTo>
                  <a:cubicBezTo>
                    <a:pt x="190" y="672"/>
                    <a:pt x="202" y="674"/>
                    <a:pt x="213" y="674"/>
                  </a:cubicBezTo>
                  <a:cubicBezTo>
                    <a:pt x="220" y="674"/>
                    <a:pt x="226" y="674"/>
                    <a:pt x="232" y="672"/>
                  </a:cubicBezTo>
                  <a:cubicBezTo>
                    <a:pt x="237" y="671"/>
                    <a:pt x="241" y="669"/>
                    <a:pt x="244" y="667"/>
                  </a:cubicBezTo>
                  <a:cubicBezTo>
                    <a:pt x="248" y="664"/>
                    <a:pt x="251" y="662"/>
                    <a:pt x="252" y="658"/>
                  </a:cubicBezTo>
                  <a:cubicBezTo>
                    <a:pt x="254" y="655"/>
                    <a:pt x="255" y="652"/>
                    <a:pt x="255" y="648"/>
                  </a:cubicBezTo>
                  <a:cubicBezTo>
                    <a:pt x="255" y="643"/>
                    <a:pt x="253" y="638"/>
                    <a:pt x="251" y="634"/>
                  </a:cubicBezTo>
                  <a:cubicBezTo>
                    <a:pt x="248" y="630"/>
                    <a:pt x="244" y="627"/>
                    <a:pt x="240" y="623"/>
                  </a:cubicBezTo>
                  <a:cubicBezTo>
                    <a:pt x="235" y="620"/>
                    <a:pt x="229" y="617"/>
                    <a:pt x="223" y="614"/>
                  </a:cubicBezTo>
                  <a:cubicBezTo>
                    <a:pt x="216" y="610"/>
                    <a:pt x="209" y="607"/>
                    <a:pt x="202" y="604"/>
                  </a:cubicBezTo>
                  <a:cubicBezTo>
                    <a:pt x="183" y="596"/>
                    <a:pt x="169" y="585"/>
                    <a:pt x="159" y="573"/>
                  </a:cubicBezTo>
                  <a:cubicBezTo>
                    <a:pt x="150" y="561"/>
                    <a:pt x="145" y="546"/>
                    <a:pt x="145" y="529"/>
                  </a:cubicBezTo>
                  <a:cubicBezTo>
                    <a:pt x="145" y="515"/>
                    <a:pt x="148" y="504"/>
                    <a:pt x="153" y="494"/>
                  </a:cubicBezTo>
                  <a:cubicBezTo>
                    <a:pt x="158" y="484"/>
                    <a:pt x="165" y="476"/>
                    <a:pt x="174" y="470"/>
                  </a:cubicBezTo>
                  <a:cubicBezTo>
                    <a:pt x="183" y="464"/>
                    <a:pt x="193" y="459"/>
                    <a:pt x="204" y="456"/>
                  </a:cubicBezTo>
                  <a:cubicBezTo>
                    <a:pt x="216" y="453"/>
                    <a:pt x="228" y="452"/>
                    <a:pt x="241" y="452"/>
                  </a:cubicBezTo>
                  <a:cubicBezTo>
                    <a:pt x="254" y="452"/>
                    <a:pt x="265" y="453"/>
                    <a:pt x="275" y="454"/>
                  </a:cubicBezTo>
                  <a:cubicBezTo>
                    <a:pt x="285" y="456"/>
                    <a:pt x="294" y="458"/>
                    <a:pt x="302" y="462"/>
                  </a:cubicBezTo>
                  <a:cubicBezTo>
                    <a:pt x="302" y="516"/>
                    <a:pt x="302" y="516"/>
                    <a:pt x="302" y="516"/>
                  </a:cubicBezTo>
                  <a:cubicBezTo>
                    <a:pt x="298" y="513"/>
                    <a:pt x="293" y="510"/>
                    <a:pt x="288" y="508"/>
                  </a:cubicBezTo>
                  <a:cubicBezTo>
                    <a:pt x="284" y="506"/>
                    <a:pt x="279" y="504"/>
                    <a:pt x="274" y="502"/>
                  </a:cubicBezTo>
                  <a:cubicBezTo>
                    <a:pt x="269" y="501"/>
                    <a:pt x="263" y="500"/>
                    <a:pt x="258" y="499"/>
                  </a:cubicBezTo>
                  <a:cubicBezTo>
                    <a:pt x="253" y="498"/>
                    <a:pt x="249" y="498"/>
                    <a:pt x="244" y="498"/>
                  </a:cubicBezTo>
                  <a:cubicBezTo>
                    <a:pt x="238" y="498"/>
                    <a:pt x="232" y="498"/>
                    <a:pt x="227" y="500"/>
                  </a:cubicBezTo>
                  <a:cubicBezTo>
                    <a:pt x="222" y="501"/>
                    <a:pt x="218" y="503"/>
                    <a:pt x="214" y="505"/>
                  </a:cubicBezTo>
                  <a:cubicBezTo>
                    <a:pt x="211" y="507"/>
                    <a:pt x="208" y="510"/>
                    <a:pt x="206" y="513"/>
                  </a:cubicBezTo>
                  <a:cubicBezTo>
                    <a:pt x="204" y="517"/>
                    <a:pt x="203" y="520"/>
                    <a:pt x="203" y="524"/>
                  </a:cubicBezTo>
                  <a:cubicBezTo>
                    <a:pt x="203" y="528"/>
                    <a:pt x="204" y="532"/>
                    <a:pt x="206" y="536"/>
                  </a:cubicBezTo>
                  <a:cubicBezTo>
                    <a:pt x="208" y="539"/>
                    <a:pt x="212" y="542"/>
                    <a:pt x="216" y="546"/>
                  </a:cubicBezTo>
                  <a:cubicBezTo>
                    <a:pt x="219" y="549"/>
                    <a:pt x="224" y="552"/>
                    <a:pt x="230" y="555"/>
                  </a:cubicBezTo>
                  <a:cubicBezTo>
                    <a:pt x="236" y="558"/>
                    <a:pt x="242" y="561"/>
                    <a:pt x="249" y="564"/>
                  </a:cubicBezTo>
                  <a:cubicBezTo>
                    <a:pt x="259" y="568"/>
                    <a:pt x="268" y="573"/>
                    <a:pt x="275" y="578"/>
                  </a:cubicBezTo>
                  <a:cubicBezTo>
                    <a:pt x="283" y="582"/>
                    <a:pt x="290" y="588"/>
                    <a:pt x="295" y="594"/>
                  </a:cubicBezTo>
                  <a:cubicBezTo>
                    <a:pt x="301" y="600"/>
                    <a:pt x="305" y="607"/>
                    <a:pt x="308" y="615"/>
                  </a:cubicBezTo>
                  <a:cubicBezTo>
                    <a:pt x="311" y="623"/>
                    <a:pt x="313" y="632"/>
                    <a:pt x="313" y="643"/>
                  </a:cubicBezTo>
                  <a:cubicBezTo>
                    <a:pt x="313" y="657"/>
                    <a:pt x="310" y="669"/>
                    <a:pt x="305" y="679"/>
                  </a:cubicBezTo>
                  <a:close/>
                  <a:moveTo>
                    <a:pt x="523" y="751"/>
                  </a:moveTo>
                  <a:cubicBezTo>
                    <a:pt x="491" y="716"/>
                    <a:pt x="491" y="716"/>
                    <a:pt x="491" y="716"/>
                  </a:cubicBezTo>
                  <a:cubicBezTo>
                    <a:pt x="480" y="719"/>
                    <a:pt x="468" y="720"/>
                    <a:pt x="456" y="720"/>
                  </a:cubicBezTo>
                  <a:cubicBezTo>
                    <a:pt x="421" y="720"/>
                    <a:pt x="392" y="708"/>
                    <a:pt x="370" y="684"/>
                  </a:cubicBezTo>
                  <a:cubicBezTo>
                    <a:pt x="348" y="660"/>
                    <a:pt x="337" y="628"/>
                    <a:pt x="337" y="589"/>
                  </a:cubicBezTo>
                  <a:cubicBezTo>
                    <a:pt x="337" y="549"/>
                    <a:pt x="349" y="515"/>
                    <a:pt x="371" y="490"/>
                  </a:cubicBezTo>
                  <a:cubicBezTo>
                    <a:pt x="393" y="465"/>
                    <a:pt x="423" y="452"/>
                    <a:pt x="460" y="452"/>
                  </a:cubicBezTo>
                  <a:cubicBezTo>
                    <a:pt x="494" y="452"/>
                    <a:pt x="522" y="464"/>
                    <a:pt x="544" y="488"/>
                  </a:cubicBezTo>
                  <a:cubicBezTo>
                    <a:pt x="565" y="512"/>
                    <a:pt x="576" y="544"/>
                    <a:pt x="576" y="584"/>
                  </a:cubicBezTo>
                  <a:cubicBezTo>
                    <a:pt x="576" y="625"/>
                    <a:pt x="565" y="658"/>
                    <a:pt x="543" y="683"/>
                  </a:cubicBezTo>
                  <a:cubicBezTo>
                    <a:pt x="542" y="684"/>
                    <a:pt x="541" y="684"/>
                    <a:pt x="540" y="685"/>
                  </a:cubicBezTo>
                  <a:cubicBezTo>
                    <a:pt x="540" y="686"/>
                    <a:pt x="539" y="687"/>
                    <a:pt x="538" y="687"/>
                  </a:cubicBezTo>
                  <a:cubicBezTo>
                    <a:pt x="600" y="751"/>
                    <a:pt x="600" y="751"/>
                    <a:pt x="600" y="751"/>
                  </a:cubicBezTo>
                  <a:lnTo>
                    <a:pt x="523" y="751"/>
                  </a:lnTo>
                  <a:close/>
                  <a:moveTo>
                    <a:pt x="762" y="716"/>
                  </a:moveTo>
                  <a:cubicBezTo>
                    <a:pt x="617" y="716"/>
                    <a:pt x="617" y="716"/>
                    <a:pt x="617" y="716"/>
                  </a:cubicBezTo>
                  <a:cubicBezTo>
                    <a:pt x="617" y="456"/>
                    <a:pt x="617" y="456"/>
                    <a:pt x="617" y="456"/>
                  </a:cubicBezTo>
                  <a:cubicBezTo>
                    <a:pt x="671" y="456"/>
                    <a:pt x="671" y="456"/>
                    <a:pt x="671" y="456"/>
                  </a:cubicBezTo>
                  <a:cubicBezTo>
                    <a:pt x="671" y="668"/>
                    <a:pt x="671" y="668"/>
                    <a:pt x="671" y="668"/>
                  </a:cubicBezTo>
                  <a:cubicBezTo>
                    <a:pt x="762" y="668"/>
                    <a:pt x="762" y="668"/>
                    <a:pt x="762" y="668"/>
                  </a:cubicBezTo>
                  <a:lnTo>
                    <a:pt x="762" y="716"/>
                  </a:lnTo>
                  <a:close/>
                  <a:moveTo>
                    <a:pt x="448" y="329"/>
                  </a:moveTo>
                  <a:cubicBezTo>
                    <a:pt x="250" y="329"/>
                    <a:pt x="89" y="272"/>
                    <a:pt x="89" y="201"/>
                  </a:cubicBezTo>
                  <a:cubicBezTo>
                    <a:pt x="89" y="131"/>
                    <a:pt x="250" y="73"/>
                    <a:pt x="448" y="73"/>
                  </a:cubicBezTo>
                  <a:cubicBezTo>
                    <a:pt x="646" y="73"/>
                    <a:pt x="807" y="131"/>
                    <a:pt x="807" y="201"/>
                  </a:cubicBezTo>
                  <a:cubicBezTo>
                    <a:pt x="807" y="272"/>
                    <a:pt x="646" y="329"/>
                    <a:pt x="448" y="3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216" name="Freeform 41"/>
            <p:cNvSpPr>
              <a:spLocks/>
            </p:cNvSpPr>
            <p:nvPr/>
          </p:nvSpPr>
          <p:spPr bwMode="auto">
            <a:xfrm>
              <a:off x="-1887538" y="4916098"/>
              <a:ext cx="373063" cy="511175"/>
            </a:xfrm>
            <a:custGeom>
              <a:avLst/>
              <a:gdLst>
                <a:gd name="T0" fmla="*/ 63 w 123"/>
                <a:gd name="T1" fmla="*/ 0 h 168"/>
                <a:gd name="T2" fmla="*/ 17 w 123"/>
                <a:gd name="T3" fmla="*/ 23 h 168"/>
                <a:gd name="T4" fmla="*/ 0 w 123"/>
                <a:gd name="T5" fmla="*/ 84 h 168"/>
                <a:gd name="T6" fmla="*/ 17 w 123"/>
                <a:gd name="T7" fmla="*/ 145 h 168"/>
                <a:gd name="T8" fmla="*/ 62 w 123"/>
                <a:gd name="T9" fmla="*/ 168 h 168"/>
                <a:gd name="T10" fmla="*/ 107 w 123"/>
                <a:gd name="T11" fmla="*/ 146 h 168"/>
                <a:gd name="T12" fmla="*/ 123 w 123"/>
                <a:gd name="T13" fmla="*/ 85 h 168"/>
                <a:gd name="T14" fmla="*/ 107 w 123"/>
                <a:gd name="T15" fmla="*/ 23 h 168"/>
                <a:gd name="T16" fmla="*/ 63 w 123"/>
                <a:gd name="T17"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3" h="168">
                  <a:moveTo>
                    <a:pt x="63" y="0"/>
                  </a:moveTo>
                  <a:cubicBezTo>
                    <a:pt x="44" y="0"/>
                    <a:pt x="29" y="8"/>
                    <a:pt x="17" y="23"/>
                  </a:cubicBezTo>
                  <a:cubicBezTo>
                    <a:pt x="6" y="39"/>
                    <a:pt x="0" y="59"/>
                    <a:pt x="0" y="84"/>
                  </a:cubicBezTo>
                  <a:cubicBezTo>
                    <a:pt x="0" y="110"/>
                    <a:pt x="6" y="130"/>
                    <a:pt x="17" y="145"/>
                  </a:cubicBezTo>
                  <a:cubicBezTo>
                    <a:pt x="28" y="160"/>
                    <a:pt x="43" y="168"/>
                    <a:pt x="62" y="168"/>
                  </a:cubicBezTo>
                  <a:cubicBezTo>
                    <a:pt x="81" y="168"/>
                    <a:pt x="96" y="160"/>
                    <a:pt x="107" y="146"/>
                  </a:cubicBezTo>
                  <a:cubicBezTo>
                    <a:pt x="118" y="131"/>
                    <a:pt x="123" y="111"/>
                    <a:pt x="123" y="85"/>
                  </a:cubicBezTo>
                  <a:cubicBezTo>
                    <a:pt x="123" y="59"/>
                    <a:pt x="118" y="38"/>
                    <a:pt x="107" y="23"/>
                  </a:cubicBezTo>
                  <a:cubicBezTo>
                    <a:pt x="97" y="8"/>
                    <a:pt x="82" y="0"/>
                    <a:pt x="6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grpSp>
      <p:grpSp>
        <p:nvGrpSpPr>
          <p:cNvPr id="217" name="Group 216"/>
          <p:cNvGrpSpPr/>
          <p:nvPr/>
        </p:nvGrpSpPr>
        <p:grpSpPr>
          <a:xfrm>
            <a:off x="496692" y="1666194"/>
            <a:ext cx="1854737" cy="4611909"/>
            <a:chOff x="496692" y="1666194"/>
            <a:chExt cx="1854737" cy="4611909"/>
          </a:xfrm>
        </p:grpSpPr>
        <p:sp>
          <p:nvSpPr>
            <p:cNvPr id="218" name="TextBox 217"/>
            <p:cNvSpPr txBox="1"/>
            <p:nvPr/>
          </p:nvSpPr>
          <p:spPr>
            <a:xfrm>
              <a:off x="1261370" y="1927965"/>
              <a:ext cx="1090059" cy="563250"/>
            </a:xfrm>
            <a:prstGeom prst="rect">
              <a:avLst/>
            </a:prstGeom>
            <a:noFill/>
          </p:spPr>
          <p:txBody>
            <a:bodyPr wrap="square" lIns="0" tIns="146283" rIns="182854" bIns="146283" rtlCol="0">
              <a:noAutofit/>
            </a:bodyPr>
            <a:lstStyle/>
            <a:p>
              <a:pPr marL="0" marR="0" lvl="0" indent="0" defTabSz="932563" eaLnBrk="1" fontAlgn="auto" latinLnBrk="0" hangingPunct="1">
                <a:lnSpc>
                  <a:spcPct val="90000"/>
                </a:lnSpc>
                <a:spcBef>
                  <a:spcPts val="0"/>
                </a:spcBef>
                <a:spcAft>
                  <a:spcPts val="600"/>
                </a:spcAft>
                <a:buClrTx/>
                <a:buSzTx/>
                <a:buFontTx/>
                <a:buNone/>
                <a:tabLst/>
                <a:defRPr/>
              </a:pPr>
              <a:r>
                <a:rPr kumimoji="0" lang="en-US" sz="1200" b="0" i="0" u="none" strike="noStrike" kern="0" cap="none" spc="-30" normalizeH="0" baseline="0" noProof="0" dirty="0">
                  <a:ln>
                    <a:noFill/>
                  </a:ln>
                  <a:solidFill>
                    <a:srgbClr val="002050"/>
                  </a:solidFill>
                  <a:effectLst/>
                  <a:uLnTx/>
                  <a:uFillTx/>
                  <a:latin typeface="Segoe UI Semilight" panose="020B0402040204020203" pitchFamily="34" charset="0"/>
                  <a:cs typeface="Segoe UI Semilight" panose="020B0402040204020203" pitchFamily="34" charset="0"/>
                </a:rPr>
                <a:t>Data </a:t>
              </a:r>
              <a:br>
                <a:rPr kumimoji="0" lang="en-US" sz="1200" b="0" i="0" u="none" strike="noStrike" kern="0" cap="none" spc="-30" normalizeH="0" baseline="0" noProof="0" dirty="0">
                  <a:ln>
                    <a:noFill/>
                  </a:ln>
                  <a:solidFill>
                    <a:srgbClr val="002050"/>
                  </a:solidFill>
                  <a:effectLst/>
                  <a:uLnTx/>
                  <a:uFillTx/>
                  <a:latin typeface="Segoe UI Semilight" panose="020B0402040204020203" pitchFamily="34" charset="0"/>
                  <a:cs typeface="Segoe UI Semilight" panose="020B0402040204020203" pitchFamily="34" charset="0"/>
                </a:rPr>
              </a:br>
              <a:r>
                <a:rPr kumimoji="0" lang="en-US" sz="1200" b="0" i="0" u="none" strike="noStrike" kern="0" cap="none" spc="-30" normalizeH="0" baseline="0" noProof="0" dirty="0">
                  <a:ln>
                    <a:noFill/>
                  </a:ln>
                  <a:solidFill>
                    <a:srgbClr val="002050"/>
                  </a:solidFill>
                  <a:effectLst/>
                  <a:uLnTx/>
                  <a:uFillTx/>
                  <a:latin typeface="Segoe UI Semilight" panose="020B0402040204020203" pitchFamily="34" charset="0"/>
                  <a:cs typeface="Segoe UI Semilight" panose="020B0402040204020203" pitchFamily="34" charset="0"/>
                </a:rPr>
                <a:t>Sources</a:t>
              </a:r>
            </a:p>
          </p:txBody>
        </p:sp>
        <p:sp>
          <p:nvSpPr>
            <p:cNvPr id="219" name="TextBox 218"/>
            <p:cNvSpPr txBox="1"/>
            <p:nvPr/>
          </p:nvSpPr>
          <p:spPr>
            <a:xfrm>
              <a:off x="1214236" y="3529646"/>
              <a:ext cx="1090059" cy="579230"/>
            </a:xfrm>
            <a:prstGeom prst="rect">
              <a:avLst/>
            </a:prstGeom>
            <a:noFill/>
          </p:spPr>
          <p:txBody>
            <a:bodyPr wrap="square" lIns="0" tIns="146283" rIns="182854" bIns="146283" rtlCol="0">
              <a:noAutofit/>
            </a:bodyPr>
            <a:lstStyle/>
            <a:p>
              <a:pPr marL="0" marR="0" lvl="0" indent="0" defTabSz="932563" eaLnBrk="1" fontAlgn="auto" latinLnBrk="0" hangingPunct="1">
                <a:lnSpc>
                  <a:spcPct val="90000"/>
                </a:lnSpc>
                <a:spcBef>
                  <a:spcPct val="0"/>
                </a:spcBef>
                <a:spcAft>
                  <a:spcPts val="600"/>
                </a:spcAft>
                <a:buClrTx/>
                <a:buSzTx/>
                <a:buFontTx/>
                <a:buNone/>
                <a:tabLst/>
                <a:defRPr/>
              </a:pPr>
              <a:r>
                <a:rPr kumimoji="0" lang="en-US" sz="1200" b="0" i="0" u="none" strike="noStrike" kern="0" cap="none" spc="-30" normalizeH="0" baseline="0" noProof="0" dirty="0">
                  <a:ln>
                    <a:noFill/>
                  </a:ln>
                  <a:solidFill>
                    <a:srgbClr val="002050"/>
                  </a:solidFill>
                  <a:effectLst/>
                  <a:uLnTx/>
                  <a:uFillTx/>
                  <a:latin typeface="Segoe UI Semilight" panose="020B0402040204020203" pitchFamily="34" charset="0"/>
                  <a:cs typeface="Segoe UI Semilight" panose="020B0402040204020203" pitchFamily="34" charset="0"/>
                </a:rPr>
                <a:t>Apps</a:t>
              </a:r>
            </a:p>
          </p:txBody>
        </p:sp>
        <p:sp>
          <p:nvSpPr>
            <p:cNvPr id="220" name="TextBox 219"/>
            <p:cNvSpPr txBox="1"/>
            <p:nvPr/>
          </p:nvSpPr>
          <p:spPr>
            <a:xfrm>
              <a:off x="1261370" y="4995093"/>
              <a:ext cx="974964" cy="616531"/>
            </a:xfrm>
            <a:prstGeom prst="rect">
              <a:avLst/>
            </a:prstGeom>
            <a:noFill/>
          </p:spPr>
          <p:txBody>
            <a:bodyPr wrap="square" lIns="0" tIns="146283" rIns="182854" bIns="146283" rtlCol="0">
              <a:noAutofit/>
            </a:bodyPr>
            <a:lstStyle/>
            <a:p>
              <a:pPr marL="0" marR="0" lvl="0" indent="0" defTabSz="932563" eaLnBrk="1" fontAlgn="auto" latinLnBrk="0" hangingPunct="1">
                <a:lnSpc>
                  <a:spcPct val="90000"/>
                </a:lnSpc>
                <a:spcBef>
                  <a:spcPct val="0"/>
                </a:spcBef>
                <a:spcAft>
                  <a:spcPts val="600"/>
                </a:spcAft>
                <a:buClrTx/>
                <a:buSzTx/>
                <a:buFontTx/>
                <a:buNone/>
                <a:tabLst/>
                <a:defRPr/>
              </a:pPr>
              <a:r>
                <a:rPr kumimoji="0" lang="en-US" sz="1200" b="0" i="0" u="none" strike="noStrike" kern="0" cap="none" spc="-30" normalizeH="0" baseline="0" noProof="0" dirty="0">
                  <a:ln>
                    <a:noFill/>
                  </a:ln>
                  <a:solidFill>
                    <a:srgbClr val="002050"/>
                  </a:solidFill>
                  <a:effectLst/>
                  <a:uLnTx/>
                  <a:uFillTx/>
                  <a:latin typeface="Segoe UI Semilight" panose="020B0402040204020203" pitchFamily="34" charset="0"/>
                  <a:cs typeface="Segoe UI Semilight" panose="020B0402040204020203" pitchFamily="34" charset="0"/>
                </a:rPr>
                <a:t>Sensors </a:t>
              </a:r>
              <a:br>
                <a:rPr kumimoji="0" lang="en-US" sz="1200" b="0" i="0" u="none" strike="noStrike" kern="0" cap="none" spc="-30" normalizeH="0" baseline="0" noProof="0" dirty="0">
                  <a:ln>
                    <a:noFill/>
                  </a:ln>
                  <a:solidFill>
                    <a:srgbClr val="002050"/>
                  </a:solidFill>
                  <a:effectLst/>
                  <a:uLnTx/>
                  <a:uFillTx/>
                  <a:latin typeface="Segoe UI Semilight" panose="020B0402040204020203" pitchFamily="34" charset="0"/>
                  <a:cs typeface="Segoe UI Semilight" panose="020B0402040204020203" pitchFamily="34" charset="0"/>
                </a:rPr>
              </a:br>
              <a:r>
                <a:rPr kumimoji="0" lang="en-US" sz="1200" b="0" i="0" u="none" strike="noStrike" kern="0" cap="none" spc="-30" normalizeH="0" baseline="0" noProof="0" dirty="0">
                  <a:ln>
                    <a:noFill/>
                  </a:ln>
                  <a:solidFill>
                    <a:srgbClr val="002050"/>
                  </a:solidFill>
                  <a:effectLst/>
                  <a:uLnTx/>
                  <a:uFillTx/>
                  <a:latin typeface="Segoe UI Semilight" panose="020B0402040204020203" pitchFamily="34" charset="0"/>
                  <a:cs typeface="Segoe UI Semilight" panose="020B0402040204020203" pitchFamily="34" charset="0"/>
                </a:rPr>
                <a:t>and </a:t>
              </a:r>
              <a:br>
                <a:rPr kumimoji="0" lang="en-US" sz="1200" b="0" i="0" u="none" strike="noStrike" kern="0" cap="none" spc="-30" normalizeH="0" baseline="0" noProof="0" dirty="0">
                  <a:ln>
                    <a:noFill/>
                  </a:ln>
                  <a:solidFill>
                    <a:srgbClr val="002050"/>
                  </a:solidFill>
                  <a:effectLst/>
                  <a:uLnTx/>
                  <a:uFillTx/>
                  <a:latin typeface="Segoe UI Semilight" panose="020B0402040204020203" pitchFamily="34" charset="0"/>
                  <a:cs typeface="Segoe UI Semilight" panose="020B0402040204020203" pitchFamily="34" charset="0"/>
                </a:rPr>
              </a:br>
              <a:r>
                <a:rPr kumimoji="0" lang="en-US" sz="1200" b="0" i="0" u="none" strike="noStrike" kern="0" cap="none" spc="-30" normalizeH="0" baseline="0" noProof="0" dirty="0">
                  <a:ln>
                    <a:noFill/>
                  </a:ln>
                  <a:solidFill>
                    <a:srgbClr val="002050"/>
                  </a:solidFill>
                  <a:effectLst/>
                  <a:uLnTx/>
                  <a:uFillTx/>
                  <a:latin typeface="Segoe UI Semilight" panose="020B0402040204020203" pitchFamily="34" charset="0"/>
                  <a:cs typeface="Segoe UI Semilight" panose="020B0402040204020203" pitchFamily="34" charset="0"/>
                </a:rPr>
                <a:t>devices</a:t>
              </a:r>
            </a:p>
          </p:txBody>
        </p:sp>
        <p:sp>
          <p:nvSpPr>
            <p:cNvPr id="221" name="Rectangle 220"/>
            <p:cNvSpPr/>
            <p:nvPr/>
          </p:nvSpPr>
          <p:spPr>
            <a:xfrm>
              <a:off x="813890" y="5956959"/>
              <a:ext cx="933597" cy="321144"/>
            </a:xfrm>
            <a:prstGeom prst="rect">
              <a:avLst/>
            </a:prstGeom>
          </p:spPr>
          <p:txBody>
            <a:bodyPr wrap="none" lIns="0" tIns="0" rIns="0" bIns="0" anchor="ctr">
              <a:noAutofit/>
            </a:bodyPr>
            <a:lstStyle/>
            <a:p>
              <a:pPr marL="0" marR="0" lvl="0" indent="0" defTabSz="914400" eaLnBrk="1" fontAlgn="auto" latinLnBrk="0" hangingPunct="1">
                <a:lnSpc>
                  <a:spcPct val="90000"/>
                </a:lnSpc>
                <a:spcBef>
                  <a:spcPts val="0"/>
                </a:spcBef>
                <a:spcAft>
                  <a:spcPts val="0"/>
                </a:spcAft>
                <a:buClrTx/>
                <a:buSzTx/>
                <a:buFontTx/>
                <a:buNone/>
                <a:tabLst/>
                <a:defRPr/>
              </a:pPr>
              <a:r>
                <a:rPr kumimoji="0" lang="en-US" sz="2400" b="0" i="0" u="none" strike="noStrike" kern="0" cap="none" spc="0" normalizeH="0" baseline="0" noProof="0" dirty="0">
                  <a:ln>
                    <a:noFill/>
                  </a:ln>
                  <a:solidFill>
                    <a:srgbClr val="002050"/>
                  </a:solidFill>
                  <a:effectLst/>
                  <a:uLnTx/>
                  <a:uFillTx/>
                  <a:latin typeface="Segoe UI Light"/>
                </a:rPr>
                <a:t>Data</a:t>
              </a:r>
            </a:p>
          </p:txBody>
        </p:sp>
        <p:grpSp>
          <p:nvGrpSpPr>
            <p:cNvPr id="222" name="Group 221"/>
            <p:cNvGrpSpPr/>
            <p:nvPr/>
          </p:nvGrpSpPr>
          <p:grpSpPr>
            <a:xfrm>
              <a:off x="1789019" y="1666194"/>
              <a:ext cx="308472" cy="4199169"/>
              <a:chOff x="1776319" y="1369399"/>
              <a:chExt cx="308472" cy="3830198"/>
            </a:xfrm>
          </p:grpSpPr>
          <p:sp>
            <p:nvSpPr>
              <p:cNvPr id="237" name="Freeform 112"/>
              <p:cNvSpPr/>
              <p:nvPr/>
            </p:nvSpPr>
            <p:spPr bwMode="auto">
              <a:xfrm>
                <a:off x="1960934" y="1369399"/>
                <a:ext cx="123857" cy="3830198"/>
              </a:xfrm>
              <a:custGeom>
                <a:avLst/>
                <a:gdLst>
                  <a:gd name="connsiteX0" fmla="*/ 247650 w 247650"/>
                  <a:gd name="connsiteY0" fmla="*/ 0 h 295275"/>
                  <a:gd name="connsiteX1" fmla="*/ 0 w 247650"/>
                  <a:gd name="connsiteY1" fmla="*/ 0 h 295275"/>
                  <a:gd name="connsiteX2" fmla="*/ 0 w 247650"/>
                  <a:gd name="connsiteY2" fmla="*/ 295275 h 295275"/>
                  <a:gd name="connsiteX3" fmla="*/ 238125 w 247650"/>
                  <a:gd name="connsiteY3" fmla="*/ 295275 h 295275"/>
                </a:gdLst>
                <a:ahLst/>
                <a:cxnLst>
                  <a:cxn ang="0">
                    <a:pos x="connsiteX0" y="connsiteY0"/>
                  </a:cxn>
                  <a:cxn ang="0">
                    <a:pos x="connsiteX1" y="connsiteY1"/>
                  </a:cxn>
                  <a:cxn ang="0">
                    <a:pos x="connsiteX2" y="connsiteY2"/>
                  </a:cxn>
                  <a:cxn ang="0">
                    <a:pos x="connsiteX3" y="connsiteY3"/>
                  </a:cxn>
                </a:cxnLst>
                <a:rect l="l" t="t" r="r" b="b"/>
                <a:pathLst>
                  <a:path w="247650" h="295275">
                    <a:moveTo>
                      <a:pt x="247650" y="0"/>
                    </a:moveTo>
                    <a:lnTo>
                      <a:pt x="0" y="0"/>
                    </a:lnTo>
                    <a:lnTo>
                      <a:pt x="0" y="295275"/>
                    </a:lnTo>
                    <a:lnTo>
                      <a:pt x="238125" y="295275"/>
                    </a:lnTo>
                  </a:path>
                </a:pathLst>
              </a:custGeom>
              <a:noFill/>
              <a:ln w="12700" cap="flat" cmpd="sng" algn="ctr">
                <a:solidFill>
                  <a:srgbClr val="0078D7"/>
                </a:solidFill>
                <a:prstDash val="solid"/>
                <a:headEnd type="none" w="med" len="med"/>
                <a:tailEnd type="none" w="med" len="me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a typeface="+mn-ea"/>
                  <a:cs typeface="+mn-cs"/>
                </a:endParaRPr>
              </a:p>
            </p:txBody>
          </p:sp>
          <p:cxnSp>
            <p:nvCxnSpPr>
              <p:cNvPr id="238" name="Straight Connector 237"/>
              <p:cNvCxnSpPr/>
              <p:nvPr/>
            </p:nvCxnSpPr>
            <p:spPr>
              <a:xfrm>
                <a:off x="1776319" y="3284498"/>
                <a:ext cx="308472" cy="0"/>
              </a:xfrm>
              <a:prstGeom prst="line">
                <a:avLst/>
              </a:prstGeom>
              <a:noFill/>
              <a:ln w="12700" cap="flat" cmpd="sng" algn="ctr">
                <a:solidFill>
                  <a:srgbClr val="0078D7"/>
                </a:solidFill>
                <a:prstDash val="solid"/>
                <a:headEnd type="none"/>
                <a:tailEnd type="none"/>
              </a:ln>
              <a:effectLst/>
            </p:spPr>
          </p:cxnSp>
        </p:grpSp>
        <p:sp>
          <p:nvSpPr>
            <p:cNvPr id="223" name="Freeform 34"/>
            <p:cNvSpPr>
              <a:spLocks noChangeAspect="1" noEditPoints="1"/>
            </p:cNvSpPr>
            <p:nvPr/>
          </p:nvSpPr>
          <p:spPr bwMode="auto">
            <a:xfrm>
              <a:off x="496692" y="2050430"/>
              <a:ext cx="530352" cy="419571"/>
            </a:xfrm>
            <a:custGeom>
              <a:avLst/>
              <a:gdLst>
                <a:gd name="T0" fmla="*/ 234 w 1464"/>
                <a:gd name="T1" fmla="*/ 815 h 1158"/>
                <a:gd name="T2" fmla="*/ 206 w 1464"/>
                <a:gd name="T3" fmla="*/ 1158 h 1158"/>
                <a:gd name="T4" fmla="*/ 33 w 1464"/>
                <a:gd name="T5" fmla="*/ 1131 h 1158"/>
                <a:gd name="T6" fmla="*/ 89 w 1464"/>
                <a:gd name="T7" fmla="*/ 876 h 1158"/>
                <a:gd name="T8" fmla="*/ 183 w 1464"/>
                <a:gd name="T9" fmla="*/ 876 h 1158"/>
                <a:gd name="T10" fmla="*/ 323 w 1464"/>
                <a:gd name="T11" fmla="*/ 1158 h 1158"/>
                <a:gd name="T12" fmla="*/ 495 w 1464"/>
                <a:gd name="T13" fmla="*/ 1131 h 1158"/>
                <a:gd name="T14" fmla="*/ 295 w 1464"/>
                <a:gd name="T15" fmla="*/ 748 h 1158"/>
                <a:gd name="T16" fmla="*/ 295 w 1464"/>
                <a:gd name="T17" fmla="*/ 1131 h 1158"/>
                <a:gd name="T18" fmla="*/ 584 w 1464"/>
                <a:gd name="T19" fmla="*/ 1158 h 1158"/>
                <a:gd name="T20" fmla="*/ 757 w 1464"/>
                <a:gd name="T21" fmla="*/ 1131 h 1158"/>
                <a:gd name="T22" fmla="*/ 557 w 1464"/>
                <a:gd name="T23" fmla="*/ 493 h 1158"/>
                <a:gd name="T24" fmla="*/ 557 w 1464"/>
                <a:gd name="T25" fmla="*/ 1131 h 1158"/>
                <a:gd name="T26" fmla="*/ 863 w 1464"/>
                <a:gd name="T27" fmla="*/ 676 h 1158"/>
                <a:gd name="T28" fmla="*/ 813 w 1464"/>
                <a:gd name="T29" fmla="*/ 1131 h 1158"/>
                <a:gd name="T30" fmla="*/ 991 w 1464"/>
                <a:gd name="T31" fmla="*/ 1158 h 1158"/>
                <a:gd name="T32" fmla="*/ 1013 w 1464"/>
                <a:gd name="T33" fmla="*/ 610 h 1158"/>
                <a:gd name="T34" fmla="*/ 902 w 1464"/>
                <a:gd name="T35" fmla="*/ 687 h 1158"/>
                <a:gd name="T36" fmla="*/ 1074 w 1464"/>
                <a:gd name="T37" fmla="*/ 1131 h 1158"/>
                <a:gd name="T38" fmla="*/ 1247 w 1464"/>
                <a:gd name="T39" fmla="*/ 1158 h 1158"/>
                <a:gd name="T40" fmla="*/ 1275 w 1464"/>
                <a:gd name="T41" fmla="*/ 366 h 1158"/>
                <a:gd name="T42" fmla="*/ 1074 w 1464"/>
                <a:gd name="T43" fmla="*/ 549 h 1158"/>
                <a:gd name="T44" fmla="*/ 1442 w 1464"/>
                <a:gd name="T45" fmla="*/ 0 h 1158"/>
                <a:gd name="T46" fmla="*/ 1024 w 1464"/>
                <a:gd name="T47" fmla="*/ 33 h 1158"/>
                <a:gd name="T48" fmla="*/ 1130 w 1464"/>
                <a:gd name="T49" fmla="*/ 166 h 1158"/>
                <a:gd name="T50" fmla="*/ 935 w 1464"/>
                <a:gd name="T51" fmla="*/ 410 h 1158"/>
                <a:gd name="T52" fmla="*/ 896 w 1464"/>
                <a:gd name="T53" fmla="*/ 416 h 1158"/>
                <a:gd name="T54" fmla="*/ 540 w 1464"/>
                <a:gd name="T55" fmla="*/ 94 h 1158"/>
                <a:gd name="T56" fmla="*/ 11 w 1464"/>
                <a:gd name="T57" fmla="*/ 704 h 1158"/>
                <a:gd name="T58" fmla="*/ 117 w 1464"/>
                <a:gd name="T59" fmla="*/ 848 h 1158"/>
                <a:gd name="T60" fmla="*/ 156 w 1464"/>
                <a:gd name="T61" fmla="*/ 848 h 1158"/>
                <a:gd name="T62" fmla="*/ 534 w 1464"/>
                <a:gd name="T63" fmla="*/ 443 h 1158"/>
                <a:gd name="T64" fmla="*/ 885 w 1464"/>
                <a:gd name="T65" fmla="*/ 649 h 1158"/>
                <a:gd name="T66" fmla="*/ 930 w 1464"/>
                <a:gd name="T67" fmla="*/ 643 h 1158"/>
                <a:gd name="T68" fmla="*/ 1269 w 1464"/>
                <a:gd name="T69" fmla="*/ 321 h 1158"/>
                <a:gd name="T70" fmla="*/ 1420 w 1464"/>
                <a:gd name="T71" fmla="*/ 460 h 1158"/>
                <a:gd name="T72" fmla="*/ 1442 w 1464"/>
                <a:gd name="T73" fmla="*/ 449 h 1158"/>
                <a:gd name="T74" fmla="*/ 1442 w 1464"/>
                <a:gd name="T75" fmla="*/ 0 h 1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464" h="1158">
                  <a:moveTo>
                    <a:pt x="183" y="876"/>
                  </a:moveTo>
                  <a:cubicBezTo>
                    <a:pt x="234" y="815"/>
                    <a:pt x="234" y="815"/>
                    <a:pt x="234" y="815"/>
                  </a:cubicBezTo>
                  <a:cubicBezTo>
                    <a:pt x="234" y="1131"/>
                    <a:pt x="234" y="1131"/>
                    <a:pt x="234" y="1131"/>
                  </a:cubicBezTo>
                  <a:cubicBezTo>
                    <a:pt x="234" y="1147"/>
                    <a:pt x="222" y="1158"/>
                    <a:pt x="206" y="1158"/>
                  </a:cubicBezTo>
                  <a:cubicBezTo>
                    <a:pt x="61" y="1158"/>
                    <a:pt x="61" y="1158"/>
                    <a:pt x="61" y="1158"/>
                  </a:cubicBezTo>
                  <a:cubicBezTo>
                    <a:pt x="50" y="1158"/>
                    <a:pt x="33" y="1147"/>
                    <a:pt x="33" y="1131"/>
                  </a:cubicBezTo>
                  <a:cubicBezTo>
                    <a:pt x="33" y="820"/>
                    <a:pt x="33" y="820"/>
                    <a:pt x="33" y="820"/>
                  </a:cubicBezTo>
                  <a:cubicBezTo>
                    <a:pt x="89" y="876"/>
                    <a:pt x="89" y="876"/>
                    <a:pt x="89" y="876"/>
                  </a:cubicBezTo>
                  <a:cubicBezTo>
                    <a:pt x="100" y="887"/>
                    <a:pt x="117" y="898"/>
                    <a:pt x="133" y="898"/>
                  </a:cubicBezTo>
                  <a:cubicBezTo>
                    <a:pt x="150" y="898"/>
                    <a:pt x="172" y="887"/>
                    <a:pt x="183" y="876"/>
                  </a:cubicBezTo>
                  <a:close/>
                  <a:moveTo>
                    <a:pt x="295" y="1131"/>
                  </a:moveTo>
                  <a:cubicBezTo>
                    <a:pt x="295" y="1147"/>
                    <a:pt x="306" y="1158"/>
                    <a:pt x="323" y="1158"/>
                  </a:cubicBezTo>
                  <a:cubicBezTo>
                    <a:pt x="467" y="1158"/>
                    <a:pt x="467" y="1158"/>
                    <a:pt x="467" y="1158"/>
                  </a:cubicBezTo>
                  <a:cubicBezTo>
                    <a:pt x="484" y="1158"/>
                    <a:pt x="495" y="1147"/>
                    <a:pt x="495" y="1131"/>
                  </a:cubicBezTo>
                  <a:cubicBezTo>
                    <a:pt x="495" y="527"/>
                    <a:pt x="495" y="527"/>
                    <a:pt x="495" y="527"/>
                  </a:cubicBezTo>
                  <a:cubicBezTo>
                    <a:pt x="295" y="748"/>
                    <a:pt x="295" y="748"/>
                    <a:pt x="295" y="748"/>
                  </a:cubicBezTo>
                  <a:cubicBezTo>
                    <a:pt x="295" y="1131"/>
                    <a:pt x="295" y="1131"/>
                    <a:pt x="295" y="1131"/>
                  </a:cubicBezTo>
                  <a:cubicBezTo>
                    <a:pt x="295" y="1131"/>
                    <a:pt x="295" y="1131"/>
                    <a:pt x="295" y="1131"/>
                  </a:cubicBezTo>
                  <a:close/>
                  <a:moveTo>
                    <a:pt x="557" y="1131"/>
                  </a:moveTo>
                  <a:cubicBezTo>
                    <a:pt x="557" y="1147"/>
                    <a:pt x="568" y="1158"/>
                    <a:pt x="584" y="1158"/>
                  </a:cubicBezTo>
                  <a:cubicBezTo>
                    <a:pt x="729" y="1158"/>
                    <a:pt x="729" y="1158"/>
                    <a:pt x="729" y="1158"/>
                  </a:cubicBezTo>
                  <a:cubicBezTo>
                    <a:pt x="746" y="1158"/>
                    <a:pt x="757" y="1147"/>
                    <a:pt x="757" y="1131"/>
                  </a:cubicBezTo>
                  <a:cubicBezTo>
                    <a:pt x="757" y="615"/>
                    <a:pt x="757" y="615"/>
                    <a:pt x="757" y="615"/>
                  </a:cubicBezTo>
                  <a:cubicBezTo>
                    <a:pt x="557" y="493"/>
                    <a:pt x="557" y="493"/>
                    <a:pt x="557" y="493"/>
                  </a:cubicBezTo>
                  <a:cubicBezTo>
                    <a:pt x="557" y="1131"/>
                    <a:pt x="557" y="1131"/>
                    <a:pt x="557" y="1131"/>
                  </a:cubicBezTo>
                  <a:cubicBezTo>
                    <a:pt x="557" y="1131"/>
                    <a:pt x="557" y="1131"/>
                    <a:pt x="557" y="1131"/>
                  </a:cubicBezTo>
                  <a:close/>
                  <a:moveTo>
                    <a:pt x="902" y="687"/>
                  </a:moveTo>
                  <a:cubicBezTo>
                    <a:pt x="891" y="687"/>
                    <a:pt x="874" y="687"/>
                    <a:pt x="863" y="676"/>
                  </a:cubicBezTo>
                  <a:cubicBezTo>
                    <a:pt x="813" y="649"/>
                    <a:pt x="813" y="649"/>
                    <a:pt x="813" y="649"/>
                  </a:cubicBezTo>
                  <a:cubicBezTo>
                    <a:pt x="813" y="1131"/>
                    <a:pt x="813" y="1131"/>
                    <a:pt x="813" y="1131"/>
                  </a:cubicBezTo>
                  <a:cubicBezTo>
                    <a:pt x="813" y="1147"/>
                    <a:pt x="829" y="1158"/>
                    <a:pt x="841" y="1158"/>
                  </a:cubicBezTo>
                  <a:cubicBezTo>
                    <a:pt x="991" y="1158"/>
                    <a:pt x="991" y="1158"/>
                    <a:pt x="991" y="1158"/>
                  </a:cubicBezTo>
                  <a:cubicBezTo>
                    <a:pt x="1002" y="1158"/>
                    <a:pt x="1013" y="1147"/>
                    <a:pt x="1013" y="1131"/>
                  </a:cubicBezTo>
                  <a:cubicBezTo>
                    <a:pt x="1013" y="610"/>
                    <a:pt x="1013" y="610"/>
                    <a:pt x="1013" y="610"/>
                  </a:cubicBezTo>
                  <a:cubicBezTo>
                    <a:pt x="958" y="671"/>
                    <a:pt x="958" y="671"/>
                    <a:pt x="958" y="671"/>
                  </a:cubicBezTo>
                  <a:cubicBezTo>
                    <a:pt x="941" y="682"/>
                    <a:pt x="924" y="687"/>
                    <a:pt x="902" y="687"/>
                  </a:cubicBezTo>
                  <a:close/>
                  <a:moveTo>
                    <a:pt x="1074" y="549"/>
                  </a:moveTo>
                  <a:cubicBezTo>
                    <a:pt x="1074" y="1131"/>
                    <a:pt x="1074" y="1131"/>
                    <a:pt x="1074" y="1131"/>
                  </a:cubicBezTo>
                  <a:cubicBezTo>
                    <a:pt x="1074" y="1147"/>
                    <a:pt x="1086" y="1158"/>
                    <a:pt x="1102" y="1158"/>
                  </a:cubicBezTo>
                  <a:cubicBezTo>
                    <a:pt x="1247" y="1158"/>
                    <a:pt x="1247" y="1158"/>
                    <a:pt x="1247" y="1158"/>
                  </a:cubicBezTo>
                  <a:cubicBezTo>
                    <a:pt x="1264" y="1158"/>
                    <a:pt x="1275" y="1147"/>
                    <a:pt x="1275" y="1131"/>
                  </a:cubicBezTo>
                  <a:cubicBezTo>
                    <a:pt x="1275" y="366"/>
                    <a:pt x="1275" y="366"/>
                    <a:pt x="1275" y="366"/>
                  </a:cubicBezTo>
                  <a:cubicBezTo>
                    <a:pt x="1269" y="360"/>
                    <a:pt x="1269" y="360"/>
                    <a:pt x="1269" y="360"/>
                  </a:cubicBezTo>
                  <a:cubicBezTo>
                    <a:pt x="1074" y="549"/>
                    <a:pt x="1074" y="549"/>
                    <a:pt x="1074" y="549"/>
                  </a:cubicBezTo>
                  <a:cubicBezTo>
                    <a:pt x="1074" y="549"/>
                    <a:pt x="1074" y="549"/>
                    <a:pt x="1074" y="549"/>
                  </a:cubicBezTo>
                  <a:close/>
                  <a:moveTo>
                    <a:pt x="1442" y="0"/>
                  </a:moveTo>
                  <a:cubicBezTo>
                    <a:pt x="1442" y="0"/>
                    <a:pt x="1442" y="0"/>
                    <a:pt x="1442" y="0"/>
                  </a:cubicBezTo>
                  <a:cubicBezTo>
                    <a:pt x="1024" y="33"/>
                    <a:pt x="1024" y="33"/>
                    <a:pt x="1024" y="33"/>
                  </a:cubicBezTo>
                  <a:cubicBezTo>
                    <a:pt x="1008" y="33"/>
                    <a:pt x="1002" y="44"/>
                    <a:pt x="1013" y="50"/>
                  </a:cubicBezTo>
                  <a:cubicBezTo>
                    <a:pt x="1130" y="166"/>
                    <a:pt x="1130" y="166"/>
                    <a:pt x="1130" y="166"/>
                  </a:cubicBezTo>
                  <a:cubicBezTo>
                    <a:pt x="1141" y="177"/>
                    <a:pt x="1141" y="194"/>
                    <a:pt x="1130" y="205"/>
                  </a:cubicBezTo>
                  <a:cubicBezTo>
                    <a:pt x="935" y="410"/>
                    <a:pt x="935" y="410"/>
                    <a:pt x="935" y="410"/>
                  </a:cubicBezTo>
                  <a:cubicBezTo>
                    <a:pt x="930" y="416"/>
                    <a:pt x="924" y="421"/>
                    <a:pt x="919" y="421"/>
                  </a:cubicBezTo>
                  <a:cubicBezTo>
                    <a:pt x="907" y="421"/>
                    <a:pt x="902" y="416"/>
                    <a:pt x="896" y="416"/>
                  </a:cubicBezTo>
                  <a:cubicBezTo>
                    <a:pt x="557" y="100"/>
                    <a:pt x="557" y="100"/>
                    <a:pt x="557" y="100"/>
                  </a:cubicBezTo>
                  <a:cubicBezTo>
                    <a:pt x="551" y="94"/>
                    <a:pt x="545" y="94"/>
                    <a:pt x="540" y="94"/>
                  </a:cubicBezTo>
                  <a:cubicBezTo>
                    <a:pt x="529" y="94"/>
                    <a:pt x="523" y="94"/>
                    <a:pt x="518" y="100"/>
                  </a:cubicBezTo>
                  <a:cubicBezTo>
                    <a:pt x="11" y="704"/>
                    <a:pt x="11" y="704"/>
                    <a:pt x="11" y="704"/>
                  </a:cubicBezTo>
                  <a:cubicBezTo>
                    <a:pt x="0" y="715"/>
                    <a:pt x="0" y="737"/>
                    <a:pt x="11" y="748"/>
                  </a:cubicBezTo>
                  <a:cubicBezTo>
                    <a:pt x="117" y="848"/>
                    <a:pt x="117" y="848"/>
                    <a:pt x="117" y="848"/>
                  </a:cubicBezTo>
                  <a:cubicBezTo>
                    <a:pt x="122" y="854"/>
                    <a:pt x="128" y="859"/>
                    <a:pt x="133" y="859"/>
                  </a:cubicBezTo>
                  <a:cubicBezTo>
                    <a:pt x="139" y="859"/>
                    <a:pt x="150" y="854"/>
                    <a:pt x="156" y="848"/>
                  </a:cubicBezTo>
                  <a:cubicBezTo>
                    <a:pt x="506" y="454"/>
                    <a:pt x="506" y="454"/>
                    <a:pt x="506" y="454"/>
                  </a:cubicBezTo>
                  <a:cubicBezTo>
                    <a:pt x="512" y="443"/>
                    <a:pt x="523" y="443"/>
                    <a:pt x="534" y="443"/>
                  </a:cubicBezTo>
                  <a:cubicBezTo>
                    <a:pt x="540" y="443"/>
                    <a:pt x="545" y="443"/>
                    <a:pt x="551" y="443"/>
                  </a:cubicBezTo>
                  <a:cubicBezTo>
                    <a:pt x="885" y="649"/>
                    <a:pt x="885" y="649"/>
                    <a:pt x="885" y="649"/>
                  </a:cubicBezTo>
                  <a:cubicBezTo>
                    <a:pt x="891" y="649"/>
                    <a:pt x="896" y="649"/>
                    <a:pt x="902" y="649"/>
                  </a:cubicBezTo>
                  <a:cubicBezTo>
                    <a:pt x="913" y="649"/>
                    <a:pt x="924" y="649"/>
                    <a:pt x="930" y="643"/>
                  </a:cubicBezTo>
                  <a:cubicBezTo>
                    <a:pt x="1253" y="327"/>
                    <a:pt x="1253" y="327"/>
                    <a:pt x="1253" y="327"/>
                  </a:cubicBezTo>
                  <a:cubicBezTo>
                    <a:pt x="1258" y="321"/>
                    <a:pt x="1264" y="321"/>
                    <a:pt x="1269" y="321"/>
                  </a:cubicBezTo>
                  <a:cubicBezTo>
                    <a:pt x="1281" y="321"/>
                    <a:pt x="1286" y="321"/>
                    <a:pt x="1292" y="327"/>
                  </a:cubicBezTo>
                  <a:cubicBezTo>
                    <a:pt x="1420" y="460"/>
                    <a:pt x="1420" y="460"/>
                    <a:pt x="1420" y="460"/>
                  </a:cubicBezTo>
                  <a:cubicBezTo>
                    <a:pt x="1425" y="460"/>
                    <a:pt x="1431" y="466"/>
                    <a:pt x="1431" y="466"/>
                  </a:cubicBezTo>
                  <a:cubicBezTo>
                    <a:pt x="1436" y="466"/>
                    <a:pt x="1442" y="460"/>
                    <a:pt x="1442" y="449"/>
                  </a:cubicBezTo>
                  <a:cubicBezTo>
                    <a:pt x="1464" y="28"/>
                    <a:pt x="1464" y="28"/>
                    <a:pt x="1464" y="28"/>
                  </a:cubicBezTo>
                  <a:cubicBezTo>
                    <a:pt x="1464" y="11"/>
                    <a:pt x="1453" y="0"/>
                    <a:pt x="1442" y="0"/>
                  </a:cubicBezTo>
                  <a:close/>
                </a:path>
              </a:pathLst>
            </a:custGeom>
            <a:solidFill>
              <a:srgbClr val="FFFFFF"/>
            </a:solidFill>
            <a:ln w="15240">
              <a:solidFill>
                <a:srgbClr val="0078D7"/>
              </a:solidFill>
            </a:ln>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33333"/>
                </a:solidFill>
                <a:effectLst/>
                <a:uLnTx/>
                <a:uFillTx/>
              </a:endParaRPr>
            </a:p>
          </p:txBody>
        </p:sp>
        <p:grpSp>
          <p:nvGrpSpPr>
            <p:cNvPr id="224" name="Group 223"/>
            <p:cNvGrpSpPr/>
            <p:nvPr/>
          </p:nvGrpSpPr>
          <p:grpSpPr>
            <a:xfrm>
              <a:off x="532519" y="3627377"/>
              <a:ext cx="522040" cy="533547"/>
              <a:chOff x="2308225" y="7734300"/>
              <a:chExt cx="1368425" cy="1398588"/>
            </a:xfrm>
            <a:solidFill>
              <a:srgbClr val="0078D7"/>
            </a:solidFill>
          </p:grpSpPr>
          <p:sp>
            <p:nvSpPr>
              <p:cNvPr id="226" name="Freeform 97"/>
              <p:cNvSpPr>
                <a:spLocks/>
              </p:cNvSpPr>
              <p:nvPr/>
            </p:nvSpPr>
            <p:spPr bwMode="auto">
              <a:xfrm>
                <a:off x="2574925" y="8740775"/>
                <a:ext cx="174625" cy="41275"/>
              </a:xfrm>
              <a:custGeom>
                <a:avLst/>
                <a:gdLst>
                  <a:gd name="T0" fmla="*/ 96 w 110"/>
                  <a:gd name="T1" fmla="*/ 26 h 26"/>
                  <a:gd name="T2" fmla="*/ 14 w 110"/>
                  <a:gd name="T3" fmla="*/ 26 h 26"/>
                  <a:gd name="T4" fmla="*/ 14 w 110"/>
                  <a:gd name="T5" fmla="*/ 26 h 26"/>
                  <a:gd name="T6" fmla="*/ 8 w 110"/>
                  <a:gd name="T7" fmla="*/ 24 h 26"/>
                  <a:gd name="T8" fmla="*/ 4 w 110"/>
                  <a:gd name="T9" fmla="*/ 22 h 26"/>
                  <a:gd name="T10" fmla="*/ 2 w 110"/>
                  <a:gd name="T11" fmla="*/ 18 h 26"/>
                  <a:gd name="T12" fmla="*/ 0 w 110"/>
                  <a:gd name="T13" fmla="*/ 12 h 26"/>
                  <a:gd name="T14" fmla="*/ 0 w 110"/>
                  <a:gd name="T15" fmla="*/ 12 h 26"/>
                  <a:gd name="T16" fmla="*/ 2 w 110"/>
                  <a:gd name="T17" fmla="*/ 8 h 26"/>
                  <a:gd name="T18" fmla="*/ 4 w 110"/>
                  <a:gd name="T19" fmla="*/ 4 h 26"/>
                  <a:gd name="T20" fmla="*/ 8 w 110"/>
                  <a:gd name="T21" fmla="*/ 2 h 26"/>
                  <a:gd name="T22" fmla="*/ 14 w 110"/>
                  <a:gd name="T23" fmla="*/ 0 h 26"/>
                  <a:gd name="T24" fmla="*/ 96 w 110"/>
                  <a:gd name="T25" fmla="*/ 0 h 26"/>
                  <a:gd name="T26" fmla="*/ 96 w 110"/>
                  <a:gd name="T27" fmla="*/ 0 h 26"/>
                  <a:gd name="T28" fmla="*/ 102 w 110"/>
                  <a:gd name="T29" fmla="*/ 2 h 26"/>
                  <a:gd name="T30" fmla="*/ 106 w 110"/>
                  <a:gd name="T31" fmla="*/ 4 h 26"/>
                  <a:gd name="T32" fmla="*/ 108 w 110"/>
                  <a:gd name="T33" fmla="*/ 8 h 26"/>
                  <a:gd name="T34" fmla="*/ 110 w 110"/>
                  <a:gd name="T35" fmla="*/ 12 h 26"/>
                  <a:gd name="T36" fmla="*/ 110 w 110"/>
                  <a:gd name="T37" fmla="*/ 12 h 26"/>
                  <a:gd name="T38" fmla="*/ 108 w 110"/>
                  <a:gd name="T39" fmla="*/ 18 h 26"/>
                  <a:gd name="T40" fmla="*/ 106 w 110"/>
                  <a:gd name="T41" fmla="*/ 22 h 26"/>
                  <a:gd name="T42" fmla="*/ 102 w 110"/>
                  <a:gd name="T43" fmla="*/ 24 h 26"/>
                  <a:gd name="T44" fmla="*/ 96 w 110"/>
                  <a:gd name="T45" fmla="*/ 26 h 26"/>
                  <a:gd name="T46" fmla="*/ 96 w 110"/>
                  <a:gd name="T47" fmla="*/ 26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10" h="26">
                    <a:moveTo>
                      <a:pt x="96" y="26"/>
                    </a:moveTo>
                    <a:lnTo>
                      <a:pt x="14" y="26"/>
                    </a:lnTo>
                    <a:lnTo>
                      <a:pt x="14" y="26"/>
                    </a:lnTo>
                    <a:lnTo>
                      <a:pt x="8" y="24"/>
                    </a:lnTo>
                    <a:lnTo>
                      <a:pt x="4" y="22"/>
                    </a:lnTo>
                    <a:lnTo>
                      <a:pt x="2" y="18"/>
                    </a:lnTo>
                    <a:lnTo>
                      <a:pt x="0" y="12"/>
                    </a:lnTo>
                    <a:lnTo>
                      <a:pt x="0" y="12"/>
                    </a:lnTo>
                    <a:lnTo>
                      <a:pt x="2" y="8"/>
                    </a:lnTo>
                    <a:lnTo>
                      <a:pt x="4" y="4"/>
                    </a:lnTo>
                    <a:lnTo>
                      <a:pt x="8" y="2"/>
                    </a:lnTo>
                    <a:lnTo>
                      <a:pt x="14" y="0"/>
                    </a:lnTo>
                    <a:lnTo>
                      <a:pt x="96" y="0"/>
                    </a:lnTo>
                    <a:lnTo>
                      <a:pt x="96" y="0"/>
                    </a:lnTo>
                    <a:lnTo>
                      <a:pt x="102" y="2"/>
                    </a:lnTo>
                    <a:lnTo>
                      <a:pt x="106" y="4"/>
                    </a:lnTo>
                    <a:lnTo>
                      <a:pt x="108" y="8"/>
                    </a:lnTo>
                    <a:lnTo>
                      <a:pt x="110" y="12"/>
                    </a:lnTo>
                    <a:lnTo>
                      <a:pt x="110" y="12"/>
                    </a:lnTo>
                    <a:lnTo>
                      <a:pt x="108" y="18"/>
                    </a:lnTo>
                    <a:lnTo>
                      <a:pt x="106" y="22"/>
                    </a:lnTo>
                    <a:lnTo>
                      <a:pt x="102" y="24"/>
                    </a:lnTo>
                    <a:lnTo>
                      <a:pt x="96" y="26"/>
                    </a:lnTo>
                    <a:lnTo>
                      <a:pt x="96" y="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227" name="Freeform 98"/>
              <p:cNvSpPr>
                <a:spLocks noEditPoints="1"/>
              </p:cNvSpPr>
              <p:nvPr/>
            </p:nvSpPr>
            <p:spPr bwMode="auto">
              <a:xfrm>
                <a:off x="2428875" y="8096250"/>
                <a:ext cx="219075" cy="215900"/>
              </a:xfrm>
              <a:custGeom>
                <a:avLst/>
                <a:gdLst>
                  <a:gd name="T0" fmla="*/ 120 w 138"/>
                  <a:gd name="T1" fmla="*/ 136 h 136"/>
                  <a:gd name="T2" fmla="*/ 18 w 138"/>
                  <a:gd name="T3" fmla="*/ 136 h 136"/>
                  <a:gd name="T4" fmla="*/ 18 w 138"/>
                  <a:gd name="T5" fmla="*/ 136 h 136"/>
                  <a:gd name="T6" fmla="*/ 12 w 138"/>
                  <a:gd name="T7" fmla="*/ 136 h 136"/>
                  <a:gd name="T8" fmla="*/ 6 w 138"/>
                  <a:gd name="T9" fmla="*/ 132 h 136"/>
                  <a:gd name="T10" fmla="*/ 2 w 138"/>
                  <a:gd name="T11" fmla="*/ 126 h 136"/>
                  <a:gd name="T12" fmla="*/ 0 w 138"/>
                  <a:gd name="T13" fmla="*/ 118 h 136"/>
                  <a:gd name="T14" fmla="*/ 0 w 138"/>
                  <a:gd name="T15" fmla="*/ 18 h 136"/>
                  <a:gd name="T16" fmla="*/ 0 w 138"/>
                  <a:gd name="T17" fmla="*/ 18 h 136"/>
                  <a:gd name="T18" fmla="*/ 2 w 138"/>
                  <a:gd name="T19" fmla="*/ 10 h 136"/>
                  <a:gd name="T20" fmla="*/ 6 w 138"/>
                  <a:gd name="T21" fmla="*/ 4 h 136"/>
                  <a:gd name="T22" fmla="*/ 12 w 138"/>
                  <a:gd name="T23" fmla="*/ 2 h 136"/>
                  <a:gd name="T24" fmla="*/ 18 w 138"/>
                  <a:gd name="T25" fmla="*/ 0 h 136"/>
                  <a:gd name="T26" fmla="*/ 120 w 138"/>
                  <a:gd name="T27" fmla="*/ 0 h 136"/>
                  <a:gd name="T28" fmla="*/ 120 w 138"/>
                  <a:gd name="T29" fmla="*/ 0 h 136"/>
                  <a:gd name="T30" fmla="*/ 126 w 138"/>
                  <a:gd name="T31" fmla="*/ 2 h 136"/>
                  <a:gd name="T32" fmla="*/ 132 w 138"/>
                  <a:gd name="T33" fmla="*/ 4 h 136"/>
                  <a:gd name="T34" fmla="*/ 136 w 138"/>
                  <a:gd name="T35" fmla="*/ 10 h 136"/>
                  <a:gd name="T36" fmla="*/ 138 w 138"/>
                  <a:gd name="T37" fmla="*/ 18 h 136"/>
                  <a:gd name="T38" fmla="*/ 138 w 138"/>
                  <a:gd name="T39" fmla="*/ 118 h 136"/>
                  <a:gd name="T40" fmla="*/ 138 w 138"/>
                  <a:gd name="T41" fmla="*/ 118 h 136"/>
                  <a:gd name="T42" fmla="*/ 136 w 138"/>
                  <a:gd name="T43" fmla="*/ 126 h 136"/>
                  <a:gd name="T44" fmla="*/ 132 w 138"/>
                  <a:gd name="T45" fmla="*/ 132 h 136"/>
                  <a:gd name="T46" fmla="*/ 126 w 138"/>
                  <a:gd name="T47" fmla="*/ 136 h 136"/>
                  <a:gd name="T48" fmla="*/ 120 w 138"/>
                  <a:gd name="T49" fmla="*/ 136 h 136"/>
                  <a:gd name="T50" fmla="*/ 120 w 138"/>
                  <a:gd name="T51" fmla="*/ 136 h 136"/>
                  <a:gd name="T52" fmla="*/ 26 w 138"/>
                  <a:gd name="T53" fmla="*/ 112 h 136"/>
                  <a:gd name="T54" fmla="*/ 112 w 138"/>
                  <a:gd name="T55" fmla="*/ 112 h 136"/>
                  <a:gd name="T56" fmla="*/ 112 w 138"/>
                  <a:gd name="T57" fmla="*/ 24 h 136"/>
                  <a:gd name="T58" fmla="*/ 26 w 138"/>
                  <a:gd name="T59" fmla="*/ 24 h 136"/>
                  <a:gd name="T60" fmla="*/ 26 w 138"/>
                  <a:gd name="T61" fmla="*/ 112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38" h="136">
                    <a:moveTo>
                      <a:pt x="120" y="136"/>
                    </a:moveTo>
                    <a:lnTo>
                      <a:pt x="18" y="136"/>
                    </a:lnTo>
                    <a:lnTo>
                      <a:pt x="18" y="136"/>
                    </a:lnTo>
                    <a:lnTo>
                      <a:pt x="12" y="136"/>
                    </a:lnTo>
                    <a:lnTo>
                      <a:pt x="6" y="132"/>
                    </a:lnTo>
                    <a:lnTo>
                      <a:pt x="2" y="126"/>
                    </a:lnTo>
                    <a:lnTo>
                      <a:pt x="0" y="118"/>
                    </a:lnTo>
                    <a:lnTo>
                      <a:pt x="0" y="18"/>
                    </a:lnTo>
                    <a:lnTo>
                      <a:pt x="0" y="18"/>
                    </a:lnTo>
                    <a:lnTo>
                      <a:pt x="2" y="10"/>
                    </a:lnTo>
                    <a:lnTo>
                      <a:pt x="6" y="4"/>
                    </a:lnTo>
                    <a:lnTo>
                      <a:pt x="12" y="2"/>
                    </a:lnTo>
                    <a:lnTo>
                      <a:pt x="18" y="0"/>
                    </a:lnTo>
                    <a:lnTo>
                      <a:pt x="120" y="0"/>
                    </a:lnTo>
                    <a:lnTo>
                      <a:pt x="120" y="0"/>
                    </a:lnTo>
                    <a:lnTo>
                      <a:pt x="126" y="2"/>
                    </a:lnTo>
                    <a:lnTo>
                      <a:pt x="132" y="4"/>
                    </a:lnTo>
                    <a:lnTo>
                      <a:pt x="136" y="10"/>
                    </a:lnTo>
                    <a:lnTo>
                      <a:pt x="138" y="18"/>
                    </a:lnTo>
                    <a:lnTo>
                      <a:pt x="138" y="118"/>
                    </a:lnTo>
                    <a:lnTo>
                      <a:pt x="138" y="118"/>
                    </a:lnTo>
                    <a:lnTo>
                      <a:pt x="136" y="126"/>
                    </a:lnTo>
                    <a:lnTo>
                      <a:pt x="132" y="132"/>
                    </a:lnTo>
                    <a:lnTo>
                      <a:pt x="126" y="136"/>
                    </a:lnTo>
                    <a:lnTo>
                      <a:pt x="120" y="136"/>
                    </a:lnTo>
                    <a:lnTo>
                      <a:pt x="120" y="136"/>
                    </a:lnTo>
                    <a:close/>
                    <a:moveTo>
                      <a:pt x="26" y="112"/>
                    </a:moveTo>
                    <a:lnTo>
                      <a:pt x="112" y="112"/>
                    </a:lnTo>
                    <a:lnTo>
                      <a:pt x="112" y="24"/>
                    </a:lnTo>
                    <a:lnTo>
                      <a:pt x="26" y="24"/>
                    </a:lnTo>
                    <a:lnTo>
                      <a:pt x="26" y="1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228" name="Freeform 99"/>
              <p:cNvSpPr>
                <a:spLocks noEditPoints="1"/>
              </p:cNvSpPr>
              <p:nvPr/>
            </p:nvSpPr>
            <p:spPr bwMode="auto">
              <a:xfrm>
                <a:off x="2428875" y="7845425"/>
                <a:ext cx="219075" cy="219075"/>
              </a:xfrm>
              <a:custGeom>
                <a:avLst/>
                <a:gdLst>
                  <a:gd name="T0" fmla="*/ 120 w 138"/>
                  <a:gd name="T1" fmla="*/ 138 h 138"/>
                  <a:gd name="T2" fmla="*/ 18 w 138"/>
                  <a:gd name="T3" fmla="*/ 138 h 138"/>
                  <a:gd name="T4" fmla="*/ 18 w 138"/>
                  <a:gd name="T5" fmla="*/ 138 h 138"/>
                  <a:gd name="T6" fmla="*/ 12 w 138"/>
                  <a:gd name="T7" fmla="*/ 136 h 138"/>
                  <a:gd name="T8" fmla="*/ 6 w 138"/>
                  <a:gd name="T9" fmla="*/ 132 h 138"/>
                  <a:gd name="T10" fmla="*/ 2 w 138"/>
                  <a:gd name="T11" fmla="*/ 128 h 138"/>
                  <a:gd name="T12" fmla="*/ 0 w 138"/>
                  <a:gd name="T13" fmla="*/ 120 h 138"/>
                  <a:gd name="T14" fmla="*/ 0 w 138"/>
                  <a:gd name="T15" fmla="*/ 20 h 138"/>
                  <a:gd name="T16" fmla="*/ 0 w 138"/>
                  <a:gd name="T17" fmla="*/ 20 h 138"/>
                  <a:gd name="T18" fmla="*/ 2 w 138"/>
                  <a:gd name="T19" fmla="*/ 12 h 138"/>
                  <a:gd name="T20" fmla="*/ 6 w 138"/>
                  <a:gd name="T21" fmla="*/ 6 h 138"/>
                  <a:gd name="T22" fmla="*/ 12 w 138"/>
                  <a:gd name="T23" fmla="*/ 2 h 138"/>
                  <a:gd name="T24" fmla="*/ 18 w 138"/>
                  <a:gd name="T25" fmla="*/ 0 h 138"/>
                  <a:gd name="T26" fmla="*/ 120 w 138"/>
                  <a:gd name="T27" fmla="*/ 0 h 138"/>
                  <a:gd name="T28" fmla="*/ 120 w 138"/>
                  <a:gd name="T29" fmla="*/ 0 h 138"/>
                  <a:gd name="T30" fmla="*/ 126 w 138"/>
                  <a:gd name="T31" fmla="*/ 2 h 138"/>
                  <a:gd name="T32" fmla="*/ 132 w 138"/>
                  <a:gd name="T33" fmla="*/ 6 h 138"/>
                  <a:gd name="T34" fmla="*/ 136 w 138"/>
                  <a:gd name="T35" fmla="*/ 12 h 138"/>
                  <a:gd name="T36" fmla="*/ 138 w 138"/>
                  <a:gd name="T37" fmla="*/ 20 h 138"/>
                  <a:gd name="T38" fmla="*/ 138 w 138"/>
                  <a:gd name="T39" fmla="*/ 120 h 138"/>
                  <a:gd name="T40" fmla="*/ 138 w 138"/>
                  <a:gd name="T41" fmla="*/ 120 h 138"/>
                  <a:gd name="T42" fmla="*/ 136 w 138"/>
                  <a:gd name="T43" fmla="*/ 128 h 138"/>
                  <a:gd name="T44" fmla="*/ 132 w 138"/>
                  <a:gd name="T45" fmla="*/ 132 h 138"/>
                  <a:gd name="T46" fmla="*/ 126 w 138"/>
                  <a:gd name="T47" fmla="*/ 136 h 138"/>
                  <a:gd name="T48" fmla="*/ 120 w 138"/>
                  <a:gd name="T49" fmla="*/ 138 h 138"/>
                  <a:gd name="T50" fmla="*/ 120 w 138"/>
                  <a:gd name="T51" fmla="*/ 138 h 138"/>
                  <a:gd name="T52" fmla="*/ 26 w 138"/>
                  <a:gd name="T53" fmla="*/ 114 h 138"/>
                  <a:gd name="T54" fmla="*/ 112 w 138"/>
                  <a:gd name="T55" fmla="*/ 114 h 138"/>
                  <a:gd name="T56" fmla="*/ 112 w 138"/>
                  <a:gd name="T57" fmla="*/ 26 h 138"/>
                  <a:gd name="T58" fmla="*/ 26 w 138"/>
                  <a:gd name="T59" fmla="*/ 26 h 138"/>
                  <a:gd name="T60" fmla="*/ 26 w 138"/>
                  <a:gd name="T61" fmla="*/ 114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38" h="138">
                    <a:moveTo>
                      <a:pt x="120" y="138"/>
                    </a:moveTo>
                    <a:lnTo>
                      <a:pt x="18" y="138"/>
                    </a:lnTo>
                    <a:lnTo>
                      <a:pt x="18" y="138"/>
                    </a:lnTo>
                    <a:lnTo>
                      <a:pt x="12" y="136"/>
                    </a:lnTo>
                    <a:lnTo>
                      <a:pt x="6" y="132"/>
                    </a:lnTo>
                    <a:lnTo>
                      <a:pt x="2" y="128"/>
                    </a:lnTo>
                    <a:lnTo>
                      <a:pt x="0" y="120"/>
                    </a:lnTo>
                    <a:lnTo>
                      <a:pt x="0" y="20"/>
                    </a:lnTo>
                    <a:lnTo>
                      <a:pt x="0" y="20"/>
                    </a:lnTo>
                    <a:lnTo>
                      <a:pt x="2" y="12"/>
                    </a:lnTo>
                    <a:lnTo>
                      <a:pt x="6" y="6"/>
                    </a:lnTo>
                    <a:lnTo>
                      <a:pt x="12" y="2"/>
                    </a:lnTo>
                    <a:lnTo>
                      <a:pt x="18" y="0"/>
                    </a:lnTo>
                    <a:lnTo>
                      <a:pt x="120" y="0"/>
                    </a:lnTo>
                    <a:lnTo>
                      <a:pt x="120" y="0"/>
                    </a:lnTo>
                    <a:lnTo>
                      <a:pt x="126" y="2"/>
                    </a:lnTo>
                    <a:lnTo>
                      <a:pt x="132" y="6"/>
                    </a:lnTo>
                    <a:lnTo>
                      <a:pt x="136" y="12"/>
                    </a:lnTo>
                    <a:lnTo>
                      <a:pt x="138" y="20"/>
                    </a:lnTo>
                    <a:lnTo>
                      <a:pt x="138" y="120"/>
                    </a:lnTo>
                    <a:lnTo>
                      <a:pt x="138" y="120"/>
                    </a:lnTo>
                    <a:lnTo>
                      <a:pt x="136" y="128"/>
                    </a:lnTo>
                    <a:lnTo>
                      <a:pt x="132" y="132"/>
                    </a:lnTo>
                    <a:lnTo>
                      <a:pt x="126" y="136"/>
                    </a:lnTo>
                    <a:lnTo>
                      <a:pt x="120" y="138"/>
                    </a:lnTo>
                    <a:lnTo>
                      <a:pt x="120" y="138"/>
                    </a:lnTo>
                    <a:close/>
                    <a:moveTo>
                      <a:pt x="26" y="114"/>
                    </a:moveTo>
                    <a:lnTo>
                      <a:pt x="112" y="114"/>
                    </a:lnTo>
                    <a:lnTo>
                      <a:pt x="112" y="26"/>
                    </a:lnTo>
                    <a:lnTo>
                      <a:pt x="26" y="26"/>
                    </a:lnTo>
                    <a:lnTo>
                      <a:pt x="26" y="1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229" name="Freeform 100"/>
              <p:cNvSpPr>
                <a:spLocks noEditPoints="1"/>
              </p:cNvSpPr>
              <p:nvPr/>
            </p:nvSpPr>
            <p:spPr bwMode="auto">
              <a:xfrm>
                <a:off x="2676525" y="7845425"/>
                <a:ext cx="219075" cy="219075"/>
              </a:xfrm>
              <a:custGeom>
                <a:avLst/>
                <a:gdLst>
                  <a:gd name="T0" fmla="*/ 120 w 138"/>
                  <a:gd name="T1" fmla="*/ 138 h 138"/>
                  <a:gd name="T2" fmla="*/ 18 w 138"/>
                  <a:gd name="T3" fmla="*/ 138 h 138"/>
                  <a:gd name="T4" fmla="*/ 18 w 138"/>
                  <a:gd name="T5" fmla="*/ 138 h 138"/>
                  <a:gd name="T6" fmla="*/ 12 w 138"/>
                  <a:gd name="T7" fmla="*/ 136 h 138"/>
                  <a:gd name="T8" fmla="*/ 6 w 138"/>
                  <a:gd name="T9" fmla="*/ 132 h 138"/>
                  <a:gd name="T10" fmla="*/ 2 w 138"/>
                  <a:gd name="T11" fmla="*/ 128 h 138"/>
                  <a:gd name="T12" fmla="*/ 0 w 138"/>
                  <a:gd name="T13" fmla="*/ 120 h 138"/>
                  <a:gd name="T14" fmla="*/ 0 w 138"/>
                  <a:gd name="T15" fmla="*/ 20 h 138"/>
                  <a:gd name="T16" fmla="*/ 0 w 138"/>
                  <a:gd name="T17" fmla="*/ 20 h 138"/>
                  <a:gd name="T18" fmla="*/ 2 w 138"/>
                  <a:gd name="T19" fmla="*/ 12 h 138"/>
                  <a:gd name="T20" fmla="*/ 6 w 138"/>
                  <a:gd name="T21" fmla="*/ 6 h 138"/>
                  <a:gd name="T22" fmla="*/ 12 w 138"/>
                  <a:gd name="T23" fmla="*/ 2 h 138"/>
                  <a:gd name="T24" fmla="*/ 18 w 138"/>
                  <a:gd name="T25" fmla="*/ 0 h 138"/>
                  <a:gd name="T26" fmla="*/ 120 w 138"/>
                  <a:gd name="T27" fmla="*/ 0 h 138"/>
                  <a:gd name="T28" fmla="*/ 120 w 138"/>
                  <a:gd name="T29" fmla="*/ 0 h 138"/>
                  <a:gd name="T30" fmla="*/ 126 w 138"/>
                  <a:gd name="T31" fmla="*/ 2 h 138"/>
                  <a:gd name="T32" fmla="*/ 132 w 138"/>
                  <a:gd name="T33" fmla="*/ 6 h 138"/>
                  <a:gd name="T34" fmla="*/ 136 w 138"/>
                  <a:gd name="T35" fmla="*/ 12 h 138"/>
                  <a:gd name="T36" fmla="*/ 138 w 138"/>
                  <a:gd name="T37" fmla="*/ 20 h 138"/>
                  <a:gd name="T38" fmla="*/ 138 w 138"/>
                  <a:gd name="T39" fmla="*/ 120 h 138"/>
                  <a:gd name="T40" fmla="*/ 138 w 138"/>
                  <a:gd name="T41" fmla="*/ 120 h 138"/>
                  <a:gd name="T42" fmla="*/ 136 w 138"/>
                  <a:gd name="T43" fmla="*/ 128 h 138"/>
                  <a:gd name="T44" fmla="*/ 132 w 138"/>
                  <a:gd name="T45" fmla="*/ 132 h 138"/>
                  <a:gd name="T46" fmla="*/ 126 w 138"/>
                  <a:gd name="T47" fmla="*/ 136 h 138"/>
                  <a:gd name="T48" fmla="*/ 120 w 138"/>
                  <a:gd name="T49" fmla="*/ 138 h 138"/>
                  <a:gd name="T50" fmla="*/ 120 w 138"/>
                  <a:gd name="T51" fmla="*/ 138 h 138"/>
                  <a:gd name="T52" fmla="*/ 26 w 138"/>
                  <a:gd name="T53" fmla="*/ 114 h 138"/>
                  <a:gd name="T54" fmla="*/ 112 w 138"/>
                  <a:gd name="T55" fmla="*/ 114 h 138"/>
                  <a:gd name="T56" fmla="*/ 112 w 138"/>
                  <a:gd name="T57" fmla="*/ 26 h 138"/>
                  <a:gd name="T58" fmla="*/ 26 w 138"/>
                  <a:gd name="T59" fmla="*/ 26 h 138"/>
                  <a:gd name="T60" fmla="*/ 26 w 138"/>
                  <a:gd name="T61" fmla="*/ 114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38" h="138">
                    <a:moveTo>
                      <a:pt x="120" y="138"/>
                    </a:moveTo>
                    <a:lnTo>
                      <a:pt x="18" y="138"/>
                    </a:lnTo>
                    <a:lnTo>
                      <a:pt x="18" y="138"/>
                    </a:lnTo>
                    <a:lnTo>
                      <a:pt x="12" y="136"/>
                    </a:lnTo>
                    <a:lnTo>
                      <a:pt x="6" y="132"/>
                    </a:lnTo>
                    <a:lnTo>
                      <a:pt x="2" y="128"/>
                    </a:lnTo>
                    <a:lnTo>
                      <a:pt x="0" y="120"/>
                    </a:lnTo>
                    <a:lnTo>
                      <a:pt x="0" y="20"/>
                    </a:lnTo>
                    <a:lnTo>
                      <a:pt x="0" y="20"/>
                    </a:lnTo>
                    <a:lnTo>
                      <a:pt x="2" y="12"/>
                    </a:lnTo>
                    <a:lnTo>
                      <a:pt x="6" y="6"/>
                    </a:lnTo>
                    <a:lnTo>
                      <a:pt x="12" y="2"/>
                    </a:lnTo>
                    <a:lnTo>
                      <a:pt x="18" y="0"/>
                    </a:lnTo>
                    <a:lnTo>
                      <a:pt x="120" y="0"/>
                    </a:lnTo>
                    <a:lnTo>
                      <a:pt x="120" y="0"/>
                    </a:lnTo>
                    <a:lnTo>
                      <a:pt x="126" y="2"/>
                    </a:lnTo>
                    <a:lnTo>
                      <a:pt x="132" y="6"/>
                    </a:lnTo>
                    <a:lnTo>
                      <a:pt x="136" y="12"/>
                    </a:lnTo>
                    <a:lnTo>
                      <a:pt x="138" y="20"/>
                    </a:lnTo>
                    <a:lnTo>
                      <a:pt x="138" y="120"/>
                    </a:lnTo>
                    <a:lnTo>
                      <a:pt x="138" y="120"/>
                    </a:lnTo>
                    <a:lnTo>
                      <a:pt x="136" y="128"/>
                    </a:lnTo>
                    <a:lnTo>
                      <a:pt x="132" y="132"/>
                    </a:lnTo>
                    <a:lnTo>
                      <a:pt x="126" y="136"/>
                    </a:lnTo>
                    <a:lnTo>
                      <a:pt x="120" y="138"/>
                    </a:lnTo>
                    <a:lnTo>
                      <a:pt x="120" y="138"/>
                    </a:lnTo>
                    <a:close/>
                    <a:moveTo>
                      <a:pt x="26" y="114"/>
                    </a:moveTo>
                    <a:lnTo>
                      <a:pt x="112" y="114"/>
                    </a:lnTo>
                    <a:lnTo>
                      <a:pt x="112" y="26"/>
                    </a:lnTo>
                    <a:lnTo>
                      <a:pt x="26" y="26"/>
                    </a:lnTo>
                    <a:lnTo>
                      <a:pt x="26" y="1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230" name="Freeform 101"/>
              <p:cNvSpPr>
                <a:spLocks noEditPoints="1"/>
              </p:cNvSpPr>
              <p:nvPr/>
            </p:nvSpPr>
            <p:spPr bwMode="auto">
              <a:xfrm>
                <a:off x="2428875" y="8343900"/>
                <a:ext cx="219075" cy="219075"/>
              </a:xfrm>
              <a:custGeom>
                <a:avLst/>
                <a:gdLst>
                  <a:gd name="T0" fmla="*/ 120 w 138"/>
                  <a:gd name="T1" fmla="*/ 138 h 138"/>
                  <a:gd name="T2" fmla="*/ 18 w 138"/>
                  <a:gd name="T3" fmla="*/ 138 h 138"/>
                  <a:gd name="T4" fmla="*/ 18 w 138"/>
                  <a:gd name="T5" fmla="*/ 138 h 138"/>
                  <a:gd name="T6" fmla="*/ 12 w 138"/>
                  <a:gd name="T7" fmla="*/ 136 h 138"/>
                  <a:gd name="T8" fmla="*/ 6 w 138"/>
                  <a:gd name="T9" fmla="*/ 132 h 138"/>
                  <a:gd name="T10" fmla="*/ 2 w 138"/>
                  <a:gd name="T11" fmla="*/ 126 h 138"/>
                  <a:gd name="T12" fmla="*/ 0 w 138"/>
                  <a:gd name="T13" fmla="*/ 120 h 138"/>
                  <a:gd name="T14" fmla="*/ 0 w 138"/>
                  <a:gd name="T15" fmla="*/ 18 h 138"/>
                  <a:gd name="T16" fmla="*/ 0 w 138"/>
                  <a:gd name="T17" fmla="*/ 18 h 138"/>
                  <a:gd name="T18" fmla="*/ 2 w 138"/>
                  <a:gd name="T19" fmla="*/ 12 h 138"/>
                  <a:gd name="T20" fmla="*/ 6 w 138"/>
                  <a:gd name="T21" fmla="*/ 6 h 138"/>
                  <a:gd name="T22" fmla="*/ 12 w 138"/>
                  <a:gd name="T23" fmla="*/ 2 h 138"/>
                  <a:gd name="T24" fmla="*/ 18 w 138"/>
                  <a:gd name="T25" fmla="*/ 0 h 138"/>
                  <a:gd name="T26" fmla="*/ 120 w 138"/>
                  <a:gd name="T27" fmla="*/ 0 h 138"/>
                  <a:gd name="T28" fmla="*/ 120 w 138"/>
                  <a:gd name="T29" fmla="*/ 0 h 138"/>
                  <a:gd name="T30" fmla="*/ 126 w 138"/>
                  <a:gd name="T31" fmla="*/ 2 h 138"/>
                  <a:gd name="T32" fmla="*/ 132 w 138"/>
                  <a:gd name="T33" fmla="*/ 6 h 138"/>
                  <a:gd name="T34" fmla="*/ 136 w 138"/>
                  <a:gd name="T35" fmla="*/ 12 h 138"/>
                  <a:gd name="T36" fmla="*/ 138 w 138"/>
                  <a:gd name="T37" fmla="*/ 18 h 138"/>
                  <a:gd name="T38" fmla="*/ 138 w 138"/>
                  <a:gd name="T39" fmla="*/ 120 h 138"/>
                  <a:gd name="T40" fmla="*/ 138 w 138"/>
                  <a:gd name="T41" fmla="*/ 120 h 138"/>
                  <a:gd name="T42" fmla="*/ 136 w 138"/>
                  <a:gd name="T43" fmla="*/ 126 h 138"/>
                  <a:gd name="T44" fmla="*/ 132 w 138"/>
                  <a:gd name="T45" fmla="*/ 132 h 138"/>
                  <a:gd name="T46" fmla="*/ 126 w 138"/>
                  <a:gd name="T47" fmla="*/ 136 h 138"/>
                  <a:gd name="T48" fmla="*/ 120 w 138"/>
                  <a:gd name="T49" fmla="*/ 138 h 138"/>
                  <a:gd name="T50" fmla="*/ 120 w 138"/>
                  <a:gd name="T51" fmla="*/ 138 h 138"/>
                  <a:gd name="T52" fmla="*/ 26 w 138"/>
                  <a:gd name="T53" fmla="*/ 112 h 138"/>
                  <a:gd name="T54" fmla="*/ 112 w 138"/>
                  <a:gd name="T55" fmla="*/ 112 h 138"/>
                  <a:gd name="T56" fmla="*/ 112 w 138"/>
                  <a:gd name="T57" fmla="*/ 26 h 138"/>
                  <a:gd name="T58" fmla="*/ 26 w 138"/>
                  <a:gd name="T59" fmla="*/ 26 h 138"/>
                  <a:gd name="T60" fmla="*/ 26 w 138"/>
                  <a:gd name="T61" fmla="*/ 112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38" h="138">
                    <a:moveTo>
                      <a:pt x="120" y="138"/>
                    </a:moveTo>
                    <a:lnTo>
                      <a:pt x="18" y="138"/>
                    </a:lnTo>
                    <a:lnTo>
                      <a:pt x="18" y="138"/>
                    </a:lnTo>
                    <a:lnTo>
                      <a:pt x="12" y="136"/>
                    </a:lnTo>
                    <a:lnTo>
                      <a:pt x="6" y="132"/>
                    </a:lnTo>
                    <a:lnTo>
                      <a:pt x="2" y="126"/>
                    </a:lnTo>
                    <a:lnTo>
                      <a:pt x="0" y="120"/>
                    </a:lnTo>
                    <a:lnTo>
                      <a:pt x="0" y="18"/>
                    </a:lnTo>
                    <a:lnTo>
                      <a:pt x="0" y="18"/>
                    </a:lnTo>
                    <a:lnTo>
                      <a:pt x="2" y="12"/>
                    </a:lnTo>
                    <a:lnTo>
                      <a:pt x="6" y="6"/>
                    </a:lnTo>
                    <a:lnTo>
                      <a:pt x="12" y="2"/>
                    </a:lnTo>
                    <a:lnTo>
                      <a:pt x="18" y="0"/>
                    </a:lnTo>
                    <a:lnTo>
                      <a:pt x="120" y="0"/>
                    </a:lnTo>
                    <a:lnTo>
                      <a:pt x="120" y="0"/>
                    </a:lnTo>
                    <a:lnTo>
                      <a:pt x="126" y="2"/>
                    </a:lnTo>
                    <a:lnTo>
                      <a:pt x="132" y="6"/>
                    </a:lnTo>
                    <a:lnTo>
                      <a:pt x="136" y="12"/>
                    </a:lnTo>
                    <a:lnTo>
                      <a:pt x="138" y="18"/>
                    </a:lnTo>
                    <a:lnTo>
                      <a:pt x="138" y="120"/>
                    </a:lnTo>
                    <a:lnTo>
                      <a:pt x="138" y="120"/>
                    </a:lnTo>
                    <a:lnTo>
                      <a:pt x="136" y="126"/>
                    </a:lnTo>
                    <a:lnTo>
                      <a:pt x="132" y="132"/>
                    </a:lnTo>
                    <a:lnTo>
                      <a:pt x="126" y="136"/>
                    </a:lnTo>
                    <a:lnTo>
                      <a:pt x="120" y="138"/>
                    </a:lnTo>
                    <a:lnTo>
                      <a:pt x="120" y="138"/>
                    </a:lnTo>
                    <a:close/>
                    <a:moveTo>
                      <a:pt x="26" y="112"/>
                    </a:moveTo>
                    <a:lnTo>
                      <a:pt x="112" y="112"/>
                    </a:lnTo>
                    <a:lnTo>
                      <a:pt x="112" y="26"/>
                    </a:lnTo>
                    <a:lnTo>
                      <a:pt x="26" y="26"/>
                    </a:lnTo>
                    <a:lnTo>
                      <a:pt x="26" y="1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231" name="Freeform 102"/>
              <p:cNvSpPr>
                <a:spLocks noEditPoints="1"/>
              </p:cNvSpPr>
              <p:nvPr/>
            </p:nvSpPr>
            <p:spPr bwMode="auto">
              <a:xfrm>
                <a:off x="2676525" y="8343900"/>
                <a:ext cx="219075" cy="219075"/>
              </a:xfrm>
              <a:custGeom>
                <a:avLst/>
                <a:gdLst>
                  <a:gd name="T0" fmla="*/ 120 w 138"/>
                  <a:gd name="T1" fmla="*/ 138 h 138"/>
                  <a:gd name="T2" fmla="*/ 18 w 138"/>
                  <a:gd name="T3" fmla="*/ 138 h 138"/>
                  <a:gd name="T4" fmla="*/ 18 w 138"/>
                  <a:gd name="T5" fmla="*/ 138 h 138"/>
                  <a:gd name="T6" fmla="*/ 12 w 138"/>
                  <a:gd name="T7" fmla="*/ 136 h 138"/>
                  <a:gd name="T8" fmla="*/ 6 w 138"/>
                  <a:gd name="T9" fmla="*/ 132 h 138"/>
                  <a:gd name="T10" fmla="*/ 2 w 138"/>
                  <a:gd name="T11" fmla="*/ 126 h 138"/>
                  <a:gd name="T12" fmla="*/ 0 w 138"/>
                  <a:gd name="T13" fmla="*/ 120 h 138"/>
                  <a:gd name="T14" fmla="*/ 0 w 138"/>
                  <a:gd name="T15" fmla="*/ 18 h 138"/>
                  <a:gd name="T16" fmla="*/ 0 w 138"/>
                  <a:gd name="T17" fmla="*/ 18 h 138"/>
                  <a:gd name="T18" fmla="*/ 2 w 138"/>
                  <a:gd name="T19" fmla="*/ 12 h 138"/>
                  <a:gd name="T20" fmla="*/ 6 w 138"/>
                  <a:gd name="T21" fmla="*/ 6 h 138"/>
                  <a:gd name="T22" fmla="*/ 12 w 138"/>
                  <a:gd name="T23" fmla="*/ 2 h 138"/>
                  <a:gd name="T24" fmla="*/ 18 w 138"/>
                  <a:gd name="T25" fmla="*/ 0 h 138"/>
                  <a:gd name="T26" fmla="*/ 120 w 138"/>
                  <a:gd name="T27" fmla="*/ 0 h 138"/>
                  <a:gd name="T28" fmla="*/ 120 w 138"/>
                  <a:gd name="T29" fmla="*/ 0 h 138"/>
                  <a:gd name="T30" fmla="*/ 126 w 138"/>
                  <a:gd name="T31" fmla="*/ 2 h 138"/>
                  <a:gd name="T32" fmla="*/ 132 w 138"/>
                  <a:gd name="T33" fmla="*/ 6 h 138"/>
                  <a:gd name="T34" fmla="*/ 136 w 138"/>
                  <a:gd name="T35" fmla="*/ 12 h 138"/>
                  <a:gd name="T36" fmla="*/ 138 w 138"/>
                  <a:gd name="T37" fmla="*/ 18 h 138"/>
                  <a:gd name="T38" fmla="*/ 138 w 138"/>
                  <a:gd name="T39" fmla="*/ 120 h 138"/>
                  <a:gd name="T40" fmla="*/ 138 w 138"/>
                  <a:gd name="T41" fmla="*/ 120 h 138"/>
                  <a:gd name="T42" fmla="*/ 136 w 138"/>
                  <a:gd name="T43" fmla="*/ 126 h 138"/>
                  <a:gd name="T44" fmla="*/ 132 w 138"/>
                  <a:gd name="T45" fmla="*/ 132 h 138"/>
                  <a:gd name="T46" fmla="*/ 126 w 138"/>
                  <a:gd name="T47" fmla="*/ 136 h 138"/>
                  <a:gd name="T48" fmla="*/ 120 w 138"/>
                  <a:gd name="T49" fmla="*/ 138 h 138"/>
                  <a:gd name="T50" fmla="*/ 120 w 138"/>
                  <a:gd name="T51" fmla="*/ 138 h 138"/>
                  <a:gd name="T52" fmla="*/ 26 w 138"/>
                  <a:gd name="T53" fmla="*/ 112 h 138"/>
                  <a:gd name="T54" fmla="*/ 112 w 138"/>
                  <a:gd name="T55" fmla="*/ 112 h 138"/>
                  <a:gd name="T56" fmla="*/ 112 w 138"/>
                  <a:gd name="T57" fmla="*/ 26 h 138"/>
                  <a:gd name="T58" fmla="*/ 26 w 138"/>
                  <a:gd name="T59" fmla="*/ 26 h 138"/>
                  <a:gd name="T60" fmla="*/ 26 w 138"/>
                  <a:gd name="T61" fmla="*/ 112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38" h="138">
                    <a:moveTo>
                      <a:pt x="120" y="138"/>
                    </a:moveTo>
                    <a:lnTo>
                      <a:pt x="18" y="138"/>
                    </a:lnTo>
                    <a:lnTo>
                      <a:pt x="18" y="138"/>
                    </a:lnTo>
                    <a:lnTo>
                      <a:pt x="12" y="136"/>
                    </a:lnTo>
                    <a:lnTo>
                      <a:pt x="6" y="132"/>
                    </a:lnTo>
                    <a:lnTo>
                      <a:pt x="2" y="126"/>
                    </a:lnTo>
                    <a:lnTo>
                      <a:pt x="0" y="120"/>
                    </a:lnTo>
                    <a:lnTo>
                      <a:pt x="0" y="18"/>
                    </a:lnTo>
                    <a:lnTo>
                      <a:pt x="0" y="18"/>
                    </a:lnTo>
                    <a:lnTo>
                      <a:pt x="2" y="12"/>
                    </a:lnTo>
                    <a:lnTo>
                      <a:pt x="6" y="6"/>
                    </a:lnTo>
                    <a:lnTo>
                      <a:pt x="12" y="2"/>
                    </a:lnTo>
                    <a:lnTo>
                      <a:pt x="18" y="0"/>
                    </a:lnTo>
                    <a:lnTo>
                      <a:pt x="120" y="0"/>
                    </a:lnTo>
                    <a:lnTo>
                      <a:pt x="120" y="0"/>
                    </a:lnTo>
                    <a:lnTo>
                      <a:pt x="126" y="2"/>
                    </a:lnTo>
                    <a:lnTo>
                      <a:pt x="132" y="6"/>
                    </a:lnTo>
                    <a:lnTo>
                      <a:pt x="136" y="12"/>
                    </a:lnTo>
                    <a:lnTo>
                      <a:pt x="138" y="18"/>
                    </a:lnTo>
                    <a:lnTo>
                      <a:pt x="138" y="120"/>
                    </a:lnTo>
                    <a:lnTo>
                      <a:pt x="138" y="120"/>
                    </a:lnTo>
                    <a:lnTo>
                      <a:pt x="136" y="126"/>
                    </a:lnTo>
                    <a:lnTo>
                      <a:pt x="132" y="132"/>
                    </a:lnTo>
                    <a:lnTo>
                      <a:pt x="126" y="136"/>
                    </a:lnTo>
                    <a:lnTo>
                      <a:pt x="120" y="138"/>
                    </a:lnTo>
                    <a:lnTo>
                      <a:pt x="120" y="138"/>
                    </a:lnTo>
                    <a:close/>
                    <a:moveTo>
                      <a:pt x="26" y="112"/>
                    </a:moveTo>
                    <a:lnTo>
                      <a:pt x="112" y="112"/>
                    </a:lnTo>
                    <a:lnTo>
                      <a:pt x="112" y="26"/>
                    </a:lnTo>
                    <a:lnTo>
                      <a:pt x="26" y="26"/>
                    </a:lnTo>
                    <a:lnTo>
                      <a:pt x="26" y="1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232" name="Freeform 103"/>
              <p:cNvSpPr>
                <a:spLocks/>
              </p:cNvSpPr>
              <p:nvPr/>
            </p:nvSpPr>
            <p:spPr bwMode="auto">
              <a:xfrm>
                <a:off x="2330450" y="8623300"/>
                <a:ext cx="422275" cy="41275"/>
              </a:xfrm>
              <a:custGeom>
                <a:avLst/>
                <a:gdLst>
                  <a:gd name="T0" fmla="*/ 264 w 266"/>
                  <a:gd name="T1" fmla="*/ 4 h 26"/>
                  <a:gd name="T2" fmla="*/ 264 w 266"/>
                  <a:gd name="T3" fmla="*/ 2 h 26"/>
                  <a:gd name="T4" fmla="*/ 266 w 266"/>
                  <a:gd name="T5" fmla="*/ 0 h 26"/>
                  <a:gd name="T6" fmla="*/ 0 w 266"/>
                  <a:gd name="T7" fmla="*/ 0 h 26"/>
                  <a:gd name="T8" fmla="*/ 0 w 266"/>
                  <a:gd name="T9" fmla="*/ 26 h 26"/>
                  <a:gd name="T10" fmla="*/ 250 w 266"/>
                  <a:gd name="T11" fmla="*/ 26 h 26"/>
                  <a:gd name="T12" fmla="*/ 250 w 266"/>
                  <a:gd name="T13" fmla="*/ 26 h 26"/>
                  <a:gd name="T14" fmla="*/ 256 w 266"/>
                  <a:gd name="T15" fmla="*/ 12 h 26"/>
                  <a:gd name="T16" fmla="*/ 264 w 266"/>
                  <a:gd name="T17" fmla="*/ 4 h 26"/>
                  <a:gd name="T18" fmla="*/ 264 w 266"/>
                  <a:gd name="T19" fmla="*/ 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6" h="26">
                    <a:moveTo>
                      <a:pt x="264" y="4"/>
                    </a:moveTo>
                    <a:lnTo>
                      <a:pt x="264" y="2"/>
                    </a:lnTo>
                    <a:lnTo>
                      <a:pt x="266" y="0"/>
                    </a:lnTo>
                    <a:lnTo>
                      <a:pt x="0" y="0"/>
                    </a:lnTo>
                    <a:lnTo>
                      <a:pt x="0" y="26"/>
                    </a:lnTo>
                    <a:lnTo>
                      <a:pt x="250" y="26"/>
                    </a:lnTo>
                    <a:lnTo>
                      <a:pt x="250" y="26"/>
                    </a:lnTo>
                    <a:lnTo>
                      <a:pt x="256" y="12"/>
                    </a:lnTo>
                    <a:lnTo>
                      <a:pt x="264" y="4"/>
                    </a:lnTo>
                    <a:lnTo>
                      <a:pt x="264"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233" name="Freeform 104"/>
              <p:cNvSpPr>
                <a:spLocks/>
              </p:cNvSpPr>
              <p:nvPr/>
            </p:nvSpPr>
            <p:spPr bwMode="auto">
              <a:xfrm>
                <a:off x="2676525" y="8096250"/>
                <a:ext cx="219075" cy="215900"/>
              </a:xfrm>
              <a:custGeom>
                <a:avLst/>
                <a:gdLst>
                  <a:gd name="T0" fmla="*/ 86 w 138"/>
                  <a:gd name="T1" fmla="*/ 112 h 136"/>
                  <a:gd name="T2" fmla="*/ 26 w 138"/>
                  <a:gd name="T3" fmla="*/ 112 h 136"/>
                  <a:gd name="T4" fmla="*/ 26 w 138"/>
                  <a:gd name="T5" fmla="*/ 24 h 136"/>
                  <a:gd name="T6" fmla="*/ 112 w 138"/>
                  <a:gd name="T7" fmla="*/ 24 h 136"/>
                  <a:gd name="T8" fmla="*/ 112 w 138"/>
                  <a:gd name="T9" fmla="*/ 38 h 136"/>
                  <a:gd name="T10" fmla="*/ 114 w 138"/>
                  <a:gd name="T11" fmla="*/ 38 h 136"/>
                  <a:gd name="T12" fmla="*/ 114 w 138"/>
                  <a:gd name="T13" fmla="*/ 38 h 136"/>
                  <a:gd name="T14" fmla="*/ 118 w 138"/>
                  <a:gd name="T15" fmla="*/ 38 h 136"/>
                  <a:gd name="T16" fmla="*/ 124 w 138"/>
                  <a:gd name="T17" fmla="*/ 38 h 136"/>
                  <a:gd name="T18" fmla="*/ 124 w 138"/>
                  <a:gd name="T19" fmla="*/ 38 h 136"/>
                  <a:gd name="T20" fmla="*/ 138 w 138"/>
                  <a:gd name="T21" fmla="*/ 50 h 136"/>
                  <a:gd name="T22" fmla="*/ 138 w 138"/>
                  <a:gd name="T23" fmla="*/ 18 h 136"/>
                  <a:gd name="T24" fmla="*/ 138 w 138"/>
                  <a:gd name="T25" fmla="*/ 18 h 136"/>
                  <a:gd name="T26" fmla="*/ 136 w 138"/>
                  <a:gd name="T27" fmla="*/ 10 h 136"/>
                  <a:gd name="T28" fmla="*/ 132 w 138"/>
                  <a:gd name="T29" fmla="*/ 4 h 136"/>
                  <a:gd name="T30" fmla="*/ 126 w 138"/>
                  <a:gd name="T31" fmla="*/ 2 h 136"/>
                  <a:gd name="T32" fmla="*/ 120 w 138"/>
                  <a:gd name="T33" fmla="*/ 0 h 136"/>
                  <a:gd name="T34" fmla="*/ 18 w 138"/>
                  <a:gd name="T35" fmla="*/ 0 h 136"/>
                  <a:gd name="T36" fmla="*/ 18 w 138"/>
                  <a:gd name="T37" fmla="*/ 0 h 136"/>
                  <a:gd name="T38" fmla="*/ 12 w 138"/>
                  <a:gd name="T39" fmla="*/ 2 h 136"/>
                  <a:gd name="T40" fmla="*/ 6 w 138"/>
                  <a:gd name="T41" fmla="*/ 4 h 136"/>
                  <a:gd name="T42" fmla="*/ 2 w 138"/>
                  <a:gd name="T43" fmla="*/ 10 h 136"/>
                  <a:gd name="T44" fmla="*/ 0 w 138"/>
                  <a:gd name="T45" fmla="*/ 18 h 136"/>
                  <a:gd name="T46" fmla="*/ 0 w 138"/>
                  <a:gd name="T47" fmla="*/ 118 h 136"/>
                  <a:gd name="T48" fmla="*/ 0 w 138"/>
                  <a:gd name="T49" fmla="*/ 118 h 136"/>
                  <a:gd name="T50" fmla="*/ 2 w 138"/>
                  <a:gd name="T51" fmla="*/ 126 h 136"/>
                  <a:gd name="T52" fmla="*/ 6 w 138"/>
                  <a:gd name="T53" fmla="*/ 132 h 136"/>
                  <a:gd name="T54" fmla="*/ 12 w 138"/>
                  <a:gd name="T55" fmla="*/ 136 h 136"/>
                  <a:gd name="T56" fmla="*/ 18 w 138"/>
                  <a:gd name="T57" fmla="*/ 136 h 136"/>
                  <a:gd name="T58" fmla="*/ 102 w 138"/>
                  <a:gd name="T59" fmla="*/ 136 h 136"/>
                  <a:gd name="T60" fmla="*/ 102 w 138"/>
                  <a:gd name="T61" fmla="*/ 136 h 136"/>
                  <a:gd name="T62" fmla="*/ 86 w 138"/>
                  <a:gd name="T63" fmla="*/ 112 h 136"/>
                  <a:gd name="T64" fmla="*/ 86 w 138"/>
                  <a:gd name="T65" fmla="*/ 112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38" h="136">
                    <a:moveTo>
                      <a:pt x="86" y="112"/>
                    </a:moveTo>
                    <a:lnTo>
                      <a:pt x="26" y="112"/>
                    </a:lnTo>
                    <a:lnTo>
                      <a:pt x="26" y="24"/>
                    </a:lnTo>
                    <a:lnTo>
                      <a:pt x="112" y="24"/>
                    </a:lnTo>
                    <a:lnTo>
                      <a:pt x="112" y="38"/>
                    </a:lnTo>
                    <a:lnTo>
                      <a:pt x="114" y="38"/>
                    </a:lnTo>
                    <a:lnTo>
                      <a:pt x="114" y="38"/>
                    </a:lnTo>
                    <a:lnTo>
                      <a:pt x="118" y="38"/>
                    </a:lnTo>
                    <a:lnTo>
                      <a:pt x="124" y="38"/>
                    </a:lnTo>
                    <a:lnTo>
                      <a:pt x="124" y="38"/>
                    </a:lnTo>
                    <a:lnTo>
                      <a:pt x="138" y="50"/>
                    </a:lnTo>
                    <a:lnTo>
                      <a:pt x="138" y="18"/>
                    </a:lnTo>
                    <a:lnTo>
                      <a:pt x="138" y="18"/>
                    </a:lnTo>
                    <a:lnTo>
                      <a:pt x="136" y="10"/>
                    </a:lnTo>
                    <a:lnTo>
                      <a:pt x="132" y="4"/>
                    </a:lnTo>
                    <a:lnTo>
                      <a:pt x="126" y="2"/>
                    </a:lnTo>
                    <a:lnTo>
                      <a:pt x="120" y="0"/>
                    </a:lnTo>
                    <a:lnTo>
                      <a:pt x="18" y="0"/>
                    </a:lnTo>
                    <a:lnTo>
                      <a:pt x="18" y="0"/>
                    </a:lnTo>
                    <a:lnTo>
                      <a:pt x="12" y="2"/>
                    </a:lnTo>
                    <a:lnTo>
                      <a:pt x="6" y="4"/>
                    </a:lnTo>
                    <a:lnTo>
                      <a:pt x="2" y="10"/>
                    </a:lnTo>
                    <a:lnTo>
                      <a:pt x="0" y="18"/>
                    </a:lnTo>
                    <a:lnTo>
                      <a:pt x="0" y="118"/>
                    </a:lnTo>
                    <a:lnTo>
                      <a:pt x="0" y="118"/>
                    </a:lnTo>
                    <a:lnTo>
                      <a:pt x="2" y="126"/>
                    </a:lnTo>
                    <a:lnTo>
                      <a:pt x="6" y="132"/>
                    </a:lnTo>
                    <a:lnTo>
                      <a:pt x="12" y="136"/>
                    </a:lnTo>
                    <a:lnTo>
                      <a:pt x="18" y="136"/>
                    </a:lnTo>
                    <a:lnTo>
                      <a:pt x="102" y="136"/>
                    </a:lnTo>
                    <a:lnTo>
                      <a:pt x="102" y="136"/>
                    </a:lnTo>
                    <a:lnTo>
                      <a:pt x="86" y="112"/>
                    </a:lnTo>
                    <a:lnTo>
                      <a:pt x="86" y="1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234" name="Freeform 105"/>
              <p:cNvSpPr>
                <a:spLocks noEditPoints="1"/>
              </p:cNvSpPr>
              <p:nvPr/>
            </p:nvSpPr>
            <p:spPr bwMode="auto">
              <a:xfrm>
                <a:off x="2724150" y="8156575"/>
                <a:ext cx="952500" cy="976313"/>
              </a:xfrm>
              <a:custGeom>
                <a:avLst/>
                <a:gdLst>
                  <a:gd name="T0" fmla="*/ 386 w 600"/>
                  <a:gd name="T1" fmla="*/ 609 h 615"/>
                  <a:gd name="T2" fmla="*/ 370 w 600"/>
                  <a:gd name="T3" fmla="*/ 581 h 615"/>
                  <a:gd name="T4" fmla="*/ 338 w 600"/>
                  <a:gd name="T5" fmla="*/ 565 h 615"/>
                  <a:gd name="T6" fmla="*/ 256 w 600"/>
                  <a:gd name="T7" fmla="*/ 545 h 615"/>
                  <a:gd name="T8" fmla="*/ 138 w 600"/>
                  <a:gd name="T9" fmla="*/ 457 h 615"/>
                  <a:gd name="T10" fmla="*/ 100 w 600"/>
                  <a:gd name="T11" fmla="*/ 412 h 615"/>
                  <a:gd name="T12" fmla="*/ 34 w 600"/>
                  <a:gd name="T13" fmla="*/ 358 h 615"/>
                  <a:gd name="T14" fmla="*/ 4 w 600"/>
                  <a:gd name="T15" fmla="*/ 342 h 615"/>
                  <a:gd name="T16" fmla="*/ 10 w 600"/>
                  <a:gd name="T17" fmla="*/ 306 h 615"/>
                  <a:gd name="T18" fmla="*/ 40 w 600"/>
                  <a:gd name="T19" fmla="*/ 284 h 615"/>
                  <a:gd name="T20" fmla="*/ 102 w 600"/>
                  <a:gd name="T21" fmla="*/ 286 h 615"/>
                  <a:gd name="T22" fmla="*/ 178 w 600"/>
                  <a:gd name="T23" fmla="*/ 336 h 615"/>
                  <a:gd name="T24" fmla="*/ 200 w 600"/>
                  <a:gd name="T25" fmla="*/ 310 h 615"/>
                  <a:gd name="T26" fmla="*/ 54 w 600"/>
                  <a:gd name="T27" fmla="*/ 74 h 615"/>
                  <a:gd name="T28" fmla="*/ 46 w 600"/>
                  <a:gd name="T29" fmla="*/ 30 h 615"/>
                  <a:gd name="T30" fmla="*/ 78 w 600"/>
                  <a:gd name="T31" fmla="*/ 2 h 615"/>
                  <a:gd name="T32" fmla="*/ 94 w 600"/>
                  <a:gd name="T33" fmla="*/ 0 h 615"/>
                  <a:gd name="T34" fmla="*/ 216 w 600"/>
                  <a:gd name="T35" fmla="*/ 144 h 615"/>
                  <a:gd name="T36" fmla="*/ 314 w 600"/>
                  <a:gd name="T37" fmla="*/ 174 h 615"/>
                  <a:gd name="T38" fmla="*/ 468 w 600"/>
                  <a:gd name="T39" fmla="*/ 194 h 615"/>
                  <a:gd name="T40" fmla="*/ 494 w 600"/>
                  <a:gd name="T41" fmla="*/ 204 h 615"/>
                  <a:gd name="T42" fmla="*/ 584 w 600"/>
                  <a:gd name="T43" fmla="*/ 410 h 615"/>
                  <a:gd name="T44" fmla="*/ 590 w 600"/>
                  <a:gd name="T45" fmla="*/ 477 h 615"/>
                  <a:gd name="T46" fmla="*/ 600 w 600"/>
                  <a:gd name="T47" fmla="*/ 507 h 615"/>
                  <a:gd name="T48" fmla="*/ 578 w 600"/>
                  <a:gd name="T49" fmla="*/ 535 h 615"/>
                  <a:gd name="T50" fmla="*/ 400 w 600"/>
                  <a:gd name="T51" fmla="*/ 615 h 615"/>
                  <a:gd name="T52" fmla="*/ 352 w 600"/>
                  <a:gd name="T53" fmla="*/ 539 h 615"/>
                  <a:gd name="T54" fmla="*/ 394 w 600"/>
                  <a:gd name="T55" fmla="*/ 569 h 615"/>
                  <a:gd name="T56" fmla="*/ 502 w 600"/>
                  <a:gd name="T57" fmla="*/ 547 h 615"/>
                  <a:gd name="T58" fmla="*/ 570 w 600"/>
                  <a:gd name="T59" fmla="*/ 499 h 615"/>
                  <a:gd name="T60" fmla="*/ 562 w 600"/>
                  <a:gd name="T61" fmla="*/ 430 h 615"/>
                  <a:gd name="T62" fmla="*/ 504 w 600"/>
                  <a:gd name="T63" fmla="*/ 278 h 615"/>
                  <a:gd name="T64" fmla="*/ 364 w 600"/>
                  <a:gd name="T65" fmla="*/ 202 h 615"/>
                  <a:gd name="T66" fmla="*/ 274 w 600"/>
                  <a:gd name="T67" fmla="*/ 200 h 615"/>
                  <a:gd name="T68" fmla="*/ 232 w 600"/>
                  <a:gd name="T69" fmla="*/ 208 h 615"/>
                  <a:gd name="T70" fmla="*/ 160 w 600"/>
                  <a:gd name="T71" fmla="*/ 110 h 615"/>
                  <a:gd name="T72" fmla="*/ 84 w 600"/>
                  <a:gd name="T73" fmla="*/ 26 h 615"/>
                  <a:gd name="T74" fmla="*/ 68 w 600"/>
                  <a:gd name="T75" fmla="*/ 44 h 615"/>
                  <a:gd name="T76" fmla="*/ 180 w 600"/>
                  <a:gd name="T77" fmla="*/ 218 h 615"/>
                  <a:gd name="T78" fmla="*/ 234 w 600"/>
                  <a:gd name="T79" fmla="*/ 332 h 615"/>
                  <a:gd name="T80" fmla="*/ 230 w 600"/>
                  <a:gd name="T81" fmla="*/ 352 h 615"/>
                  <a:gd name="T82" fmla="*/ 188 w 600"/>
                  <a:gd name="T83" fmla="*/ 358 h 615"/>
                  <a:gd name="T84" fmla="*/ 168 w 600"/>
                  <a:gd name="T85" fmla="*/ 362 h 615"/>
                  <a:gd name="T86" fmla="*/ 120 w 600"/>
                  <a:gd name="T87" fmla="*/ 322 h 615"/>
                  <a:gd name="T88" fmla="*/ 58 w 600"/>
                  <a:gd name="T89" fmla="*/ 306 h 615"/>
                  <a:gd name="T90" fmla="*/ 26 w 600"/>
                  <a:gd name="T91" fmla="*/ 326 h 615"/>
                  <a:gd name="T92" fmla="*/ 56 w 600"/>
                  <a:gd name="T93" fmla="*/ 344 h 615"/>
                  <a:gd name="T94" fmla="*/ 136 w 600"/>
                  <a:gd name="T95" fmla="*/ 416 h 615"/>
                  <a:gd name="T96" fmla="*/ 202 w 600"/>
                  <a:gd name="T97" fmla="*/ 483 h 615"/>
                  <a:gd name="T98" fmla="*/ 300 w 600"/>
                  <a:gd name="T99" fmla="*/ 535 h 615"/>
                  <a:gd name="T100" fmla="*/ 352 w 600"/>
                  <a:gd name="T101" fmla="*/ 539 h 6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00" h="615">
                    <a:moveTo>
                      <a:pt x="396" y="615"/>
                    </a:moveTo>
                    <a:lnTo>
                      <a:pt x="396" y="615"/>
                    </a:lnTo>
                    <a:lnTo>
                      <a:pt x="390" y="613"/>
                    </a:lnTo>
                    <a:lnTo>
                      <a:pt x="390" y="613"/>
                    </a:lnTo>
                    <a:lnTo>
                      <a:pt x="386" y="609"/>
                    </a:lnTo>
                    <a:lnTo>
                      <a:pt x="384" y="603"/>
                    </a:lnTo>
                    <a:lnTo>
                      <a:pt x="384" y="603"/>
                    </a:lnTo>
                    <a:lnTo>
                      <a:pt x="382" y="597"/>
                    </a:lnTo>
                    <a:lnTo>
                      <a:pt x="380" y="591"/>
                    </a:lnTo>
                    <a:lnTo>
                      <a:pt x="370" y="581"/>
                    </a:lnTo>
                    <a:lnTo>
                      <a:pt x="360" y="571"/>
                    </a:lnTo>
                    <a:lnTo>
                      <a:pt x="350" y="563"/>
                    </a:lnTo>
                    <a:lnTo>
                      <a:pt x="350" y="563"/>
                    </a:lnTo>
                    <a:lnTo>
                      <a:pt x="338" y="565"/>
                    </a:lnTo>
                    <a:lnTo>
                      <a:pt x="338" y="565"/>
                    </a:lnTo>
                    <a:lnTo>
                      <a:pt x="338" y="565"/>
                    </a:lnTo>
                    <a:lnTo>
                      <a:pt x="316" y="563"/>
                    </a:lnTo>
                    <a:lnTo>
                      <a:pt x="296" y="559"/>
                    </a:lnTo>
                    <a:lnTo>
                      <a:pt x="276" y="553"/>
                    </a:lnTo>
                    <a:lnTo>
                      <a:pt x="256" y="545"/>
                    </a:lnTo>
                    <a:lnTo>
                      <a:pt x="238" y="537"/>
                    </a:lnTo>
                    <a:lnTo>
                      <a:pt x="220" y="527"/>
                    </a:lnTo>
                    <a:lnTo>
                      <a:pt x="188" y="503"/>
                    </a:lnTo>
                    <a:lnTo>
                      <a:pt x="160" y="481"/>
                    </a:lnTo>
                    <a:lnTo>
                      <a:pt x="138" y="457"/>
                    </a:lnTo>
                    <a:lnTo>
                      <a:pt x="122" y="439"/>
                    </a:lnTo>
                    <a:lnTo>
                      <a:pt x="114" y="428"/>
                    </a:lnTo>
                    <a:lnTo>
                      <a:pt x="114" y="428"/>
                    </a:lnTo>
                    <a:lnTo>
                      <a:pt x="108" y="420"/>
                    </a:lnTo>
                    <a:lnTo>
                      <a:pt x="100" y="412"/>
                    </a:lnTo>
                    <a:lnTo>
                      <a:pt x="78" y="394"/>
                    </a:lnTo>
                    <a:lnTo>
                      <a:pt x="42" y="364"/>
                    </a:lnTo>
                    <a:lnTo>
                      <a:pt x="42" y="364"/>
                    </a:lnTo>
                    <a:lnTo>
                      <a:pt x="34" y="358"/>
                    </a:lnTo>
                    <a:lnTo>
                      <a:pt x="34" y="358"/>
                    </a:lnTo>
                    <a:lnTo>
                      <a:pt x="24" y="354"/>
                    </a:lnTo>
                    <a:lnTo>
                      <a:pt x="8" y="346"/>
                    </a:lnTo>
                    <a:lnTo>
                      <a:pt x="8" y="346"/>
                    </a:lnTo>
                    <a:lnTo>
                      <a:pt x="4" y="342"/>
                    </a:lnTo>
                    <a:lnTo>
                      <a:pt x="4" y="342"/>
                    </a:lnTo>
                    <a:lnTo>
                      <a:pt x="0" y="336"/>
                    </a:lnTo>
                    <a:lnTo>
                      <a:pt x="0" y="328"/>
                    </a:lnTo>
                    <a:lnTo>
                      <a:pt x="0" y="322"/>
                    </a:lnTo>
                    <a:lnTo>
                      <a:pt x="2" y="316"/>
                    </a:lnTo>
                    <a:lnTo>
                      <a:pt x="10" y="306"/>
                    </a:lnTo>
                    <a:lnTo>
                      <a:pt x="16" y="298"/>
                    </a:lnTo>
                    <a:lnTo>
                      <a:pt x="16" y="296"/>
                    </a:lnTo>
                    <a:lnTo>
                      <a:pt x="16" y="296"/>
                    </a:lnTo>
                    <a:lnTo>
                      <a:pt x="28" y="288"/>
                    </a:lnTo>
                    <a:lnTo>
                      <a:pt x="40" y="284"/>
                    </a:lnTo>
                    <a:lnTo>
                      <a:pt x="54" y="280"/>
                    </a:lnTo>
                    <a:lnTo>
                      <a:pt x="68" y="280"/>
                    </a:lnTo>
                    <a:lnTo>
                      <a:pt x="68" y="280"/>
                    </a:lnTo>
                    <a:lnTo>
                      <a:pt x="86" y="280"/>
                    </a:lnTo>
                    <a:lnTo>
                      <a:pt x="102" y="286"/>
                    </a:lnTo>
                    <a:lnTo>
                      <a:pt x="120" y="292"/>
                    </a:lnTo>
                    <a:lnTo>
                      <a:pt x="134" y="302"/>
                    </a:lnTo>
                    <a:lnTo>
                      <a:pt x="148" y="310"/>
                    </a:lnTo>
                    <a:lnTo>
                      <a:pt x="160" y="320"/>
                    </a:lnTo>
                    <a:lnTo>
                      <a:pt x="178" y="336"/>
                    </a:lnTo>
                    <a:lnTo>
                      <a:pt x="178" y="336"/>
                    </a:lnTo>
                    <a:lnTo>
                      <a:pt x="194" y="332"/>
                    </a:lnTo>
                    <a:lnTo>
                      <a:pt x="208" y="330"/>
                    </a:lnTo>
                    <a:lnTo>
                      <a:pt x="208" y="330"/>
                    </a:lnTo>
                    <a:lnTo>
                      <a:pt x="200" y="310"/>
                    </a:lnTo>
                    <a:lnTo>
                      <a:pt x="180" y="268"/>
                    </a:lnTo>
                    <a:lnTo>
                      <a:pt x="180" y="268"/>
                    </a:lnTo>
                    <a:lnTo>
                      <a:pt x="158" y="230"/>
                    </a:lnTo>
                    <a:lnTo>
                      <a:pt x="122" y="174"/>
                    </a:lnTo>
                    <a:lnTo>
                      <a:pt x="54" y="74"/>
                    </a:lnTo>
                    <a:lnTo>
                      <a:pt x="54" y="74"/>
                    </a:lnTo>
                    <a:lnTo>
                      <a:pt x="48" y="62"/>
                    </a:lnTo>
                    <a:lnTo>
                      <a:pt x="44" y="50"/>
                    </a:lnTo>
                    <a:lnTo>
                      <a:pt x="44" y="40"/>
                    </a:lnTo>
                    <a:lnTo>
                      <a:pt x="46" y="30"/>
                    </a:lnTo>
                    <a:lnTo>
                      <a:pt x="46" y="30"/>
                    </a:lnTo>
                    <a:lnTo>
                      <a:pt x="50" y="22"/>
                    </a:lnTo>
                    <a:lnTo>
                      <a:pt x="54" y="16"/>
                    </a:lnTo>
                    <a:lnTo>
                      <a:pt x="66" y="6"/>
                    </a:lnTo>
                    <a:lnTo>
                      <a:pt x="78" y="2"/>
                    </a:lnTo>
                    <a:lnTo>
                      <a:pt x="84" y="0"/>
                    </a:lnTo>
                    <a:lnTo>
                      <a:pt x="84" y="0"/>
                    </a:lnTo>
                    <a:lnTo>
                      <a:pt x="88" y="0"/>
                    </a:lnTo>
                    <a:lnTo>
                      <a:pt x="94" y="0"/>
                    </a:lnTo>
                    <a:lnTo>
                      <a:pt x="94" y="0"/>
                    </a:lnTo>
                    <a:lnTo>
                      <a:pt x="112" y="16"/>
                    </a:lnTo>
                    <a:lnTo>
                      <a:pt x="132" y="36"/>
                    </a:lnTo>
                    <a:lnTo>
                      <a:pt x="154" y="62"/>
                    </a:lnTo>
                    <a:lnTo>
                      <a:pt x="176" y="90"/>
                    </a:lnTo>
                    <a:lnTo>
                      <a:pt x="216" y="144"/>
                    </a:lnTo>
                    <a:lnTo>
                      <a:pt x="242" y="182"/>
                    </a:lnTo>
                    <a:lnTo>
                      <a:pt x="242" y="182"/>
                    </a:lnTo>
                    <a:lnTo>
                      <a:pt x="258" y="178"/>
                    </a:lnTo>
                    <a:lnTo>
                      <a:pt x="276" y="176"/>
                    </a:lnTo>
                    <a:lnTo>
                      <a:pt x="314" y="174"/>
                    </a:lnTo>
                    <a:lnTo>
                      <a:pt x="314" y="174"/>
                    </a:lnTo>
                    <a:lnTo>
                      <a:pt x="344" y="174"/>
                    </a:lnTo>
                    <a:lnTo>
                      <a:pt x="374" y="176"/>
                    </a:lnTo>
                    <a:lnTo>
                      <a:pt x="428" y="184"/>
                    </a:lnTo>
                    <a:lnTo>
                      <a:pt x="468" y="194"/>
                    </a:lnTo>
                    <a:lnTo>
                      <a:pt x="486" y="198"/>
                    </a:lnTo>
                    <a:lnTo>
                      <a:pt x="486" y="198"/>
                    </a:lnTo>
                    <a:lnTo>
                      <a:pt x="490" y="200"/>
                    </a:lnTo>
                    <a:lnTo>
                      <a:pt x="494" y="204"/>
                    </a:lnTo>
                    <a:lnTo>
                      <a:pt x="494" y="204"/>
                    </a:lnTo>
                    <a:lnTo>
                      <a:pt x="512" y="240"/>
                    </a:lnTo>
                    <a:lnTo>
                      <a:pt x="546" y="306"/>
                    </a:lnTo>
                    <a:lnTo>
                      <a:pt x="562" y="344"/>
                    </a:lnTo>
                    <a:lnTo>
                      <a:pt x="576" y="380"/>
                    </a:lnTo>
                    <a:lnTo>
                      <a:pt x="584" y="410"/>
                    </a:lnTo>
                    <a:lnTo>
                      <a:pt x="586" y="422"/>
                    </a:lnTo>
                    <a:lnTo>
                      <a:pt x="586" y="432"/>
                    </a:lnTo>
                    <a:lnTo>
                      <a:pt x="586" y="432"/>
                    </a:lnTo>
                    <a:lnTo>
                      <a:pt x="586" y="457"/>
                    </a:lnTo>
                    <a:lnTo>
                      <a:pt x="590" y="477"/>
                    </a:lnTo>
                    <a:lnTo>
                      <a:pt x="594" y="489"/>
                    </a:lnTo>
                    <a:lnTo>
                      <a:pt x="596" y="495"/>
                    </a:lnTo>
                    <a:lnTo>
                      <a:pt x="596" y="495"/>
                    </a:lnTo>
                    <a:lnTo>
                      <a:pt x="598" y="501"/>
                    </a:lnTo>
                    <a:lnTo>
                      <a:pt x="600" y="507"/>
                    </a:lnTo>
                    <a:lnTo>
                      <a:pt x="600" y="511"/>
                    </a:lnTo>
                    <a:lnTo>
                      <a:pt x="598" y="517"/>
                    </a:lnTo>
                    <a:lnTo>
                      <a:pt x="598" y="517"/>
                    </a:lnTo>
                    <a:lnTo>
                      <a:pt x="590" y="525"/>
                    </a:lnTo>
                    <a:lnTo>
                      <a:pt x="578" y="535"/>
                    </a:lnTo>
                    <a:lnTo>
                      <a:pt x="560" y="547"/>
                    </a:lnTo>
                    <a:lnTo>
                      <a:pt x="536" y="561"/>
                    </a:lnTo>
                    <a:lnTo>
                      <a:pt x="500" y="577"/>
                    </a:lnTo>
                    <a:lnTo>
                      <a:pt x="456" y="595"/>
                    </a:lnTo>
                    <a:lnTo>
                      <a:pt x="400" y="615"/>
                    </a:lnTo>
                    <a:lnTo>
                      <a:pt x="400" y="615"/>
                    </a:lnTo>
                    <a:lnTo>
                      <a:pt x="396" y="615"/>
                    </a:lnTo>
                    <a:lnTo>
                      <a:pt x="396" y="615"/>
                    </a:lnTo>
                    <a:close/>
                    <a:moveTo>
                      <a:pt x="352" y="539"/>
                    </a:moveTo>
                    <a:lnTo>
                      <a:pt x="352" y="539"/>
                    </a:lnTo>
                    <a:lnTo>
                      <a:pt x="360" y="541"/>
                    </a:lnTo>
                    <a:lnTo>
                      <a:pt x="360" y="541"/>
                    </a:lnTo>
                    <a:lnTo>
                      <a:pt x="366" y="545"/>
                    </a:lnTo>
                    <a:lnTo>
                      <a:pt x="380" y="555"/>
                    </a:lnTo>
                    <a:lnTo>
                      <a:pt x="394" y="569"/>
                    </a:lnTo>
                    <a:lnTo>
                      <a:pt x="400" y="577"/>
                    </a:lnTo>
                    <a:lnTo>
                      <a:pt x="404" y="587"/>
                    </a:lnTo>
                    <a:lnTo>
                      <a:pt x="404" y="587"/>
                    </a:lnTo>
                    <a:lnTo>
                      <a:pt x="452" y="569"/>
                    </a:lnTo>
                    <a:lnTo>
                      <a:pt x="502" y="547"/>
                    </a:lnTo>
                    <a:lnTo>
                      <a:pt x="546" y="527"/>
                    </a:lnTo>
                    <a:lnTo>
                      <a:pt x="562" y="517"/>
                    </a:lnTo>
                    <a:lnTo>
                      <a:pt x="574" y="507"/>
                    </a:lnTo>
                    <a:lnTo>
                      <a:pt x="574" y="507"/>
                    </a:lnTo>
                    <a:lnTo>
                      <a:pt x="570" y="499"/>
                    </a:lnTo>
                    <a:lnTo>
                      <a:pt x="566" y="483"/>
                    </a:lnTo>
                    <a:lnTo>
                      <a:pt x="562" y="459"/>
                    </a:lnTo>
                    <a:lnTo>
                      <a:pt x="562" y="445"/>
                    </a:lnTo>
                    <a:lnTo>
                      <a:pt x="562" y="430"/>
                    </a:lnTo>
                    <a:lnTo>
                      <a:pt x="562" y="430"/>
                    </a:lnTo>
                    <a:lnTo>
                      <a:pt x="560" y="416"/>
                    </a:lnTo>
                    <a:lnTo>
                      <a:pt x="554" y="394"/>
                    </a:lnTo>
                    <a:lnTo>
                      <a:pt x="544" y="368"/>
                    </a:lnTo>
                    <a:lnTo>
                      <a:pt x="532" y="340"/>
                    </a:lnTo>
                    <a:lnTo>
                      <a:pt x="504" y="278"/>
                    </a:lnTo>
                    <a:lnTo>
                      <a:pt x="474" y="220"/>
                    </a:lnTo>
                    <a:lnTo>
                      <a:pt x="474" y="220"/>
                    </a:lnTo>
                    <a:lnTo>
                      <a:pt x="450" y="214"/>
                    </a:lnTo>
                    <a:lnTo>
                      <a:pt x="412" y="208"/>
                    </a:lnTo>
                    <a:lnTo>
                      <a:pt x="364" y="202"/>
                    </a:lnTo>
                    <a:lnTo>
                      <a:pt x="340" y="200"/>
                    </a:lnTo>
                    <a:lnTo>
                      <a:pt x="314" y="198"/>
                    </a:lnTo>
                    <a:lnTo>
                      <a:pt x="314" y="198"/>
                    </a:lnTo>
                    <a:lnTo>
                      <a:pt x="292" y="200"/>
                    </a:lnTo>
                    <a:lnTo>
                      <a:pt x="274" y="200"/>
                    </a:lnTo>
                    <a:lnTo>
                      <a:pt x="256" y="204"/>
                    </a:lnTo>
                    <a:lnTo>
                      <a:pt x="240" y="208"/>
                    </a:lnTo>
                    <a:lnTo>
                      <a:pt x="240" y="208"/>
                    </a:lnTo>
                    <a:lnTo>
                      <a:pt x="236" y="208"/>
                    </a:lnTo>
                    <a:lnTo>
                      <a:pt x="232" y="208"/>
                    </a:lnTo>
                    <a:lnTo>
                      <a:pt x="230" y="206"/>
                    </a:lnTo>
                    <a:lnTo>
                      <a:pt x="226" y="204"/>
                    </a:lnTo>
                    <a:lnTo>
                      <a:pt x="226" y="204"/>
                    </a:lnTo>
                    <a:lnTo>
                      <a:pt x="198" y="162"/>
                    </a:lnTo>
                    <a:lnTo>
                      <a:pt x="160" y="110"/>
                    </a:lnTo>
                    <a:lnTo>
                      <a:pt x="140" y="84"/>
                    </a:lnTo>
                    <a:lnTo>
                      <a:pt x="120" y="60"/>
                    </a:lnTo>
                    <a:lnTo>
                      <a:pt x="102" y="40"/>
                    </a:lnTo>
                    <a:lnTo>
                      <a:pt x="84" y="26"/>
                    </a:lnTo>
                    <a:lnTo>
                      <a:pt x="84" y="26"/>
                    </a:lnTo>
                    <a:lnTo>
                      <a:pt x="76" y="30"/>
                    </a:lnTo>
                    <a:lnTo>
                      <a:pt x="72" y="34"/>
                    </a:lnTo>
                    <a:lnTo>
                      <a:pt x="70" y="38"/>
                    </a:lnTo>
                    <a:lnTo>
                      <a:pt x="70" y="38"/>
                    </a:lnTo>
                    <a:lnTo>
                      <a:pt x="68" y="44"/>
                    </a:lnTo>
                    <a:lnTo>
                      <a:pt x="70" y="48"/>
                    </a:lnTo>
                    <a:lnTo>
                      <a:pt x="76" y="58"/>
                    </a:lnTo>
                    <a:lnTo>
                      <a:pt x="76" y="58"/>
                    </a:lnTo>
                    <a:lnTo>
                      <a:pt x="144" y="162"/>
                    </a:lnTo>
                    <a:lnTo>
                      <a:pt x="180" y="218"/>
                    </a:lnTo>
                    <a:lnTo>
                      <a:pt x="202" y="256"/>
                    </a:lnTo>
                    <a:lnTo>
                      <a:pt x="202" y="256"/>
                    </a:lnTo>
                    <a:lnTo>
                      <a:pt x="222" y="296"/>
                    </a:lnTo>
                    <a:lnTo>
                      <a:pt x="232" y="320"/>
                    </a:lnTo>
                    <a:lnTo>
                      <a:pt x="234" y="332"/>
                    </a:lnTo>
                    <a:lnTo>
                      <a:pt x="236" y="336"/>
                    </a:lnTo>
                    <a:lnTo>
                      <a:pt x="234" y="344"/>
                    </a:lnTo>
                    <a:lnTo>
                      <a:pt x="234" y="344"/>
                    </a:lnTo>
                    <a:lnTo>
                      <a:pt x="234" y="348"/>
                    </a:lnTo>
                    <a:lnTo>
                      <a:pt x="230" y="352"/>
                    </a:lnTo>
                    <a:lnTo>
                      <a:pt x="226" y="354"/>
                    </a:lnTo>
                    <a:lnTo>
                      <a:pt x="222" y="356"/>
                    </a:lnTo>
                    <a:lnTo>
                      <a:pt x="222" y="356"/>
                    </a:lnTo>
                    <a:lnTo>
                      <a:pt x="200" y="356"/>
                    </a:lnTo>
                    <a:lnTo>
                      <a:pt x="188" y="358"/>
                    </a:lnTo>
                    <a:lnTo>
                      <a:pt x="180" y="362"/>
                    </a:lnTo>
                    <a:lnTo>
                      <a:pt x="180" y="362"/>
                    </a:lnTo>
                    <a:lnTo>
                      <a:pt x="176" y="362"/>
                    </a:lnTo>
                    <a:lnTo>
                      <a:pt x="172" y="362"/>
                    </a:lnTo>
                    <a:lnTo>
                      <a:pt x="168" y="362"/>
                    </a:lnTo>
                    <a:lnTo>
                      <a:pt x="166" y="358"/>
                    </a:lnTo>
                    <a:lnTo>
                      <a:pt x="166" y="358"/>
                    </a:lnTo>
                    <a:lnTo>
                      <a:pt x="156" y="350"/>
                    </a:lnTo>
                    <a:lnTo>
                      <a:pt x="134" y="332"/>
                    </a:lnTo>
                    <a:lnTo>
                      <a:pt x="120" y="322"/>
                    </a:lnTo>
                    <a:lnTo>
                      <a:pt x="102" y="312"/>
                    </a:lnTo>
                    <a:lnTo>
                      <a:pt x="86" y="306"/>
                    </a:lnTo>
                    <a:lnTo>
                      <a:pt x="68" y="304"/>
                    </a:lnTo>
                    <a:lnTo>
                      <a:pt x="68" y="304"/>
                    </a:lnTo>
                    <a:lnTo>
                      <a:pt x="58" y="306"/>
                    </a:lnTo>
                    <a:lnTo>
                      <a:pt x="50" y="308"/>
                    </a:lnTo>
                    <a:lnTo>
                      <a:pt x="42" y="310"/>
                    </a:lnTo>
                    <a:lnTo>
                      <a:pt x="34" y="316"/>
                    </a:lnTo>
                    <a:lnTo>
                      <a:pt x="34" y="316"/>
                    </a:lnTo>
                    <a:lnTo>
                      <a:pt x="26" y="326"/>
                    </a:lnTo>
                    <a:lnTo>
                      <a:pt x="26" y="326"/>
                    </a:lnTo>
                    <a:lnTo>
                      <a:pt x="40" y="332"/>
                    </a:lnTo>
                    <a:lnTo>
                      <a:pt x="50" y="340"/>
                    </a:lnTo>
                    <a:lnTo>
                      <a:pt x="50" y="340"/>
                    </a:lnTo>
                    <a:lnTo>
                      <a:pt x="56" y="344"/>
                    </a:lnTo>
                    <a:lnTo>
                      <a:pt x="56" y="344"/>
                    </a:lnTo>
                    <a:lnTo>
                      <a:pt x="80" y="362"/>
                    </a:lnTo>
                    <a:lnTo>
                      <a:pt x="102" y="380"/>
                    </a:lnTo>
                    <a:lnTo>
                      <a:pt x="122" y="398"/>
                    </a:lnTo>
                    <a:lnTo>
                      <a:pt x="136" y="416"/>
                    </a:lnTo>
                    <a:lnTo>
                      <a:pt x="136" y="416"/>
                    </a:lnTo>
                    <a:lnTo>
                      <a:pt x="142" y="426"/>
                    </a:lnTo>
                    <a:lnTo>
                      <a:pt x="158" y="441"/>
                    </a:lnTo>
                    <a:lnTo>
                      <a:pt x="176" y="461"/>
                    </a:lnTo>
                    <a:lnTo>
                      <a:pt x="202" y="483"/>
                    </a:lnTo>
                    <a:lnTo>
                      <a:pt x="232" y="503"/>
                    </a:lnTo>
                    <a:lnTo>
                      <a:pt x="248" y="513"/>
                    </a:lnTo>
                    <a:lnTo>
                      <a:pt x="264" y="521"/>
                    </a:lnTo>
                    <a:lnTo>
                      <a:pt x="282" y="529"/>
                    </a:lnTo>
                    <a:lnTo>
                      <a:pt x="300" y="535"/>
                    </a:lnTo>
                    <a:lnTo>
                      <a:pt x="318" y="537"/>
                    </a:lnTo>
                    <a:lnTo>
                      <a:pt x="338" y="539"/>
                    </a:lnTo>
                    <a:lnTo>
                      <a:pt x="338" y="539"/>
                    </a:lnTo>
                    <a:lnTo>
                      <a:pt x="338" y="539"/>
                    </a:lnTo>
                    <a:lnTo>
                      <a:pt x="352" y="539"/>
                    </a:lnTo>
                    <a:lnTo>
                      <a:pt x="352" y="53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235" name="Freeform 106"/>
              <p:cNvSpPr>
                <a:spLocks/>
              </p:cNvSpPr>
              <p:nvPr/>
            </p:nvSpPr>
            <p:spPr bwMode="auto">
              <a:xfrm>
                <a:off x="2308225" y="7734300"/>
                <a:ext cx="704850" cy="1154113"/>
              </a:xfrm>
              <a:custGeom>
                <a:avLst/>
                <a:gdLst>
                  <a:gd name="T0" fmla="*/ 34 w 444"/>
                  <a:gd name="T1" fmla="*/ 703 h 727"/>
                  <a:gd name="T2" fmla="*/ 34 w 444"/>
                  <a:gd name="T3" fmla="*/ 703 h 727"/>
                  <a:gd name="T4" fmla="*/ 28 w 444"/>
                  <a:gd name="T5" fmla="*/ 701 h 727"/>
                  <a:gd name="T6" fmla="*/ 26 w 444"/>
                  <a:gd name="T7" fmla="*/ 696 h 727"/>
                  <a:gd name="T8" fmla="*/ 26 w 444"/>
                  <a:gd name="T9" fmla="*/ 32 h 727"/>
                  <a:gd name="T10" fmla="*/ 26 w 444"/>
                  <a:gd name="T11" fmla="*/ 32 h 727"/>
                  <a:gd name="T12" fmla="*/ 28 w 444"/>
                  <a:gd name="T13" fmla="*/ 26 h 727"/>
                  <a:gd name="T14" fmla="*/ 34 w 444"/>
                  <a:gd name="T15" fmla="*/ 24 h 727"/>
                  <a:gd name="T16" fmla="*/ 412 w 444"/>
                  <a:gd name="T17" fmla="*/ 24 h 727"/>
                  <a:gd name="T18" fmla="*/ 412 w 444"/>
                  <a:gd name="T19" fmla="*/ 24 h 727"/>
                  <a:gd name="T20" fmla="*/ 418 w 444"/>
                  <a:gd name="T21" fmla="*/ 26 h 727"/>
                  <a:gd name="T22" fmla="*/ 420 w 444"/>
                  <a:gd name="T23" fmla="*/ 32 h 727"/>
                  <a:gd name="T24" fmla="*/ 420 w 444"/>
                  <a:gd name="T25" fmla="*/ 348 h 727"/>
                  <a:gd name="T26" fmla="*/ 420 w 444"/>
                  <a:gd name="T27" fmla="*/ 348 h 727"/>
                  <a:gd name="T28" fmla="*/ 444 w 444"/>
                  <a:gd name="T29" fmla="*/ 382 h 727"/>
                  <a:gd name="T30" fmla="*/ 444 w 444"/>
                  <a:gd name="T31" fmla="*/ 32 h 727"/>
                  <a:gd name="T32" fmla="*/ 444 w 444"/>
                  <a:gd name="T33" fmla="*/ 32 h 727"/>
                  <a:gd name="T34" fmla="*/ 444 w 444"/>
                  <a:gd name="T35" fmla="*/ 26 h 727"/>
                  <a:gd name="T36" fmla="*/ 442 w 444"/>
                  <a:gd name="T37" fmla="*/ 20 h 727"/>
                  <a:gd name="T38" fmla="*/ 440 w 444"/>
                  <a:gd name="T39" fmla="*/ 14 h 727"/>
                  <a:gd name="T40" fmla="*/ 436 w 444"/>
                  <a:gd name="T41" fmla="*/ 8 h 727"/>
                  <a:gd name="T42" fmla="*/ 430 w 444"/>
                  <a:gd name="T43" fmla="*/ 4 h 727"/>
                  <a:gd name="T44" fmla="*/ 426 w 444"/>
                  <a:gd name="T45" fmla="*/ 2 h 727"/>
                  <a:gd name="T46" fmla="*/ 420 w 444"/>
                  <a:gd name="T47" fmla="*/ 0 h 727"/>
                  <a:gd name="T48" fmla="*/ 412 w 444"/>
                  <a:gd name="T49" fmla="*/ 0 h 727"/>
                  <a:gd name="T50" fmla="*/ 34 w 444"/>
                  <a:gd name="T51" fmla="*/ 0 h 727"/>
                  <a:gd name="T52" fmla="*/ 34 w 444"/>
                  <a:gd name="T53" fmla="*/ 0 h 727"/>
                  <a:gd name="T54" fmla="*/ 26 w 444"/>
                  <a:gd name="T55" fmla="*/ 0 h 727"/>
                  <a:gd name="T56" fmla="*/ 20 w 444"/>
                  <a:gd name="T57" fmla="*/ 2 h 727"/>
                  <a:gd name="T58" fmla="*/ 16 w 444"/>
                  <a:gd name="T59" fmla="*/ 4 h 727"/>
                  <a:gd name="T60" fmla="*/ 10 w 444"/>
                  <a:gd name="T61" fmla="*/ 8 h 727"/>
                  <a:gd name="T62" fmla="*/ 6 w 444"/>
                  <a:gd name="T63" fmla="*/ 14 h 727"/>
                  <a:gd name="T64" fmla="*/ 4 w 444"/>
                  <a:gd name="T65" fmla="*/ 20 h 727"/>
                  <a:gd name="T66" fmla="*/ 2 w 444"/>
                  <a:gd name="T67" fmla="*/ 26 h 727"/>
                  <a:gd name="T68" fmla="*/ 0 w 444"/>
                  <a:gd name="T69" fmla="*/ 32 h 727"/>
                  <a:gd name="T70" fmla="*/ 0 w 444"/>
                  <a:gd name="T71" fmla="*/ 696 h 727"/>
                  <a:gd name="T72" fmla="*/ 0 w 444"/>
                  <a:gd name="T73" fmla="*/ 696 h 727"/>
                  <a:gd name="T74" fmla="*/ 2 w 444"/>
                  <a:gd name="T75" fmla="*/ 701 h 727"/>
                  <a:gd name="T76" fmla="*/ 4 w 444"/>
                  <a:gd name="T77" fmla="*/ 707 h 727"/>
                  <a:gd name="T78" fmla="*/ 6 w 444"/>
                  <a:gd name="T79" fmla="*/ 713 h 727"/>
                  <a:gd name="T80" fmla="*/ 10 w 444"/>
                  <a:gd name="T81" fmla="*/ 719 h 727"/>
                  <a:gd name="T82" fmla="*/ 16 w 444"/>
                  <a:gd name="T83" fmla="*/ 723 h 727"/>
                  <a:gd name="T84" fmla="*/ 20 w 444"/>
                  <a:gd name="T85" fmla="*/ 725 h 727"/>
                  <a:gd name="T86" fmla="*/ 26 w 444"/>
                  <a:gd name="T87" fmla="*/ 727 h 727"/>
                  <a:gd name="T88" fmla="*/ 34 w 444"/>
                  <a:gd name="T89" fmla="*/ 727 h 727"/>
                  <a:gd name="T90" fmla="*/ 404 w 444"/>
                  <a:gd name="T91" fmla="*/ 727 h 727"/>
                  <a:gd name="T92" fmla="*/ 404 w 444"/>
                  <a:gd name="T93" fmla="*/ 727 h 727"/>
                  <a:gd name="T94" fmla="*/ 382 w 444"/>
                  <a:gd name="T95" fmla="*/ 703 h 727"/>
                  <a:gd name="T96" fmla="*/ 34 w 444"/>
                  <a:gd name="T97" fmla="*/ 703 h 7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444" h="727">
                    <a:moveTo>
                      <a:pt x="34" y="703"/>
                    </a:moveTo>
                    <a:lnTo>
                      <a:pt x="34" y="703"/>
                    </a:lnTo>
                    <a:lnTo>
                      <a:pt x="28" y="701"/>
                    </a:lnTo>
                    <a:lnTo>
                      <a:pt x="26" y="696"/>
                    </a:lnTo>
                    <a:lnTo>
                      <a:pt x="26" y="32"/>
                    </a:lnTo>
                    <a:lnTo>
                      <a:pt x="26" y="32"/>
                    </a:lnTo>
                    <a:lnTo>
                      <a:pt x="28" y="26"/>
                    </a:lnTo>
                    <a:lnTo>
                      <a:pt x="34" y="24"/>
                    </a:lnTo>
                    <a:lnTo>
                      <a:pt x="412" y="24"/>
                    </a:lnTo>
                    <a:lnTo>
                      <a:pt x="412" y="24"/>
                    </a:lnTo>
                    <a:lnTo>
                      <a:pt x="418" y="26"/>
                    </a:lnTo>
                    <a:lnTo>
                      <a:pt x="420" y="32"/>
                    </a:lnTo>
                    <a:lnTo>
                      <a:pt x="420" y="348"/>
                    </a:lnTo>
                    <a:lnTo>
                      <a:pt x="420" y="348"/>
                    </a:lnTo>
                    <a:lnTo>
                      <a:pt x="444" y="382"/>
                    </a:lnTo>
                    <a:lnTo>
                      <a:pt x="444" y="32"/>
                    </a:lnTo>
                    <a:lnTo>
                      <a:pt x="444" y="32"/>
                    </a:lnTo>
                    <a:lnTo>
                      <a:pt x="444" y="26"/>
                    </a:lnTo>
                    <a:lnTo>
                      <a:pt x="442" y="20"/>
                    </a:lnTo>
                    <a:lnTo>
                      <a:pt x="440" y="14"/>
                    </a:lnTo>
                    <a:lnTo>
                      <a:pt x="436" y="8"/>
                    </a:lnTo>
                    <a:lnTo>
                      <a:pt x="430" y="4"/>
                    </a:lnTo>
                    <a:lnTo>
                      <a:pt x="426" y="2"/>
                    </a:lnTo>
                    <a:lnTo>
                      <a:pt x="420" y="0"/>
                    </a:lnTo>
                    <a:lnTo>
                      <a:pt x="412" y="0"/>
                    </a:lnTo>
                    <a:lnTo>
                      <a:pt x="34" y="0"/>
                    </a:lnTo>
                    <a:lnTo>
                      <a:pt x="34" y="0"/>
                    </a:lnTo>
                    <a:lnTo>
                      <a:pt x="26" y="0"/>
                    </a:lnTo>
                    <a:lnTo>
                      <a:pt x="20" y="2"/>
                    </a:lnTo>
                    <a:lnTo>
                      <a:pt x="16" y="4"/>
                    </a:lnTo>
                    <a:lnTo>
                      <a:pt x="10" y="8"/>
                    </a:lnTo>
                    <a:lnTo>
                      <a:pt x="6" y="14"/>
                    </a:lnTo>
                    <a:lnTo>
                      <a:pt x="4" y="20"/>
                    </a:lnTo>
                    <a:lnTo>
                      <a:pt x="2" y="26"/>
                    </a:lnTo>
                    <a:lnTo>
                      <a:pt x="0" y="32"/>
                    </a:lnTo>
                    <a:lnTo>
                      <a:pt x="0" y="696"/>
                    </a:lnTo>
                    <a:lnTo>
                      <a:pt x="0" y="696"/>
                    </a:lnTo>
                    <a:lnTo>
                      <a:pt x="2" y="701"/>
                    </a:lnTo>
                    <a:lnTo>
                      <a:pt x="4" y="707"/>
                    </a:lnTo>
                    <a:lnTo>
                      <a:pt x="6" y="713"/>
                    </a:lnTo>
                    <a:lnTo>
                      <a:pt x="10" y="719"/>
                    </a:lnTo>
                    <a:lnTo>
                      <a:pt x="16" y="723"/>
                    </a:lnTo>
                    <a:lnTo>
                      <a:pt x="20" y="725"/>
                    </a:lnTo>
                    <a:lnTo>
                      <a:pt x="26" y="727"/>
                    </a:lnTo>
                    <a:lnTo>
                      <a:pt x="34" y="727"/>
                    </a:lnTo>
                    <a:lnTo>
                      <a:pt x="404" y="727"/>
                    </a:lnTo>
                    <a:lnTo>
                      <a:pt x="404" y="727"/>
                    </a:lnTo>
                    <a:lnTo>
                      <a:pt x="382" y="703"/>
                    </a:lnTo>
                    <a:lnTo>
                      <a:pt x="34" y="70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236" name="Freeform 107"/>
              <p:cNvSpPr>
                <a:spLocks/>
              </p:cNvSpPr>
              <p:nvPr/>
            </p:nvSpPr>
            <p:spPr bwMode="auto">
              <a:xfrm>
                <a:off x="2974975" y="8467725"/>
                <a:ext cx="38100" cy="263525"/>
              </a:xfrm>
              <a:custGeom>
                <a:avLst/>
                <a:gdLst>
                  <a:gd name="T0" fmla="*/ 0 w 24"/>
                  <a:gd name="T1" fmla="*/ 0 h 166"/>
                  <a:gd name="T2" fmla="*/ 0 w 24"/>
                  <a:gd name="T3" fmla="*/ 134 h 166"/>
                  <a:gd name="T4" fmla="*/ 0 w 24"/>
                  <a:gd name="T5" fmla="*/ 134 h 166"/>
                  <a:gd name="T6" fmla="*/ 24 w 24"/>
                  <a:gd name="T7" fmla="*/ 166 h 166"/>
                  <a:gd name="T8" fmla="*/ 24 w 24"/>
                  <a:gd name="T9" fmla="*/ 50 h 166"/>
                  <a:gd name="T10" fmla="*/ 24 w 24"/>
                  <a:gd name="T11" fmla="*/ 50 h 166"/>
                  <a:gd name="T12" fmla="*/ 12 w 24"/>
                  <a:gd name="T13" fmla="*/ 22 h 166"/>
                  <a:gd name="T14" fmla="*/ 0 w 24"/>
                  <a:gd name="T15" fmla="*/ 0 h 166"/>
                  <a:gd name="T16" fmla="*/ 0 w 24"/>
                  <a:gd name="T17" fmla="*/ 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166">
                    <a:moveTo>
                      <a:pt x="0" y="0"/>
                    </a:moveTo>
                    <a:lnTo>
                      <a:pt x="0" y="134"/>
                    </a:lnTo>
                    <a:lnTo>
                      <a:pt x="0" y="134"/>
                    </a:lnTo>
                    <a:lnTo>
                      <a:pt x="24" y="166"/>
                    </a:lnTo>
                    <a:lnTo>
                      <a:pt x="24" y="50"/>
                    </a:lnTo>
                    <a:lnTo>
                      <a:pt x="24" y="50"/>
                    </a:lnTo>
                    <a:lnTo>
                      <a:pt x="12" y="22"/>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grpSp>
        <p:sp>
          <p:nvSpPr>
            <p:cNvPr id="225" name="Freeform 100"/>
            <p:cNvSpPr>
              <a:spLocks noChangeAspect="1"/>
            </p:cNvSpPr>
            <p:nvPr/>
          </p:nvSpPr>
          <p:spPr bwMode="auto">
            <a:xfrm>
              <a:off x="594076" y="5166087"/>
              <a:ext cx="269639" cy="457200"/>
            </a:xfrm>
            <a:custGeom>
              <a:avLst/>
              <a:gdLst>
                <a:gd name="connsiteX0" fmla="*/ 652199 w 1962365"/>
                <a:gd name="connsiteY0" fmla="*/ 661855 h 3327402"/>
                <a:gd name="connsiteX1" fmla="*/ 518186 w 1962365"/>
                <a:gd name="connsiteY1" fmla="*/ 722665 h 3327402"/>
                <a:gd name="connsiteX2" fmla="*/ 466408 w 1962365"/>
                <a:gd name="connsiteY2" fmla="*/ 853406 h 3327402"/>
                <a:gd name="connsiteX3" fmla="*/ 466408 w 1962365"/>
                <a:gd name="connsiteY3" fmla="*/ 1151375 h 3327402"/>
                <a:gd name="connsiteX4" fmla="*/ 466408 w 1962365"/>
                <a:gd name="connsiteY4" fmla="*/ 1282116 h 3327402"/>
                <a:gd name="connsiteX5" fmla="*/ 466408 w 1962365"/>
                <a:gd name="connsiteY5" fmla="*/ 1285157 h 3327402"/>
                <a:gd name="connsiteX6" fmla="*/ 466408 w 1962365"/>
                <a:gd name="connsiteY6" fmla="*/ 1726029 h 3327402"/>
                <a:gd name="connsiteX7" fmla="*/ 466408 w 1962365"/>
                <a:gd name="connsiteY7" fmla="*/ 1732110 h 3327402"/>
                <a:gd name="connsiteX8" fmla="*/ 466280 w 1962365"/>
                <a:gd name="connsiteY8" fmla="*/ 1733367 h 3327402"/>
                <a:gd name="connsiteX9" fmla="*/ 466726 w 1962365"/>
                <a:gd name="connsiteY9" fmla="*/ 1735547 h 3327402"/>
                <a:gd name="connsiteX10" fmla="*/ 466726 w 1962365"/>
                <a:gd name="connsiteY10" fmla="*/ 2345918 h 3327402"/>
                <a:gd name="connsiteX11" fmla="*/ 405607 w 1962365"/>
                <a:gd name="connsiteY11" fmla="*/ 2406651 h 3327402"/>
                <a:gd name="connsiteX12" fmla="*/ 344488 w 1962365"/>
                <a:gd name="connsiteY12" fmla="*/ 2345918 h 3327402"/>
                <a:gd name="connsiteX13" fmla="*/ 344488 w 1962365"/>
                <a:gd name="connsiteY13" fmla="*/ 1884564 h 3327402"/>
                <a:gd name="connsiteX14" fmla="*/ 344488 w 1962365"/>
                <a:gd name="connsiteY14" fmla="*/ 1816216 h 3327402"/>
                <a:gd name="connsiteX15" fmla="*/ 314121 w 1962365"/>
                <a:gd name="connsiteY15" fmla="*/ 1811163 h 3327402"/>
                <a:gd name="connsiteX16" fmla="*/ 292800 w 1962365"/>
                <a:gd name="connsiteY16" fmla="*/ 1814204 h 3327402"/>
                <a:gd name="connsiteX17" fmla="*/ 122238 w 1962365"/>
                <a:gd name="connsiteY17" fmla="*/ 2014877 h 3327402"/>
                <a:gd name="connsiteX18" fmla="*/ 122238 w 1962365"/>
                <a:gd name="connsiteY18" fmla="*/ 2671624 h 3327402"/>
                <a:gd name="connsiteX19" fmla="*/ 655245 w 1962365"/>
                <a:gd name="connsiteY19" fmla="*/ 3206752 h 3327402"/>
                <a:gd name="connsiteX20" fmla="*/ 1316173 w 1962365"/>
                <a:gd name="connsiteY20" fmla="*/ 3206752 h 3327402"/>
                <a:gd name="connsiteX21" fmla="*/ 1660343 w 1962365"/>
                <a:gd name="connsiteY21" fmla="*/ 3069930 h 3327402"/>
                <a:gd name="connsiteX22" fmla="*/ 1840042 w 1962365"/>
                <a:gd name="connsiteY22" fmla="*/ 2635138 h 3327402"/>
                <a:gd name="connsiteX23" fmla="*/ 1836997 w 1962365"/>
                <a:gd name="connsiteY23" fmla="*/ 2200347 h 3327402"/>
                <a:gd name="connsiteX24" fmla="*/ 1836997 w 1962365"/>
                <a:gd name="connsiteY24" fmla="*/ 1865892 h 3327402"/>
                <a:gd name="connsiteX25" fmla="*/ 1766944 w 1962365"/>
                <a:gd name="connsiteY25" fmla="*/ 1710827 h 3327402"/>
                <a:gd name="connsiteX26" fmla="*/ 1691943 w 1962365"/>
                <a:gd name="connsiteY26" fmla="*/ 1673201 h 3327402"/>
                <a:gd name="connsiteX27" fmla="*/ 1627188 w 1962365"/>
                <a:gd name="connsiteY27" fmla="*/ 1674055 h 3327402"/>
                <a:gd name="connsiteX28" fmla="*/ 1627188 w 1962365"/>
                <a:gd name="connsiteY28" fmla="*/ 1739862 h 3327402"/>
                <a:gd name="connsiteX29" fmla="*/ 1627188 w 1962365"/>
                <a:gd name="connsiteY29" fmla="*/ 2002880 h 3327402"/>
                <a:gd name="connsiteX30" fmla="*/ 1566069 w 1962365"/>
                <a:gd name="connsiteY30" fmla="*/ 2063750 h 3327402"/>
                <a:gd name="connsiteX31" fmla="*/ 1504950 w 1962365"/>
                <a:gd name="connsiteY31" fmla="*/ 2002880 h 3327402"/>
                <a:gd name="connsiteX32" fmla="*/ 1504950 w 1962365"/>
                <a:gd name="connsiteY32" fmla="*/ 1659347 h 3327402"/>
                <a:gd name="connsiteX33" fmla="*/ 1504950 w 1962365"/>
                <a:gd name="connsiteY33" fmla="*/ 1634494 h 3327402"/>
                <a:gd name="connsiteX34" fmla="*/ 1492827 w 1962365"/>
                <a:gd name="connsiteY34" fmla="*/ 1616571 h 3327402"/>
                <a:gd name="connsiteX35" fmla="*/ 1343347 w 1962365"/>
                <a:gd name="connsiteY35" fmla="*/ 1504121 h 3327402"/>
                <a:gd name="connsiteX36" fmla="*/ 1295401 w 1962365"/>
                <a:gd name="connsiteY36" fmla="*/ 1508888 h 3327402"/>
                <a:gd name="connsiteX37" fmla="*/ 1295401 w 1962365"/>
                <a:gd name="connsiteY37" fmla="*/ 1587395 h 3327402"/>
                <a:gd name="connsiteX38" fmla="*/ 1295401 w 1962365"/>
                <a:gd name="connsiteY38" fmla="*/ 1853811 h 3327402"/>
                <a:gd name="connsiteX39" fmla="*/ 1234282 w 1962365"/>
                <a:gd name="connsiteY39" fmla="*/ 1914526 h 3327402"/>
                <a:gd name="connsiteX40" fmla="*/ 1173163 w 1962365"/>
                <a:gd name="connsiteY40" fmla="*/ 1853811 h 3327402"/>
                <a:gd name="connsiteX41" fmla="*/ 1173163 w 1962365"/>
                <a:gd name="connsiteY41" fmla="*/ 1505839 h 3327402"/>
                <a:gd name="connsiteX42" fmla="*/ 1173163 w 1962365"/>
                <a:gd name="connsiteY42" fmla="*/ 1481814 h 3327402"/>
                <a:gd name="connsiteX43" fmla="*/ 1154748 w 1962365"/>
                <a:gd name="connsiteY43" fmla="*/ 1452384 h 3327402"/>
                <a:gd name="connsiteX44" fmla="*/ 1014692 w 1962365"/>
                <a:gd name="connsiteY44" fmla="*/ 1336513 h 3327402"/>
                <a:gd name="connsiteX45" fmla="*/ 960438 w 1962365"/>
                <a:gd name="connsiteY45" fmla="*/ 1336809 h 3327402"/>
                <a:gd name="connsiteX46" fmla="*/ 960438 w 1962365"/>
                <a:gd name="connsiteY46" fmla="*/ 1351429 h 3327402"/>
                <a:gd name="connsiteX47" fmla="*/ 960438 w 1962365"/>
                <a:gd name="connsiteY47" fmla="*/ 1856956 h 3327402"/>
                <a:gd name="connsiteX48" fmla="*/ 899319 w 1962365"/>
                <a:gd name="connsiteY48" fmla="*/ 1917701 h 3327402"/>
                <a:gd name="connsiteX49" fmla="*/ 838200 w 1962365"/>
                <a:gd name="connsiteY49" fmla="*/ 1856956 h 3327402"/>
                <a:gd name="connsiteX50" fmla="*/ 838200 w 1962365"/>
                <a:gd name="connsiteY50" fmla="*/ 1244632 h 3327402"/>
                <a:gd name="connsiteX51" fmla="*/ 838200 w 1962365"/>
                <a:gd name="connsiteY51" fmla="*/ 1244582 h 3327402"/>
                <a:gd name="connsiteX52" fmla="*/ 837990 w 1962365"/>
                <a:gd name="connsiteY52" fmla="*/ 1242590 h 3327402"/>
                <a:gd name="connsiteX53" fmla="*/ 837990 w 1962365"/>
                <a:gd name="connsiteY53" fmla="*/ 853406 h 3327402"/>
                <a:gd name="connsiteX54" fmla="*/ 777075 w 1962365"/>
                <a:gd name="connsiteY54" fmla="*/ 713543 h 3327402"/>
                <a:gd name="connsiteX55" fmla="*/ 652199 w 1962365"/>
                <a:gd name="connsiteY55" fmla="*/ 661855 h 3327402"/>
                <a:gd name="connsiteX56" fmla="*/ 639828 w 1962365"/>
                <a:gd name="connsiteY56" fmla="*/ 121613 h 3327402"/>
                <a:gd name="connsiteX57" fmla="*/ 137622 w 1962365"/>
                <a:gd name="connsiteY57" fmla="*/ 626308 h 3327402"/>
                <a:gd name="connsiteX58" fmla="*/ 282720 w 1962365"/>
                <a:gd name="connsiteY58" fmla="*/ 979461 h 3327402"/>
                <a:gd name="connsiteX59" fmla="*/ 345272 w 1962365"/>
                <a:gd name="connsiteY59" fmla="*/ 1028322 h 3327402"/>
                <a:gd name="connsiteX60" fmla="*/ 345456 w 1962365"/>
                <a:gd name="connsiteY60" fmla="*/ 1004557 h 3327402"/>
                <a:gd name="connsiteX61" fmla="*/ 344313 w 1962365"/>
                <a:gd name="connsiteY61" fmla="*/ 857195 h 3327402"/>
                <a:gd name="connsiteX62" fmla="*/ 429629 w 1962365"/>
                <a:gd name="connsiteY62" fmla="*/ 638431 h 3327402"/>
                <a:gd name="connsiteX63" fmla="*/ 649015 w 1962365"/>
                <a:gd name="connsiteY63" fmla="*/ 541203 h 3327402"/>
                <a:gd name="connsiteX64" fmla="*/ 859259 w 1962365"/>
                <a:gd name="connsiteY64" fmla="*/ 626277 h 3327402"/>
                <a:gd name="connsiteX65" fmla="*/ 959810 w 1962365"/>
                <a:gd name="connsiteY65" fmla="*/ 854156 h 3327402"/>
                <a:gd name="connsiteX66" fmla="*/ 961689 w 1962365"/>
                <a:gd name="connsiteY66" fmla="*/ 1008367 h 3327402"/>
                <a:gd name="connsiteX67" fmla="*/ 997413 w 1962365"/>
                <a:gd name="connsiteY67" fmla="*/ 981171 h 3327402"/>
                <a:gd name="connsiteX68" fmla="*/ 1145078 w 1962365"/>
                <a:gd name="connsiteY68" fmla="*/ 626308 h 3327402"/>
                <a:gd name="connsiteX69" fmla="*/ 639828 w 1962365"/>
                <a:gd name="connsiteY69" fmla="*/ 121613 h 3327402"/>
                <a:gd name="connsiteX70" fmla="*/ 639828 w 1962365"/>
                <a:gd name="connsiteY70" fmla="*/ 0 h 3327402"/>
                <a:gd name="connsiteX71" fmla="*/ 1266825 w 1962365"/>
                <a:gd name="connsiteY71" fmla="*/ 626308 h 3327402"/>
                <a:gd name="connsiteX72" fmla="*/ 1024764 w 1962365"/>
                <a:gd name="connsiteY72" fmla="*/ 1121039 h 3327402"/>
                <a:gd name="connsiteX73" fmla="*/ 960481 w 1962365"/>
                <a:gd name="connsiteY73" fmla="*/ 1164696 h 3327402"/>
                <a:gd name="connsiteX74" fmla="*/ 959810 w 1962365"/>
                <a:gd name="connsiteY74" fmla="*/ 1215724 h 3327402"/>
                <a:gd name="connsiteX75" fmla="*/ 1261465 w 1962365"/>
                <a:gd name="connsiteY75" fmla="*/ 1388912 h 3327402"/>
                <a:gd name="connsiteX76" fmla="*/ 1596636 w 1962365"/>
                <a:gd name="connsiteY76" fmla="*/ 1549947 h 3327402"/>
                <a:gd name="connsiteX77" fmla="*/ 1843445 w 1962365"/>
                <a:gd name="connsiteY77" fmla="*/ 1613753 h 3327402"/>
                <a:gd name="connsiteX78" fmla="*/ 1959231 w 1962365"/>
                <a:gd name="connsiteY78" fmla="*/ 1865939 h 3327402"/>
                <a:gd name="connsiteX79" fmla="*/ 1959231 w 1962365"/>
                <a:gd name="connsiteY79" fmla="*/ 2200161 h 3327402"/>
                <a:gd name="connsiteX80" fmla="*/ 1962278 w 1962365"/>
                <a:gd name="connsiteY80" fmla="*/ 2631612 h 3327402"/>
                <a:gd name="connsiteX81" fmla="*/ 1742893 w 1962365"/>
                <a:gd name="connsiteY81" fmla="*/ 3160291 h 3327402"/>
                <a:gd name="connsiteX82" fmla="*/ 1316311 w 1962365"/>
                <a:gd name="connsiteY82" fmla="*/ 3327402 h 3327402"/>
                <a:gd name="connsiteX83" fmla="*/ 981139 w 1962365"/>
                <a:gd name="connsiteY83" fmla="*/ 3327402 h 3327402"/>
                <a:gd name="connsiteX84" fmla="*/ 652062 w 1962365"/>
                <a:gd name="connsiteY84" fmla="*/ 3327402 h 3327402"/>
                <a:gd name="connsiteX85" fmla="*/ 0 w 1962365"/>
                <a:gd name="connsiteY85" fmla="*/ 2674149 h 3327402"/>
                <a:gd name="connsiteX86" fmla="*/ 0 w 1962365"/>
                <a:gd name="connsiteY86" fmla="*/ 2014820 h 3327402"/>
                <a:gd name="connsiteX87" fmla="*/ 271185 w 1962365"/>
                <a:gd name="connsiteY87" fmla="*/ 1695789 h 3327402"/>
                <a:gd name="connsiteX88" fmla="*/ 344313 w 1962365"/>
                <a:gd name="connsiteY88" fmla="*/ 1692751 h 3327402"/>
                <a:gd name="connsiteX89" fmla="*/ 344313 w 1962365"/>
                <a:gd name="connsiteY89" fmla="*/ 1282569 h 3327402"/>
                <a:gd name="connsiteX90" fmla="*/ 344313 w 1962365"/>
                <a:gd name="connsiteY90" fmla="*/ 1276492 h 3327402"/>
                <a:gd name="connsiteX91" fmla="*/ 344313 w 1962365"/>
                <a:gd name="connsiteY91" fmla="*/ 1169483 h 3327402"/>
                <a:gd name="connsiteX92" fmla="*/ 326330 w 1962365"/>
                <a:gd name="connsiteY92" fmla="*/ 1167487 h 3327402"/>
                <a:gd name="connsiteX93" fmla="*/ 15875 w 1962365"/>
                <a:gd name="connsiteY93" fmla="*/ 626308 h 3327402"/>
                <a:gd name="connsiteX94" fmla="*/ 639828 w 1962365"/>
                <a:gd name="connsiteY94" fmla="*/ 0 h 33274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Lst>
              <a:rect l="l" t="t" r="r" b="b"/>
              <a:pathLst>
                <a:path w="1962365" h="3327402">
                  <a:moveTo>
                    <a:pt x="652199" y="661855"/>
                  </a:moveTo>
                  <a:cubicBezTo>
                    <a:pt x="603467" y="661855"/>
                    <a:pt x="554735" y="683138"/>
                    <a:pt x="518186" y="722665"/>
                  </a:cubicBezTo>
                  <a:cubicBezTo>
                    <a:pt x="484683" y="759151"/>
                    <a:pt x="463362" y="807799"/>
                    <a:pt x="466408" y="853406"/>
                  </a:cubicBezTo>
                  <a:cubicBezTo>
                    <a:pt x="469454" y="953743"/>
                    <a:pt x="466408" y="1054079"/>
                    <a:pt x="466408" y="1151375"/>
                  </a:cubicBezTo>
                  <a:cubicBezTo>
                    <a:pt x="466408" y="1193942"/>
                    <a:pt x="466408" y="1236509"/>
                    <a:pt x="466408" y="1282116"/>
                  </a:cubicBezTo>
                  <a:cubicBezTo>
                    <a:pt x="466408" y="1282116"/>
                    <a:pt x="466408" y="1285157"/>
                    <a:pt x="466408" y="1285157"/>
                  </a:cubicBezTo>
                  <a:cubicBezTo>
                    <a:pt x="466408" y="1726029"/>
                    <a:pt x="466408" y="1726029"/>
                    <a:pt x="466408" y="1726029"/>
                  </a:cubicBezTo>
                  <a:cubicBezTo>
                    <a:pt x="466408" y="1729070"/>
                    <a:pt x="466408" y="1729070"/>
                    <a:pt x="466408" y="1732110"/>
                  </a:cubicBezTo>
                  <a:lnTo>
                    <a:pt x="466280" y="1733367"/>
                  </a:lnTo>
                  <a:lnTo>
                    <a:pt x="466726" y="1735547"/>
                  </a:lnTo>
                  <a:cubicBezTo>
                    <a:pt x="466726" y="2345918"/>
                    <a:pt x="466726" y="2345918"/>
                    <a:pt x="466726" y="2345918"/>
                  </a:cubicBezTo>
                  <a:cubicBezTo>
                    <a:pt x="466726" y="2379321"/>
                    <a:pt x="439223" y="2406651"/>
                    <a:pt x="405607" y="2406651"/>
                  </a:cubicBezTo>
                  <a:cubicBezTo>
                    <a:pt x="371992" y="2406651"/>
                    <a:pt x="344488" y="2379321"/>
                    <a:pt x="344488" y="2345918"/>
                  </a:cubicBezTo>
                  <a:cubicBezTo>
                    <a:pt x="344488" y="2117029"/>
                    <a:pt x="344488" y="1973973"/>
                    <a:pt x="344488" y="1884564"/>
                  </a:cubicBezTo>
                  <a:lnTo>
                    <a:pt x="344488" y="1816216"/>
                  </a:lnTo>
                  <a:lnTo>
                    <a:pt x="314121" y="1811163"/>
                  </a:lnTo>
                  <a:cubicBezTo>
                    <a:pt x="308029" y="1811163"/>
                    <a:pt x="298892" y="1811163"/>
                    <a:pt x="292800" y="1814204"/>
                  </a:cubicBezTo>
                  <a:cubicBezTo>
                    <a:pt x="189245" y="1832447"/>
                    <a:pt x="122238" y="1911500"/>
                    <a:pt x="122238" y="2014877"/>
                  </a:cubicBezTo>
                  <a:cubicBezTo>
                    <a:pt x="122238" y="2233793"/>
                    <a:pt x="122238" y="2455749"/>
                    <a:pt x="122238" y="2671624"/>
                  </a:cubicBezTo>
                  <a:cubicBezTo>
                    <a:pt x="122238" y="2969593"/>
                    <a:pt x="356761" y="3203712"/>
                    <a:pt x="655245" y="3206752"/>
                  </a:cubicBezTo>
                  <a:cubicBezTo>
                    <a:pt x="874539" y="3206752"/>
                    <a:pt x="1096879" y="3206752"/>
                    <a:pt x="1316173" y="3206752"/>
                  </a:cubicBezTo>
                  <a:cubicBezTo>
                    <a:pt x="1447140" y="3203712"/>
                    <a:pt x="1562879" y="3158104"/>
                    <a:pt x="1660343" y="3069930"/>
                  </a:cubicBezTo>
                  <a:cubicBezTo>
                    <a:pt x="1782173" y="2960472"/>
                    <a:pt x="1843088" y="2817568"/>
                    <a:pt x="1840042" y="2635138"/>
                  </a:cubicBezTo>
                  <a:cubicBezTo>
                    <a:pt x="1836997" y="2489194"/>
                    <a:pt x="1836997" y="2343251"/>
                    <a:pt x="1836997" y="2200347"/>
                  </a:cubicBezTo>
                  <a:cubicBezTo>
                    <a:pt x="1836997" y="2090889"/>
                    <a:pt x="1840042" y="1978391"/>
                    <a:pt x="1836997" y="1865892"/>
                  </a:cubicBezTo>
                  <a:cubicBezTo>
                    <a:pt x="1836997" y="1802042"/>
                    <a:pt x="1812631" y="1747313"/>
                    <a:pt x="1766944" y="1710827"/>
                  </a:cubicBezTo>
                  <a:cubicBezTo>
                    <a:pt x="1744101" y="1692584"/>
                    <a:pt x="1718974" y="1679662"/>
                    <a:pt x="1691943" y="1673201"/>
                  </a:cubicBezTo>
                  <a:lnTo>
                    <a:pt x="1627188" y="1674055"/>
                  </a:lnTo>
                  <a:lnTo>
                    <a:pt x="1627188" y="1739862"/>
                  </a:lnTo>
                  <a:cubicBezTo>
                    <a:pt x="1627188" y="2002880"/>
                    <a:pt x="1627188" y="2002880"/>
                    <a:pt x="1627188" y="2002880"/>
                  </a:cubicBezTo>
                  <a:cubicBezTo>
                    <a:pt x="1627188" y="2036359"/>
                    <a:pt x="1599685" y="2063750"/>
                    <a:pt x="1566069" y="2063750"/>
                  </a:cubicBezTo>
                  <a:cubicBezTo>
                    <a:pt x="1532454" y="2063750"/>
                    <a:pt x="1504950" y="2036359"/>
                    <a:pt x="1504950" y="2002880"/>
                  </a:cubicBezTo>
                  <a:cubicBezTo>
                    <a:pt x="1504950" y="1806575"/>
                    <a:pt x="1504950" y="1708423"/>
                    <a:pt x="1504950" y="1659347"/>
                  </a:cubicBezTo>
                  <a:lnTo>
                    <a:pt x="1504950" y="1634494"/>
                  </a:lnTo>
                  <a:lnTo>
                    <a:pt x="1492827" y="1616571"/>
                  </a:lnTo>
                  <a:cubicBezTo>
                    <a:pt x="1456278" y="1550441"/>
                    <a:pt x="1402597" y="1509964"/>
                    <a:pt x="1343347" y="1504121"/>
                  </a:cubicBezTo>
                  <a:lnTo>
                    <a:pt x="1295401" y="1508888"/>
                  </a:lnTo>
                  <a:lnTo>
                    <a:pt x="1295401" y="1587395"/>
                  </a:lnTo>
                  <a:cubicBezTo>
                    <a:pt x="1295401" y="1853811"/>
                    <a:pt x="1295401" y="1853811"/>
                    <a:pt x="1295401" y="1853811"/>
                  </a:cubicBezTo>
                  <a:cubicBezTo>
                    <a:pt x="1295401" y="1887204"/>
                    <a:pt x="1270954" y="1914526"/>
                    <a:pt x="1234282" y="1914526"/>
                  </a:cubicBezTo>
                  <a:cubicBezTo>
                    <a:pt x="1200667" y="1914526"/>
                    <a:pt x="1173163" y="1887204"/>
                    <a:pt x="1173163" y="1853811"/>
                  </a:cubicBezTo>
                  <a:cubicBezTo>
                    <a:pt x="1173163" y="1654970"/>
                    <a:pt x="1173163" y="1555549"/>
                    <a:pt x="1173163" y="1505839"/>
                  </a:cubicBezTo>
                  <a:lnTo>
                    <a:pt x="1173163" y="1481814"/>
                  </a:lnTo>
                  <a:lnTo>
                    <a:pt x="1154748" y="1452384"/>
                  </a:lnTo>
                  <a:cubicBezTo>
                    <a:pt x="1127336" y="1388534"/>
                    <a:pt x="1074226" y="1346917"/>
                    <a:pt x="1014692" y="1336513"/>
                  </a:cubicBezTo>
                  <a:lnTo>
                    <a:pt x="960438" y="1336809"/>
                  </a:lnTo>
                  <a:lnTo>
                    <a:pt x="960438" y="1351429"/>
                  </a:lnTo>
                  <a:cubicBezTo>
                    <a:pt x="960438" y="1856956"/>
                    <a:pt x="960438" y="1856956"/>
                    <a:pt x="960438" y="1856956"/>
                  </a:cubicBezTo>
                  <a:cubicBezTo>
                    <a:pt x="960438" y="1890366"/>
                    <a:pt x="932935" y="1917701"/>
                    <a:pt x="899319" y="1917701"/>
                  </a:cubicBezTo>
                  <a:cubicBezTo>
                    <a:pt x="865704" y="1917701"/>
                    <a:pt x="838200" y="1890366"/>
                    <a:pt x="838200" y="1856956"/>
                  </a:cubicBezTo>
                  <a:cubicBezTo>
                    <a:pt x="838200" y="1320124"/>
                    <a:pt x="838200" y="1253020"/>
                    <a:pt x="838200" y="1244632"/>
                  </a:cubicBezTo>
                  <a:lnTo>
                    <a:pt x="838200" y="1244582"/>
                  </a:lnTo>
                  <a:lnTo>
                    <a:pt x="837990" y="1242590"/>
                  </a:lnTo>
                  <a:cubicBezTo>
                    <a:pt x="841036" y="1127051"/>
                    <a:pt x="841036" y="993269"/>
                    <a:pt x="837990" y="853406"/>
                  </a:cubicBezTo>
                  <a:cubicBezTo>
                    <a:pt x="837990" y="801718"/>
                    <a:pt x="816670" y="750029"/>
                    <a:pt x="777075" y="713543"/>
                  </a:cubicBezTo>
                  <a:cubicBezTo>
                    <a:pt x="740526" y="677057"/>
                    <a:pt x="694840" y="658814"/>
                    <a:pt x="652199" y="661855"/>
                  </a:cubicBezTo>
                  <a:close/>
                  <a:moveTo>
                    <a:pt x="639828" y="121613"/>
                  </a:moveTo>
                  <a:cubicBezTo>
                    <a:pt x="362854" y="121613"/>
                    <a:pt x="137622" y="346598"/>
                    <a:pt x="137622" y="626308"/>
                  </a:cubicBezTo>
                  <a:cubicBezTo>
                    <a:pt x="137622" y="758562"/>
                    <a:pt x="190696" y="885686"/>
                    <a:pt x="282720" y="979461"/>
                  </a:cubicBezTo>
                  <a:lnTo>
                    <a:pt x="345272" y="1028322"/>
                  </a:lnTo>
                  <a:lnTo>
                    <a:pt x="345456" y="1004557"/>
                  </a:lnTo>
                  <a:cubicBezTo>
                    <a:pt x="345837" y="955183"/>
                    <a:pt x="345837" y="905809"/>
                    <a:pt x="344313" y="857195"/>
                  </a:cubicBezTo>
                  <a:cubicBezTo>
                    <a:pt x="341266" y="781235"/>
                    <a:pt x="371736" y="699199"/>
                    <a:pt x="429629" y="638431"/>
                  </a:cubicBezTo>
                  <a:cubicBezTo>
                    <a:pt x="490570" y="577663"/>
                    <a:pt x="566745" y="541203"/>
                    <a:pt x="649015" y="541203"/>
                  </a:cubicBezTo>
                  <a:cubicBezTo>
                    <a:pt x="725190" y="538164"/>
                    <a:pt x="801365" y="568548"/>
                    <a:pt x="859259" y="626277"/>
                  </a:cubicBezTo>
                  <a:cubicBezTo>
                    <a:pt x="923246" y="687045"/>
                    <a:pt x="959810" y="769081"/>
                    <a:pt x="959810" y="854156"/>
                  </a:cubicBezTo>
                  <a:lnTo>
                    <a:pt x="961689" y="1008367"/>
                  </a:lnTo>
                  <a:lnTo>
                    <a:pt x="997413" y="981171"/>
                  </a:lnTo>
                  <a:cubicBezTo>
                    <a:pt x="1090292" y="888536"/>
                    <a:pt x="1145078" y="760842"/>
                    <a:pt x="1145078" y="626308"/>
                  </a:cubicBezTo>
                  <a:cubicBezTo>
                    <a:pt x="1145078" y="346598"/>
                    <a:pt x="919846" y="121613"/>
                    <a:pt x="639828" y="121613"/>
                  </a:cubicBezTo>
                  <a:close/>
                  <a:moveTo>
                    <a:pt x="639828" y="0"/>
                  </a:moveTo>
                  <a:cubicBezTo>
                    <a:pt x="986807" y="0"/>
                    <a:pt x="1266825" y="279710"/>
                    <a:pt x="1266825" y="626308"/>
                  </a:cubicBezTo>
                  <a:cubicBezTo>
                    <a:pt x="1266825" y="820509"/>
                    <a:pt x="1175943" y="1003071"/>
                    <a:pt x="1024764" y="1121039"/>
                  </a:cubicBezTo>
                  <a:lnTo>
                    <a:pt x="960481" y="1164696"/>
                  </a:lnTo>
                  <a:lnTo>
                    <a:pt x="959810" y="1215724"/>
                  </a:lnTo>
                  <a:cubicBezTo>
                    <a:pt x="1084738" y="1203571"/>
                    <a:pt x="1200524" y="1273454"/>
                    <a:pt x="1261465" y="1388912"/>
                  </a:cubicBezTo>
                  <a:cubicBezTo>
                    <a:pt x="1392486" y="1358528"/>
                    <a:pt x="1523508" y="1422334"/>
                    <a:pt x="1596636" y="1549947"/>
                  </a:cubicBezTo>
                  <a:cubicBezTo>
                    <a:pt x="1688047" y="1537793"/>
                    <a:pt x="1776410" y="1559062"/>
                    <a:pt x="1843445" y="1613753"/>
                  </a:cubicBezTo>
                  <a:cubicBezTo>
                    <a:pt x="1916573" y="1674520"/>
                    <a:pt x="1959231" y="1765672"/>
                    <a:pt x="1959231" y="1865939"/>
                  </a:cubicBezTo>
                  <a:cubicBezTo>
                    <a:pt x="1962278" y="1975321"/>
                    <a:pt x="1959231" y="2090779"/>
                    <a:pt x="1959231" y="2200161"/>
                  </a:cubicBezTo>
                  <a:cubicBezTo>
                    <a:pt x="1959231" y="2339927"/>
                    <a:pt x="1959231" y="2488808"/>
                    <a:pt x="1962278" y="2631612"/>
                  </a:cubicBezTo>
                  <a:cubicBezTo>
                    <a:pt x="1965325" y="2847337"/>
                    <a:pt x="1889150" y="3026602"/>
                    <a:pt x="1742893" y="3160291"/>
                  </a:cubicBezTo>
                  <a:cubicBezTo>
                    <a:pt x="1621012" y="3269673"/>
                    <a:pt x="1477803" y="3324364"/>
                    <a:pt x="1316311" y="3327402"/>
                  </a:cubicBezTo>
                  <a:cubicBezTo>
                    <a:pt x="1206618" y="3327402"/>
                    <a:pt x="1093879" y="3327402"/>
                    <a:pt x="981139" y="3327402"/>
                  </a:cubicBezTo>
                  <a:cubicBezTo>
                    <a:pt x="871447" y="3327402"/>
                    <a:pt x="761754" y="3327402"/>
                    <a:pt x="652062" y="3327402"/>
                  </a:cubicBezTo>
                  <a:cubicBezTo>
                    <a:pt x="289467" y="3324364"/>
                    <a:pt x="3047" y="3035717"/>
                    <a:pt x="0" y="2674149"/>
                  </a:cubicBezTo>
                  <a:cubicBezTo>
                    <a:pt x="0" y="2455386"/>
                    <a:pt x="0" y="2233583"/>
                    <a:pt x="0" y="2014820"/>
                  </a:cubicBezTo>
                  <a:cubicBezTo>
                    <a:pt x="0" y="1853785"/>
                    <a:pt x="109693" y="1723135"/>
                    <a:pt x="271185" y="1695789"/>
                  </a:cubicBezTo>
                  <a:cubicBezTo>
                    <a:pt x="295561" y="1689712"/>
                    <a:pt x="319937" y="1689712"/>
                    <a:pt x="344313" y="1692751"/>
                  </a:cubicBezTo>
                  <a:cubicBezTo>
                    <a:pt x="344313" y="1282569"/>
                    <a:pt x="344313" y="1282569"/>
                    <a:pt x="344313" y="1282569"/>
                  </a:cubicBezTo>
                  <a:cubicBezTo>
                    <a:pt x="344313" y="1279530"/>
                    <a:pt x="344313" y="1279530"/>
                    <a:pt x="344313" y="1276492"/>
                  </a:cubicBezTo>
                  <a:lnTo>
                    <a:pt x="344313" y="1169483"/>
                  </a:lnTo>
                  <a:lnTo>
                    <a:pt x="326330" y="1167487"/>
                  </a:lnTo>
                  <a:cubicBezTo>
                    <a:pt x="134579" y="1054994"/>
                    <a:pt x="15875" y="848252"/>
                    <a:pt x="15875" y="626308"/>
                  </a:cubicBezTo>
                  <a:cubicBezTo>
                    <a:pt x="15875" y="279710"/>
                    <a:pt x="295893" y="0"/>
                    <a:pt x="639828" y="0"/>
                  </a:cubicBezTo>
                  <a:close/>
                </a:path>
              </a:pathLst>
            </a:custGeom>
            <a:solidFill>
              <a:srgbClr val="0078D7"/>
            </a:solidFill>
            <a:ln>
              <a:noFill/>
            </a:ln>
            <a:extLst/>
          </p:spPr>
          <p:txBody>
            <a:bodyPr vert="horz" wrap="square" lIns="91440" tIns="45720" rIns="91440" bIns="45720" numCol="1" anchor="t" anchorCtr="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FFFFFF"/>
                </a:solidFill>
                <a:effectLst/>
                <a:uLnTx/>
                <a:uFillTx/>
              </a:endParaRPr>
            </a:p>
          </p:txBody>
        </p:sp>
      </p:grpSp>
      <p:grpSp>
        <p:nvGrpSpPr>
          <p:cNvPr id="239" name="Group 238"/>
          <p:cNvGrpSpPr>
            <a:grpSpLocks noChangeAspect="1"/>
          </p:cNvGrpSpPr>
          <p:nvPr/>
        </p:nvGrpSpPr>
        <p:grpSpPr>
          <a:xfrm>
            <a:off x="6008529" y="3138987"/>
            <a:ext cx="294051" cy="292608"/>
            <a:chOff x="8580718" y="793097"/>
            <a:chExt cx="2587625" cy="2574925"/>
          </a:xfrm>
          <a:solidFill>
            <a:schemeClr val="bg1"/>
          </a:solidFill>
        </p:grpSpPr>
        <p:sp>
          <p:nvSpPr>
            <p:cNvPr id="240" name="Freeform 34"/>
            <p:cNvSpPr>
              <a:spLocks/>
            </p:cNvSpPr>
            <p:nvPr/>
          </p:nvSpPr>
          <p:spPr bwMode="auto">
            <a:xfrm>
              <a:off x="9477655" y="1434447"/>
              <a:ext cx="792163" cy="1312862"/>
            </a:xfrm>
            <a:custGeom>
              <a:avLst/>
              <a:gdLst>
                <a:gd name="T0" fmla="*/ 1459 w 1508"/>
                <a:gd name="T1" fmla="*/ 930 h 2501"/>
                <a:gd name="T2" fmla="*/ 837 w 1508"/>
                <a:gd name="T3" fmla="*/ 930 h 2501"/>
                <a:gd name="T4" fmla="*/ 1097 w 1508"/>
                <a:gd name="T5" fmla="*/ 63 h 2501"/>
                <a:gd name="T6" fmla="*/ 1072 w 1508"/>
                <a:gd name="T7" fmla="*/ 4 h 2501"/>
                <a:gd name="T8" fmla="*/ 1053 w 1508"/>
                <a:gd name="T9" fmla="*/ 0 h 2501"/>
                <a:gd name="T10" fmla="*/ 1014 w 1508"/>
                <a:gd name="T11" fmla="*/ 19 h 2501"/>
                <a:gd name="T12" fmla="*/ 10 w 1508"/>
                <a:gd name="T13" fmla="*/ 1483 h 2501"/>
                <a:gd name="T14" fmla="*/ 5 w 1508"/>
                <a:gd name="T15" fmla="*/ 1532 h 2501"/>
                <a:gd name="T16" fmla="*/ 49 w 1508"/>
                <a:gd name="T17" fmla="*/ 1556 h 2501"/>
                <a:gd name="T18" fmla="*/ 651 w 1508"/>
                <a:gd name="T19" fmla="*/ 1556 h 2501"/>
                <a:gd name="T20" fmla="*/ 382 w 1508"/>
                <a:gd name="T21" fmla="*/ 2438 h 2501"/>
                <a:gd name="T22" fmla="*/ 407 w 1508"/>
                <a:gd name="T23" fmla="*/ 2497 h 2501"/>
                <a:gd name="T24" fmla="*/ 426 w 1508"/>
                <a:gd name="T25" fmla="*/ 2501 h 2501"/>
                <a:gd name="T26" fmla="*/ 465 w 1508"/>
                <a:gd name="T27" fmla="*/ 2482 h 2501"/>
                <a:gd name="T28" fmla="*/ 1498 w 1508"/>
                <a:gd name="T29" fmla="*/ 1003 h 2501"/>
                <a:gd name="T30" fmla="*/ 1508 w 1508"/>
                <a:gd name="T31" fmla="*/ 974 h 2501"/>
                <a:gd name="T32" fmla="*/ 1459 w 1508"/>
                <a:gd name="T33" fmla="*/ 930 h 25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08" h="2501">
                  <a:moveTo>
                    <a:pt x="1459" y="930"/>
                  </a:moveTo>
                  <a:lnTo>
                    <a:pt x="837" y="930"/>
                  </a:lnTo>
                  <a:lnTo>
                    <a:pt x="1097" y="63"/>
                  </a:lnTo>
                  <a:cubicBezTo>
                    <a:pt x="1102" y="39"/>
                    <a:pt x="1092" y="14"/>
                    <a:pt x="1072" y="4"/>
                  </a:cubicBezTo>
                  <a:cubicBezTo>
                    <a:pt x="1068" y="0"/>
                    <a:pt x="1058" y="0"/>
                    <a:pt x="1053" y="0"/>
                  </a:cubicBezTo>
                  <a:cubicBezTo>
                    <a:pt x="1038" y="0"/>
                    <a:pt x="1024" y="9"/>
                    <a:pt x="1014" y="19"/>
                  </a:cubicBezTo>
                  <a:lnTo>
                    <a:pt x="10" y="1483"/>
                  </a:lnTo>
                  <a:cubicBezTo>
                    <a:pt x="0" y="1498"/>
                    <a:pt x="0" y="1517"/>
                    <a:pt x="5" y="1532"/>
                  </a:cubicBezTo>
                  <a:cubicBezTo>
                    <a:pt x="15" y="1547"/>
                    <a:pt x="30" y="1556"/>
                    <a:pt x="49" y="1556"/>
                  </a:cubicBezTo>
                  <a:lnTo>
                    <a:pt x="651" y="1556"/>
                  </a:lnTo>
                  <a:lnTo>
                    <a:pt x="382" y="2438"/>
                  </a:lnTo>
                  <a:cubicBezTo>
                    <a:pt x="377" y="2462"/>
                    <a:pt x="387" y="2487"/>
                    <a:pt x="407" y="2497"/>
                  </a:cubicBezTo>
                  <a:cubicBezTo>
                    <a:pt x="412" y="2501"/>
                    <a:pt x="421" y="2501"/>
                    <a:pt x="426" y="2501"/>
                  </a:cubicBezTo>
                  <a:cubicBezTo>
                    <a:pt x="441" y="2501"/>
                    <a:pt x="456" y="2492"/>
                    <a:pt x="465" y="2482"/>
                  </a:cubicBezTo>
                  <a:lnTo>
                    <a:pt x="1498" y="1003"/>
                  </a:lnTo>
                  <a:cubicBezTo>
                    <a:pt x="1503" y="993"/>
                    <a:pt x="1508" y="984"/>
                    <a:pt x="1508" y="974"/>
                  </a:cubicBezTo>
                  <a:cubicBezTo>
                    <a:pt x="1508" y="949"/>
                    <a:pt x="1484" y="930"/>
                    <a:pt x="1459" y="930"/>
                  </a:cubicBezTo>
                  <a:close/>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41" name="Freeform 35"/>
            <p:cNvSpPr>
              <a:spLocks noEditPoints="1"/>
            </p:cNvSpPr>
            <p:nvPr/>
          </p:nvSpPr>
          <p:spPr bwMode="auto">
            <a:xfrm>
              <a:off x="8580718" y="793097"/>
              <a:ext cx="2587625" cy="2574925"/>
            </a:xfrm>
            <a:custGeom>
              <a:avLst/>
              <a:gdLst>
                <a:gd name="T0" fmla="*/ 3231 w 4925"/>
                <a:gd name="T1" fmla="*/ 4866 h 4910"/>
                <a:gd name="T2" fmla="*/ 3422 w 4925"/>
                <a:gd name="T3" fmla="*/ 4910 h 4910"/>
                <a:gd name="T4" fmla="*/ 3579 w 4925"/>
                <a:gd name="T5" fmla="*/ 4881 h 4910"/>
                <a:gd name="T6" fmla="*/ 3833 w 4925"/>
                <a:gd name="T7" fmla="*/ 4646 h 4910"/>
                <a:gd name="T8" fmla="*/ 3899 w 4925"/>
                <a:gd name="T9" fmla="*/ 4509 h 4910"/>
                <a:gd name="T10" fmla="*/ 4063 w 4925"/>
                <a:gd name="T11" fmla="*/ 4509 h 4910"/>
                <a:gd name="T12" fmla="*/ 4509 w 4925"/>
                <a:gd name="T13" fmla="*/ 4063 h 4910"/>
                <a:gd name="T14" fmla="*/ 4509 w 4925"/>
                <a:gd name="T15" fmla="*/ 2794 h 4910"/>
                <a:gd name="T16" fmla="*/ 4866 w 4925"/>
                <a:gd name="T17" fmla="*/ 2031 h 4910"/>
                <a:gd name="T18" fmla="*/ 4881 w 4925"/>
                <a:gd name="T19" fmla="*/ 1679 h 4910"/>
                <a:gd name="T20" fmla="*/ 4646 w 4925"/>
                <a:gd name="T21" fmla="*/ 1424 h 4910"/>
                <a:gd name="T22" fmla="*/ 4509 w 4925"/>
                <a:gd name="T23" fmla="*/ 1358 h 4910"/>
                <a:gd name="T24" fmla="*/ 4509 w 4925"/>
                <a:gd name="T25" fmla="*/ 856 h 4910"/>
                <a:gd name="T26" fmla="*/ 4063 w 4925"/>
                <a:gd name="T27" fmla="*/ 411 h 4910"/>
                <a:gd name="T28" fmla="*/ 2779 w 4925"/>
                <a:gd name="T29" fmla="*/ 411 h 4910"/>
                <a:gd name="T30" fmla="*/ 2026 w 4925"/>
                <a:gd name="T31" fmla="*/ 58 h 4910"/>
                <a:gd name="T32" fmla="*/ 1679 w 4925"/>
                <a:gd name="T33" fmla="*/ 44 h 4910"/>
                <a:gd name="T34" fmla="*/ 1424 w 4925"/>
                <a:gd name="T35" fmla="*/ 279 h 4910"/>
                <a:gd name="T36" fmla="*/ 1360 w 4925"/>
                <a:gd name="T37" fmla="*/ 411 h 4910"/>
                <a:gd name="T38" fmla="*/ 856 w 4925"/>
                <a:gd name="T39" fmla="*/ 411 h 4910"/>
                <a:gd name="T40" fmla="*/ 411 w 4925"/>
                <a:gd name="T41" fmla="*/ 856 h 4910"/>
                <a:gd name="T42" fmla="*/ 411 w 4925"/>
                <a:gd name="T43" fmla="*/ 2478 h 4910"/>
                <a:gd name="T44" fmla="*/ 58 w 4925"/>
                <a:gd name="T45" fmla="*/ 3231 h 4910"/>
                <a:gd name="T46" fmla="*/ 44 w 4925"/>
                <a:gd name="T47" fmla="*/ 3579 h 4910"/>
                <a:gd name="T48" fmla="*/ 279 w 4925"/>
                <a:gd name="T49" fmla="*/ 3833 h 4910"/>
                <a:gd name="T50" fmla="*/ 411 w 4925"/>
                <a:gd name="T51" fmla="*/ 3897 h 4910"/>
                <a:gd name="T52" fmla="*/ 411 w 4925"/>
                <a:gd name="T53" fmla="*/ 4063 h 4910"/>
                <a:gd name="T54" fmla="*/ 856 w 4925"/>
                <a:gd name="T55" fmla="*/ 4509 h 4910"/>
                <a:gd name="T56" fmla="*/ 2468 w 4925"/>
                <a:gd name="T57" fmla="*/ 4509 h 4910"/>
                <a:gd name="T58" fmla="*/ 3231 w 4925"/>
                <a:gd name="T59" fmla="*/ 4866 h 4910"/>
                <a:gd name="T60" fmla="*/ 856 w 4925"/>
                <a:gd name="T61" fmla="*/ 705 h 4910"/>
                <a:gd name="T62" fmla="*/ 4063 w 4925"/>
                <a:gd name="T63" fmla="*/ 705 h 4910"/>
                <a:gd name="T64" fmla="*/ 4210 w 4925"/>
                <a:gd name="T65" fmla="*/ 851 h 4910"/>
                <a:gd name="T66" fmla="*/ 4210 w 4925"/>
                <a:gd name="T67" fmla="*/ 4058 h 4910"/>
                <a:gd name="T68" fmla="*/ 4063 w 4925"/>
                <a:gd name="T69" fmla="*/ 4205 h 4910"/>
                <a:gd name="T70" fmla="*/ 856 w 4925"/>
                <a:gd name="T71" fmla="*/ 4205 h 4910"/>
                <a:gd name="T72" fmla="*/ 709 w 4925"/>
                <a:gd name="T73" fmla="*/ 4058 h 4910"/>
                <a:gd name="T74" fmla="*/ 709 w 4925"/>
                <a:gd name="T75" fmla="*/ 851 h 4910"/>
                <a:gd name="T76" fmla="*/ 856 w 4925"/>
                <a:gd name="T77" fmla="*/ 705 h 4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925" h="4910">
                  <a:moveTo>
                    <a:pt x="3231" y="4866"/>
                  </a:moveTo>
                  <a:cubicBezTo>
                    <a:pt x="3290" y="4896"/>
                    <a:pt x="3358" y="4910"/>
                    <a:pt x="3422" y="4910"/>
                  </a:cubicBezTo>
                  <a:cubicBezTo>
                    <a:pt x="3476" y="4910"/>
                    <a:pt x="3525" y="4900"/>
                    <a:pt x="3579" y="4881"/>
                  </a:cubicBezTo>
                  <a:cubicBezTo>
                    <a:pt x="3691" y="4842"/>
                    <a:pt x="3784" y="4758"/>
                    <a:pt x="3833" y="4646"/>
                  </a:cubicBezTo>
                  <a:lnTo>
                    <a:pt x="3899" y="4509"/>
                  </a:lnTo>
                  <a:lnTo>
                    <a:pt x="4063" y="4509"/>
                  </a:lnTo>
                  <a:cubicBezTo>
                    <a:pt x="4308" y="4509"/>
                    <a:pt x="4509" y="4308"/>
                    <a:pt x="4509" y="4063"/>
                  </a:cubicBezTo>
                  <a:lnTo>
                    <a:pt x="4509" y="2794"/>
                  </a:lnTo>
                  <a:lnTo>
                    <a:pt x="4866" y="2031"/>
                  </a:lnTo>
                  <a:cubicBezTo>
                    <a:pt x="4920" y="1919"/>
                    <a:pt x="4925" y="1796"/>
                    <a:pt x="4881" y="1679"/>
                  </a:cubicBezTo>
                  <a:cubicBezTo>
                    <a:pt x="4842" y="1566"/>
                    <a:pt x="4758" y="1473"/>
                    <a:pt x="4646" y="1424"/>
                  </a:cubicBezTo>
                  <a:lnTo>
                    <a:pt x="4509" y="1358"/>
                  </a:lnTo>
                  <a:lnTo>
                    <a:pt x="4509" y="856"/>
                  </a:lnTo>
                  <a:cubicBezTo>
                    <a:pt x="4509" y="612"/>
                    <a:pt x="4308" y="411"/>
                    <a:pt x="4063" y="411"/>
                  </a:cubicBezTo>
                  <a:lnTo>
                    <a:pt x="2779" y="411"/>
                  </a:lnTo>
                  <a:lnTo>
                    <a:pt x="2026" y="58"/>
                  </a:lnTo>
                  <a:cubicBezTo>
                    <a:pt x="1919" y="9"/>
                    <a:pt x="1791" y="0"/>
                    <a:pt x="1679" y="44"/>
                  </a:cubicBezTo>
                  <a:cubicBezTo>
                    <a:pt x="1566" y="83"/>
                    <a:pt x="1473" y="166"/>
                    <a:pt x="1424" y="279"/>
                  </a:cubicBezTo>
                  <a:lnTo>
                    <a:pt x="1360" y="411"/>
                  </a:lnTo>
                  <a:lnTo>
                    <a:pt x="856" y="411"/>
                  </a:lnTo>
                  <a:cubicBezTo>
                    <a:pt x="612" y="411"/>
                    <a:pt x="411" y="612"/>
                    <a:pt x="411" y="856"/>
                  </a:cubicBezTo>
                  <a:lnTo>
                    <a:pt x="411" y="2478"/>
                  </a:lnTo>
                  <a:lnTo>
                    <a:pt x="58" y="3231"/>
                  </a:lnTo>
                  <a:cubicBezTo>
                    <a:pt x="9" y="3339"/>
                    <a:pt x="0" y="3466"/>
                    <a:pt x="44" y="3579"/>
                  </a:cubicBezTo>
                  <a:cubicBezTo>
                    <a:pt x="83" y="3691"/>
                    <a:pt x="166" y="3784"/>
                    <a:pt x="279" y="3833"/>
                  </a:cubicBezTo>
                  <a:lnTo>
                    <a:pt x="411" y="3897"/>
                  </a:lnTo>
                  <a:lnTo>
                    <a:pt x="411" y="4063"/>
                  </a:lnTo>
                  <a:cubicBezTo>
                    <a:pt x="411" y="4308"/>
                    <a:pt x="612" y="4509"/>
                    <a:pt x="856" y="4509"/>
                  </a:cubicBezTo>
                  <a:lnTo>
                    <a:pt x="2468" y="4509"/>
                  </a:lnTo>
                  <a:lnTo>
                    <a:pt x="3231" y="4866"/>
                  </a:lnTo>
                  <a:close/>
                  <a:moveTo>
                    <a:pt x="856" y="705"/>
                  </a:moveTo>
                  <a:lnTo>
                    <a:pt x="4063" y="705"/>
                  </a:lnTo>
                  <a:cubicBezTo>
                    <a:pt x="4142" y="705"/>
                    <a:pt x="4210" y="768"/>
                    <a:pt x="4210" y="851"/>
                  </a:cubicBezTo>
                  <a:lnTo>
                    <a:pt x="4210" y="4058"/>
                  </a:lnTo>
                  <a:cubicBezTo>
                    <a:pt x="4210" y="4137"/>
                    <a:pt x="4146" y="4205"/>
                    <a:pt x="4063" y="4205"/>
                  </a:cubicBezTo>
                  <a:lnTo>
                    <a:pt x="856" y="4205"/>
                  </a:lnTo>
                  <a:cubicBezTo>
                    <a:pt x="778" y="4205"/>
                    <a:pt x="709" y="4142"/>
                    <a:pt x="709" y="4058"/>
                  </a:cubicBezTo>
                  <a:lnTo>
                    <a:pt x="709" y="851"/>
                  </a:lnTo>
                  <a:cubicBezTo>
                    <a:pt x="709" y="773"/>
                    <a:pt x="773" y="705"/>
                    <a:pt x="856" y="705"/>
                  </a:cubicBezTo>
                  <a:close/>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grpSp>
        <p:nvGrpSpPr>
          <p:cNvPr id="242" name="Group 241"/>
          <p:cNvGrpSpPr>
            <a:grpSpLocks noChangeAspect="1"/>
          </p:cNvGrpSpPr>
          <p:nvPr/>
        </p:nvGrpSpPr>
        <p:grpSpPr>
          <a:xfrm>
            <a:off x="4184629" y="3475154"/>
            <a:ext cx="292608" cy="229390"/>
            <a:chOff x="8588655" y="3482322"/>
            <a:chExt cx="2571750" cy="2016125"/>
          </a:xfrm>
          <a:solidFill>
            <a:schemeClr val="bg1"/>
          </a:solidFill>
        </p:grpSpPr>
        <p:sp>
          <p:nvSpPr>
            <p:cNvPr id="243" name="Freeform 36"/>
            <p:cNvSpPr>
              <a:spLocks/>
            </p:cNvSpPr>
            <p:nvPr/>
          </p:nvSpPr>
          <p:spPr bwMode="auto">
            <a:xfrm>
              <a:off x="8588655" y="3482322"/>
              <a:ext cx="1547813" cy="241300"/>
            </a:xfrm>
            <a:custGeom>
              <a:avLst/>
              <a:gdLst>
                <a:gd name="T0" fmla="*/ 2894 w 2948"/>
                <a:gd name="T1" fmla="*/ 397 h 460"/>
                <a:gd name="T2" fmla="*/ 2752 w 2948"/>
                <a:gd name="T3" fmla="*/ 152 h 460"/>
                <a:gd name="T4" fmla="*/ 2488 w 2948"/>
                <a:gd name="T5" fmla="*/ 0 h 460"/>
                <a:gd name="T6" fmla="*/ 304 w 2948"/>
                <a:gd name="T7" fmla="*/ 0 h 460"/>
                <a:gd name="T8" fmla="*/ 0 w 2948"/>
                <a:gd name="T9" fmla="*/ 304 h 460"/>
                <a:gd name="T10" fmla="*/ 0 w 2948"/>
                <a:gd name="T11" fmla="*/ 460 h 460"/>
                <a:gd name="T12" fmla="*/ 2948 w 2948"/>
                <a:gd name="T13" fmla="*/ 460 h 460"/>
                <a:gd name="T14" fmla="*/ 2894 w 2948"/>
                <a:gd name="T15" fmla="*/ 397 h 46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48" h="460">
                  <a:moveTo>
                    <a:pt x="2894" y="397"/>
                  </a:moveTo>
                  <a:lnTo>
                    <a:pt x="2752" y="152"/>
                  </a:lnTo>
                  <a:cubicBezTo>
                    <a:pt x="2698" y="59"/>
                    <a:pt x="2595" y="0"/>
                    <a:pt x="2488" y="0"/>
                  </a:cubicBezTo>
                  <a:lnTo>
                    <a:pt x="304" y="0"/>
                  </a:lnTo>
                  <a:cubicBezTo>
                    <a:pt x="138" y="0"/>
                    <a:pt x="0" y="137"/>
                    <a:pt x="0" y="304"/>
                  </a:cubicBezTo>
                  <a:lnTo>
                    <a:pt x="0" y="460"/>
                  </a:lnTo>
                  <a:lnTo>
                    <a:pt x="2948" y="460"/>
                  </a:lnTo>
                  <a:cubicBezTo>
                    <a:pt x="2923" y="446"/>
                    <a:pt x="2909" y="421"/>
                    <a:pt x="2894" y="397"/>
                  </a:cubicBezTo>
                  <a:close/>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44" name="Freeform 37"/>
            <p:cNvSpPr>
              <a:spLocks noEditPoints="1"/>
            </p:cNvSpPr>
            <p:nvPr/>
          </p:nvSpPr>
          <p:spPr bwMode="auto">
            <a:xfrm>
              <a:off x="8588655" y="3804585"/>
              <a:ext cx="2571750" cy="1693862"/>
            </a:xfrm>
            <a:custGeom>
              <a:avLst/>
              <a:gdLst>
                <a:gd name="T0" fmla="*/ 4706 w 4896"/>
                <a:gd name="T1" fmla="*/ 0 h 3227"/>
                <a:gd name="T2" fmla="*/ 0 w 4896"/>
                <a:gd name="T3" fmla="*/ 0 h 3227"/>
                <a:gd name="T4" fmla="*/ 0 w 4896"/>
                <a:gd name="T5" fmla="*/ 2923 h 3227"/>
                <a:gd name="T6" fmla="*/ 304 w 4896"/>
                <a:gd name="T7" fmla="*/ 3227 h 3227"/>
                <a:gd name="T8" fmla="*/ 4593 w 4896"/>
                <a:gd name="T9" fmla="*/ 3227 h 3227"/>
                <a:gd name="T10" fmla="*/ 4896 w 4896"/>
                <a:gd name="T11" fmla="*/ 2923 h 3227"/>
                <a:gd name="T12" fmla="*/ 4896 w 4896"/>
                <a:gd name="T13" fmla="*/ 279 h 3227"/>
                <a:gd name="T14" fmla="*/ 4706 w 4896"/>
                <a:gd name="T15" fmla="*/ 0 h 3227"/>
                <a:gd name="T16" fmla="*/ 3070 w 4896"/>
                <a:gd name="T17" fmla="*/ 1469 h 3227"/>
                <a:gd name="T18" fmla="*/ 2204 w 4896"/>
                <a:gd name="T19" fmla="*/ 2708 h 3227"/>
                <a:gd name="T20" fmla="*/ 2169 w 4896"/>
                <a:gd name="T21" fmla="*/ 2727 h 3227"/>
                <a:gd name="T22" fmla="*/ 2150 w 4896"/>
                <a:gd name="T23" fmla="*/ 2722 h 3227"/>
                <a:gd name="T24" fmla="*/ 2130 w 4896"/>
                <a:gd name="T25" fmla="*/ 2673 h 3227"/>
                <a:gd name="T26" fmla="*/ 2355 w 4896"/>
                <a:gd name="T27" fmla="*/ 1934 h 3227"/>
                <a:gd name="T28" fmla="*/ 1851 w 4896"/>
                <a:gd name="T29" fmla="*/ 1934 h 3227"/>
                <a:gd name="T30" fmla="*/ 1812 w 4896"/>
                <a:gd name="T31" fmla="*/ 1910 h 3227"/>
                <a:gd name="T32" fmla="*/ 1817 w 4896"/>
                <a:gd name="T33" fmla="*/ 1866 h 3227"/>
                <a:gd name="T34" fmla="*/ 2659 w 4896"/>
                <a:gd name="T35" fmla="*/ 642 h 3227"/>
                <a:gd name="T36" fmla="*/ 2693 w 4896"/>
                <a:gd name="T37" fmla="*/ 622 h 3227"/>
                <a:gd name="T38" fmla="*/ 2713 w 4896"/>
                <a:gd name="T39" fmla="*/ 627 h 3227"/>
                <a:gd name="T40" fmla="*/ 2732 w 4896"/>
                <a:gd name="T41" fmla="*/ 676 h 3227"/>
                <a:gd name="T42" fmla="*/ 2517 w 4896"/>
                <a:gd name="T43" fmla="*/ 1400 h 3227"/>
                <a:gd name="T44" fmla="*/ 3036 w 4896"/>
                <a:gd name="T45" fmla="*/ 1400 h 3227"/>
                <a:gd name="T46" fmla="*/ 3080 w 4896"/>
                <a:gd name="T47" fmla="*/ 1444 h 3227"/>
                <a:gd name="T48" fmla="*/ 3070 w 4896"/>
                <a:gd name="T49" fmla="*/ 1469 h 3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896" h="3227">
                  <a:moveTo>
                    <a:pt x="4706" y="0"/>
                  </a:moveTo>
                  <a:lnTo>
                    <a:pt x="0" y="0"/>
                  </a:lnTo>
                  <a:lnTo>
                    <a:pt x="0" y="2923"/>
                  </a:lnTo>
                  <a:cubicBezTo>
                    <a:pt x="0" y="3090"/>
                    <a:pt x="138" y="3227"/>
                    <a:pt x="304" y="3227"/>
                  </a:cubicBezTo>
                  <a:lnTo>
                    <a:pt x="4593" y="3227"/>
                  </a:lnTo>
                  <a:cubicBezTo>
                    <a:pt x="4759" y="3227"/>
                    <a:pt x="4896" y="3090"/>
                    <a:pt x="4896" y="2923"/>
                  </a:cubicBezTo>
                  <a:lnTo>
                    <a:pt x="4896" y="279"/>
                  </a:lnTo>
                  <a:cubicBezTo>
                    <a:pt x="4896" y="157"/>
                    <a:pt x="4818" y="49"/>
                    <a:pt x="4706" y="0"/>
                  </a:cubicBezTo>
                  <a:close/>
                  <a:moveTo>
                    <a:pt x="3070" y="1469"/>
                  </a:moveTo>
                  <a:lnTo>
                    <a:pt x="2204" y="2708"/>
                  </a:lnTo>
                  <a:cubicBezTo>
                    <a:pt x="2194" y="2717"/>
                    <a:pt x="2184" y="2727"/>
                    <a:pt x="2169" y="2727"/>
                  </a:cubicBezTo>
                  <a:cubicBezTo>
                    <a:pt x="2164" y="2727"/>
                    <a:pt x="2155" y="2727"/>
                    <a:pt x="2150" y="2722"/>
                  </a:cubicBezTo>
                  <a:cubicBezTo>
                    <a:pt x="2130" y="2713"/>
                    <a:pt x="2120" y="2693"/>
                    <a:pt x="2130" y="2673"/>
                  </a:cubicBezTo>
                  <a:lnTo>
                    <a:pt x="2355" y="1934"/>
                  </a:lnTo>
                  <a:lnTo>
                    <a:pt x="1851" y="1934"/>
                  </a:lnTo>
                  <a:cubicBezTo>
                    <a:pt x="1836" y="1934"/>
                    <a:pt x="1822" y="1924"/>
                    <a:pt x="1812" y="1910"/>
                  </a:cubicBezTo>
                  <a:cubicBezTo>
                    <a:pt x="1807" y="1895"/>
                    <a:pt x="1807" y="1880"/>
                    <a:pt x="1817" y="1866"/>
                  </a:cubicBezTo>
                  <a:lnTo>
                    <a:pt x="2659" y="642"/>
                  </a:lnTo>
                  <a:cubicBezTo>
                    <a:pt x="2669" y="632"/>
                    <a:pt x="2679" y="622"/>
                    <a:pt x="2693" y="622"/>
                  </a:cubicBezTo>
                  <a:cubicBezTo>
                    <a:pt x="2698" y="622"/>
                    <a:pt x="2703" y="622"/>
                    <a:pt x="2713" y="627"/>
                  </a:cubicBezTo>
                  <a:cubicBezTo>
                    <a:pt x="2732" y="637"/>
                    <a:pt x="2742" y="656"/>
                    <a:pt x="2732" y="676"/>
                  </a:cubicBezTo>
                  <a:lnTo>
                    <a:pt x="2517" y="1400"/>
                  </a:lnTo>
                  <a:lnTo>
                    <a:pt x="3036" y="1400"/>
                  </a:lnTo>
                  <a:cubicBezTo>
                    <a:pt x="3060" y="1400"/>
                    <a:pt x="3080" y="1420"/>
                    <a:pt x="3080" y="1444"/>
                  </a:cubicBezTo>
                  <a:cubicBezTo>
                    <a:pt x="3080" y="1454"/>
                    <a:pt x="3075" y="1459"/>
                    <a:pt x="3070" y="1469"/>
                  </a:cubicBezTo>
                  <a:close/>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sp>
        <p:nvSpPr>
          <p:cNvPr id="3" name="Rectangle: Rounded Corners 2"/>
          <p:cNvSpPr/>
          <p:nvPr/>
        </p:nvSpPr>
        <p:spPr bwMode="auto">
          <a:xfrm>
            <a:off x="4081690" y="3012370"/>
            <a:ext cx="3508072" cy="1172260"/>
          </a:xfrm>
          <a:prstGeom prst="roundRect">
            <a:avLst/>
          </a:prstGeom>
          <a:solidFill>
            <a:schemeClr val="accent2">
              <a:alpha val="46000"/>
            </a:schemeClr>
          </a:solidFill>
          <a:ln w="28575">
            <a:solidFill>
              <a:schemeClr val="accent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000" b="1" i="0" u="none" strike="noStrike" kern="0" cap="none" spc="0" normalizeH="0" baseline="0" noProof="0" dirty="0">
              <a:ln>
                <a:noFill/>
              </a:ln>
              <a:solidFill>
                <a:schemeClr val="bg1"/>
              </a:solidFill>
              <a:effectLst/>
              <a:uLnTx/>
              <a:uFillTx/>
              <a:latin typeface="+mj-lt"/>
              <a:ea typeface="Segoe UI" pitchFamily="34" charset="0"/>
              <a:cs typeface="Segoe UI" pitchFamily="34" charset="0"/>
            </a:endParaRPr>
          </a:p>
        </p:txBody>
      </p:sp>
    </p:spTree>
    <p:extLst>
      <p:ext uri="{BB962C8B-B14F-4D97-AF65-F5344CB8AC3E}">
        <p14:creationId xmlns:p14="http://schemas.microsoft.com/office/powerpoint/2010/main" val="1281925961"/>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6" presetClass="entr" presetSubtype="16"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circle(in)">
                                      <p:cBhvr>
                                        <p:cTn id="7" dur="20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4" name="Group 13"/>
          <p:cNvGrpSpPr/>
          <p:nvPr/>
        </p:nvGrpSpPr>
        <p:grpSpPr>
          <a:xfrm>
            <a:off x="10202288" y="1543706"/>
            <a:ext cx="959814" cy="655508"/>
            <a:chOff x="14609624" y="2859617"/>
            <a:chExt cx="4553681" cy="3109950"/>
          </a:xfrm>
        </p:grpSpPr>
        <p:pic>
          <p:nvPicPr>
            <p:cNvPr id="275" name="Picture 274"/>
            <p:cNvPicPr>
              <a:picLocks noChangeAspect="1"/>
            </p:cNvPicPr>
            <p:nvPr/>
          </p:nvPicPr>
          <p:blipFill rotWithShape="1">
            <a:blip r:embed="rId3"/>
            <a:srcRect l="17268" t="16898" r="8941" b="4459"/>
            <a:stretch/>
          </p:blipFill>
          <p:spPr>
            <a:xfrm>
              <a:off x="14740945" y="2983126"/>
              <a:ext cx="4286974" cy="2425247"/>
            </a:xfrm>
            <a:prstGeom prst="rect">
              <a:avLst/>
            </a:prstGeom>
            <a:noFill/>
            <a:ln>
              <a:noFill/>
            </a:ln>
          </p:spPr>
        </p:pic>
        <p:pic>
          <p:nvPicPr>
            <p:cNvPr id="276" name="Picture 27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4609624" y="2859617"/>
              <a:ext cx="4553681" cy="3109950"/>
            </a:xfrm>
            <a:prstGeom prst="rect">
              <a:avLst/>
            </a:prstGeom>
          </p:spPr>
        </p:pic>
      </p:grpSp>
      <p:sp>
        <p:nvSpPr>
          <p:cNvPr id="3" name="Title 2"/>
          <p:cNvSpPr>
            <a:spLocks noGrp="1"/>
          </p:cNvSpPr>
          <p:nvPr>
            <p:ph type="title"/>
          </p:nvPr>
        </p:nvSpPr>
        <p:spPr/>
        <p:txBody>
          <a:bodyPr/>
          <a:lstStyle/>
          <a:p>
            <a:r>
              <a:rPr lang="en-US" dirty="0"/>
              <a:t>Visualizing data</a:t>
            </a:r>
          </a:p>
        </p:txBody>
      </p:sp>
      <p:sp>
        <p:nvSpPr>
          <p:cNvPr id="6" name="Rectangle 5"/>
          <p:cNvSpPr/>
          <p:nvPr/>
        </p:nvSpPr>
        <p:spPr bwMode="auto">
          <a:xfrm>
            <a:off x="9766764" y="2192066"/>
            <a:ext cx="1830862" cy="307777"/>
          </a:xfrm>
          <a:prstGeom prst="rect">
            <a:avLst/>
          </a:prstGeom>
          <a:noFill/>
          <a:ln>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vert="horz" wrap="square" lIns="91440" tIns="45720" rIns="91440" bIns="45720" numCol="1" rtlCol="0" anchor="t" anchorCtr="0" compatLnSpc="1">
            <a:prstTxWarp prst="textNoShape">
              <a:avLst/>
            </a:prstTxWarp>
            <a:spAutoFit/>
          </a:bodyPr>
          <a:lstStyle/>
          <a:p>
            <a:pPr marL="0" marR="0" lvl="0" indent="0" algn="ctr" defTabSz="914102"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dirty="0">
                <a:ln>
                  <a:noFill/>
                </a:ln>
                <a:solidFill>
                  <a:schemeClr val="tx2"/>
                </a:solidFill>
                <a:effectLst/>
                <a:uLnTx/>
                <a:uFillTx/>
                <a:cs typeface="Segoe UI Semilight" panose="020B0402040204020203" pitchFamily="34" charset="0"/>
              </a:rPr>
              <a:t>Power BI dashboard</a:t>
            </a:r>
          </a:p>
        </p:txBody>
      </p:sp>
      <p:sp>
        <p:nvSpPr>
          <p:cNvPr id="7" name="Rectangle 6"/>
          <p:cNvSpPr/>
          <p:nvPr/>
        </p:nvSpPr>
        <p:spPr bwMode="auto">
          <a:xfrm>
            <a:off x="9861690" y="3329025"/>
            <a:ext cx="1641010" cy="307777"/>
          </a:xfrm>
          <a:prstGeom prst="rect">
            <a:avLst/>
          </a:prstGeom>
          <a:noFill/>
          <a:ln>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vert="horz" wrap="square" lIns="91440" tIns="45720" rIns="91440" bIns="45720" numCol="1" rtlCol="0" anchor="t" anchorCtr="0" compatLnSpc="1">
            <a:prstTxWarp prst="textNoShape">
              <a:avLst/>
            </a:prstTxWarp>
            <a:spAutoFit/>
          </a:bodyPr>
          <a:lstStyle/>
          <a:p>
            <a:pPr marL="0" marR="0" lvl="0" indent="0" algn="ctr" defTabSz="914102"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dirty="0">
                <a:ln>
                  <a:noFill/>
                </a:ln>
                <a:solidFill>
                  <a:schemeClr val="tx2"/>
                </a:solidFill>
                <a:effectLst/>
                <a:uLnTx/>
                <a:uFillTx/>
                <a:cs typeface="Segoe UI Semilight" panose="020B0402040204020203" pitchFamily="34" charset="0"/>
              </a:rPr>
              <a:t>Power BI desktop</a:t>
            </a:r>
          </a:p>
        </p:txBody>
      </p:sp>
      <p:sp>
        <p:nvSpPr>
          <p:cNvPr id="8" name="Rectangle 7"/>
          <p:cNvSpPr/>
          <p:nvPr/>
        </p:nvSpPr>
        <p:spPr bwMode="auto">
          <a:xfrm>
            <a:off x="10181569" y="4546160"/>
            <a:ext cx="1001252" cy="307777"/>
          </a:xfrm>
          <a:prstGeom prst="rect">
            <a:avLst/>
          </a:prstGeom>
          <a:noFill/>
          <a:ln>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vert="horz" wrap="square" lIns="91440" tIns="45720" rIns="91440" bIns="45720" numCol="1" rtlCol="0" anchor="t" anchorCtr="0" compatLnSpc="1">
            <a:prstTxWarp prst="textNoShape">
              <a:avLst/>
            </a:prstTxWarp>
            <a:spAutoFit/>
          </a:bodyPr>
          <a:lstStyle/>
          <a:p>
            <a:pPr marL="0" marR="0" lvl="0" indent="0" algn="ctr" defTabSz="914102"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dirty="0">
                <a:ln>
                  <a:noFill/>
                </a:ln>
                <a:solidFill>
                  <a:schemeClr val="tx2"/>
                </a:solidFill>
                <a:effectLst/>
                <a:uLnTx/>
                <a:uFillTx/>
                <a:cs typeface="Segoe UI Semilight" panose="020B0402040204020203" pitchFamily="34" charset="0"/>
              </a:rPr>
              <a:t>Excel*</a:t>
            </a:r>
          </a:p>
        </p:txBody>
      </p:sp>
      <p:sp>
        <p:nvSpPr>
          <p:cNvPr id="22" name="Rectangle 21"/>
          <p:cNvSpPr/>
          <p:nvPr/>
        </p:nvSpPr>
        <p:spPr>
          <a:xfrm>
            <a:off x="10046876" y="5683119"/>
            <a:ext cx="1270638" cy="738664"/>
          </a:xfrm>
          <a:prstGeom prst="rect">
            <a:avLst/>
          </a:prstGeom>
          <a:noFill/>
          <a:ln>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vert="horz" wrap="square" lIns="91440" tIns="45720" rIns="91440" bIns="45720" numCol="1" rtlCol="0" anchor="t" anchorCtr="0" compatLnSpc="1">
            <a:prstTxWarp prst="textNoShape">
              <a:avLst/>
            </a:prstTxWarp>
            <a:spAutoFit/>
          </a:bodyPr>
          <a:lstStyle/>
          <a:p>
            <a:pPr marL="0" marR="0" lvl="0" indent="0" algn="ctr" defTabSz="914102"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dirty="0" err="1">
                <a:ln>
                  <a:noFill/>
                </a:ln>
                <a:solidFill>
                  <a:schemeClr val="tx2"/>
                </a:solidFill>
                <a:effectLst/>
                <a:uLnTx/>
                <a:uFillTx/>
                <a:cs typeface="Segoe UI Semilight" panose="020B0402040204020203" pitchFamily="34" charset="0"/>
              </a:rPr>
              <a:t>Jupyter</a:t>
            </a:r>
            <a:br>
              <a:rPr kumimoji="0" lang="en-US" sz="1400" b="0" i="0" u="none" strike="noStrike" kern="0" cap="none" spc="0" normalizeH="0" baseline="0" noProof="0" dirty="0">
                <a:ln>
                  <a:noFill/>
                </a:ln>
                <a:solidFill>
                  <a:schemeClr val="tx2"/>
                </a:solidFill>
                <a:effectLst/>
                <a:uLnTx/>
                <a:uFillTx/>
                <a:cs typeface="Segoe UI Semilight" panose="020B0402040204020203" pitchFamily="34" charset="0"/>
              </a:rPr>
            </a:br>
            <a:r>
              <a:rPr kumimoji="0" lang="en-US" sz="1400" b="0" i="0" u="none" strike="noStrike" kern="0" cap="none" spc="0" normalizeH="0" baseline="0" noProof="0" dirty="0">
                <a:ln>
                  <a:noFill/>
                </a:ln>
                <a:solidFill>
                  <a:schemeClr val="tx2"/>
                </a:solidFill>
                <a:effectLst/>
                <a:uLnTx/>
                <a:uFillTx/>
                <a:cs typeface="Segoe UI Semilight" panose="020B0402040204020203" pitchFamily="34" charset="0"/>
              </a:rPr>
              <a:t>Data Science Notebooks</a:t>
            </a:r>
          </a:p>
        </p:txBody>
      </p:sp>
      <p:sp>
        <p:nvSpPr>
          <p:cNvPr id="57" name="TextBox 56"/>
          <p:cNvSpPr txBox="1"/>
          <p:nvPr/>
        </p:nvSpPr>
        <p:spPr>
          <a:xfrm>
            <a:off x="10310282" y="6422918"/>
            <a:ext cx="1881718" cy="435082"/>
          </a:xfrm>
          <a:prstGeom prst="rect">
            <a:avLst/>
          </a:prstGeom>
          <a:noFill/>
        </p:spPr>
        <p:txBody>
          <a:bodyPr wrap="none" lIns="179285" tIns="143428" rIns="179285" bIns="143428" rtlCol="0">
            <a:spAutoFit/>
          </a:bodyPr>
          <a:lstStyle/>
          <a:p>
            <a:pPr marL="0" marR="0" lvl="0" indent="0" defTabSz="896386" eaLnBrk="1" fontAlgn="auto" latinLnBrk="0" hangingPunct="1">
              <a:lnSpc>
                <a:spcPct val="90000"/>
              </a:lnSpc>
              <a:spcBef>
                <a:spcPts val="0"/>
              </a:spcBef>
              <a:spcAft>
                <a:spcPts val="588"/>
              </a:spcAft>
              <a:buClrTx/>
              <a:buSzTx/>
              <a:buFontTx/>
              <a:buNone/>
              <a:tabLst/>
              <a:defRPr/>
            </a:pPr>
            <a:r>
              <a:rPr kumimoji="0" lang="en-US" sz="1050" b="0" i="0" u="none" strike="noStrike" kern="0" cap="none" spc="0" normalizeH="0" baseline="0" noProof="0" dirty="0">
                <a:ln>
                  <a:noFill/>
                </a:ln>
                <a:gradFill>
                  <a:gsLst>
                    <a:gs pos="2917">
                      <a:schemeClr val="tx1"/>
                    </a:gs>
                    <a:gs pos="30000">
                      <a:schemeClr val="tx1"/>
                    </a:gs>
                  </a:gsLst>
                  <a:lin ang="5400000" scaled="0"/>
                </a:gradFill>
                <a:effectLst/>
                <a:uLnTx/>
                <a:uFillTx/>
              </a:rPr>
              <a:t>* Post General Availability</a:t>
            </a:r>
          </a:p>
        </p:txBody>
      </p:sp>
      <p:sp>
        <p:nvSpPr>
          <p:cNvPr id="5" name="Rectangle 4"/>
          <p:cNvSpPr/>
          <p:nvPr/>
        </p:nvSpPr>
        <p:spPr bwMode="auto">
          <a:xfrm>
            <a:off x="851605" y="3505608"/>
            <a:ext cx="2675368" cy="394082"/>
          </a:xfrm>
          <a:prstGeom prst="rect">
            <a:avLst/>
          </a:prstGeom>
          <a:noFill/>
          <a:ln>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b" anchorCtr="0" compatLnSpc="1">
            <a:prstTxWarp prst="textNoShape">
              <a:avLst/>
            </a:prstTxWarp>
            <a:spAutoFit/>
          </a:bodyPr>
          <a:lstStyle/>
          <a:p>
            <a:pPr marL="0" marR="0" lvl="0" indent="0" algn="ctr" defTabSz="914102" eaLnBrk="1" fontAlgn="base" latinLnBrk="0" hangingPunct="1">
              <a:lnSpc>
                <a:spcPct val="100000"/>
              </a:lnSpc>
              <a:spcBef>
                <a:spcPct val="0"/>
              </a:spcBef>
              <a:spcAft>
                <a:spcPct val="0"/>
              </a:spcAft>
              <a:buClrTx/>
              <a:buSzTx/>
              <a:buFontTx/>
              <a:buNone/>
              <a:tabLst/>
              <a:defRPr/>
            </a:pPr>
            <a:r>
              <a:rPr kumimoji="0" lang="en-US" sz="1961" b="0" i="0" u="none" strike="noStrike" kern="0" cap="none" spc="0" normalizeH="0" baseline="0" noProof="0" dirty="0">
                <a:ln>
                  <a:noFill/>
                </a:ln>
                <a:solidFill>
                  <a:schemeClr val="accent1"/>
                </a:solidFill>
                <a:effectLst/>
                <a:uLnTx/>
                <a:uFillTx/>
              </a:rPr>
              <a:t>Azure Data Lake Store</a:t>
            </a:r>
          </a:p>
        </p:txBody>
      </p:sp>
      <p:sp>
        <p:nvSpPr>
          <p:cNvPr id="29" name="Freeform 5"/>
          <p:cNvSpPr>
            <a:spLocks noEditPoints="1"/>
          </p:cNvSpPr>
          <p:nvPr/>
        </p:nvSpPr>
        <p:spPr bwMode="auto">
          <a:xfrm>
            <a:off x="1341115" y="2009281"/>
            <a:ext cx="1696346" cy="1335016"/>
          </a:xfrm>
          <a:custGeom>
            <a:avLst/>
            <a:gdLst>
              <a:gd name="T0" fmla="*/ 3752 w 5983"/>
              <a:gd name="T1" fmla="*/ 2549 h 4697"/>
              <a:gd name="T2" fmla="*/ 2693 w 5983"/>
              <a:gd name="T3" fmla="*/ 4063 h 4697"/>
              <a:gd name="T4" fmla="*/ 2651 w 5983"/>
              <a:gd name="T5" fmla="*/ 4087 h 4697"/>
              <a:gd name="T6" fmla="*/ 2627 w 5983"/>
              <a:gd name="T7" fmla="*/ 4081 h 4697"/>
              <a:gd name="T8" fmla="*/ 2603 w 5983"/>
              <a:gd name="T9" fmla="*/ 4021 h 4697"/>
              <a:gd name="T10" fmla="*/ 2878 w 5983"/>
              <a:gd name="T11" fmla="*/ 3117 h 4697"/>
              <a:gd name="T12" fmla="*/ 2262 w 5983"/>
              <a:gd name="T13" fmla="*/ 3117 h 4697"/>
              <a:gd name="T14" fmla="*/ 2214 w 5983"/>
              <a:gd name="T15" fmla="*/ 3087 h 4697"/>
              <a:gd name="T16" fmla="*/ 2220 w 5983"/>
              <a:gd name="T17" fmla="*/ 3034 h 4697"/>
              <a:gd name="T18" fmla="*/ 3249 w 5983"/>
              <a:gd name="T19" fmla="*/ 1538 h 4697"/>
              <a:gd name="T20" fmla="*/ 3291 w 5983"/>
              <a:gd name="T21" fmla="*/ 1514 h 4697"/>
              <a:gd name="T22" fmla="*/ 3315 w 5983"/>
              <a:gd name="T23" fmla="*/ 1520 h 4697"/>
              <a:gd name="T24" fmla="*/ 3339 w 5983"/>
              <a:gd name="T25" fmla="*/ 1580 h 4697"/>
              <a:gd name="T26" fmla="*/ 3075 w 5983"/>
              <a:gd name="T27" fmla="*/ 2465 h 4697"/>
              <a:gd name="T28" fmla="*/ 3710 w 5983"/>
              <a:gd name="T29" fmla="*/ 2465 h 4697"/>
              <a:gd name="T30" fmla="*/ 3763 w 5983"/>
              <a:gd name="T31" fmla="*/ 2519 h 4697"/>
              <a:gd name="T32" fmla="*/ 3752 w 5983"/>
              <a:gd name="T33" fmla="*/ 2549 h 4697"/>
              <a:gd name="T34" fmla="*/ 5750 w 5983"/>
              <a:gd name="T35" fmla="*/ 754 h 4697"/>
              <a:gd name="T36" fmla="*/ 0 w 5983"/>
              <a:gd name="T37" fmla="*/ 754 h 4697"/>
              <a:gd name="T38" fmla="*/ 0 w 5983"/>
              <a:gd name="T39" fmla="*/ 4326 h 4697"/>
              <a:gd name="T40" fmla="*/ 371 w 5983"/>
              <a:gd name="T41" fmla="*/ 4697 h 4697"/>
              <a:gd name="T42" fmla="*/ 5612 w 5983"/>
              <a:gd name="T43" fmla="*/ 4697 h 4697"/>
              <a:gd name="T44" fmla="*/ 5983 w 5983"/>
              <a:gd name="T45" fmla="*/ 4326 h 4697"/>
              <a:gd name="T46" fmla="*/ 5983 w 5983"/>
              <a:gd name="T47" fmla="*/ 1095 h 4697"/>
              <a:gd name="T48" fmla="*/ 5750 w 5983"/>
              <a:gd name="T49" fmla="*/ 754 h 4697"/>
              <a:gd name="T50" fmla="*/ 3536 w 5983"/>
              <a:gd name="T51" fmla="*/ 485 h 4697"/>
              <a:gd name="T52" fmla="*/ 3363 w 5983"/>
              <a:gd name="T53" fmla="*/ 186 h 4697"/>
              <a:gd name="T54" fmla="*/ 3040 w 5983"/>
              <a:gd name="T55" fmla="*/ 0 h 4697"/>
              <a:gd name="T56" fmla="*/ 371 w 5983"/>
              <a:gd name="T57" fmla="*/ 0 h 4697"/>
              <a:gd name="T58" fmla="*/ 0 w 5983"/>
              <a:gd name="T59" fmla="*/ 371 h 4697"/>
              <a:gd name="T60" fmla="*/ 0 w 5983"/>
              <a:gd name="T61" fmla="*/ 563 h 4697"/>
              <a:gd name="T62" fmla="*/ 3602 w 5983"/>
              <a:gd name="T63" fmla="*/ 563 h 4697"/>
              <a:gd name="T64" fmla="*/ 3536 w 5983"/>
              <a:gd name="T65" fmla="*/ 485 h 46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983" h="4697">
                <a:moveTo>
                  <a:pt x="3752" y="2549"/>
                </a:moveTo>
                <a:lnTo>
                  <a:pt x="2693" y="4063"/>
                </a:lnTo>
                <a:cubicBezTo>
                  <a:pt x="2681" y="4075"/>
                  <a:pt x="2669" y="4087"/>
                  <a:pt x="2651" y="4087"/>
                </a:cubicBezTo>
                <a:cubicBezTo>
                  <a:pt x="2645" y="4087"/>
                  <a:pt x="2633" y="4087"/>
                  <a:pt x="2627" y="4081"/>
                </a:cubicBezTo>
                <a:cubicBezTo>
                  <a:pt x="2603" y="4069"/>
                  <a:pt x="2591" y="4045"/>
                  <a:pt x="2603" y="4021"/>
                </a:cubicBezTo>
                <a:lnTo>
                  <a:pt x="2878" y="3117"/>
                </a:lnTo>
                <a:lnTo>
                  <a:pt x="2262" y="3117"/>
                </a:lnTo>
                <a:cubicBezTo>
                  <a:pt x="2244" y="3117"/>
                  <a:pt x="2226" y="3105"/>
                  <a:pt x="2214" y="3087"/>
                </a:cubicBezTo>
                <a:cubicBezTo>
                  <a:pt x="2208" y="3070"/>
                  <a:pt x="2208" y="3052"/>
                  <a:pt x="2220" y="3034"/>
                </a:cubicBezTo>
                <a:lnTo>
                  <a:pt x="3249" y="1538"/>
                </a:lnTo>
                <a:cubicBezTo>
                  <a:pt x="3261" y="1526"/>
                  <a:pt x="3273" y="1514"/>
                  <a:pt x="3291" y="1514"/>
                </a:cubicBezTo>
                <a:cubicBezTo>
                  <a:pt x="3297" y="1514"/>
                  <a:pt x="3303" y="1514"/>
                  <a:pt x="3315" y="1520"/>
                </a:cubicBezTo>
                <a:cubicBezTo>
                  <a:pt x="3339" y="1532"/>
                  <a:pt x="3351" y="1556"/>
                  <a:pt x="3339" y="1580"/>
                </a:cubicBezTo>
                <a:lnTo>
                  <a:pt x="3075" y="2465"/>
                </a:lnTo>
                <a:lnTo>
                  <a:pt x="3710" y="2465"/>
                </a:lnTo>
                <a:cubicBezTo>
                  <a:pt x="3740" y="2465"/>
                  <a:pt x="3763" y="2489"/>
                  <a:pt x="3763" y="2519"/>
                </a:cubicBezTo>
                <a:cubicBezTo>
                  <a:pt x="3763" y="2531"/>
                  <a:pt x="3758" y="2537"/>
                  <a:pt x="3752" y="2549"/>
                </a:cubicBezTo>
                <a:close/>
                <a:moveTo>
                  <a:pt x="5750" y="754"/>
                </a:moveTo>
                <a:lnTo>
                  <a:pt x="0" y="754"/>
                </a:lnTo>
                <a:lnTo>
                  <a:pt x="0" y="4326"/>
                </a:lnTo>
                <a:cubicBezTo>
                  <a:pt x="0" y="4529"/>
                  <a:pt x="168" y="4697"/>
                  <a:pt x="371" y="4697"/>
                </a:cubicBezTo>
                <a:lnTo>
                  <a:pt x="5612" y="4697"/>
                </a:lnTo>
                <a:cubicBezTo>
                  <a:pt x="5816" y="4697"/>
                  <a:pt x="5983" y="4529"/>
                  <a:pt x="5983" y="4326"/>
                </a:cubicBezTo>
                <a:lnTo>
                  <a:pt x="5983" y="1095"/>
                </a:lnTo>
                <a:cubicBezTo>
                  <a:pt x="5983" y="946"/>
                  <a:pt x="5887" y="814"/>
                  <a:pt x="5750" y="754"/>
                </a:cubicBezTo>
                <a:close/>
                <a:moveTo>
                  <a:pt x="3536" y="485"/>
                </a:moveTo>
                <a:lnTo>
                  <a:pt x="3363" y="186"/>
                </a:lnTo>
                <a:cubicBezTo>
                  <a:pt x="3297" y="72"/>
                  <a:pt x="3171" y="0"/>
                  <a:pt x="3040" y="0"/>
                </a:cubicBezTo>
                <a:lnTo>
                  <a:pt x="371" y="0"/>
                </a:lnTo>
                <a:cubicBezTo>
                  <a:pt x="168" y="0"/>
                  <a:pt x="0" y="168"/>
                  <a:pt x="0" y="371"/>
                </a:cubicBezTo>
                <a:lnTo>
                  <a:pt x="0" y="563"/>
                </a:lnTo>
                <a:lnTo>
                  <a:pt x="3602" y="563"/>
                </a:lnTo>
                <a:cubicBezTo>
                  <a:pt x="3572" y="545"/>
                  <a:pt x="3554" y="515"/>
                  <a:pt x="3536" y="485"/>
                </a:cubicBezTo>
                <a:close/>
              </a:path>
            </a:pathLst>
          </a:custGeom>
          <a:solidFill>
            <a:schemeClr val="accent1"/>
          </a:solidFill>
          <a:ln w="0">
            <a:noFill/>
            <a:prstDash val="solid"/>
            <a:round/>
            <a:headEnd/>
            <a:tailEnd/>
          </a:ln>
        </p:spPr>
        <p:txBody>
          <a:bodyPr vert="horz" wrap="square" lIns="74702" tIns="37351" rIns="74702" bIns="37351" numCol="1" anchor="t" anchorCtr="0" compatLnSpc="1">
            <a:prstTxWarp prst="textNoShape">
              <a:avLst/>
            </a:prstTxWarp>
          </a:bodyPr>
          <a:lstStyle/>
          <a:p>
            <a:pPr marL="0" marR="0" lvl="0" indent="0" defTabSz="896350" eaLnBrk="1" fontAlgn="base" latinLnBrk="0" hangingPunct="1">
              <a:lnSpc>
                <a:spcPct val="100000"/>
              </a:lnSpc>
              <a:spcBef>
                <a:spcPct val="0"/>
              </a:spcBef>
              <a:spcAft>
                <a:spcPct val="0"/>
              </a:spcAft>
              <a:buClrTx/>
              <a:buSzTx/>
              <a:buFontTx/>
              <a:buNone/>
              <a:tabLst/>
              <a:defRPr/>
            </a:pPr>
            <a:endParaRPr kumimoji="0" lang="en-US" sz="2353" b="0" i="0" u="none" strike="noStrike" kern="0" cap="none" spc="0" normalizeH="0" baseline="0" noProof="0">
              <a:ln>
                <a:noFill/>
              </a:ln>
              <a:solidFill>
                <a:prstClr val="white"/>
              </a:solidFill>
              <a:effectLst/>
              <a:uLnTx/>
              <a:uFillTx/>
            </a:endParaRPr>
          </a:p>
        </p:txBody>
      </p:sp>
      <p:sp>
        <p:nvSpPr>
          <p:cNvPr id="9" name="Rectangle 8"/>
          <p:cNvSpPr/>
          <p:nvPr/>
        </p:nvSpPr>
        <p:spPr bwMode="auto">
          <a:xfrm>
            <a:off x="7524336" y="2484566"/>
            <a:ext cx="1569832" cy="569387"/>
          </a:xfrm>
          <a:prstGeom prst="rect">
            <a:avLst/>
          </a:prstGeom>
          <a:noFill/>
          <a:ln>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vert="horz" wrap="square" lIns="91440" tIns="45720" rIns="91440" bIns="91440" numCol="1" rtlCol="0" anchor="t" anchorCtr="0" compatLnSpc="1">
            <a:prstTxWarp prst="textNoShape">
              <a:avLst/>
            </a:prstTxWarp>
            <a:spAutoFit/>
          </a:bodyPr>
          <a:lstStyle/>
          <a:p>
            <a:pPr marL="0" marR="0" lvl="0" indent="0" algn="ctr" defTabSz="914102"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dirty="0">
                <a:ln>
                  <a:noFill/>
                </a:ln>
                <a:solidFill>
                  <a:schemeClr val="tx2"/>
                </a:solidFill>
                <a:effectLst/>
                <a:uLnTx/>
                <a:uFillTx/>
                <a:cs typeface="Segoe UI Semilight" panose="020B0402040204020203" pitchFamily="34" charset="0"/>
              </a:rPr>
              <a:t>SQL Data Warehouse</a:t>
            </a:r>
          </a:p>
        </p:txBody>
      </p:sp>
      <p:sp>
        <p:nvSpPr>
          <p:cNvPr id="41" name="Rectangle 40"/>
          <p:cNvSpPr/>
          <p:nvPr/>
        </p:nvSpPr>
        <p:spPr>
          <a:xfrm>
            <a:off x="4580607" y="2484566"/>
            <a:ext cx="1707696" cy="353943"/>
          </a:xfrm>
          <a:prstGeom prst="rect">
            <a:avLst/>
          </a:prstGeom>
          <a:noFill/>
          <a:ln>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vert="horz" wrap="square" lIns="91440" tIns="45720" rIns="91440" bIns="91440" numCol="1" rtlCol="0" anchor="t" anchorCtr="0" compatLnSpc="1">
            <a:prstTxWarp prst="textNoShape">
              <a:avLst/>
            </a:prstTxWarp>
            <a:spAutoFit/>
          </a:bodyPr>
          <a:lstStyle/>
          <a:p>
            <a:pPr marL="0" marR="0" lvl="0" indent="0" algn="ctr" defTabSz="914102"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dirty="0">
                <a:ln>
                  <a:noFill/>
                </a:ln>
                <a:solidFill>
                  <a:schemeClr val="tx2"/>
                </a:solidFill>
                <a:effectLst/>
                <a:uLnTx/>
                <a:uFillTx/>
                <a:cs typeface="Segoe UI Semilight" panose="020B0402040204020203" pitchFamily="34" charset="0"/>
              </a:rPr>
              <a:t>Azure Data Factory</a:t>
            </a:r>
          </a:p>
        </p:txBody>
      </p:sp>
      <p:sp>
        <p:nvSpPr>
          <p:cNvPr id="20" name="Rectangle 19"/>
          <p:cNvSpPr/>
          <p:nvPr/>
        </p:nvSpPr>
        <p:spPr bwMode="auto">
          <a:xfrm>
            <a:off x="6086937" y="4063889"/>
            <a:ext cx="1569832" cy="353943"/>
          </a:xfrm>
          <a:prstGeom prst="rect">
            <a:avLst/>
          </a:prstGeom>
          <a:noFill/>
          <a:ln>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vert="horz" wrap="square" lIns="91440" tIns="45720" rIns="91440" bIns="91440" numCol="1" rtlCol="0" anchor="t" anchorCtr="0" compatLnSpc="1">
            <a:prstTxWarp prst="textNoShape">
              <a:avLst/>
            </a:prstTxWarp>
            <a:spAutoFit/>
          </a:bodyPr>
          <a:lstStyle/>
          <a:p>
            <a:pPr marL="0" marR="0" lvl="0" indent="0" algn="ctr" defTabSz="914102"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dirty="0">
                <a:ln>
                  <a:noFill/>
                </a:ln>
                <a:solidFill>
                  <a:schemeClr val="tx2"/>
                </a:solidFill>
                <a:effectLst/>
                <a:uLnTx/>
                <a:uFillTx/>
                <a:cs typeface="Segoe UI Semilight" panose="020B0402040204020203" pitchFamily="34" charset="0"/>
              </a:rPr>
              <a:t>HDInsight</a:t>
            </a:r>
          </a:p>
        </p:txBody>
      </p:sp>
      <p:grpSp>
        <p:nvGrpSpPr>
          <p:cNvPr id="128" name="Group 127"/>
          <p:cNvGrpSpPr/>
          <p:nvPr/>
        </p:nvGrpSpPr>
        <p:grpSpPr>
          <a:xfrm flipH="1">
            <a:off x="7809670" y="1498600"/>
            <a:ext cx="2088968" cy="3324316"/>
            <a:chOff x="714961" y="2315543"/>
            <a:chExt cx="2977011" cy="2675519"/>
          </a:xfrm>
        </p:grpSpPr>
        <p:cxnSp>
          <p:nvCxnSpPr>
            <p:cNvPr id="129" name="Straight Connector 128"/>
            <p:cNvCxnSpPr/>
            <p:nvPr/>
          </p:nvCxnSpPr>
          <p:spPr>
            <a:xfrm>
              <a:off x="891733" y="2315543"/>
              <a:ext cx="7708" cy="2675519"/>
            </a:xfrm>
            <a:prstGeom prst="line">
              <a:avLst/>
            </a:prstGeom>
            <a:ln w="38100" cap="sq">
              <a:solidFill>
                <a:schemeClr val="accent1"/>
              </a:solidFill>
              <a:prstDash val="sysDash"/>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0" name="Straight Connector 129"/>
            <p:cNvCxnSpPr/>
            <p:nvPr/>
          </p:nvCxnSpPr>
          <p:spPr>
            <a:xfrm flipH="1">
              <a:off x="714961" y="2315543"/>
              <a:ext cx="170475" cy="0"/>
            </a:xfrm>
            <a:prstGeom prst="line">
              <a:avLst/>
            </a:prstGeom>
            <a:ln w="38100" cap="sq">
              <a:solidFill>
                <a:schemeClr val="accent1"/>
              </a:solidFill>
              <a:prstDash val="sysDash"/>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1" name="Straight Connector 130"/>
            <p:cNvCxnSpPr/>
            <p:nvPr/>
          </p:nvCxnSpPr>
          <p:spPr>
            <a:xfrm>
              <a:off x="899440" y="3037466"/>
              <a:ext cx="779785" cy="0"/>
            </a:xfrm>
            <a:prstGeom prst="line">
              <a:avLst/>
            </a:prstGeom>
            <a:ln w="38100" cap="sq">
              <a:solidFill>
                <a:schemeClr val="accent1"/>
              </a:solidFill>
              <a:prstDash val="sysDash"/>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2" name="Straight Connector 131"/>
            <p:cNvCxnSpPr/>
            <p:nvPr/>
          </p:nvCxnSpPr>
          <p:spPr>
            <a:xfrm flipH="1">
              <a:off x="728968" y="4991062"/>
              <a:ext cx="170475" cy="0"/>
            </a:xfrm>
            <a:prstGeom prst="line">
              <a:avLst/>
            </a:prstGeom>
            <a:ln w="38100" cap="sq">
              <a:solidFill>
                <a:schemeClr val="accent1"/>
              </a:solidFill>
              <a:prstDash val="sysDash"/>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3" name="Straight Connector 132"/>
            <p:cNvCxnSpPr/>
            <p:nvPr/>
          </p:nvCxnSpPr>
          <p:spPr>
            <a:xfrm>
              <a:off x="899437" y="4092982"/>
              <a:ext cx="2792535" cy="0"/>
            </a:xfrm>
            <a:prstGeom prst="line">
              <a:avLst/>
            </a:prstGeom>
            <a:ln w="38100" cap="sq">
              <a:solidFill>
                <a:schemeClr val="accent1"/>
              </a:solidFill>
              <a:prstDash val="sysDash"/>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cxnSp>
        <p:nvCxnSpPr>
          <p:cNvPr id="134" name="Straight Arrow Connector 133"/>
          <p:cNvCxnSpPr/>
          <p:nvPr/>
        </p:nvCxnSpPr>
        <p:spPr>
          <a:xfrm>
            <a:off x="6335123" y="2362645"/>
            <a:ext cx="1070160" cy="0"/>
          </a:xfrm>
          <a:prstGeom prst="straightConnector1">
            <a:avLst/>
          </a:prstGeom>
          <a:ln w="38100" cmpd="sng">
            <a:solidFill>
              <a:schemeClr val="accent1"/>
            </a:solidFill>
            <a:prstDash val="sysDash"/>
            <a:headEnd type="none"/>
            <a:tailEnd type="triangle" w="lg" len="med"/>
          </a:ln>
        </p:spPr>
        <p:style>
          <a:lnRef idx="1">
            <a:schemeClr val="accent1"/>
          </a:lnRef>
          <a:fillRef idx="0">
            <a:schemeClr val="accent1"/>
          </a:fillRef>
          <a:effectRef idx="0">
            <a:schemeClr val="accent1"/>
          </a:effectRef>
          <a:fontRef idx="minor">
            <a:schemeClr val="tx1"/>
          </a:fontRef>
        </p:style>
      </p:cxnSp>
      <p:cxnSp>
        <p:nvCxnSpPr>
          <p:cNvPr id="135" name="Straight Arrow Connector 134"/>
          <p:cNvCxnSpPr/>
          <p:nvPr/>
        </p:nvCxnSpPr>
        <p:spPr>
          <a:xfrm>
            <a:off x="3439886" y="2362645"/>
            <a:ext cx="1108891" cy="0"/>
          </a:xfrm>
          <a:prstGeom prst="straightConnector1">
            <a:avLst/>
          </a:prstGeom>
          <a:ln w="38100" cmpd="sng">
            <a:solidFill>
              <a:schemeClr val="accent1"/>
            </a:solidFill>
            <a:prstDash val="sysDash"/>
            <a:headEnd type="none"/>
            <a:tailEnd type="triangle" w="lg" len="med"/>
          </a:ln>
        </p:spPr>
        <p:style>
          <a:lnRef idx="1">
            <a:schemeClr val="accent1"/>
          </a:lnRef>
          <a:fillRef idx="0">
            <a:schemeClr val="accent1"/>
          </a:fillRef>
          <a:effectRef idx="0">
            <a:schemeClr val="accent1"/>
          </a:effectRef>
          <a:fontRef idx="minor">
            <a:schemeClr val="tx1"/>
          </a:fontRef>
        </p:style>
      </p:cxnSp>
      <p:cxnSp>
        <p:nvCxnSpPr>
          <p:cNvPr id="136" name="Straight Arrow Connector 135"/>
          <p:cNvCxnSpPr/>
          <p:nvPr/>
        </p:nvCxnSpPr>
        <p:spPr>
          <a:xfrm>
            <a:off x="3577771" y="3734479"/>
            <a:ext cx="2323012" cy="0"/>
          </a:xfrm>
          <a:prstGeom prst="straightConnector1">
            <a:avLst/>
          </a:prstGeom>
          <a:ln w="38100" cmpd="sng">
            <a:solidFill>
              <a:schemeClr val="accent1"/>
            </a:solidFill>
            <a:prstDash val="sysDash"/>
            <a:headEnd type="none"/>
            <a:tailEnd type="triangle" w="lg" len="med"/>
          </a:ln>
        </p:spPr>
        <p:style>
          <a:lnRef idx="1">
            <a:schemeClr val="accent1"/>
          </a:lnRef>
          <a:fillRef idx="0">
            <a:schemeClr val="accent1"/>
          </a:fillRef>
          <a:effectRef idx="0">
            <a:schemeClr val="accent1"/>
          </a:effectRef>
          <a:fontRef idx="minor">
            <a:schemeClr val="tx1"/>
          </a:fontRef>
        </p:style>
      </p:cxnSp>
      <p:sp>
        <p:nvSpPr>
          <p:cNvPr id="2" name="Freeform: Shape 1"/>
          <p:cNvSpPr/>
          <p:nvPr/>
        </p:nvSpPr>
        <p:spPr bwMode="auto">
          <a:xfrm>
            <a:off x="6506678" y="4481495"/>
            <a:ext cx="3801686" cy="1034886"/>
          </a:xfrm>
          <a:custGeom>
            <a:avLst/>
            <a:gdLst>
              <a:gd name="connsiteX0" fmla="*/ 0 w 6760029"/>
              <a:gd name="connsiteY0" fmla="*/ 0 h 693057"/>
              <a:gd name="connsiteX1" fmla="*/ 6760029 w 6760029"/>
              <a:gd name="connsiteY1" fmla="*/ 693057 h 693057"/>
              <a:gd name="connsiteX0" fmla="*/ 363 w 6760392"/>
              <a:gd name="connsiteY0" fmla="*/ 0 h 761268"/>
              <a:gd name="connsiteX1" fmla="*/ 6760392 w 6760392"/>
              <a:gd name="connsiteY1" fmla="*/ 693057 h 761268"/>
              <a:gd name="connsiteX0" fmla="*/ 293 w 6760322"/>
              <a:gd name="connsiteY0" fmla="*/ 0 h 855912"/>
              <a:gd name="connsiteX1" fmla="*/ 6760322 w 6760322"/>
              <a:gd name="connsiteY1" fmla="*/ 693057 h 855912"/>
              <a:gd name="connsiteX0" fmla="*/ 396 w 6760425"/>
              <a:gd name="connsiteY0" fmla="*/ 0 h 853112"/>
              <a:gd name="connsiteX1" fmla="*/ 6760425 w 6760425"/>
              <a:gd name="connsiteY1" fmla="*/ 693057 h 853112"/>
              <a:gd name="connsiteX0" fmla="*/ 455 w 6227084"/>
              <a:gd name="connsiteY0" fmla="*/ 0 h 838220"/>
              <a:gd name="connsiteX1" fmla="*/ 6227084 w 6227084"/>
              <a:gd name="connsiteY1" fmla="*/ 664029 h 838220"/>
              <a:gd name="connsiteX0" fmla="*/ 22046 w 6248675"/>
              <a:gd name="connsiteY0" fmla="*/ 0 h 906410"/>
              <a:gd name="connsiteX1" fmla="*/ 6248675 w 6248675"/>
              <a:gd name="connsiteY1" fmla="*/ 664029 h 906410"/>
              <a:gd name="connsiteX0" fmla="*/ 21916 w 6273945"/>
              <a:gd name="connsiteY0" fmla="*/ 0 h 833655"/>
              <a:gd name="connsiteX1" fmla="*/ 6273945 w 6273945"/>
              <a:gd name="connsiteY1" fmla="*/ 493789 h 833655"/>
              <a:gd name="connsiteX0" fmla="*/ 21967 w 6263932"/>
              <a:gd name="connsiteY0" fmla="*/ 0 h 881358"/>
              <a:gd name="connsiteX1" fmla="*/ 6263932 w 6263932"/>
              <a:gd name="connsiteY1" fmla="*/ 608414 h 881358"/>
              <a:gd name="connsiteX0" fmla="*/ 21967 w 6263932"/>
              <a:gd name="connsiteY0" fmla="*/ 0 h 887589"/>
              <a:gd name="connsiteX1" fmla="*/ 6263932 w 6263932"/>
              <a:gd name="connsiteY1" fmla="*/ 622522 h 887589"/>
              <a:gd name="connsiteX0" fmla="*/ 21866 w 6263831"/>
              <a:gd name="connsiteY0" fmla="*/ 0 h 882730"/>
              <a:gd name="connsiteX1" fmla="*/ 6263831 w 6263831"/>
              <a:gd name="connsiteY1" fmla="*/ 622522 h 882730"/>
              <a:gd name="connsiteX0" fmla="*/ 0 w 6241965"/>
              <a:gd name="connsiteY0" fmla="*/ 0 h 1064759"/>
              <a:gd name="connsiteX1" fmla="*/ 565217 w 6241965"/>
              <a:gd name="connsiteY1" fmla="*/ 769948 h 1064759"/>
              <a:gd name="connsiteX2" fmla="*/ 6241965 w 6241965"/>
              <a:gd name="connsiteY2" fmla="*/ 622522 h 1064759"/>
              <a:gd name="connsiteX0" fmla="*/ 37871 w 6279836"/>
              <a:gd name="connsiteY0" fmla="*/ 0 h 795456"/>
              <a:gd name="connsiteX1" fmla="*/ 603088 w 6279836"/>
              <a:gd name="connsiteY1" fmla="*/ 769948 h 795456"/>
              <a:gd name="connsiteX2" fmla="*/ 6279836 w 6279836"/>
              <a:gd name="connsiteY2" fmla="*/ 622522 h 795456"/>
              <a:gd name="connsiteX0" fmla="*/ 33157 w 6275122"/>
              <a:gd name="connsiteY0" fmla="*/ 0 h 860631"/>
              <a:gd name="connsiteX1" fmla="*/ 598374 w 6275122"/>
              <a:gd name="connsiteY1" fmla="*/ 769948 h 860631"/>
              <a:gd name="connsiteX2" fmla="*/ 6275122 w 6275122"/>
              <a:gd name="connsiteY2" fmla="*/ 622522 h 860631"/>
              <a:gd name="connsiteX0" fmla="*/ 107760 w 6349725"/>
              <a:gd name="connsiteY0" fmla="*/ 0 h 860631"/>
              <a:gd name="connsiteX1" fmla="*/ 672977 w 6349725"/>
              <a:gd name="connsiteY1" fmla="*/ 769948 h 860631"/>
              <a:gd name="connsiteX2" fmla="*/ 6349725 w 6349725"/>
              <a:gd name="connsiteY2" fmla="*/ 622522 h 860631"/>
              <a:gd name="connsiteX0" fmla="*/ 56494 w 6298459"/>
              <a:gd name="connsiteY0" fmla="*/ 0 h 720671"/>
              <a:gd name="connsiteX1" fmla="*/ 749203 w 6298459"/>
              <a:gd name="connsiteY1" fmla="*/ 591839 h 720671"/>
              <a:gd name="connsiteX2" fmla="*/ 6298459 w 6298459"/>
              <a:gd name="connsiteY2" fmla="*/ 622522 h 720671"/>
              <a:gd name="connsiteX0" fmla="*/ 448 w 6242413"/>
              <a:gd name="connsiteY0" fmla="*/ 0 h 707912"/>
              <a:gd name="connsiteX1" fmla="*/ 693157 w 6242413"/>
              <a:gd name="connsiteY1" fmla="*/ 591839 h 707912"/>
              <a:gd name="connsiteX2" fmla="*/ 6242413 w 6242413"/>
              <a:gd name="connsiteY2" fmla="*/ 622522 h 707912"/>
              <a:gd name="connsiteX0" fmla="*/ 104510 w 6218982"/>
              <a:gd name="connsiteY0" fmla="*/ 0 h 794546"/>
              <a:gd name="connsiteX1" fmla="*/ 669726 w 6218982"/>
              <a:gd name="connsiteY1" fmla="*/ 727625 h 794546"/>
              <a:gd name="connsiteX2" fmla="*/ 6218982 w 6218982"/>
              <a:gd name="connsiteY2" fmla="*/ 758308 h 794546"/>
              <a:gd name="connsiteX0" fmla="*/ 3269 w 6117741"/>
              <a:gd name="connsiteY0" fmla="*/ 0 h 795678"/>
              <a:gd name="connsiteX1" fmla="*/ 964380 w 6117741"/>
              <a:gd name="connsiteY1" fmla="*/ 729389 h 795678"/>
              <a:gd name="connsiteX2" fmla="*/ 6117741 w 6117741"/>
              <a:gd name="connsiteY2" fmla="*/ 758308 h 795678"/>
              <a:gd name="connsiteX0" fmla="*/ 3348 w 6127885"/>
              <a:gd name="connsiteY0" fmla="*/ 0 h 784240"/>
              <a:gd name="connsiteX1" fmla="*/ 964459 w 6127885"/>
              <a:gd name="connsiteY1" fmla="*/ 729389 h 784240"/>
              <a:gd name="connsiteX2" fmla="*/ 6127885 w 6127885"/>
              <a:gd name="connsiteY2" fmla="*/ 728329 h 784240"/>
            </a:gdLst>
            <a:ahLst/>
            <a:cxnLst>
              <a:cxn ang="0">
                <a:pos x="connsiteX0" y="connsiteY0"/>
              </a:cxn>
              <a:cxn ang="0">
                <a:pos x="connsiteX1" y="connsiteY1"/>
              </a:cxn>
              <a:cxn ang="0">
                <a:pos x="connsiteX2" y="connsiteY2"/>
              </a:cxn>
            </a:cxnLst>
            <a:rect l="l" t="t" r="r" b="b"/>
            <a:pathLst>
              <a:path w="6127885" h="784240">
                <a:moveTo>
                  <a:pt x="3348" y="0"/>
                </a:moveTo>
                <a:cubicBezTo>
                  <a:pt x="-6194" y="205509"/>
                  <a:pt x="-56297" y="608001"/>
                  <a:pt x="964459" y="729389"/>
                </a:cubicBezTo>
                <a:cubicBezTo>
                  <a:pt x="1985215" y="850777"/>
                  <a:pt x="3510045" y="733574"/>
                  <a:pt x="6127885" y="728329"/>
                </a:cubicBezTo>
              </a:path>
            </a:pathLst>
          </a:custGeom>
          <a:noFill/>
          <a:ln w="22225">
            <a:solidFill>
              <a:schemeClr val="accent1"/>
            </a:solidFill>
            <a:prstDash val="sysDash"/>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nvGrpSpPr>
          <p:cNvPr id="4206" name="Group 4205"/>
          <p:cNvGrpSpPr/>
          <p:nvPr/>
        </p:nvGrpSpPr>
        <p:grpSpPr>
          <a:xfrm>
            <a:off x="581561" y="4420775"/>
            <a:ext cx="1662794" cy="2444486"/>
            <a:chOff x="732064" y="4355660"/>
            <a:chExt cx="1662794" cy="2444486"/>
          </a:xfrm>
        </p:grpSpPr>
        <p:sp>
          <p:nvSpPr>
            <p:cNvPr id="4156" name="Rectangle 133"/>
            <p:cNvSpPr>
              <a:spLocks noChangeArrowheads="1"/>
            </p:cNvSpPr>
            <p:nvPr/>
          </p:nvSpPr>
          <p:spPr bwMode="auto">
            <a:xfrm>
              <a:off x="1007692" y="6257931"/>
              <a:ext cx="253034" cy="542215"/>
            </a:xfrm>
            <a:prstGeom prst="rect">
              <a:avLst/>
            </a:prstGeom>
            <a:solidFill>
              <a:srgbClr val="5C2D9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157" name="Rectangle 134"/>
            <p:cNvSpPr>
              <a:spLocks noChangeArrowheads="1"/>
            </p:cNvSpPr>
            <p:nvPr/>
          </p:nvSpPr>
          <p:spPr bwMode="auto">
            <a:xfrm>
              <a:off x="1260725" y="6257931"/>
              <a:ext cx="253034" cy="542215"/>
            </a:xfrm>
            <a:prstGeom prst="rect">
              <a:avLst/>
            </a:prstGeom>
            <a:solidFill>
              <a:srgbClr val="5C2D9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158" name="Freeform 135"/>
            <p:cNvSpPr>
              <a:spLocks/>
            </p:cNvSpPr>
            <p:nvPr/>
          </p:nvSpPr>
          <p:spPr bwMode="auto">
            <a:xfrm>
              <a:off x="980581" y="5349721"/>
              <a:ext cx="280145" cy="994061"/>
            </a:xfrm>
            <a:custGeom>
              <a:avLst/>
              <a:gdLst>
                <a:gd name="T0" fmla="*/ 60 w 62"/>
                <a:gd name="T1" fmla="*/ 220 h 220"/>
                <a:gd name="T2" fmla="*/ 0 w 62"/>
                <a:gd name="T3" fmla="*/ 220 h 220"/>
                <a:gd name="T4" fmla="*/ 13 w 62"/>
                <a:gd name="T5" fmla="*/ 131 h 220"/>
                <a:gd name="T6" fmla="*/ 0 w 62"/>
                <a:gd name="T7" fmla="*/ 54 h 220"/>
                <a:gd name="T8" fmla="*/ 11 w 62"/>
                <a:gd name="T9" fmla="*/ 0 h 220"/>
                <a:gd name="T10" fmla="*/ 62 w 62"/>
                <a:gd name="T11" fmla="*/ 0 h 220"/>
                <a:gd name="T12" fmla="*/ 62 w 62"/>
                <a:gd name="T13" fmla="*/ 204 h 220"/>
                <a:gd name="T14" fmla="*/ 60 w 62"/>
                <a:gd name="T15" fmla="*/ 220 h 2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2" h="220">
                  <a:moveTo>
                    <a:pt x="60" y="220"/>
                  </a:moveTo>
                  <a:lnTo>
                    <a:pt x="0" y="220"/>
                  </a:lnTo>
                  <a:lnTo>
                    <a:pt x="13" y="131"/>
                  </a:lnTo>
                  <a:lnTo>
                    <a:pt x="0" y="54"/>
                  </a:lnTo>
                  <a:lnTo>
                    <a:pt x="11" y="0"/>
                  </a:lnTo>
                  <a:lnTo>
                    <a:pt x="62" y="0"/>
                  </a:lnTo>
                  <a:lnTo>
                    <a:pt x="62" y="204"/>
                  </a:lnTo>
                  <a:lnTo>
                    <a:pt x="60" y="220"/>
                  </a:lnTo>
                  <a:close/>
                </a:path>
              </a:pathLst>
            </a:custGeom>
            <a:solidFill>
              <a:srgbClr val="A579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159" name="Freeform 136"/>
            <p:cNvSpPr>
              <a:spLocks/>
            </p:cNvSpPr>
            <p:nvPr/>
          </p:nvSpPr>
          <p:spPr bwMode="auto">
            <a:xfrm>
              <a:off x="1771310" y="4604174"/>
              <a:ext cx="176219" cy="429252"/>
            </a:xfrm>
            <a:custGeom>
              <a:avLst/>
              <a:gdLst>
                <a:gd name="T0" fmla="*/ 59 w 67"/>
                <a:gd name="T1" fmla="*/ 100 h 164"/>
                <a:gd name="T2" fmla="*/ 58 w 67"/>
                <a:gd name="T3" fmla="*/ 36 h 164"/>
                <a:gd name="T4" fmla="*/ 44 w 67"/>
                <a:gd name="T5" fmla="*/ 25 h 164"/>
                <a:gd name="T6" fmla="*/ 31 w 67"/>
                <a:gd name="T7" fmla="*/ 12 h 164"/>
                <a:gd name="T8" fmla="*/ 20 w 67"/>
                <a:gd name="T9" fmla="*/ 6 h 164"/>
                <a:gd name="T10" fmla="*/ 22 w 67"/>
                <a:gd name="T11" fmla="*/ 18 h 164"/>
                <a:gd name="T12" fmla="*/ 14 w 67"/>
                <a:gd name="T13" fmla="*/ 33 h 164"/>
                <a:gd name="T14" fmla="*/ 16 w 67"/>
                <a:gd name="T15" fmla="*/ 45 h 164"/>
                <a:gd name="T16" fmla="*/ 0 w 67"/>
                <a:gd name="T17" fmla="*/ 41 h 164"/>
                <a:gd name="T18" fmla="*/ 15 w 67"/>
                <a:gd name="T19" fmla="*/ 85 h 164"/>
                <a:gd name="T20" fmla="*/ 20 w 67"/>
                <a:gd name="T21" fmla="*/ 92 h 164"/>
                <a:gd name="T22" fmla="*/ 19 w 67"/>
                <a:gd name="T23" fmla="*/ 164 h 164"/>
                <a:gd name="T24" fmla="*/ 57 w 67"/>
                <a:gd name="T25" fmla="*/ 146 h 164"/>
                <a:gd name="T26" fmla="*/ 59 w 67"/>
                <a:gd name="T27" fmla="*/ 100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7" h="164">
                  <a:moveTo>
                    <a:pt x="59" y="100"/>
                  </a:moveTo>
                  <a:cubicBezTo>
                    <a:pt x="66" y="69"/>
                    <a:pt x="67" y="62"/>
                    <a:pt x="58" y="36"/>
                  </a:cubicBezTo>
                  <a:cubicBezTo>
                    <a:pt x="52" y="20"/>
                    <a:pt x="46" y="17"/>
                    <a:pt x="44" y="25"/>
                  </a:cubicBezTo>
                  <a:cubicBezTo>
                    <a:pt x="44" y="8"/>
                    <a:pt x="31" y="0"/>
                    <a:pt x="31" y="12"/>
                  </a:cubicBezTo>
                  <a:cubicBezTo>
                    <a:pt x="30" y="8"/>
                    <a:pt x="25" y="4"/>
                    <a:pt x="20" y="6"/>
                  </a:cubicBezTo>
                  <a:cubicBezTo>
                    <a:pt x="16" y="8"/>
                    <a:pt x="19" y="15"/>
                    <a:pt x="22" y="18"/>
                  </a:cubicBezTo>
                  <a:cubicBezTo>
                    <a:pt x="17" y="17"/>
                    <a:pt x="10" y="21"/>
                    <a:pt x="14" y="33"/>
                  </a:cubicBezTo>
                  <a:cubicBezTo>
                    <a:pt x="17" y="43"/>
                    <a:pt x="16" y="45"/>
                    <a:pt x="16" y="45"/>
                  </a:cubicBezTo>
                  <a:cubicBezTo>
                    <a:pt x="9" y="36"/>
                    <a:pt x="3" y="36"/>
                    <a:pt x="0" y="41"/>
                  </a:cubicBezTo>
                  <a:cubicBezTo>
                    <a:pt x="6" y="52"/>
                    <a:pt x="9" y="71"/>
                    <a:pt x="15" y="85"/>
                  </a:cubicBezTo>
                  <a:cubicBezTo>
                    <a:pt x="17" y="88"/>
                    <a:pt x="18" y="90"/>
                    <a:pt x="20" y="92"/>
                  </a:cubicBezTo>
                  <a:cubicBezTo>
                    <a:pt x="19" y="164"/>
                    <a:pt x="19" y="164"/>
                    <a:pt x="19" y="164"/>
                  </a:cubicBezTo>
                  <a:cubicBezTo>
                    <a:pt x="57" y="146"/>
                    <a:pt x="57" y="146"/>
                    <a:pt x="57" y="146"/>
                  </a:cubicBezTo>
                  <a:lnTo>
                    <a:pt x="59" y="100"/>
                  </a:ln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160" name="Freeform 137"/>
            <p:cNvSpPr>
              <a:spLocks/>
            </p:cNvSpPr>
            <p:nvPr/>
          </p:nvSpPr>
          <p:spPr bwMode="auto">
            <a:xfrm>
              <a:off x="1260725" y="5349721"/>
              <a:ext cx="289182" cy="994061"/>
            </a:xfrm>
            <a:custGeom>
              <a:avLst/>
              <a:gdLst>
                <a:gd name="T0" fmla="*/ 2 w 64"/>
                <a:gd name="T1" fmla="*/ 220 h 220"/>
                <a:gd name="T2" fmla="*/ 61 w 64"/>
                <a:gd name="T3" fmla="*/ 220 h 220"/>
                <a:gd name="T4" fmla="*/ 49 w 64"/>
                <a:gd name="T5" fmla="*/ 131 h 220"/>
                <a:gd name="T6" fmla="*/ 64 w 64"/>
                <a:gd name="T7" fmla="*/ 43 h 220"/>
                <a:gd name="T8" fmla="*/ 50 w 64"/>
                <a:gd name="T9" fmla="*/ 0 h 220"/>
                <a:gd name="T10" fmla="*/ 0 w 64"/>
                <a:gd name="T11" fmla="*/ 0 h 220"/>
                <a:gd name="T12" fmla="*/ 0 w 64"/>
                <a:gd name="T13" fmla="*/ 204 h 220"/>
                <a:gd name="T14" fmla="*/ 2 w 64"/>
                <a:gd name="T15" fmla="*/ 220 h 2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4" h="220">
                  <a:moveTo>
                    <a:pt x="2" y="220"/>
                  </a:moveTo>
                  <a:lnTo>
                    <a:pt x="61" y="220"/>
                  </a:lnTo>
                  <a:lnTo>
                    <a:pt x="49" y="131"/>
                  </a:lnTo>
                  <a:lnTo>
                    <a:pt x="64" y="43"/>
                  </a:lnTo>
                  <a:lnTo>
                    <a:pt x="50" y="0"/>
                  </a:lnTo>
                  <a:lnTo>
                    <a:pt x="0" y="0"/>
                  </a:lnTo>
                  <a:lnTo>
                    <a:pt x="0" y="204"/>
                  </a:lnTo>
                  <a:lnTo>
                    <a:pt x="2" y="220"/>
                  </a:lnTo>
                  <a:close/>
                </a:path>
              </a:pathLst>
            </a:custGeom>
            <a:solidFill>
              <a:srgbClr val="A579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161" name="Freeform 138"/>
            <p:cNvSpPr>
              <a:spLocks/>
            </p:cNvSpPr>
            <p:nvPr/>
          </p:nvSpPr>
          <p:spPr bwMode="auto">
            <a:xfrm>
              <a:off x="1771310" y="5241278"/>
              <a:ext cx="180738" cy="180738"/>
            </a:xfrm>
            <a:custGeom>
              <a:avLst/>
              <a:gdLst>
                <a:gd name="T0" fmla="*/ 5 w 68"/>
                <a:gd name="T1" fmla="*/ 42 h 68"/>
                <a:gd name="T2" fmla="*/ 42 w 68"/>
                <a:gd name="T3" fmla="*/ 64 h 68"/>
                <a:gd name="T4" fmla="*/ 64 w 68"/>
                <a:gd name="T5" fmla="*/ 27 h 68"/>
                <a:gd name="T6" fmla="*/ 26 w 68"/>
                <a:gd name="T7" fmla="*/ 5 h 68"/>
                <a:gd name="T8" fmla="*/ 5 w 68"/>
                <a:gd name="T9" fmla="*/ 42 h 68"/>
              </a:gdLst>
              <a:ahLst/>
              <a:cxnLst>
                <a:cxn ang="0">
                  <a:pos x="T0" y="T1"/>
                </a:cxn>
                <a:cxn ang="0">
                  <a:pos x="T2" y="T3"/>
                </a:cxn>
                <a:cxn ang="0">
                  <a:pos x="T4" y="T5"/>
                </a:cxn>
                <a:cxn ang="0">
                  <a:pos x="T6" y="T7"/>
                </a:cxn>
                <a:cxn ang="0">
                  <a:pos x="T8" y="T9"/>
                </a:cxn>
              </a:cxnLst>
              <a:rect l="0" t="0" r="r" b="b"/>
              <a:pathLst>
                <a:path w="68" h="68">
                  <a:moveTo>
                    <a:pt x="5" y="42"/>
                  </a:moveTo>
                  <a:cubicBezTo>
                    <a:pt x="9" y="59"/>
                    <a:pt x="26" y="68"/>
                    <a:pt x="42" y="64"/>
                  </a:cubicBezTo>
                  <a:cubicBezTo>
                    <a:pt x="58" y="60"/>
                    <a:pt x="68" y="43"/>
                    <a:pt x="64" y="27"/>
                  </a:cubicBezTo>
                  <a:cubicBezTo>
                    <a:pt x="60" y="10"/>
                    <a:pt x="43" y="0"/>
                    <a:pt x="26" y="5"/>
                  </a:cubicBezTo>
                  <a:cubicBezTo>
                    <a:pt x="10" y="9"/>
                    <a:pt x="0" y="26"/>
                    <a:pt x="5" y="42"/>
                  </a:cubicBezTo>
                  <a:close/>
                </a:path>
              </a:pathLst>
            </a:custGeom>
            <a:solidFill>
              <a:srgbClr val="5C2D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162" name="Freeform 139"/>
            <p:cNvSpPr>
              <a:spLocks/>
            </p:cNvSpPr>
            <p:nvPr/>
          </p:nvSpPr>
          <p:spPr bwMode="auto">
            <a:xfrm>
              <a:off x="1355612" y="5327128"/>
              <a:ext cx="248514" cy="248514"/>
            </a:xfrm>
            <a:custGeom>
              <a:avLst/>
              <a:gdLst>
                <a:gd name="T0" fmla="*/ 58 w 94"/>
                <a:gd name="T1" fmla="*/ 88 h 94"/>
                <a:gd name="T2" fmla="*/ 87 w 94"/>
                <a:gd name="T3" fmla="*/ 36 h 94"/>
                <a:gd name="T4" fmla="*/ 35 w 94"/>
                <a:gd name="T5" fmla="*/ 7 h 94"/>
                <a:gd name="T6" fmla="*/ 6 w 94"/>
                <a:gd name="T7" fmla="*/ 59 h 94"/>
                <a:gd name="T8" fmla="*/ 58 w 94"/>
                <a:gd name="T9" fmla="*/ 88 h 94"/>
              </a:gdLst>
              <a:ahLst/>
              <a:cxnLst>
                <a:cxn ang="0">
                  <a:pos x="T0" y="T1"/>
                </a:cxn>
                <a:cxn ang="0">
                  <a:pos x="T2" y="T3"/>
                </a:cxn>
                <a:cxn ang="0">
                  <a:pos x="T4" y="T5"/>
                </a:cxn>
                <a:cxn ang="0">
                  <a:pos x="T6" y="T7"/>
                </a:cxn>
                <a:cxn ang="0">
                  <a:pos x="T8" y="T9"/>
                </a:cxn>
              </a:cxnLst>
              <a:rect l="0" t="0" r="r" b="b"/>
              <a:pathLst>
                <a:path w="94" h="94">
                  <a:moveTo>
                    <a:pt x="58" y="88"/>
                  </a:moveTo>
                  <a:cubicBezTo>
                    <a:pt x="80" y="82"/>
                    <a:pt x="94" y="59"/>
                    <a:pt x="87" y="36"/>
                  </a:cubicBezTo>
                  <a:cubicBezTo>
                    <a:pt x="81" y="14"/>
                    <a:pt x="58" y="0"/>
                    <a:pt x="35" y="7"/>
                  </a:cubicBezTo>
                  <a:cubicBezTo>
                    <a:pt x="13" y="13"/>
                    <a:pt x="0" y="36"/>
                    <a:pt x="6" y="59"/>
                  </a:cubicBezTo>
                  <a:cubicBezTo>
                    <a:pt x="12" y="81"/>
                    <a:pt x="35" y="94"/>
                    <a:pt x="58" y="88"/>
                  </a:cubicBezTo>
                  <a:close/>
                </a:path>
              </a:pathLst>
            </a:custGeom>
            <a:solidFill>
              <a:srgbClr val="A579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163" name="Freeform 140"/>
            <p:cNvSpPr>
              <a:spLocks/>
            </p:cNvSpPr>
            <p:nvPr/>
          </p:nvSpPr>
          <p:spPr bwMode="auto">
            <a:xfrm>
              <a:off x="1445981" y="5254832"/>
              <a:ext cx="433772" cy="307255"/>
            </a:xfrm>
            <a:custGeom>
              <a:avLst/>
              <a:gdLst>
                <a:gd name="T0" fmla="*/ 0 w 96"/>
                <a:gd name="T1" fmla="*/ 21 h 68"/>
                <a:gd name="T2" fmla="*/ 87 w 96"/>
                <a:gd name="T3" fmla="*/ 0 h 68"/>
                <a:gd name="T4" fmla="*/ 96 w 96"/>
                <a:gd name="T5" fmla="*/ 34 h 68"/>
                <a:gd name="T6" fmla="*/ 13 w 96"/>
                <a:gd name="T7" fmla="*/ 68 h 68"/>
                <a:gd name="T8" fmla="*/ 0 w 96"/>
                <a:gd name="T9" fmla="*/ 21 h 68"/>
              </a:gdLst>
              <a:ahLst/>
              <a:cxnLst>
                <a:cxn ang="0">
                  <a:pos x="T0" y="T1"/>
                </a:cxn>
                <a:cxn ang="0">
                  <a:pos x="T2" y="T3"/>
                </a:cxn>
                <a:cxn ang="0">
                  <a:pos x="T4" y="T5"/>
                </a:cxn>
                <a:cxn ang="0">
                  <a:pos x="T6" y="T7"/>
                </a:cxn>
                <a:cxn ang="0">
                  <a:pos x="T8" y="T9"/>
                </a:cxn>
              </a:cxnLst>
              <a:rect l="0" t="0" r="r" b="b"/>
              <a:pathLst>
                <a:path w="96" h="68">
                  <a:moveTo>
                    <a:pt x="0" y="21"/>
                  </a:moveTo>
                  <a:lnTo>
                    <a:pt x="87" y="0"/>
                  </a:lnTo>
                  <a:lnTo>
                    <a:pt x="96" y="34"/>
                  </a:lnTo>
                  <a:lnTo>
                    <a:pt x="13" y="68"/>
                  </a:lnTo>
                  <a:lnTo>
                    <a:pt x="0" y="21"/>
                  </a:lnTo>
                  <a:close/>
                </a:path>
              </a:pathLst>
            </a:custGeom>
            <a:solidFill>
              <a:srgbClr val="A579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164" name="Rectangle 141"/>
            <p:cNvSpPr>
              <a:spLocks noChangeArrowheads="1"/>
            </p:cNvSpPr>
            <p:nvPr/>
          </p:nvSpPr>
          <p:spPr bwMode="auto">
            <a:xfrm>
              <a:off x="1811978" y="4915949"/>
              <a:ext cx="131034" cy="36148"/>
            </a:xfrm>
            <a:prstGeom prst="rect">
              <a:avLst/>
            </a:prstGeom>
            <a:solidFill>
              <a:srgbClr val="E6E6E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165" name="Freeform 142"/>
            <p:cNvSpPr>
              <a:spLocks/>
            </p:cNvSpPr>
            <p:nvPr/>
          </p:nvSpPr>
          <p:spPr bwMode="auto">
            <a:xfrm>
              <a:off x="1775830" y="5245795"/>
              <a:ext cx="167182" cy="171702"/>
            </a:xfrm>
            <a:custGeom>
              <a:avLst/>
              <a:gdLst>
                <a:gd name="T0" fmla="*/ 35 w 64"/>
                <a:gd name="T1" fmla="*/ 2 h 64"/>
                <a:gd name="T2" fmla="*/ 2 w 64"/>
                <a:gd name="T3" fmla="*/ 30 h 64"/>
                <a:gd name="T4" fmla="*/ 30 w 64"/>
                <a:gd name="T5" fmla="*/ 63 h 64"/>
                <a:gd name="T6" fmla="*/ 63 w 64"/>
                <a:gd name="T7" fmla="*/ 35 h 64"/>
                <a:gd name="T8" fmla="*/ 35 w 64"/>
                <a:gd name="T9" fmla="*/ 2 h 64"/>
              </a:gdLst>
              <a:ahLst/>
              <a:cxnLst>
                <a:cxn ang="0">
                  <a:pos x="T0" y="T1"/>
                </a:cxn>
                <a:cxn ang="0">
                  <a:pos x="T2" y="T3"/>
                </a:cxn>
                <a:cxn ang="0">
                  <a:pos x="T4" y="T5"/>
                </a:cxn>
                <a:cxn ang="0">
                  <a:pos x="T6" y="T7"/>
                </a:cxn>
                <a:cxn ang="0">
                  <a:pos x="T8" y="T9"/>
                </a:cxn>
              </a:cxnLst>
              <a:rect l="0" t="0" r="r" b="b"/>
              <a:pathLst>
                <a:path w="64" h="64">
                  <a:moveTo>
                    <a:pt x="35" y="2"/>
                  </a:moveTo>
                  <a:cubicBezTo>
                    <a:pt x="18" y="0"/>
                    <a:pt x="3" y="13"/>
                    <a:pt x="2" y="30"/>
                  </a:cubicBezTo>
                  <a:cubicBezTo>
                    <a:pt x="0" y="47"/>
                    <a:pt x="13" y="62"/>
                    <a:pt x="30" y="63"/>
                  </a:cubicBezTo>
                  <a:cubicBezTo>
                    <a:pt x="47" y="64"/>
                    <a:pt x="62" y="52"/>
                    <a:pt x="63" y="35"/>
                  </a:cubicBezTo>
                  <a:cubicBezTo>
                    <a:pt x="64" y="18"/>
                    <a:pt x="52" y="3"/>
                    <a:pt x="35" y="2"/>
                  </a:cubicBezTo>
                  <a:close/>
                </a:path>
              </a:pathLst>
            </a:custGeom>
            <a:solidFill>
              <a:srgbClr val="A579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166" name="Freeform 143"/>
            <p:cNvSpPr>
              <a:spLocks/>
            </p:cNvSpPr>
            <p:nvPr/>
          </p:nvSpPr>
          <p:spPr bwMode="auto">
            <a:xfrm>
              <a:off x="1780347" y="4952097"/>
              <a:ext cx="162665" cy="388588"/>
            </a:xfrm>
            <a:custGeom>
              <a:avLst/>
              <a:gdLst>
                <a:gd name="T0" fmla="*/ 36 w 36"/>
                <a:gd name="T1" fmla="*/ 0 h 86"/>
                <a:gd name="T2" fmla="*/ 36 w 36"/>
                <a:gd name="T3" fmla="*/ 86 h 86"/>
                <a:gd name="T4" fmla="*/ 0 w 36"/>
                <a:gd name="T5" fmla="*/ 83 h 86"/>
                <a:gd name="T6" fmla="*/ 4 w 36"/>
                <a:gd name="T7" fmla="*/ 0 h 86"/>
                <a:gd name="T8" fmla="*/ 36 w 36"/>
                <a:gd name="T9" fmla="*/ 0 h 86"/>
              </a:gdLst>
              <a:ahLst/>
              <a:cxnLst>
                <a:cxn ang="0">
                  <a:pos x="T0" y="T1"/>
                </a:cxn>
                <a:cxn ang="0">
                  <a:pos x="T2" y="T3"/>
                </a:cxn>
                <a:cxn ang="0">
                  <a:pos x="T4" y="T5"/>
                </a:cxn>
                <a:cxn ang="0">
                  <a:pos x="T6" y="T7"/>
                </a:cxn>
                <a:cxn ang="0">
                  <a:pos x="T8" y="T9"/>
                </a:cxn>
              </a:cxnLst>
              <a:rect l="0" t="0" r="r" b="b"/>
              <a:pathLst>
                <a:path w="36" h="86">
                  <a:moveTo>
                    <a:pt x="36" y="0"/>
                  </a:moveTo>
                  <a:lnTo>
                    <a:pt x="36" y="86"/>
                  </a:lnTo>
                  <a:lnTo>
                    <a:pt x="0" y="83"/>
                  </a:lnTo>
                  <a:lnTo>
                    <a:pt x="4" y="0"/>
                  </a:lnTo>
                  <a:lnTo>
                    <a:pt x="36" y="0"/>
                  </a:lnTo>
                  <a:close/>
                </a:path>
              </a:pathLst>
            </a:custGeom>
            <a:solidFill>
              <a:srgbClr val="A579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167" name="Freeform 144"/>
            <p:cNvSpPr>
              <a:spLocks/>
            </p:cNvSpPr>
            <p:nvPr/>
          </p:nvSpPr>
          <p:spPr bwMode="auto">
            <a:xfrm>
              <a:off x="1179393" y="5173500"/>
              <a:ext cx="167182" cy="375031"/>
            </a:xfrm>
            <a:custGeom>
              <a:avLst/>
              <a:gdLst>
                <a:gd name="T0" fmla="*/ 64 w 64"/>
                <a:gd name="T1" fmla="*/ 0 h 143"/>
                <a:gd name="T2" fmla="*/ 0 w 64"/>
                <a:gd name="T3" fmla="*/ 5 h 143"/>
                <a:gd name="T4" fmla="*/ 0 w 64"/>
                <a:gd name="T5" fmla="*/ 67 h 143"/>
                <a:gd name="T6" fmla="*/ 30 w 64"/>
                <a:gd name="T7" fmla="*/ 143 h 143"/>
                <a:gd name="T8" fmla="*/ 60 w 64"/>
                <a:gd name="T9" fmla="*/ 67 h 143"/>
                <a:gd name="T10" fmla="*/ 64 w 64"/>
                <a:gd name="T11" fmla="*/ 0 h 143"/>
              </a:gdLst>
              <a:ahLst/>
              <a:cxnLst>
                <a:cxn ang="0">
                  <a:pos x="T0" y="T1"/>
                </a:cxn>
                <a:cxn ang="0">
                  <a:pos x="T2" y="T3"/>
                </a:cxn>
                <a:cxn ang="0">
                  <a:pos x="T4" y="T5"/>
                </a:cxn>
                <a:cxn ang="0">
                  <a:pos x="T6" y="T7"/>
                </a:cxn>
                <a:cxn ang="0">
                  <a:pos x="T8" y="T9"/>
                </a:cxn>
                <a:cxn ang="0">
                  <a:pos x="T10" y="T11"/>
                </a:cxn>
              </a:cxnLst>
              <a:rect l="0" t="0" r="r" b="b"/>
              <a:pathLst>
                <a:path w="64" h="143">
                  <a:moveTo>
                    <a:pt x="64" y="0"/>
                  </a:moveTo>
                  <a:cubicBezTo>
                    <a:pt x="0" y="5"/>
                    <a:pt x="0" y="5"/>
                    <a:pt x="0" y="5"/>
                  </a:cubicBezTo>
                  <a:cubicBezTo>
                    <a:pt x="0" y="67"/>
                    <a:pt x="0" y="67"/>
                    <a:pt x="0" y="67"/>
                  </a:cubicBezTo>
                  <a:cubicBezTo>
                    <a:pt x="0" y="67"/>
                    <a:pt x="4" y="143"/>
                    <a:pt x="30" y="143"/>
                  </a:cubicBezTo>
                  <a:cubicBezTo>
                    <a:pt x="56" y="143"/>
                    <a:pt x="60" y="67"/>
                    <a:pt x="60" y="67"/>
                  </a:cubicBezTo>
                  <a:lnTo>
                    <a:pt x="64" y="0"/>
                  </a:ln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168" name="Freeform 145"/>
            <p:cNvSpPr>
              <a:spLocks/>
            </p:cNvSpPr>
            <p:nvPr/>
          </p:nvSpPr>
          <p:spPr bwMode="auto">
            <a:xfrm>
              <a:off x="1211021" y="5159946"/>
              <a:ext cx="144591" cy="126517"/>
            </a:xfrm>
            <a:custGeom>
              <a:avLst/>
              <a:gdLst>
                <a:gd name="T0" fmla="*/ 2 w 55"/>
                <a:gd name="T1" fmla="*/ 0 h 48"/>
                <a:gd name="T2" fmla="*/ 51 w 55"/>
                <a:gd name="T3" fmla="*/ 46 h 48"/>
                <a:gd name="T4" fmla="*/ 55 w 55"/>
                <a:gd name="T5" fmla="*/ 6 h 48"/>
                <a:gd name="T6" fmla="*/ 2 w 55"/>
                <a:gd name="T7" fmla="*/ 0 h 48"/>
              </a:gdLst>
              <a:ahLst/>
              <a:cxnLst>
                <a:cxn ang="0">
                  <a:pos x="T0" y="T1"/>
                </a:cxn>
                <a:cxn ang="0">
                  <a:pos x="T2" y="T3"/>
                </a:cxn>
                <a:cxn ang="0">
                  <a:pos x="T4" y="T5"/>
                </a:cxn>
                <a:cxn ang="0">
                  <a:pos x="T6" y="T7"/>
                </a:cxn>
              </a:cxnLst>
              <a:rect l="0" t="0" r="r" b="b"/>
              <a:pathLst>
                <a:path w="55" h="48">
                  <a:moveTo>
                    <a:pt x="2" y="0"/>
                  </a:moveTo>
                  <a:cubicBezTo>
                    <a:pt x="0" y="32"/>
                    <a:pt x="13" y="48"/>
                    <a:pt x="51" y="46"/>
                  </a:cubicBezTo>
                  <a:cubicBezTo>
                    <a:pt x="55" y="6"/>
                    <a:pt x="55" y="6"/>
                    <a:pt x="55" y="6"/>
                  </a:cubicBezTo>
                  <a:lnTo>
                    <a:pt x="2" y="0"/>
                  </a:lnTo>
                  <a:close/>
                </a:path>
              </a:pathLst>
            </a:custGeom>
            <a:solidFill>
              <a:srgbClr val="AB84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169" name="Freeform 146"/>
            <p:cNvSpPr>
              <a:spLocks/>
            </p:cNvSpPr>
            <p:nvPr/>
          </p:nvSpPr>
          <p:spPr bwMode="auto">
            <a:xfrm>
              <a:off x="1197467" y="4970171"/>
              <a:ext cx="243997" cy="284662"/>
            </a:xfrm>
            <a:custGeom>
              <a:avLst/>
              <a:gdLst>
                <a:gd name="T0" fmla="*/ 76 w 92"/>
                <a:gd name="T1" fmla="*/ 35 h 108"/>
                <a:gd name="T2" fmla="*/ 80 w 92"/>
                <a:gd name="T3" fmla="*/ 22 h 108"/>
                <a:gd name="T4" fmla="*/ 54 w 92"/>
                <a:gd name="T5" fmla="*/ 4 h 108"/>
                <a:gd name="T6" fmla="*/ 50 w 92"/>
                <a:gd name="T7" fmla="*/ 0 h 108"/>
                <a:gd name="T8" fmla="*/ 50 w 92"/>
                <a:gd name="T9" fmla="*/ 0 h 108"/>
                <a:gd name="T10" fmla="*/ 24 w 92"/>
                <a:gd name="T11" fmla="*/ 9 h 108"/>
                <a:gd name="T12" fmla="*/ 22 w 92"/>
                <a:gd name="T13" fmla="*/ 32 h 108"/>
                <a:gd name="T14" fmla="*/ 27 w 92"/>
                <a:gd name="T15" fmla="*/ 41 h 108"/>
                <a:gd name="T16" fmla="*/ 20 w 92"/>
                <a:gd name="T17" fmla="*/ 44 h 108"/>
                <a:gd name="T18" fmla="*/ 4 w 92"/>
                <a:gd name="T19" fmla="*/ 42 h 108"/>
                <a:gd name="T20" fmla="*/ 11 w 92"/>
                <a:gd name="T21" fmla="*/ 68 h 108"/>
                <a:gd name="T22" fmla="*/ 15 w 92"/>
                <a:gd name="T23" fmla="*/ 73 h 108"/>
                <a:gd name="T24" fmla="*/ 14 w 92"/>
                <a:gd name="T25" fmla="*/ 104 h 108"/>
                <a:gd name="T26" fmla="*/ 14 w 92"/>
                <a:gd name="T27" fmla="*/ 104 h 108"/>
                <a:gd name="T28" fmla="*/ 14 w 92"/>
                <a:gd name="T29" fmla="*/ 104 h 108"/>
                <a:gd name="T30" fmla="*/ 14 w 92"/>
                <a:gd name="T31" fmla="*/ 104 h 108"/>
                <a:gd name="T32" fmla="*/ 14 w 92"/>
                <a:gd name="T33" fmla="*/ 103 h 108"/>
                <a:gd name="T34" fmla="*/ 79 w 92"/>
                <a:gd name="T35" fmla="*/ 88 h 108"/>
                <a:gd name="T36" fmla="*/ 90 w 92"/>
                <a:gd name="T37" fmla="*/ 76 h 108"/>
                <a:gd name="T38" fmla="*/ 76 w 92"/>
                <a:gd name="T39" fmla="*/ 35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2" h="108">
                  <a:moveTo>
                    <a:pt x="76" y="35"/>
                  </a:moveTo>
                  <a:cubicBezTo>
                    <a:pt x="90" y="26"/>
                    <a:pt x="82" y="23"/>
                    <a:pt x="80" y="22"/>
                  </a:cubicBezTo>
                  <a:cubicBezTo>
                    <a:pt x="78" y="20"/>
                    <a:pt x="56" y="8"/>
                    <a:pt x="54" y="4"/>
                  </a:cubicBezTo>
                  <a:cubicBezTo>
                    <a:pt x="52" y="2"/>
                    <a:pt x="51" y="1"/>
                    <a:pt x="50" y="0"/>
                  </a:cubicBezTo>
                  <a:cubicBezTo>
                    <a:pt x="50" y="0"/>
                    <a:pt x="50" y="0"/>
                    <a:pt x="50" y="0"/>
                  </a:cubicBezTo>
                  <a:cubicBezTo>
                    <a:pt x="41" y="8"/>
                    <a:pt x="32" y="10"/>
                    <a:pt x="24" y="9"/>
                  </a:cubicBezTo>
                  <a:cubicBezTo>
                    <a:pt x="21" y="18"/>
                    <a:pt x="21" y="26"/>
                    <a:pt x="22" y="32"/>
                  </a:cubicBezTo>
                  <a:cubicBezTo>
                    <a:pt x="24" y="36"/>
                    <a:pt x="26" y="39"/>
                    <a:pt x="27" y="41"/>
                  </a:cubicBezTo>
                  <a:cubicBezTo>
                    <a:pt x="29" y="46"/>
                    <a:pt x="20" y="44"/>
                    <a:pt x="20" y="44"/>
                  </a:cubicBezTo>
                  <a:cubicBezTo>
                    <a:pt x="20" y="44"/>
                    <a:pt x="11" y="41"/>
                    <a:pt x="4" y="42"/>
                  </a:cubicBezTo>
                  <a:cubicBezTo>
                    <a:pt x="0" y="48"/>
                    <a:pt x="8" y="63"/>
                    <a:pt x="11" y="68"/>
                  </a:cubicBezTo>
                  <a:cubicBezTo>
                    <a:pt x="14" y="70"/>
                    <a:pt x="15" y="73"/>
                    <a:pt x="15" y="73"/>
                  </a:cubicBezTo>
                  <a:cubicBezTo>
                    <a:pt x="15" y="73"/>
                    <a:pt x="26" y="94"/>
                    <a:pt x="14" y="104"/>
                  </a:cubicBezTo>
                  <a:cubicBezTo>
                    <a:pt x="14" y="104"/>
                    <a:pt x="14" y="104"/>
                    <a:pt x="14" y="104"/>
                  </a:cubicBezTo>
                  <a:cubicBezTo>
                    <a:pt x="14" y="104"/>
                    <a:pt x="14" y="104"/>
                    <a:pt x="14" y="104"/>
                  </a:cubicBezTo>
                  <a:cubicBezTo>
                    <a:pt x="14" y="104"/>
                    <a:pt x="14" y="104"/>
                    <a:pt x="14" y="104"/>
                  </a:cubicBezTo>
                  <a:cubicBezTo>
                    <a:pt x="14" y="103"/>
                    <a:pt x="14" y="103"/>
                    <a:pt x="14" y="103"/>
                  </a:cubicBezTo>
                  <a:cubicBezTo>
                    <a:pt x="40" y="108"/>
                    <a:pt x="66" y="93"/>
                    <a:pt x="79" y="88"/>
                  </a:cubicBezTo>
                  <a:cubicBezTo>
                    <a:pt x="92" y="82"/>
                    <a:pt x="90" y="76"/>
                    <a:pt x="90" y="76"/>
                  </a:cubicBezTo>
                  <a:cubicBezTo>
                    <a:pt x="86" y="68"/>
                    <a:pt x="74" y="41"/>
                    <a:pt x="76" y="35"/>
                  </a:cubicBez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170" name="Freeform 147"/>
            <p:cNvSpPr>
              <a:spLocks/>
            </p:cNvSpPr>
            <p:nvPr/>
          </p:nvSpPr>
          <p:spPr bwMode="auto">
            <a:xfrm>
              <a:off x="1215541" y="4979208"/>
              <a:ext cx="45185" cy="76812"/>
            </a:xfrm>
            <a:custGeom>
              <a:avLst/>
              <a:gdLst>
                <a:gd name="T0" fmla="*/ 0 w 18"/>
                <a:gd name="T1" fmla="*/ 0 h 28"/>
                <a:gd name="T2" fmla="*/ 8 w 18"/>
                <a:gd name="T3" fmla="*/ 14 h 28"/>
                <a:gd name="T4" fmla="*/ 8 w 18"/>
                <a:gd name="T5" fmla="*/ 15 h 28"/>
                <a:gd name="T6" fmla="*/ 16 w 18"/>
                <a:gd name="T7" fmla="*/ 28 h 28"/>
                <a:gd name="T8" fmla="*/ 18 w 18"/>
                <a:gd name="T9" fmla="*/ 5 h 28"/>
                <a:gd name="T10" fmla="*/ 0 w 18"/>
                <a:gd name="T11" fmla="*/ 1 h 28"/>
                <a:gd name="T12" fmla="*/ 0 w 18"/>
                <a:gd name="T13" fmla="*/ 0 h 28"/>
              </a:gdLst>
              <a:ahLst/>
              <a:cxnLst>
                <a:cxn ang="0">
                  <a:pos x="T0" y="T1"/>
                </a:cxn>
                <a:cxn ang="0">
                  <a:pos x="T2" y="T3"/>
                </a:cxn>
                <a:cxn ang="0">
                  <a:pos x="T4" y="T5"/>
                </a:cxn>
                <a:cxn ang="0">
                  <a:pos x="T6" y="T7"/>
                </a:cxn>
                <a:cxn ang="0">
                  <a:pos x="T8" y="T9"/>
                </a:cxn>
                <a:cxn ang="0">
                  <a:pos x="T10" y="T11"/>
                </a:cxn>
                <a:cxn ang="0">
                  <a:pos x="T12" y="T13"/>
                </a:cxn>
              </a:cxnLst>
              <a:rect l="0" t="0" r="r" b="b"/>
              <a:pathLst>
                <a:path w="18" h="28">
                  <a:moveTo>
                    <a:pt x="0" y="0"/>
                  </a:moveTo>
                  <a:cubicBezTo>
                    <a:pt x="8" y="14"/>
                    <a:pt x="8" y="14"/>
                    <a:pt x="8" y="14"/>
                  </a:cubicBezTo>
                  <a:cubicBezTo>
                    <a:pt x="8" y="15"/>
                    <a:pt x="8" y="15"/>
                    <a:pt x="8" y="15"/>
                  </a:cubicBezTo>
                  <a:cubicBezTo>
                    <a:pt x="10" y="17"/>
                    <a:pt x="13" y="23"/>
                    <a:pt x="16" y="28"/>
                  </a:cubicBezTo>
                  <a:cubicBezTo>
                    <a:pt x="15" y="22"/>
                    <a:pt x="15" y="14"/>
                    <a:pt x="18" y="5"/>
                  </a:cubicBezTo>
                  <a:cubicBezTo>
                    <a:pt x="8" y="5"/>
                    <a:pt x="1" y="1"/>
                    <a:pt x="0" y="1"/>
                  </a:cubicBezTo>
                  <a:cubicBezTo>
                    <a:pt x="0" y="0"/>
                    <a:pt x="0" y="0"/>
                    <a:pt x="0" y="0"/>
                  </a:cubicBezTo>
                  <a:close/>
                </a:path>
              </a:pathLst>
            </a:custGeom>
            <a:solidFill>
              <a:srgbClr val="AB84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171" name="Freeform 148"/>
            <p:cNvSpPr>
              <a:spLocks/>
            </p:cNvSpPr>
            <p:nvPr/>
          </p:nvSpPr>
          <p:spPr bwMode="auto">
            <a:xfrm>
              <a:off x="1188430" y="5078614"/>
              <a:ext cx="40665" cy="67775"/>
            </a:xfrm>
            <a:custGeom>
              <a:avLst/>
              <a:gdLst>
                <a:gd name="T0" fmla="*/ 7 w 14"/>
                <a:gd name="T1" fmla="*/ 0 h 26"/>
                <a:gd name="T2" fmla="*/ 0 w 14"/>
                <a:gd name="T3" fmla="*/ 5 h 26"/>
                <a:gd name="T4" fmla="*/ 7 w 14"/>
                <a:gd name="T5" fmla="*/ 19 h 26"/>
                <a:gd name="T6" fmla="*/ 14 w 14"/>
                <a:gd name="T7" fmla="*/ 26 h 26"/>
                <a:gd name="T8" fmla="*/ 7 w 14"/>
                <a:gd name="T9" fmla="*/ 0 h 26"/>
              </a:gdLst>
              <a:ahLst/>
              <a:cxnLst>
                <a:cxn ang="0">
                  <a:pos x="T0" y="T1"/>
                </a:cxn>
                <a:cxn ang="0">
                  <a:pos x="T2" y="T3"/>
                </a:cxn>
                <a:cxn ang="0">
                  <a:pos x="T4" y="T5"/>
                </a:cxn>
                <a:cxn ang="0">
                  <a:pos x="T6" y="T7"/>
                </a:cxn>
                <a:cxn ang="0">
                  <a:pos x="T8" y="T9"/>
                </a:cxn>
              </a:cxnLst>
              <a:rect l="0" t="0" r="r" b="b"/>
              <a:pathLst>
                <a:path w="14" h="26">
                  <a:moveTo>
                    <a:pt x="7" y="0"/>
                  </a:moveTo>
                  <a:cubicBezTo>
                    <a:pt x="3" y="0"/>
                    <a:pt x="0" y="1"/>
                    <a:pt x="0" y="5"/>
                  </a:cubicBezTo>
                  <a:cubicBezTo>
                    <a:pt x="0" y="9"/>
                    <a:pt x="3" y="15"/>
                    <a:pt x="7" y="19"/>
                  </a:cubicBezTo>
                  <a:cubicBezTo>
                    <a:pt x="10" y="22"/>
                    <a:pt x="12" y="24"/>
                    <a:pt x="14" y="26"/>
                  </a:cubicBezTo>
                  <a:cubicBezTo>
                    <a:pt x="11" y="21"/>
                    <a:pt x="3" y="6"/>
                    <a:pt x="7" y="0"/>
                  </a:cubicBezTo>
                  <a:close/>
                </a:path>
              </a:pathLst>
            </a:custGeom>
            <a:solidFill>
              <a:srgbClr val="AB84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172" name="Freeform 149"/>
            <p:cNvSpPr>
              <a:spLocks/>
            </p:cNvSpPr>
            <p:nvPr/>
          </p:nvSpPr>
          <p:spPr bwMode="auto">
            <a:xfrm>
              <a:off x="890212" y="4848171"/>
              <a:ext cx="451846" cy="406662"/>
            </a:xfrm>
            <a:custGeom>
              <a:avLst/>
              <a:gdLst>
                <a:gd name="T0" fmla="*/ 131 w 170"/>
                <a:gd name="T1" fmla="*/ 120 h 156"/>
                <a:gd name="T2" fmla="*/ 130 w 170"/>
                <a:gd name="T3" fmla="*/ 151 h 156"/>
                <a:gd name="T4" fmla="*/ 130 w 170"/>
                <a:gd name="T5" fmla="*/ 151 h 156"/>
                <a:gd name="T6" fmla="*/ 129 w 170"/>
                <a:gd name="T7" fmla="*/ 151 h 156"/>
                <a:gd name="T8" fmla="*/ 74 w 170"/>
                <a:gd name="T9" fmla="*/ 143 h 156"/>
                <a:gd name="T10" fmla="*/ 67 w 170"/>
                <a:gd name="T11" fmla="*/ 147 h 156"/>
                <a:gd name="T12" fmla="*/ 10 w 170"/>
                <a:gd name="T13" fmla="*/ 126 h 156"/>
                <a:gd name="T14" fmla="*/ 31 w 170"/>
                <a:gd name="T15" fmla="*/ 69 h 156"/>
                <a:gd name="T16" fmla="*/ 39 w 170"/>
                <a:gd name="T17" fmla="*/ 66 h 156"/>
                <a:gd name="T18" fmla="*/ 49 w 170"/>
                <a:gd name="T19" fmla="*/ 40 h 156"/>
                <a:gd name="T20" fmla="*/ 72 w 170"/>
                <a:gd name="T21" fmla="*/ 18 h 156"/>
                <a:gd name="T22" fmla="*/ 123 w 170"/>
                <a:gd name="T23" fmla="*/ 7 h 156"/>
                <a:gd name="T24" fmla="*/ 164 w 170"/>
                <a:gd name="T25" fmla="*/ 18 h 156"/>
                <a:gd name="T26" fmla="*/ 166 w 170"/>
                <a:gd name="T27" fmla="*/ 47 h 156"/>
                <a:gd name="T28" fmla="*/ 166 w 170"/>
                <a:gd name="T29" fmla="*/ 47 h 156"/>
                <a:gd name="T30" fmla="*/ 140 w 170"/>
                <a:gd name="T31" fmla="*/ 56 h 156"/>
                <a:gd name="T32" fmla="*/ 122 w 170"/>
                <a:gd name="T33" fmla="*/ 52 h 156"/>
                <a:gd name="T34" fmla="*/ 122 w 170"/>
                <a:gd name="T35" fmla="*/ 51 h 156"/>
                <a:gd name="T36" fmla="*/ 143 w 170"/>
                <a:gd name="T37" fmla="*/ 88 h 156"/>
                <a:gd name="T38" fmla="*/ 136 w 170"/>
                <a:gd name="T39" fmla="*/ 91 h 156"/>
                <a:gd name="T40" fmla="*/ 120 w 170"/>
                <a:gd name="T41" fmla="*/ 89 h 156"/>
                <a:gd name="T42" fmla="*/ 113 w 170"/>
                <a:gd name="T43" fmla="*/ 94 h 156"/>
                <a:gd name="T44" fmla="*/ 120 w 170"/>
                <a:gd name="T45" fmla="*/ 108 h 156"/>
                <a:gd name="T46" fmla="*/ 127 w 170"/>
                <a:gd name="T47" fmla="*/ 115 h 156"/>
                <a:gd name="T48" fmla="*/ 131 w 170"/>
                <a:gd name="T49" fmla="*/ 120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70" h="156">
                  <a:moveTo>
                    <a:pt x="131" y="120"/>
                  </a:moveTo>
                  <a:cubicBezTo>
                    <a:pt x="131" y="120"/>
                    <a:pt x="142" y="141"/>
                    <a:pt x="130" y="151"/>
                  </a:cubicBezTo>
                  <a:cubicBezTo>
                    <a:pt x="130" y="151"/>
                    <a:pt x="130" y="151"/>
                    <a:pt x="130" y="151"/>
                  </a:cubicBezTo>
                  <a:cubicBezTo>
                    <a:pt x="130" y="151"/>
                    <a:pt x="130" y="151"/>
                    <a:pt x="129" y="151"/>
                  </a:cubicBezTo>
                  <a:cubicBezTo>
                    <a:pt x="110" y="156"/>
                    <a:pt x="90" y="153"/>
                    <a:pt x="74" y="143"/>
                  </a:cubicBezTo>
                  <a:cubicBezTo>
                    <a:pt x="72" y="144"/>
                    <a:pt x="70" y="145"/>
                    <a:pt x="67" y="147"/>
                  </a:cubicBezTo>
                  <a:cubicBezTo>
                    <a:pt x="46" y="156"/>
                    <a:pt x="20" y="147"/>
                    <a:pt x="10" y="126"/>
                  </a:cubicBezTo>
                  <a:cubicBezTo>
                    <a:pt x="0" y="104"/>
                    <a:pt x="10" y="79"/>
                    <a:pt x="31" y="69"/>
                  </a:cubicBezTo>
                  <a:cubicBezTo>
                    <a:pt x="34" y="68"/>
                    <a:pt x="36" y="67"/>
                    <a:pt x="39" y="66"/>
                  </a:cubicBezTo>
                  <a:cubicBezTo>
                    <a:pt x="40" y="58"/>
                    <a:pt x="44" y="50"/>
                    <a:pt x="49" y="40"/>
                  </a:cubicBezTo>
                  <a:cubicBezTo>
                    <a:pt x="55" y="32"/>
                    <a:pt x="62" y="24"/>
                    <a:pt x="72" y="18"/>
                  </a:cubicBezTo>
                  <a:cubicBezTo>
                    <a:pt x="88" y="7"/>
                    <a:pt x="106" y="4"/>
                    <a:pt x="123" y="7"/>
                  </a:cubicBezTo>
                  <a:cubicBezTo>
                    <a:pt x="137" y="0"/>
                    <a:pt x="155" y="4"/>
                    <a:pt x="164" y="18"/>
                  </a:cubicBezTo>
                  <a:cubicBezTo>
                    <a:pt x="169" y="27"/>
                    <a:pt x="170" y="38"/>
                    <a:pt x="166" y="47"/>
                  </a:cubicBezTo>
                  <a:cubicBezTo>
                    <a:pt x="166" y="47"/>
                    <a:pt x="166" y="47"/>
                    <a:pt x="166" y="47"/>
                  </a:cubicBezTo>
                  <a:cubicBezTo>
                    <a:pt x="157" y="55"/>
                    <a:pt x="148" y="57"/>
                    <a:pt x="140" y="56"/>
                  </a:cubicBezTo>
                  <a:cubicBezTo>
                    <a:pt x="130" y="56"/>
                    <a:pt x="123" y="52"/>
                    <a:pt x="122" y="52"/>
                  </a:cubicBezTo>
                  <a:cubicBezTo>
                    <a:pt x="122" y="51"/>
                    <a:pt x="122" y="51"/>
                    <a:pt x="122" y="51"/>
                  </a:cubicBezTo>
                  <a:cubicBezTo>
                    <a:pt x="143" y="88"/>
                    <a:pt x="143" y="88"/>
                    <a:pt x="143" y="88"/>
                  </a:cubicBezTo>
                  <a:cubicBezTo>
                    <a:pt x="145" y="93"/>
                    <a:pt x="136" y="91"/>
                    <a:pt x="136" y="91"/>
                  </a:cubicBezTo>
                  <a:cubicBezTo>
                    <a:pt x="136" y="91"/>
                    <a:pt x="127" y="88"/>
                    <a:pt x="120" y="89"/>
                  </a:cubicBezTo>
                  <a:cubicBezTo>
                    <a:pt x="116" y="89"/>
                    <a:pt x="113" y="90"/>
                    <a:pt x="113" y="94"/>
                  </a:cubicBezTo>
                  <a:cubicBezTo>
                    <a:pt x="113" y="98"/>
                    <a:pt x="116" y="104"/>
                    <a:pt x="120" y="108"/>
                  </a:cubicBezTo>
                  <a:cubicBezTo>
                    <a:pt x="123" y="111"/>
                    <a:pt x="125" y="113"/>
                    <a:pt x="127" y="115"/>
                  </a:cubicBezTo>
                  <a:cubicBezTo>
                    <a:pt x="130" y="117"/>
                    <a:pt x="131" y="120"/>
                    <a:pt x="131" y="120"/>
                  </a:cubicBezTo>
                  <a:close/>
                </a:path>
              </a:pathLst>
            </a:custGeom>
            <a:solidFill>
              <a:srgbClr val="A8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173" name="Freeform 150"/>
            <p:cNvSpPr>
              <a:spLocks/>
            </p:cNvSpPr>
            <p:nvPr/>
          </p:nvSpPr>
          <p:spPr bwMode="auto">
            <a:xfrm>
              <a:off x="1296873" y="5015355"/>
              <a:ext cx="27111" cy="27111"/>
            </a:xfrm>
            <a:custGeom>
              <a:avLst/>
              <a:gdLst>
                <a:gd name="T0" fmla="*/ 6 w 10"/>
                <a:gd name="T1" fmla="*/ 7 h 10"/>
                <a:gd name="T2" fmla="*/ 10 w 10"/>
                <a:gd name="T3" fmla="*/ 7 h 10"/>
                <a:gd name="T4" fmla="*/ 10 w 10"/>
                <a:gd name="T5" fmla="*/ 4 h 10"/>
                <a:gd name="T6" fmla="*/ 4 w 10"/>
                <a:gd name="T7" fmla="*/ 1 h 10"/>
                <a:gd name="T8" fmla="*/ 1 w 10"/>
                <a:gd name="T9" fmla="*/ 7 h 10"/>
                <a:gd name="T10" fmla="*/ 3 w 10"/>
                <a:gd name="T11" fmla="*/ 10 h 10"/>
                <a:gd name="T12" fmla="*/ 6 w 10"/>
                <a:gd name="T13" fmla="*/ 7 h 10"/>
              </a:gdLst>
              <a:ahLst/>
              <a:cxnLst>
                <a:cxn ang="0">
                  <a:pos x="T0" y="T1"/>
                </a:cxn>
                <a:cxn ang="0">
                  <a:pos x="T2" y="T3"/>
                </a:cxn>
                <a:cxn ang="0">
                  <a:pos x="T4" y="T5"/>
                </a:cxn>
                <a:cxn ang="0">
                  <a:pos x="T6" y="T7"/>
                </a:cxn>
                <a:cxn ang="0">
                  <a:pos x="T8" y="T9"/>
                </a:cxn>
                <a:cxn ang="0">
                  <a:pos x="T10" y="T11"/>
                </a:cxn>
                <a:cxn ang="0">
                  <a:pos x="T12" y="T13"/>
                </a:cxn>
              </a:cxnLst>
              <a:rect l="0" t="0" r="r" b="b"/>
              <a:pathLst>
                <a:path w="10" h="10">
                  <a:moveTo>
                    <a:pt x="6" y="7"/>
                  </a:moveTo>
                  <a:cubicBezTo>
                    <a:pt x="7" y="6"/>
                    <a:pt x="9" y="7"/>
                    <a:pt x="10" y="7"/>
                  </a:cubicBezTo>
                  <a:cubicBezTo>
                    <a:pt x="10" y="6"/>
                    <a:pt x="10" y="5"/>
                    <a:pt x="10" y="4"/>
                  </a:cubicBezTo>
                  <a:cubicBezTo>
                    <a:pt x="9" y="2"/>
                    <a:pt x="6" y="0"/>
                    <a:pt x="4" y="1"/>
                  </a:cubicBezTo>
                  <a:cubicBezTo>
                    <a:pt x="1" y="2"/>
                    <a:pt x="0" y="5"/>
                    <a:pt x="1" y="7"/>
                  </a:cubicBezTo>
                  <a:cubicBezTo>
                    <a:pt x="1" y="8"/>
                    <a:pt x="2" y="9"/>
                    <a:pt x="3" y="10"/>
                  </a:cubicBezTo>
                  <a:cubicBezTo>
                    <a:pt x="3" y="8"/>
                    <a:pt x="5" y="7"/>
                    <a:pt x="6" y="7"/>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174" name="Freeform 151"/>
            <p:cNvSpPr>
              <a:spLocks/>
            </p:cNvSpPr>
            <p:nvPr/>
          </p:nvSpPr>
          <p:spPr bwMode="auto">
            <a:xfrm>
              <a:off x="1260725" y="5345202"/>
              <a:ext cx="103923" cy="709397"/>
            </a:xfrm>
            <a:custGeom>
              <a:avLst/>
              <a:gdLst>
                <a:gd name="T0" fmla="*/ 0 w 23"/>
                <a:gd name="T1" fmla="*/ 30 h 157"/>
                <a:gd name="T2" fmla="*/ 0 w 23"/>
                <a:gd name="T3" fmla="*/ 157 h 157"/>
                <a:gd name="T4" fmla="*/ 15 w 23"/>
                <a:gd name="T5" fmla="*/ 67 h 157"/>
                <a:gd name="T6" fmla="*/ 23 w 23"/>
                <a:gd name="T7" fmla="*/ 27 h 157"/>
                <a:gd name="T8" fmla="*/ 11 w 23"/>
                <a:gd name="T9" fmla="*/ 0 h 157"/>
                <a:gd name="T10" fmla="*/ 10 w 23"/>
                <a:gd name="T11" fmla="*/ 9 h 157"/>
                <a:gd name="T12" fmla="*/ 0 w 23"/>
                <a:gd name="T13" fmla="*/ 30 h 157"/>
              </a:gdLst>
              <a:ahLst/>
              <a:cxnLst>
                <a:cxn ang="0">
                  <a:pos x="T0" y="T1"/>
                </a:cxn>
                <a:cxn ang="0">
                  <a:pos x="T2" y="T3"/>
                </a:cxn>
                <a:cxn ang="0">
                  <a:pos x="T4" y="T5"/>
                </a:cxn>
                <a:cxn ang="0">
                  <a:pos x="T6" y="T7"/>
                </a:cxn>
                <a:cxn ang="0">
                  <a:pos x="T8" y="T9"/>
                </a:cxn>
                <a:cxn ang="0">
                  <a:pos x="T10" y="T11"/>
                </a:cxn>
                <a:cxn ang="0">
                  <a:pos x="T12" y="T13"/>
                </a:cxn>
              </a:cxnLst>
              <a:rect l="0" t="0" r="r" b="b"/>
              <a:pathLst>
                <a:path w="23" h="157">
                  <a:moveTo>
                    <a:pt x="0" y="30"/>
                  </a:moveTo>
                  <a:lnTo>
                    <a:pt x="0" y="157"/>
                  </a:lnTo>
                  <a:lnTo>
                    <a:pt x="15" y="67"/>
                  </a:lnTo>
                  <a:lnTo>
                    <a:pt x="23" y="27"/>
                  </a:lnTo>
                  <a:lnTo>
                    <a:pt x="11" y="0"/>
                  </a:lnTo>
                  <a:lnTo>
                    <a:pt x="10" y="9"/>
                  </a:lnTo>
                  <a:lnTo>
                    <a:pt x="0" y="3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175" name="Freeform 152"/>
            <p:cNvSpPr>
              <a:spLocks/>
            </p:cNvSpPr>
            <p:nvPr/>
          </p:nvSpPr>
          <p:spPr bwMode="auto">
            <a:xfrm>
              <a:off x="1147763" y="5349721"/>
              <a:ext cx="112960" cy="704880"/>
            </a:xfrm>
            <a:custGeom>
              <a:avLst/>
              <a:gdLst>
                <a:gd name="T0" fmla="*/ 25 w 25"/>
                <a:gd name="T1" fmla="*/ 29 h 156"/>
                <a:gd name="T2" fmla="*/ 25 w 25"/>
                <a:gd name="T3" fmla="*/ 156 h 156"/>
                <a:gd name="T4" fmla="*/ 11 w 25"/>
                <a:gd name="T5" fmla="*/ 70 h 156"/>
                <a:gd name="T6" fmla="*/ 0 w 25"/>
                <a:gd name="T7" fmla="*/ 29 h 156"/>
                <a:gd name="T8" fmla="*/ 16 w 25"/>
                <a:gd name="T9" fmla="*/ 0 h 156"/>
                <a:gd name="T10" fmla="*/ 15 w 25"/>
                <a:gd name="T11" fmla="*/ 7 h 156"/>
                <a:gd name="T12" fmla="*/ 25 w 25"/>
                <a:gd name="T13" fmla="*/ 29 h 156"/>
              </a:gdLst>
              <a:ahLst/>
              <a:cxnLst>
                <a:cxn ang="0">
                  <a:pos x="T0" y="T1"/>
                </a:cxn>
                <a:cxn ang="0">
                  <a:pos x="T2" y="T3"/>
                </a:cxn>
                <a:cxn ang="0">
                  <a:pos x="T4" y="T5"/>
                </a:cxn>
                <a:cxn ang="0">
                  <a:pos x="T6" y="T7"/>
                </a:cxn>
                <a:cxn ang="0">
                  <a:pos x="T8" y="T9"/>
                </a:cxn>
                <a:cxn ang="0">
                  <a:pos x="T10" y="T11"/>
                </a:cxn>
                <a:cxn ang="0">
                  <a:pos x="T12" y="T13"/>
                </a:cxn>
              </a:cxnLst>
              <a:rect l="0" t="0" r="r" b="b"/>
              <a:pathLst>
                <a:path w="25" h="156">
                  <a:moveTo>
                    <a:pt x="25" y="29"/>
                  </a:moveTo>
                  <a:lnTo>
                    <a:pt x="25" y="156"/>
                  </a:lnTo>
                  <a:lnTo>
                    <a:pt x="11" y="70"/>
                  </a:lnTo>
                  <a:lnTo>
                    <a:pt x="0" y="29"/>
                  </a:lnTo>
                  <a:lnTo>
                    <a:pt x="16" y="0"/>
                  </a:lnTo>
                  <a:lnTo>
                    <a:pt x="15" y="7"/>
                  </a:lnTo>
                  <a:lnTo>
                    <a:pt x="25" y="2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176" name="Freeform 153"/>
            <p:cNvSpPr>
              <a:spLocks/>
            </p:cNvSpPr>
            <p:nvPr/>
          </p:nvSpPr>
          <p:spPr bwMode="auto">
            <a:xfrm>
              <a:off x="1138726" y="5290980"/>
              <a:ext cx="81332" cy="212366"/>
            </a:xfrm>
            <a:custGeom>
              <a:avLst/>
              <a:gdLst>
                <a:gd name="T0" fmla="*/ 9 w 18"/>
                <a:gd name="T1" fmla="*/ 0 h 47"/>
                <a:gd name="T2" fmla="*/ 7 w 18"/>
                <a:gd name="T3" fmla="*/ 10 h 47"/>
                <a:gd name="T4" fmla="*/ 0 w 18"/>
                <a:gd name="T5" fmla="*/ 47 h 47"/>
                <a:gd name="T6" fmla="*/ 18 w 18"/>
                <a:gd name="T7" fmla="*/ 13 h 47"/>
                <a:gd name="T8" fmla="*/ 9 w 18"/>
                <a:gd name="T9" fmla="*/ 0 h 47"/>
              </a:gdLst>
              <a:ahLst/>
              <a:cxnLst>
                <a:cxn ang="0">
                  <a:pos x="T0" y="T1"/>
                </a:cxn>
                <a:cxn ang="0">
                  <a:pos x="T2" y="T3"/>
                </a:cxn>
                <a:cxn ang="0">
                  <a:pos x="T4" y="T5"/>
                </a:cxn>
                <a:cxn ang="0">
                  <a:pos x="T6" y="T7"/>
                </a:cxn>
                <a:cxn ang="0">
                  <a:pos x="T8" y="T9"/>
                </a:cxn>
              </a:cxnLst>
              <a:rect l="0" t="0" r="r" b="b"/>
              <a:pathLst>
                <a:path w="18" h="47">
                  <a:moveTo>
                    <a:pt x="9" y="0"/>
                  </a:moveTo>
                  <a:lnTo>
                    <a:pt x="7" y="10"/>
                  </a:lnTo>
                  <a:lnTo>
                    <a:pt x="0" y="47"/>
                  </a:lnTo>
                  <a:lnTo>
                    <a:pt x="18" y="13"/>
                  </a:lnTo>
                  <a:lnTo>
                    <a:pt x="9" y="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177" name="Freeform 154"/>
            <p:cNvSpPr>
              <a:spLocks/>
            </p:cNvSpPr>
            <p:nvPr/>
          </p:nvSpPr>
          <p:spPr bwMode="auto">
            <a:xfrm>
              <a:off x="1310427" y="5290980"/>
              <a:ext cx="58739" cy="189775"/>
            </a:xfrm>
            <a:custGeom>
              <a:avLst/>
              <a:gdLst>
                <a:gd name="T0" fmla="*/ 0 w 13"/>
                <a:gd name="T1" fmla="*/ 12 h 42"/>
                <a:gd name="T2" fmla="*/ 7 w 13"/>
                <a:gd name="T3" fmla="*/ 0 h 42"/>
                <a:gd name="T4" fmla="*/ 11 w 13"/>
                <a:gd name="T5" fmla="*/ 10 h 42"/>
                <a:gd name="T6" fmla="*/ 13 w 13"/>
                <a:gd name="T7" fmla="*/ 42 h 42"/>
                <a:gd name="T8" fmla="*/ 0 w 13"/>
                <a:gd name="T9" fmla="*/ 12 h 42"/>
              </a:gdLst>
              <a:ahLst/>
              <a:cxnLst>
                <a:cxn ang="0">
                  <a:pos x="T0" y="T1"/>
                </a:cxn>
                <a:cxn ang="0">
                  <a:pos x="T2" y="T3"/>
                </a:cxn>
                <a:cxn ang="0">
                  <a:pos x="T4" y="T5"/>
                </a:cxn>
                <a:cxn ang="0">
                  <a:pos x="T6" y="T7"/>
                </a:cxn>
                <a:cxn ang="0">
                  <a:pos x="T8" y="T9"/>
                </a:cxn>
              </a:cxnLst>
              <a:rect l="0" t="0" r="r" b="b"/>
              <a:pathLst>
                <a:path w="13" h="42">
                  <a:moveTo>
                    <a:pt x="0" y="12"/>
                  </a:moveTo>
                  <a:lnTo>
                    <a:pt x="7" y="0"/>
                  </a:lnTo>
                  <a:lnTo>
                    <a:pt x="11" y="10"/>
                  </a:lnTo>
                  <a:lnTo>
                    <a:pt x="13" y="42"/>
                  </a:lnTo>
                  <a:lnTo>
                    <a:pt x="0" y="1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178" name="Freeform 155"/>
            <p:cNvSpPr>
              <a:spLocks/>
            </p:cNvSpPr>
            <p:nvPr/>
          </p:nvSpPr>
          <p:spPr bwMode="auto">
            <a:xfrm>
              <a:off x="1364649" y="5114762"/>
              <a:ext cx="54222" cy="13554"/>
            </a:xfrm>
            <a:custGeom>
              <a:avLst/>
              <a:gdLst>
                <a:gd name="T0" fmla="*/ 0 w 20"/>
                <a:gd name="T1" fmla="*/ 6 h 6"/>
                <a:gd name="T2" fmla="*/ 9 w 20"/>
                <a:gd name="T3" fmla="*/ 4 h 6"/>
                <a:gd name="T4" fmla="*/ 15 w 20"/>
                <a:gd name="T5" fmla="*/ 1 h 6"/>
                <a:gd name="T6" fmla="*/ 18 w 20"/>
                <a:gd name="T7" fmla="*/ 0 h 6"/>
                <a:gd name="T8" fmla="*/ 20 w 20"/>
                <a:gd name="T9" fmla="*/ 0 h 6"/>
                <a:gd name="T10" fmla="*/ 19 w 20"/>
                <a:gd name="T11" fmla="*/ 2 h 6"/>
                <a:gd name="T12" fmla="*/ 19 w 20"/>
                <a:gd name="T13" fmla="*/ 2 h 6"/>
                <a:gd name="T14" fmla="*/ 19 w 20"/>
                <a:gd name="T15" fmla="*/ 2 h 6"/>
                <a:gd name="T16" fmla="*/ 16 w 20"/>
                <a:gd name="T17" fmla="*/ 3 h 6"/>
                <a:gd name="T18" fmla="*/ 10 w 20"/>
                <a:gd name="T19" fmla="*/ 5 h 6"/>
                <a:gd name="T20" fmla="*/ 0 w 20"/>
                <a:gd name="T21"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6">
                  <a:moveTo>
                    <a:pt x="0" y="6"/>
                  </a:moveTo>
                  <a:cubicBezTo>
                    <a:pt x="0" y="6"/>
                    <a:pt x="5" y="5"/>
                    <a:pt x="9" y="4"/>
                  </a:cubicBezTo>
                  <a:cubicBezTo>
                    <a:pt x="12" y="3"/>
                    <a:pt x="14" y="2"/>
                    <a:pt x="15" y="1"/>
                  </a:cubicBezTo>
                  <a:cubicBezTo>
                    <a:pt x="17" y="1"/>
                    <a:pt x="18" y="0"/>
                    <a:pt x="18" y="0"/>
                  </a:cubicBezTo>
                  <a:cubicBezTo>
                    <a:pt x="19" y="0"/>
                    <a:pt x="19" y="0"/>
                    <a:pt x="20" y="0"/>
                  </a:cubicBezTo>
                  <a:cubicBezTo>
                    <a:pt x="20" y="1"/>
                    <a:pt x="20" y="2"/>
                    <a:pt x="19" y="2"/>
                  </a:cubicBezTo>
                  <a:cubicBezTo>
                    <a:pt x="19" y="2"/>
                    <a:pt x="19" y="2"/>
                    <a:pt x="19" y="2"/>
                  </a:cubicBezTo>
                  <a:cubicBezTo>
                    <a:pt x="19" y="2"/>
                    <a:pt x="19" y="2"/>
                    <a:pt x="19" y="2"/>
                  </a:cubicBezTo>
                  <a:cubicBezTo>
                    <a:pt x="19" y="2"/>
                    <a:pt x="18" y="3"/>
                    <a:pt x="16" y="3"/>
                  </a:cubicBezTo>
                  <a:cubicBezTo>
                    <a:pt x="14" y="4"/>
                    <a:pt x="12" y="4"/>
                    <a:pt x="10" y="5"/>
                  </a:cubicBezTo>
                  <a:cubicBezTo>
                    <a:pt x="5" y="6"/>
                    <a:pt x="0" y="6"/>
                    <a:pt x="0" y="6"/>
                  </a:cubicBezTo>
                  <a:close/>
                </a:path>
              </a:pathLst>
            </a:custGeom>
            <a:solidFill>
              <a:srgbClr val="8A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179" name="Freeform 156"/>
            <p:cNvSpPr>
              <a:spLocks/>
            </p:cNvSpPr>
            <p:nvPr/>
          </p:nvSpPr>
          <p:spPr bwMode="auto">
            <a:xfrm>
              <a:off x="1364649" y="5119279"/>
              <a:ext cx="54222" cy="9037"/>
            </a:xfrm>
            <a:custGeom>
              <a:avLst/>
              <a:gdLst>
                <a:gd name="T0" fmla="*/ 0 w 20"/>
                <a:gd name="T1" fmla="*/ 4 h 4"/>
                <a:gd name="T2" fmla="*/ 9 w 20"/>
                <a:gd name="T3" fmla="*/ 3 h 4"/>
                <a:gd name="T4" fmla="*/ 16 w 20"/>
                <a:gd name="T5" fmla="*/ 1 h 4"/>
                <a:gd name="T6" fmla="*/ 18 w 20"/>
                <a:gd name="T7" fmla="*/ 0 h 4"/>
                <a:gd name="T8" fmla="*/ 20 w 20"/>
                <a:gd name="T9" fmla="*/ 1 h 4"/>
                <a:gd name="T10" fmla="*/ 19 w 20"/>
                <a:gd name="T11" fmla="*/ 2 h 4"/>
                <a:gd name="T12" fmla="*/ 19 w 20"/>
                <a:gd name="T13" fmla="*/ 2 h 4"/>
                <a:gd name="T14" fmla="*/ 19 w 20"/>
                <a:gd name="T15" fmla="*/ 2 h 4"/>
                <a:gd name="T16" fmla="*/ 16 w 20"/>
                <a:gd name="T17" fmla="*/ 3 h 4"/>
                <a:gd name="T18" fmla="*/ 10 w 20"/>
                <a:gd name="T19" fmla="*/ 4 h 4"/>
                <a:gd name="T20" fmla="*/ 0 w 20"/>
                <a:gd name="T21"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4">
                  <a:moveTo>
                    <a:pt x="0" y="4"/>
                  </a:moveTo>
                  <a:cubicBezTo>
                    <a:pt x="0" y="4"/>
                    <a:pt x="5" y="3"/>
                    <a:pt x="9" y="3"/>
                  </a:cubicBezTo>
                  <a:cubicBezTo>
                    <a:pt x="12" y="2"/>
                    <a:pt x="14" y="1"/>
                    <a:pt x="16" y="1"/>
                  </a:cubicBezTo>
                  <a:cubicBezTo>
                    <a:pt x="17" y="0"/>
                    <a:pt x="18" y="0"/>
                    <a:pt x="18" y="0"/>
                  </a:cubicBezTo>
                  <a:cubicBezTo>
                    <a:pt x="19" y="0"/>
                    <a:pt x="20" y="0"/>
                    <a:pt x="20" y="1"/>
                  </a:cubicBezTo>
                  <a:cubicBezTo>
                    <a:pt x="20" y="1"/>
                    <a:pt x="20" y="2"/>
                    <a:pt x="19" y="2"/>
                  </a:cubicBezTo>
                  <a:cubicBezTo>
                    <a:pt x="19" y="2"/>
                    <a:pt x="19" y="2"/>
                    <a:pt x="19" y="2"/>
                  </a:cubicBezTo>
                  <a:cubicBezTo>
                    <a:pt x="19" y="2"/>
                    <a:pt x="19" y="2"/>
                    <a:pt x="19" y="2"/>
                  </a:cubicBezTo>
                  <a:cubicBezTo>
                    <a:pt x="19" y="2"/>
                    <a:pt x="18" y="2"/>
                    <a:pt x="16" y="3"/>
                  </a:cubicBezTo>
                  <a:cubicBezTo>
                    <a:pt x="14" y="3"/>
                    <a:pt x="12" y="3"/>
                    <a:pt x="10" y="4"/>
                  </a:cubicBezTo>
                  <a:cubicBezTo>
                    <a:pt x="5" y="4"/>
                    <a:pt x="0" y="4"/>
                    <a:pt x="0" y="4"/>
                  </a:cubicBezTo>
                  <a:close/>
                </a:path>
              </a:pathLst>
            </a:custGeom>
            <a:solidFill>
              <a:srgbClr val="8A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180" name="Oval 157"/>
            <p:cNvSpPr>
              <a:spLocks noChangeArrowheads="1"/>
            </p:cNvSpPr>
            <p:nvPr/>
          </p:nvSpPr>
          <p:spPr bwMode="auto">
            <a:xfrm>
              <a:off x="1328501" y="5693125"/>
              <a:ext cx="27111" cy="18074"/>
            </a:xfrm>
            <a:prstGeom prst="ellipse">
              <a:avLst/>
            </a:prstGeom>
            <a:solidFill>
              <a:srgbClr val="4014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181" name="Oval 158"/>
            <p:cNvSpPr>
              <a:spLocks noChangeArrowheads="1"/>
            </p:cNvSpPr>
            <p:nvPr/>
          </p:nvSpPr>
          <p:spPr bwMode="auto">
            <a:xfrm>
              <a:off x="1287836" y="5869343"/>
              <a:ext cx="22591" cy="22591"/>
            </a:xfrm>
            <a:prstGeom prst="ellipse">
              <a:avLst/>
            </a:prstGeom>
            <a:solidFill>
              <a:srgbClr val="4014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182" name="Oval 159"/>
            <p:cNvSpPr>
              <a:spLocks noChangeArrowheads="1"/>
            </p:cNvSpPr>
            <p:nvPr/>
          </p:nvSpPr>
          <p:spPr bwMode="auto">
            <a:xfrm>
              <a:off x="1247169" y="6050082"/>
              <a:ext cx="22591" cy="22591"/>
            </a:xfrm>
            <a:prstGeom prst="ellipse">
              <a:avLst/>
            </a:prstGeom>
            <a:solidFill>
              <a:srgbClr val="4014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183" name="Oval 160"/>
            <p:cNvSpPr>
              <a:spLocks noChangeArrowheads="1"/>
            </p:cNvSpPr>
            <p:nvPr/>
          </p:nvSpPr>
          <p:spPr bwMode="auto">
            <a:xfrm>
              <a:off x="1247169" y="6217266"/>
              <a:ext cx="27111" cy="27111"/>
            </a:xfrm>
            <a:prstGeom prst="ellipse">
              <a:avLst/>
            </a:prstGeom>
            <a:solidFill>
              <a:srgbClr val="4014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184" name="Freeform 161"/>
            <p:cNvSpPr>
              <a:spLocks/>
            </p:cNvSpPr>
            <p:nvPr/>
          </p:nvSpPr>
          <p:spPr bwMode="auto">
            <a:xfrm>
              <a:off x="1007692" y="6271488"/>
              <a:ext cx="506068" cy="90369"/>
            </a:xfrm>
            <a:custGeom>
              <a:avLst/>
              <a:gdLst>
                <a:gd name="T0" fmla="*/ 112 w 112"/>
                <a:gd name="T1" fmla="*/ 16 h 20"/>
                <a:gd name="T2" fmla="*/ 58 w 112"/>
                <a:gd name="T3" fmla="*/ 16 h 20"/>
                <a:gd name="T4" fmla="*/ 56 w 112"/>
                <a:gd name="T5" fmla="*/ 0 h 20"/>
                <a:gd name="T6" fmla="*/ 54 w 112"/>
                <a:gd name="T7" fmla="*/ 16 h 20"/>
                <a:gd name="T8" fmla="*/ 0 w 112"/>
                <a:gd name="T9" fmla="*/ 16 h 20"/>
                <a:gd name="T10" fmla="*/ 0 w 112"/>
                <a:gd name="T11" fmla="*/ 20 h 20"/>
                <a:gd name="T12" fmla="*/ 112 w 112"/>
                <a:gd name="T13" fmla="*/ 20 h 20"/>
                <a:gd name="T14" fmla="*/ 112 w 112"/>
                <a:gd name="T15" fmla="*/ 16 h 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2" h="20">
                  <a:moveTo>
                    <a:pt x="112" y="16"/>
                  </a:moveTo>
                  <a:lnTo>
                    <a:pt x="58" y="16"/>
                  </a:lnTo>
                  <a:lnTo>
                    <a:pt x="56" y="0"/>
                  </a:lnTo>
                  <a:lnTo>
                    <a:pt x="54" y="16"/>
                  </a:lnTo>
                  <a:lnTo>
                    <a:pt x="0" y="16"/>
                  </a:lnTo>
                  <a:lnTo>
                    <a:pt x="0" y="20"/>
                  </a:lnTo>
                  <a:lnTo>
                    <a:pt x="112" y="20"/>
                  </a:lnTo>
                  <a:lnTo>
                    <a:pt x="112" y="16"/>
                  </a:lnTo>
                  <a:close/>
                </a:path>
              </a:pathLst>
            </a:custGeom>
            <a:solidFill>
              <a:srgbClr val="4014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185" name="Rectangle 162"/>
            <p:cNvSpPr>
              <a:spLocks noChangeArrowheads="1"/>
            </p:cNvSpPr>
            <p:nvPr/>
          </p:nvSpPr>
          <p:spPr bwMode="auto">
            <a:xfrm>
              <a:off x="790805" y="6099786"/>
              <a:ext cx="397625" cy="307255"/>
            </a:xfrm>
            <a:prstGeom prst="rect">
              <a:avLst/>
            </a:prstGeom>
            <a:solidFill>
              <a:srgbClr val="E8112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186" name="Rectangle 163"/>
            <p:cNvSpPr>
              <a:spLocks noChangeArrowheads="1"/>
            </p:cNvSpPr>
            <p:nvPr/>
          </p:nvSpPr>
          <p:spPr bwMode="auto">
            <a:xfrm>
              <a:off x="813396" y="6122377"/>
              <a:ext cx="352440" cy="23947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187" name="Freeform 164"/>
            <p:cNvSpPr>
              <a:spLocks noEditPoints="1"/>
            </p:cNvSpPr>
            <p:nvPr/>
          </p:nvSpPr>
          <p:spPr bwMode="auto">
            <a:xfrm>
              <a:off x="790805" y="6099786"/>
              <a:ext cx="289182" cy="307255"/>
            </a:xfrm>
            <a:custGeom>
              <a:avLst/>
              <a:gdLst>
                <a:gd name="T0" fmla="*/ 24 w 64"/>
                <a:gd name="T1" fmla="*/ 0 h 68"/>
                <a:gd name="T2" fmla="*/ 0 w 64"/>
                <a:gd name="T3" fmla="*/ 0 h 68"/>
                <a:gd name="T4" fmla="*/ 0 w 64"/>
                <a:gd name="T5" fmla="*/ 68 h 68"/>
                <a:gd name="T6" fmla="*/ 64 w 64"/>
                <a:gd name="T7" fmla="*/ 68 h 68"/>
                <a:gd name="T8" fmla="*/ 58 w 64"/>
                <a:gd name="T9" fmla="*/ 58 h 68"/>
                <a:gd name="T10" fmla="*/ 5 w 64"/>
                <a:gd name="T11" fmla="*/ 58 h 68"/>
                <a:gd name="T12" fmla="*/ 5 w 64"/>
                <a:gd name="T13" fmla="*/ 5 h 68"/>
                <a:gd name="T14" fmla="*/ 27 w 64"/>
                <a:gd name="T15" fmla="*/ 5 h 68"/>
                <a:gd name="T16" fmla="*/ 24 w 64"/>
                <a:gd name="T17" fmla="*/ 0 h 68"/>
                <a:gd name="T18" fmla="*/ 45 w 64"/>
                <a:gd name="T19" fmla="*/ 65 h 68"/>
                <a:gd name="T20" fmla="*/ 45 w 64"/>
                <a:gd name="T21" fmla="*/ 59 h 68"/>
                <a:gd name="T22" fmla="*/ 52 w 64"/>
                <a:gd name="T23" fmla="*/ 59 h 68"/>
                <a:gd name="T24" fmla="*/ 52 w 64"/>
                <a:gd name="T25" fmla="*/ 65 h 68"/>
                <a:gd name="T26" fmla="*/ 45 w 64"/>
                <a:gd name="T27" fmla="*/ 6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4" h="68">
                  <a:moveTo>
                    <a:pt x="24" y="0"/>
                  </a:moveTo>
                  <a:lnTo>
                    <a:pt x="0" y="0"/>
                  </a:lnTo>
                  <a:lnTo>
                    <a:pt x="0" y="68"/>
                  </a:lnTo>
                  <a:lnTo>
                    <a:pt x="64" y="68"/>
                  </a:lnTo>
                  <a:lnTo>
                    <a:pt x="58" y="58"/>
                  </a:lnTo>
                  <a:lnTo>
                    <a:pt x="5" y="58"/>
                  </a:lnTo>
                  <a:lnTo>
                    <a:pt x="5" y="5"/>
                  </a:lnTo>
                  <a:lnTo>
                    <a:pt x="27" y="5"/>
                  </a:lnTo>
                  <a:lnTo>
                    <a:pt x="24" y="0"/>
                  </a:lnTo>
                  <a:close/>
                  <a:moveTo>
                    <a:pt x="45" y="65"/>
                  </a:moveTo>
                  <a:lnTo>
                    <a:pt x="45" y="59"/>
                  </a:lnTo>
                  <a:lnTo>
                    <a:pt x="52" y="59"/>
                  </a:lnTo>
                  <a:lnTo>
                    <a:pt x="52" y="65"/>
                  </a:lnTo>
                  <a:lnTo>
                    <a:pt x="45" y="65"/>
                  </a:ln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188" name="Freeform 165"/>
            <p:cNvSpPr>
              <a:spLocks/>
            </p:cNvSpPr>
            <p:nvPr/>
          </p:nvSpPr>
          <p:spPr bwMode="auto">
            <a:xfrm>
              <a:off x="813396" y="6122377"/>
              <a:ext cx="239477" cy="239477"/>
            </a:xfrm>
            <a:custGeom>
              <a:avLst/>
              <a:gdLst>
                <a:gd name="T0" fmla="*/ 22 w 53"/>
                <a:gd name="T1" fmla="*/ 0 h 53"/>
                <a:gd name="T2" fmla="*/ 0 w 53"/>
                <a:gd name="T3" fmla="*/ 0 h 53"/>
                <a:gd name="T4" fmla="*/ 0 w 53"/>
                <a:gd name="T5" fmla="*/ 53 h 53"/>
                <a:gd name="T6" fmla="*/ 53 w 53"/>
                <a:gd name="T7" fmla="*/ 53 h 53"/>
                <a:gd name="T8" fmla="*/ 22 w 53"/>
                <a:gd name="T9" fmla="*/ 0 h 53"/>
              </a:gdLst>
              <a:ahLst/>
              <a:cxnLst>
                <a:cxn ang="0">
                  <a:pos x="T0" y="T1"/>
                </a:cxn>
                <a:cxn ang="0">
                  <a:pos x="T2" y="T3"/>
                </a:cxn>
                <a:cxn ang="0">
                  <a:pos x="T4" y="T5"/>
                </a:cxn>
                <a:cxn ang="0">
                  <a:pos x="T6" y="T7"/>
                </a:cxn>
                <a:cxn ang="0">
                  <a:pos x="T8" y="T9"/>
                </a:cxn>
              </a:cxnLst>
              <a:rect l="0" t="0" r="r" b="b"/>
              <a:pathLst>
                <a:path w="53" h="53">
                  <a:moveTo>
                    <a:pt x="22" y="0"/>
                  </a:moveTo>
                  <a:lnTo>
                    <a:pt x="0" y="0"/>
                  </a:lnTo>
                  <a:lnTo>
                    <a:pt x="0" y="53"/>
                  </a:lnTo>
                  <a:lnTo>
                    <a:pt x="53" y="53"/>
                  </a:lnTo>
                  <a:lnTo>
                    <a:pt x="22" y="0"/>
                  </a:lnTo>
                  <a:close/>
                </a:path>
              </a:pathLst>
            </a:custGeom>
            <a:solidFill>
              <a:srgbClr val="E6E6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189" name="Freeform 166"/>
            <p:cNvSpPr>
              <a:spLocks/>
            </p:cNvSpPr>
            <p:nvPr/>
          </p:nvSpPr>
          <p:spPr bwMode="auto">
            <a:xfrm>
              <a:off x="863101" y="6104303"/>
              <a:ext cx="180738" cy="397625"/>
            </a:xfrm>
            <a:custGeom>
              <a:avLst/>
              <a:gdLst>
                <a:gd name="T0" fmla="*/ 5 w 68"/>
                <a:gd name="T1" fmla="*/ 63 h 151"/>
                <a:gd name="T2" fmla="*/ 20 w 68"/>
                <a:gd name="T3" fmla="*/ 124 h 151"/>
                <a:gd name="T4" fmla="*/ 32 w 68"/>
                <a:gd name="T5" fmla="*/ 131 h 151"/>
                <a:gd name="T6" fmla="*/ 46 w 68"/>
                <a:gd name="T7" fmla="*/ 140 h 151"/>
                <a:gd name="T8" fmla="*/ 57 w 68"/>
                <a:gd name="T9" fmla="*/ 146 h 151"/>
                <a:gd name="T10" fmla="*/ 55 w 68"/>
                <a:gd name="T11" fmla="*/ 133 h 151"/>
                <a:gd name="T12" fmla="*/ 58 w 68"/>
                <a:gd name="T13" fmla="*/ 119 h 151"/>
                <a:gd name="T14" fmla="*/ 53 w 68"/>
                <a:gd name="T15" fmla="*/ 104 h 151"/>
                <a:gd name="T16" fmla="*/ 68 w 68"/>
                <a:gd name="T17" fmla="*/ 105 h 151"/>
                <a:gd name="T18" fmla="*/ 47 w 68"/>
                <a:gd name="T19" fmla="*/ 70 h 151"/>
                <a:gd name="T20" fmla="*/ 41 w 68"/>
                <a:gd name="T21" fmla="*/ 64 h 151"/>
                <a:gd name="T22" fmla="*/ 30 w 68"/>
                <a:gd name="T23" fmla="*/ 0 h 151"/>
                <a:gd name="T24" fmla="*/ 0 w 68"/>
                <a:gd name="T25" fmla="*/ 22 h 151"/>
                <a:gd name="T26" fmla="*/ 5 w 68"/>
                <a:gd name="T27" fmla="*/ 63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151">
                  <a:moveTo>
                    <a:pt x="5" y="63"/>
                  </a:moveTo>
                  <a:cubicBezTo>
                    <a:pt x="5" y="92"/>
                    <a:pt x="9" y="102"/>
                    <a:pt x="20" y="124"/>
                  </a:cubicBezTo>
                  <a:cubicBezTo>
                    <a:pt x="26" y="137"/>
                    <a:pt x="32" y="139"/>
                    <a:pt x="32" y="131"/>
                  </a:cubicBezTo>
                  <a:cubicBezTo>
                    <a:pt x="35" y="146"/>
                    <a:pt x="48" y="151"/>
                    <a:pt x="46" y="140"/>
                  </a:cubicBezTo>
                  <a:cubicBezTo>
                    <a:pt x="48" y="144"/>
                    <a:pt x="53" y="149"/>
                    <a:pt x="57" y="146"/>
                  </a:cubicBezTo>
                  <a:cubicBezTo>
                    <a:pt x="61" y="144"/>
                    <a:pt x="57" y="136"/>
                    <a:pt x="55" y="133"/>
                  </a:cubicBezTo>
                  <a:cubicBezTo>
                    <a:pt x="59" y="133"/>
                    <a:pt x="63" y="129"/>
                    <a:pt x="58" y="119"/>
                  </a:cubicBezTo>
                  <a:cubicBezTo>
                    <a:pt x="53" y="111"/>
                    <a:pt x="53" y="104"/>
                    <a:pt x="53" y="104"/>
                  </a:cubicBezTo>
                  <a:cubicBezTo>
                    <a:pt x="61" y="111"/>
                    <a:pt x="66" y="110"/>
                    <a:pt x="68" y="105"/>
                  </a:cubicBezTo>
                  <a:cubicBezTo>
                    <a:pt x="61" y="97"/>
                    <a:pt x="55" y="81"/>
                    <a:pt x="47" y="70"/>
                  </a:cubicBezTo>
                  <a:cubicBezTo>
                    <a:pt x="45" y="67"/>
                    <a:pt x="43" y="65"/>
                    <a:pt x="41" y="64"/>
                  </a:cubicBezTo>
                  <a:cubicBezTo>
                    <a:pt x="30" y="0"/>
                    <a:pt x="30" y="0"/>
                    <a:pt x="30" y="0"/>
                  </a:cubicBezTo>
                  <a:cubicBezTo>
                    <a:pt x="0" y="22"/>
                    <a:pt x="0" y="22"/>
                    <a:pt x="0" y="22"/>
                  </a:cubicBezTo>
                  <a:lnTo>
                    <a:pt x="5" y="63"/>
                  </a:ln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190" name="Freeform 167"/>
            <p:cNvSpPr>
              <a:spLocks/>
            </p:cNvSpPr>
            <p:nvPr/>
          </p:nvSpPr>
          <p:spPr bwMode="auto">
            <a:xfrm>
              <a:off x="732064" y="5778974"/>
              <a:ext cx="185256" cy="180738"/>
            </a:xfrm>
            <a:custGeom>
              <a:avLst/>
              <a:gdLst>
                <a:gd name="T0" fmla="*/ 48 w 70"/>
                <a:gd name="T1" fmla="*/ 8 h 70"/>
                <a:gd name="T2" fmla="*/ 62 w 70"/>
                <a:gd name="T3" fmla="*/ 49 h 70"/>
                <a:gd name="T4" fmla="*/ 21 w 70"/>
                <a:gd name="T5" fmla="*/ 63 h 70"/>
                <a:gd name="T6" fmla="*/ 7 w 70"/>
                <a:gd name="T7" fmla="*/ 22 h 70"/>
                <a:gd name="T8" fmla="*/ 48 w 70"/>
                <a:gd name="T9" fmla="*/ 8 h 70"/>
              </a:gdLst>
              <a:ahLst/>
              <a:cxnLst>
                <a:cxn ang="0">
                  <a:pos x="T0" y="T1"/>
                </a:cxn>
                <a:cxn ang="0">
                  <a:pos x="T2" y="T3"/>
                </a:cxn>
                <a:cxn ang="0">
                  <a:pos x="T4" y="T5"/>
                </a:cxn>
                <a:cxn ang="0">
                  <a:pos x="T6" y="T7"/>
                </a:cxn>
                <a:cxn ang="0">
                  <a:pos x="T8" y="T9"/>
                </a:cxn>
              </a:cxnLst>
              <a:rect l="0" t="0" r="r" b="b"/>
              <a:pathLst>
                <a:path w="70" h="70">
                  <a:moveTo>
                    <a:pt x="48" y="8"/>
                  </a:moveTo>
                  <a:cubicBezTo>
                    <a:pt x="63" y="15"/>
                    <a:pt x="70" y="34"/>
                    <a:pt x="62" y="49"/>
                  </a:cubicBezTo>
                  <a:cubicBezTo>
                    <a:pt x="55" y="64"/>
                    <a:pt x="36" y="70"/>
                    <a:pt x="21" y="63"/>
                  </a:cubicBezTo>
                  <a:cubicBezTo>
                    <a:pt x="6" y="55"/>
                    <a:pt x="0" y="37"/>
                    <a:pt x="7" y="22"/>
                  </a:cubicBezTo>
                  <a:cubicBezTo>
                    <a:pt x="15" y="7"/>
                    <a:pt x="33" y="0"/>
                    <a:pt x="48" y="8"/>
                  </a:cubicBezTo>
                  <a:close/>
                </a:path>
              </a:pathLst>
            </a:custGeom>
            <a:solidFill>
              <a:srgbClr val="5C2D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191" name="Freeform 168"/>
            <p:cNvSpPr>
              <a:spLocks/>
            </p:cNvSpPr>
            <p:nvPr/>
          </p:nvSpPr>
          <p:spPr bwMode="auto">
            <a:xfrm>
              <a:off x="903766" y="5331648"/>
              <a:ext cx="257551" cy="253034"/>
            </a:xfrm>
            <a:custGeom>
              <a:avLst/>
              <a:gdLst>
                <a:gd name="T0" fmla="*/ 86 w 97"/>
                <a:gd name="T1" fmla="*/ 68 h 97"/>
                <a:gd name="T2" fmla="*/ 29 w 97"/>
                <a:gd name="T3" fmla="*/ 86 h 97"/>
                <a:gd name="T4" fmla="*/ 11 w 97"/>
                <a:gd name="T5" fmla="*/ 29 h 97"/>
                <a:gd name="T6" fmla="*/ 68 w 97"/>
                <a:gd name="T7" fmla="*/ 11 h 97"/>
                <a:gd name="T8" fmla="*/ 86 w 97"/>
                <a:gd name="T9" fmla="*/ 68 h 97"/>
              </a:gdLst>
              <a:ahLst/>
              <a:cxnLst>
                <a:cxn ang="0">
                  <a:pos x="T0" y="T1"/>
                </a:cxn>
                <a:cxn ang="0">
                  <a:pos x="T2" y="T3"/>
                </a:cxn>
                <a:cxn ang="0">
                  <a:pos x="T4" y="T5"/>
                </a:cxn>
                <a:cxn ang="0">
                  <a:pos x="T6" y="T7"/>
                </a:cxn>
                <a:cxn ang="0">
                  <a:pos x="T8" y="T9"/>
                </a:cxn>
              </a:cxnLst>
              <a:rect l="0" t="0" r="r" b="b"/>
              <a:pathLst>
                <a:path w="97" h="97">
                  <a:moveTo>
                    <a:pt x="86" y="68"/>
                  </a:moveTo>
                  <a:cubicBezTo>
                    <a:pt x="76" y="88"/>
                    <a:pt x="50" y="97"/>
                    <a:pt x="29" y="86"/>
                  </a:cubicBezTo>
                  <a:cubicBezTo>
                    <a:pt x="9" y="76"/>
                    <a:pt x="0" y="50"/>
                    <a:pt x="11" y="29"/>
                  </a:cubicBezTo>
                  <a:cubicBezTo>
                    <a:pt x="21" y="8"/>
                    <a:pt x="47" y="0"/>
                    <a:pt x="68" y="11"/>
                  </a:cubicBezTo>
                  <a:cubicBezTo>
                    <a:pt x="88" y="21"/>
                    <a:pt x="97" y="47"/>
                    <a:pt x="86" y="68"/>
                  </a:cubicBezTo>
                  <a:close/>
                </a:path>
              </a:pathLst>
            </a:custGeom>
            <a:solidFill>
              <a:srgbClr val="A579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192" name="Freeform 169"/>
            <p:cNvSpPr>
              <a:spLocks/>
            </p:cNvSpPr>
            <p:nvPr/>
          </p:nvSpPr>
          <p:spPr bwMode="auto">
            <a:xfrm>
              <a:off x="754658" y="5408460"/>
              <a:ext cx="379551" cy="497031"/>
            </a:xfrm>
            <a:custGeom>
              <a:avLst/>
              <a:gdLst>
                <a:gd name="T0" fmla="*/ 40 w 84"/>
                <a:gd name="T1" fmla="*/ 0 h 110"/>
                <a:gd name="T2" fmla="*/ 0 w 84"/>
                <a:gd name="T3" fmla="*/ 95 h 110"/>
                <a:gd name="T4" fmla="*/ 32 w 84"/>
                <a:gd name="T5" fmla="*/ 110 h 110"/>
                <a:gd name="T6" fmla="*/ 84 w 84"/>
                <a:gd name="T7" fmla="*/ 23 h 110"/>
                <a:gd name="T8" fmla="*/ 40 w 84"/>
                <a:gd name="T9" fmla="*/ 0 h 110"/>
              </a:gdLst>
              <a:ahLst/>
              <a:cxnLst>
                <a:cxn ang="0">
                  <a:pos x="T0" y="T1"/>
                </a:cxn>
                <a:cxn ang="0">
                  <a:pos x="T2" y="T3"/>
                </a:cxn>
                <a:cxn ang="0">
                  <a:pos x="T4" y="T5"/>
                </a:cxn>
                <a:cxn ang="0">
                  <a:pos x="T6" y="T7"/>
                </a:cxn>
                <a:cxn ang="0">
                  <a:pos x="T8" y="T9"/>
                </a:cxn>
              </a:cxnLst>
              <a:rect l="0" t="0" r="r" b="b"/>
              <a:pathLst>
                <a:path w="84" h="110">
                  <a:moveTo>
                    <a:pt x="40" y="0"/>
                  </a:moveTo>
                  <a:lnTo>
                    <a:pt x="0" y="95"/>
                  </a:lnTo>
                  <a:lnTo>
                    <a:pt x="32" y="110"/>
                  </a:lnTo>
                  <a:lnTo>
                    <a:pt x="84" y="23"/>
                  </a:lnTo>
                  <a:lnTo>
                    <a:pt x="40" y="0"/>
                  </a:lnTo>
                  <a:close/>
                </a:path>
              </a:pathLst>
            </a:custGeom>
            <a:solidFill>
              <a:srgbClr val="A579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193" name="Freeform 170"/>
            <p:cNvSpPr>
              <a:spLocks/>
            </p:cNvSpPr>
            <p:nvPr/>
          </p:nvSpPr>
          <p:spPr bwMode="auto">
            <a:xfrm>
              <a:off x="840507" y="6230820"/>
              <a:ext cx="140071" cy="63258"/>
            </a:xfrm>
            <a:custGeom>
              <a:avLst/>
              <a:gdLst>
                <a:gd name="T0" fmla="*/ 31 w 31"/>
                <a:gd name="T1" fmla="*/ 8 h 14"/>
                <a:gd name="T2" fmla="*/ 3 w 31"/>
                <a:gd name="T3" fmla="*/ 14 h 14"/>
                <a:gd name="T4" fmla="*/ 0 w 31"/>
                <a:gd name="T5" fmla="*/ 5 h 14"/>
                <a:gd name="T6" fmla="*/ 29 w 31"/>
                <a:gd name="T7" fmla="*/ 0 h 14"/>
                <a:gd name="T8" fmla="*/ 31 w 31"/>
                <a:gd name="T9" fmla="*/ 8 h 14"/>
              </a:gdLst>
              <a:ahLst/>
              <a:cxnLst>
                <a:cxn ang="0">
                  <a:pos x="T0" y="T1"/>
                </a:cxn>
                <a:cxn ang="0">
                  <a:pos x="T2" y="T3"/>
                </a:cxn>
                <a:cxn ang="0">
                  <a:pos x="T4" y="T5"/>
                </a:cxn>
                <a:cxn ang="0">
                  <a:pos x="T6" y="T7"/>
                </a:cxn>
                <a:cxn ang="0">
                  <a:pos x="T8" y="T9"/>
                </a:cxn>
              </a:cxnLst>
              <a:rect l="0" t="0" r="r" b="b"/>
              <a:pathLst>
                <a:path w="31" h="14">
                  <a:moveTo>
                    <a:pt x="31" y="8"/>
                  </a:moveTo>
                  <a:lnTo>
                    <a:pt x="3" y="14"/>
                  </a:lnTo>
                  <a:lnTo>
                    <a:pt x="0" y="5"/>
                  </a:lnTo>
                  <a:lnTo>
                    <a:pt x="29" y="0"/>
                  </a:lnTo>
                  <a:lnTo>
                    <a:pt x="31" y="8"/>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194" name="Freeform 171"/>
            <p:cNvSpPr>
              <a:spLocks/>
            </p:cNvSpPr>
            <p:nvPr/>
          </p:nvSpPr>
          <p:spPr bwMode="auto">
            <a:xfrm>
              <a:off x="736584" y="5778974"/>
              <a:ext cx="180738" cy="180738"/>
            </a:xfrm>
            <a:custGeom>
              <a:avLst/>
              <a:gdLst>
                <a:gd name="T0" fmla="*/ 41 w 68"/>
                <a:gd name="T1" fmla="*/ 64 h 68"/>
                <a:gd name="T2" fmla="*/ 4 w 68"/>
                <a:gd name="T3" fmla="*/ 42 h 68"/>
                <a:gd name="T4" fmla="*/ 26 w 68"/>
                <a:gd name="T5" fmla="*/ 5 h 68"/>
                <a:gd name="T6" fmla="*/ 63 w 68"/>
                <a:gd name="T7" fmla="*/ 27 h 68"/>
                <a:gd name="T8" fmla="*/ 41 w 68"/>
                <a:gd name="T9" fmla="*/ 64 h 68"/>
              </a:gdLst>
              <a:ahLst/>
              <a:cxnLst>
                <a:cxn ang="0">
                  <a:pos x="T0" y="T1"/>
                </a:cxn>
                <a:cxn ang="0">
                  <a:pos x="T2" y="T3"/>
                </a:cxn>
                <a:cxn ang="0">
                  <a:pos x="T4" y="T5"/>
                </a:cxn>
                <a:cxn ang="0">
                  <a:pos x="T6" y="T7"/>
                </a:cxn>
                <a:cxn ang="0">
                  <a:pos x="T8" y="T9"/>
                </a:cxn>
              </a:cxnLst>
              <a:rect l="0" t="0" r="r" b="b"/>
              <a:pathLst>
                <a:path w="68" h="68">
                  <a:moveTo>
                    <a:pt x="41" y="64"/>
                  </a:moveTo>
                  <a:cubicBezTo>
                    <a:pt x="25" y="68"/>
                    <a:pt x="8" y="59"/>
                    <a:pt x="4" y="42"/>
                  </a:cubicBezTo>
                  <a:cubicBezTo>
                    <a:pt x="0" y="26"/>
                    <a:pt x="9" y="9"/>
                    <a:pt x="26" y="5"/>
                  </a:cubicBezTo>
                  <a:cubicBezTo>
                    <a:pt x="42" y="0"/>
                    <a:pt x="59" y="10"/>
                    <a:pt x="63" y="27"/>
                  </a:cubicBezTo>
                  <a:cubicBezTo>
                    <a:pt x="68" y="43"/>
                    <a:pt x="58" y="60"/>
                    <a:pt x="41" y="64"/>
                  </a:cubicBezTo>
                  <a:close/>
                </a:path>
              </a:pathLst>
            </a:custGeom>
            <a:solidFill>
              <a:srgbClr val="A579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195" name="Freeform 172"/>
            <p:cNvSpPr>
              <a:spLocks/>
            </p:cNvSpPr>
            <p:nvPr/>
          </p:nvSpPr>
          <p:spPr bwMode="auto">
            <a:xfrm>
              <a:off x="745621" y="5851269"/>
              <a:ext cx="230440" cy="406662"/>
            </a:xfrm>
            <a:custGeom>
              <a:avLst/>
              <a:gdLst>
                <a:gd name="T0" fmla="*/ 51 w 51"/>
                <a:gd name="T1" fmla="*/ 83 h 90"/>
                <a:gd name="T2" fmla="*/ 35 w 51"/>
                <a:gd name="T3" fmla="*/ 0 h 90"/>
                <a:gd name="T4" fmla="*/ 0 w 51"/>
                <a:gd name="T5" fmla="*/ 9 h 90"/>
                <a:gd name="T6" fmla="*/ 19 w 51"/>
                <a:gd name="T7" fmla="*/ 90 h 90"/>
                <a:gd name="T8" fmla="*/ 51 w 51"/>
                <a:gd name="T9" fmla="*/ 83 h 90"/>
              </a:gdLst>
              <a:ahLst/>
              <a:cxnLst>
                <a:cxn ang="0">
                  <a:pos x="T0" y="T1"/>
                </a:cxn>
                <a:cxn ang="0">
                  <a:pos x="T2" y="T3"/>
                </a:cxn>
                <a:cxn ang="0">
                  <a:pos x="T4" y="T5"/>
                </a:cxn>
                <a:cxn ang="0">
                  <a:pos x="T6" y="T7"/>
                </a:cxn>
                <a:cxn ang="0">
                  <a:pos x="T8" y="T9"/>
                </a:cxn>
              </a:cxnLst>
              <a:rect l="0" t="0" r="r" b="b"/>
              <a:pathLst>
                <a:path w="51" h="90">
                  <a:moveTo>
                    <a:pt x="51" y="83"/>
                  </a:moveTo>
                  <a:lnTo>
                    <a:pt x="35" y="0"/>
                  </a:lnTo>
                  <a:lnTo>
                    <a:pt x="0" y="9"/>
                  </a:lnTo>
                  <a:lnTo>
                    <a:pt x="19" y="90"/>
                  </a:lnTo>
                  <a:lnTo>
                    <a:pt x="51" y="83"/>
                  </a:lnTo>
                  <a:close/>
                </a:path>
              </a:pathLst>
            </a:custGeom>
            <a:solidFill>
              <a:srgbClr val="A579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196" name="Freeform 173"/>
            <p:cNvSpPr>
              <a:spLocks/>
            </p:cNvSpPr>
            <p:nvPr/>
          </p:nvSpPr>
          <p:spPr bwMode="auto">
            <a:xfrm>
              <a:off x="2309009" y="4364697"/>
              <a:ext cx="81332" cy="140071"/>
            </a:xfrm>
            <a:custGeom>
              <a:avLst/>
              <a:gdLst>
                <a:gd name="T0" fmla="*/ 31 w 31"/>
                <a:gd name="T1" fmla="*/ 46 h 53"/>
                <a:gd name="T2" fmla="*/ 31 w 31"/>
                <a:gd name="T3" fmla="*/ 53 h 53"/>
                <a:gd name="T4" fmla="*/ 0 w 31"/>
                <a:gd name="T5" fmla="*/ 0 h 53"/>
                <a:gd name="T6" fmla="*/ 31 w 31"/>
                <a:gd name="T7" fmla="*/ 46 h 53"/>
              </a:gdLst>
              <a:ahLst/>
              <a:cxnLst>
                <a:cxn ang="0">
                  <a:pos x="T0" y="T1"/>
                </a:cxn>
                <a:cxn ang="0">
                  <a:pos x="T2" y="T3"/>
                </a:cxn>
                <a:cxn ang="0">
                  <a:pos x="T4" y="T5"/>
                </a:cxn>
                <a:cxn ang="0">
                  <a:pos x="T6" y="T7"/>
                </a:cxn>
              </a:cxnLst>
              <a:rect l="0" t="0" r="r" b="b"/>
              <a:pathLst>
                <a:path w="31" h="53">
                  <a:moveTo>
                    <a:pt x="31" y="46"/>
                  </a:moveTo>
                  <a:cubicBezTo>
                    <a:pt x="31" y="48"/>
                    <a:pt x="31" y="50"/>
                    <a:pt x="31" y="53"/>
                  </a:cubicBezTo>
                  <a:cubicBezTo>
                    <a:pt x="0" y="0"/>
                    <a:pt x="0" y="0"/>
                    <a:pt x="0" y="0"/>
                  </a:cubicBezTo>
                  <a:cubicBezTo>
                    <a:pt x="19" y="7"/>
                    <a:pt x="31" y="25"/>
                    <a:pt x="31" y="46"/>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197" name="Freeform 174"/>
            <p:cNvSpPr>
              <a:spLocks/>
            </p:cNvSpPr>
            <p:nvPr/>
          </p:nvSpPr>
          <p:spPr bwMode="auto">
            <a:xfrm>
              <a:off x="1396279" y="4812023"/>
              <a:ext cx="262071" cy="185255"/>
            </a:xfrm>
            <a:custGeom>
              <a:avLst/>
              <a:gdLst>
                <a:gd name="T0" fmla="*/ 58 w 58"/>
                <a:gd name="T1" fmla="*/ 12 h 41"/>
                <a:gd name="T2" fmla="*/ 8 w 58"/>
                <a:gd name="T3" fmla="*/ 41 h 41"/>
                <a:gd name="T4" fmla="*/ 0 w 58"/>
                <a:gd name="T5" fmla="*/ 29 h 41"/>
                <a:gd name="T6" fmla="*/ 51 w 58"/>
                <a:gd name="T7" fmla="*/ 0 h 41"/>
                <a:gd name="T8" fmla="*/ 58 w 58"/>
                <a:gd name="T9" fmla="*/ 12 h 41"/>
              </a:gdLst>
              <a:ahLst/>
              <a:cxnLst>
                <a:cxn ang="0">
                  <a:pos x="T0" y="T1"/>
                </a:cxn>
                <a:cxn ang="0">
                  <a:pos x="T2" y="T3"/>
                </a:cxn>
                <a:cxn ang="0">
                  <a:pos x="T4" y="T5"/>
                </a:cxn>
                <a:cxn ang="0">
                  <a:pos x="T6" y="T7"/>
                </a:cxn>
                <a:cxn ang="0">
                  <a:pos x="T8" y="T9"/>
                </a:cxn>
              </a:cxnLst>
              <a:rect l="0" t="0" r="r" b="b"/>
              <a:pathLst>
                <a:path w="58" h="41">
                  <a:moveTo>
                    <a:pt x="58" y="12"/>
                  </a:moveTo>
                  <a:lnTo>
                    <a:pt x="8" y="41"/>
                  </a:lnTo>
                  <a:lnTo>
                    <a:pt x="0" y="29"/>
                  </a:lnTo>
                  <a:lnTo>
                    <a:pt x="51" y="0"/>
                  </a:lnTo>
                  <a:lnTo>
                    <a:pt x="58" y="12"/>
                  </a:lnTo>
                  <a:close/>
                </a:path>
              </a:pathLst>
            </a:custGeom>
            <a:solidFill>
              <a:srgbClr val="854CC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198" name="Freeform 175"/>
            <p:cNvSpPr>
              <a:spLocks/>
            </p:cNvSpPr>
            <p:nvPr/>
          </p:nvSpPr>
          <p:spPr bwMode="auto">
            <a:xfrm>
              <a:off x="1613166" y="4653878"/>
              <a:ext cx="298218" cy="230440"/>
            </a:xfrm>
            <a:custGeom>
              <a:avLst/>
              <a:gdLst>
                <a:gd name="T0" fmla="*/ 66 w 66"/>
                <a:gd name="T1" fmla="*/ 19 h 51"/>
                <a:gd name="T2" fmla="*/ 12 w 66"/>
                <a:gd name="T3" fmla="*/ 51 h 51"/>
                <a:gd name="T4" fmla="*/ 10 w 66"/>
                <a:gd name="T5" fmla="*/ 47 h 51"/>
                <a:gd name="T6" fmla="*/ 3 w 66"/>
                <a:gd name="T7" fmla="*/ 35 h 51"/>
                <a:gd name="T8" fmla="*/ 0 w 66"/>
                <a:gd name="T9" fmla="*/ 31 h 51"/>
                <a:gd name="T10" fmla="*/ 55 w 66"/>
                <a:gd name="T11" fmla="*/ 0 h 51"/>
                <a:gd name="T12" fmla="*/ 66 w 66"/>
                <a:gd name="T13" fmla="*/ 19 h 51"/>
              </a:gdLst>
              <a:ahLst/>
              <a:cxnLst>
                <a:cxn ang="0">
                  <a:pos x="T0" y="T1"/>
                </a:cxn>
                <a:cxn ang="0">
                  <a:pos x="T2" y="T3"/>
                </a:cxn>
                <a:cxn ang="0">
                  <a:pos x="T4" y="T5"/>
                </a:cxn>
                <a:cxn ang="0">
                  <a:pos x="T6" y="T7"/>
                </a:cxn>
                <a:cxn ang="0">
                  <a:pos x="T8" y="T9"/>
                </a:cxn>
                <a:cxn ang="0">
                  <a:pos x="T10" y="T11"/>
                </a:cxn>
                <a:cxn ang="0">
                  <a:pos x="T12" y="T13"/>
                </a:cxn>
              </a:cxnLst>
              <a:rect l="0" t="0" r="r" b="b"/>
              <a:pathLst>
                <a:path w="66" h="51">
                  <a:moveTo>
                    <a:pt x="66" y="19"/>
                  </a:moveTo>
                  <a:lnTo>
                    <a:pt x="12" y="51"/>
                  </a:lnTo>
                  <a:lnTo>
                    <a:pt x="10" y="47"/>
                  </a:lnTo>
                  <a:lnTo>
                    <a:pt x="3" y="35"/>
                  </a:lnTo>
                  <a:lnTo>
                    <a:pt x="0" y="31"/>
                  </a:lnTo>
                  <a:lnTo>
                    <a:pt x="55" y="0"/>
                  </a:lnTo>
                  <a:lnTo>
                    <a:pt x="66" y="19"/>
                  </a:lnTo>
                  <a:close/>
                </a:path>
              </a:pathLst>
            </a:custGeom>
            <a:solidFill>
              <a:srgbClr val="854CC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199" name="Freeform 176"/>
            <p:cNvSpPr>
              <a:spLocks/>
            </p:cNvSpPr>
            <p:nvPr/>
          </p:nvSpPr>
          <p:spPr bwMode="auto">
            <a:xfrm>
              <a:off x="1852643" y="4423435"/>
              <a:ext cx="438289" cy="334366"/>
            </a:xfrm>
            <a:custGeom>
              <a:avLst/>
              <a:gdLst>
                <a:gd name="T0" fmla="*/ 97 w 97"/>
                <a:gd name="T1" fmla="*/ 27 h 74"/>
                <a:gd name="T2" fmla="*/ 77 w 97"/>
                <a:gd name="T3" fmla="*/ 39 h 74"/>
                <a:gd name="T4" fmla="*/ 16 w 97"/>
                <a:gd name="T5" fmla="*/ 74 h 74"/>
                <a:gd name="T6" fmla="*/ 13 w 97"/>
                <a:gd name="T7" fmla="*/ 70 h 74"/>
                <a:gd name="T8" fmla="*/ 2 w 97"/>
                <a:gd name="T9" fmla="*/ 51 h 74"/>
                <a:gd name="T10" fmla="*/ 0 w 97"/>
                <a:gd name="T11" fmla="*/ 47 h 74"/>
                <a:gd name="T12" fmla="*/ 62 w 97"/>
                <a:gd name="T13" fmla="*/ 12 h 74"/>
                <a:gd name="T14" fmla="*/ 82 w 97"/>
                <a:gd name="T15" fmla="*/ 0 h 74"/>
                <a:gd name="T16" fmla="*/ 97 w 97"/>
                <a:gd name="T17" fmla="*/ 27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7" h="74">
                  <a:moveTo>
                    <a:pt x="97" y="27"/>
                  </a:moveTo>
                  <a:lnTo>
                    <a:pt x="77" y="39"/>
                  </a:lnTo>
                  <a:lnTo>
                    <a:pt x="16" y="74"/>
                  </a:lnTo>
                  <a:lnTo>
                    <a:pt x="13" y="70"/>
                  </a:lnTo>
                  <a:lnTo>
                    <a:pt x="2" y="51"/>
                  </a:lnTo>
                  <a:lnTo>
                    <a:pt x="0" y="47"/>
                  </a:lnTo>
                  <a:lnTo>
                    <a:pt x="62" y="12"/>
                  </a:lnTo>
                  <a:lnTo>
                    <a:pt x="82" y="0"/>
                  </a:lnTo>
                  <a:lnTo>
                    <a:pt x="97" y="27"/>
                  </a:lnTo>
                  <a:close/>
                </a:path>
              </a:pathLst>
            </a:custGeom>
            <a:solidFill>
              <a:srgbClr val="854CC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200" name="Freeform 177"/>
            <p:cNvSpPr>
              <a:spLocks/>
            </p:cNvSpPr>
            <p:nvPr/>
          </p:nvSpPr>
          <p:spPr bwMode="auto">
            <a:xfrm>
              <a:off x="2214120" y="4355660"/>
              <a:ext cx="180738" cy="207849"/>
            </a:xfrm>
            <a:custGeom>
              <a:avLst/>
              <a:gdLst>
                <a:gd name="T0" fmla="*/ 40 w 40"/>
                <a:gd name="T1" fmla="*/ 34 h 46"/>
                <a:gd name="T2" fmla="*/ 20 w 40"/>
                <a:gd name="T3" fmla="*/ 46 h 46"/>
                <a:gd name="T4" fmla="*/ 17 w 40"/>
                <a:gd name="T5" fmla="*/ 42 h 46"/>
                <a:gd name="T6" fmla="*/ 2 w 40"/>
                <a:gd name="T7" fmla="*/ 15 h 46"/>
                <a:gd name="T8" fmla="*/ 0 w 40"/>
                <a:gd name="T9" fmla="*/ 12 h 46"/>
                <a:gd name="T10" fmla="*/ 20 w 40"/>
                <a:gd name="T11" fmla="*/ 0 h 46"/>
                <a:gd name="T12" fmla="*/ 40 w 40"/>
                <a:gd name="T13" fmla="*/ 34 h 46"/>
              </a:gdLst>
              <a:ahLst/>
              <a:cxnLst>
                <a:cxn ang="0">
                  <a:pos x="T0" y="T1"/>
                </a:cxn>
                <a:cxn ang="0">
                  <a:pos x="T2" y="T3"/>
                </a:cxn>
                <a:cxn ang="0">
                  <a:pos x="T4" y="T5"/>
                </a:cxn>
                <a:cxn ang="0">
                  <a:pos x="T6" y="T7"/>
                </a:cxn>
                <a:cxn ang="0">
                  <a:pos x="T8" y="T9"/>
                </a:cxn>
                <a:cxn ang="0">
                  <a:pos x="T10" y="T11"/>
                </a:cxn>
                <a:cxn ang="0">
                  <a:pos x="T12" y="T13"/>
                </a:cxn>
              </a:cxnLst>
              <a:rect l="0" t="0" r="r" b="b"/>
              <a:pathLst>
                <a:path w="40" h="46">
                  <a:moveTo>
                    <a:pt x="40" y="34"/>
                  </a:moveTo>
                  <a:lnTo>
                    <a:pt x="20" y="46"/>
                  </a:lnTo>
                  <a:lnTo>
                    <a:pt x="17" y="42"/>
                  </a:lnTo>
                  <a:lnTo>
                    <a:pt x="2" y="15"/>
                  </a:lnTo>
                  <a:lnTo>
                    <a:pt x="0" y="12"/>
                  </a:lnTo>
                  <a:lnTo>
                    <a:pt x="20" y="0"/>
                  </a:lnTo>
                  <a:lnTo>
                    <a:pt x="40" y="34"/>
                  </a:lnTo>
                  <a:close/>
                </a:path>
              </a:pathLst>
            </a:custGeom>
            <a:solidFill>
              <a:srgbClr val="854CC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201" name="Freeform 178"/>
            <p:cNvSpPr>
              <a:spLocks/>
            </p:cNvSpPr>
            <p:nvPr/>
          </p:nvSpPr>
          <p:spPr bwMode="auto">
            <a:xfrm>
              <a:off x="1378205" y="4934023"/>
              <a:ext cx="54222" cy="76812"/>
            </a:xfrm>
            <a:custGeom>
              <a:avLst/>
              <a:gdLst>
                <a:gd name="T0" fmla="*/ 19 w 20"/>
                <a:gd name="T1" fmla="*/ 27 h 29"/>
                <a:gd name="T2" fmla="*/ 17 w 20"/>
                <a:gd name="T3" fmla="*/ 28 h 29"/>
                <a:gd name="T4" fmla="*/ 13 w 20"/>
                <a:gd name="T5" fmla="*/ 27 h 29"/>
                <a:gd name="T6" fmla="*/ 0 w 20"/>
                <a:gd name="T7" fmla="*/ 6 h 29"/>
                <a:gd name="T8" fmla="*/ 2 w 20"/>
                <a:gd name="T9" fmla="*/ 2 h 29"/>
                <a:gd name="T10" fmla="*/ 3 w 20"/>
                <a:gd name="T11" fmla="*/ 1 h 29"/>
                <a:gd name="T12" fmla="*/ 7 w 20"/>
                <a:gd name="T13" fmla="*/ 2 h 29"/>
                <a:gd name="T14" fmla="*/ 20 w 20"/>
                <a:gd name="T15" fmla="*/ 23 h 29"/>
                <a:gd name="T16" fmla="*/ 19 w 20"/>
                <a:gd name="T17" fmla="*/ 2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 h="29">
                  <a:moveTo>
                    <a:pt x="19" y="27"/>
                  </a:moveTo>
                  <a:cubicBezTo>
                    <a:pt x="17" y="28"/>
                    <a:pt x="17" y="28"/>
                    <a:pt x="17" y="28"/>
                  </a:cubicBezTo>
                  <a:cubicBezTo>
                    <a:pt x="15" y="29"/>
                    <a:pt x="14" y="29"/>
                    <a:pt x="13" y="27"/>
                  </a:cubicBezTo>
                  <a:cubicBezTo>
                    <a:pt x="0" y="6"/>
                    <a:pt x="0" y="6"/>
                    <a:pt x="0" y="6"/>
                  </a:cubicBezTo>
                  <a:cubicBezTo>
                    <a:pt x="0" y="5"/>
                    <a:pt x="0" y="3"/>
                    <a:pt x="2" y="2"/>
                  </a:cubicBezTo>
                  <a:cubicBezTo>
                    <a:pt x="3" y="1"/>
                    <a:pt x="3" y="1"/>
                    <a:pt x="3" y="1"/>
                  </a:cubicBezTo>
                  <a:cubicBezTo>
                    <a:pt x="5" y="0"/>
                    <a:pt x="7" y="1"/>
                    <a:pt x="7" y="2"/>
                  </a:cubicBezTo>
                  <a:cubicBezTo>
                    <a:pt x="20" y="23"/>
                    <a:pt x="20" y="23"/>
                    <a:pt x="20" y="23"/>
                  </a:cubicBezTo>
                  <a:cubicBezTo>
                    <a:pt x="20" y="25"/>
                    <a:pt x="20" y="27"/>
                    <a:pt x="19" y="27"/>
                  </a:cubicBezTo>
                  <a:close/>
                </a:path>
              </a:pathLst>
            </a:custGeom>
            <a:solidFill>
              <a:srgbClr val="854CC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202" name="Freeform 179"/>
            <p:cNvSpPr>
              <a:spLocks/>
            </p:cNvSpPr>
            <p:nvPr/>
          </p:nvSpPr>
          <p:spPr bwMode="auto">
            <a:xfrm>
              <a:off x="1771310" y="4699063"/>
              <a:ext cx="81332" cy="131034"/>
            </a:xfrm>
            <a:custGeom>
              <a:avLst/>
              <a:gdLst>
                <a:gd name="T0" fmla="*/ 15 w 31"/>
                <a:gd name="T1" fmla="*/ 49 h 49"/>
                <a:gd name="T2" fmla="*/ 0 w 31"/>
                <a:gd name="T3" fmla="*/ 5 h 49"/>
                <a:gd name="T4" fmla="*/ 16 w 31"/>
                <a:gd name="T5" fmla="*/ 9 h 49"/>
                <a:gd name="T6" fmla="*/ 31 w 31"/>
                <a:gd name="T7" fmla="*/ 29 h 49"/>
              </a:gdLst>
              <a:ahLst/>
              <a:cxnLst>
                <a:cxn ang="0">
                  <a:pos x="T0" y="T1"/>
                </a:cxn>
                <a:cxn ang="0">
                  <a:pos x="T2" y="T3"/>
                </a:cxn>
                <a:cxn ang="0">
                  <a:pos x="T4" y="T5"/>
                </a:cxn>
                <a:cxn ang="0">
                  <a:pos x="T6" y="T7"/>
                </a:cxn>
              </a:cxnLst>
              <a:rect l="0" t="0" r="r" b="b"/>
              <a:pathLst>
                <a:path w="31" h="49">
                  <a:moveTo>
                    <a:pt x="15" y="49"/>
                  </a:moveTo>
                  <a:cubicBezTo>
                    <a:pt x="9" y="35"/>
                    <a:pt x="6" y="16"/>
                    <a:pt x="0" y="5"/>
                  </a:cubicBezTo>
                  <a:cubicBezTo>
                    <a:pt x="3" y="0"/>
                    <a:pt x="9" y="0"/>
                    <a:pt x="16" y="9"/>
                  </a:cubicBezTo>
                  <a:cubicBezTo>
                    <a:pt x="21" y="17"/>
                    <a:pt x="25" y="33"/>
                    <a:pt x="31" y="29"/>
                  </a:cubicBezTo>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203" name="Oval 180"/>
            <p:cNvSpPr>
              <a:spLocks noChangeArrowheads="1"/>
            </p:cNvSpPr>
            <p:nvPr/>
          </p:nvSpPr>
          <p:spPr bwMode="auto">
            <a:xfrm>
              <a:off x="1147763" y="6366374"/>
              <a:ext cx="31628" cy="36148"/>
            </a:xfrm>
            <a:prstGeom prst="ellipse">
              <a:avLst/>
            </a:prstGeom>
            <a:solidFill>
              <a:srgbClr val="E6E6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204" name="Oval 181"/>
            <p:cNvSpPr>
              <a:spLocks noChangeArrowheads="1"/>
            </p:cNvSpPr>
            <p:nvPr/>
          </p:nvSpPr>
          <p:spPr bwMode="auto">
            <a:xfrm>
              <a:off x="799842" y="6366374"/>
              <a:ext cx="36148" cy="36148"/>
            </a:xfrm>
            <a:prstGeom prst="ellipse">
              <a:avLst/>
            </a:prstGeom>
            <a:solidFill>
              <a:srgbClr val="E6E6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pic>
        <p:nvPicPr>
          <p:cNvPr id="5124" name="Picture 4" descr="https://raw.githubusercontent.com/jupyter/design/master/logo/png-2x/jupyter-sq-text-left.png"/>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l="6823" t="1289" r="6823" b="1289"/>
          <a:stretch/>
        </p:blipFill>
        <p:spPr bwMode="auto">
          <a:xfrm>
            <a:off x="10439400" y="5146553"/>
            <a:ext cx="475602" cy="536566"/>
          </a:xfrm>
          <a:prstGeom prst="rect">
            <a:avLst/>
          </a:prstGeom>
          <a:noFill/>
          <a:extLst>
            <a:ext uri="{909E8E84-426E-40DD-AFC4-6F175D3DCCD1}">
              <a14:hiddenFill xmlns:a14="http://schemas.microsoft.com/office/drawing/2010/main">
                <a:solidFill>
                  <a:srgbClr val="FFFFFF"/>
                </a:solidFill>
              </a14:hiddenFill>
            </a:ext>
          </a:extLst>
        </p:spPr>
      </p:pic>
      <p:grpSp>
        <p:nvGrpSpPr>
          <p:cNvPr id="83" name="Group 82"/>
          <p:cNvGrpSpPr/>
          <p:nvPr/>
        </p:nvGrpSpPr>
        <p:grpSpPr>
          <a:xfrm>
            <a:off x="5006722" y="1578429"/>
            <a:ext cx="819825" cy="817156"/>
            <a:chOff x="3029010" y="3853608"/>
            <a:chExt cx="2248798" cy="2241477"/>
          </a:xfrm>
        </p:grpSpPr>
        <p:sp>
          <p:nvSpPr>
            <p:cNvPr id="87" name="Freeform 184"/>
            <p:cNvSpPr/>
            <p:nvPr/>
          </p:nvSpPr>
          <p:spPr bwMode="auto">
            <a:xfrm>
              <a:off x="3029010" y="3853609"/>
              <a:ext cx="2248798" cy="2241476"/>
            </a:xfrm>
            <a:custGeom>
              <a:avLst/>
              <a:gdLst>
                <a:gd name="connsiteX0" fmla="*/ 3231086 w 4158080"/>
                <a:gd name="connsiteY0" fmla="*/ 3012228 h 4144545"/>
                <a:gd name="connsiteX1" fmla="*/ 3231086 w 4158080"/>
                <a:gd name="connsiteY1" fmla="*/ 3475725 h 4144545"/>
                <a:gd name="connsiteX2" fmla="*/ 3694583 w 4158080"/>
                <a:gd name="connsiteY2" fmla="*/ 3475725 h 4144545"/>
                <a:gd name="connsiteX3" fmla="*/ 3694583 w 4158080"/>
                <a:gd name="connsiteY3" fmla="*/ 3012228 h 4144545"/>
                <a:gd name="connsiteX4" fmla="*/ 2425129 w 4158080"/>
                <a:gd name="connsiteY4" fmla="*/ 3012228 h 4144545"/>
                <a:gd name="connsiteX5" fmla="*/ 2425129 w 4158080"/>
                <a:gd name="connsiteY5" fmla="*/ 3475725 h 4144545"/>
                <a:gd name="connsiteX6" fmla="*/ 2888626 w 4158080"/>
                <a:gd name="connsiteY6" fmla="*/ 3475725 h 4144545"/>
                <a:gd name="connsiteX7" fmla="*/ 2888626 w 4158080"/>
                <a:gd name="connsiteY7" fmla="*/ 3012228 h 4144545"/>
                <a:gd name="connsiteX8" fmla="*/ 1619172 w 4158080"/>
                <a:gd name="connsiteY8" fmla="*/ 3012228 h 4144545"/>
                <a:gd name="connsiteX9" fmla="*/ 1619172 w 4158080"/>
                <a:gd name="connsiteY9" fmla="*/ 3475725 h 4144545"/>
                <a:gd name="connsiteX10" fmla="*/ 2082669 w 4158080"/>
                <a:gd name="connsiteY10" fmla="*/ 3475725 h 4144545"/>
                <a:gd name="connsiteX11" fmla="*/ 2082669 w 4158080"/>
                <a:gd name="connsiteY11" fmla="*/ 3012228 h 4144545"/>
                <a:gd name="connsiteX12" fmla="*/ 1 w 4158080"/>
                <a:gd name="connsiteY12" fmla="*/ 300015 h 4144545"/>
                <a:gd name="connsiteX13" fmla="*/ 1 w 4158080"/>
                <a:gd name="connsiteY13" fmla="*/ 348372 h 4144545"/>
                <a:gd name="connsiteX14" fmla="*/ 1 w 4158080"/>
                <a:gd name="connsiteY14" fmla="*/ 377378 h 4144545"/>
                <a:gd name="connsiteX15" fmla="*/ 0 w 4158080"/>
                <a:gd name="connsiteY15" fmla="*/ 377381 h 4144545"/>
                <a:gd name="connsiteX16" fmla="*/ 1 w 4158080"/>
                <a:gd name="connsiteY16" fmla="*/ 300015 h 4144545"/>
                <a:gd name="connsiteX17" fmla="*/ 925155 w 4158080"/>
                <a:gd name="connsiteY17" fmla="*/ 136141 h 4144545"/>
                <a:gd name="connsiteX18" fmla="*/ 286574 w 4158080"/>
                <a:gd name="connsiteY18" fmla="*/ 323563 h 4144545"/>
                <a:gd name="connsiteX19" fmla="*/ 925155 w 4158080"/>
                <a:gd name="connsiteY19" fmla="*/ 510984 h 4144545"/>
                <a:gd name="connsiteX20" fmla="*/ 1563737 w 4158080"/>
                <a:gd name="connsiteY20" fmla="*/ 323563 h 4144545"/>
                <a:gd name="connsiteX21" fmla="*/ 925155 w 4158080"/>
                <a:gd name="connsiteY21" fmla="*/ 136141 h 4144545"/>
                <a:gd name="connsiteX22" fmla="*/ 925154 w 4158080"/>
                <a:gd name="connsiteY22" fmla="*/ 0 h 4144545"/>
                <a:gd name="connsiteX23" fmla="*/ 1845533 w 4158080"/>
                <a:gd name="connsiteY23" fmla="*/ 338796 h 4144545"/>
                <a:gd name="connsiteX24" fmla="*/ 1848895 w 4158080"/>
                <a:gd name="connsiteY24" fmla="*/ 365965 h 4144545"/>
                <a:gd name="connsiteX25" fmla="*/ 1850308 w 4158080"/>
                <a:gd name="connsiteY25" fmla="*/ 365965 h 4144545"/>
                <a:gd name="connsiteX26" fmla="*/ 1850308 w 4158080"/>
                <a:gd name="connsiteY26" fmla="*/ 377381 h 4144545"/>
                <a:gd name="connsiteX27" fmla="*/ 1850309 w 4158080"/>
                <a:gd name="connsiteY27" fmla="*/ 2420253 h 4144545"/>
                <a:gd name="connsiteX28" fmla="*/ 3004195 w 4158080"/>
                <a:gd name="connsiteY28" fmla="*/ 1412231 h 4144545"/>
                <a:gd name="connsiteX29" fmla="*/ 3004195 w 4158080"/>
                <a:gd name="connsiteY29" fmla="*/ 2420252 h 4144545"/>
                <a:gd name="connsiteX30" fmla="*/ 4158080 w 4158080"/>
                <a:gd name="connsiteY30" fmla="*/ 1412231 h 4144545"/>
                <a:gd name="connsiteX31" fmla="*/ 4158079 w 4158080"/>
                <a:gd name="connsiteY31" fmla="*/ 4144544 h 4144545"/>
                <a:gd name="connsiteX32" fmla="*/ 1 w 4158080"/>
                <a:gd name="connsiteY32" fmla="*/ 4144545 h 4144545"/>
                <a:gd name="connsiteX33" fmla="*/ 1 w 4158080"/>
                <a:gd name="connsiteY33" fmla="*/ 377385 h 4144545"/>
                <a:gd name="connsiteX34" fmla="*/ 1 w 4158080"/>
                <a:gd name="connsiteY34" fmla="*/ 377378 h 4144545"/>
                <a:gd name="connsiteX35" fmla="*/ 4778 w 4158080"/>
                <a:gd name="connsiteY35" fmla="*/ 338796 h 4144545"/>
                <a:gd name="connsiteX36" fmla="*/ 925154 w 4158080"/>
                <a:gd name="connsiteY36" fmla="*/ 0 h 41445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4158080" h="4144545">
                  <a:moveTo>
                    <a:pt x="3231086" y="3012228"/>
                  </a:moveTo>
                  <a:lnTo>
                    <a:pt x="3231086" y="3475725"/>
                  </a:lnTo>
                  <a:lnTo>
                    <a:pt x="3694583" y="3475725"/>
                  </a:lnTo>
                  <a:lnTo>
                    <a:pt x="3694583" y="3012228"/>
                  </a:lnTo>
                  <a:close/>
                  <a:moveTo>
                    <a:pt x="2425129" y="3012228"/>
                  </a:moveTo>
                  <a:lnTo>
                    <a:pt x="2425129" y="3475725"/>
                  </a:lnTo>
                  <a:lnTo>
                    <a:pt x="2888626" y="3475725"/>
                  </a:lnTo>
                  <a:lnTo>
                    <a:pt x="2888626" y="3012228"/>
                  </a:lnTo>
                  <a:close/>
                  <a:moveTo>
                    <a:pt x="1619172" y="3012228"/>
                  </a:moveTo>
                  <a:lnTo>
                    <a:pt x="1619172" y="3475725"/>
                  </a:lnTo>
                  <a:lnTo>
                    <a:pt x="2082669" y="3475725"/>
                  </a:lnTo>
                  <a:lnTo>
                    <a:pt x="2082669" y="3012228"/>
                  </a:lnTo>
                  <a:close/>
                  <a:moveTo>
                    <a:pt x="1" y="300015"/>
                  </a:moveTo>
                  <a:lnTo>
                    <a:pt x="1" y="348372"/>
                  </a:lnTo>
                  <a:lnTo>
                    <a:pt x="1" y="377378"/>
                  </a:lnTo>
                  <a:cubicBezTo>
                    <a:pt x="1" y="377379"/>
                    <a:pt x="0" y="377380"/>
                    <a:pt x="0" y="377381"/>
                  </a:cubicBezTo>
                  <a:cubicBezTo>
                    <a:pt x="0" y="377382"/>
                    <a:pt x="0" y="308611"/>
                    <a:pt x="1" y="300015"/>
                  </a:cubicBezTo>
                  <a:close/>
                  <a:moveTo>
                    <a:pt x="925155" y="136141"/>
                  </a:moveTo>
                  <a:cubicBezTo>
                    <a:pt x="572477" y="136141"/>
                    <a:pt x="286574" y="220052"/>
                    <a:pt x="286574" y="323563"/>
                  </a:cubicBezTo>
                  <a:cubicBezTo>
                    <a:pt x="286574" y="427073"/>
                    <a:pt x="572477" y="510984"/>
                    <a:pt x="925155" y="510984"/>
                  </a:cubicBezTo>
                  <a:cubicBezTo>
                    <a:pt x="1277834" y="510984"/>
                    <a:pt x="1563737" y="427073"/>
                    <a:pt x="1563737" y="323563"/>
                  </a:cubicBezTo>
                  <a:cubicBezTo>
                    <a:pt x="1563737" y="220052"/>
                    <a:pt x="1277834" y="136141"/>
                    <a:pt x="925155" y="136141"/>
                  </a:cubicBezTo>
                  <a:close/>
                  <a:moveTo>
                    <a:pt x="925154" y="0"/>
                  </a:moveTo>
                  <a:cubicBezTo>
                    <a:pt x="1404168" y="0"/>
                    <a:pt x="1798155" y="148500"/>
                    <a:pt x="1845533" y="338796"/>
                  </a:cubicBezTo>
                  <a:lnTo>
                    <a:pt x="1848895" y="365965"/>
                  </a:lnTo>
                  <a:lnTo>
                    <a:pt x="1850308" y="365965"/>
                  </a:lnTo>
                  <a:lnTo>
                    <a:pt x="1850308" y="377381"/>
                  </a:lnTo>
                  <a:cubicBezTo>
                    <a:pt x="1850308" y="719762"/>
                    <a:pt x="1850309" y="2051836"/>
                    <a:pt x="1850309" y="2420253"/>
                  </a:cubicBezTo>
                  <a:lnTo>
                    <a:pt x="3004195" y="1412231"/>
                  </a:lnTo>
                  <a:lnTo>
                    <a:pt x="3004195" y="2420252"/>
                  </a:lnTo>
                  <a:lnTo>
                    <a:pt x="4158080" y="1412231"/>
                  </a:lnTo>
                  <a:cubicBezTo>
                    <a:pt x="4158080" y="2323002"/>
                    <a:pt x="4158079" y="3233773"/>
                    <a:pt x="4158079" y="4144544"/>
                  </a:cubicBezTo>
                  <a:lnTo>
                    <a:pt x="1" y="4144545"/>
                  </a:lnTo>
                  <a:lnTo>
                    <a:pt x="1" y="377385"/>
                  </a:lnTo>
                  <a:lnTo>
                    <a:pt x="1" y="377378"/>
                  </a:lnTo>
                  <a:lnTo>
                    <a:pt x="4778" y="338796"/>
                  </a:lnTo>
                  <a:cubicBezTo>
                    <a:pt x="52154" y="148500"/>
                    <a:pt x="446140" y="0"/>
                    <a:pt x="925154" y="0"/>
                  </a:cubicBezTo>
                  <a:close/>
                </a:path>
              </a:pathLst>
            </a:custGeom>
            <a:solidFill>
              <a:srgbClr val="59B4D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000" b="1" i="0" u="none" strike="noStrike" kern="0" cap="none" spc="0" normalizeH="0" baseline="0" noProof="0" dirty="0">
                <a:ln>
                  <a:noFill/>
                </a:ln>
                <a:solidFill>
                  <a:schemeClr val="tx1"/>
                </a:solidFill>
                <a:effectLst/>
                <a:uLnTx/>
                <a:uFillTx/>
                <a:latin typeface="+mj-lt"/>
                <a:ea typeface="Segoe UI" pitchFamily="34" charset="0"/>
                <a:cs typeface="Segoe UI" pitchFamily="34" charset="0"/>
              </a:endParaRPr>
            </a:p>
          </p:txBody>
        </p:sp>
        <p:sp>
          <p:nvSpPr>
            <p:cNvPr id="88" name="Rectangle 87"/>
            <p:cNvSpPr/>
            <p:nvPr/>
          </p:nvSpPr>
          <p:spPr bwMode="auto">
            <a:xfrm>
              <a:off x="3029010" y="4057650"/>
              <a:ext cx="498279" cy="2037434"/>
            </a:xfrm>
            <a:prstGeom prst="rect">
              <a:avLst/>
            </a:prstGeom>
            <a:solidFill>
              <a:srgbClr val="3999C6"/>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5439">
                      <a:srgbClr val="F8F8F8"/>
                    </a:gs>
                    <a:gs pos="10000">
                      <a:srgbClr val="F8F8F8"/>
                    </a:gs>
                  </a:gsLst>
                  <a:lin ang="5400000" scaled="0"/>
                </a:gradFill>
                <a:effectLst/>
                <a:uLnTx/>
                <a:uFillTx/>
              </a:endParaRPr>
            </a:p>
          </p:txBody>
        </p:sp>
        <p:sp>
          <p:nvSpPr>
            <p:cNvPr id="89" name="Oval 88"/>
            <p:cNvSpPr/>
            <p:nvPr/>
          </p:nvSpPr>
          <p:spPr bwMode="auto">
            <a:xfrm>
              <a:off x="3029010" y="3853608"/>
              <a:ext cx="1001426" cy="405085"/>
            </a:xfrm>
            <a:prstGeom prst="ellipse">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5439">
                      <a:srgbClr val="F8F8F8"/>
                    </a:gs>
                    <a:gs pos="10000">
                      <a:srgbClr val="F8F8F8"/>
                    </a:gs>
                  </a:gsLst>
                  <a:lin ang="5400000" scaled="0"/>
                </a:gradFill>
                <a:effectLst/>
                <a:uLnTx/>
                <a:uFillTx/>
              </a:endParaRPr>
            </a:p>
          </p:txBody>
        </p:sp>
        <p:sp>
          <p:nvSpPr>
            <p:cNvPr id="90" name="Oval 89"/>
            <p:cNvSpPr/>
            <p:nvPr/>
          </p:nvSpPr>
          <p:spPr bwMode="auto">
            <a:xfrm>
              <a:off x="3130747" y="3939810"/>
              <a:ext cx="797952" cy="232681"/>
            </a:xfrm>
            <a:prstGeom prst="ellipse">
              <a:avLst/>
            </a:prstGeom>
            <a:solidFill>
              <a:srgbClr val="B8D43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5439">
                      <a:srgbClr val="F8F8F8"/>
                    </a:gs>
                    <a:gs pos="10000">
                      <a:srgbClr val="F8F8F8"/>
                    </a:gs>
                  </a:gsLst>
                  <a:lin ang="5400000" scaled="0"/>
                </a:gradFill>
                <a:effectLst/>
                <a:uLnTx/>
                <a:uFillTx/>
              </a:endParaRPr>
            </a:p>
          </p:txBody>
        </p:sp>
        <p:sp>
          <p:nvSpPr>
            <p:cNvPr id="91" name="Freeform: Shape 90"/>
            <p:cNvSpPr/>
            <p:nvPr/>
          </p:nvSpPr>
          <p:spPr bwMode="auto">
            <a:xfrm>
              <a:off x="3222043" y="4080199"/>
              <a:ext cx="615360" cy="90262"/>
            </a:xfrm>
            <a:custGeom>
              <a:avLst/>
              <a:gdLst>
                <a:gd name="connsiteX0" fmla="*/ 307680 w 615360"/>
                <a:gd name="connsiteY0" fmla="*/ 0 h 90262"/>
                <a:gd name="connsiteX1" fmla="*/ 589799 w 615360"/>
                <a:gd name="connsiteY1" fmla="*/ 34076 h 90262"/>
                <a:gd name="connsiteX2" fmla="*/ 615360 w 615360"/>
                <a:gd name="connsiteY2" fmla="*/ 45131 h 90262"/>
                <a:gd name="connsiteX3" fmla="*/ 589799 w 615360"/>
                <a:gd name="connsiteY3" fmla="*/ 56186 h 90262"/>
                <a:gd name="connsiteX4" fmla="*/ 307680 w 615360"/>
                <a:gd name="connsiteY4" fmla="*/ 90262 h 90262"/>
                <a:gd name="connsiteX5" fmla="*/ 25562 w 615360"/>
                <a:gd name="connsiteY5" fmla="*/ 56186 h 90262"/>
                <a:gd name="connsiteX6" fmla="*/ 0 w 615360"/>
                <a:gd name="connsiteY6" fmla="*/ 45131 h 90262"/>
                <a:gd name="connsiteX7" fmla="*/ 25562 w 615360"/>
                <a:gd name="connsiteY7" fmla="*/ 34076 h 90262"/>
                <a:gd name="connsiteX8" fmla="*/ 307680 w 615360"/>
                <a:gd name="connsiteY8" fmla="*/ 0 h 90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15360" h="90262">
                  <a:moveTo>
                    <a:pt x="307680" y="0"/>
                  </a:moveTo>
                  <a:cubicBezTo>
                    <a:pt x="417854" y="0"/>
                    <a:pt x="517598" y="13022"/>
                    <a:pt x="589799" y="34076"/>
                  </a:cubicBezTo>
                  <a:lnTo>
                    <a:pt x="615360" y="45131"/>
                  </a:lnTo>
                  <a:lnTo>
                    <a:pt x="589799" y="56186"/>
                  </a:lnTo>
                  <a:cubicBezTo>
                    <a:pt x="517598" y="77240"/>
                    <a:pt x="417854" y="90262"/>
                    <a:pt x="307680" y="90262"/>
                  </a:cubicBezTo>
                  <a:cubicBezTo>
                    <a:pt x="197506" y="90262"/>
                    <a:pt x="97762" y="77240"/>
                    <a:pt x="25562" y="56186"/>
                  </a:cubicBezTo>
                  <a:lnTo>
                    <a:pt x="0" y="45131"/>
                  </a:lnTo>
                  <a:lnTo>
                    <a:pt x="25562" y="34076"/>
                  </a:lnTo>
                  <a:cubicBezTo>
                    <a:pt x="97762" y="13022"/>
                    <a:pt x="197506" y="0"/>
                    <a:pt x="307680" y="0"/>
                  </a:cubicBezTo>
                  <a:close/>
                </a:path>
              </a:pathLst>
            </a:custGeom>
            <a:solidFill>
              <a:srgbClr val="7FBA0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5439">
                      <a:srgbClr val="F8F8F8"/>
                    </a:gs>
                    <a:gs pos="10000">
                      <a:srgbClr val="F8F8F8"/>
                    </a:gs>
                  </a:gsLst>
                  <a:lin ang="5400000" scaled="0"/>
                </a:gradFill>
                <a:effectLst/>
                <a:uLnTx/>
                <a:uFillTx/>
              </a:endParaRPr>
            </a:p>
          </p:txBody>
        </p:sp>
      </p:grpSp>
      <p:grpSp>
        <p:nvGrpSpPr>
          <p:cNvPr id="181" name="Group 180"/>
          <p:cNvGrpSpPr/>
          <p:nvPr/>
        </p:nvGrpSpPr>
        <p:grpSpPr>
          <a:xfrm>
            <a:off x="7839836" y="1632329"/>
            <a:ext cx="938832" cy="705766"/>
            <a:chOff x="8320734" y="-1542000"/>
            <a:chExt cx="1579563" cy="1187440"/>
          </a:xfrm>
        </p:grpSpPr>
        <p:sp>
          <p:nvSpPr>
            <p:cNvPr id="182" name="Freeform 87"/>
            <p:cNvSpPr>
              <a:spLocks/>
            </p:cNvSpPr>
            <p:nvPr/>
          </p:nvSpPr>
          <p:spPr bwMode="auto">
            <a:xfrm>
              <a:off x="8392171" y="-1163755"/>
              <a:ext cx="617537" cy="682625"/>
            </a:xfrm>
            <a:custGeom>
              <a:avLst/>
              <a:gdLst>
                <a:gd name="T0" fmla="*/ 389 w 389"/>
                <a:gd name="T1" fmla="*/ 164 h 430"/>
                <a:gd name="T2" fmla="*/ 195 w 389"/>
                <a:gd name="T3" fmla="*/ 0 h 430"/>
                <a:gd name="T4" fmla="*/ 0 w 389"/>
                <a:gd name="T5" fmla="*/ 164 h 430"/>
                <a:gd name="T6" fmla="*/ 0 w 389"/>
                <a:gd name="T7" fmla="*/ 430 h 430"/>
                <a:gd name="T8" fmla="*/ 389 w 389"/>
                <a:gd name="T9" fmla="*/ 430 h 430"/>
                <a:gd name="T10" fmla="*/ 389 w 389"/>
                <a:gd name="T11" fmla="*/ 164 h 430"/>
              </a:gdLst>
              <a:ahLst/>
              <a:cxnLst>
                <a:cxn ang="0">
                  <a:pos x="T0" y="T1"/>
                </a:cxn>
                <a:cxn ang="0">
                  <a:pos x="T2" y="T3"/>
                </a:cxn>
                <a:cxn ang="0">
                  <a:pos x="T4" y="T5"/>
                </a:cxn>
                <a:cxn ang="0">
                  <a:pos x="T6" y="T7"/>
                </a:cxn>
                <a:cxn ang="0">
                  <a:pos x="T8" y="T9"/>
                </a:cxn>
                <a:cxn ang="0">
                  <a:pos x="T10" y="T11"/>
                </a:cxn>
              </a:cxnLst>
              <a:rect l="0" t="0" r="r" b="b"/>
              <a:pathLst>
                <a:path w="389" h="430">
                  <a:moveTo>
                    <a:pt x="389" y="164"/>
                  </a:moveTo>
                  <a:lnTo>
                    <a:pt x="195" y="0"/>
                  </a:lnTo>
                  <a:lnTo>
                    <a:pt x="0" y="164"/>
                  </a:lnTo>
                  <a:lnTo>
                    <a:pt x="0" y="430"/>
                  </a:lnTo>
                  <a:lnTo>
                    <a:pt x="389" y="430"/>
                  </a:lnTo>
                  <a:lnTo>
                    <a:pt x="389" y="164"/>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83" name="Freeform 89"/>
            <p:cNvSpPr>
              <a:spLocks/>
            </p:cNvSpPr>
            <p:nvPr/>
          </p:nvSpPr>
          <p:spPr bwMode="auto">
            <a:xfrm>
              <a:off x="8320734" y="-1163755"/>
              <a:ext cx="381000" cy="260350"/>
            </a:xfrm>
            <a:custGeom>
              <a:avLst/>
              <a:gdLst>
                <a:gd name="T0" fmla="*/ 163 w 240"/>
                <a:gd name="T1" fmla="*/ 0 h 164"/>
                <a:gd name="T2" fmla="*/ 240 w 240"/>
                <a:gd name="T3" fmla="*/ 0 h 164"/>
                <a:gd name="T4" fmla="*/ 45 w 240"/>
                <a:gd name="T5" fmla="*/ 164 h 164"/>
                <a:gd name="T6" fmla="*/ 0 w 240"/>
                <a:gd name="T7" fmla="*/ 164 h 164"/>
                <a:gd name="T8" fmla="*/ 145 w 240"/>
                <a:gd name="T9" fmla="*/ 41 h 164"/>
                <a:gd name="T10" fmla="*/ 163 w 240"/>
                <a:gd name="T11" fmla="*/ 0 h 164"/>
              </a:gdLst>
              <a:ahLst/>
              <a:cxnLst>
                <a:cxn ang="0">
                  <a:pos x="T0" y="T1"/>
                </a:cxn>
                <a:cxn ang="0">
                  <a:pos x="T2" y="T3"/>
                </a:cxn>
                <a:cxn ang="0">
                  <a:pos x="T4" y="T5"/>
                </a:cxn>
                <a:cxn ang="0">
                  <a:pos x="T6" y="T7"/>
                </a:cxn>
                <a:cxn ang="0">
                  <a:pos x="T8" y="T9"/>
                </a:cxn>
                <a:cxn ang="0">
                  <a:pos x="T10" y="T11"/>
                </a:cxn>
              </a:cxnLst>
              <a:rect l="0" t="0" r="r" b="b"/>
              <a:pathLst>
                <a:path w="240" h="164">
                  <a:moveTo>
                    <a:pt x="163" y="0"/>
                  </a:moveTo>
                  <a:lnTo>
                    <a:pt x="240" y="0"/>
                  </a:lnTo>
                  <a:lnTo>
                    <a:pt x="45" y="164"/>
                  </a:lnTo>
                  <a:lnTo>
                    <a:pt x="0" y="164"/>
                  </a:lnTo>
                  <a:lnTo>
                    <a:pt x="145" y="41"/>
                  </a:lnTo>
                  <a:lnTo>
                    <a:pt x="163" y="0"/>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84" name="Freeform 90"/>
            <p:cNvSpPr>
              <a:spLocks/>
            </p:cNvSpPr>
            <p:nvPr/>
          </p:nvSpPr>
          <p:spPr bwMode="auto">
            <a:xfrm>
              <a:off x="8579496" y="-1163755"/>
              <a:ext cx="1049337" cy="306388"/>
            </a:xfrm>
            <a:custGeom>
              <a:avLst/>
              <a:gdLst>
                <a:gd name="T0" fmla="*/ 476 w 661"/>
                <a:gd name="T1" fmla="*/ 0 h 193"/>
                <a:gd name="T2" fmla="*/ 0 w 661"/>
                <a:gd name="T3" fmla="*/ 0 h 193"/>
                <a:gd name="T4" fmla="*/ 88 w 661"/>
                <a:gd name="T5" fmla="*/ 47 h 193"/>
                <a:gd name="T6" fmla="*/ 262 w 661"/>
                <a:gd name="T7" fmla="*/ 193 h 193"/>
                <a:gd name="T8" fmla="*/ 661 w 661"/>
                <a:gd name="T9" fmla="*/ 193 h 193"/>
                <a:gd name="T10" fmla="*/ 485 w 661"/>
                <a:gd name="T11" fmla="*/ 45 h 193"/>
                <a:gd name="T12" fmla="*/ 476 w 661"/>
                <a:gd name="T13" fmla="*/ 0 h 193"/>
              </a:gdLst>
              <a:ahLst/>
              <a:cxnLst>
                <a:cxn ang="0">
                  <a:pos x="T0" y="T1"/>
                </a:cxn>
                <a:cxn ang="0">
                  <a:pos x="T2" y="T3"/>
                </a:cxn>
                <a:cxn ang="0">
                  <a:pos x="T4" y="T5"/>
                </a:cxn>
                <a:cxn ang="0">
                  <a:pos x="T6" y="T7"/>
                </a:cxn>
                <a:cxn ang="0">
                  <a:pos x="T8" y="T9"/>
                </a:cxn>
                <a:cxn ang="0">
                  <a:pos x="T10" y="T11"/>
                </a:cxn>
                <a:cxn ang="0">
                  <a:pos x="T12" y="T13"/>
                </a:cxn>
              </a:cxnLst>
              <a:rect l="0" t="0" r="r" b="b"/>
              <a:pathLst>
                <a:path w="661" h="193">
                  <a:moveTo>
                    <a:pt x="476" y="0"/>
                  </a:moveTo>
                  <a:lnTo>
                    <a:pt x="0" y="0"/>
                  </a:lnTo>
                  <a:lnTo>
                    <a:pt x="88" y="47"/>
                  </a:lnTo>
                  <a:lnTo>
                    <a:pt x="262" y="193"/>
                  </a:lnTo>
                  <a:lnTo>
                    <a:pt x="661" y="193"/>
                  </a:lnTo>
                  <a:lnTo>
                    <a:pt x="485" y="45"/>
                  </a:lnTo>
                  <a:lnTo>
                    <a:pt x="476" y="0"/>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85" name="Rectangle 95"/>
            <p:cNvSpPr>
              <a:spLocks noChangeArrowheads="1"/>
            </p:cNvSpPr>
            <p:nvPr/>
          </p:nvSpPr>
          <p:spPr bwMode="auto">
            <a:xfrm>
              <a:off x="8463609" y="-857367"/>
              <a:ext cx="466725" cy="376238"/>
            </a:xfrm>
            <a:prstGeom prst="rect">
              <a:avLst/>
            </a:prstGeom>
            <a:solidFill>
              <a:srgbClr val="01467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86" name="Rectangle 96"/>
            <p:cNvSpPr>
              <a:spLocks noChangeArrowheads="1"/>
            </p:cNvSpPr>
            <p:nvPr/>
          </p:nvSpPr>
          <p:spPr bwMode="auto">
            <a:xfrm>
              <a:off x="8463609" y="-857367"/>
              <a:ext cx="466725" cy="3492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87" name="Rectangle 97"/>
            <p:cNvSpPr>
              <a:spLocks noChangeArrowheads="1"/>
            </p:cNvSpPr>
            <p:nvPr/>
          </p:nvSpPr>
          <p:spPr bwMode="auto">
            <a:xfrm>
              <a:off x="8454084" y="-582730"/>
              <a:ext cx="114300" cy="101600"/>
            </a:xfrm>
            <a:prstGeom prst="rect">
              <a:avLst/>
            </a:prstGeom>
            <a:solidFill>
              <a:srgbClr val="38A43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88" name="Rectangle 98"/>
            <p:cNvSpPr>
              <a:spLocks noChangeArrowheads="1"/>
            </p:cNvSpPr>
            <p:nvPr/>
          </p:nvSpPr>
          <p:spPr bwMode="auto">
            <a:xfrm>
              <a:off x="8568384" y="-582730"/>
              <a:ext cx="82550" cy="101600"/>
            </a:xfrm>
            <a:prstGeom prst="rect">
              <a:avLst/>
            </a:prstGeom>
            <a:solidFill>
              <a:srgbClr val="008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89" name="Rectangle 99"/>
            <p:cNvSpPr>
              <a:spLocks noChangeArrowheads="1"/>
            </p:cNvSpPr>
            <p:nvPr/>
          </p:nvSpPr>
          <p:spPr bwMode="auto">
            <a:xfrm>
              <a:off x="8496946" y="-582730"/>
              <a:ext cx="26987" cy="11113"/>
            </a:xfrm>
            <a:prstGeom prst="rect">
              <a:avLst/>
            </a:prstGeom>
            <a:solidFill>
              <a:srgbClr val="58AB5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90" name="Rectangle 100"/>
            <p:cNvSpPr>
              <a:spLocks noChangeArrowheads="1"/>
            </p:cNvSpPr>
            <p:nvPr/>
          </p:nvSpPr>
          <p:spPr bwMode="auto">
            <a:xfrm>
              <a:off x="8454084" y="-689092"/>
              <a:ext cx="114300" cy="101600"/>
            </a:xfrm>
            <a:prstGeom prst="rect">
              <a:avLst/>
            </a:prstGeom>
            <a:solidFill>
              <a:srgbClr val="38A43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91" name="Rectangle 101"/>
            <p:cNvSpPr>
              <a:spLocks noChangeArrowheads="1"/>
            </p:cNvSpPr>
            <p:nvPr/>
          </p:nvSpPr>
          <p:spPr bwMode="auto">
            <a:xfrm>
              <a:off x="8568384" y="-689092"/>
              <a:ext cx="82550" cy="101600"/>
            </a:xfrm>
            <a:prstGeom prst="rect">
              <a:avLst/>
            </a:prstGeom>
            <a:solidFill>
              <a:srgbClr val="008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92" name="Rectangle 102"/>
            <p:cNvSpPr>
              <a:spLocks noChangeArrowheads="1"/>
            </p:cNvSpPr>
            <p:nvPr/>
          </p:nvSpPr>
          <p:spPr bwMode="auto">
            <a:xfrm>
              <a:off x="8496946" y="-689092"/>
              <a:ext cx="26987" cy="11113"/>
            </a:xfrm>
            <a:prstGeom prst="rect">
              <a:avLst/>
            </a:prstGeom>
            <a:solidFill>
              <a:srgbClr val="58AB5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93" name="Rectangle 103"/>
            <p:cNvSpPr>
              <a:spLocks noChangeArrowheads="1"/>
            </p:cNvSpPr>
            <p:nvPr/>
          </p:nvSpPr>
          <p:spPr bwMode="auto">
            <a:xfrm>
              <a:off x="8454084" y="-795455"/>
              <a:ext cx="114300" cy="100013"/>
            </a:xfrm>
            <a:prstGeom prst="rect">
              <a:avLst/>
            </a:prstGeom>
            <a:solidFill>
              <a:srgbClr val="38A43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94" name="Rectangle 104"/>
            <p:cNvSpPr>
              <a:spLocks noChangeArrowheads="1"/>
            </p:cNvSpPr>
            <p:nvPr/>
          </p:nvSpPr>
          <p:spPr bwMode="auto">
            <a:xfrm>
              <a:off x="8568384" y="-795455"/>
              <a:ext cx="82550" cy="100013"/>
            </a:xfrm>
            <a:prstGeom prst="rect">
              <a:avLst/>
            </a:prstGeom>
            <a:solidFill>
              <a:srgbClr val="008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95" name="Rectangle 105"/>
            <p:cNvSpPr>
              <a:spLocks noChangeArrowheads="1"/>
            </p:cNvSpPr>
            <p:nvPr/>
          </p:nvSpPr>
          <p:spPr bwMode="auto">
            <a:xfrm>
              <a:off x="8498534" y="-795455"/>
              <a:ext cx="25400" cy="12700"/>
            </a:xfrm>
            <a:prstGeom prst="rect">
              <a:avLst/>
            </a:prstGeom>
            <a:solidFill>
              <a:srgbClr val="58AB5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96" name="Rectangle 106"/>
            <p:cNvSpPr>
              <a:spLocks noChangeArrowheads="1"/>
            </p:cNvSpPr>
            <p:nvPr/>
          </p:nvSpPr>
          <p:spPr bwMode="auto">
            <a:xfrm>
              <a:off x="8593784" y="-582730"/>
              <a:ext cx="114300" cy="101600"/>
            </a:xfrm>
            <a:prstGeom prst="rect">
              <a:avLst/>
            </a:prstGeom>
            <a:solidFill>
              <a:srgbClr val="38A43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97" name="Rectangle 107"/>
            <p:cNvSpPr>
              <a:spLocks noChangeArrowheads="1"/>
            </p:cNvSpPr>
            <p:nvPr/>
          </p:nvSpPr>
          <p:spPr bwMode="auto">
            <a:xfrm>
              <a:off x="8708084" y="-582730"/>
              <a:ext cx="82550" cy="101600"/>
            </a:xfrm>
            <a:prstGeom prst="rect">
              <a:avLst/>
            </a:prstGeom>
            <a:solidFill>
              <a:srgbClr val="008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98" name="Rectangle 108"/>
            <p:cNvSpPr>
              <a:spLocks noChangeArrowheads="1"/>
            </p:cNvSpPr>
            <p:nvPr/>
          </p:nvSpPr>
          <p:spPr bwMode="auto">
            <a:xfrm>
              <a:off x="8636646" y="-582730"/>
              <a:ext cx="26987" cy="11113"/>
            </a:xfrm>
            <a:prstGeom prst="rect">
              <a:avLst/>
            </a:prstGeom>
            <a:solidFill>
              <a:srgbClr val="58AB5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99" name="Rectangle 109"/>
            <p:cNvSpPr>
              <a:spLocks noChangeArrowheads="1"/>
            </p:cNvSpPr>
            <p:nvPr/>
          </p:nvSpPr>
          <p:spPr bwMode="auto">
            <a:xfrm>
              <a:off x="8593784" y="-689092"/>
              <a:ext cx="114300" cy="101600"/>
            </a:xfrm>
            <a:prstGeom prst="rect">
              <a:avLst/>
            </a:prstGeom>
            <a:solidFill>
              <a:srgbClr val="38A43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00" name="Rectangle 110"/>
            <p:cNvSpPr>
              <a:spLocks noChangeArrowheads="1"/>
            </p:cNvSpPr>
            <p:nvPr/>
          </p:nvSpPr>
          <p:spPr bwMode="auto">
            <a:xfrm>
              <a:off x="8708084" y="-689092"/>
              <a:ext cx="82550" cy="101600"/>
            </a:xfrm>
            <a:prstGeom prst="rect">
              <a:avLst/>
            </a:prstGeom>
            <a:solidFill>
              <a:srgbClr val="008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01" name="Rectangle 111"/>
            <p:cNvSpPr>
              <a:spLocks noChangeArrowheads="1"/>
            </p:cNvSpPr>
            <p:nvPr/>
          </p:nvSpPr>
          <p:spPr bwMode="auto">
            <a:xfrm>
              <a:off x="8638234" y="-689092"/>
              <a:ext cx="25400" cy="11113"/>
            </a:xfrm>
            <a:prstGeom prst="rect">
              <a:avLst/>
            </a:prstGeom>
            <a:solidFill>
              <a:srgbClr val="58AB5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02" name="Rectangle 112"/>
            <p:cNvSpPr>
              <a:spLocks noChangeArrowheads="1"/>
            </p:cNvSpPr>
            <p:nvPr/>
          </p:nvSpPr>
          <p:spPr bwMode="auto">
            <a:xfrm>
              <a:off x="8593784" y="-795455"/>
              <a:ext cx="114300" cy="100013"/>
            </a:xfrm>
            <a:prstGeom prst="rect">
              <a:avLst/>
            </a:prstGeom>
            <a:solidFill>
              <a:srgbClr val="38A43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03" name="Rectangle 113"/>
            <p:cNvSpPr>
              <a:spLocks noChangeArrowheads="1"/>
            </p:cNvSpPr>
            <p:nvPr/>
          </p:nvSpPr>
          <p:spPr bwMode="auto">
            <a:xfrm>
              <a:off x="8708084" y="-795455"/>
              <a:ext cx="82550" cy="100013"/>
            </a:xfrm>
            <a:prstGeom prst="rect">
              <a:avLst/>
            </a:prstGeom>
            <a:solidFill>
              <a:srgbClr val="008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04" name="Rectangle 114"/>
            <p:cNvSpPr>
              <a:spLocks noChangeArrowheads="1"/>
            </p:cNvSpPr>
            <p:nvPr/>
          </p:nvSpPr>
          <p:spPr bwMode="auto">
            <a:xfrm>
              <a:off x="8638234" y="-795455"/>
              <a:ext cx="25400" cy="12700"/>
            </a:xfrm>
            <a:prstGeom prst="rect">
              <a:avLst/>
            </a:prstGeom>
            <a:solidFill>
              <a:srgbClr val="58AB5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05" name="Rectangle 115"/>
            <p:cNvSpPr>
              <a:spLocks noChangeArrowheads="1"/>
            </p:cNvSpPr>
            <p:nvPr/>
          </p:nvSpPr>
          <p:spPr bwMode="auto">
            <a:xfrm>
              <a:off x="8733484" y="-582730"/>
              <a:ext cx="114300" cy="101600"/>
            </a:xfrm>
            <a:prstGeom prst="rect">
              <a:avLst/>
            </a:prstGeom>
            <a:solidFill>
              <a:srgbClr val="38A43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06" name="Rectangle 116"/>
            <p:cNvSpPr>
              <a:spLocks noChangeArrowheads="1"/>
            </p:cNvSpPr>
            <p:nvPr/>
          </p:nvSpPr>
          <p:spPr bwMode="auto">
            <a:xfrm>
              <a:off x="8847784" y="-582730"/>
              <a:ext cx="82550" cy="101600"/>
            </a:xfrm>
            <a:prstGeom prst="rect">
              <a:avLst/>
            </a:prstGeom>
            <a:solidFill>
              <a:srgbClr val="008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07" name="Rectangle 117"/>
            <p:cNvSpPr>
              <a:spLocks noChangeArrowheads="1"/>
            </p:cNvSpPr>
            <p:nvPr/>
          </p:nvSpPr>
          <p:spPr bwMode="auto">
            <a:xfrm>
              <a:off x="8776346" y="-582730"/>
              <a:ext cx="26987" cy="11113"/>
            </a:xfrm>
            <a:prstGeom prst="rect">
              <a:avLst/>
            </a:prstGeom>
            <a:solidFill>
              <a:srgbClr val="58AB5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08" name="Rectangle 118"/>
            <p:cNvSpPr>
              <a:spLocks noChangeArrowheads="1"/>
            </p:cNvSpPr>
            <p:nvPr/>
          </p:nvSpPr>
          <p:spPr bwMode="auto">
            <a:xfrm>
              <a:off x="8733484" y="-689092"/>
              <a:ext cx="114300" cy="101600"/>
            </a:xfrm>
            <a:prstGeom prst="rect">
              <a:avLst/>
            </a:prstGeom>
            <a:solidFill>
              <a:srgbClr val="38A43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09" name="Rectangle 119"/>
            <p:cNvSpPr>
              <a:spLocks noChangeArrowheads="1"/>
            </p:cNvSpPr>
            <p:nvPr/>
          </p:nvSpPr>
          <p:spPr bwMode="auto">
            <a:xfrm>
              <a:off x="8847784" y="-689092"/>
              <a:ext cx="82550" cy="101600"/>
            </a:xfrm>
            <a:prstGeom prst="rect">
              <a:avLst/>
            </a:prstGeom>
            <a:solidFill>
              <a:srgbClr val="008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10" name="Rectangle 120"/>
            <p:cNvSpPr>
              <a:spLocks noChangeArrowheads="1"/>
            </p:cNvSpPr>
            <p:nvPr/>
          </p:nvSpPr>
          <p:spPr bwMode="auto">
            <a:xfrm>
              <a:off x="8777934" y="-689092"/>
              <a:ext cx="25400" cy="11113"/>
            </a:xfrm>
            <a:prstGeom prst="rect">
              <a:avLst/>
            </a:prstGeom>
            <a:solidFill>
              <a:srgbClr val="58AB5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11" name="Rectangle 121"/>
            <p:cNvSpPr>
              <a:spLocks noChangeArrowheads="1"/>
            </p:cNvSpPr>
            <p:nvPr/>
          </p:nvSpPr>
          <p:spPr bwMode="auto">
            <a:xfrm>
              <a:off x="8733484" y="-795455"/>
              <a:ext cx="114300" cy="100013"/>
            </a:xfrm>
            <a:prstGeom prst="rect">
              <a:avLst/>
            </a:prstGeom>
            <a:solidFill>
              <a:srgbClr val="38A43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12" name="Rectangle 122"/>
            <p:cNvSpPr>
              <a:spLocks noChangeArrowheads="1"/>
            </p:cNvSpPr>
            <p:nvPr/>
          </p:nvSpPr>
          <p:spPr bwMode="auto">
            <a:xfrm>
              <a:off x="8847784" y="-795455"/>
              <a:ext cx="82550" cy="100013"/>
            </a:xfrm>
            <a:prstGeom prst="rect">
              <a:avLst/>
            </a:prstGeom>
            <a:solidFill>
              <a:srgbClr val="008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13" name="Rectangle 123"/>
            <p:cNvSpPr>
              <a:spLocks noChangeArrowheads="1"/>
            </p:cNvSpPr>
            <p:nvPr/>
          </p:nvSpPr>
          <p:spPr bwMode="auto">
            <a:xfrm>
              <a:off x="8777934" y="-795455"/>
              <a:ext cx="25400" cy="12700"/>
            </a:xfrm>
            <a:prstGeom prst="rect">
              <a:avLst/>
            </a:prstGeom>
            <a:solidFill>
              <a:srgbClr val="58AB5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14" name="Freeform 124"/>
            <p:cNvSpPr>
              <a:spLocks/>
            </p:cNvSpPr>
            <p:nvPr/>
          </p:nvSpPr>
          <p:spPr bwMode="auto">
            <a:xfrm>
              <a:off x="8587434" y="-981192"/>
              <a:ext cx="53975" cy="79375"/>
            </a:xfrm>
            <a:custGeom>
              <a:avLst/>
              <a:gdLst>
                <a:gd name="T0" fmla="*/ 0 w 26"/>
                <a:gd name="T1" fmla="*/ 37 h 39"/>
                <a:gd name="T2" fmla="*/ 0 w 26"/>
                <a:gd name="T3" fmla="*/ 29 h 39"/>
                <a:gd name="T4" fmla="*/ 5 w 26"/>
                <a:gd name="T5" fmla="*/ 32 h 39"/>
                <a:gd name="T6" fmla="*/ 10 w 26"/>
                <a:gd name="T7" fmla="*/ 33 h 39"/>
                <a:gd name="T8" fmla="*/ 13 w 26"/>
                <a:gd name="T9" fmla="*/ 32 h 39"/>
                <a:gd name="T10" fmla="*/ 15 w 26"/>
                <a:gd name="T11" fmla="*/ 32 h 39"/>
                <a:gd name="T12" fmla="*/ 17 w 26"/>
                <a:gd name="T13" fmla="*/ 30 h 39"/>
                <a:gd name="T14" fmla="*/ 17 w 26"/>
                <a:gd name="T15" fmla="*/ 29 h 39"/>
                <a:gd name="T16" fmla="*/ 16 w 26"/>
                <a:gd name="T17" fmla="*/ 27 h 39"/>
                <a:gd name="T18" fmla="*/ 15 w 26"/>
                <a:gd name="T19" fmla="*/ 25 h 39"/>
                <a:gd name="T20" fmla="*/ 12 w 26"/>
                <a:gd name="T21" fmla="*/ 24 h 39"/>
                <a:gd name="T22" fmla="*/ 9 w 26"/>
                <a:gd name="T23" fmla="*/ 22 h 39"/>
                <a:gd name="T24" fmla="*/ 2 w 26"/>
                <a:gd name="T25" fmla="*/ 18 h 39"/>
                <a:gd name="T26" fmla="*/ 0 w 26"/>
                <a:gd name="T27" fmla="*/ 11 h 39"/>
                <a:gd name="T28" fmla="*/ 1 w 26"/>
                <a:gd name="T29" fmla="*/ 6 h 39"/>
                <a:gd name="T30" fmla="*/ 4 w 26"/>
                <a:gd name="T31" fmla="*/ 2 h 39"/>
                <a:gd name="T32" fmla="*/ 9 w 26"/>
                <a:gd name="T33" fmla="*/ 0 h 39"/>
                <a:gd name="T34" fmla="*/ 15 w 26"/>
                <a:gd name="T35" fmla="*/ 0 h 39"/>
                <a:gd name="T36" fmla="*/ 20 w 26"/>
                <a:gd name="T37" fmla="*/ 0 h 39"/>
                <a:gd name="T38" fmla="*/ 24 w 26"/>
                <a:gd name="T39" fmla="*/ 1 h 39"/>
                <a:gd name="T40" fmla="*/ 24 w 26"/>
                <a:gd name="T41" fmla="*/ 9 h 39"/>
                <a:gd name="T42" fmla="*/ 22 w 26"/>
                <a:gd name="T43" fmla="*/ 8 h 39"/>
                <a:gd name="T44" fmla="*/ 20 w 26"/>
                <a:gd name="T45" fmla="*/ 7 h 39"/>
                <a:gd name="T46" fmla="*/ 17 w 26"/>
                <a:gd name="T47" fmla="*/ 7 h 39"/>
                <a:gd name="T48" fmla="*/ 15 w 26"/>
                <a:gd name="T49" fmla="*/ 7 h 39"/>
                <a:gd name="T50" fmla="*/ 13 w 26"/>
                <a:gd name="T51" fmla="*/ 7 h 39"/>
                <a:gd name="T52" fmla="*/ 11 w 26"/>
                <a:gd name="T53" fmla="*/ 8 h 39"/>
                <a:gd name="T54" fmla="*/ 9 w 26"/>
                <a:gd name="T55" fmla="*/ 9 h 39"/>
                <a:gd name="T56" fmla="*/ 9 w 26"/>
                <a:gd name="T57" fmla="*/ 10 h 39"/>
                <a:gd name="T58" fmla="*/ 9 w 26"/>
                <a:gd name="T59" fmla="*/ 12 h 39"/>
                <a:gd name="T60" fmla="*/ 11 w 26"/>
                <a:gd name="T61" fmla="*/ 14 h 39"/>
                <a:gd name="T62" fmla="*/ 13 w 26"/>
                <a:gd name="T63" fmla="*/ 15 h 39"/>
                <a:gd name="T64" fmla="*/ 16 w 26"/>
                <a:gd name="T65" fmla="*/ 16 h 39"/>
                <a:gd name="T66" fmla="*/ 20 w 26"/>
                <a:gd name="T67" fmla="*/ 18 h 39"/>
                <a:gd name="T68" fmla="*/ 23 w 26"/>
                <a:gd name="T69" fmla="*/ 21 h 39"/>
                <a:gd name="T70" fmla="*/ 25 w 26"/>
                <a:gd name="T71" fmla="*/ 24 h 39"/>
                <a:gd name="T72" fmla="*/ 26 w 26"/>
                <a:gd name="T73" fmla="*/ 28 h 39"/>
                <a:gd name="T74" fmla="*/ 25 w 26"/>
                <a:gd name="T75" fmla="*/ 33 h 39"/>
                <a:gd name="T76" fmla="*/ 21 w 26"/>
                <a:gd name="T77" fmla="*/ 37 h 39"/>
                <a:gd name="T78" fmla="*/ 17 w 26"/>
                <a:gd name="T79" fmla="*/ 39 h 39"/>
                <a:gd name="T80" fmla="*/ 11 w 26"/>
                <a:gd name="T81" fmla="*/ 39 h 39"/>
                <a:gd name="T82" fmla="*/ 5 w 26"/>
                <a:gd name="T83" fmla="*/ 39 h 39"/>
                <a:gd name="T84" fmla="*/ 0 w 26"/>
                <a:gd name="T85" fmla="*/ 37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6" h="39">
                  <a:moveTo>
                    <a:pt x="0" y="37"/>
                  </a:moveTo>
                  <a:cubicBezTo>
                    <a:pt x="0" y="29"/>
                    <a:pt x="0" y="29"/>
                    <a:pt x="0" y="29"/>
                  </a:cubicBezTo>
                  <a:cubicBezTo>
                    <a:pt x="1" y="30"/>
                    <a:pt x="3" y="31"/>
                    <a:pt x="5" y="32"/>
                  </a:cubicBezTo>
                  <a:cubicBezTo>
                    <a:pt x="7" y="32"/>
                    <a:pt x="9" y="33"/>
                    <a:pt x="10" y="33"/>
                  </a:cubicBezTo>
                  <a:cubicBezTo>
                    <a:pt x="12" y="33"/>
                    <a:pt x="12" y="33"/>
                    <a:pt x="13" y="32"/>
                  </a:cubicBezTo>
                  <a:cubicBezTo>
                    <a:pt x="14" y="32"/>
                    <a:pt x="15" y="32"/>
                    <a:pt x="15" y="32"/>
                  </a:cubicBezTo>
                  <a:cubicBezTo>
                    <a:pt x="16" y="31"/>
                    <a:pt x="16" y="31"/>
                    <a:pt x="17" y="30"/>
                  </a:cubicBezTo>
                  <a:cubicBezTo>
                    <a:pt x="17" y="30"/>
                    <a:pt x="17" y="29"/>
                    <a:pt x="17" y="29"/>
                  </a:cubicBezTo>
                  <a:cubicBezTo>
                    <a:pt x="17" y="28"/>
                    <a:pt x="17" y="27"/>
                    <a:pt x="16" y="27"/>
                  </a:cubicBezTo>
                  <a:cubicBezTo>
                    <a:pt x="16" y="26"/>
                    <a:pt x="15" y="26"/>
                    <a:pt x="15" y="25"/>
                  </a:cubicBezTo>
                  <a:cubicBezTo>
                    <a:pt x="14" y="25"/>
                    <a:pt x="13" y="24"/>
                    <a:pt x="12" y="24"/>
                  </a:cubicBezTo>
                  <a:cubicBezTo>
                    <a:pt x="11" y="23"/>
                    <a:pt x="10" y="23"/>
                    <a:pt x="9" y="22"/>
                  </a:cubicBezTo>
                  <a:cubicBezTo>
                    <a:pt x="6" y="21"/>
                    <a:pt x="3" y="20"/>
                    <a:pt x="2" y="18"/>
                  </a:cubicBezTo>
                  <a:cubicBezTo>
                    <a:pt x="0" y="16"/>
                    <a:pt x="0" y="14"/>
                    <a:pt x="0" y="11"/>
                  </a:cubicBezTo>
                  <a:cubicBezTo>
                    <a:pt x="0" y="9"/>
                    <a:pt x="0" y="7"/>
                    <a:pt x="1" y="6"/>
                  </a:cubicBezTo>
                  <a:cubicBezTo>
                    <a:pt x="2" y="5"/>
                    <a:pt x="3" y="3"/>
                    <a:pt x="4" y="2"/>
                  </a:cubicBezTo>
                  <a:cubicBezTo>
                    <a:pt x="6" y="2"/>
                    <a:pt x="7" y="1"/>
                    <a:pt x="9" y="0"/>
                  </a:cubicBezTo>
                  <a:cubicBezTo>
                    <a:pt x="11" y="0"/>
                    <a:pt x="13" y="0"/>
                    <a:pt x="15" y="0"/>
                  </a:cubicBezTo>
                  <a:cubicBezTo>
                    <a:pt x="17" y="0"/>
                    <a:pt x="19" y="0"/>
                    <a:pt x="20" y="0"/>
                  </a:cubicBezTo>
                  <a:cubicBezTo>
                    <a:pt x="22" y="0"/>
                    <a:pt x="23" y="1"/>
                    <a:pt x="24" y="1"/>
                  </a:cubicBezTo>
                  <a:cubicBezTo>
                    <a:pt x="24" y="9"/>
                    <a:pt x="24" y="9"/>
                    <a:pt x="24" y="9"/>
                  </a:cubicBezTo>
                  <a:cubicBezTo>
                    <a:pt x="24" y="9"/>
                    <a:pt x="23" y="8"/>
                    <a:pt x="22" y="8"/>
                  </a:cubicBezTo>
                  <a:cubicBezTo>
                    <a:pt x="21" y="8"/>
                    <a:pt x="21" y="7"/>
                    <a:pt x="20" y="7"/>
                  </a:cubicBezTo>
                  <a:cubicBezTo>
                    <a:pt x="19" y="7"/>
                    <a:pt x="18" y="7"/>
                    <a:pt x="17" y="7"/>
                  </a:cubicBezTo>
                  <a:cubicBezTo>
                    <a:pt x="17" y="7"/>
                    <a:pt x="16" y="7"/>
                    <a:pt x="15" y="7"/>
                  </a:cubicBezTo>
                  <a:cubicBezTo>
                    <a:pt x="14" y="7"/>
                    <a:pt x="13" y="7"/>
                    <a:pt x="13" y="7"/>
                  </a:cubicBezTo>
                  <a:cubicBezTo>
                    <a:pt x="12" y="7"/>
                    <a:pt x="11" y="7"/>
                    <a:pt x="11" y="8"/>
                  </a:cubicBezTo>
                  <a:cubicBezTo>
                    <a:pt x="10" y="8"/>
                    <a:pt x="10" y="8"/>
                    <a:pt x="9" y="9"/>
                  </a:cubicBezTo>
                  <a:cubicBezTo>
                    <a:pt x="9" y="9"/>
                    <a:pt x="9" y="10"/>
                    <a:pt x="9" y="10"/>
                  </a:cubicBezTo>
                  <a:cubicBezTo>
                    <a:pt x="9" y="11"/>
                    <a:pt x="9" y="12"/>
                    <a:pt x="9" y="12"/>
                  </a:cubicBezTo>
                  <a:cubicBezTo>
                    <a:pt x="10" y="13"/>
                    <a:pt x="10" y="13"/>
                    <a:pt x="11" y="14"/>
                  </a:cubicBezTo>
                  <a:cubicBezTo>
                    <a:pt x="11" y="14"/>
                    <a:pt x="12" y="15"/>
                    <a:pt x="13" y="15"/>
                  </a:cubicBezTo>
                  <a:cubicBezTo>
                    <a:pt x="14" y="15"/>
                    <a:pt x="15" y="16"/>
                    <a:pt x="16" y="16"/>
                  </a:cubicBezTo>
                  <a:cubicBezTo>
                    <a:pt x="18" y="17"/>
                    <a:pt x="19" y="18"/>
                    <a:pt x="20" y="18"/>
                  </a:cubicBezTo>
                  <a:cubicBezTo>
                    <a:pt x="21" y="19"/>
                    <a:pt x="22" y="20"/>
                    <a:pt x="23" y="21"/>
                  </a:cubicBezTo>
                  <a:cubicBezTo>
                    <a:pt x="24" y="22"/>
                    <a:pt x="25" y="23"/>
                    <a:pt x="25" y="24"/>
                  </a:cubicBezTo>
                  <a:cubicBezTo>
                    <a:pt x="26" y="25"/>
                    <a:pt x="26" y="26"/>
                    <a:pt x="26" y="28"/>
                  </a:cubicBezTo>
                  <a:cubicBezTo>
                    <a:pt x="26" y="30"/>
                    <a:pt x="26" y="32"/>
                    <a:pt x="25" y="33"/>
                  </a:cubicBezTo>
                  <a:cubicBezTo>
                    <a:pt x="24" y="35"/>
                    <a:pt x="23" y="36"/>
                    <a:pt x="21" y="37"/>
                  </a:cubicBezTo>
                  <a:cubicBezTo>
                    <a:pt x="20" y="38"/>
                    <a:pt x="18" y="39"/>
                    <a:pt x="17" y="39"/>
                  </a:cubicBezTo>
                  <a:cubicBezTo>
                    <a:pt x="15" y="39"/>
                    <a:pt x="13" y="39"/>
                    <a:pt x="11" y="39"/>
                  </a:cubicBezTo>
                  <a:cubicBezTo>
                    <a:pt x="9" y="39"/>
                    <a:pt x="7" y="39"/>
                    <a:pt x="5" y="39"/>
                  </a:cubicBezTo>
                  <a:cubicBezTo>
                    <a:pt x="3" y="39"/>
                    <a:pt x="1" y="38"/>
                    <a:pt x="0" y="3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15" name="Freeform 125"/>
            <p:cNvSpPr>
              <a:spLocks noEditPoints="1"/>
            </p:cNvSpPr>
            <p:nvPr/>
          </p:nvSpPr>
          <p:spPr bwMode="auto">
            <a:xfrm>
              <a:off x="8649346" y="-981192"/>
              <a:ext cx="84137" cy="88900"/>
            </a:xfrm>
            <a:custGeom>
              <a:avLst/>
              <a:gdLst>
                <a:gd name="T0" fmla="*/ 19 w 41"/>
                <a:gd name="T1" fmla="*/ 39 h 44"/>
                <a:gd name="T2" fmla="*/ 5 w 41"/>
                <a:gd name="T3" fmla="*/ 34 h 44"/>
                <a:gd name="T4" fmla="*/ 0 w 41"/>
                <a:gd name="T5" fmla="*/ 20 h 44"/>
                <a:gd name="T6" fmla="*/ 5 w 41"/>
                <a:gd name="T7" fmla="*/ 5 h 44"/>
                <a:gd name="T8" fmla="*/ 19 w 41"/>
                <a:gd name="T9" fmla="*/ 0 h 44"/>
                <a:gd name="T10" fmla="*/ 32 w 41"/>
                <a:gd name="T11" fmla="*/ 5 h 44"/>
                <a:gd name="T12" fmla="*/ 38 w 41"/>
                <a:gd name="T13" fmla="*/ 19 h 44"/>
                <a:gd name="T14" fmla="*/ 32 w 41"/>
                <a:gd name="T15" fmla="*/ 34 h 44"/>
                <a:gd name="T16" fmla="*/ 32 w 41"/>
                <a:gd name="T17" fmla="*/ 34 h 44"/>
                <a:gd name="T18" fmla="*/ 32 w 41"/>
                <a:gd name="T19" fmla="*/ 35 h 44"/>
                <a:gd name="T20" fmla="*/ 41 w 41"/>
                <a:gd name="T21" fmla="*/ 44 h 44"/>
                <a:gd name="T22" fmla="*/ 29 w 41"/>
                <a:gd name="T23" fmla="*/ 44 h 44"/>
                <a:gd name="T24" fmla="*/ 24 w 41"/>
                <a:gd name="T25" fmla="*/ 39 h 44"/>
                <a:gd name="T26" fmla="*/ 19 w 41"/>
                <a:gd name="T27" fmla="*/ 39 h 44"/>
                <a:gd name="T28" fmla="*/ 19 w 41"/>
                <a:gd name="T29" fmla="*/ 7 h 44"/>
                <a:gd name="T30" fmla="*/ 12 w 41"/>
                <a:gd name="T31" fmla="*/ 11 h 44"/>
                <a:gd name="T32" fmla="*/ 9 w 41"/>
                <a:gd name="T33" fmla="*/ 20 h 44"/>
                <a:gd name="T34" fmla="*/ 12 w 41"/>
                <a:gd name="T35" fmla="*/ 29 h 44"/>
                <a:gd name="T36" fmla="*/ 19 w 41"/>
                <a:gd name="T37" fmla="*/ 32 h 44"/>
                <a:gd name="T38" fmla="*/ 26 w 41"/>
                <a:gd name="T39" fmla="*/ 29 h 44"/>
                <a:gd name="T40" fmla="*/ 28 w 41"/>
                <a:gd name="T41" fmla="*/ 20 h 44"/>
                <a:gd name="T42" fmla="*/ 26 w 41"/>
                <a:gd name="T43" fmla="*/ 11 h 44"/>
                <a:gd name="T44" fmla="*/ 19 w 41"/>
                <a:gd name="T45" fmla="*/ 7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1" h="44">
                  <a:moveTo>
                    <a:pt x="19" y="39"/>
                  </a:moveTo>
                  <a:cubicBezTo>
                    <a:pt x="13" y="39"/>
                    <a:pt x="9" y="38"/>
                    <a:pt x="5" y="34"/>
                  </a:cubicBezTo>
                  <a:cubicBezTo>
                    <a:pt x="2" y="31"/>
                    <a:pt x="0" y="26"/>
                    <a:pt x="0" y="20"/>
                  </a:cubicBezTo>
                  <a:cubicBezTo>
                    <a:pt x="0" y="14"/>
                    <a:pt x="2" y="9"/>
                    <a:pt x="5" y="5"/>
                  </a:cubicBezTo>
                  <a:cubicBezTo>
                    <a:pt x="9" y="2"/>
                    <a:pt x="13" y="0"/>
                    <a:pt x="19" y="0"/>
                  </a:cubicBezTo>
                  <a:cubicBezTo>
                    <a:pt x="25" y="0"/>
                    <a:pt x="29" y="2"/>
                    <a:pt x="32" y="5"/>
                  </a:cubicBezTo>
                  <a:cubicBezTo>
                    <a:pt x="36" y="9"/>
                    <a:pt x="38" y="13"/>
                    <a:pt x="38" y="19"/>
                  </a:cubicBezTo>
                  <a:cubicBezTo>
                    <a:pt x="38" y="25"/>
                    <a:pt x="36" y="30"/>
                    <a:pt x="32" y="34"/>
                  </a:cubicBezTo>
                  <a:cubicBezTo>
                    <a:pt x="32" y="34"/>
                    <a:pt x="32" y="34"/>
                    <a:pt x="32" y="34"/>
                  </a:cubicBezTo>
                  <a:cubicBezTo>
                    <a:pt x="32" y="34"/>
                    <a:pt x="32" y="35"/>
                    <a:pt x="32" y="35"/>
                  </a:cubicBezTo>
                  <a:cubicBezTo>
                    <a:pt x="41" y="44"/>
                    <a:pt x="41" y="44"/>
                    <a:pt x="41" y="44"/>
                  </a:cubicBezTo>
                  <a:cubicBezTo>
                    <a:pt x="29" y="44"/>
                    <a:pt x="29" y="44"/>
                    <a:pt x="29" y="44"/>
                  </a:cubicBezTo>
                  <a:cubicBezTo>
                    <a:pt x="24" y="39"/>
                    <a:pt x="24" y="39"/>
                    <a:pt x="24" y="39"/>
                  </a:cubicBezTo>
                  <a:cubicBezTo>
                    <a:pt x="22" y="39"/>
                    <a:pt x="21" y="39"/>
                    <a:pt x="19" y="39"/>
                  </a:cubicBezTo>
                  <a:close/>
                  <a:moveTo>
                    <a:pt x="19" y="7"/>
                  </a:moveTo>
                  <a:cubicBezTo>
                    <a:pt x="16" y="7"/>
                    <a:pt x="14" y="8"/>
                    <a:pt x="12" y="11"/>
                  </a:cubicBezTo>
                  <a:cubicBezTo>
                    <a:pt x="10" y="13"/>
                    <a:pt x="9" y="16"/>
                    <a:pt x="9" y="20"/>
                  </a:cubicBezTo>
                  <a:cubicBezTo>
                    <a:pt x="9" y="23"/>
                    <a:pt x="10" y="26"/>
                    <a:pt x="12" y="29"/>
                  </a:cubicBezTo>
                  <a:cubicBezTo>
                    <a:pt x="13" y="31"/>
                    <a:pt x="16" y="32"/>
                    <a:pt x="19" y="32"/>
                  </a:cubicBezTo>
                  <a:cubicBezTo>
                    <a:pt x="22" y="32"/>
                    <a:pt x="24" y="31"/>
                    <a:pt x="26" y="29"/>
                  </a:cubicBezTo>
                  <a:cubicBezTo>
                    <a:pt x="28" y="27"/>
                    <a:pt x="28" y="24"/>
                    <a:pt x="28" y="20"/>
                  </a:cubicBezTo>
                  <a:cubicBezTo>
                    <a:pt x="28" y="16"/>
                    <a:pt x="28" y="13"/>
                    <a:pt x="26" y="11"/>
                  </a:cubicBezTo>
                  <a:cubicBezTo>
                    <a:pt x="24" y="8"/>
                    <a:pt x="22" y="7"/>
                    <a:pt x="19" y="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16" name="Freeform 126"/>
            <p:cNvSpPr>
              <a:spLocks/>
            </p:cNvSpPr>
            <p:nvPr/>
          </p:nvSpPr>
          <p:spPr bwMode="auto">
            <a:xfrm>
              <a:off x="8739834" y="-981192"/>
              <a:ext cx="46037" cy="79375"/>
            </a:xfrm>
            <a:custGeom>
              <a:avLst/>
              <a:gdLst>
                <a:gd name="T0" fmla="*/ 29 w 29"/>
                <a:gd name="T1" fmla="*/ 50 h 50"/>
                <a:gd name="T2" fmla="*/ 0 w 29"/>
                <a:gd name="T3" fmla="*/ 50 h 50"/>
                <a:gd name="T4" fmla="*/ 0 w 29"/>
                <a:gd name="T5" fmla="*/ 0 h 50"/>
                <a:gd name="T6" fmla="*/ 11 w 29"/>
                <a:gd name="T7" fmla="*/ 0 h 50"/>
                <a:gd name="T8" fmla="*/ 11 w 29"/>
                <a:gd name="T9" fmla="*/ 41 h 50"/>
                <a:gd name="T10" fmla="*/ 29 w 29"/>
                <a:gd name="T11" fmla="*/ 41 h 50"/>
                <a:gd name="T12" fmla="*/ 29 w 29"/>
                <a:gd name="T13" fmla="*/ 50 h 50"/>
              </a:gdLst>
              <a:ahLst/>
              <a:cxnLst>
                <a:cxn ang="0">
                  <a:pos x="T0" y="T1"/>
                </a:cxn>
                <a:cxn ang="0">
                  <a:pos x="T2" y="T3"/>
                </a:cxn>
                <a:cxn ang="0">
                  <a:pos x="T4" y="T5"/>
                </a:cxn>
                <a:cxn ang="0">
                  <a:pos x="T6" y="T7"/>
                </a:cxn>
                <a:cxn ang="0">
                  <a:pos x="T8" y="T9"/>
                </a:cxn>
                <a:cxn ang="0">
                  <a:pos x="T10" y="T11"/>
                </a:cxn>
                <a:cxn ang="0">
                  <a:pos x="T12" y="T13"/>
                </a:cxn>
              </a:cxnLst>
              <a:rect l="0" t="0" r="r" b="b"/>
              <a:pathLst>
                <a:path w="29" h="50">
                  <a:moveTo>
                    <a:pt x="29" y="50"/>
                  </a:moveTo>
                  <a:lnTo>
                    <a:pt x="0" y="50"/>
                  </a:lnTo>
                  <a:lnTo>
                    <a:pt x="0" y="0"/>
                  </a:lnTo>
                  <a:lnTo>
                    <a:pt x="11" y="0"/>
                  </a:lnTo>
                  <a:lnTo>
                    <a:pt x="11" y="41"/>
                  </a:lnTo>
                  <a:lnTo>
                    <a:pt x="29" y="41"/>
                  </a:lnTo>
                  <a:lnTo>
                    <a:pt x="29" y="5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17" name="Rectangle 216"/>
            <p:cNvSpPr/>
            <p:nvPr/>
          </p:nvSpPr>
          <p:spPr bwMode="auto">
            <a:xfrm>
              <a:off x="9020823" y="-1438339"/>
              <a:ext cx="852484" cy="1009620"/>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342900" marR="0" lvl="0" indent="-342900" algn="ctr" defTabSz="932472" eaLnBrk="1" fontAlgn="auto" latinLnBrk="0" hangingPunct="1">
                <a:lnSpc>
                  <a:spcPct val="90000"/>
                </a:lnSpc>
                <a:spcBef>
                  <a:spcPts val="0"/>
                </a:spcBef>
                <a:spcAft>
                  <a:spcPts val="0"/>
                </a:spcAft>
                <a:buClrTx/>
                <a:buSzTx/>
                <a:buFont typeface="Wingdings 3" panose="05040102010807070707" pitchFamily="18" charset="2"/>
                <a:buChar char="Æ"/>
                <a:tabLst/>
                <a:defRPr/>
              </a:pPr>
              <a:endParaRPr kumimoji="0" lang="en-US" sz="2000" b="1" i="0" u="none" strike="noStrike" kern="0" cap="none" spc="0" normalizeH="0" baseline="0" noProof="0" dirty="0" err="1">
                <a:ln>
                  <a:noFill/>
                </a:ln>
                <a:solidFill>
                  <a:srgbClr val="FFFFFF"/>
                </a:solidFill>
                <a:effectLst/>
                <a:uLnTx/>
                <a:uFillTx/>
                <a:latin typeface="Segoe UI Light"/>
                <a:ea typeface="Segoe UI" pitchFamily="34" charset="0"/>
                <a:cs typeface="Segoe UI" pitchFamily="34" charset="0"/>
              </a:endParaRPr>
            </a:p>
          </p:txBody>
        </p:sp>
        <p:grpSp>
          <p:nvGrpSpPr>
            <p:cNvPr id="218" name="Group 217"/>
            <p:cNvGrpSpPr/>
            <p:nvPr/>
          </p:nvGrpSpPr>
          <p:grpSpPr>
            <a:xfrm>
              <a:off x="8985896" y="-1542000"/>
              <a:ext cx="914401" cy="1187440"/>
              <a:chOff x="6586081" y="-1693595"/>
              <a:chExt cx="914401" cy="1187440"/>
            </a:xfrm>
          </p:grpSpPr>
          <p:sp>
            <p:nvSpPr>
              <p:cNvPr id="219" name="Oval 218"/>
              <p:cNvSpPr>
                <a:spLocks noChangeArrowheads="1"/>
              </p:cNvSpPr>
              <p:nvPr/>
            </p:nvSpPr>
            <p:spPr bwMode="auto">
              <a:xfrm>
                <a:off x="6601724" y="-1693595"/>
                <a:ext cx="883114" cy="167806"/>
              </a:xfrm>
              <a:prstGeom prst="ellipse">
                <a:avLst/>
              </a:prstGeom>
              <a:solidFill>
                <a:srgbClr val="1F4E7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220" name="Freeform 123"/>
              <p:cNvSpPr>
                <a:spLocks noEditPoints="1"/>
              </p:cNvSpPr>
              <p:nvPr/>
            </p:nvSpPr>
            <p:spPr bwMode="auto">
              <a:xfrm>
                <a:off x="6586081" y="-1576981"/>
                <a:ext cx="914401" cy="1070826"/>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solidFill>
                <a:srgbClr val="2E75B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grpSp>
      </p:grpSp>
      <p:grpSp>
        <p:nvGrpSpPr>
          <p:cNvPr id="4" name="Group 3"/>
          <p:cNvGrpSpPr/>
          <p:nvPr/>
        </p:nvGrpSpPr>
        <p:grpSpPr>
          <a:xfrm>
            <a:off x="6096224" y="3402265"/>
            <a:ext cx="1587849" cy="664428"/>
            <a:chOff x="6218938" y="3488408"/>
            <a:chExt cx="1465135" cy="613079"/>
          </a:xfrm>
        </p:grpSpPr>
        <p:pic>
          <p:nvPicPr>
            <p:cNvPr id="5126" name="Picture 6" descr="https://dv-website.s3.amazonaws.com/uploads/2015/06/spark-logo.png"/>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l="6841" t="6674" r="6841" b="31630"/>
            <a:stretch/>
          </p:blipFill>
          <p:spPr bwMode="auto">
            <a:xfrm>
              <a:off x="6894417" y="3567195"/>
              <a:ext cx="789656" cy="438018"/>
            </a:xfrm>
            <a:prstGeom prst="rect">
              <a:avLst/>
            </a:prstGeom>
            <a:noFill/>
            <a:extLst>
              <a:ext uri="{909E8E84-426E-40DD-AFC4-6F175D3DCCD1}">
                <a14:hiddenFill xmlns:a14="http://schemas.microsoft.com/office/drawing/2010/main">
                  <a:solidFill>
                    <a:srgbClr val="FFFFFF"/>
                  </a:solidFill>
                </a14:hiddenFill>
              </a:ext>
            </a:extLst>
          </p:spPr>
        </p:pic>
        <p:pic>
          <p:nvPicPr>
            <p:cNvPr id="221" name="Graphic 17"/>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6218938" y="3488408"/>
              <a:ext cx="613079" cy="613079"/>
            </a:xfrm>
            <a:prstGeom prst="rect">
              <a:avLst/>
            </a:prstGeom>
          </p:spPr>
        </p:pic>
      </p:grpSp>
      <p:grpSp>
        <p:nvGrpSpPr>
          <p:cNvPr id="278" name="Group 277"/>
          <p:cNvGrpSpPr/>
          <p:nvPr/>
        </p:nvGrpSpPr>
        <p:grpSpPr>
          <a:xfrm>
            <a:off x="10202288" y="2709698"/>
            <a:ext cx="959814" cy="655508"/>
            <a:chOff x="14609624" y="2859617"/>
            <a:chExt cx="4553681" cy="3109950"/>
          </a:xfrm>
        </p:grpSpPr>
        <p:pic>
          <p:nvPicPr>
            <p:cNvPr id="279" name="Picture 278"/>
            <p:cNvPicPr>
              <a:picLocks noChangeAspect="1"/>
            </p:cNvPicPr>
            <p:nvPr/>
          </p:nvPicPr>
          <p:blipFill rotWithShape="1">
            <a:blip r:embed="rId3"/>
            <a:srcRect l="17268" t="16898" r="8941" b="4459"/>
            <a:stretch/>
          </p:blipFill>
          <p:spPr>
            <a:xfrm>
              <a:off x="14740945" y="2983126"/>
              <a:ext cx="4286974" cy="2425247"/>
            </a:xfrm>
            <a:prstGeom prst="rect">
              <a:avLst/>
            </a:prstGeom>
            <a:noFill/>
            <a:ln>
              <a:noFill/>
            </a:ln>
          </p:spPr>
        </p:pic>
        <p:pic>
          <p:nvPicPr>
            <p:cNvPr id="280" name="Picture 279"/>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4609624" y="2859617"/>
              <a:ext cx="4553681" cy="3109950"/>
            </a:xfrm>
            <a:prstGeom prst="rect">
              <a:avLst/>
            </a:prstGeom>
          </p:spPr>
        </p:pic>
      </p:grpSp>
      <p:grpSp>
        <p:nvGrpSpPr>
          <p:cNvPr id="503" name="Group 502"/>
          <p:cNvGrpSpPr/>
          <p:nvPr/>
        </p:nvGrpSpPr>
        <p:grpSpPr>
          <a:xfrm>
            <a:off x="10200991" y="3810375"/>
            <a:ext cx="962409" cy="657280"/>
            <a:chOff x="5699712" y="2098842"/>
            <a:chExt cx="3637208" cy="2484043"/>
          </a:xfrm>
        </p:grpSpPr>
        <p:sp>
          <p:nvSpPr>
            <p:cNvPr id="504" name="Rectangle 503"/>
            <p:cNvSpPr/>
            <p:nvPr/>
          </p:nvSpPr>
          <p:spPr bwMode="auto">
            <a:xfrm>
              <a:off x="5744246" y="2188740"/>
              <a:ext cx="3561740" cy="2003346"/>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5439">
                      <a:srgbClr val="F8F8F8"/>
                    </a:gs>
                    <a:gs pos="10000">
                      <a:srgbClr val="F8F8F8"/>
                    </a:gs>
                  </a:gsLst>
                  <a:lin ang="5400000" scaled="0"/>
                </a:gradFill>
                <a:effectLst/>
                <a:uLnTx/>
                <a:uFillTx/>
              </a:endParaRPr>
            </a:p>
          </p:txBody>
        </p:sp>
        <p:sp>
          <p:nvSpPr>
            <p:cNvPr id="505" name="Rectangle 504"/>
            <p:cNvSpPr/>
            <p:nvPr/>
          </p:nvSpPr>
          <p:spPr bwMode="auto">
            <a:xfrm>
              <a:off x="5850212" y="2248334"/>
              <a:ext cx="791607" cy="259227"/>
            </a:xfrm>
            <a:prstGeom prst="rect">
              <a:avLst/>
            </a:prstGeom>
            <a:solidFill>
              <a:srgbClr val="FFFFF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5439">
                      <a:srgbClr val="F8F8F8"/>
                    </a:gs>
                    <a:gs pos="10000">
                      <a:srgbClr val="F8F8F8"/>
                    </a:gs>
                  </a:gsLst>
                  <a:lin ang="5400000" scaled="0"/>
                </a:gradFill>
                <a:effectLst/>
                <a:uLnTx/>
                <a:uFillTx/>
              </a:endParaRPr>
            </a:p>
          </p:txBody>
        </p:sp>
        <p:sp>
          <p:nvSpPr>
            <p:cNvPr id="506" name="Rectangle 505"/>
            <p:cNvSpPr/>
            <p:nvPr/>
          </p:nvSpPr>
          <p:spPr bwMode="auto">
            <a:xfrm>
              <a:off x="5850212" y="2559868"/>
              <a:ext cx="791607" cy="259227"/>
            </a:xfrm>
            <a:prstGeom prst="rect">
              <a:avLst/>
            </a:prstGeom>
            <a:solidFill>
              <a:srgbClr val="FFFFF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5439">
                      <a:srgbClr val="F8F8F8"/>
                    </a:gs>
                    <a:gs pos="10000">
                      <a:srgbClr val="F8F8F8"/>
                    </a:gs>
                  </a:gsLst>
                  <a:lin ang="5400000" scaled="0"/>
                </a:gradFill>
                <a:effectLst/>
                <a:uLnTx/>
                <a:uFillTx/>
              </a:endParaRPr>
            </a:p>
          </p:txBody>
        </p:sp>
        <p:sp>
          <p:nvSpPr>
            <p:cNvPr id="507" name="Rectangle 506"/>
            <p:cNvSpPr/>
            <p:nvPr/>
          </p:nvSpPr>
          <p:spPr bwMode="auto">
            <a:xfrm>
              <a:off x="5850212" y="2871403"/>
              <a:ext cx="791607" cy="259227"/>
            </a:xfrm>
            <a:prstGeom prst="rect">
              <a:avLst/>
            </a:prstGeom>
            <a:solidFill>
              <a:srgbClr val="FFFFF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5439">
                      <a:srgbClr val="F8F8F8"/>
                    </a:gs>
                    <a:gs pos="10000">
                      <a:srgbClr val="F8F8F8"/>
                    </a:gs>
                  </a:gsLst>
                  <a:lin ang="5400000" scaled="0"/>
                </a:gradFill>
                <a:effectLst/>
                <a:uLnTx/>
                <a:uFillTx/>
              </a:endParaRPr>
            </a:p>
          </p:txBody>
        </p:sp>
        <p:sp>
          <p:nvSpPr>
            <p:cNvPr id="508" name="Rectangle 507"/>
            <p:cNvSpPr/>
            <p:nvPr/>
          </p:nvSpPr>
          <p:spPr bwMode="auto">
            <a:xfrm>
              <a:off x="5850212" y="3182937"/>
              <a:ext cx="791607" cy="259227"/>
            </a:xfrm>
            <a:prstGeom prst="rect">
              <a:avLst/>
            </a:prstGeom>
            <a:solidFill>
              <a:srgbClr val="FFFFF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5439">
                      <a:srgbClr val="F8F8F8"/>
                    </a:gs>
                    <a:gs pos="10000">
                      <a:srgbClr val="F8F8F8"/>
                    </a:gs>
                  </a:gsLst>
                  <a:lin ang="5400000" scaled="0"/>
                </a:gradFill>
                <a:effectLst/>
                <a:uLnTx/>
                <a:uFillTx/>
              </a:endParaRPr>
            </a:p>
          </p:txBody>
        </p:sp>
        <p:sp>
          <p:nvSpPr>
            <p:cNvPr id="509" name="Rectangle 508"/>
            <p:cNvSpPr/>
            <p:nvPr/>
          </p:nvSpPr>
          <p:spPr bwMode="auto">
            <a:xfrm>
              <a:off x="5850212" y="3494472"/>
              <a:ext cx="791607" cy="259227"/>
            </a:xfrm>
            <a:prstGeom prst="rect">
              <a:avLst/>
            </a:prstGeom>
            <a:solidFill>
              <a:srgbClr val="FFFFF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5439">
                      <a:srgbClr val="F8F8F8"/>
                    </a:gs>
                    <a:gs pos="10000">
                      <a:srgbClr val="F8F8F8"/>
                    </a:gs>
                  </a:gsLst>
                  <a:lin ang="5400000" scaled="0"/>
                </a:gradFill>
                <a:effectLst/>
                <a:uLnTx/>
                <a:uFillTx/>
              </a:endParaRPr>
            </a:p>
          </p:txBody>
        </p:sp>
        <p:sp>
          <p:nvSpPr>
            <p:cNvPr id="510" name="Rectangle 509"/>
            <p:cNvSpPr/>
            <p:nvPr/>
          </p:nvSpPr>
          <p:spPr bwMode="auto">
            <a:xfrm>
              <a:off x="5850212" y="3806006"/>
              <a:ext cx="791607" cy="259227"/>
            </a:xfrm>
            <a:prstGeom prst="rect">
              <a:avLst/>
            </a:prstGeom>
            <a:solidFill>
              <a:srgbClr val="FFFFF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5439">
                      <a:srgbClr val="F8F8F8"/>
                    </a:gs>
                    <a:gs pos="10000">
                      <a:srgbClr val="F8F8F8"/>
                    </a:gs>
                  </a:gsLst>
                  <a:lin ang="5400000" scaled="0"/>
                </a:gradFill>
                <a:effectLst/>
                <a:uLnTx/>
                <a:uFillTx/>
              </a:endParaRPr>
            </a:p>
          </p:txBody>
        </p:sp>
        <p:sp>
          <p:nvSpPr>
            <p:cNvPr id="511" name="Rectangle 510"/>
            <p:cNvSpPr/>
            <p:nvPr/>
          </p:nvSpPr>
          <p:spPr bwMode="auto">
            <a:xfrm>
              <a:off x="6698609" y="2248334"/>
              <a:ext cx="791607" cy="259227"/>
            </a:xfrm>
            <a:prstGeom prst="rect">
              <a:avLst/>
            </a:prstGeom>
            <a:solidFill>
              <a:srgbClr val="FFFFF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5439">
                      <a:srgbClr val="F8F8F8"/>
                    </a:gs>
                    <a:gs pos="10000">
                      <a:srgbClr val="F8F8F8"/>
                    </a:gs>
                  </a:gsLst>
                  <a:lin ang="5400000" scaled="0"/>
                </a:gradFill>
                <a:effectLst/>
                <a:uLnTx/>
                <a:uFillTx/>
              </a:endParaRPr>
            </a:p>
          </p:txBody>
        </p:sp>
        <p:sp>
          <p:nvSpPr>
            <p:cNvPr id="512" name="Rectangle 511"/>
            <p:cNvSpPr/>
            <p:nvPr/>
          </p:nvSpPr>
          <p:spPr bwMode="auto">
            <a:xfrm>
              <a:off x="6698609" y="2559868"/>
              <a:ext cx="791607" cy="259227"/>
            </a:xfrm>
            <a:prstGeom prst="rect">
              <a:avLst/>
            </a:prstGeom>
            <a:solidFill>
              <a:srgbClr val="FFFFF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5439">
                      <a:srgbClr val="F8F8F8"/>
                    </a:gs>
                    <a:gs pos="10000">
                      <a:srgbClr val="F8F8F8"/>
                    </a:gs>
                  </a:gsLst>
                  <a:lin ang="5400000" scaled="0"/>
                </a:gradFill>
                <a:effectLst/>
                <a:uLnTx/>
                <a:uFillTx/>
              </a:endParaRPr>
            </a:p>
          </p:txBody>
        </p:sp>
        <p:sp>
          <p:nvSpPr>
            <p:cNvPr id="513" name="Rectangle 512"/>
            <p:cNvSpPr/>
            <p:nvPr/>
          </p:nvSpPr>
          <p:spPr bwMode="auto">
            <a:xfrm>
              <a:off x="6698609" y="2871403"/>
              <a:ext cx="791607" cy="259227"/>
            </a:xfrm>
            <a:prstGeom prst="rect">
              <a:avLst/>
            </a:prstGeom>
            <a:solidFill>
              <a:srgbClr val="FFFFF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5439">
                      <a:srgbClr val="F8F8F8"/>
                    </a:gs>
                    <a:gs pos="10000">
                      <a:srgbClr val="F8F8F8"/>
                    </a:gs>
                  </a:gsLst>
                  <a:lin ang="5400000" scaled="0"/>
                </a:gradFill>
                <a:effectLst/>
                <a:uLnTx/>
                <a:uFillTx/>
              </a:endParaRPr>
            </a:p>
          </p:txBody>
        </p:sp>
        <p:sp>
          <p:nvSpPr>
            <p:cNvPr id="514" name="Rectangle 513"/>
            <p:cNvSpPr/>
            <p:nvPr/>
          </p:nvSpPr>
          <p:spPr bwMode="auto">
            <a:xfrm>
              <a:off x="6698609" y="3182937"/>
              <a:ext cx="791607" cy="259227"/>
            </a:xfrm>
            <a:prstGeom prst="rect">
              <a:avLst/>
            </a:prstGeom>
            <a:solidFill>
              <a:srgbClr val="FFFFF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5439">
                      <a:srgbClr val="F8F8F8"/>
                    </a:gs>
                    <a:gs pos="10000">
                      <a:srgbClr val="F8F8F8"/>
                    </a:gs>
                  </a:gsLst>
                  <a:lin ang="5400000" scaled="0"/>
                </a:gradFill>
                <a:effectLst/>
                <a:uLnTx/>
                <a:uFillTx/>
              </a:endParaRPr>
            </a:p>
          </p:txBody>
        </p:sp>
        <p:sp>
          <p:nvSpPr>
            <p:cNvPr id="515" name="Rectangle 514"/>
            <p:cNvSpPr/>
            <p:nvPr/>
          </p:nvSpPr>
          <p:spPr bwMode="auto">
            <a:xfrm>
              <a:off x="6698609" y="3494472"/>
              <a:ext cx="791607" cy="259227"/>
            </a:xfrm>
            <a:prstGeom prst="rect">
              <a:avLst/>
            </a:prstGeom>
            <a:solidFill>
              <a:srgbClr val="FFFFF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5439">
                      <a:srgbClr val="F8F8F8"/>
                    </a:gs>
                    <a:gs pos="10000">
                      <a:srgbClr val="F8F8F8"/>
                    </a:gs>
                  </a:gsLst>
                  <a:lin ang="5400000" scaled="0"/>
                </a:gradFill>
                <a:effectLst/>
                <a:uLnTx/>
                <a:uFillTx/>
              </a:endParaRPr>
            </a:p>
          </p:txBody>
        </p:sp>
        <p:sp>
          <p:nvSpPr>
            <p:cNvPr id="516" name="Rectangle 515"/>
            <p:cNvSpPr/>
            <p:nvPr/>
          </p:nvSpPr>
          <p:spPr bwMode="auto">
            <a:xfrm>
              <a:off x="6698609" y="3806006"/>
              <a:ext cx="791607" cy="259227"/>
            </a:xfrm>
            <a:prstGeom prst="rect">
              <a:avLst/>
            </a:prstGeom>
            <a:solidFill>
              <a:srgbClr val="FFFFF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5439">
                      <a:srgbClr val="F8F8F8"/>
                    </a:gs>
                    <a:gs pos="10000">
                      <a:srgbClr val="F8F8F8"/>
                    </a:gs>
                  </a:gsLst>
                  <a:lin ang="5400000" scaled="0"/>
                </a:gradFill>
                <a:effectLst/>
                <a:uLnTx/>
                <a:uFillTx/>
              </a:endParaRPr>
            </a:p>
          </p:txBody>
        </p:sp>
        <p:sp>
          <p:nvSpPr>
            <p:cNvPr id="517" name="Rectangle 516"/>
            <p:cNvSpPr/>
            <p:nvPr/>
          </p:nvSpPr>
          <p:spPr bwMode="auto">
            <a:xfrm>
              <a:off x="7547006" y="2248334"/>
              <a:ext cx="1639418" cy="1816899"/>
            </a:xfrm>
            <a:prstGeom prst="rect">
              <a:avLst/>
            </a:prstGeom>
            <a:solidFill>
              <a:srgbClr val="FFFFF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5439">
                      <a:srgbClr val="F8F8F8"/>
                    </a:gs>
                    <a:gs pos="10000">
                      <a:srgbClr val="F8F8F8"/>
                    </a:gs>
                  </a:gsLst>
                  <a:lin ang="5400000" scaled="0"/>
                </a:gradFill>
                <a:effectLst/>
                <a:uLnTx/>
                <a:uFillTx/>
              </a:endParaRPr>
            </a:p>
          </p:txBody>
        </p:sp>
        <p:sp>
          <p:nvSpPr>
            <p:cNvPr id="518" name="Freeform: Shape 517"/>
            <p:cNvSpPr/>
            <p:nvPr/>
          </p:nvSpPr>
          <p:spPr bwMode="auto">
            <a:xfrm>
              <a:off x="5887792" y="2314345"/>
              <a:ext cx="697461" cy="139361"/>
            </a:xfrm>
            <a:custGeom>
              <a:avLst/>
              <a:gdLst>
                <a:gd name="connsiteX0" fmla="*/ 1042244 w 1110556"/>
                <a:gd name="connsiteY0" fmla="*/ 21878 h 221903"/>
                <a:gd name="connsiteX1" fmla="*/ 996554 w 1110556"/>
                <a:gd name="connsiteY1" fmla="*/ 114598 h 221903"/>
                <a:gd name="connsiteX2" fmla="*/ 1041351 w 1110556"/>
                <a:gd name="connsiteY2" fmla="*/ 201067 h 221903"/>
                <a:gd name="connsiteX3" fmla="*/ 1085553 w 1110556"/>
                <a:gd name="connsiteY3" fmla="*/ 112961 h 221903"/>
                <a:gd name="connsiteX4" fmla="*/ 1042244 w 1110556"/>
                <a:gd name="connsiteY4" fmla="*/ 21878 h 221903"/>
                <a:gd name="connsiteX5" fmla="*/ 556469 w 1110556"/>
                <a:gd name="connsiteY5" fmla="*/ 21878 h 221903"/>
                <a:gd name="connsiteX6" fmla="*/ 510779 w 1110556"/>
                <a:gd name="connsiteY6" fmla="*/ 114598 h 221903"/>
                <a:gd name="connsiteX7" fmla="*/ 555576 w 1110556"/>
                <a:gd name="connsiteY7" fmla="*/ 201067 h 221903"/>
                <a:gd name="connsiteX8" fmla="*/ 599778 w 1110556"/>
                <a:gd name="connsiteY8" fmla="*/ 112961 h 221903"/>
                <a:gd name="connsiteX9" fmla="*/ 556469 w 1110556"/>
                <a:gd name="connsiteY9" fmla="*/ 21878 h 221903"/>
                <a:gd name="connsiteX10" fmla="*/ 70694 w 1110556"/>
                <a:gd name="connsiteY10" fmla="*/ 21878 h 221903"/>
                <a:gd name="connsiteX11" fmla="*/ 25003 w 1110556"/>
                <a:gd name="connsiteY11" fmla="*/ 114598 h 221903"/>
                <a:gd name="connsiteX12" fmla="*/ 69801 w 1110556"/>
                <a:gd name="connsiteY12" fmla="*/ 201067 h 221903"/>
                <a:gd name="connsiteX13" fmla="*/ 114003 w 1110556"/>
                <a:gd name="connsiteY13" fmla="*/ 112961 h 221903"/>
                <a:gd name="connsiteX14" fmla="*/ 70694 w 1110556"/>
                <a:gd name="connsiteY14" fmla="*/ 21878 h 221903"/>
                <a:gd name="connsiteX15" fmla="*/ 1043434 w 1110556"/>
                <a:gd name="connsiteY15" fmla="*/ 1191 h 221903"/>
                <a:gd name="connsiteX16" fmla="*/ 1110556 w 1110556"/>
                <a:gd name="connsiteY16" fmla="*/ 110579 h 221903"/>
                <a:gd name="connsiteX17" fmla="*/ 1105719 w 1110556"/>
                <a:gd name="connsiteY17" fmla="*/ 158056 h 221903"/>
                <a:gd name="connsiteX18" fmla="*/ 1091729 w 1110556"/>
                <a:gd name="connsiteY18" fmla="*/ 192956 h 221903"/>
                <a:gd name="connsiteX19" fmla="*/ 1069256 w 1110556"/>
                <a:gd name="connsiteY19" fmla="*/ 214536 h 221903"/>
                <a:gd name="connsiteX20" fmla="*/ 1038970 w 1110556"/>
                <a:gd name="connsiteY20" fmla="*/ 221903 h 221903"/>
                <a:gd name="connsiteX21" fmla="*/ 1010320 w 1110556"/>
                <a:gd name="connsiteY21" fmla="*/ 214833 h 221903"/>
                <a:gd name="connsiteX22" fmla="*/ 989112 w 1110556"/>
                <a:gd name="connsiteY22" fmla="*/ 194221 h 221903"/>
                <a:gd name="connsiteX23" fmla="*/ 976015 w 1110556"/>
                <a:gd name="connsiteY23" fmla="*/ 160958 h 221903"/>
                <a:gd name="connsiteX24" fmla="*/ 971550 w 1110556"/>
                <a:gd name="connsiteY24" fmla="*/ 115788 h 221903"/>
                <a:gd name="connsiteX25" fmla="*/ 976238 w 1110556"/>
                <a:gd name="connsiteY25" fmla="*/ 66377 h 221903"/>
                <a:gd name="connsiteX26" fmla="*/ 990005 w 1110556"/>
                <a:gd name="connsiteY26" fmla="*/ 30435 h 221903"/>
                <a:gd name="connsiteX27" fmla="*/ 1012553 w 1110556"/>
                <a:gd name="connsiteY27" fmla="*/ 8558 h 221903"/>
                <a:gd name="connsiteX28" fmla="*/ 1043434 w 1110556"/>
                <a:gd name="connsiteY28" fmla="*/ 1191 h 221903"/>
                <a:gd name="connsiteX29" fmla="*/ 557659 w 1110556"/>
                <a:gd name="connsiteY29" fmla="*/ 1191 h 221903"/>
                <a:gd name="connsiteX30" fmla="*/ 624781 w 1110556"/>
                <a:gd name="connsiteY30" fmla="*/ 110579 h 221903"/>
                <a:gd name="connsiteX31" fmla="*/ 619944 w 1110556"/>
                <a:gd name="connsiteY31" fmla="*/ 158056 h 221903"/>
                <a:gd name="connsiteX32" fmla="*/ 605954 w 1110556"/>
                <a:gd name="connsiteY32" fmla="*/ 192956 h 221903"/>
                <a:gd name="connsiteX33" fmla="*/ 583481 w 1110556"/>
                <a:gd name="connsiteY33" fmla="*/ 214536 h 221903"/>
                <a:gd name="connsiteX34" fmla="*/ 553195 w 1110556"/>
                <a:gd name="connsiteY34" fmla="*/ 221903 h 221903"/>
                <a:gd name="connsiteX35" fmla="*/ 524545 w 1110556"/>
                <a:gd name="connsiteY35" fmla="*/ 214833 h 221903"/>
                <a:gd name="connsiteX36" fmla="*/ 503337 w 1110556"/>
                <a:gd name="connsiteY36" fmla="*/ 194221 h 221903"/>
                <a:gd name="connsiteX37" fmla="*/ 490240 w 1110556"/>
                <a:gd name="connsiteY37" fmla="*/ 160958 h 221903"/>
                <a:gd name="connsiteX38" fmla="*/ 485775 w 1110556"/>
                <a:gd name="connsiteY38" fmla="*/ 115788 h 221903"/>
                <a:gd name="connsiteX39" fmla="*/ 490463 w 1110556"/>
                <a:gd name="connsiteY39" fmla="*/ 66377 h 221903"/>
                <a:gd name="connsiteX40" fmla="*/ 504230 w 1110556"/>
                <a:gd name="connsiteY40" fmla="*/ 30435 h 221903"/>
                <a:gd name="connsiteX41" fmla="*/ 526778 w 1110556"/>
                <a:gd name="connsiteY41" fmla="*/ 8558 h 221903"/>
                <a:gd name="connsiteX42" fmla="*/ 557659 w 1110556"/>
                <a:gd name="connsiteY42" fmla="*/ 1191 h 221903"/>
                <a:gd name="connsiteX43" fmla="*/ 71884 w 1110556"/>
                <a:gd name="connsiteY43" fmla="*/ 1191 h 221903"/>
                <a:gd name="connsiteX44" fmla="*/ 139006 w 1110556"/>
                <a:gd name="connsiteY44" fmla="*/ 110579 h 221903"/>
                <a:gd name="connsiteX45" fmla="*/ 134169 w 1110556"/>
                <a:gd name="connsiteY45" fmla="*/ 158056 h 221903"/>
                <a:gd name="connsiteX46" fmla="*/ 120179 w 1110556"/>
                <a:gd name="connsiteY46" fmla="*/ 192956 h 221903"/>
                <a:gd name="connsiteX47" fmla="*/ 97706 w 1110556"/>
                <a:gd name="connsiteY47" fmla="*/ 214536 h 221903"/>
                <a:gd name="connsiteX48" fmla="*/ 67420 w 1110556"/>
                <a:gd name="connsiteY48" fmla="*/ 221903 h 221903"/>
                <a:gd name="connsiteX49" fmla="*/ 38770 w 1110556"/>
                <a:gd name="connsiteY49" fmla="*/ 214833 h 221903"/>
                <a:gd name="connsiteX50" fmla="*/ 17562 w 1110556"/>
                <a:gd name="connsiteY50" fmla="*/ 194221 h 221903"/>
                <a:gd name="connsiteX51" fmla="*/ 4465 w 1110556"/>
                <a:gd name="connsiteY51" fmla="*/ 160958 h 221903"/>
                <a:gd name="connsiteX52" fmla="*/ 0 w 1110556"/>
                <a:gd name="connsiteY52" fmla="*/ 115788 h 221903"/>
                <a:gd name="connsiteX53" fmla="*/ 4688 w 1110556"/>
                <a:gd name="connsiteY53" fmla="*/ 66377 h 221903"/>
                <a:gd name="connsiteX54" fmla="*/ 18455 w 1110556"/>
                <a:gd name="connsiteY54" fmla="*/ 30435 h 221903"/>
                <a:gd name="connsiteX55" fmla="*/ 41003 w 1110556"/>
                <a:gd name="connsiteY55" fmla="*/ 8558 h 221903"/>
                <a:gd name="connsiteX56" fmla="*/ 71884 w 1110556"/>
                <a:gd name="connsiteY56" fmla="*/ 1191 h 221903"/>
                <a:gd name="connsiteX57" fmla="*/ 895351 w 1110556"/>
                <a:gd name="connsiteY57" fmla="*/ 0 h 221903"/>
                <a:gd name="connsiteX58" fmla="*/ 904579 w 1110556"/>
                <a:gd name="connsiteY58" fmla="*/ 0 h 221903"/>
                <a:gd name="connsiteX59" fmla="*/ 904579 w 1110556"/>
                <a:gd name="connsiteY59" fmla="*/ 218182 h 221903"/>
                <a:gd name="connsiteX60" fmla="*/ 880171 w 1110556"/>
                <a:gd name="connsiteY60" fmla="*/ 218182 h 221903"/>
                <a:gd name="connsiteX61" fmla="*/ 880171 w 1110556"/>
                <a:gd name="connsiteY61" fmla="*/ 33784 h 221903"/>
                <a:gd name="connsiteX62" fmla="*/ 871911 w 1110556"/>
                <a:gd name="connsiteY62" fmla="*/ 40258 h 221903"/>
                <a:gd name="connsiteX63" fmla="*/ 859707 w 1110556"/>
                <a:gd name="connsiteY63" fmla="*/ 47476 h 221903"/>
                <a:gd name="connsiteX64" fmla="*/ 845420 w 1110556"/>
                <a:gd name="connsiteY64" fmla="*/ 54173 h 221903"/>
                <a:gd name="connsiteX65" fmla="*/ 830760 w 1110556"/>
                <a:gd name="connsiteY65" fmla="*/ 59085 h 221903"/>
                <a:gd name="connsiteX66" fmla="*/ 830760 w 1110556"/>
                <a:gd name="connsiteY66" fmla="*/ 34379 h 221903"/>
                <a:gd name="connsiteX67" fmla="*/ 847801 w 1110556"/>
                <a:gd name="connsiteY67" fmla="*/ 28352 h 221903"/>
                <a:gd name="connsiteX68" fmla="*/ 865511 w 1110556"/>
                <a:gd name="connsiteY68" fmla="*/ 19869 h 221903"/>
                <a:gd name="connsiteX69" fmla="*/ 881957 w 1110556"/>
                <a:gd name="connsiteY69" fmla="*/ 10046 h 221903"/>
                <a:gd name="connsiteX70" fmla="*/ 895351 w 1110556"/>
                <a:gd name="connsiteY70" fmla="*/ 0 h 221903"/>
                <a:gd name="connsiteX71" fmla="*/ 733426 w 1110556"/>
                <a:gd name="connsiteY71" fmla="*/ 0 h 221903"/>
                <a:gd name="connsiteX72" fmla="*/ 742654 w 1110556"/>
                <a:gd name="connsiteY72" fmla="*/ 0 h 221903"/>
                <a:gd name="connsiteX73" fmla="*/ 742654 w 1110556"/>
                <a:gd name="connsiteY73" fmla="*/ 218182 h 221903"/>
                <a:gd name="connsiteX74" fmla="*/ 718246 w 1110556"/>
                <a:gd name="connsiteY74" fmla="*/ 218182 h 221903"/>
                <a:gd name="connsiteX75" fmla="*/ 718246 w 1110556"/>
                <a:gd name="connsiteY75" fmla="*/ 33784 h 221903"/>
                <a:gd name="connsiteX76" fmla="*/ 709986 w 1110556"/>
                <a:gd name="connsiteY76" fmla="*/ 40258 h 221903"/>
                <a:gd name="connsiteX77" fmla="*/ 697782 w 1110556"/>
                <a:gd name="connsiteY77" fmla="*/ 47476 h 221903"/>
                <a:gd name="connsiteX78" fmla="*/ 683495 w 1110556"/>
                <a:gd name="connsiteY78" fmla="*/ 54173 h 221903"/>
                <a:gd name="connsiteX79" fmla="*/ 668835 w 1110556"/>
                <a:gd name="connsiteY79" fmla="*/ 59085 h 221903"/>
                <a:gd name="connsiteX80" fmla="*/ 668835 w 1110556"/>
                <a:gd name="connsiteY80" fmla="*/ 34379 h 221903"/>
                <a:gd name="connsiteX81" fmla="*/ 685876 w 1110556"/>
                <a:gd name="connsiteY81" fmla="*/ 28352 h 221903"/>
                <a:gd name="connsiteX82" fmla="*/ 703586 w 1110556"/>
                <a:gd name="connsiteY82" fmla="*/ 19869 h 221903"/>
                <a:gd name="connsiteX83" fmla="*/ 720032 w 1110556"/>
                <a:gd name="connsiteY83" fmla="*/ 10046 h 221903"/>
                <a:gd name="connsiteX84" fmla="*/ 733426 w 1110556"/>
                <a:gd name="connsiteY84" fmla="*/ 0 h 221903"/>
                <a:gd name="connsiteX85" fmla="*/ 409576 w 1110556"/>
                <a:gd name="connsiteY85" fmla="*/ 0 h 221903"/>
                <a:gd name="connsiteX86" fmla="*/ 418804 w 1110556"/>
                <a:gd name="connsiteY86" fmla="*/ 0 h 221903"/>
                <a:gd name="connsiteX87" fmla="*/ 418804 w 1110556"/>
                <a:gd name="connsiteY87" fmla="*/ 218182 h 221903"/>
                <a:gd name="connsiteX88" fmla="*/ 394396 w 1110556"/>
                <a:gd name="connsiteY88" fmla="*/ 218182 h 221903"/>
                <a:gd name="connsiteX89" fmla="*/ 394396 w 1110556"/>
                <a:gd name="connsiteY89" fmla="*/ 33784 h 221903"/>
                <a:gd name="connsiteX90" fmla="*/ 386136 w 1110556"/>
                <a:gd name="connsiteY90" fmla="*/ 40258 h 221903"/>
                <a:gd name="connsiteX91" fmla="*/ 373932 w 1110556"/>
                <a:gd name="connsiteY91" fmla="*/ 47476 h 221903"/>
                <a:gd name="connsiteX92" fmla="*/ 359645 w 1110556"/>
                <a:gd name="connsiteY92" fmla="*/ 54173 h 221903"/>
                <a:gd name="connsiteX93" fmla="*/ 344985 w 1110556"/>
                <a:gd name="connsiteY93" fmla="*/ 59085 h 221903"/>
                <a:gd name="connsiteX94" fmla="*/ 344985 w 1110556"/>
                <a:gd name="connsiteY94" fmla="*/ 34379 h 221903"/>
                <a:gd name="connsiteX95" fmla="*/ 362026 w 1110556"/>
                <a:gd name="connsiteY95" fmla="*/ 28352 h 221903"/>
                <a:gd name="connsiteX96" fmla="*/ 379736 w 1110556"/>
                <a:gd name="connsiteY96" fmla="*/ 19869 h 221903"/>
                <a:gd name="connsiteX97" fmla="*/ 396182 w 1110556"/>
                <a:gd name="connsiteY97" fmla="*/ 10046 h 221903"/>
                <a:gd name="connsiteX98" fmla="*/ 409576 w 1110556"/>
                <a:gd name="connsiteY98" fmla="*/ 0 h 221903"/>
                <a:gd name="connsiteX99" fmla="*/ 247651 w 1110556"/>
                <a:gd name="connsiteY99" fmla="*/ 0 h 221903"/>
                <a:gd name="connsiteX100" fmla="*/ 256879 w 1110556"/>
                <a:gd name="connsiteY100" fmla="*/ 0 h 221903"/>
                <a:gd name="connsiteX101" fmla="*/ 256879 w 1110556"/>
                <a:gd name="connsiteY101" fmla="*/ 218182 h 221903"/>
                <a:gd name="connsiteX102" fmla="*/ 232471 w 1110556"/>
                <a:gd name="connsiteY102" fmla="*/ 218182 h 221903"/>
                <a:gd name="connsiteX103" fmla="*/ 232471 w 1110556"/>
                <a:gd name="connsiteY103" fmla="*/ 33784 h 221903"/>
                <a:gd name="connsiteX104" fmla="*/ 224211 w 1110556"/>
                <a:gd name="connsiteY104" fmla="*/ 40258 h 221903"/>
                <a:gd name="connsiteX105" fmla="*/ 212007 w 1110556"/>
                <a:gd name="connsiteY105" fmla="*/ 47476 h 221903"/>
                <a:gd name="connsiteX106" fmla="*/ 197720 w 1110556"/>
                <a:gd name="connsiteY106" fmla="*/ 54173 h 221903"/>
                <a:gd name="connsiteX107" fmla="*/ 183060 w 1110556"/>
                <a:gd name="connsiteY107" fmla="*/ 59085 h 221903"/>
                <a:gd name="connsiteX108" fmla="*/ 183060 w 1110556"/>
                <a:gd name="connsiteY108" fmla="*/ 34379 h 221903"/>
                <a:gd name="connsiteX109" fmla="*/ 200101 w 1110556"/>
                <a:gd name="connsiteY109" fmla="*/ 28352 h 221903"/>
                <a:gd name="connsiteX110" fmla="*/ 217811 w 1110556"/>
                <a:gd name="connsiteY110" fmla="*/ 19869 h 221903"/>
                <a:gd name="connsiteX111" fmla="*/ 234257 w 1110556"/>
                <a:gd name="connsiteY111" fmla="*/ 10046 h 221903"/>
                <a:gd name="connsiteX112" fmla="*/ 247651 w 1110556"/>
                <a:gd name="connsiteY112" fmla="*/ 0 h 2219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Lst>
              <a:rect l="l" t="t" r="r" b="b"/>
              <a:pathLst>
                <a:path w="1110556" h="221903">
                  <a:moveTo>
                    <a:pt x="1042244" y="21878"/>
                  </a:moveTo>
                  <a:cubicBezTo>
                    <a:pt x="1011784" y="21878"/>
                    <a:pt x="996554" y="52784"/>
                    <a:pt x="996554" y="114598"/>
                  </a:cubicBezTo>
                  <a:cubicBezTo>
                    <a:pt x="996554" y="172244"/>
                    <a:pt x="1011486" y="201067"/>
                    <a:pt x="1041351" y="201067"/>
                  </a:cubicBezTo>
                  <a:cubicBezTo>
                    <a:pt x="1070819" y="201067"/>
                    <a:pt x="1085553" y="171698"/>
                    <a:pt x="1085553" y="112961"/>
                  </a:cubicBezTo>
                  <a:cubicBezTo>
                    <a:pt x="1085553" y="52239"/>
                    <a:pt x="1071116" y="21878"/>
                    <a:pt x="1042244" y="21878"/>
                  </a:cubicBezTo>
                  <a:close/>
                  <a:moveTo>
                    <a:pt x="556469" y="21878"/>
                  </a:moveTo>
                  <a:cubicBezTo>
                    <a:pt x="526009" y="21878"/>
                    <a:pt x="510779" y="52784"/>
                    <a:pt x="510779" y="114598"/>
                  </a:cubicBezTo>
                  <a:cubicBezTo>
                    <a:pt x="510779" y="172244"/>
                    <a:pt x="525711" y="201067"/>
                    <a:pt x="555576" y="201067"/>
                  </a:cubicBezTo>
                  <a:cubicBezTo>
                    <a:pt x="585044" y="201067"/>
                    <a:pt x="599778" y="171698"/>
                    <a:pt x="599778" y="112961"/>
                  </a:cubicBezTo>
                  <a:cubicBezTo>
                    <a:pt x="599778" y="52239"/>
                    <a:pt x="585341" y="21878"/>
                    <a:pt x="556469" y="21878"/>
                  </a:cubicBezTo>
                  <a:close/>
                  <a:moveTo>
                    <a:pt x="70694" y="21878"/>
                  </a:moveTo>
                  <a:cubicBezTo>
                    <a:pt x="40234" y="21878"/>
                    <a:pt x="25003" y="52784"/>
                    <a:pt x="25003" y="114598"/>
                  </a:cubicBezTo>
                  <a:cubicBezTo>
                    <a:pt x="25003" y="172244"/>
                    <a:pt x="39936" y="201067"/>
                    <a:pt x="69801" y="201067"/>
                  </a:cubicBezTo>
                  <a:cubicBezTo>
                    <a:pt x="99269" y="201067"/>
                    <a:pt x="114003" y="171698"/>
                    <a:pt x="114003" y="112961"/>
                  </a:cubicBezTo>
                  <a:cubicBezTo>
                    <a:pt x="114003" y="52239"/>
                    <a:pt x="99566" y="21878"/>
                    <a:pt x="70694" y="21878"/>
                  </a:cubicBezTo>
                  <a:close/>
                  <a:moveTo>
                    <a:pt x="1043434" y="1191"/>
                  </a:moveTo>
                  <a:cubicBezTo>
                    <a:pt x="1088182" y="1191"/>
                    <a:pt x="1110556" y="37654"/>
                    <a:pt x="1110556" y="110579"/>
                  </a:cubicBezTo>
                  <a:cubicBezTo>
                    <a:pt x="1110556" y="128439"/>
                    <a:pt x="1108944" y="144264"/>
                    <a:pt x="1105719" y="158056"/>
                  </a:cubicBezTo>
                  <a:cubicBezTo>
                    <a:pt x="1102494" y="171847"/>
                    <a:pt x="1097831" y="183480"/>
                    <a:pt x="1091729" y="192956"/>
                  </a:cubicBezTo>
                  <a:cubicBezTo>
                    <a:pt x="1085627" y="202431"/>
                    <a:pt x="1078136" y="209624"/>
                    <a:pt x="1069256" y="214536"/>
                  </a:cubicBezTo>
                  <a:cubicBezTo>
                    <a:pt x="1060376" y="219447"/>
                    <a:pt x="1050280" y="221903"/>
                    <a:pt x="1038970" y="221903"/>
                  </a:cubicBezTo>
                  <a:cubicBezTo>
                    <a:pt x="1028254" y="221903"/>
                    <a:pt x="1018704" y="219546"/>
                    <a:pt x="1010320" y="214833"/>
                  </a:cubicBezTo>
                  <a:cubicBezTo>
                    <a:pt x="1001936" y="210121"/>
                    <a:pt x="994867" y="203250"/>
                    <a:pt x="989112" y="194221"/>
                  </a:cubicBezTo>
                  <a:cubicBezTo>
                    <a:pt x="983357" y="185192"/>
                    <a:pt x="978992" y="174104"/>
                    <a:pt x="976015" y="160958"/>
                  </a:cubicBezTo>
                  <a:cubicBezTo>
                    <a:pt x="973039" y="147811"/>
                    <a:pt x="971550" y="132755"/>
                    <a:pt x="971550" y="115788"/>
                  </a:cubicBezTo>
                  <a:cubicBezTo>
                    <a:pt x="971550" y="97135"/>
                    <a:pt x="973113" y="80665"/>
                    <a:pt x="976238" y="66377"/>
                  </a:cubicBezTo>
                  <a:cubicBezTo>
                    <a:pt x="979364" y="52090"/>
                    <a:pt x="983953" y="40109"/>
                    <a:pt x="990005" y="30435"/>
                  </a:cubicBezTo>
                  <a:cubicBezTo>
                    <a:pt x="996057" y="20762"/>
                    <a:pt x="1003573" y="13469"/>
                    <a:pt x="1012553" y="8558"/>
                  </a:cubicBezTo>
                  <a:cubicBezTo>
                    <a:pt x="1021532" y="3646"/>
                    <a:pt x="1031826" y="1191"/>
                    <a:pt x="1043434" y="1191"/>
                  </a:cubicBezTo>
                  <a:close/>
                  <a:moveTo>
                    <a:pt x="557659" y="1191"/>
                  </a:moveTo>
                  <a:cubicBezTo>
                    <a:pt x="602407" y="1191"/>
                    <a:pt x="624781" y="37654"/>
                    <a:pt x="624781" y="110579"/>
                  </a:cubicBezTo>
                  <a:cubicBezTo>
                    <a:pt x="624781" y="128439"/>
                    <a:pt x="623169" y="144264"/>
                    <a:pt x="619944" y="158056"/>
                  </a:cubicBezTo>
                  <a:cubicBezTo>
                    <a:pt x="616719" y="171847"/>
                    <a:pt x="612056" y="183480"/>
                    <a:pt x="605954" y="192956"/>
                  </a:cubicBezTo>
                  <a:cubicBezTo>
                    <a:pt x="599852" y="202431"/>
                    <a:pt x="592361" y="209624"/>
                    <a:pt x="583481" y="214536"/>
                  </a:cubicBezTo>
                  <a:cubicBezTo>
                    <a:pt x="574601" y="219447"/>
                    <a:pt x="564505" y="221903"/>
                    <a:pt x="553195" y="221903"/>
                  </a:cubicBezTo>
                  <a:cubicBezTo>
                    <a:pt x="542479" y="221903"/>
                    <a:pt x="532929" y="219546"/>
                    <a:pt x="524545" y="214833"/>
                  </a:cubicBezTo>
                  <a:cubicBezTo>
                    <a:pt x="516161" y="210121"/>
                    <a:pt x="509092" y="203250"/>
                    <a:pt x="503337" y="194221"/>
                  </a:cubicBezTo>
                  <a:cubicBezTo>
                    <a:pt x="497582" y="185192"/>
                    <a:pt x="493217" y="174104"/>
                    <a:pt x="490240" y="160958"/>
                  </a:cubicBezTo>
                  <a:cubicBezTo>
                    <a:pt x="487264" y="147811"/>
                    <a:pt x="485775" y="132755"/>
                    <a:pt x="485775" y="115788"/>
                  </a:cubicBezTo>
                  <a:cubicBezTo>
                    <a:pt x="485775" y="97135"/>
                    <a:pt x="487338" y="80665"/>
                    <a:pt x="490463" y="66377"/>
                  </a:cubicBezTo>
                  <a:cubicBezTo>
                    <a:pt x="493589" y="52090"/>
                    <a:pt x="498178" y="40109"/>
                    <a:pt x="504230" y="30435"/>
                  </a:cubicBezTo>
                  <a:cubicBezTo>
                    <a:pt x="510282" y="20762"/>
                    <a:pt x="517798" y="13469"/>
                    <a:pt x="526778" y="8558"/>
                  </a:cubicBezTo>
                  <a:cubicBezTo>
                    <a:pt x="535757" y="3646"/>
                    <a:pt x="546051" y="1191"/>
                    <a:pt x="557659" y="1191"/>
                  </a:cubicBezTo>
                  <a:close/>
                  <a:moveTo>
                    <a:pt x="71884" y="1191"/>
                  </a:moveTo>
                  <a:cubicBezTo>
                    <a:pt x="116632" y="1191"/>
                    <a:pt x="139006" y="37654"/>
                    <a:pt x="139006" y="110579"/>
                  </a:cubicBezTo>
                  <a:cubicBezTo>
                    <a:pt x="139006" y="128439"/>
                    <a:pt x="137394" y="144264"/>
                    <a:pt x="134169" y="158056"/>
                  </a:cubicBezTo>
                  <a:cubicBezTo>
                    <a:pt x="130944" y="171847"/>
                    <a:pt x="126281" y="183480"/>
                    <a:pt x="120179" y="192956"/>
                  </a:cubicBezTo>
                  <a:cubicBezTo>
                    <a:pt x="114077" y="202431"/>
                    <a:pt x="106586" y="209624"/>
                    <a:pt x="97706" y="214536"/>
                  </a:cubicBezTo>
                  <a:cubicBezTo>
                    <a:pt x="88826" y="219447"/>
                    <a:pt x="78730" y="221903"/>
                    <a:pt x="67420" y="221903"/>
                  </a:cubicBezTo>
                  <a:cubicBezTo>
                    <a:pt x="56704" y="221903"/>
                    <a:pt x="47154" y="219546"/>
                    <a:pt x="38770" y="214833"/>
                  </a:cubicBezTo>
                  <a:cubicBezTo>
                    <a:pt x="30386" y="210121"/>
                    <a:pt x="23317" y="203250"/>
                    <a:pt x="17562" y="194221"/>
                  </a:cubicBezTo>
                  <a:cubicBezTo>
                    <a:pt x="11807" y="185192"/>
                    <a:pt x="7442" y="174104"/>
                    <a:pt x="4465" y="160958"/>
                  </a:cubicBezTo>
                  <a:cubicBezTo>
                    <a:pt x="1489" y="147811"/>
                    <a:pt x="0" y="132755"/>
                    <a:pt x="0" y="115788"/>
                  </a:cubicBezTo>
                  <a:cubicBezTo>
                    <a:pt x="0" y="97135"/>
                    <a:pt x="1563" y="80665"/>
                    <a:pt x="4688" y="66377"/>
                  </a:cubicBezTo>
                  <a:cubicBezTo>
                    <a:pt x="7814" y="52090"/>
                    <a:pt x="12403" y="40109"/>
                    <a:pt x="18455" y="30435"/>
                  </a:cubicBezTo>
                  <a:cubicBezTo>
                    <a:pt x="24507" y="20762"/>
                    <a:pt x="32023" y="13469"/>
                    <a:pt x="41003" y="8558"/>
                  </a:cubicBezTo>
                  <a:cubicBezTo>
                    <a:pt x="49982" y="3646"/>
                    <a:pt x="60276" y="1191"/>
                    <a:pt x="71884" y="1191"/>
                  </a:cubicBezTo>
                  <a:close/>
                  <a:moveTo>
                    <a:pt x="895351" y="0"/>
                  </a:moveTo>
                  <a:lnTo>
                    <a:pt x="904579" y="0"/>
                  </a:lnTo>
                  <a:lnTo>
                    <a:pt x="904579" y="218182"/>
                  </a:lnTo>
                  <a:lnTo>
                    <a:pt x="880171" y="218182"/>
                  </a:lnTo>
                  <a:lnTo>
                    <a:pt x="880171" y="33784"/>
                  </a:lnTo>
                  <a:cubicBezTo>
                    <a:pt x="878286" y="35669"/>
                    <a:pt x="875532" y="37827"/>
                    <a:pt x="871911" y="40258"/>
                  </a:cubicBezTo>
                  <a:cubicBezTo>
                    <a:pt x="868289" y="42689"/>
                    <a:pt x="864222" y="45095"/>
                    <a:pt x="859707" y="47476"/>
                  </a:cubicBezTo>
                  <a:cubicBezTo>
                    <a:pt x="855193" y="49857"/>
                    <a:pt x="850430" y="52090"/>
                    <a:pt x="845420" y="54173"/>
                  </a:cubicBezTo>
                  <a:cubicBezTo>
                    <a:pt x="840409" y="56257"/>
                    <a:pt x="835523" y="57894"/>
                    <a:pt x="830760" y="59085"/>
                  </a:cubicBezTo>
                  <a:lnTo>
                    <a:pt x="830760" y="34379"/>
                  </a:lnTo>
                  <a:cubicBezTo>
                    <a:pt x="836118" y="32891"/>
                    <a:pt x="841798" y="30882"/>
                    <a:pt x="847801" y="28352"/>
                  </a:cubicBezTo>
                  <a:cubicBezTo>
                    <a:pt x="853804" y="25822"/>
                    <a:pt x="859707" y="22994"/>
                    <a:pt x="865511" y="19869"/>
                  </a:cubicBezTo>
                  <a:cubicBezTo>
                    <a:pt x="871316" y="16743"/>
                    <a:pt x="876797" y="13469"/>
                    <a:pt x="881957" y="10046"/>
                  </a:cubicBezTo>
                  <a:cubicBezTo>
                    <a:pt x="887116" y="6623"/>
                    <a:pt x="891581" y="3274"/>
                    <a:pt x="895351" y="0"/>
                  </a:cubicBezTo>
                  <a:close/>
                  <a:moveTo>
                    <a:pt x="733426" y="0"/>
                  </a:moveTo>
                  <a:lnTo>
                    <a:pt x="742654" y="0"/>
                  </a:lnTo>
                  <a:lnTo>
                    <a:pt x="742654" y="218182"/>
                  </a:lnTo>
                  <a:lnTo>
                    <a:pt x="718246" y="218182"/>
                  </a:lnTo>
                  <a:lnTo>
                    <a:pt x="718246" y="33784"/>
                  </a:lnTo>
                  <a:cubicBezTo>
                    <a:pt x="716361" y="35669"/>
                    <a:pt x="713607" y="37827"/>
                    <a:pt x="709986" y="40258"/>
                  </a:cubicBezTo>
                  <a:cubicBezTo>
                    <a:pt x="706364" y="42689"/>
                    <a:pt x="702297" y="45095"/>
                    <a:pt x="697782" y="47476"/>
                  </a:cubicBezTo>
                  <a:cubicBezTo>
                    <a:pt x="693268" y="49857"/>
                    <a:pt x="688505" y="52090"/>
                    <a:pt x="683495" y="54173"/>
                  </a:cubicBezTo>
                  <a:cubicBezTo>
                    <a:pt x="678484" y="56257"/>
                    <a:pt x="673598" y="57894"/>
                    <a:pt x="668835" y="59085"/>
                  </a:cubicBezTo>
                  <a:lnTo>
                    <a:pt x="668835" y="34379"/>
                  </a:lnTo>
                  <a:cubicBezTo>
                    <a:pt x="674193" y="32891"/>
                    <a:pt x="679873" y="30882"/>
                    <a:pt x="685876" y="28352"/>
                  </a:cubicBezTo>
                  <a:cubicBezTo>
                    <a:pt x="691879" y="25822"/>
                    <a:pt x="697782" y="22994"/>
                    <a:pt x="703586" y="19869"/>
                  </a:cubicBezTo>
                  <a:cubicBezTo>
                    <a:pt x="709391" y="16743"/>
                    <a:pt x="714873" y="13469"/>
                    <a:pt x="720032" y="10046"/>
                  </a:cubicBezTo>
                  <a:cubicBezTo>
                    <a:pt x="725191" y="6623"/>
                    <a:pt x="729656" y="3274"/>
                    <a:pt x="733426" y="0"/>
                  </a:cubicBezTo>
                  <a:close/>
                  <a:moveTo>
                    <a:pt x="409576" y="0"/>
                  </a:moveTo>
                  <a:lnTo>
                    <a:pt x="418804" y="0"/>
                  </a:lnTo>
                  <a:lnTo>
                    <a:pt x="418804" y="218182"/>
                  </a:lnTo>
                  <a:lnTo>
                    <a:pt x="394396" y="218182"/>
                  </a:lnTo>
                  <a:lnTo>
                    <a:pt x="394396" y="33784"/>
                  </a:lnTo>
                  <a:cubicBezTo>
                    <a:pt x="392511" y="35669"/>
                    <a:pt x="389757" y="37827"/>
                    <a:pt x="386136" y="40258"/>
                  </a:cubicBezTo>
                  <a:cubicBezTo>
                    <a:pt x="382514" y="42689"/>
                    <a:pt x="378447" y="45095"/>
                    <a:pt x="373932" y="47476"/>
                  </a:cubicBezTo>
                  <a:cubicBezTo>
                    <a:pt x="369418" y="49857"/>
                    <a:pt x="364655" y="52090"/>
                    <a:pt x="359645" y="54173"/>
                  </a:cubicBezTo>
                  <a:cubicBezTo>
                    <a:pt x="354634" y="56257"/>
                    <a:pt x="349747" y="57894"/>
                    <a:pt x="344985" y="59085"/>
                  </a:cubicBezTo>
                  <a:lnTo>
                    <a:pt x="344985" y="34379"/>
                  </a:lnTo>
                  <a:cubicBezTo>
                    <a:pt x="350343" y="32891"/>
                    <a:pt x="356023" y="30882"/>
                    <a:pt x="362026" y="28352"/>
                  </a:cubicBezTo>
                  <a:cubicBezTo>
                    <a:pt x="368029" y="25822"/>
                    <a:pt x="373932" y="22994"/>
                    <a:pt x="379736" y="19869"/>
                  </a:cubicBezTo>
                  <a:cubicBezTo>
                    <a:pt x="385541" y="16743"/>
                    <a:pt x="391022" y="13469"/>
                    <a:pt x="396182" y="10046"/>
                  </a:cubicBezTo>
                  <a:cubicBezTo>
                    <a:pt x="401341" y="6623"/>
                    <a:pt x="405806" y="3274"/>
                    <a:pt x="409576" y="0"/>
                  </a:cubicBezTo>
                  <a:close/>
                  <a:moveTo>
                    <a:pt x="247651" y="0"/>
                  </a:moveTo>
                  <a:lnTo>
                    <a:pt x="256879" y="0"/>
                  </a:lnTo>
                  <a:lnTo>
                    <a:pt x="256879" y="218182"/>
                  </a:lnTo>
                  <a:lnTo>
                    <a:pt x="232471" y="218182"/>
                  </a:lnTo>
                  <a:lnTo>
                    <a:pt x="232471" y="33784"/>
                  </a:lnTo>
                  <a:cubicBezTo>
                    <a:pt x="230586" y="35669"/>
                    <a:pt x="227832" y="37827"/>
                    <a:pt x="224211" y="40258"/>
                  </a:cubicBezTo>
                  <a:cubicBezTo>
                    <a:pt x="220589" y="42689"/>
                    <a:pt x="216522" y="45095"/>
                    <a:pt x="212007" y="47476"/>
                  </a:cubicBezTo>
                  <a:cubicBezTo>
                    <a:pt x="207493" y="49857"/>
                    <a:pt x="202730" y="52090"/>
                    <a:pt x="197720" y="54173"/>
                  </a:cubicBezTo>
                  <a:cubicBezTo>
                    <a:pt x="192709" y="56257"/>
                    <a:pt x="187822" y="57894"/>
                    <a:pt x="183060" y="59085"/>
                  </a:cubicBezTo>
                  <a:lnTo>
                    <a:pt x="183060" y="34379"/>
                  </a:lnTo>
                  <a:cubicBezTo>
                    <a:pt x="188418" y="32891"/>
                    <a:pt x="194098" y="30882"/>
                    <a:pt x="200101" y="28352"/>
                  </a:cubicBezTo>
                  <a:cubicBezTo>
                    <a:pt x="206104" y="25822"/>
                    <a:pt x="212007" y="22994"/>
                    <a:pt x="217811" y="19869"/>
                  </a:cubicBezTo>
                  <a:cubicBezTo>
                    <a:pt x="223616" y="16743"/>
                    <a:pt x="229097" y="13469"/>
                    <a:pt x="234257" y="10046"/>
                  </a:cubicBezTo>
                  <a:cubicBezTo>
                    <a:pt x="239416" y="6623"/>
                    <a:pt x="243881" y="3274"/>
                    <a:pt x="247651" y="0"/>
                  </a:cubicBezTo>
                  <a:close/>
                </a:path>
              </a:pathLst>
            </a:cu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5439">
                      <a:srgbClr val="F8F8F8"/>
                    </a:gs>
                    <a:gs pos="10000">
                      <a:srgbClr val="F8F8F8"/>
                    </a:gs>
                  </a:gsLst>
                  <a:lin ang="5400000" scaled="0"/>
                </a:gradFill>
                <a:effectLst/>
                <a:uLnTx/>
                <a:uFillTx/>
              </a:endParaRPr>
            </a:p>
          </p:txBody>
        </p:sp>
        <p:sp>
          <p:nvSpPr>
            <p:cNvPr id="519" name="Freeform: Shape 518"/>
            <p:cNvSpPr/>
            <p:nvPr/>
          </p:nvSpPr>
          <p:spPr bwMode="auto">
            <a:xfrm>
              <a:off x="5908928" y="2625818"/>
              <a:ext cx="656522" cy="139362"/>
            </a:xfrm>
            <a:custGeom>
              <a:avLst/>
              <a:gdLst>
                <a:gd name="connsiteX0" fmla="*/ 859184 w 1045369"/>
                <a:gd name="connsiteY0" fmla="*/ 21878 h 221903"/>
                <a:gd name="connsiteX1" fmla="*/ 813494 w 1045369"/>
                <a:gd name="connsiteY1" fmla="*/ 114598 h 221903"/>
                <a:gd name="connsiteX2" fmla="*/ 858291 w 1045369"/>
                <a:gd name="connsiteY2" fmla="*/ 201067 h 221903"/>
                <a:gd name="connsiteX3" fmla="*/ 902493 w 1045369"/>
                <a:gd name="connsiteY3" fmla="*/ 112961 h 221903"/>
                <a:gd name="connsiteX4" fmla="*/ 859184 w 1045369"/>
                <a:gd name="connsiteY4" fmla="*/ 21878 h 221903"/>
                <a:gd name="connsiteX5" fmla="*/ 697259 w 1045369"/>
                <a:gd name="connsiteY5" fmla="*/ 21878 h 221903"/>
                <a:gd name="connsiteX6" fmla="*/ 651569 w 1045369"/>
                <a:gd name="connsiteY6" fmla="*/ 114598 h 221903"/>
                <a:gd name="connsiteX7" fmla="*/ 696366 w 1045369"/>
                <a:gd name="connsiteY7" fmla="*/ 201067 h 221903"/>
                <a:gd name="connsiteX8" fmla="*/ 740568 w 1045369"/>
                <a:gd name="connsiteY8" fmla="*/ 112961 h 221903"/>
                <a:gd name="connsiteX9" fmla="*/ 697259 w 1045369"/>
                <a:gd name="connsiteY9" fmla="*/ 21878 h 221903"/>
                <a:gd name="connsiteX10" fmla="*/ 373409 w 1045369"/>
                <a:gd name="connsiteY10" fmla="*/ 21878 h 221903"/>
                <a:gd name="connsiteX11" fmla="*/ 327719 w 1045369"/>
                <a:gd name="connsiteY11" fmla="*/ 114598 h 221903"/>
                <a:gd name="connsiteX12" fmla="*/ 372516 w 1045369"/>
                <a:gd name="connsiteY12" fmla="*/ 201067 h 221903"/>
                <a:gd name="connsiteX13" fmla="*/ 416718 w 1045369"/>
                <a:gd name="connsiteY13" fmla="*/ 112961 h 221903"/>
                <a:gd name="connsiteX14" fmla="*/ 373409 w 1045369"/>
                <a:gd name="connsiteY14" fmla="*/ 21878 h 221903"/>
                <a:gd name="connsiteX15" fmla="*/ 860374 w 1045369"/>
                <a:gd name="connsiteY15" fmla="*/ 1191 h 221903"/>
                <a:gd name="connsiteX16" fmla="*/ 927496 w 1045369"/>
                <a:gd name="connsiteY16" fmla="*/ 110579 h 221903"/>
                <a:gd name="connsiteX17" fmla="*/ 922659 w 1045369"/>
                <a:gd name="connsiteY17" fmla="*/ 158056 h 221903"/>
                <a:gd name="connsiteX18" fmla="*/ 908669 w 1045369"/>
                <a:gd name="connsiteY18" fmla="*/ 192956 h 221903"/>
                <a:gd name="connsiteX19" fmla="*/ 886196 w 1045369"/>
                <a:gd name="connsiteY19" fmla="*/ 214536 h 221903"/>
                <a:gd name="connsiteX20" fmla="*/ 855910 w 1045369"/>
                <a:gd name="connsiteY20" fmla="*/ 221903 h 221903"/>
                <a:gd name="connsiteX21" fmla="*/ 827260 w 1045369"/>
                <a:gd name="connsiteY21" fmla="*/ 214834 h 221903"/>
                <a:gd name="connsiteX22" fmla="*/ 806052 w 1045369"/>
                <a:gd name="connsiteY22" fmla="*/ 194221 h 221903"/>
                <a:gd name="connsiteX23" fmla="*/ 792955 w 1045369"/>
                <a:gd name="connsiteY23" fmla="*/ 160958 h 221903"/>
                <a:gd name="connsiteX24" fmla="*/ 788490 w 1045369"/>
                <a:gd name="connsiteY24" fmla="*/ 115788 h 221903"/>
                <a:gd name="connsiteX25" fmla="*/ 793178 w 1045369"/>
                <a:gd name="connsiteY25" fmla="*/ 66377 h 221903"/>
                <a:gd name="connsiteX26" fmla="*/ 806945 w 1045369"/>
                <a:gd name="connsiteY26" fmla="*/ 30435 h 221903"/>
                <a:gd name="connsiteX27" fmla="*/ 829493 w 1045369"/>
                <a:gd name="connsiteY27" fmla="*/ 8558 h 221903"/>
                <a:gd name="connsiteX28" fmla="*/ 860374 w 1045369"/>
                <a:gd name="connsiteY28" fmla="*/ 1191 h 221903"/>
                <a:gd name="connsiteX29" fmla="*/ 698449 w 1045369"/>
                <a:gd name="connsiteY29" fmla="*/ 1191 h 221903"/>
                <a:gd name="connsiteX30" fmla="*/ 765571 w 1045369"/>
                <a:gd name="connsiteY30" fmla="*/ 110579 h 221903"/>
                <a:gd name="connsiteX31" fmla="*/ 760734 w 1045369"/>
                <a:gd name="connsiteY31" fmla="*/ 158056 h 221903"/>
                <a:gd name="connsiteX32" fmla="*/ 746744 w 1045369"/>
                <a:gd name="connsiteY32" fmla="*/ 192956 h 221903"/>
                <a:gd name="connsiteX33" fmla="*/ 724271 w 1045369"/>
                <a:gd name="connsiteY33" fmla="*/ 214536 h 221903"/>
                <a:gd name="connsiteX34" fmla="*/ 693985 w 1045369"/>
                <a:gd name="connsiteY34" fmla="*/ 221903 h 221903"/>
                <a:gd name="connsiteX35" fmla="*/ 665335 w 1045369"/>
                <a:gd name="connsiteY35" fmla="*/ 214834 h 221903"/>
                <a:gd name="connsiteX36" fmla="*/ 644127 w 1045369"/>
                <a:gd name="connsiteY36" fmla="*/ 194221 h 221903"/>
                <a:gd name="connsiteX37" fmla="*/ 631030 w 1045369"/>
                <a:gd name="connsiteY37" fmla="*/ 160958 h 221903"/>
                <a:gd name="connsiteX38" fmla="*/ 626565 w 1045369"/>
                <a:gd name="connsiteY38" fmla="*/ 115788 h 221903"/>
                <a:gd name="connsiteX39" fmla="*/ 631253 w 1045369"/>
                <a:gd name="connsiteY39" fmla="*/ 66377 h 221903"/>
                <a:gd name="connsiteX40" fmla="*/ 645020 w 1045369"/>
                <a:gd name="connsiteY40" fmla="*/ 30435 h 221903"/>
                <a:gd name="connsiteX41" fmla="*/ 667568 w 1045369"/>
                <a:gd name="connsiteY41" fmla="*/ 8558 h 221903"/>
                <a:gd name="connsiteX42" fmla="*/ 698449 w 1045369"/>
                <a:gd name="connsiteY42" fmla="*/ 1191 h 221903"/>
                <a:gd name="connsiteX43" fmla="*/ 374599 w 1045369"/>
                <a:gd name="connsiteY43" fmla="*/ 1191 h 221903"/>
                <a:gd name="connsiteX44" fmla="*/ 441721 w 1045369"/>
                <a:gd name="connsiteY44" fmla="*/ 110579 h 221903"/>
                <a:gd name="connsiteX45" fmla="*/ 436884 w 1045369"/>
                <a:gd name="connsiteY45" fmla="*/ 158056 h 221903"/>
                <a:gd name="connsiteX46" fmla="*/ 422894 w 1045369"/>
                <a:gd name="connsiteY46" fmla="*/ 192956 h 221903"/>
                <a:gd name="connsiteX47" fmla="*/ 400421 w 1045369"/>
                <a:gd name="connsiteY47" fmla="*/ 214536 h 221903"/>
                <a:gd name="connsiteX48" fmla="*/ 370135 w 1045369"/>
                <a:gd name="connsiteY48" fmla="*/ 221903 h 221903"/>
                <a:gd name="connsiteX49" fmla="*/ 341485 w 1045369"/>
                <a:gd name="connsiteY49" fmla="*/ 214834 h 221903"/>
                <a:gd name="connsiteX50" fmla="*/ 320277 w 1045369"/>
                <a:gd name="connsiteY50" fmla="*/ 194221 h 221903"/>
                <a:gd name="connsiteX51" fmla="*/ 307180 w 1045369"/>
                <a:gd name="connsiteY51" fmla="*/ 160958 h 221903"/>
                <a:gd name="connsiteX52" fmla="*/ 302715 w 1045369"/>
                <a:gd name="connsiteY52" fmla="*/ 115788 h 221903"/>
                <a:gd name="connsiteX53" fmla="*/ 307403 w 1045369"/>
                <a:gd name="connsiteY53" fmla="*/ 66377 h 221903"/>
                <a:gd name="connsiteX54" fmla="*/ 321170 w 1045369"/>
                <a:gd name="connsiteY54" fmla="*/ 30435 h 221903"/>
                <a:gd name="connsiteX55" fmla="*/ 343718 w 1045369"/>
                <a:gd name="connsiteY55" fmla="*/ 8558 h 221903"/>
                <a:gd name="connsiteX56" fmla="*/ 374599 w 1045369"/>
                <a:gd name="connsiteY56" fmla="*/ 1191 h 221903"/>
                <a:gd name="connsiteX57" fmla="*/ 1036141 w 1045369"/>
                <a:gd name="connsiteY57" fmla="*/ 0 h 221903"/>
                <a:gd name="connsiteX58" fmla="*/ 1045369 w 1045369"/>
                <a:gd name="connsiteY58" fmla="*/ 0 h 221903"/>
                <a:gd name="connsiteX59" fmla="*/ 1045369 w 1045369"/>
                <a:gd name="connsiteY59" fmla="*/ 218182 h 221903"/>
                <a:gd name="connsiteX60" fmla="*/ 1020961 w 1045369"/>
                <a:gd name="connsiteY60" fmla="*/ 218182 h 221903"/>
                <a:gd name="connsiteX61" fmla="*/ 1020961 w 1045369"/>
                <a:gd name="connsiteY61" fmla="*/ 33784 h 221903"/>
                <a:gd name="connsiteX62" fmla="*/ 1012701 w 1045369"/>
                <a:gd name="connsiteY62" fmla="*/ 40258 h 221903"/>
                <a:gd name="connsiteX63" fmla="*/ 1000497 w 1045369"/>
                <a:gd name="connsiteY63" fmla="*/ 47476 h 221903"/>
                <a:gd name="connsiteX64" fmla="*/ 986210 w 1045369"/>
                <a:gd name="connsiteY64" fmla="*/ 54174 h 221903"/>
                <a:gd name="connsiteX65" fmla="*/ 971550 w 1045369"/>
                <a:gd name="connsiteY65" fmla="*/ 59085 h 221903"/>
                <a:gd name="connsiteX66" fmla="*/ 971550 w 1045369"/>
                <a:gd name="connsiteY66" fmla="*/ 34379 h 221903"/>
                <a:gd name="connsiteX67" fmla="*/ 988591 w 1045369"/>
                <a:gd name="connsiteY67" fmla="*/ 28352 h 221903"/>
                <a:gd name="connsiteX68" fmla="*/ 1006301 w 1045369"/>
                <a:gd name="connsiteY68" fmla="*/ 19869 h 221903"/>
                <a:gd name="connsiteX69" fmla="*/ 1022747 w 1045369"/>
                <a:gd name="connsiteY69" fmla="*/ 10046 h 221903"/>
                <a:gd name="connsiteX70" fmla="*/ 1036141 w 1045369"/>
                <a:gd name="connsiteY70" fmla="*/ 0 h 221903"/>
                <a:gd name="connsiteX71" fmla="*/ 550366 w 1045369"/>
                <a:gd name="connsiteY71" fmla="*/ 0 h 221903"/>
                <a:gd name="connsiteX72" fmla="*/ 559594 w 1045369"/>
                <a:gd name="connsiteY72" fmla="*/ 0 h 221903"/>
                <a:gd name="connsiteX73" fmla="*/ 559594 w 1045369"/>
                <a:gd name="connsiteY73" fmla="*/ 218182 h 221903"/>
                <a:gd name="connsiteX74" fmla="*/ 535186 w 1045369"/>
                <a:gd name="connsiteY74" fmla="*/ 218182 h 221903"/>
                <a:gd name="connsiteX75" fmla="*/ 535186 w 1045369"/>
                <a:gd name="connsiteY75" fmla="*/ 33784 h 221903"/>
                <a:gd name="connsiteX76" fmla="*/ 526926 w 1045369"/>
                <a:gd name="connsiteY76" fmla="*/ 40258 h 221903"/>
                <a:gd name="connsiteX77" fmla="*/ 514722 w 1045369"/>
                <a:gd name="connsiteY77" fmla="*/ 47476 h 221903"/>
                <a:gd name="connsiteX78" fmla="*/ 500435 w 1045369"/>
                <a:gd name="connsiteY78" fmla="*/ 54174 h 221903"/>
                <a:gd name="connsiteX79" fmla="*/ 485775 w 1045369"/>
                <a:gd name="connsiteY79" fmla="*/ 59085 h 221903"/>
                <a:gd name="connsiteX80" fmla="*/ 485775 w 1045369"/>
                <a:gd name="connsiteY80" fmla="*/ 34379 h 221903"/>
                <a:gd name="connsiteX81" fmla="*/ 502816 w 1045369"/>
                <a:gd name="connsiteY81" fmla="*/ 28352 h 221903"/>
                <a:gd name="connsiteX82" fmla="*/ 520526 w 1045369"/>
                <a:gd name="connsiteY82" fmla="*/ 19869 h 221903"/>
                <a:gd name="connsiteX83" fmla="*/ 536972 w 1045369"/>
                <a:gd name="connsiteY83" fmla="*/ 10046 h 221903"/>
                <a:gd name="connsiteX84" fmla="*/ 550366 w 1045369"/>
                <a:gd name="connsiteY84" fmla="*/ 0 h 221903"/>
                <a:gd name="connsiteX85" fmla="*/ 226516 w 1045369"/>
                <a:gd name="connsiteY85" fmla="*/ 0 h 221903"/>
                <a:gd name="connsiteX86" fmla="*/ 235744 w 1045369"/>
                <a:gd name="connsiteY86" fmla="*/ 0 h 221903"/>
                <a:gd name="connsiteX87" fmla="*/ 235744 w 1045369"/>
                <a:gd name="connsiteY87" fmla="*/ 218182 h 221903"/>
                <a:gd name="connsiteX88" fmla="*/ 211336 w 1045369"/>
                <a:gd name="connsiteY88" fmla="*/ 218182 h 221903"/>
                <a:gd name="connsiteX89" fmla="*/ 211336 w 1045369"/>
                <a:gd name="connsiteY89" fmla="*/ 33784 h 221903"/>
                <a:gd name="connsiteX90" fmla="*/ 203076 w 1045369"/>
                <a:gd name="connsiteY90" fmla="*/ 40258 h 221903"/>
                <a:gd name="connsiteX91" fmla="*/ 190872 w 1045369"/>
                <a:gd name="connsiteY91" fmla="*/ 47476 h 221903"/>
                <a:gd name="connsiteX92" fmla="*/ 176585 w 1045369"/>
                <a:gd name="connsiteY92" fmla="*/ 54174 h 221903"/>
                <a:gd name="connsiteX93" fmla="*/ 161925 w 1045369"/>
                <a:gd name="connsiteY93" fmla="*/ 59085 h 221903"/>
                <a:gd name="connsiteX94" fmla="*/ 161925 w 1045369"/>
                <a:gd name="connsiteY94" fmla="*/ 34379 h 221903"/>
                <a:gd name="connsiteX95" fmla="*/ 178966 w 1045369"/>
                <a:gd name="connsiteY95" fmla="*/ 28352 h 221903"/>
                <a:gd name="connsiteX96" fmla="*/ 196676 w 1045369"/>
                <a:gd name="connsiteY96" fmla="*/ 19869 h 221903"/>
                <a:gd name="connsiteX97" fmla="*/ 213122 w 1045369"/>
                <a:gd name="connsiteY97" fmla="*/ 10046 h 221903"/>
                <a:gd name="connsiteX98" fmla="*/ 226516 w 1045369"/>
                <a:gd name="connsiteY98" fmla="*/ 0 h 221903"/>
                <a:gd name="connsiteX99" fmla="*/ 64591 w 1045369"/>
                <a:gd name="connsiteY99" fmla="*/ 0 h 221903"/>
                <a:gd name="connsiteX100" fmla="*/ 73819 w 1045369"/>
                <a:gd name="connsiteY100" fmla="*/ 0 h 221903"/>
                <a:gd name="connsiteX101" fmla="*/ 73819 w 1045369"/>
                <a:gd name="connsiteY101" fmla="*/ 218182 h 221903"/>
                <a:gd name="connsiteX102" fmla="*/ 49411 w 1045369"/>
                <a:gd name="connsiteY102" fmla="*/ 218182 h 221903"/>
                <a:gd name="connsiteX103" fmla="*/ 49411 w 1045369"/>
                <a:gd name="connsiteY103" fmla="*/ 33784 h 221903"/>
                <a:gd name="connsiteX104" fmla="*/ 41151 w 1045369"/>
                <a:gd name="connsiteY104" fmla="*/ 40258 h 221903"/>
                <a:gd name="connsiteX105" fmla="*/ 28947 w 1045369"/>
                <a:gd name="connsiteY105" fmla="*/ 47476 h 221903"/>
                <a:gd name="connsiteX106" fmla="*/ 14660 w 1045369"/>
                <a:gd name="connsiteY106" fmla="*/ 54174 h 221903"/>
                <a:gd name="connsiteX107" fmla="*/ 0 w 1045369"/>
                <a:gd name="connsiteY107" fmla="*/ 59085 h 221903"/>
                <a:gd name="connsiteX108" fmla="*/ 0 w 1045369"/>
                <a:gd name="connsiteY108" fmla="*/ 34379 h 221903"/>
                <a:gd name="connsiteX109" fmla="*/ 17041 w 1045369"/>
                <a:gd name="connsiteY109" fmla="*/ 28352 h 221903"/>
                <a:gd name="connsiteX110" fmla="*/ 34751 w 1045369"/>
                <a:gd name="connsiteY110" fmla="*/ 19869 h 221903"/>
                <a:gd name="connsiteX111" fmla="*/ 51197 w 1045369"/>
                <a:gd name="connsiteY111" fmla="*/ 10046 h 221903"/>
                <a:gd name="connsiteX112" fmla="*/ 64591 w 1045369"/>
                <a:gd name="connsiteY112" fmla="*/ 0 h 2219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Lst>
              <a:rect l="l" t="t" r="r" b="b"/>
              <a:pathLst>
                <a:path w="1045369" h="221903">
                  <a:moveTo>
                    <a:pt x="859184" y="21878"/>
                  </a:moveTo>
                  <a:cubicBezTo>
                    <a:pt x="828724" y="21878"/>
                    <a:pt x="813494" y="52784"/>
                    <a:pt x="813494" y="114598"/>
                  </a:cubicBezTo>
                  <a:cubicBezTo>
                    <a:pt x="813494" y="172244"/>
                    <a:pt x="828426" y="201067"/>
                    <a:pt x="858291" y="201067"/>
                  </a:cubicBezTo>
                  <a:cubicBezTo>
                    <a:pt x="887759" y="201067"/>
                    <a:pt x="902493" y="171698"/>
                    <a:pt x="902493" y="112961"/>
                  </a:cubicBezTo>
                  <a:cubicBezTo>
                    <a:pt x="902493" y="52239"/>
                    <a:pt x="888056" y="21878"/>
                    <a:pt x="859184" y="21878"/>
                  </a:cubicBezTo>
                  <a:close/>
                  <a:moveTo>
                    <a:pt x="697259" y="21878"/>
                  </a:moveTo>
                  <a:cubicBezTo>
                    <a:pt x="666799" y="21878"/>
                    <a:pt x="651569" y="52784"/>
                    <a:pt x="651569" y="114598"/>
                  </a:cubicBezTo>
                  <a:cubicBezTo>
                    <a:pt x="651569" y="172244"/>
                    <a:pt x="666501" y="201067"/>
                    <a:pt x="696366" y="201067"/>
                  </a:cubicBezTo>
                  <a:cubicBezTo>
                    <a:pt x="725834" y="201067"/>
                    <a:pt x="740568" y="171698"/>
                    <a:pt x="740568" y="112961"/>
                  </a:cubicBezTo>
                  <a:cubicBezTo>
                    <a:pt x="740568" y="52239"/>
                    <a:pt x="726131" y="21878"/>
                    <a:pt x="697259" y="21878"/>
                  </a:cubicBezTo>
                  <a:close/>
                  <a:moveTo>
                    <a:pt x="373409" y="21878"/>
                  </a:moveTo>
                  <a:cubicBezTo>
                    <a:pt x="342949" y="21878"/>
                    <a:pt x="327719" y="52784"/>
                    <a:pt x="327719" y="114598"/>
                  </a:cubicBezTo>
                  <a:cubicBezTo>
                    <a:pt x="327719" y="172244"/>
                    <a:pt x="342651" y="201067"/>
                    <a:pt x="372516" y="201067"/>
                  </a:cubicBezTo>
                  <a:cubicBezTo>
                    <a:pt x="401984" y="201067"/>
                    <a:pt x="416718" y="171698"/>
                    <a:pt x="416718" y="112961"/>
                  </a:cubicBezTo>
                  <a:cubicBezTo>
                    <a:pt x="416718" y="52239"/>
                    <a:pt x="402281" y="21878"/>
                    <a:pt x="373409" y="21878"/>
                  </a:cubicBezTo>
                  <a:close/>
                  <a:moveTo>
                    <a:pt x="860374" y="1191"/>
                  </a:moveTo>
                  <a:cubicBezTo>
                    <a:pt x="905122" y="1191"/>
                    <a:pt x="927496" y="37654"/>
                    <a:pt x="927496" y="110579"/>
                  </a:cubicBezTo>
                  <a:cubicBezTo>
                    <a:pt x="927496" y="128439"/>
                    <a:pt x="925884" y="144264"/>
                    <a:pt x="922659" y="158056"/>
                  </a:cubicBezTo>
                  <a:cubicBezTo>
                    <a:pt x="919434" y="171847"/>
                    <a:pt x="914771" y="183480"/>
                    <a:pt x="908669" y="192956"/>
                  </a:cubicBezTo>
                  <a:cubicBezTo>
                    <a:pt x="902567" y="202431"/>
                    <a:pt x="895076" y="209625"/>
                    <a:pt x="886196" y="214536"/>
                  </a:cubicBezTo>
                  <a:cubicBezTo>
                    <a:pt x="877316" y="219447"/>
                    <a:pt x="867220" y="221903"/>
                    <a:pt x="855910" y="221903"/>
                  </a:cubicBezTo>
                  <a:cubicBezTo>
                    <a:pt x="845194" y="221903"/>
                    <a:pt x="835644" y="219546"/>
                    <a:pt x="827260" y="214834"/>
                  </a:cubicBezTo>
                  <a:cubicBezTo>
                    <a:pt x="818876" y="210121"/>
                    <a:pt x="811807" y="203250"/>
                    <a:pt x="806052" y="194221"/>
                  </a:cubicBezTo>
                  <a:cubicBezTo>
                    <a:pt x="800297" y="185192"/>
                    <a:pt x="795932" y="174104"/>
                    <a:pt x="792955" y="160958"/>
                  </a:cubicBezTo>
                  <a:cubicBezTo>
                    <a:pt x="789979" y="147811"/>
                    <a:pt x="788490" y="132755"/>
                    <a:pt x="788490" y="115788"/>
                  </a:cubicBezTo>
                  <a:cubicBezTo>
                    <a:pt x="788490" y="97135"/>
                    <a:pt x="790053" y="80665"/>
                    <a:pt x="793178" y="66377"/>
                  </a:cubicBezTo>
                  <a:cubicBezTo>
                    <a:pt x="796304" y="52090"/>
                    <a:pt x="800893" y="40109"/>
                    <a:pt x="806945" y="30435"/>
                  </a:cubicBezTo>
                  <a:cubicBezTo>
                    <a:pt x="812997" y="20762"/>
                    <a:pt x="820513" y="13469"/>
                    <a:pt x="829493" y="8558"/>
                  </a:cubicBezTo>
                  <a:cubicBezTo>
                    <a:pt x="838472" y="3646"/>
                    <a:pt x="848766" y="1191"/>
                    <a:pt x="860374" y="1191"/>
                  </a:cubicBezTo>
                  <a:close/>
                  <a:moveTo>
                    <a:pt x="698449" y="1191"/>
                  </a:moveTo>
                  <a:cubicBezTo>
                    <a:pt x="743197" y="1191"/>
                    <a:pt x="765571" y="37654"/>
                    <a:pt x="765571" y="110579"/>
                  </a:cubicBezTo>
                  <a:cubicBezTo>
                    <a:pt x="765571" y="128439"/>
                    <a:pt x="763959" y="144264"/>
                    <a:pt x="760734" y="158056"/>
                  </a:cubicBezTo>
                  <a:cubicBezTo>
                    <a:pt x="757509" y="171847"/>
                    <a:pt x="752846" y="183480"/>
                    <a:pt x="746744" y="192956"/>
                  </a:cubicBezTo>
                  <a:cubicBezTo>
                    <a:pt x="740642" y="202431"/>
                    <a:pt x="733151" y="209625"/>
                    <a:pt x="724271" y="214536"/>
                  </a:cubicBezTo>
                  <a:cubicBezTo>
                    <a:pt x="715391" y="219447"/>
                    <a:pt x="705295" y="221903"/>
                    <a:pt x="693985" y="221903"/>
                  </a:cubicBezTo>
                  <a:cubicBezTo>
                    <a:pt x="683269" y="221903"/>
                    <a:pt x="673719" y="219546"/>
                    <a:pt x="665335" y="214834"/>
                  </a:cubicBezTo>
                  <a:cubicBezTo>
                    <a:pt x="656951" y="210121"/>
                    <a:pt x="649882" y="203250"/>
                    <a:pt x="644127" y="194221"/>
                  </a:cubicBezTo>
                  <a:cubicBezTo>
                    <a:pt x="638372" y="185192"/>
                    <a:pt x="634007" y="174104"/>
                    <a:pt x="631030" y="160958"/>
                  </a:cubicBezTo>
                  <a:cubicBezTo>
                    <a:pt x="628054" y="147811"/>
                    <a:pt x="626565" y="132755"/>
                    <a:pt x="626565" y="115788"/>
                  </a:cubicBezTo>
                  <a:cubicBezTo>
                    <a:pt x="626565" y="97135"/>
                    <a:pt x="628128" y="80665"/>
                    <a:pt x="631253" y="66377"/>
                  </a:cubicBezTo>
                  <a:cubicBezTo>
                    <a:pt x="634379" y="52090"/>
                    <a:pt x="638968" y="40109"/>
                    <a:pt x="645020" y="30435"/>
                  </a:cubicBezTo>
                  <a:cubicBezTo>
                    <a:pt x="651072" y="20762"/>
                    <a:pt x="658588" y="13469"/>
                    <a:pt x="667568" y="8558"/>
                  </a:cubicBezTo>
                  <a:cubicBezTo>
                    <a:pt x="676547" y="3646"/>
                    <a:pt x="686841" y="1191"/>
                    <a:pt x="698449" y="1191"/>
                  </a:cubicBezTo>
                  <a:close/>
                  <a:moveTo>
                    <a:pt x="374599" y="1191"/>
                  </a:moveTo>
                  <a:cubicBezTo>
                    <a:pt x="419347" y="1191"/>
                    <a:pt x="441721" y="37654"/>
                    <a:pt x="441721" y="110579"/>
                  </a:cubicBezTo>
                  <a:cubicBezTo>
                    <a:pt x="441721" y="128439"/>
                    <a:pt x="440109" y="144264"/>
                    <a:pt x="436884" y="158056"/>
                  </a:cubicBezTo>
                  <a:cubicBezTo>
                    <a:pt x="433659" y="171847"/>
                    <a:pt x="428996" y="183480"/>
                    <a:pt x="422894" y="192956"/>
                  </a:cubicBezTo>
                  <a:cubicBezTo>
                    <a:pt x="416792" y="202431"/>
                    <a:pt x="409301" y="209625"/>
                    <a:pt x="400421" y="214536"/>
                  </a:cubicBezTo>
                  <a:cubicBezTo>
                    <a:pt x="391541" y="219447"/>
                    <a:pt x="381445" y="221903"/>
                    <a:pt x="370135" y="221903"/>
                  </a:cubicBezTo>
                  <a:cubicBezTo>
                    <a:pt x="359419" y="221903"/>
                    <a:pt x="349869" y="219546"/>
                    <a:pt x="341485" y="214834"/>
                  </a:cubicBezTo>
                  <a:cubicBezTo>
                    <a:pt x="333101" y="210121"/>
                    <a:pt x="326032" y="203250"/>
                    <a:pt x="320277" y="194221"/>
                  </a:cubicBezTo>
                  <a:cubicBezTo>
                    <a:pt x="314522" y="185192"/>
                    <a:pt x="310157" y="174104"/>
                    <a:pt x="307180" y="160958"/>
                  </a:cubicBezTo>
                  <a:cubicBezTo>
                    <a:pt x="304204" y="147811"/>
                    <a:pt x="302715" y="132755"/>
                    <a:pt x="302715" y="115788"/>
                  </a:cubicBezTo>
                  <a:cubicBezTo>
                    <a:pt x="302715" y="97135"/>
                    <a:pt x="304278" y="80665"/>
                    <a:pt x="307403" y="66377"/>
                  </a:cubicBezTo>
                  <a:cubicBezTo>
                    <a:pt x="310529" y="52090"/>
                    <a:pt x="315118" y="40109"/>
                    <a:pt x="321170" y="30435"/>
                  </a:cubicBezTo>
                  <a:cubicBezTo>
                    <a:pt x="327222" y="20762"/>
                    <a:pt x="334738" y="13469"/>
                    <a:pt x="343718" y="8558"/>
                  </a:cubicBezTo>
                  <a:cubicBezTo>
                    <a:pt x="352697" y="3646"/>
                    <a:pt x="362991" y="1191"/>
                    <a:pt x="374599" y="1191"/>
                  </a:cubicBezTo>
                  <a:close/>
                  <a:moveTo>
                    <a:pt x="1036141" y="0"/>
                  </a:moveTo>
                  <a:lnTo>
                    <a:pt x="1045369" y="0"/>
                  </a:lnTo>
                  <a:lnTo>
                    <a:pt x="1045369" y="218182"/>
                  </a:lnTo>
                  <a:lnTo>
                    <a:pt x="1020961" y="218182"/>
                  </a:lnTo>
                  <a:lnTo>
                    <a:pt x="1020961" y="33784"/>
                  </a:lnTo>
                  <a:cubicBezTo>
                    <a:pt x="1019076" y="35669"/>
                    <a:pt x="1016323" y="37827"/>
                    <a:pt x="1012701" y="40258"/>
                  </a:cubicBezTo>
                  <a:cubicBezTo>
                    <a:pt x="1009080" y="42689"/>
                    <a:pt x="1005012" y="45095"/>
                    <a:pt x="1000497" y="47476"/>
                  </a:cubicBezTo>
                  <a:cubicBezTo>
                    <a:pt x="995983" y="49858"/>
                    <a:pt x="991220" y="52090"/>
                    <a:pt x="986210" y="54174"/>
                  </a:cubicBezTo>
                  <a:cubicBezTo>
                    <a:pt x="981199" y="56257"/>
                    <a:pt x="976312" y="57894"/>
                    <a:pt x="971550" y="59085"/>
                  </a:cubicBezTo>
                  <a:lnTo>
                    <a:pt x="971550" y="34379"/>
                  </a:lnTo>
                  <a:cubicBezTo>
                    <a:pt x="976908" y="32891"/>
                    <a:pt x="982588" y="30882"/>
                    <a:pt x="988591" y="28352"/>
                  </a:cubicBezTo>
                  <a:cubicBezTo>
                    <a:pt x="994594" y="25822"/>
                    <a:pt x="1000497" y="22994"/>
                    <a:pt x="1006301" y="19869"/>
                  </a:cubicBezTo>
                  <a:cubicBezTo>
                    <a:pt x="1012106" y="16743"/>
                    <a:pt x="1017588" y="13469"/>
                    <a:pt x="1022747" y="10046"/>
                  </a:cubicBezTo>
                  <a:cubicBezTo>
                    <a:pt x="1027906" y="6623"/>
                    <a:pt x="1032371" y="3274"/>
                    <a:pt x="1036141" y="0"/>
                  </a:cubicBezTo>
                  <a:close/>
                  <a:moveTo>
                    <a:pt x="550366" y="0"/>
                  </a:moveTo>
                  <a:lnTo>
                    <a:pt x="559594" y="0"/>
                  </a:lnTo>
                  <a:lnTo>
                    <a:pt x="559594" y="218182"/>
                  </a:lnTo>
                  <a:lnTo>
                    <a:pt x="535186" y="218182"/>
                  </a:lnTo>
                  <a:lnTo>
                    <a:pt x="535186" y="33784"/>
                  </a:lnTo>
                  <a:cubicBezTo>
                    <a:pt x="533301" y="35669"/>
                    <a:pt x="530547" y="37827"/>
                    <a:pt x="526926" y="40258"/>
                  </a:cubicBezTo>
                  <a:cubicBezTo>
                    <a:pt x="523305" y="42689"/>
                    <a:pt x="519237" y="45095"/>
                    <a:pt x="514722" y="47476"/>
                  </a:cubicBezTo>
                  <a:cubicBezTo>
                    <a:pt x="510208" y="49858"/>
                    <a:pt x="505445" y="52090"/>
                    <a:pt x="500435" y="54174"/>
                  </a:cubicBezTo>
                  <a:cubicBezTo>
                    <a:pt x="495424" y="56257"/>
                    <a:pt x="490538" y="57894"/>
                    <a:pt x="485775" y="59085"/>
                  </a:cubicBezTo>
                  <a:lnTo>
                    <a:pt x="485775" y="34379"/>
                  </a:lnTo>
                  <a:cubicBezTo>
                    <a:pt x="491133" y="32891"/>
                    <a:pt x="496813" y="30882"/>
                    <a:pt x="502816" y="28352"/>
                  </a:cubicBezTo>
                  <a:cubicBezTo>
                    <a:pt x="508819" y="25822"/>
                    <a:pt x="514722" y="22994"/>
                    <a:pt x="520526" y="19869"/>
                  </a:cubicBezTo>
                  <a:cubicBezTo>
                    <a:pt x="526331" y="16743"/>
                    <a:pt x="531813" y="13469"/>
                    <a:pt x="536972" y="10046"/>
                  </a:cubicBezTo>
                  <a:cubicBezTo>
                    <a:pt x="542131" y="6623"/>
                    <a:pt x="546596" y="3274"/>
                    <a:pt x="550366" y="0"/>
                  </a:cubicBezTo>
                  <a:close/>
                  <a:moveTo>
                    <a:pt x="226516" y="0"/>
                  </a:moveTo>
                  <a:lnTo>
                    <a:pt x="235744" y="0"/>
                  </a:lnTo>
                  <a:lnTo>
                    <a:pt x="235744" y="218182"/>
                  </a:lnTo>
                  <a:lnTo>
                    <a:pt x="211336" y="218182"/>
                  </a:lnTo>
                  <a:lnTo>
                    <a:pt x="211336" y="33784"/>
                  </a:lnTo>
                  <a:cubicBezTo>
                    <a:pt x="209451" y="35669"/>
                    <a:pt x="206697" y="37827"/>
                    <a:pt x="203076" y="40258"/>
                  </a:cubicBezTo>
                  <a:cubicBezTo>
                    <a:pt x="199454" y="42689"/>
                    <a:pt x="195387" y="45095"/>
                    <a:pt x="190872" y="47476"/>
                  </a:cubicBezTo>
                  <a:cubicBezTo>
                    <a:pt x="186358" y="49858"/>
                    <a:pt x="181595" y="52090"/>
                    <a:pt x="176585" y="54174"/>
                  </a:cubicBezTo>
                  <a:cubicBezTo>
                    <a:pt x="171574" y="56257"/>
                    <a:pt x="166687" y="57894"/>
                    <a:pt x="161925" y="59085"/>
                  </a:cubicBezTo>
                  <a:lnTo>
                    <a:pt x="161925" y="34379"/>
                  </a:lnTo>
                  <a:cubicBezTo>
                    <a:pt x="167283" y="32891"/>
                    <a:pt x="172963" y="30882"/>
                    <a:pt x="178966" y="28352"/>
                  </a:cubicBezTo>
                  <a:cubicBezTo>
                    <a:pt x="184969" y="25822"/>
                    <a:pt x="190872" y="22994"/>
                    <a:pt x="196676" y="19869"/>
                  </a:cubicBezTo>
                  <a:cubicBezTo>
                    <a:pt x="202481" y="16743"/>
                    <a:pt x="207962" y="13469"/>
                    <a:pt x="213122" y="10046"/>
                  </a:cubicBezTo>
                  <a:cubicBezTo>
                    <a:pt x="218281" y="6623"/>
                    <a:pt x="222746" y="3274"/>
                    <a:pt x="226516" y="0"/>
                  </a:cubicBezTo>
                  <a:close/>
                  <a:moveTo>
                    <a:pt x="64591" y="0"/>
                  </a:moveTo>
                  <a:lnTo>
                    <a:pt x="73819" y="0"/>
                  </a:lnTo>
                  <a:lnTo>
                    <a:pt x="73819" y="218182"/>
                  </a:lnTo>
                  <a:lnTo>
                    <a:pt x="49411" y="218182"/>
                  </a:lnTo>
                  <a:lnTo>
                    <a:pt x="49411" y="33784"/>
                  </a:lnTo>
                  <a:cubicBezTo>
                    <a:pt x="47526" y="35669"/>
                    <a:pt x="44772" y="37827"/>
                    <a:pt x="41151" y="40258"/>
                  </a:cubicBezTo>
                  <a:cubicBezTo>
                    <a:pt x="37529" y="42689"/>
                    <a:pt x="33461" y="45095"/>
                    <a:pt x="28947" y="47476"/>
                  </a:cubicBezTo>
                  <a:cubicBezTo>
                    <a:pt x="24433" y="49858"/>
                    <a:pt x="19670" y="52090"/>
                    <a:pt x="14660" y="54174"/>
                  </a:cubicBezTo>
                  <a:cubicBezTo>
                    <a:pt x="9649" y="56257"/>
                    <a:pt x="4762" y="57894"/>
                    <a:pt x="0" y="59085"/>
                  </a:cubicBezTo>
                  <a:lnTo>
                    <a:pt x="0" y="34379"/>
                  </a:lnTo>
                  <a:cubicBezTo>
                    <a:pt x="5358" y="32891"/>
                    <a:pt x="11038" y="30882"/>
                    <a:pt x="17041" y="28352"/>
                  </a:cubicBezTo>
                  <a:cubicBezTo>
                    <a:pt x="23044" y="25822"/>
                    <a:pt x="28947" y="22994"/>
                    <a:pt x="34751" y="19869"/>
                  </a:cubicBezTo>
                  <a:cubicBezTo>
                    <a:pt x="40556" y="16743"/>
                    <a:pt x="46037" y="13469"/>
                    <a:pt x="51197" y="10046"/>
                  </a:cubicBezTo>
                  <a:cubicBezTo>
                    <a:pt x="56356" y="6623"/>
                    <a:pt x="60821" y="3274"/>
                    <a:pt x="64591" y="0"/>
                  </a:cubicBezTo>
                  <a:close/>
                </a:path>
              </a:pathLst>
            </a:cu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5439">
                      <a:srgbClr val="F8F8F8"/>
                    </a:gs>
                    <a:gs pos="10000">
                      <a:srgbClr val="F8F8F8"/>
                    </a:gs>
                  </a:gsLst>
                  <a:lin ang="5400000" scaled="0"/>
                </a:gradFill>
                <a:effectLst/>
                <a:uLnTx/>
                <a:uFillTx/>
              </a:endParaRPr>
            </a:p>
          </p:txBody>
        </p:sp>
        <p:sp>
          <p:nvSpPr>
            <p:cNvPr id="520" name="Freeform: Shape 519"/>
            <p:cNvSpPr/>
            <p:nvPr/>
          </p:nvSpPr>
          <p:spPr bwMode="auto">
            <a:xfrm>
              <a:off x="5908928" y="2937352"/>
              <a:ext cx="684188" cy="139362"/>
            </a:xfrm>
            <a:custGeom>
              <a:avLst/>
              <a:gdLst>
                <a:gd name="connsiteX0" fmla="*/ 1021109 w 1089421"/>
                <a:gd name="connsiteY0" fmla="*/ 21878 h 221903"/>
                <a:gd name="connsiteX1" fmla="*/ 975419 w 1089421"/>
                <a:gd name="connsiteY1" fmla="*/ 114598 h 221903"/>
                <a:gd name="connsiteX2" fmla="*/ 1020216 w 1089421"/>
                <a:gd name="connsiteY2" fmla="*/ 201067 h 221903"/>
                <a:gd name="connsiteX3" fmla="*/ 1064418 w 1089421"/>
                <a:gd name="connsiteY3" fmla="*/ 112961 h 221903"/>
                <a:gd name="connsiteX4" fmla="*/ 1021109 w 1089421"/>
                <a:gd name="connsiteY4" fmla="*/ 21878 h 221903"/>
                <a:gd name="connsiteX5" fmla="*/ 697259 w 1089421"/>
                <a:gd name="connsiteY5" fmla="*/ 21878 h 221903"/>
                <a:gd name="connsiteX6" fmla="*/ 651569 w 1089421"/>
                <a:gd name="connsiteY6" fmla="*/ 114598 h 221903"/>
                <a:gd name="connsiteX7" fmla="*/ 696366 w 1089421"/>
                <a:gd name="connsiteY7" fmla="*/ 201067 h 221903"/>
                <a:gd name="connsiteX8" fmla="*/ 740568 w 1089421"/>
                <a:gd name="connsiteY8" fmla="*/ 112961 h 221903"/>
                <a:gd name="connsiteX9" fmla="*/ 697259 w 1089421"/>
                <a:gd name="connsiteY9" fmla="*/ 21878 h 221903"/>
                <a:gd name="connsiteX10" fmla="*/ 373409 w 1089421"/>
                <a:gd name="connsiteY10" fmla="*/ 21878 h 221903"/>
                <a:gd name="connsiteX11" fmla="*/ 327719 w 1089421"/>
                <a:gd name="connsiteY11" fmla="*/ 114598 h 221903"/>
                <a:gd name="connsiteX12" fmla="*/ 372516 w 1089421"/>
                <a:gd name="connsiteY12" fmla="*/ 201067 h 221903"/>
                <a:gd name="connsiteX13" fmla="*/ 416718 w 1089421"/>
                <a:gd name="connsiteY13" fmla="*/ 112961 h 221903"/>
                <a:gd name="connsiteX14" fmla="*/ 373409 w 1089421"/>
                <a:gd name="connsiteY14" fmla="*/ 21878 h 221903"/>
                <a:gd name="connsiteX15" fmla="*/ 1022299 w 1089421"/>
                <a:gd name="connsiteY15" fmla="*/ 1191 h 221903"/>
                <a:gd name="connsiteX16" fmla="*/ 1089421 w 1089421"/>
                <a:gd name="connsiteY16" fmla="*/ 110579 h 221903"/>
                <a:gd name="connsiteX17" fmla="*/ 1084584 w 1089421"/>
                <a:gd name="connsiteY17" fmla="*/ 158056 h 221903"/>
                <a:gd name="connsiteX18" fmla="*/ 1070594 w 1089421"/>
                <a:gd name="connsiteY18" fmla="*/ 192956 h 221903"/>
                <a:gd name="connsiteX19" fmla="*/ 1048121 w 1089421"/>
                <a:gd name="connsiteY19" fmla="*/ 214536 h 221903"/>
                <a:gd name="connsiteX20" fmla="*/ 1017835 w 1089421"/>
                <a:gd name="connsiteY20" fmla="*/ 221903 h 221903"/>
                <a:gd name="connsiteX21" fmla="*/ 989185 w 1089421"/>
                <a:gd name="connsiteY21" fmla="*/ 214834 h 221903"/>
                <a:gd name="connsiteX22" fmla="*/ 967977 w 1089421"/>
                <a:gd name="connsiteY22" fmla="*/ 194221 h 221903"/>
                <a:gd name="connsiteX23" fmla="*/ 954880 w 1089421"/>
                <a:gd name="connsiteY23" fmla="*/ 160958 h 221903"/>
                <a:gd name="connsiteX24" fmla="*/ 950415 w 1089421"/>
                <a:gd name="connsiteY24" fmla="*/ 115788 h 221903"/>
                <a:gd name="connsiteX25" fmla="*/ 955103 w 1089421"/>
                <a:gd name="connsiteY25" fmla="*/ 66377 h 221903"/>
                <a:gd name="connsiteX26" fmla="*/ 968870 w 1089421"/>
                <a:gd name="connsiteY26" fmla="*/ 30435 h 221903"/>
                <a:gd name="connsiteX27" fmla="*/ 991418 w 1089421"/>
                <a:gd name="connsiteY27" fmla="*/ 8558 h 221903"/>
                <a:gd name="connsiteX28" fmla="*/ 1022299 w 1089421"/>
                <a:gd name="connsiteY28" fmla="*/ 1191 h 221903"/>
                <a:gd name="connsiteX29" fmla="*/ 698449 w 1089421"/>
                <a:gd name="connsiteY29" fmla="*/ 1191 h 221903"/>
                <a:gd name="connsiteX30" fmla="*/ 765571 w 1089421"/>
                <a:gd name="connsiteY30" fmla="*/ 110579 h 221903"/>
                <a:gd name="connsiteX31" fmla="*/ 760734 w 1089421"/>
                <a:gd name="connsiteY31" fmla="*/ 158056 h 221903"/>
                <a:gd name="connsiteX32" fmla="*/ 746744 w 1089421"/>
                <a:gd name="connsiteY32" fmla="*/ 192956 h 221903"/>
                <a:gd name="connsiteX33" fmla="*/ 724271 w 1089421"/>
                <a:gd name="connsiteY33" fmla="*/ 214536 h 221903"/>
                <a:gd name="connsiteX34" fmla="*/ 693985 w 1089421"/>
                <a:gd name="connsiteY34" fmla="*/ 221903 h 221903"/>
                <a:gd name="connsiteX35" fmla="*/ 665335 w 1089421"/>
                <a:gd name="connsiteY35" fmla="*/ 214834 h 221903"/>
                <a:gd name="connsiteX36" fmla="*/ 644127 w 1089421"/>
                <a:gd name="connsiteY36" fmla="*/ 194221 h 221903"/>
                <a:gd name="connsiteX37" fmla="*/ 631030 w 1089421"/>
                <a:gd name="connsiteY37" fmla="*/ 160958 h 221903"/>
                <a:gd name="connsiteX38" fmla="*/ 626565 w 1089421"/>
                <a:gd name="connsiteY38" fmla="*/ 115788 h 221903"/>
                <a:gd name="connsiteX39" fmla="*/ 631253 w 1089421"/>
                <a:gd name="connsiteY39" fmla="*/ 66377 h 221903"/>
                <a:gd name="connsiteX40" fmla="*/ 645020 w 1089421"/>
                <a:gd name="connsiteY40" fmla="*/ 30435 h 221903"/>
                <a:gd name="connsiteX41" fmla="*/ 667568 w 1089421"/>
                <a:gd name="connsiteY41" fmla="*/ 8558 h 221903"/>
                <a:gd name="connsiteX42" fmla="*/ 698449 w 1089421"/>
                <a:gd name="connsiteY42" fmla="*/ 1191 h 221903"/>
                <a:gd name="connsiteX43" fmla="*/ 374599 w 1089421"/>
                <a:gd name="connsiteY43" fmla="*/ 1191 h 221903"/>
                <a:gd name="connsiteX44" fmla="*/ 441721 w 1089421"/>
                <a:gd name="connsiteY44" fmla="*/ 110579 h 221903"/>
                <a:gd name="connsiteX45" fmla="*/ 436884 w 1089421"/>
                <a:gd name="connsiteY45" fmla="*/ 158056 h 221903"/>
                <a:gd name="connsiteX46" fmla="*/ 422894 w 1089421"/>
                <a:gd name="connsiteY46" fmla="*/ 192956 h 221903"/>
                <a:gd name="connsiteX47" fmla="*/ 400421 w 1089421"/>
                <a:gd name="connsiteY47" fmla="*/ 214536 h 221903"/>
                <a:gd name="connsiteX48" fmla="*/ 370135 w 1089421"/>
                <a:gd name="connsiteY48" fmla="*/ 221903 h 221903"/>
                <a:gd name="connsiteX49" fmla="*/ 341485 w 1089421"/>
                <a:gd name="connsiteY49" fmla="*/ 214834 h 221903"/>
                <a:gd name="connsiteX50" fmla="*/ 320277 w 1089421"/>
                <a:gd name="connsiteY50" fmla="*/ 194221 h 221903"/>
                <a:gd name="connsiteX51" fmla="*/ 307180 w 1089421"/>
                <a:gd name="connsiteY51" fmla="*/ 160958 h 221903"/>
                <a:gd name="connsiteX52" fmla="*/ 302715 w 1089421"/>
                <a:gd name="connsiteY52" fmla="*/ 115788 h 221903"/>
                <a:gd name="connsiteX53" fmla="*/ 307403 w 1089421"/>
                <a:gd name="connsiteY53" fmla="*/ 66377 h 221903"/>
                <a:gd name="connsiteX54" fmla="*/ 321170 w 1089421"/>
                <a:gd name="connsiteY54" fmla="*/ 30435 h 221903"/>
                <a:gd name="connsiteX55" fmla="*/ 343718 w 1089421"/>
                <a:gd name="connsiteY55" fmla="*/ 8558 h 221903"/>
                <a:gd name="connsiteX56" fmla="*/ 374599 w 1089421"/>
                <a:gd name="connsiteY56" fmla="*/ 1191 h 221903"/>
                <a:gd name="connsiteX57" fmla="*/ 874216 w 1089421"/>
                <a:gd name="connsiteY57" fmla="*/ 0 h 221903"/>
                <a:gd name="connsiteX58" fmla="*/ 883444 w 1089421"/>
                <a:gd name="connsiteY58" fmla="*/ 0 h 221903"/>
                <a:gd name="connsiteX59" fmla="*/ 883444 w 1089421"/>
                <a:gd name="connsiteY59" fmla="*/ 218182 h 221903"/>
                <a:gd name="connsiteX60" fmla="*/ 859036 w 1089421"/>
                <a:gd name="connsiteY60" fmla="*/ 218182 h 221903"/>
                <a:gd name="connsiteX61" fmla="*/ 859036 w 1089421"/>
                <a:gd name="connsiteY61" fmla="*/ 33784 h 221903"/>
                <a:gd name="connsiteX62" fmla="*/ 850776 w 1089421"/>
                <a:gd name="connsiteY62" fmla="*/ 40258 h 221903"/>
                <a:gd name="connsiteX63" fmla="*/ 838572 w 1089421"/>
                <a:gd name="connsiteY63" fmla="*/ 47476 h 221903"/>
                <a:gd name="connsiteX64" fmla="*/ 824285 w 1089421"/>
                <a:gd name="connsiteY64" fmla="*/ 54174 h 221903"/>
                <a:gd name="connsiteX65" fmla="*/ 809625 w 1089421"/>
                <a:gd name="connsiteY65" fmla="*/ 59085 h 221903"/>
                <a:gd name="connsiteX66" fmla="*/ 809625 w 1089421"/>
                <a:gd name="connsiteY66" fmla="*/ 34379 h 221903"/>
                <a:gd name="connsiteX67" fmla="*/ 826666 w 1089421"/>
                <a:gd name="connsiteY67" fmla="*/ 28352 h 221903"/>
                <a:gd name="connsiteX68" fmla="*/ 844376 w 1089421"/>
                <a:gd name="connsiteY68" fmla="*/ 19869 h 221903"/>
                <a:gd name="connsiteX69" fmla="*/ 860822 w 1089421"/>
                <a:gd name="connsiteY69" fmla="*/ 10046 h 221903"/>
                <a:gd name="connsiteX70" fmla="*/ 874216 w 1089421"/>
                <a:gd name="connsiteY70" fmla="*/ 0 h 221903"/>
                <a:gd name="connsiteX71" fmla="*/ 550366 w 1089421"/>
                <a:gd name="connsiteY71" fmla="*/ 0 h 221903"/>
                <a:gd name="connsiteX72" fmla="*/ 559594 w 1089421"/>
                <a:gd name="connsiteY72" fmla="*/ 0 h 221903"/>
                <a:gd name="connsiteX73" fmla="*/ 559594 w 1089421"/>
                <a:gd name="connsiteY73" fmla="*/ 218182 h 221903"/>
                <a:gd name="connsiteX74" fmla="*/ 535186 w 1089421"/>
                <a:gd name="connsiteY74" fmla="*/ 218182 h 221903"/>
                <a:gd name="connsiteX75" fmla="*/ 535186 w 1089421"/>
                <a:gd name="connsiteY75" fmla="*/ 33784 h 221903"/>
                <a:gd name="connsiteX76" fmla="*/ 526926 w 1089421"/>
                <a:gd name="connsiteY76" fmla="*/ 40258 h 221903"/>
                <a:gd name="connsiteX77" fmla="*/ 514722 w 1089421"/>
                <a:gd name="connsiteY77" fmla="*/ 47476 h 221903"/>
                <a:gd name="connsiteX78" fmla="*/ 500435 w 1089421"/>
                <a:gd name="connsiteY78" fmla="*/ 54174 h 221903"/>
                <a:gd name="connsiteX79" fmla="*/ 485775 w 1089421"/>
                <a:gd name="connsiteY79" fmla="*/ 59085 h 221903"/>
                <a:gd name="connsiteX80" fmla="*/ 485775 w 1089421"/>
                <a:gd name="connsiteY80" fmla="*/ 34379 h 221903"/>
                <a:gd name="connsiteX81" fmla="*/ 502816 w 1089421"/>
                <a:gd name="connsiteY81" fmla="*/ 28352 h 221903"/>
                <a:gd name="connsiteX82" fmla="*/ 520526 w 1089421"/>
                <a:gd name="connsiteY82" fmla="*/ 19869 h 221903"/>
                <a:gd name="connsiteX83" fmla="*/ 536972 w 1089421"/>
                <a:gd name="connsiteY83" fmla="*/ 10046 h 221903"/>
                <a:gd name="connsiteX84" fmla="*/ 550366 w 1089421"/>
                <a:gd name="connsiteY84" fmla="*/ 0 h 221903"/>
                <a:gd name="connsiteX85" fmla="*/ 226516 w 1089421"/>
                <a:gd name="connsiteY85" fmla="*/ 0 h 221903"/>
                <a:gd name="connsiteX86" fmla="*/ 235744 w 1089421"/>
                <a:gd name="connsiteY86" fmla="*/ 0 h 221903"/>
                <a:gd name="connsiteX87" fmla="*/ 235744 w 1089421"/>
                <a:gd name="connsiteY87" fmla="*/ 218182 h 221903"/>
                <a:gd name="connsiteX88" fmla="*/ 211336 w 1089421"/>
                <a:gd name="connsiteY88" fmla="*/ 218182 h 221903"/>
                <a:gd name="connsiteX89" fmla="*/ 211336 w 1089421"/>
                <a:gd name="connsiteY89" fmla="*/ 33784 h 221903"/>
                <a:gd name="connsiteX90" fmla="*/ 203076 w 1089421"/>
                <a:gd name="connsiteY90" fmla="*/ 40258 h 221903"/>
                <a:gd name="connsiteX91" fmla="*/ 190872 w 1089421"/>
                <a:gd name="connsiteY91" fmla="*/ 47476 h 221903"/>
                <a:gd name="connsiteX92" fmla="*/ 176585 w 1089421"/>
                <a:gd name="connsiteY92" fmla="*/ 54174 h 221903"/>
                <a:gd name="connsiteX93" fmla="*/ 161925 w 1089421"/>
                <a:gd name="connsiteY93" fmla="*/ 59085 h 221903"/>
                <a:gd name="connsiteX94" fmla="*/ 161925 w 1089421"/>
                <a:gd name="connsiteY94" fmla="*/ 34379 h 221903"/>
                <a:gd name="connsiteX95" fmla="*/ 178966 w 1089421"/>
                <a:gd name="connsiteY95" fmla="*/ 28352 h 221903"/>
                <a:gd name="connsiteX96" fmla="*/ 196676 w 1089421"/>
                <a:gd name="connsiteY96" fmla="*/ 19869 h 221903"/>
                <a:gd name="connsiteX97" fmla="*/ 213122 w 1089421"/>
                <a:gd name="connsiteY97" fmla="*/ 10046 h 221903"/>
                <a:gd name="connsiteX98" fmla="*/ 226516 w 1089421"/>
                <a:gd name="connsiteY98" fmla="*/ 0 h 221903"/>
                <a:gd name="connsiteX99" fmla="*/ 64591 w 1089421"/>
                <a:gd name="connsiteY99" fmla="*/ 0 h 221903"/>
                <a:gd name="connsiteX100" fmla="*/ 73819 w 1089421"/>
                <a:gd name="connsiteY100" fmla="*/ 0 h 221903"/>
                <a:gd name="connsiteX101" fmla="*/ 73819 w 1089421"/>
                <a:gd name="connsiteY101" fmla="*/ 218182 h 221903"/>
                <a:gd name="connsiteX102" fmla="*/ 49411 w 1089421"/>
                <a:gd name="connsiteY102" fmla="*/ 218182 h 221903"/>
                <a:gd name="connsiteX103" fmla="*/ 49411 w 1089421"/>
                <a:gd name="connsiteY103" fmla="*/ 33784 h 221903"/>
                <a:gd name="connsiteX104" fmla="*/ 41151 w 1089421"/>
                <a:gd name="connsiteY104" fmla="*/ 40258 h 221903"/>
                <a:gd name="connsiteX105" fmla="*/ 28947 w 1089421"/>
                <a:gd name="connsiteY105" fmla="*/ 47476 h 221903"/>
                <a:gd name="connsiteX106" fmla="*/ 14660 w 1089421"/>
                <a:gd name="connsiteY106" fmla="*/ 54174 h 221903"/>
                <a:gd name="connsiteX107" fmla="*/ 0 w 1089421"/>
                <a:gd name="connsiteY107" fmla="*/ 59085 h 221903"/>
                <a:gd name="connsiteX108" fmla="*/ 0 w 1089421"/>
                <a:gd name="connsiteY108" fmla="*/ 34379 h 221903"/>
                <a:gd name="connsiteX109" fmla="*/ 17041 w 1089421"/>
                <a:gd name="connsiteY109" fmla="*/ 28352 h 221903"/>
                <a:gd name="connsiteX110" fmla="*/ 34751 w 1089421"/>
                <a:gd name="connsiteY110" fmla="*/ 19869 h 221903"/>
                <a:gd name="connsiteX111" fmla="*/ 51197 w 1089421"/>
                <a:gd name="connsiteY111" fmla="*/ 10046 h 221903"/>
                <a:gd name="connsiteX112" fmla="*/ 64591 w 1089421"/>
                <a:gd name="connsiteY112" fmla="*/ 0 h 2219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Lst>
              <a:rect l="l" t="t" r="r" b="b"/>
              <a:pathLst>
                <a:path w="1089421" h="221903">
                  <a:moveTo>
                    <a:pt x="1021109" y="21878"/>
                  </a:moveTo>
                  <a:cubicBezTo>
                    <a:pt x="990649" y="21878"/>
                    <a:pt x="975419" y="52784"/>
                    <a:pt x="975419" y="114598"/>
                  </a:cubicBezTo>
                  <a:cubicBezTo>
                    <a:pt x="975419" y="172244"/>
                    <a:pt x="990351" y="201067"/>
                    <a:pt x="1020216" y="201067"/>
                  </a:cubicBezTo>
                  <a:cubicBezTo>
                    <a:pt x="1049684" y="201067"/>
                    <a:pt x="1064418" y="171698"/>
                    <a:pt x="1064418" y="112961"/>
                  </a:cubicBezTo>
                  <a:cubicBezTo>
                    <a:pt x="1064418" y="52239"/>
                    <a:pt x="1049981" y="21878"/>
                    <a:pt x="1021109" y="21878"/>
                  </a:cubicBezTo>
                  <a:close/>
                  <a:moveTo>
                    <a:pt x="697259" y="21878"/>
                  </a:moveTo>
                  <a:cubicBezTo>
                    <a:pt x="666799" y="21878"/>
                    <a:pt x="651569" y="52784"/>
                    <a:pt x="651569" y="114598"/>
                  </a:cubicBezTo>
                  <a:cubicBezTo>
                    <a:pt x="651569" y="172244"/>
                    <a:pt x="666501" y="201067"/>
                    <a:pt x="696366" y="201067"/>
                  </a:cubicBezTo>
                  <a:cubicBezTo>
                    <a:pt x="725834" y="201067"/>
                    <a:pt x="740568" y="171698"/>
                    <a:pt x="740568" y="112961"/>
                  </a:cubicBezTo>
                  <a:cubicBezTo>
                    <a:pt x="740568" y="52239"/>
                    <a:pt x="726131" y="21878"/>
                    <a:pt x="697259" y="21878"/>
                  </a:cubicBezTo>
                  <a:close/>
                  <a:moveTo>
                    <a:pt x="373409" y="21878"/>
                  </a:moveTo>
                  <a:cubicBezTo>
                    <a:pt x="342949" y="21878"/>
                    <a:pt x="327719" y="52784"/>
                    <a:pt x="327719" y="114598"/>
                  </a:cubicBezTo>
                  <a:cubicBezTo>
                    <a:pt x="327719" y="172244"/>
                    <a:pt x="342651" y="201067"/>
                    <a:pt x="372516" y="201067"/>
                  </a:cubicBezTo>
                  <a:cubicBezTo>
                    <a:pt x="401984" y="201067"/>
                    <a:pt x="416718" y="171698"/>
                    <a:pt x="416718" y="112961"/>
                  </a:cubicBezTo>
                  <a:cubicBezTo>
                    <a:pt x="416718" y="52239"/>
                    <a:pt x="402281" y="21878"/>
                    <a:pt x="373409" y="21878"/>
                  </a:cubicBezTo>
                  <a:close/>
                  <a:moveTo>
                    <a:pt x="1022299" y="1191"/>
                  </a:moveTo>
                  <a:cubicBezTo>
                    <a:pt x="1067047" y="1191"/>
                    <a:pt x="1089421" y="37654"/>
                    <a:pt x="1089421" y="110579"/>
                  </a:cubicBezTo>
                  <a:cubicBezTo>
                    <a:pt x="1089421" y="128439"/>
                    <a:pt x="1087809" y="144264"/>
                    <a:pt x="1084584" y="158056"/>
                  </a:cubicBezTo>
                  <a:cubicBezTo>
                    <a:pt x="1081359" y="171847"/>
                    <a:pt x="1076696" y="183480"/>
                    <a:pt x="1070594" y="192956"/>
                  </a:cubicBezTo>
                  <a:cubicBezTo>
                    <a:pt x="1064492" y="202431"/>
                    <a:pt x="1057001" y="209625"/>
                    <a:pt x="1048121" y="214536"/>
                  </a:cubicBezTo>
                  <a:cubicBezTo>
                    <a:pt x="1039241" y="219447"/>
                    <a:pt x="1029145" y="221903"/>
                    <a:pt x="1017835" y="221903"/>
                  </a:cubicBezTo>
                  <a:cubicBezTo>
                    <a:pt x="1007119" y="221903"/>
                    <a:pt x="997569" y="219546"/>
                    <a:pt x="989185" y="214834"/>
                  </a:cubicBezTo>
                  <a:cubicBezTo>
                    <a:pt x="980801" y="210121"/>
                    <a:pt x="973732" y="203250"/>
                    <a:pt x="967977" y="194221"/>
                  </a:cubicBezTo>
                  <a:cubicBezTo>
                    <a:pt x="962222" y="185192"/>
                    <a:pt x="957857" y="174104"/>
                    <a:pt x="954880" y="160958"/>
                  </a:cubicBezTo>
                  <a:cubicBezTo>
                    <a:pt x="951904" y="147811"/>
                    <a:pt x="950415" y="132755"/>
                    <a:pt x="950415" y="115788"/>
                  </a:cubicBezTo>
                  <a:cubicBezTo>
                    <a:pt x="950415" y="97135"/>
                    <a:pt x="951978" y="80665"/>
                    <a:pt x="955103" y="66377"/>
                  </a:cubicBezTo>
                  <a:cubicBezTo>
                    <a:pt x="958229" y="52090"/>
                    <a:pt x="962818" y="40109"/>
                    <a:pt x="968870" y="30435"/>
                  </a:cubicBezTo>
                  <a:cubicBezTo>
                    <a:pt x="974922" y="20762"/>
                    <a:pt x="982438" y="13469"/>
                    <a:pt x="991418" y="8558"/>
                  </a:cubicBezTo>
                  <a:cubicBezTo>
                    <a:pt x="1000397" y="3646"/>
                    <a:pt x="1010691" y="1191"/>
                    <a:pt x="1022299" y="1191"/>
                  </a:cubicBezTo>
                  <a:close/>
                  <a:moveTo>
                    <a:pt x="698449" y="1191"/>
                  </a:moveTo>
                  <a:cubicBezTo>
                    <a:pt x="743197" y="1191"/>
                    <a:pt x="765571" y="37654"/>
                    <a:pt x="765571" y="110579"/>
                  </a:cubicBezTo>
                  <a:cubicBezTo>
                    <a:pt x="765571" y="128439"/>
                    <a:pt x="763959" y="144264"/>
                    <a:pt x="760734" y="158056"/>
                  </a:cubicBezTo>
                  <a:cubicBezTo>
                    <a:pt x="757509" y="171847"/>
                    <a:pt x="752846" y="183480"/>
                    <a:pt x="746744" y="192956"/>
                  </a:cubicBezTo>
                  <a:cubicBezTo>
                    <a:pt x="740642" y="202431"/>
                    <a:pt x="733151" y="209625"/>
                    <a:pt x="724271" y="214536"/>
                  </a:cubicBezTo>
                  <a:cubicBezTo>
                    <a:pt x="715391" y="219447"/>
                    <a:pt x="705295" y="221903"/>
                    <a:pt x="693985" y="221903"/>
                  </a:cubicBezTo>
                  <a:cubicBezTo>
                    <a:pt x="683269" y="221903"/>
                    <a:pt x="673719" y="219546"/>
                    <a:pt x="665335" y="214834"/>
                  </a:cubicBezTo>
                  <a:cubicBezTo>
                    <a:pt x="656951" y="210121"/>
                    <a:pt x="649882" y="203250"/>
                    <a:pt x="644127" y="194221"/>
                  </a:cubicBezTo>
                  <a:cubicBezTo>
                    <a:pt x="638372" y="185192"/>
                    <a:pt x="634007" y="174104"/>
                    <a:pt x="631030" y="160958"/>
                  </a:cubicBezTo>
                  <a:cubicBezTo>
                    <a:pt x="628054" y="147811"/>
                    <a:pt x="626565" y="132755"/>
                    <a:pt x="626565" y="115788"/>
                  </a:cubicBezTo>
                  <a:cubicBezTo>
                    <a:pt x="626565" y="97135"/>
                    <a:pt x="628128" y="80665"/>
                    <a:pt x="631253" y="66377"/>
                  </a:cubicBezTo>
                  <a:cubicBezTo>
                    <a:pt x="634379" y="52090"/>
                    <a:pt x="638968" y="40109"/>
                    <a:pt x="645020" y="30435"/>
                  </a:cubicBezTo>
                  <a:cubicBezTo>
                    <a:pt x="651072" y="20762"/>
                    <a:pt x="658588" y="13469"/>
                    <a:pt x="667568" y="8558"/>
                  </a:cubicBezTo>
                  <a:cubicBezTo>
                    <a:pt x="676547" y="3646"/>
                    <a:pt x="686841" y="1191"/>
                    <a:pt x="698449" y="1191"/>
                  </a:cubicBezTo>
                  <a:close/>
                  <a:moveTo>
                    <a:pt x="374599" y="1191"/>
                  </a:moveTo>
                  <a:cubicBezTo>
                    <a:pt x="419347" y="1191"/>
                    <a:pt x="441721" y="37654"/>
                    <a:pt x="441721" y="110579"/>
                  </a:cubicBezTo>
                  <a:cubicBezTo>
                    <a:pt x="441721" y="128439"/>
                    <a:pt x="440109" y="144264"/>
                    <a:pt x="436884" y="158056"/>
                  </a:cubicBezTo>
                  <a:cubicBezTo>
                    <a:pt x="433659" y="171847"/>
                    <a:pt x="428996" y="183480"/>
                    <a:pt x="422894" y="192956"/>
                  </a:cubicBezTo>
                  <a:cubicBezTo>
                    <a:pt x="416792" y="202431"/>
                    <a:pt x="409301" y="209625"/>
                    <a:pt x="400421" y="214536"/>
                  </a:cubicBezTo>
                  <a:cubicBezTo>
                    <a:pt x="391541" y="219447"/>
                    <a:pt x="381445" y="221903"/>
                    <a:pt x="370135" y="221903"/>
                  </a:cubicBezTo>
                  <a:cubicBezTo>
                    <a:pt x="359419" y="221903"/>
                    <a:pt x="349869" y="219546"/>
                    <a:pt x="341485" y="214834"/>
                  </a:cubicBezTo>
                  <a:cubicBezTo>
                    <a:pt x="333101" y="210121"/>
                    <a:pt x="326032" y="203250"/>
                    <a:pt x="320277" y="194221"/>
                  </a:cubicBezTo>
                  <a:cubicBezTo>
                    <a:pt x="314522" y="185192"/>
                    <a:pt x="310157" y="174104"/>
                    <a:pt x="307180" y="160958"/>
                  </a:cubicBezTo>
                  <a:cubicBezTo>
                    <a:pt x="304204" y="147811"/>
                    <a:pt x="302715" y="132755"/>
                    <a:pt x="302715" y="115788"/>
                  </a:cubicBezTo>
                  <a:cubicBezTo>
                    <a:pt x="302715" y="97135"/>
                    <a:pt x="304278" y="80665"/>
                    <a:pt x="307403" y="66377"/>
                  </a:cubicBezTo>
                  <a:cubicBezTo>
                    <a:pt x="310529" y="52090"/>
                    <a:pt x="315118" y="40109"/>
                    <a:pt x="321170" y="30435"/>
                  </a:cubicBezTo>
                  <a:cubicBezTo>
                    <a:pt x="327222" y="20762"/>
                    <a:pt x="334738" y="13469"/>
                    <a:pt x="343718" y="8558"/>
                  </a:cubicBezTo>
                  <a:cubicBezTo>
                    <a:pt x="352697" y="3646"/>
                    <a:pt x="362991" y="1191"/>
                    <a:pt x="374599" y="1191"/>
                  </a:cubicBezTo>
                  <a:close/>
                  <a:moveTo>
                    <a:pt x="874216" y="0"/>
                  </a:moveTo>
                  <a:lnTo>
                    <a:pt x="883444" y="0"/>
                  </a:lnTo>
                  <a:lnTo>
                    <a:pt x="883444" y="218182"/>
                  </a:lnTo>
                  <a:lnTo>
                    <a:pt x="859036" y="218182"/>
                  </a:lnTo>
                  <a:lnTo>
                    <a:pt x="859036" y="33784"/>
                  </a:lnTo>
                  <a:cubicBezTo>
                    <a:pt x="857151" y="35669"/>
                    <a:pt x="854397" y="37827"/>
                    <a:pt x="850776" y="40258"/>
                  </a:cubicBezTo>
                  <a:cubicBezTo>
                    <a:pt x="847154" y="42689"/>
                    <a:pt x="843087" y="45095"/>
                    <a:pt x="838572" y="47476"/>
                  </a:cubicBezTo>
                  <a:cubicBezTo>
                    <a:pt x="834058" y="49858"/>
                    <a:pt x="829295" y="52090"/>
                    <a:pt x="824285" y="54174"/>
                  </a:cubicBezTo>
                  <a:cubicBezTo>
                    <a:pt x="819274" y="56257"/>
                    <a:pt x="814388" y="57894"/>
                    <a:pt x="809625" y="59085"/>
                  </a:cubicBezTo>
                  <a:lnTo>
                    <a:pt x="809625" y="34379"/>
                  </a:lnTo>
                  <a:cubicBezTo>
                    <a:pt x="814983" y="32891"/>
                    <a:pt x="820663" y="30882"/>
                    <a:pt x="826666" y="28352"/>
                  </a:cubicBezTo>
                  <a:cubicBezTo>
                    <a:pt x="832669" y="25822"/>
                    <a:pt x="838572" y="22994"/>
                    <a:pt x="844376" y="19869"/>
                  </a:cubicBezTo>
                  <a:cubicBezTo>
                    <a:pt x="850181" y="16743"/>
                    <a:pt x="855662" y="13469"/>
                    <a:pt x="860822" y="10046"/>
                  </a:cubicBezTo>
                  <a:cubicBezTo>
                    <a:pt x="865981" y="6623"/>
                    <a:pt x="870446" y="3274"/>
                    <a:pt x="874216" y="0"/>
                  </a:cubicBezTo>
                  <a:close/>
                  <a:moveTo>
                    <a:pt x="550366" y="0"/>
                  </a:moveTo>
                  <a:lnTo>
                    <a:pt x="559594" y="0"/>
                  </a:lnTo>
                  <a:lnTo>
                    <a:pt x="559594" y="218182"/>
                  </a:lnTo>
                  <a:lnTo>
                    <a:pt x="535186" y="218182"/>
                  </a:lnTo>
                  <a:lnTo>
                    <a:pt x="535186" y="33784"/>
                  </a:lnTo>
                  <a:cubicBezTo>
                    <a:pt x="533301" y="35669"/>
                    <a:pt x="530547" y="37827"/>
                    <a:pt x="526926" y="40258"/>
                  </a:cubicBezTo>
                  <a:cubicBezTo>
                    <a:pt x="523305" y="42689"/>
                    <a:pt x="519237" y="45095"/>
                    <a:pt x="514722" y="47476"/>
                  </a:cubicBezTo>
                  <a:cubicBezTo>
                    <a:pt x="510208" y="49858"/>
                    <a:pt x="505445" y="52090"/>
                    <a:pt x="500435" y="54174"/>
                  </a:cubicBezTo>
                  <a:cubicBezTo>
                    <a:pt x="495424" y="56257"/>
                    <a:pt x="490538" y="57894"/>
                    <a:pt x="485775" y="59085"/>
                  </a:cubicBezTo>
                  <a:lnTo>
                    <a:pt x="485775" y="34379"/>
                  </a:lnTo>
                  <a:cubicBezTo>
                    <a:pt x="491133" y="32891"/>
                    <a:pt x="496813" y="30882"/>
                    <a:pt x="502816" y="28352"/>
                  </a:cubicBezTo>
                  <a:cubicBezTo>
                    <a:pt x="508819" y="25822"/>
                    <a:pt x="514722" y="22994"/>
                    <a:pt x="520526" y="19869"/>
                  </a:cubicBezTo>
                  <a:cubicBezTo>
                    <a:pt x="526331" y="16743"/>
                    <a:pt x="531813" y="13469"/>
                    <a:pt x="536972" y="10046"/>
                  </a:cubicBezTo>
                  <a:cubicBezTo>
                    <a:pt x="542131" y="6623"/>
                    <a:pt x="546596" y="3274"/>
                    <a:pt x="550366" y="0"/>
                  </a:cubicBezTo>
                  <a:close/>
                  <a:moveTo>
                    <a:pt x="226516" y="0"/>
                  </a:moveTo>
                  <a:lnTo>
                    <a:pt x="235744" y="0"/>
                  </a:lnTo>
                  <a:lnTo>
                    <a:pt x="235744" y="218182"/>
                  </a:lnTo>
                  <a:lnTo>
                    <a:pt x="211336" y="218182"/>
                  </a:lnTo>
                  <a:lnTo>
                    <a:pt x="211336" y="33784"/>
                  </a:lnTo>
                  <a:cubicBezTo>
                    <a:pt x="209451" y="35669"/>
                    <a:pt x="206697" y="37827"/>
                    <a:pt x="203076" y="40258"/>
                  </a:cubicBezTo>
                  <a:cubicBezTo>
                    <a:pt x="199454" y="42689"/>
                    <a:pt x="195387" y="45095"/>
                    <a:pt x="190872" y="47476"/>
                  </a:cubicBezTo>
                  <a:cubicBezTo>
                    <a:pt x="186358" y="49858"/>
                    <a:pt x="181595" y="52090"/>
                    <a:pt x="176585" y="54174"/>
                  </a:cubicBezTo>
                  <a:cubicBezTo>
                    <a:pt x="171574" y="56257"/>
                    <a:pt x="166687" y="57894"/>
                    <a:pt x="161925" y="59085"/>
                  </a:cubicBezTo>
                  <a:lnTo>
                    <a:pt x="161925" y="34379"/>
                  </a:lnTo>
                  <a:cubicBezTo>
                    <a:pt x="167283" y="32891"/>
                    <a:pt x="172963" y="30882"/>
                    <a:pt x="178966" y="28352"/>
                  </a:cubicBezTo>
                  <a:cubicBezTo>
                    <a:pt x="184969" y="25822"/>
                    <a:pt x="190872" y="22994"/>
                    <a:pt x="196676" y="19869"/>
                  </a:cubicBezTo>
                  <a:cubicBezTo>
                    <a:pt x="202481" y="16743"/>
                    <a:pt x="207962" y="13469"/>
                    <a:pt x="213122" y="10046"/>
                  </a:cubicBezTo>
                  <a:cubicBezTo>
                    <a:pt x="218281" y="6623"/>
                    <a:pt x="222746" y="3274"/>
                    <a:pt x="226516" y="0"/>
                  </a:cubicBezTo>
                  <a:close/>
                  <a:moveTo>
                    <a:pt x="64591" y="0"/>
                  </a:moveTo>
                  <a:lnTo>
                    <a:pt x="73819" y="0"/>
                  </a:lnTo>
                  <a:lnTo>
                    <a:pt x="73819" y="218182"/>
                  </a:lnTo>
                  <a:lnTo>
                    <a:pt x="49411" y="218182"/>
                  </a:lnTo>
                  <a:lnTo>
                    <a:pt x="49411" y="33784"/>
                  </a:lnTo>
                  <a:cubicBezTo>
                    <a:pt x="47526" y="35669"/>
                    <a:pt x="44772" y="37827"/>
                    <a:pt x="41151" y="40258"/>
                  </a:cubicBezTo>
                  <a:cubicBezTo>
                    <a:pt x="37529" y="42689"/>
                    <a:pt x="33462" y="45095"/>
                    <a:pt x="28947" y="47476"/>
                  </a:cubicBezTo>
                  <a:cubicBezTo>
                    <a:pt x="24433" y="49858"/>
                    <a:pt x="19670" y="52090"/>
                    <a:pt x="14660" y="54174"/>
                  </a:cubicBezTo>
                  <a:cubicBezTo>
                    <a:pt x="9649" y="56257"/>
                    <a:pt x="4762" y="57894"/>
                    <a:pt x="0" y="59085"/>
                  </a:cubicBezTo>
                  <a:lnTo>
                    <a:pt x="0" y="34379"/>
                  </a:lnTo>
                  <a:cubicBezTo>
                    <a:pt x="5358" y="32891"/>
                    <a:pt x="11038" y="30882"/>
                    <a:pt x="17041" y="28352"/>
                  </a:cubicBezTo>
                  <a:cubicBezTo>
                    <a:pt x="23044" y="25822"/>
                    <a:pt x="28947" y="22994"/>
                    <a:pt x="34751" y="19869"/>
                  </a:cubicBezTo>
                  <a:cubicBezTo>
                    <a:pt x="40556" y="16743"/>
                    <a:pt x="46037" y="13469"/>
                    <a:pt x="51197" y="10046"/>
                  </a:cubicBezTo>
                  <a:cubicBezTo>
                    <a:pt x="56356" y="6623"/>
                    <a:pt x="60821" y="3274"/>
                    <a:pt x="64591" y="0"/>
                  </a:cubicBezTo>
                  <a:close/>
                </a:path>
              </a:pathLst>
            </a:cu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5439">
                      <a:srgbClr val="F8F8F8"/>
                    </a:gs>
                    <a:gs pos="10000">
                      <a:srgbClr val="F8F8F8"/>
                    </a:gs>
                  </a:gsLst>
                  <a:lin ang="5400000" scaled="0"/>
                </a:gradFill>
                <a:effectLst/>
                <a:uLnTx/>
                <a:uFillTx/>
              </a:endParaRPr>
            </a:p>
          </p:txBody>
        </p:sp>
        <p:sp>
          <p:nvSpPr>
            <p:cNvPr id="521" name="Freeform: Shape 520"/>
            <p:cNvSpPr/>
            <p:nvPr/>
          </p:nvSpPr>
          <p:spPr bwMode="auto">
            <a:xfrm>
              <a:off x="5908928" y="3242869"/>
              <a:ext cx="684188" cy="139362"/>
            </a:xfrm>
            <a:custGeom>
              <a:avLst/>
              <a:gdLst>
                <a:gd name="connsiteX0" fmla="*/ 1021109 w 1089421"/>
                <a:gd name="connsiteY0" fmla="*/ 21878 h 221903"/>
                <a:gd name="connsiteX1" fmla="*/ 975419 w 1089421"/>
                <a:gd name="connsiteY1" fmla="*/ 114598 h 221903"/>
                <a:gd name="connsiteX2" fmla="*/ 1020216 w 1089421"/>
                <a:gd name="connsiteY2" fmla="*/ 201067 h 221903"/>
                <a:gd name="connsiteX3" fmla="*/ 1064418 w 1089421"/>
                <a:gd name="connsiteY3" fmla="*/ 112961 h 221903"/>
                <a:gd name="connsiteX4" fmla="*/ 1021109 w 1089421"/>
                <a:gd name="connsiteY4" fmla="*/ 21878 h 221903"/>
                <a:gd name="connsiteX5" fmla="*/ 535334 w 1089421"/>
                <a:gd name="connsiteY5" fmla="*/ 21878 h 221903"/>
                <a:gd name="connsiteX6" fmla="*/ 489643 w 1089421"/>
                <a:gd name="connsiteY6" fmla="*/ 114598 h 221903"/>
                <a:gd name="connsiteX7" fmla="*/ 534441 w 1089421"/>
                <a:gd name="connsiteY7" fmla="*/ 201067 h 221903"/>
                <a:gd name="connsiteX8" fmla="*/ 578643 w 1089421"/>
                <a:gd name="connsiteY8" fmla="*/ 112961 h 221903"/>
                <a:gd name="connsiteX9" fmla="*/ 535334 w 1089421"/>
                <a:gd name="connsiteY9" fmla="*/ 21878 h 221903"/>
                <a:gd name="connsiteX10" fmla="*/ 211484 w 1089421"/>
                <a:gd name="connsiteY10" fmla="*/ 21878 h 221903"/>
                <a:gd name="connsiteX11" fmla="*/ 165793 w 1089421"/>
                <a:gd name="connsiteY11" fmla="*/ 114598 h 221903"/>
                <a:gd name="connsiteX12" fmla="*/ 210591 w 1089421"/>
                <a:gd name="connsiteY12" fmla="*/ 201067 h 221903"/>
                <a:gd name="connsiteX13" fmla="*/ 254793 w 1089421"/>
                <a:gd name="connsiteY13" fmla="*/ 112961 h 221903"/>
                <a:gd name="connsiteX14" fmla="*/ 211484 w 1089421"/>
                <a:gd name="connsiteY14" fmla="*/ 21878 h 221903"/>
                <a:gd name="connsiteX15" fmla="*/ 1022299 w 1089421"/>
                <a:gd name="connsiteY15" fmla="*/ 1191 h 221903"/>
                <a:gd name="connsiteX16" fmla="*/ 1089421 w 1089421"/>
                <a:gd name="connsiteY16" fmla="*/ 110579 h 221903"/>
                <a:gd name="connsiteX17" fmla="*/ 1084584 w 1089421"/>
                <a:gd name="connsiteY17" fmla="*/ 158056 h 221903"/>
                <a:gd name="connsiteX18" fmla="*/ 1070594 w 1089421"/>
                <a:gd name="connsiteY18" fmla="*/ 192956 h 221903"/>
                <a:gd name="connsiteX19" fmla="*/ 1048121 w 1089421"/>
                <a:gd name="connsiteY19" fmla="*/ 214536 h 221903"/>
                <a:gd name="connsiteX20" fmla="*/ 1017835 w 1089421"/>
                <a:gd name="connsiteY20" fmla="*/ 221903 h 221903"/>
                <a:gd name="connsiteX21" fmla="*/ 989185 w 1089421"/>
                <a:gd name="connsiteY21" fmla="*/ 214834 h 221903"/>
                <a:gd name="connsiteX22" fmla="*/ 967977 w 1089421"/>
                <a:gd name="connsiteY22" fmla="*/ 194221 h 221903"/>
                <a:gd name="connsiteX23" fmla="*/ 954880 w 1089421"/>
                <a:gd name="connsiteY23" fmla="*/ 160958 h 221903"/>
                <a:gd name="connsiteX24" fmla="*/ 950415 w 1089421"/>
                <a:gd name="connsiteY24" fmla="*/ 115788 h 221903"/>
                <a:gd name="connsiteX25" fmla="*/ 955103 w 1089421"/>
                <a:gd name="connsiteY25" fmla="*/ 66377 h 221903"/>
                <a:gd name="connsiteX26" fmla="*/ 968870 w 1089421"/>
                <a:gd name="connsiteY26" fmla="*/ 30435 h 221903"/>
                <a:gd name="connsiteX27" fmla="*/ 991418 w 1089421"/>
                <a:gd name="connsiteY27" fmla="*/ 8558 h 221903"/>
                <a:gd name="connsiteX28" fmla="*/ 1022299 w 1089421"/>
                <a:gd name="connsiteY28" fmla="*/ 1191 h 221903"/>
                <a:gd name="connsiteX29" fmla="*/ 536524 w 1089421"/>
                <a:gd name="connsiteY29" fmla="*/ 1191 h 221903"/>
                <a:gd name="connsiteX30" fmla="*/ 603646 w 1089421"/>
                <a:gd name="connsiteY30" fmla="*/ 110579 h 221903"/>
                <a:gd name="connsiteX31" fmla="*/ 598809 w 1089421"/>
                <a:gd name="connsiteY31" fmla="*/ 158056 h 221903"/>
                <a:gd name="connsiteX32" fmla="*/ 584819 w 1089421"/>
                <a:gd name="connsiteY32" fmla="*/ 192956 h 221903"/>
                <a:gd name="connsiteX33" fmla="*/ 562346 w 1089421"/>
                <a:gd name="connsiteY33" fmla="*/ 214536 h 221903"/>
                <a:gd name="connsiteX34" fmla="*/ 532060 w 1089421"/>
                <a:gd name="connsiteY34" fmla="*/ 221903 h 221903"/>
                <a:gd name="connsiteX35" fmla="*/ 503410 w 1089421"/>
                <a:gd name="connsiteY35" fmla="*/ 214834 h 221903"/>
                <a:gd name="connsiteX36" fmla="*/ 482202 w 1089421"/>
                <a:gd name="connsiteY36" fmla="*/ 194221 h 221903"/>
                <a:gd name="connsiteX37" fmla="*/ 469105 w 1089421"/>
                <a:gd name="connsiteY37" fmla="*/ 160958 h 221903"/>
                <a:gd name="connsiteX38" fmla="*/ 464640 w 1089421"/>
                <a:gd name="connsiteY38" fmla="*/ 115788 h 221903"/>
                <a:gd name="connsiteX39" fmla="*/ 469328 w 1089421"/>
                <a:gd name="connsiteY39" fmla="*/ 66377 h 221903"/>
                <a:gd name="connsiteX40" fmla="*/ 483095 w 1089421"/>
                <a:gd name="connsiteY40" fmla="*/ 30435 h 221903"/>
                <a:gd name="connsiteX41" fmla="*/ 505643 w 1089421"/>
                <a:gd name="connsiteY41" fmla="*/ 8558 h 221903"/>
                <a:gd name="connsiteX42" fmla="*/ 536524 w 1089421"/>
                <a:gd name="connsiteY42" fmla="*/ 1191 h 221903"/>
                <a:gd name="connsiteX43" fmla="*/ 212674 w 1089421"/>
                <a:gd name="connsiteY43" fmla="*/ 1191 h 221903"/>
                <a:gd name="connsiteX44" fmla="*/ 279796 w 1089421"/>
                <a:gd name="connsiteY44" fmla="*/ 110579 h 221903"/>
                <a:gd name="connsiteX45" fmla="*/ 274959 w 1089421"/>
                <a:gd name="connsiteY45" fmla="*/ 158056 h 221903"/>
                <a:gd name="connsiteX46" fmla="*/ 260969 w 1089421"/>
                <a:gd name="connsiteY46" fmla="*/ 192956 h 221903"/>
                <a:gd name="connsiteX47" fmla="*/ 238496 w 1089421"/>
                <a:gd name="connsiteY47" fmla="*/ 214536 h 221903"/>
                <a:gd name="connsiteX48" fmla="*/ 208210 w 1089421"/>
                <a:gd name="connsiteY48" fmla="*/ 221903 h 221903"/>
                <a:gd name="connsiteX49" fmla="*/ 179560 w 1089421"/>
                <a:gd name="connsiteY49" fmla="*/ 214834 h 221903"/>
                <a:gd name="connsiteX50" fmla="*/ 158352 w 1089421"/>
                <a:gd name="connsiteY50" fmla="*/ 194221 h 221903"/>
                <a:gd name="connsiteX51" fmla="*/ 145255 w 1089421"/>
                <a:gd name="connsiteY51" fmla="*/ 160958 h 221903"/>
                <a:gd name="connsiteX52" fmla="*/ 140790 w 1089421"/>
                <a:gd name="connsiteY52" fmla="*/ 115788 h 221903"/>
                <a:gd name="connsiteX53" fmla="*/ 145478 w 1089421"/>
                <a:gd name="connsiteY53" fmla="*/ 66377 h 221903"/>
                <a:gd name="connsiteX54" fmla="*/ 159245 w 1089421"/>
                <a:gd name="connsiteY54" fmla="*/ 30435 h 221903"/>
                <a:gd name="connsiteX55" fmla="*/ 181793 w 1089421"/>
                <a:gd name="connsiteY55" fmla="*/ 8558 h 221903"/>
                <a:gd name="connsiteX56" fmla="*/ 212674 w 1089421"/>
                <a:gd name="connsiteY56" fmla="*/ 1191 h 221903"/>
                <a:gd name="connsiteX57" fmla="*/ 874216 w 1089421"/>
                <a:gd name="connsiteY57" fmla="*/ 0 h 221903"/>
                <a:gd name="connsiteX58" fmla="*/ 883444 w 1089421"/>
                <a:gd name="connsiteY58" fmla="*/ 0 h 221903"/>
                <a:gd name="connsiteX59" fmla="*/ 883444 w 1089421"/>
                <a:gd name="connsiteY59" fmla="*/ 218182 h 221903"/>
                <a:gd name="connsiteX60" fmla="*/ 859036 w 1089421"/>
                <a:gd name="connsiteY60" fmla="*/ 218182 h 221903"/>
                <a:gd name="connsiteX61" fmla="*/ 859036 w 1089421"/>
                <a:gd name="connsiteY61" fmla="*/ 33784 h 221903"/>
                <a:gd name="connsiteX62" fmla="*/ 850776 w 1089421"/>
                <a:gd name="connsiteY62" fmla="*/ 40258 h 221903"/>
                <a:gd name="connsiteX63" fmla="*/ 838572 w 1089421"/>
                <a:gd name="connsiteY63" fmla="*/ 47476 h 221903"/>
                <a:gd name="connsiteX64" fmla="*/ 824285 w 1089421"/>
                <a:gd name="connsiteY64" fmla="*/ 54174 h 221903"/>
                <a:gd name="connsiteX65" fmla="*/ 809625 w 1089421"/>
                <a:gd name="connsiteY65" fmla="*/ 59085 h 221903"/>
                <a:gd name="connsiteX66" fmla="*/ 809625 w 1089421"/>
                <a:gd name="connsiteY66" fmla="*/ 34379 h 221903"/>
                <a:gd name="connsiteX67" fmla="*/ 826666 w 1089421"/>
                <a:gd name="connsiteY67" fmla="*/ 28352 h 221903"/>
                <a:gd name="connsiteX68" fmla="*/ 844376 w 1089421"/>
                <a:gd name="connsiteY68" fmla="*/ 19869 h 221903"/>
                <a:gd name="connsiteX69" fmla="*/ 860822 w 1089421"/>
                <a:gd name="connsiteY69" fmla="*/ 10046 h 221903"/>
                <a:gd name="connsiteX70" fmla="*/ 874216 w 1089421"/>
                <a:gd name="connsiteY70" fmla="*/ 0 h 221903"/>
                <a:gd name="connsiteX71" fmla="*/ 712291 w 1089421"/>
                <a:gd name="connsiteY71" fmla="*/ 0 h 221903"/>
                <a:gd name="connsiteX72" fmla="*/ 721519 w 1089421"/>
                <a:gd name="connsiteY72" fmla="*/ 0 h 221903"/>
                <a:gd name="connsiteX73" fmla="*/ 721519 w 1089421"/>
                <a:gd name="connsiteY73" fmla="*/ 218182 h 221903"/>
                <a:gd name="connsiteX74" fmla="*/ 697111 w 1089421"/>
                <a:gd name="connsiteY74" fmla="*/ 218182 h 221903"/>
                <a:gd name="connsiteX75" fmla="*/ 697111 w 1089421"/>
                <a:gd name="connsiteY75" fmla="*/ 33784 h 221903"/>
                <a:gd name="connsiteX76" fmla="*/ 688851 w 1089421"/>
                <a:gd name="connsiteY76" fmla="*/ 40258 h 221903"/>
                <a:gd name="connsiteX77" fmla="*/ 676647 w 1089421"/>
                <a:gd name="connsiteY77" fmla="*/ 47476 h 221903"/>
                <a:gd name="connsiteX78" fmla="*/ 662360 w 1089421"/>
                <a:gd name="connsiteY78" fmla="*/ 54174 h 221903"/>
                <a:gd name="connsiteX79" fmla="*/ 647700 w 1089421"/>
                <a:gd name="connsiteY79" fmla="*/ 59085 h 221903"/>
                <a:gd name="connsiteX80" fmla="*/ 647700 w 1089421"/>
                <a:gd name="connsiteY80" fmla="*/ 34379 h 221903"/>
                <a:gd name="connsiteX81" fmla="*/ 664741 w 1089421"/>
                <a:gd name="connsiteY81" fmla="*/ 28352 h 221903"/>
                <a:gd name="connsiteX82" fmla="*/ 682451 w 1089421"/>
                <a:gd name="connsiteY82" fmla="*/ 19869 h 221903"/>
                <a:gd name="connsiteX83" fmla="*/ 698897 w 1089421"/>
                <a:gd name="connsiteY83" fmla="*/ 10046 h 221903"/>
                <a:gd name="connsiteX84" fmla="*/ 712291 w 1089421"/>
                <a:gd name="connsiteY84" fmla="*/ 0 h 221903"/>
                <a:gd name="connsiteX85" fmla="*/ 388441 w 1089421"/>
                <a:gd name="connsiteY85" fmla="*/ 0 h 221903"/>
                <a:gd name="connsiteX86" fmla="*/ 397669 w 1089421"/>
                <a:gd name="connsiteY86" fmla="*/ 0 h 221903"/>
                <a:gd name="connsiteX87" fmla="*/ 397669 w 1089421"/>
                <a:gd name="connsiteY87" fmla="*/ 218182 h 221903"/>
                <a:gd name="connsiteX88" fmla="*/ 373261 w 1089421"/>
                <a:gd name="connsiteY88" fmla="*/ 218182 h 221903"/>
                <a:gd name="connsiteX89" fmla="*/ 373261 w 1089421"/>
                <a:gd name="connsiteY89" fmla="*/ 33784 h 221903"/>
                <a:gd name="connsiteX90" fmla="*/ 365001 w 1089421"/>
                <a:gd name="connsiteY90" fmla="*/ 40258 h 221903"/>
                <a:gd name="connsiteX91" fmla="*/ 352797 w 1089421"/>
                <a:gd name="connsiteY91" fmla="*/ 47476 h 221903"/>
                <a:gd name="connsiteX92" fmla="*/ 338510 w 1089421"/>
                <a:gd name="connsiteY92" fmla="*/ 54174 h 221903"/>
                <a:gd name="connsiteX93" fmla="*/ 323850 w 1089421"/>
                <a:gd name="connsiteY93" fmla="*/ 59085 h 221903"/>
                <a:gd name="connsiteX94" fmla="*/ 323850 w 1089421"/>
                <a:gd name="connsiteY94" fmla="*/ 34379 h 221903"/>
                <a:gd name="connsiteX95" fmla="*/ 340891 w 1089421"/>
                <a:gd name="connsiteY95" fmla="*/ 28352 h 221903"/>
                <a:gd name="connsiteX96" fmla="*/ 358601 w 1089421"/>
                <a:gd name="connsiteY96" fmla="*/ 19869 h 221903"/>
                <a:gd name="connsiteX97" fmla="*/ 375047 w 1089421"/>
                <a:gd name="connsiteY97" fmla="*/ 10046 h 221903"/>
                <a:gd name="connsiteX98" fmla="*/ 388441 w 1089421"/>
                <a:gd name="connsiteY98" fmla="*/ 0 h 221903"/>
                <a:gd name="connsiteX99" fmla="*/ 64591 w 1089421"/>
                <a:gd name="connsiteY99" fmla="*/ 0 h 221903"/>
                <a:gd name="connsiteX100" fmla="*/ 73819 w 1089421"/>
                <a:gd name="connsiteY100" fmla="*/ 0 h 221903"/>
                <a:gd name="connsiteX101" fmla="*/ 73819 w 1089421"/>
                <a:gd name="connsiteY101" fmla="*/ 218182 h 221903"/>
                <a:gd name="connsiteX102" fmla="*/ 49411 w 1089421"/>
                <a:gd name="connsiteY102" fmla="*/ 218182 h 221903"/>
                <a:gd name="connsiteX103" fmla="*/ 49411 w 1089421"/>
                <a:gd name="connsiteY103" fmla="*/ 33784 h 221903"/>
                <a:gd name="connsiteX104" fmla="*/ 41151 w 1089421"/>
                <a:gd name="connsiteY104" fmla="*/ 40258 h 221903"/>
                <a:gd name="connsiteX105" fmla="*/ 28947 w 1089421"/>
                <a:gd name="connsiteY105" fmla="*/ 47476 h 221903"/>
                <a:gd name="connsiteX106" fmla="*/ 14660 w 1089421"/>
                <a:gd name="connsiteY106" fmla="*/ 54174 h 221903"/>
                <a:gd name="connsiteX107" fmla="*/ 0 w 1089421"/>
                <a:gd name="connsiteY107" fmla="*/ 59085 h 221903"/>
                <a:gd name="connsiteX108" fmla="*/ 0 w 1089421"/>
                <a:gd name="connsiteY108" fmla="*/ 34379 h 221903"/>
                <a:gd name="connsiteX109" fmla="*/ 17041 w 1089421"/>
                <a:gd name="connsiteY109" fmla="*/ 28352 h 221903"/>
                <a:gd name="connsiteX110" fmla="*/ 34751 w 1089421"/>
                <a:gd name="connsiteY110" fmla="*/ 19869 h 221903"/>
                <a:gd name="connsiteX111" fmla="*/ 51197 w 1089421"/>
                <a:gd name="connsiteY111" fmla="*/ 10046 h 221903"/>
                <a:gd name="connsiteX112" fmla="*/ 64591 w 1089421"/>
                <a:gd name="connsiteY112" fmla="*/ 0 h 2219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Lst>
              <a:rect l="l" t="t" r="r" b="b"/>
              <a:pathLst>
                <a:path w="1089421" h="221903">
                  <a:moveTo>
                    <a:pt x="1021109" y="21878"/>
                  </a:moveTo>
                  <a:cubicBezTo>
                    <a:pt x="990649" y="21878"/>
                    <a:pt x="975419" y="52784"/>
                    <a:pt x="975419" y="114598"/>
                  </a:cubicBezTo>
                  <a:cubicBezTo>
                    <a:pt x="975419" y="172244"/>
                    <a:pt x="990351" y="201067"/>
                    <a:pt x="1020216" y="201067"/>
                  </a:cubicBezTo>
                  <a:cubicBezTo>
                    <a:pt x="1049684" y="201067"/>
                    <a:pt x="1064418" y="171698"/>
                    <a:pt x="1064418" y="112961"/>
                  </a:cubicBezTo>
                  <a:cubicBezTo>
                    <a:pt x="1064418" y="52239"/>
                    <a:pt x="1049981" y="21878"/>
                    <a:pt x="1021109" y="21878"/>
                  </a:cubicBezTo>
                  <a:close/>
                  <a:moveTo>
                    <a:pt x="535334" y="21878"/>
                  </a:moveTo>
                  <a:cubicBezTo>
                    <a:pt x="504874" y="21878"/>
                    <a:pt x="489643" y="52784"/>
                    <a:pt x="489643" y="114598"/>
                  </a:cubicBezTo>
                  <a:cubicBezTo>
                    <a:pt x="489643" y="172244"/>
                    <a:pt x="504576" y="201067"/>
                    <a:pt x="534441" y="201067"/>
                  </a:cubicBezTo>
                  <a:cubicBezTo>
                    <a:pt x="563909" y="201067"/>
                    <a:pt x="578643" y="171698"/>
                    <a:pt x="578643" y="112961"/>
                  </a:cubicBezTo>
                  <a:cubicBezTo>
                    <a:pt x="578643" y="52239"/>
                    <a:pt x="564206" y="21878"/>
                    <a:pt x="535334" y="21878"/>
                  </a:cubicBezTo>
                  <a:close/>
                  <a:moveTo>
                    <a:pt x="211484" y="21878"/>
                  </a:moveTo>
                  <a:cubicBezTo>
                    <a:pt x="181024" y="21878"/>
                    <a:pt x="165793" y="52784"/>
                    <a:pt x="165793" y="114598"/>
                  </a:cubicBezTo>
                  <a:cubicBezTo>
                    <a:pt x="165793" y="172244"/>
                    <a:pt x="180726" y="201067"/>
                    <a:pt x="210591" y="201067"/>
                  </a:cubicBezTo>
                  <a:cubicBezTo>
                    <a:pt x="240059" y="201067"/>
                    <a:pt x="254793" y="171698"/>
                    <a:pt x="254793" y="112961"/>
                  </a:cubicBezTo>
                  <a:cubicBezTo>
                    <a:pt x="254793" y="52239"/>
                    <a:pt x="240356" y="21878"/>
                    <a:pt x="211484" y="21878"/>
                  </a:cubicBezTo>
                  <a:close/>
                  <a:moveTo>
                    <a:pt x="1022299" y="1191"/>
                  </a:moveTo>
                  <a:cubicBezTo>
                    <a:pt x="1067047" y="1191"/>
                    <a:pt x="1089421" y="37654"/>
                    <a:pt x="1089421" y="110579"/>
                  </a:cubicBezTo>
                  <a:cubicBezTo>
                    <a:pt x="1089421" y="128439"/>
                    <a:pt x="1087809" y="144264"/>
                    <a:pt x="1084584" y="158056"/>
                  </a:cubicBezTo>
                  <a:cubicBezTo>
                    <a:pt x="1081359" y="171847"/>
                    <a:pt x="1076696" y="183480"/>
                    <a:pt x="1070594" y="192956"/>
                  </a:cubicBezTo>
                  <a:cubicBezTo>
                    <a:pt x="1064492" y="202431"/>
                    <a:pt x="1057001" y="209625"/>
                    <a:pt x="1048121" y="214536"/>
                  </a:cubicBezTo>
                  <a:cubicBezTo>
                    <a:pt x="1039241" y="219447"/>
                    <a:pt x="1029145" y="221903"/>
                    <a:pt x="1017835" y="221903"/>
                  </a:cubicBezTo>
                  <a:cubicBezTo>
                    <a:pt x="1007119" y="221903"/>
                    <a:pt x="997569" y="219546"/>
                    <a:pt x="989185" y="214834"/>
                  </a:cubicBezTo>
                  <a:cubicBezTo>
                    <a:pt x="980801" y="210121"/>
                    <a:pt x="973732" y="203250"/>
                    <a:pt x="967977" y="194221"/>
                  </a:cubicBezTo>
                  <a:cubicBezTo>
                    <a:pt x="962222" y="185192"/>
                    <a:pt x="957857" y="174104"/>
                    <a:pt x="954880" y="160958"/>
                  </a:cubicBezTo>
                  <a:cubicBezTo>
                    <a:pt x="951904" y="147811"/>
                    <a:pt x="950415" y="132755"/>
                    <a:pt x="950415" y="115788"/>
                  </a:cubicBezTo>
                  <a:cubicBezTo>
                    <a:pt x="950415" y="97135"/>
                    <a:pt x="951978" y="80665"/>
                    <a:pt x="955103" y="66377"/>
                  </a:cubicBezTo>
                  <a:cubicBezTo>
                    <a:pt x="958229" y="52090"/>
                    <a:pt x="962818" y="40109"/>
                    <a:pt x="968870" y="30435"/>
                  </a:cubicBezTo>
                  <a:cubicBezTo>
                    <a:pt x="974922" y="20762"/>
                    <a:pt x="982438" y="13469"/>
                    <a:pt x="991418" y="8558"/>
                  </a:cubicBezTo>
                  <a:cubicBezTo>
                    <a:pt x="1000397" y="3646"/>
                    <a:pt x="1010691" y="1191"/>
                    <a:pt x="1022299" y="1191"/>
                  </a:cubicBezTo>
                  <a:close/>
                  <a:moveTo>
                    <a:pt x="536524" y="1191"/>
                  </a:moveTo>
                  <a:cubicBezTo>
                    <a:pt x="581272" y="1191"/>
                    <a:pt x="603646" y="37654"/>
                    <a:pt x="603646" y="110579"/>
                  </a:cubicBezTo>
                  <a:cubicBezTo>
                    <a:pt x="603646" y="128439"/>
                    <a:pt x="602034" y="144264"/>
                    <a:pt x="598809" y="158056"/>
                  </a:cubicBezTo>
                  <a:cubicBezTo>
                    <a:pt x="595584" y="171847"/>
                    <a:pt x="590921" y="183480"/>
                    <a:pt x="584819" y="192956"/>
                  </a:cubicBezTo>
                  <a:cubicBezTo>
                    <a:pt x="578717" y="202431"/>
                    <a:pt x="571226" y="209625"/>
                    <a:pt x="562346" y="214536"/>
                  </a:cubicBezTo>
                  <a:cubicBezTo>
                    <a:pt x="553466" y="219447"/>
                    <a:pt x="543370" y="221903"/>
                    <a:pt x="532060" y="221903"/>
                  </a:cubicBezTo>
                  <a:cubicBezTo>
                    <a:pt x="521344" y="221903"/>
                    <a:pt x="511794" y="219546"/>
                    <a:pt x="503410" y="214834"/>
                  </a:cubicBezTo>
                  <a:cubicBezTo>
                    <a:pt x="495026" y="210121"/>
                    <a:pt x="487957" y="203250"/>
                    <a:pt x="482202" y="194221"/>
                  </a:cubicBezTo>
                  <a:cubicBezTo>
                    <a:pt x="476447" y="185192"/>
                    <a:pt x="472082" y="174104"/>
                    <a:pt x="469105" y="160958"/>
                  </a:cubicBezTo>
                  <a:cubicBezTo>
                    <a:pt x="466129" y="147811"/>
                    <a:pt x="464640" y="132755"/>
                    <a:pt x="464640" y="115788"/>
                  </a:cubicBezTo>
                  <a:cubicBezTo>
                    <a:pt x="464640" y="97135"/>
                    <a:pt x="466203" y="80665"/>
                    <a:pt x="469328" y="66377"/>
                  </a:cubicBezTo>
                  <a:cubicBezTo>
                    <a:pt x="472454" y="52090"/>
                    <a:pt x="477043" y="40109"/>
                    <a:pt x="483095" y="30435"/>
                  </a:cubicBezTo>
                  <a:cubicBezTo>
                    <a:pt x="489147" y="20762"/>
                    <a:pt x="496663" y="13469"/>
                    <a:pt x="505643" y="8558"/>
                  </a:cubicBezTo>
                  <a:cubicBezTo>
                    <a:pt x="514622" y="3646"/>
                    <a:pt x="524916" y="1191"/>
                    <a:pt x="536524" y="1191"/>
                  </a:cubicBezTo>
                  <a:close/>
                  <a:moveTo>
                    <a:pt x="212674" y="1191"/>
                  </a:moveTo>
                  <a:cubicBezTo>
                    <a:pt x="257422" y="1191"/>
                    <a:pt x="279796" y="37654"/>
                    <a:pt x="279796" y="110579"/>
                  </a:cubicBezTo>
                  <a:cubicBezTo>
                    <a:pt x="279796" y="128439"/>
                    <a:pt x="278184" y="144264"/>
                    <a:pt x="274959" y="158056"/>
                  </a:cubicBezTo>
                  <a:cubicBezTo>
                    <a:pt x="271734" y="171847"/>
                    <a:pt x="267071" y="183480"/>
                    <a:pt x="260969" y="192956"/>
                  </a:cubicBezTo>
                  <a:cubicBezTo>
                    <a:pt x="254867" y="202431"/>
                    <a:pt x="247376" y="209625"/>
                    <a:pt x="238496" y="214536"/>
                  </a:cubicBezTo>
                  <a:cubicBezTo>
                    <a:pt x="229616" y="219447"/>
                    <a:pt x="219520" y="221903"/>
                    <a:pt x="208210" y="221903"/>
                  </a:cubicBezTo>
                  <a:cubicBezTo>
                    <a:pt x="197494" y="221903"/>
                    <a:pt x="187944" y="219546"/>
                    <a:pt x="179560" y="214834"/>
                  </a:cubicBezTo>
                  <a:cubicBezTo>
                    <a:pt x="171176" y="210121"/>
                    <a:pt x="164107" y="203250"/>
                    <a:pt x="158352" y="194221"/>
                  </a:cubicBezTo>
                  <a:cubicBezTo>
                    <a:pt x="152597" y="185192"/>
                    <a:pt x="148232" y="174104"/>
                    <a:pt x="145255" y="160958"/>
                  </a:cubicBezTo>
                  <a:cubicBezTo>
                    <a:pt x="142279" y="147811"/>
                    <a:pt x="140790" y="132755"/>
                    <a:pt x="140790" y="115788"/>
                  </a:cubicBezTo>
                  <a:cubicBezTo>
                    <a:pt x="140790" y="97135"/>
                    <a:pt x="142353" y="80665"/>
                    <a:pt x="145478" y="66377"/>
                  </a:cubicBezTo>
                  <a:cubicBezTo>
                    <a:pt x="148604" y="52090"/>
                    <a:pt x="153193" y="40109"/>
                    <a:pt x="159245" y="30435"/>
                  </a:cubicBezTo>
                  <a:cubicBezTo>
                    <a:pt x="165297" y="20762"/>
                    <a:pt x="172813" y="13469"/>
                    <a:pt x="181793" y="8558"/>
                  </a:cubicBezTo>
                  <a:cubicBezTo>
                    <a:pt x="190772" y="3646"/>
                    <a:pt x="201066" y="1191"/>
                    <a:pt x="212674" y="1191"/>
                  </a:cubicBezTo>
                  <a:close/>
                  <a:moveTo>
                    <a:pt x="874216" y="0"/>
                  </a:moveTo>
                  <a:lnTo>
                    <a:pt x="883444" y="0"/>
                  </a:lnTo>
                  <a:lnTo>
                    <a:pt x="883444" y="218182"/>
                  </a:lnTo>
                  <a:lnTo>
                    <a:pt x="859036" y="218182"/>
                  </a:lnTo>
                  <a:lnTo>
                    <a:pt x="859036" y="33784"/>
                  </a:lnTo>
                  <a:cubicBezTo>
                    <a:pt x="857151" y="35669"/>
                    <a:pt x="854397" y="37827"/>
                    <a:pt x="850776" y="40258"/>
                  </a:cubicBezTo>
                  <a:cubicBezTo>
                    <a:pt x="847154" y="42689"/>
                    <a:pt x="843087" y="45095"/>
                    <a:pt x="838572" y="47476"/>
                  </a:cubicBezTo>
                  <a:cubicBezTo>
                    <a:pt x="834058" y="49858"/>
                    <a:pt x="829295" y="52090"/>
                    <a:pt x="824285" y="54174"/>
                  </a:cubicBezTo>
                  <a:cubicBezTo>
                    <a:pt x="819274" y="56257"/>
                    <a:pt x="814388" y="57894"/>
                    <a:pt x="809625" y="59085"/>
                  </a:cubicBezTo>
                  <a:lnTo>
                    <a:pt x="809625" y="34379"/>
                  </a:lnTo>
                  <a:cubicBezTo>
                    <a:pt x="814983" y="32891"/>
                    <a:pt x="820663" y="30882"/>
                    <a:pt x="826666" y="28352"/>
                  </a:cubicBezTo>
                  <a:cubicBezTo>
                    <a:pt x="832669" y="25822"/>
                    <a:pt x="838572" y="22994"/>
                    <a:pt x="844376" y="19869"/>
                  </a:cubicBezTo>
                  <a:cubicBezTo>
                    <a:pt x="850181" y="16743"/>
                    <a:pt x="855662" y="13469"/>
                    <a:pt x="860822" y="10046"/>
                  </a:cubicBezTo>
                  <a:cubicBezTo>
                    <a:pt x="865981" y="6623"/>
                    <a:pt x="870446" y="3274"/>
                    <a:pt x="874216" y="0"/>
                  </a:cubicBezTo>
                  <a:close/>
                  <a:moveTo>
                    <a:pt x="712291" y="0"/>
                  </a:moveTo>
                  <a:lnTo>
                    <a:pt x="721519" y="0"/>
                  </a:lnTo>
                  <a:lnTo>
                    <a:pt x="721519" y="218182"/>
                  </a:lnTo>
                  <a:lnTo>
                    <a:pt x="697111" y="218182"/>
                  </a:lnTo>
                  <a:lnTo>
                    <a:pt x="697111" y="33784"/>
                  </a:lnTo>
                  <a:cubicBezTo>
                    <a:pt x="695226" y="35669"/>
                    <a:pt x="692472" y="37827"/>
                    <a:pt x="688851" y="40258"/>
                  </a:cubicBezTo>
                  <a:cubicBezTo>
                    <a:pt x="685229" y="42689"/>
                    <a:pt x="681162" y="45095"/>
                    <a:pt x="676647" y="47476"/>
                  </a:cubicBezTo>
                  <a:cubicBezTo>
                    <a:pt x="672133" y="49858"/>
                    <a:pt x="667370" y="52090"/>
                    <a:pt x="662360" y="54174"/>
                  </a:cubicBezTo>
                  <a:cubicBezTo>
                    <a:pt x="657349" y="56257"/>
                    <a:pt x="652463" y="57894"/>
                    <a:pt x="647700" y="59085"/>
                  </a:cubicBezTo>
                  <a:lnTo>
                    <a:pt x="647700" y="34379"/>
                  </a:lnTo>
                  <a:cubicBezTo>
                    <a:pt x="653058" y="32891"/>
                    <a:pt x="658738" y="30882"/>
                    <a:pt x="664741" y="28352"/>
                  </a:cubicBezTo>
                  <a:cubicBezTo>
                    <a:pt x="670744" y="25822"/>
                    <a:pt x="676647" y="22994"/>
                    <a:pt x="682451" y="19869"/>
                  </a:cubicBezTo>
                  <a:cubicBezTo>
                    <a:pt x="688256" y="16743"/>
                    <a:pt x="693738" y="13469"/>
                    <a:pt x="698897" y="10046"/>
                  </a:cubicBezTo>
                  <a:cubicBezTo>
                    <a:pt x="704056" y="6623"/>
                    <a:pt x="708521" y="3274"/>
                    <a:pt x="712291" y="0"/>
                  </a:cubicBezTo>
                  <a:close/>
                  <a:moveTo>
                    <a:pt x="388441" y="0"/>
                  </a:moveTo>
                  <a:lnTo>
                    <a:pt x="397669" y="0"/>
                  </a:lnTo>
                  <a:lnTo>
                    <a:pt x="397669" y="218182"/>
                  </a:lnTo>
                  <a:lnTo>
                    <a:pt x="373261" y="218182"/>
                  </a:lnTo>
                  <a:lnTo>
                    <a:pt x="373261" y="33784"/>
                  </a:lnTo>
                  <a:cubicBezTo>
                    <a:pt x="371376" y="35669"/>
                    <a:pt x="368622" y="37827"/>
                    <a:pt x="365001" y="40258"/>
                  </a:cubicBezTo>
                  <a:cubicBezTo>
                    <a:pt x="361380" y="42689"/>
                    <a:pt x="357311" y="45095"/>
                    <a:pt x="352797" y="47476"/>
                  </a:cubicBezTo>
                  <a:cubicBezTo>
                    <a:pt x="348283" y="49858"/>
                    <a:pt x="343520" y="52090"/>
                    <a:pt x="338510" y="54174"/>
                  </a:cubicBezTo>
                  <a:cubicBezTo>
                    <a:pt x="333499" y="56257"/>
                    <a:pt x="328613" y="57894"/>
                    <a:pt x="323850" y="59085"/>
                  </a:cubicBezTo>
                  <a:lnTo>
                    <a:pt x="323850" y="34379"/>
                  </a:lnTo>
                  <a:cubicBezTo>
                    <a:pt x="329208" y="32891"/>
                    <a:pt x="334888" y="30882"/>
                    <a:pt x="340891" y="28352"/>
                  </a:cubicBezTo>
                  <a:cubicBezTo>
                    <a:pt x="346894" y="25822"/>
                    <a:pt x="352797" y="22994"/>
                    <a:pt x="358601" y="19869"/>
                  </a:cubicBezTo>
                  <a:cubicBezTo>
                    <a:pt x="364406" y="16743"/>
                    <a:pt x="369887" y="13469"/>
                    <a:pt x="375047" y="10046"/>
                  </a:cubicBezTo>
                  <a:cubicBezTo>
                    <a:pt x="380206" y="6623"/>
                    <a:pt x="384671" y="3274"/>
                    <a:pt x="388441" y="0"/>
                  </a:cubicBezTo>
                  <a:close/>
                  <a:moveTo>
                    <a:pt x="64591" y="0"/>
                  </a:moveTo>
                  <a:lnTo>
                    <a:pt x="73819" y="0"/>
                  </a:lnTo>
                  <a:lnTo>
                    <a:pt x="73819" y="218182"/>
                  </a:lnTo>
                  <a:lnTo>
                    <a:pt x="49411" y="218182"/>
                  </a:lnTo>
                  <a:lnTo>
                    <a:pt x="49411" y="33784"/>
                  </a:lnTo>
                  <a:cubicBezTo>
                    <a:pt x="47526" y="35669"/>
                    <a:pt x="44772" y="37827"/>
                    <a:pt x="41151" y="40258"/>
                  </a:cubicBezTo>
                  <a:cubicBezTo>
                    <a:pt x="37529" y="42689"/>
                    <a:pt x="33462" y="45095"/>
                    <a:pt x="28947" y="47476"/>
                  </a:cubicBezTo>
                  <a:cubicBezTo>
                    <a:pt x="24433" y="49858"/>
                    <a:pt x="19670" y="52090"/>
                    <a:pt x="14660" y="54174"/>
                  </a:cubicBezTo>
                  <a:cubicBezTo>
                    <a:pt x="9649" y="56257"/>
                    <a:pt x="4762" y="57894"/>
                    <a:pt x="0" y="59085"/>
                  </a:cubicBezTo>
                  <a:lnTo>
                    <a:pt x="0" y="34379"/>
                  </a:lnTo>
                  <a:cubicBezTo>
                    <a:pt x="5358" y="32891"/>
                    <a:pt x="11038" y="30882"/>
                    <a:pt x="17041" y="28352"/>
                  </a:cubicBezTo>
                  <a:cubicBezTo>
                    <a:pt x="23044" y="25822"/>
                    <a:pt x="28947" y="22994"/>
                    <a:pt x="34751" y="19869"/>
                  </a:cubicBezTo>
                  <a:cubicBezTo>
                    <a:pt x="40556" y="16743"/>
                    <a:pt x="46037" y="13469"/>
                    <a:pt x="51197" y="10046"/>
                  </a:cubicBezTo>
                  <a:cubicBezTo>
                    <a:pt x="56356" y="6623"/>
                    <a:pt x="60821" y="3274"/>
                    <a:pt x="64591" y="0"/>
                  </a:cubicBezTo>
                  <a:close/>
                </a:path>
              </a:pathLst>
            </a:cu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5439">
                      <a:srgbClr val="F8F8F8"/>
                    </a:gs>
                    <a:gs pos="10000">
                      <a:srgbClr val="F8F8F8"/>
                    </a:gs>
                  </a:gsLst>
                  <a:lin ang="5400000" scaled="0"/>
                </a:gradFill>
                <a:effectLst/>
                <a:uLnTx/>
                <a:uFillTx/>
              </a:endParaRPr>
            </a:p>
          </p:txBody>
        </p:sp>
        <p:sp>
          <p:nvSpPr>
            <p:cNvPr id="522" name="Freeform: Shape 521"/>
            <p:cNvSpPr/>
            <p:nvPr/>
          </p:nvSpPr>
          <p:spPr bwMode="auto">
            <a:xfrm>
              <a:off x="5908928" y="3553078"/>
              <a:ext cx="684188" cy="139362"/>
            </a:xfrm>
            <a:custGeom>
              <a:avLst/>
              <a:gdLst>
                <a:gd name="connsiteX0" fmla="*/ 1021109 w 1089421"/>
                <a:gd name="connsiteY0" fmla="*/ 21878 h 221903"/>
                <a:gd name="connsiteX1" fmla="*/ 975419 w 1089421"/>
                <a:gd name="connsiteY1" fmla="*/ 114598 h 221903"/>
                <a:gd name="connsiteX2" fmla="*/ 1020216 w 1089421"/>
                <a:gd name="connsiteY2" fmla="*/ 201067 h 221903"/>
                <a:gd name="connsiteX3" fmla="*/ 1064418 w 1089421"/>
                <a:gd name="connsiteY3" fmla="*/ 112961 h 221903"/>
                <a:gd name="connsiteX4" fmla="*/ 1021109 w 1089421"/>
                <a:gd name="connsiteY4" fmla="*/ 21878 h 221903"/>
                <a:gd name="connsiteX5" fmla="*/ 697259 w 1089421"/>
                <a:gd name="connsiteY5" fmla="*/ 21878 h 221903"/>
                <a:gd name="connsiteX6" fmla="*/ 651569 w 1089421"/>
                <a:gd name="connsiteY6" fmla="*/ 114598 h 221903"/>
                <a:gd name="connsiteX7" fmla="*/ 696366 w 1089421"/>
                <a:gd name="connsiteY7" fmla="*/ 201067 h 221903"/>
                <a:gd name="connsiteX8" fmla="*/ 740568 w 1089421"/>
                <a:gd name="connsiteY8" fmla="*/ 112961 h 221903"/>
                <a:gd name="connsiteX9" fmla="*/ 697259 w 1089421"/>
                <a:gd name="connsiteY9" fmla="*/ 21878 h 221903"/>
                <a:gd name="connsiteX10" fmla="*/ 373409 w 1089421"/>
                <a:gd name="connsiteY10" fmla="*/ 21878 h 221903"/>
                <a:gd name="connsiteX11" fmla="*/ 327719 w 1089421"/>
                <a:gd name="connsiteY11" fmla="*/ 114598 h 221903"/>
                <a:gd name="connsiteX12" fmla="*/ 372516 w 1089421"/>
                <a:gd name="connsiteY12" fmla="*/ 201067 h 221903"/>
                <a:gd name="connsiteX13" fmla="*/ 416718 w 1089421"/>
                <a:gd name="connsiteY13" fmla="*/ 112961 h 221903"/>
                <a:gd name="connsiteX14" fmla="*/ 373409 w 1089421"/>
                <a:gd name="connsiteY14" fmla="*/ 21878 h 221903"/>
                <a:gd name="connsiteX15" fmla="*/ 1022299 w 1089421"/>
                <a:gd name="connsiteY15" fmla="*/ 1191 h 221903"/>
                <a:gd name="connsiteX16" fmla="*/ 1089421 w 1089421"/>
                <a:gd name="connsiteY16" fmla="*/ 110579 h 221903"/>
                <a:gd name="connsiteX17" fmla="*/ 1084584 w 1089421"/>
                <a:gd name="connsiteY17" fmla="*/ 158056 h 221903"/>
                <a:gd name="connsiteX18" fmla="*/ 1070594 w 1089421"/>
                <a:gd name="connsiteY18" fmla="*/ 192956 h 221903"/>
                <a:gd name="connsiteX19" fmla="*/ 1048121 w 1089421"/>
                <a:gd name="connsiteY19" fmla="*/ 214536 h 221903"/>
                <a:gd name="connsiteX20" fmla="*/ 1017835 w 1089421"/>
                <a:gd name="connsiteY20" fmla="*/ 221903 h 221903"/>
                <a:gd name="connsiteX21" fmla="*/ 989185 w 1089421"/>
                <a:gd name="connsiteY21" fmla="*/ 214834 h 221903"/>
                <a:gd name="connsiteX22" fmla="*/ 967977 w 1089421"/>
                <a:gd name="connsiteY22" fmla="*/ 194221 h 221903"/>
                <a:gd name="connsiteX23" fmla="*/ 954880 w 1089421"/>
                <a:gd name="connsiteY23" fmla="*/ 160958 h 221903"/>
                <a:gd name="connsiteX24" fmla="*/ 950415 w 1089421"/>
                <a:gd name="connsiteY24" fmla="*/ 115788 h 221903"/>
                <a:gd name="connsiteX25" fmla="*/ 955103 w 1089421"/>
                <a:gd name="connsiteY25" fmla="*/ 66377 h 221903"/>
                <a:gd name="connsiteX26" fmla="*/ 968870 w 1089421"/>
                <a:gd name="connsiteY26" fmla="*/ 30435 h 221903"/>
                <a:gd name="connsiteX27" fmla="*/ 991418 w 1089421"/>
                <a:gd name="connsiteY27" fmla="*/ 8558 h 221903"/>
                <a:gd name="connsiteX28" fmla="*/ 1022299 w 1089421"/>
                <a:gd name="connsiteY28" fmla="*/ 1191 h 221903"/>
                <a:gd name="connsiteX29" fmla="*/ 698449 w 1089421"/>
                <a:gd name="connsiteY29" fmla="*/ 1191 h 221903"/>
                <a:gd name="connsiteX30" fmla="*/ 765571 w 1089421"/>
                <a:gd name="connsiteY30" fmla="*/ 110579 h 221903"/>
                <a:gd name="connsiteX31" fmla="*/ 760734 w 1089421"/>
                <a:gd name="connsiteY31" fmla="*/ 158056 h 221903"/>
                <a:gd name="connsiteX32" fmla="*/ 746744 w 1089421"/>
                <a:gd name="connsiteY32" fmla="*/ 192956 h 221903"/>
                <a:gd name="connsiteX33" fmla="*/ 724271 w 1089421"/>
                <a:gd name="connsiteY33" fmla="*/ 214536 h 221903"/>
                <a:gd name="connsiteX34" fmla="*/ 693985 w 1089421"/>
                <a:gd name="connsiteY34" fmla="*/ 221903 h 221903"/>
                <a:gd name="connsiteX35" fmla="*/ 665335 w 1089421"/>
                <a:gd name="connsiteY35" fmla="*/ 214834 h 221903"/>
                <a:gd name="connsiteX36" fmla="*/ 644127 w 1089421"/>
                <a:gd name="connsiteY36" fmla="*/ 194221 h 221903"/>
                <a:gd name="connsiteX37" fmla="*/ 631030 w 1089421"/>
                <a:gd name="connsiteY37" fmla="*/ 160958 h 221903"/>
                <a:gd name="connsiteX38" fmla="*/ 626565 w 1089421"/>
                <a:gd name="connsiteY38" fmla="*/ 115788 h 221903"/>
                <a:gd name="connsiteX39" fmla="*/ 631253 w 1089421"/>
                <a:gd name="connsiteY39" fmla="*/ 66377 h 221903"/>
                <a:gd name="connsiteX40" fmla="*/ 645020 w 1089421"/>
                <a:gd name="connsiteY40" fmla="*/ 30435 h 221903"/>
                <a:gd name="connsiteX41" fmla="*/ 667568 w 1089421"/>
                <a:gd name="connsiteY41" fmla="*/ 8558 h 221903"/>
                <a:gd name="connsiteX42" fmla="*/ 698449 w 1089421"/>
                <a:gd name="connsiteY42" fmla="*/ 1191 h 221903"/>
                <a:gd name="connsiteX43" fmla="*/ 374599 w 1089421"/>
                <a:gd name="connsiteY43" fmla="*/ 1191 h 221903"/>
                <a:gd name="connsiteX44" fmla="*/ 441721 w 1089421"/>
                <a:gd name="connsiteY44" fmla="*/ 110579 h 221903"/>
                <a:gd name="connsiteX45" fmla="*/ 436884 w 1089421"/>
                <a:gd name="connsiteY45" fmla="*/ 158056 h 221903"/>
                <a:gd name="connsiteX46" fmla="*/ 422894 w 1089421"/>
                <a:gd name="connsiteY46" fmla="*/ 192956 h 221903"/>
                <a:gd name="connsiteX47" fmla="*/ 400421 w 1089421"/>
                <a:gd name="connsiteY47" fmla="*/ 214536 h 221903"/>
                <a:gd name="connsiteX48" fmla="*/ 370135 w 1089421"/>
                <a:gd name="connsiteY48" fmla="*/ 221903 h 221903"/>
                <a:gd name="connsiteX49" fmla="*/ 341485 w 1089421"/>
                <a:gd name="connsiteY49" fmla="*/ 214834 h 221903"/>
                <a:gd name="connsiteX50" fmla="*/ 320277 w 1089421"/>
                <a:gd name="connsiteY50" fmla="*/ 194221 h 221903"/>
                <a:gd name="connsiteX51" fmla="*/ 307180 w 1089421"/>
                <a:gd name="connsiteY51" fmla="*/ 160958 h 221903"/>
                <a:gd name="connsiteX52" fmla="*/ 302715 w 1089421"/>
                <a:gd name="connsiteY52" fmla="*/ 115788 h 221903"/>
                <a:gd name="connsiteX53" fmla="*/ 307403 w 1089421"/>
                <a:gd name="connsiteY53" fmla="*/ 66377 h 221903"/>
                <a:gd name="connsiteX54" fmla="*/ 321170 w 1089421"/>
                <a:gd name="connsiteY54" fmla="*/ 30435 h 221903"/>
                <a:gd name="connsiteX55" fmla="*/ 343718 w 1089421"/>
                <a:gd name="connsiteY55" fmla="*/ 8558 h 221903"/>
                <a:gd name="connsiteX56" fmla="*/ 374599 w 1089421"/>
                <a:gd name="connsiteY56" fmla="*/ 1191 h 221903"/>
                <a:gd name="connsiteX57" fmla="*/ 874216 w 1089421"/>
                <a:gd name="connsiteY57" fmla="*/ 0 h 221903"/>
                <a:gd name="connsiteX58" fmla="*/ 883444 w 1089421"/>
                <a:gd name="connsiteY58" fmla="*/ 0 h 221903"/>
                <a:gd name="connsiteX59" fmla="*/ 883444 w 1089421"/>
                <a:gd name="connsiteY59" fmla="*/ 218182 h 221903"/>
                <a:gd name="connsiteX60" fmla="*/ 859036 w 1089421"/>
                <a:gd name="connsiteY60" fmla="*/ 218182 h 221903"/>
                <a:gd name="connsiteX61" fmla="*/ 859036 w 1089421"/>
                <a:gd name="connsiteY61" fmla="*/ 33784 h 221903"/>
                <a:gd name="connsiteX62" fmla="*/ 850776 w 1089421"/>
                <a:gd name="connsiteY62" fmla="*/ 40258 h 221903"/>
                <a:gd name="connsiteX63" fmla="*/ 838572 w 1089421"/>
                <a:gd name="connsiteY63" fmla="*/ 47476 h 221903"/>
                <a:gd name="connsiteX64" fmla="*/ 824285 w 1089421"/>
                <a:gd name="connsiteY64" fmla="*/ 54174 h 221903"/>
                <a:gd name="connsiteX65" fmla="*/ 809625 w 1089421"/>
                <a:gd name="connsiteY65" fmla="*/ 59085 h 221903"/>
                <a:gd name="connsiteX66" fmla="*/ 809625 w 1089421"/>
                <a:gd name="connsiteY66" fmla="*/ 34379 h 221903"/>
                <a:gd name="connsiteX67" fmla="*/ 826666 w 1089421"/>
                <a:gd name="connsiteY67" fmla="*/ 28352 h 221903"/>
                <a:gd name="connsiteX68" fmla="*/ 844376 w 1089421"/>
                <a:gd name="connsiteY68" fmla="*/ 19869 h 221903"/>
                <a:gd name="connsiteX69" fmla="*/ 860822 w 1089421"/>
                <a:gd name="connsiteY69" fmla="*/ 10046 h 221903"/>
                <a:gd name="connsiteX70" fmla="*/ 874216 w 1089421"/>
                <a:gd name="connsiteY70" fmla="*/ 0 h 221903"/>
                <a:gd name="connsiteX71" fmla="*/ 550366 w 1089421"/>
                <a:gd name="connsiteY71" fmla="*/ 0 h 221903"/>
                <a:gd name="connsiteX72" fmla="*/ 559594 w 1089421"/>
                <a:gd name="connsiteY72" fmla="*/ 0 h 221903"/>
                <a:gd name="connsiteX73" fmla="*/ 559594 w 1089421"/>
                <a:gd name="connsiteY73" fmla="*/ 218182 h 221903"/>
                <a:gd name="connsiteX74" fmla="*/ 535186 w 1089421"/>
                <a:gd name="connsiteY74" fmla="*/ 218182 h 221903"/>
                <a:gd name="connsiteX75" fmla="*/ 535186 w 1089421"/>
                <a:gd name="connsiteY75" fmla="*/ 33784 h 221903"/>
                <a:gd name="connsiteX76" fmla="*/ 526926 w 1089421"/>
                <a:gd name="connsiteY76" fmla="*/ 40258 h 221903"/>
                <a:gd name="connsiteX77" fmla="*/ 514722 w 1089421"/>
                <a:gd name="connsiteY77" fmla="*/ 47476 h 221903"/>
                <a:gd name="connsiteX78" fmla="*/ 500435 w 1089421"/>
                <a:gd name="connsiteY78" fmla="*/ 54174 h 221903"/>
                <a:gd name="connsiteX79" fmla="*/ 485775 w 1089421"/>
                <a:gd name="connsiteY79" fmla="*/ 59085 h 221903"/>
                <a:gd name="connsiteX80" fmla="*/ 485775 w 1089421"/>
                <a:gd name="connsiteY80" fmla="*/ 34379 h 221903"/>
                <a:gd name="connsiteX81" fmla="*/ 502816 w 1089421"/>
                <a:gd name="connsiteY81" fmla="*/ 28352 h 221903"/>
                <a:gd name="connsiteX82" fmla="*/ 520526 w 1089421"/>
                <a:gd name="connsiteY82" fmla="*/ 19869 h 221903"/>
                <a:gd name="connsiteX83" fmla="*/ 536972 w 1089421"/>
                <a:gd name="connsiteY83" fmla="*/ 10046 h 221903"/>
                <a:gd name="connsiteX84" fmla="*/ 550366 w 1089421"/>
                <a:gd name="connsiteY84" fmla="*/ 0 h 221903"/>
                <a:gd name="connsiteX85" fmla="*/ 226516 w 1089421"/>
                <a:gd name="connsiteY85" fmla="*/ 0 h 221903"/>
                <a:gd name="connsiteX86" fmla="*/ 235744 w 1089421"/>
                <a:gd name="connsiteY86" fmla="*/ 0 h 221903"/>
                <a:gd name="connsiteX87" fmla="*/ 235744 w 1089421"/>
                <a:gd name="connsiteY87" fmla="*/ 218182 h 221903"/>
                <a:gd name="connsiteX88" fmla="*/ 211336 w 1089421"/>
                <a:gd name="connsiteY88" fmla="*/ 218182 h 221903"/>
                <a:gd name="connsiteX89" fmla="*/ 211336 w 1089421"/>
                <a:gd name="connsiteY89" fmla="*/ 33784 h 221903"/>
                <a:gd name="connsiteX90" fmla="*/ 203076 w 1089421"/>
                <a:gd name="connsiteY90" fmla="*/ 40258 h 221903"/>
                <a:gd name="connsiteX91" fmla="*/ 190872 w 1089421"/>
                <a:gd name="connsiteY91" fmla="*/ 47476 h 221903"/>
                <a:gd name="connsiteX92" fmla="*/ 176585 w 1089421"/>
                <a:gd name="connsiteY92" fmla="*/ 54174 h 221903"/>
                <a:gd name="connsiteX93" fmla="*/ 161925 w 1089421"/>
                <a:gd name="connsiteY93" fmla="*/ 59085 h 221903"/>
                <a:gd name="connsiteX94" fmla="*/ 161925 w 1089421"/>
                <a:gd name="connsiteY94" fmla="*/ 34379 h 221903"/>
                <a:gd name="connsiteX95" fmla="*/ 178966 w 1089421"/>
                <a:gd name="connsiteY95" fmla="*/ 28352 h 221903"/>
                <a:gd name="connsiteX96" fmla="*/ 196676 w 1089421"/>
                <a:gd name="connsiteY96" fmla="*/ 19869 h 221903"/>
                <a:gd name="connsiteX97" fmla="*/ 213122 w 1089421"/>
                <a:gd name="connsiteY97" fmla="*/ 10046 h 221903"/>
                <a:gd name="connsiteX98" fmla="*/ 226516 w 1089421"/>
                <a:gd name="connsiteY98" fmla="*/ 0 h 221903"/>
                <a:gd name="connsiteX99" fmla="*/ 64591 w 1089421"/>
                <a:gd name="connsiteY99" fmla="*/ 0 h 221903"/>
                <a:gd name="connsiteX100" fmla="*/ 73819 w 1089421"/>
                <a:gd name="connsiteY100" fmla="*/ 0 h 221903"/>
                <a:gd name="connsiteX101" fmla="*/ 73819 w 1089421"/>
                <a:gd name="connsiteY101" fmla="*/ 218182 h 221903"/>
                <a:gd name="connsiteX102" fmla="*/ 49411 w 1089421"/>
                <a:gd name="connsiteY102" fmla="*/ 218182 h 221903"/>
                <a:gd name="connsiteX103" fmla="*/ 49411 w 1089421"/>
                <a:gd name="connsiteY103" fmla="*/ 33784 h 221903"/>
                <a:gd name="connsiteX104" fmla="*/ 41151 w 1089421"/>
                <a:gd name="connsiteY104" fmla="*/ 40258 h 221903"/>
                <a:gd name="connsiteX105" fmla="*/ 28947 w 1089421"/>
                <a:gd name="connsiteY105" fmla="*/ 47476 h 221903"/>
                <a:gd name="connsiteX106" fmla="*/ 14660 w 1089421"/>
                <a:gd name="connsiteY106" fmla="*/ 54174 h 221903"/>
                <a:gd name="connsiteX107" fmla="*/ 0 w 1089421"/>
                <a:gd name="connsiteY107" fmla="*/ 59085 h 221903"/>
                <a:gd name="connsiteX108" fmla="*/ 0 w 1089421"/>
                <a:gd name="connsiteY108" fmla="*/ 34379 h 221903"/>
                <a:gd name="connsiteX109" fmla="*/ 17041 w 1089421"/>
                <a:gd name="connsiteY109" fmla="*/ 28352 h 221903"/>
                <a:gd name="connsiteX110" fmla="*/ 34751 w 1089421"/>
                <a:gd name="connsiteY110" fmla="*/ 19869 h 221903"/>
                <a:gd name="connsiteX111" fmla="*/ 51197 w 1089421"/>
                <a:gd name="connsiteY111" fmla="*/ 10046 h 221903"/>
                <a:gd name="connsiteX112" fmla="*/ 64591 w 1089421"/>
                <a:gd name="connsiteY112" fmla="*/ 0 h 2219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Lst>
              <a:rect l="l" t="t" r="r" b="b"/>
              <a:pathLst>
                <a:path w="1089421" h="221903">
                  <a:moveTo>
                    <a:pt x="1021109" y="21878"/>
                  </a:moveTo>
                  <a:cubicBezTo>
                    <a:pt x="990649" y="21878"/>
                    <a:pt x="975419" y="52784"/>
                    <a:pt x="975419" y="114598"/>
                  </a:cubicBezTo>
                  <a:cubicBezTo>
                    <a:pt x="975419" y="172244"/>
                    <a:pt x="990351" y="201067"/>
                    <a:pt x="1020216" y="201067"/>
                  </a:cubicBezTo>
                  <a:cubicBezTo>
                    <a:pt x="1049684" y="201067"/>
                    <a:pt x="1064418" y="171698"/>
                    <a:pt x="1064418" y="112961"/>
                  </a:cubicBezTo>
                  <a:cubicBezTo>
                    <a:pt x="1064418" y="52239"/>
                    <a:pt x="1049981" y="21878"/>
                    <a:pt x="1021109" y="21878"/>
                  </a:cubicBezTo>
                  <a:close/>
                  <a:moveTo>
                    <a:pt x="697259" y="21878"/>
                  </a:moveTo>
                  <a:cubicBezTo>
                    <a:pt x="666799" y="21878"/>
                    <a:pt x="651569" y="52784"/>
                    <a:pt x="651569" y="114598"/>
                  </a:cubicBezTo>
                  <a:cubicBezTo>
                    <a:pt x="651569" y="172244"/>
                    <a:pt x="666501" y="201067"/>
                    <a:pt x="696366" y="201067"/>
                  </a:cubicBezTo>
                  <a:cubicBezTo>
                    <a:pt x="725834" y="201067"/>
                    <a:pt x="740568" y="171698"/>
                    <a:pt x="740568" y="112961"/>
                  </a:cubicBezTo>
                  <a:cubicBezTo>
                    <a:pt x="740568" y="52239"/>
                    <a:pt x="726131" y="21878"/>
                    <a:pt x="697259" y="21878"/>
                  </a:cubicBezTo>
                  <a:close/>
                  <a:moveTo>
                    <a:pt x="373409" y="21878"/>
                  </a:moveTo>
                  <a:cubicBezTo>
                    <a:pt x="342949" y="21878"/>
                    <a:pt x="327719" y="52784"/>
                    <a:pt x="327719" y="114598"/>
                  </a:cubicBezTo>
                  <a:cubicBezTo>
                    <a:pt x="327719" y="172244"/>
                    <a:pt x="342651" y="201067"/>
                    <a:pt x="372516" y="201067"/>
                  </a:cubicBezTo>
                  <a:cubicBezTo>
                    <a:pt x="401984" y="201067"/>
                    <a:pt x="416718" y="171698"/>
                    <a:pt x="416718" y="112961"/>
                  </a:cubicBezTo>
                  <a:cubicBezTo>
                    <a:pt x="416718" y="52239"/>
                    <a:pt x="402281" y="21878"/>
                    <a:pt x="373409" y="21878"/>
                  </a:cubicBezTo>
                  <a:close/>
                  <a:moveTo>
                    <a:pt x="1022299" y="1191"/>
                  </a:moveTo>
                  <a:cubicBezTo>
                    <a:pt x="1067047" y="1191"/>
                    <a:pt x="1089421" y="37654"/>
                    <a:pt x="1089421" y="110579"/>
                  </a:cubicBezTo>
                  <a:cubicBezTo>
                    <a:pt x="1089421" y="128439"/>
                    <a:pt x="1087809" y="144264"/>
                    <a:pt x="1084584" y="158056"/>
                  </a:cubicBezTo>
                  <a:cubicBezTo>
                    <a:pt x="1081359" y="171847"/>
                    <a:pt x="1076696" y="183480"/>
                    <a:pt x="1070594" y="192956"/>
                  </a:cubicBezTo>
                  <a:cubicBezTo>
                    <a:pt x="1064492" y="202431"/>
                    <a:pt x="1057001" y="209625"/>
                    <a:pt x="1048121" y="214536"/>
                  </a:cubicBezTo>
                  <a:cubicBezTo>
                    <a:pt x="1039241" y="219447"/>
                    <a:pt x="1029145" y="221903"/>
                    <a:pt x="1017835" y="221903"/>
                  </a:cubicBezTo>
                  <a:cubicBezTo>
                    <a:pt x="1007119" y="221903"/>
                    <a:pt x="997569" y="219546"/>
                    <a:pt x="989185" y="214834"/>
                  </a:cubicBezTo>
                  <a:cubicBezTo>
                    <a:pt x="980801" y="210121"/>
                    <a:pt x="973732" y="203250"/>
                    <a:pt x="967977" y="194221"/>
                  </a:cubicBezTo>
                  <a:cubicBezTo>
                    <a:pt x="962222" y="185192"/>
                    <a:pt x="957857" y="174104"/>
                    <a:pt x="954880" y="160958"/>
                  </a:cubicBezTo>
                  <a:cubicBezTo>
                    <a:pt x="951904" y="147811"/>
                    <a:pt x="950415" y="132755"/>
                    <a:pt x="950415" y="115788"/>
                  </a:cubicBezTo>
                  <a:cubicBezTo>
                    <a:pt x="950415" y="97135"/>
                    <a:pt x="951978" y="80665"/>
                    <a:pt x="955103" y="66377"/>
                  </a:cubicBezTo>
                  <a:cubicBezTo>
                    <a:pt x="958229" y="52090"/>
                    <a:pt x="962818" y="40109"/>
                    <a:pt x="968870" y="30435"/>
                  </a:cubicBezTo>
                  <a:cubicBezTo>
                    <a:pt x="974922" y="20762"/>
                    <a:pt x="982438" y="13469"/>
                    <a:pt x="991418" y="8558"/>
                  </a:cubicBezTo>
                  <a:cubicBezTo>
                    <a:pt x="1000397" y="3646"/>
                    <a:pt x="1010691" y="1191"/>
                    <a:pt x="1022299" y="1191"/>
                  </a:cubicBezTo>
                  <a:close/>
                  <a:moveTo>
                    <a:pt x="698449" y="1191"/>
                  </a:moveTo>
                  <a:cubicBezTo>
                    <a:pt x="743197" y="1191"/>
                    <a:pt x="765571" y="37654"/>
                    <a:pt x="765571" y="110579"/>
                  </a:cubicBezTo>
                  <a:cubicBezTo>
                    <a:pt x="765571" y="128439"/>
                    <a:pt x="763959" y="144264"/>
                    <a:pt x="760734" y="158056"/>
                  </a:cubicBezTo>
                  <a:cubicBezTo>
                    <a:pt x="757509" y="171847"/>
                    <a:pt x="752846" y="183480"/>
                    <a:pt x="746744" y="192956"/>
                  </a:cubicBezTo>
                  <a:cubicBezTo>
                    <a:pt x="740642" y="202431"/>
                    <a:pt x="733151" y="209625"/>
                    <a:pt x="724271" y="214536"/>
                  </a:cubicBezTo>
                  <a:cubicBezTo>
                    <a:pt x="715391" y="219447"/>
                    <a:pt x="705295" y="221903"/>
                    <a:pt x="693985" y="221903"/>
                  </a:cubicBezTo>
                  <a:cubicBezTo>
                    <a:pt x="683269" y="221903"/>
                    <a:pt x="673719" y="219546"/>
                    <a:pt x="665335" y="214834"/>
                  </a:cubicBezTo>
                  <a:cubicBezTo>
                    <a:pt x="656951" y="210121"/>
                    <a:pt x="649882" y="203250"/>
                    <a:pt x="644127" y="194221"/>
                  </a:cubicBezTo>
                  <a:cubicBezTo>
                    <a:pt x="638372" y="185192"/>
                    <a:pt x="634007" y="174104"/>
                    <a:pt x="631030" y="160958"/>
                  </a:cubicBezTo>
                  <a:cubicBezTo>
                    <a:pt x="628054" y="147811"/>
                    <a:pt x="626565" y="132755"/>
                    <a:pt x="626565" y="115788"/>
                  </a:cubicBezTo>
                  <a:cubicBezTo>
                    <a:pt x="626565" y="97135"/>
                    <a:pt x="628128" y="80665"/>
                    <a:pt x="631253" y="66377"/>
                  </a:cubicBezTo>
                  <a:cubicBezTo>
                    <a:pt x="634379" y="52090"/>
                    <a:pt x="638968" y="40109"/>
                    <a:pt x="645020" y="30435"/>
                  </a:cubicBezTo>
                  <a:cubicBezTo>
                    <a:pt x="651072" y="20762"/>
                    <a:pt x="658588" y="13469"/>
                    <a:pt x="667568" y="8558"/>
                  </a:cubicBezTo>
                  <a:cubicBezTo>
                    <a:pt x="676547" y="3646"/>
                    <a:pt x="686841" y="1191"/>
                    <a:pt x="698449" y="1191"/>
                  </a:cubicBezTo>
                  <a:close/>
                  <a:moveTo>
                    <a:pt x="374599" y="1191"/>
                  </a:moveTo>
                  <a:cubicBezTo>
                    <a:pt x="419347" y="1191"/>
                    <a:pt x="441721" y="37654"/>
                    <a:pt x="441721" y="110579"/>
                  </a:cubicBezTo>
                  <a:cubicBezTo>
                    <a:pt x="441721" y="128439"/>
                    <a:pt x="440109" y="144264"/>
                    <a:pt x="436884" y="158056"/>
                  </a:cubicBezTo>
                  <a:cubicBezTo>
                    <a:pt x="433659" y="171847"/>
                    <a:pt x="428996" y="183480"/>
                    <a:pt x="422894" y="192956"/>
                  </a:cubicBezTo>
                  <a:cubicBezTo>
                    <a:pt x="416792" y="202431"/>
                    <a:pt x="409301" y="209625"/>
                    <a:pt x="400421" y="214536"/>
                  </a:cubicBezTo>
                  <a:cubicBezTo>
                    <a:pt x="391541" y="219447"/>
                    <a:pt x="381445" y="221903"/>
                    <a:pt x="370135" y="221903"/>
                  </a:cubicBezTo>
                  <a:cubicBezTo>
                    <a:pt x="359419" y="221903"/>
                    <a:pt x="349869" y="219546"/>
                    <a:pt x="341485" y="214834"/>
                  </a:cubicBezTo>
                  <a:cubicBezTo>
                    <a:pt x="333101" y="210121"/>
                    <a:pt x="326032" y="203250"/>
                    <a:pt x="320277" y="194221"/>
                  </a:cubicBezTo>
                  <a:cubicBezTo>
                    <a:pt x="314522" y="185192"/>
                    <a:pt x="310157" y="174104"/>
                    <a:pt x="307180" y="160958"/>
                  </a:cubicBezTo>
                  <a:cubicBezTo>
                    <a:pt x="304204" y="147811"/>
                    <a:pt x="302715" y="132755"/>
                    <a:pt x="302715" y="115788"/>
                  </a:cubicBezTo>
                  <a:cubicBezTo>
                    <a:pt x="302715" y="97135"/>
                    <a:pt x="304278" y="80665"/>
                    <a:pt x="307403" y="66377"/>
                  </a:cubicBezTo>
                  <a:cubicBezTo>
                    <a:pt x="310529" y="52090"/>
                    <a:pt x="315118" y="40109"/>
                    <a:pt x="321170" y="30435"/>
                  </a:cubicBezTo>
                  <a:cubicBezTo>
                    <a:pt x="327222" y="20762"/>
                    <a:pt x="334738" y="13469"/>
                    <a:pt x="343718" y="8558"/>
                  </a:cubicBezTo>
                  <a:cubicBezTo>
                    <a:pt x="352697" y="3646"/>
                    <a:pt x="362991" y="1191"/>
                    <a:pt x="374599" y="1191"/>
                  </a:cubicBezTo>
                  <a:close/>
                  <a:moveTo>
                    <a:pt x="874216" y="0"/>
                  </a:moveTo>
                  <a:lnTo>
                    <a:pt x="883444" y="0"/>
                  </a:lnTo>
                  <a:lnTo>
                    <a:pt x="883444" y="218182"/>
                  </a:lnTo>
                  <a:lnTo>
                    <a:pt x="859036" y="218182"/>
                  </a:lnTo>
                  <a:lnTo>
                    <a:pt x="859036" y="33784"/>
                  </a:lnTo>
                  <a:cubicBezTo>
                    <a:pt x="857151" y="35669"/>
                    <a:pt x="854397" y="37827"/>
                    <a:pt x="850776" y="40258"/>
                  </a:cubicBezTo>
                  <a:cubicBezTo>
                    <a:pt x="847154" y="42689"/>
                    <a:pt x="843087" y="45095"/>
                    <a:pt x="838572" y="47476"/>
                  </a:cubicBezTo>
                  <a:cubicBezTo>
                    <a:pt x="834058" y="49858"/>
                    <a:pt x="829295" y="52090"/>
                    <a:pt x="824285" y="54174"/>
                  </a:cubicBezTo>
                  <a:cubicBezTo>
                    <a:pt x="819274" y="56257"/>
                    <a:pt x="814388" y="57894"/>
                    <a:pt x="809625" y="59085"/>
                  </a:cubicBezTo>
                  <a:lnTo>
                    <a:pt x="809625" y="34379"/>
                  </a:lnTo>
                  <a:cubicBezTo>
                    <a:pt x="814983" y="32891"/>
                    <a:pt x="820663" y="30882"/>
                    <a:pt x="826666" y="28352"/>
                  </a:cubicBezTo>
                  <a:cubicBezTo>
                    <a:pt x="832669" y="25822"/>
                    <a:pt x="838572" y="22994"/>
                    <a:pt x="844376" y="19869"/>
                  </a:cubicBezTo>
                  <a:cubicBezTo>
                    <a:pt x="850181" y="16743"/>
                    <a:pt x="855662" y="13469"/>
                    <a:pt x="860822" y="10046"/>
                  </a:cubicBezTo>
                  <a:cubicBezTo>
                    <a:pt x="865981" y="6623"/>
                    <a:pt x="870446" y="3274"/>
                    <a:pt x="874216" y="0"/>
                  </a:cubicBezTo>
                  <a:close/>
                  <a:moveTo>
                    <a:pt x="550366" y="0"/>
                  </a:moveTo>
                  <a:lnTo>
                    <a:pt x="559594" y="0"/>
                  </a:lnTo>
                  <a:lnTo>
                    <a:pt x="559594" y="218182"/>
                  </a:lnTo>
                  <a:lnTo>
                    <a:pt x="535186" y="218182"/>
                  </a:lnTo>
                  <a:lnTo>
                    <a:pt x="535186" y="33784"/>
                  </a:lnTo>
                  <a:cubicBezTo>
                    <a:pt x="533301" y="35669"/>
                    <a:pt x="530547" y="37827"/>
                    <a:pt x="526926" y="40258"/>
                  </a:cubicBezTo>
                  <a:cubicBezTo>
                    <a:pt x="523305" y="42689"/>
                    <a:pt x="519237" y="45095"/>
                    <a:pt x="514722" y="47476"/>
                  </a:cubicBezTo>
                  <a:cubicBezTo>
                    <a:pt x="510208" y="49858"/>
                    <a:pt x="505445" y="52090"/>
                    <a:pt x="500435" y="54174"/>
                  </a:cubicBezTo>
                  <a:cubicBezTo>
                    <a:pt x="495424" y="56257"/>
                    <a:pt x="490538" y="57894"/>
                    <a:pt x="485775" y="59085"/>
                  </a:cubicBezTo>
                  <a:lnTo>
                    <a:pt x="485775" y="34379"/>
                  </a:lnTo>
                  <a:cubicBezTo>
                    <a:pt x="491133" y="32891"/>
                    <a:pt x="496813" y="30882"/>
                    <a:pt x="502816" y="28352"/>
                  </a:cubicBezTo>
                  <a:cubicBezTo>
                    <a:pt x="508819" y="25822"/>
                    <a:pt x="514722" y="22994"/>
                    <a:pt x="520526" y="19869"/>
                  </a:cubicBezTo>
                  <a:cubicBezTo>
                    <a:pt x="526331" y="16743"/>
                    <a:pt x="531813" y="13469"/>
                    <a:pt x="536972" y="10046"/>
                  </a:cubicBezTo>
                  <a:cubicBezTo>
                    <a:pt x="542131" y="6623"/>
                    <a:pt x="546596" y="3274"/>
                    <a:pt x="550366" y="0"/>
                  </a:cubicBezTo>
                  <a:close/>
                  <a:moveTo>
                    <a:pt x="226516" y="0"/>
                  </a:moveTo>
                  <a:lnTo>
                    <a:pt x="235744" y="0"/>
                  </a:lnTo>
                  <a:lnTo>
                    <a:pt x="235744" y="218182"/>
                  </a:lnTo>
                  <a:lnTo>
                    <a:pt x="211336" y="218182"/>
                  </a:lnTo>
                  <a:lnTo>
                    <a:pt x="211336" y="33784"/>
                  </a:lnTo>
                  <a:cubicBezTo>
                    <a:pt x="209451" y="35669"/>
                    <a:pt x="206697" y="37827"/>
                    <a:pt x="203076" y="40258"/>
                  </a:cubicBezTo>
                  <a:cubicBezTo>
                    <a:pt x="199454" y="42689"/>
                    <a:pt x="195387" y="45095"/>
                    <a:pt x="190872" y="47476"/>
                  </a:cubicBezTo>
                  <a:cubicBezTo>
                    <a:pt x="186358" y="49858"/>
                    <a:pt x="181595" y="52090"/>
                    <a:pt x="176585" y="54174"/>
                  </a:cubicBezTo>
                  <a:cubicBezTo>
                    <a:pt x="171574" y="56257"/>
                    <a:pt x="166687" y="57894"/>
                    <a:pt x="161925" y="59085"/>
                  </a:cubicBezTo>
                  <a:lnTo>
                    <a:pt x="161925" y="34379"/>
                  </a:lnTo>
                  <a:cubicBezTo>
                    <a:pt x="167283" y="32891"/>
                    <a:pt x="172963" y="30882"/>
                    <a:pt x="178966" y="28352"/>
                  </a:cubicBezTo>
                  <a:cubicBezTo>
                    <a:pt x="184969" y="25822"/>
                    <a:pt x="190872" y="22994"/>
                    <a:pt x="196676" y="19869"/>
                  </a:cubicBezTo>
                  <a:cubicBezTo>
                    <a:pt x="202481" y="16743"/>
                    <a:pt x="207962" y="13469"/>
                    <a:pt x="213122" y="10046"/>
                  </a:cubicBezTo>
                  <a:cubicBezTo>
                    <a:pt x="218281" y="6623"/>
                    <a:pt x="222746" y="3274"/>
                    <a:pt x="226516" y="0"/>
                  </a:cubicBezTo>
                  <a:close/>
                  <a:moveTo>
                    <a:pt x="64591" y="0"/>
                  </a:moveTo>
                  <a:lnTo>
                    <a:pt x="73819" y="0"/>
                  </a:lnTo>
                  <a:lnTo>
                    <a:pt x="73819" y="218182"/>
                  </a:lnTo>
                  <a:lnTo>
                    <a:pt x="49411" y="218182"/>
                  </a:lnTo>
                  <a:lnTo>
                    <a:pt x="49411" y="33784"/>
                  </a:lnTo>
                  <a:cubicBezTo>
                    <a:pt x="47526" y="35669"/>
                    <a:pt x="44772" y="37827"/>
                    <a:pt x="41151" y="40258"/>
                  </a:cubicBezTo>
                  <a:cubicBezTo>
                    <a:pt x="37529" y="42689"/>
                    <a:pt x="33462" y="45095"/>
                    <a:pt x="28947" y="47476"/>
                  </a:cubicBezTo>
                  <a:cubicBezTo>
                    <a:pt x="24433" y="49858"/>
                    <a:pt x="19670" y="52090"/>
                    <a:pt x="14660" y="54174"/>
                  </a:cubicBezTo>
                  <a:cubicBezTo>
                    <a:pt x="9649" y="56257"/>
                    <a:pt x="4762" y="57894"/>
                    <a:pt x="0" y="59085"/>
                  </a:cubicBezTo>
                  <a:lnTo>
                    <a:pt x="0" y="34379"/>
                  </a:lnTo>
                  <a:cubicBezTo>
                    <a:pt x="5358" y="32891"/>
                    <a:pt x="11038" y="30882"/>
                    <a:pt x="17041" y="28352"/>
                  </a:cubicBezTo>
                  <a:cubicBezTo>
                    <a:pt x="23044" y="25822"/>
                    <a:pt x="28947" y="22994"/>
                    <a:pt x="34751" y="19869"/>
                  </a:cubicBezTo>
                  <a:cubicBezTo>
                    <a:pt x="40556" y="16743"/>
                    <a:pt x="46037" y="13469"/>
                    <a:pt x="51197" y="10046"/>
                  </a:cubicBezTo>
                  <a:cubicBezTo>
                    <a:pt x="56356" y="6623"/>
                    <a:pt x="60821" y="3274"/>
                    <a:pt x="64591" y="0"/>
                  </a:cubicBezTo>
                  <a:close/>
                </a:path>
              </a:pathLst>
            </a:cu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5439">
                      <a:srgbClr val="F8F8F8"/>
                    </a:gs>
                    <a:gs pos="10000">
                      <a:srgbClr val="F8F8F8"/>
                    </a:gs>
                  </a:gsLst>
                  <a:lin ang="5400000" scaled="0"/>
                </a:gradFill>
                <a:effectLst/>
                <a:uLnTx/>
                <a:uFillTx/>
              </a:endParaRPr>
            </a:p>
          </p:txBody>
        </p:sp>
        <p:sp>
          <p:nvSpPr>
            <p:cNvPr id="523" name="Freeform: Shape 522"/>
            <p:cNvSpPr/>
            <p:nvPr/>
          </p:nvSpPr>
          <p:spPr bwMode="auto">
            <a:xfrm>
              <a:off x="5908928" y="3858595"/>
              <a:ext cx="684188" cy="139362"/>
            </a:xfrm>
            <a:custGeom>
              <a:avLst/>
              <a:gdLst>
                <a:gd name="connsiteX0" fmla="*/ 1021109 w 1089421"/>
                <a:gd name="connsiteY0" fmla="*/ 21878 h 221903"/>
                <a:gd name="connsiteX1" fmla="*/ 975419 w 1089421"/>
                <a:gd name="connsiteY1" fmla="*/ 114598 h 221903"/>
                <a:gd name="connsiteX2" fmla="*/ 1020216 w 1089421"/>
                <a:gd name="connsiteY2" fmla="*/ 201067 h 221903"/>
                <a:gd name="connsiteX3" fmla="*/ 1064418 w 1089421"/>
                <a:gd name="connsiteY3" fmla="*/ 112961 h 221903"/>
                <a:gd name="connsiteX4" fmla="*/ 1021109 w 1089421"/>
                <a:gd name="connsiteY4" fmla="*/ 21878 h 221903"/>
                <a:gd name="connsiteX5" fmla="*/ 535334 w 1089421"/>
                <a:gd name="connsiteY5" fmla="*/ 21878 h 221903"/>
                <a:gd name="connsiteX6" fmla="*/ 489643 w 1089421"/>
                <a:gd name="connsiteY6" fmla="*/ 114598 h 221903"/>
                <a:gd name="connsiteX7" fmla="*/ 534441 w 1089421"/>
                <a:gd name="connsiteY7" fmla="*/ 201067 h 221903"/>
                <a:gd name="connsiteX8" fmla="*/ 578643 w 1089421"/>
                <a:gd name="connsiteY8" fmla="*/ 112961 h 221903"/>
                <a:gd name="connsiteX9" fmla="*/ 535334 w 1089421"/>
                <a:gd name="connsiteY9" fmla="*/ 21878 h 221903"/>
                <a:gd name="connsiteX10" fmla="*/ 211484 w 1089421"/>
                <a:gd name="connsiteY10" fmla="*/ 21878 h 221903"/>
                <a:gd name="connsiteX11" fmla="*/ 165793 w 1089421"/>
                <a:gd name="connsiteY11" fmla="*/ 114598 h 221903"/>
                <a:gd name="connsiteX12" fmla="*/ 210591 w 1089421"/>
                <a:gd name="connsiteY12" fmla="*/ 201067 h 221903"/>
                <a:gd name="connsiteX13" fmla="*/ 254793 w 1089421"/>
                <a:gd name="connsiteY13" fmla="*/ 112961 h 221903"/>
                <a:gd name="connsiteX14" fmla="*/ 211484 w 1089421"/>
                <a:gd name="connsiteY14" fmla="*/ 21878 h 221903"/>
                <a:gd name="connsiteX15" fmla="*/ 1022299 w 1089421"/>
                <a:gd name="connsiteY15" fmla="*/ 1191 h 221903"/>
                <a:gd name="connsiteX16" fmla="*/ 1089421 w 1089421"/>
                <a:gd name="connsiteY16" fmla="*/ 110579 h 221903"/>
                <a:gd name="connsiteX17" fmla="*/ 1084584 w 1089421"/>
                <a:gd name="connsiteY17" fmla="*/ 158056 h 221903"/>
                <a:gd name="connsiteX18" fmla="*/ 1070594 w 1089421"/>
                <a:gd name="connsiteY18" fmla="*/ 192956 h 221903"/>
                <a:gd name="connsiteX19" fmla="*/ 1048121 w 1089421"/>
                <a:gd name="connsiteY19" fmla="*/ 214536 h 221903"/>
                <a:gd name="connsiteX20" fmla="*/ 1017835 w 1089421"/>
                <a:gd name="connsiteY20" fmla="*/ 221903 h 221903"/>
                <a:gd name="connsiteX21" fmla="*/ 989185 w 1089421"/>
                <a:gd name="connsiteY21" fmla="*/ 214834 h 221903"/>
                <a:gd name="connsiteX22" fmla="*/ 967977 w 1089421"/>
                <a:gd name="connsiteY22" fmla="*/ 194221 h 221903"/>
                <a:gd name="connsiteX23" fmla="*/ 954880 w 1089421"/>
                <a:gd name="connsiteY23" fmla="*/ 160958 h 221903"/>
                <a:gd name="connsiteX24" fmla="*/ 950415 w 1089421"/>
                <a:gd name="connsiteY24" fmla="*/ 115788 h 221903"/>
                <a:gd name="connsiteX25" fmla="*/ 955103 w 1089421"/>
                <a:gd name="connsiteY25" fmla="*/ 66377 h 221903"/>
                <a:gd name="connsiteX26" fmla="*/ 968870 w 1089421"/>
                <a:gd name="connsiteY26" fmla="*/ 30435 h 221903"/>
                <a:gd name="connsiteX27" fmla="*/ 991418 w 1089421"/>
                <a:gd name="connsiteY27" fmla="*/ 8558 h 221903"/>
                <a:gd name="connsiteX28" fmla="*/ 1022299 w 1089421"/>
                <a:gd name="connsiteY28" fmla="*/ 1191 h 221903"/>
                <a:gd name="connsiteX29" fmla="*/ 536524 w 1089421"/>
                <a:gd name="connsiteY29" fmla="*/ 1191 h 221903"/>
                <a:gd name="connsiteX30" fmla="*/ 603646 w 1089421"/>
                <a:gd name="connsiteY30" fmla="*/ 110579 h 221903"/>
                <a:gd name="connsiteX31" fmla="*/ 598809 w 1089421"/>
                <a:gd name="connsiteY31" fmla="*/ 158056 h 221903"/>
                <a:gd name="connsiteX32" fmla="*/ 584819 w 1089421"/>
                <a:gd name="connsiteY32" fmla="*/ 192956 h 221903"/>
                <a:gd name="connsiteX33" fmla="*/ 562346 w 1089421"/>
                <a:gd name="connsiteY33" fmla="*/ 214536 h 221903"/>
                <a:gd name="connsiteX34" fmla="*/ 532060 w 1089421"/>
                <a:gd name="connsiteY34" fmla="*/ 221903 h 221903"/>
                <a:gd name="connsiteX35" fmla="*/ 503410 w 1089421"/>
                <a:gd name="connsiteY35" fmla="*/ 214834 h 221903"/>
                <a:gd name="connsiteX36" fmla="*/ 482202 w 1089421"/>
                <a:gd name="connsiteY36" fmla="*/ 194221 h 221903"/>
                <a:gd name="connsiteX37" fmla="*/ 469105 w 1089421"/>
                <a:gd name="connsiteY37" fmla="*/ 160958 h 221903"/>
                <a:gd name="connsiteX38" fmla="*/ 464640 w 1089421"/>
                <a:gd name="connsiteY38" fmla="*/ 115788 h 221903"/>
                <a:gd name="connsiteX39" fmla="*/ 469328 w 1089421"/>
                <a:gd name="connsiteY39" fmla="*/ 66377 h 221903"/>
                <a:gd name="connsiteX40" fmla="*/ 483095 w 1089421"/>
                <a:gd name="connsiteY40" fmla="*/ 30435 h 221903"/>
                <a:gd name="connsiteX41" fmla="*/ 505643 w 1089421"/>
                <a:gd name="connsiteY41" fmla="*/ 8558 h 221903"/>
                <a:gd name="connsiteX42" fmla="*/ 536524 w 1089421"/>
                <a:gd name="connsiteY42" fmla="*/ 1191 h 221903"/>
                <a:gd name="connsiteX43" fmla="*/ 212674 w 1089421"/>
                <a:gd name="connsiteY43" fmla="*/ 1191 h 221903"/>
                <a:gd name="connsiteX44" fmla="*/ 279796 w 1089421"/>
                <a:gd name="connsiteY44" fmla="*/ 110579 h 221903"/>
                <a:gd name="connsiteX45" fmla="*/ 274959 w 1089421"/>
                <a:gd name="connsiteY45" fmla="*/ 158056 h 221903"/>
                <a:gd name="connsiteX46" fmla="*/ 260969 w 1089421"/>
                <a:gd name="connsiteY46" fmla="*/ 192956 h 221903"/>
                <a:gd name="connsiteX47" fmla="*/ 238496 w 1089421"/>
                <a:gd name="connsiteY47" fmla="*/ 214536 h 221903"/>
                <a:gd name="connsiteX48" fmla="*/ 208210 w 1089421"/>
                <a:gd name="connsiteY48" fmla="*/ 221903 h 221903"/>
                <a:gd name="connsiteX49" fmla="*/ 179560 w 1089421"/>
                <a:gd name="connsiteY49" fmla="*/ 214834 h 221903"/>
                <a:gd name="connsiteX50" fmla="*/ 158352 w 1089421"/>
                <a:gd name="connsiteY50" fmla="*/ 194221 h 221903"/>
                <a:gd name="connsiteX51" fmla="*/ 145255 w 1089421"/>
                <a:gd name="connsiteY51" fmla="*/ 160958 h 221903"/>
                <a:gd name="connsiteX52" fmla="*/ 140790 w 1089421"/>
                <a:gd name="connsiteY52" fmla="*/ 115788 h 221903"/>
                <a:gd name="connsiteX53" fmla="*/ 145478 w 1089421"/>
                <a:gd name="connsiteY53" fmla="*/ 66377 h 221903"/>
                <a:gd name="connsiteX54" fmla="*/ 159245 w 1089421"/>
                <a:gd name="connsiteY54" fmla="*/ 30435 h 221903"/>
                <a:gd name="connsiteX55" fmla="*/ 181793 w 1089421"/>
                <a:gd name="connsiteY55" fmla="*/ 8558 h 221903"/>
                <a:gd name="connsiteX56" fmla="*/ 212674 w 1089421"/>
                <a:gd name="connsiteY56" fmla="*/ 1191 h 221903"/>
                <a:gd name="connsiteX57" fmla="*/ 874216 w 1089421"/>
                <a:gd name="connsiteY57" fmla="*/ 0 h 221903"/>
                <a:gd name="connsiteX58" fmla="*/ 883444 w 1089421"/>
                <a:gd name="connsiteY58" fmla="*/ 0 h 221903"/>
                <a:gd name="connsiteX59" fmla="*/ 883444 w 1089421"/>
                <a:gd name="connsiteY59" fmla="*/ 218182 h 221903"/>
                <a:gd name="connsiteX60" fmla="*/ 859036 w 1089421"/>
                <a:gd name="connsiteY60" fmla="*/ 218182 h 221903"/>
                <a:gd name="connsiteX61" fmla="*/ 859036 w 1089421"/>
                <a:gd name="connsiteY61" fmla="*/ 33784 h 221903"/>
                <a:gd name="connsiteX62" fmla="*/ 850776 w 1089421"/>
                <a:gd name="connsiteY62" fmla="*/ 40258 h 221903"/>
                <a:gd name="connsiteX63" fmla="*/ 838572 w 1089421"/>
                <a:gd name="connsiteY63" fmla="*/ 47476 h 221903"/>
                <a:gd name="connsiteX64" fmla="*/ 824285 w 1089421"/>
                <a:gd name="connsiteY64" fmla="*/ 54174 h 221903"/>
                <a:gd name="connsiteX65" fmla="*/ 809625 w 1089421"/>
                <a:gd name="connsiteY65" fmla="*/ 59085 h 221903"/>
                <a:gd name="connsiteX66" fmla="*/ 809625 w 1089421"/>
                <a:gd name="connsiteY66" fmla="*/ 34379 h 221903"/>
                <a:gd name="connsiteX67" fmla="*/ 826666 w 1089421"/>
                <a:gd name="connsiteY67" fmla="*/ 28352 h 221903"/>
                <a:gd name="connsiteX68" fmla="*/ 844376 w 1089421"/>
                <a:gd name="connsiteY68" fmla="*/ 19869 h 221903"/>
                <a:gd name="connsiteX69" fmla="*/ 860822 w 1089421"/>
                <a:gd name="connsiteY69" fmla="*/ 10046 h 221903"/>
                <a:gd name="connsiteX70" fmla="*/ 874216 w 1089421"/>
                <a:gd name="connsiteY70" fmla="*/ 0 h 221903"/>
                <a:gd name="connsiteX71" fmla="*/ 712291 w 1089421"/>
                <a:gd name="connsiteY71" fmla="*/ 0 h 221903"/>
                <a:gd name="connsiteX72" fmla="*/ 721519 w 1089421"/>
                <a:gd name="connsiteY72" fmla="*/ 0 h 221903"/>
                <a:gd name="connsiteX73" fmla="*/ 721519 w 1089421"/>
                <a:gd name="connsiteY73" fmla="*/ 218182 h 221903"/>
                <a:gd name="connsiteX74" fmla="*/ 697111 w 1089421"/>
                <a:gd name="connsiteY74" fmla="*/ 218182 h 221903"/>
                <a:gd name="connsiteX75" fmla="*/ 697111 w 1089421"/>
                <a:gd name="connsiteY75" fmla="*/ 33784 h 221903"/>
                <a:gd name="connsiteX76" fmla="*/ 688851 w 1089421"/>
                <a:gd name="connsiteY76" fmla="*/ 40258 h 221903"/>
                <a:gd name="connsiteX77" fmla="*/ 676647 w 1089421"/>
                <a:gd name="connsiteY77" fmla="*/ 47476 h 221903"/>
                <a:gd name="connsiteX78" fmla="*/ 662360 w 1089421"/>
                <a:gd name="connsiteY78" fmla="*/ 54174 h 221903"/>
                <a:gd name="connsiteX79" fmla="*/ 647700 w 1089421"/>
                <a:gd name="connsiteY79" fmla="*/ 59085 h 221903"/>
                <a:gd name="connsiteX80" fmla="*/ 647700 w 1089421"/>
                <a:gd name="connsiteY80" fmla="*/ 34379 h 221903"/>
                <a:gd name="connsiteX81" fmla="*/ 664741 w 1089421"/>
                <a:gd name="connsiteY81" fmla="*/ 28352 h 221903"/>
                <a:gd name="connsiteX82" fmla="*/ 682451 w 1089421"/>
                <a:gd name="connsiteY82" fmla="*/ 19869 h 221903"/>
                <a:gd name="connsiteX83" fmla="*/ 698897 w 1089421"/>
                <a:gd name="connsiteY83" fmla="*/ 10046 h 221903"/>
                <a:gd name="connsiteX84" fmla="*/ 712291 w 1089421"/>
                <a:gd name="connsiteY84" fmla="*/ 0 h 221903"/>
                <a:gd name="connsiteX85" fmla="*/ 388441 w 1089421"/>
                <a:gd name="connsiteY85" fmla="*/ 0 h 221903"/>
                <a:gd name="connsiteX86" fmla="*/ 397669 w 1089421"/>
                <a:gd name="connsiteY86" fmla="*/ 0 h 221903"/>
                <a:gd name="connsiteX87" fmla="*/ 397669 w 1089421"/>
                <a:gd name="connsiteY87" fmla="*/ 218182 h 221903"/>
                <a:gd name="connsiteX88" fmla="*/ 373261 w 1089421"/>
                <a:gd name="connsiteY88" fmla="*/ 218182 h 221903"/>
                <a:gd name="connsiteX89" fmla="*/ 373261 w 1089421"/>
                <a:gd name="connsiteY89" fmla="*/ 33784 h 221903"/>
                <a:gd name="connsiteX90" fmla="*/ 365001 w 1089421"/>
                <a:gd name="connsiteY90" fmla="*/ 40258 h 221903"/>
                <a:gd name="connsiteX91" fmla="*/ 352797 w 1089421"/>
                <a:gd name="connsiteY91" fmla="*/ 47476 h 221903"/>
                <a:gd name="connsiteX92" fmla="*/ 338510 w 1089421"/>
                <a:gd name="connsiteY92" fmla="*/ 54174 h 221903"/>
                <a:gd name="connsiteX93" fmla="*/ 323850 w 1089421"/>
                <a:gd name="connsiteY93" fmla="*/ 59085 h 221903"/>
                <a:gd name="connsiteX94" fmla="*/ 323850 w 1089421"/>
                <a:gd name="connsiteY94" fmla="*/ 34379 h 221903"/>
                <a:gd name="connsiteX95" fmla="*/ 340891 w 1089421"/>
                <a:gd name="connsiteY95" fmla="*/ 28352 h 221903"/>
                <a:gd name="connsiteX96" fmla="*/ 358601 w 1089421"/>
                <a:gd name="connsiteY96" fmla="*/ 19869 h 221903"/>
                <a:gd name="connsiteX97" fmla="*/ 375047 w 1089421"/>
                <a:gd name="connsiteY97" fmla="*/ 10046 h 221903"/>
                <a:gd name="connsiteX98" fmla="*/ 388441 w 1089421"/>
                <a:gd name="connsiteY98" fmla="*/ 0 h 221903"/>
                <a:gd name="connsiteX99" fmla="*/ 64591 w 1089421"/>
                <a:gd name="connsiteY99" fmla="*/ 0 h 221903"/>
                <a:gd name="connsiteX100" fmla="*/ 73819 w 1089421"/>
                <a:gd name="connsiteY100" fmla="*/ 0 h 221903"/>
                <a:gd name="connsiteX101" fmla="*/ 73819 w 1089421"/>
                <a:gd name="connsiteY101" fmla="*/ 218182 h 221903"/>
                <a:gd name="connsiteX102" fmla="*/ 49411 w 1089421"/>
                <a:gd name="connsiteY102" fmla="*/ 218182 h 221903"/>
                <a:gd name="connsiteX103" fmla="*/ 49411 w 1089421"/>
                <a:gd name="connsiteY103" fmla="*/ 33784 h 221903"/>
                <a:gd name="connsiteX104" fmla="*/ 41151 w 1089421"/>
                <a:gd name="connsiteY104" fmla="*/ 40258 h 221903"/>
                <a:gd name="connsiteX105" fmla="*/ 28947 w 1089421"/>
                <a:gd name="connsiteY105" fmla="*/ 47476 h 221903"/>
                <a:gd name="connsiteX106" fmla="*/ 14660 w 1089421"/>
                <a:gd name="connsiteY106" fmla="*/ 54174 h 221903"/>
                <a:gd name="connsiteX107" fmla="*/ 0 w 1089421"/>
                <a:gd name="connsiteY107" fmla="*/ 59085 h 221903"/>
                <a:gd name="connsiteX108" fmla="*/ 0 w 1089421"/>
                <a:gd name="connsiteY108" fmla="*/ 34379 h 221903"/>
                <a:gd name="connsiteX109" fmla="*/ 17041 w 1089421"/>
                <a:gd name="connsiteY109" fmla="*/ 28352 h 221903"/>
                <a:gd name="connsiteX110" fmla="*/ 34751 w 1089421"/>
                <a:gd name="connsiteY110" fmla="*/ 19869 h 221903"/>
                <a:gd name="connsiteX111" fmla="*/ 51197 w 1089421"/>
                <a:gd name="connsiteY111" fmla="*/ 10046 h 221903"/>
                <a:gd name="connsiteX112" fmla="*/ 64591 w 1089421"/>
                <a:gd name="connsiteY112" fmla="*/ 0 h 2219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Lst>
              <a:rect l="l" t="t" r="r" b="b"/>
              <a:pathLst>
                <a:path w="1089421" h="221903">
                  <a:moveTo>
                    <a:pt x="1021109" y="21878"/>
                  </a:moveTo>
                  <a:cubicBezTo>
                    <a:pt x="990649" y="21878"/>
                    <a:pt x="975419" y="52784"/>
                    <a:pt x="975419" y="114598"/>
                  </a:cubicBezTo>
                  <a:cubicBezTo>
                    <a:pt x="975419" y="172244"/>
                    <a:pt x="990351" y="201067"/>
                    <a:pt x="1020216" y="201067"/>
                  </a:cubicBezTo>
                  <a:cubicBezTo>
                    <a:pt x="1049684" y="201067"/>
                    <a:pt x="1064418" y="171698"/>
                    <a:pt x="1064418" y="112961"/>
                  </a:cubicBezTo>
                  <a:cubicBezTo>
                    <a:pt x="1064418" y="52239"/>
                    <a:pt x="1049981" y="21878"/>
                    <a:pt x="1021109" y="21878"/>
                  </a:cubicBezTo>
                  <a:close/>
                  <a:moveTo>
                    <a:pt x="535334" y="21878"/>
                  </a:moveTo>
                  <a:cubicBezTo>
                    <a:pt x="504874" y="21878"/>
                    <a:pt x="489643" y="52784"/>
                    <a:pt x="489643" y="114598"/>
                  </a:cubicBezTo>
                  <a:cubicBezTo>
                    <a:pt x="489643" y="172244"/>
                    <a:pt x="504576" y="201067"/>
                    <a:pt x="534441" y="201067"/>
                  </a:cubicBezTo>
                  <a:cubicBezTo>
                    <a:pt x="563909" y="201067"/>
                    <a:pt x="578643" y="171698"/>
                    <a:pt x="578643" y="112961"/>
                  </a:cubicBezTo>
                  <a:cubicBezTo>
                    <a:pt x="578643" y="52239"/>
                    <a:pt x="564206" y="21878"/>
                    <a:pt x="535334" y="21878"/>
                  </a:cubicBezTo>
                  <a:close/>
                  <a:moveTo>
                    <a:pt x="211484" y="21878"/>
                  </a:moveTo>
                  <a:cubicBezTo>
                    <a:pt x="181024" y="21878"/>
                    <a:pt x="165793" y="52784"/>
                    <a:pt x="165793" y="114598"/>
                  </a:cubicBezTo>
                  <a:cubicBezTo>
                    <a:pt x="165793" y="172244"/>
                    <a:pt x="180726" y="201067"/>
                    <a:pt x="210591" y="201067"/>
                  </a:cubicBezTo>
                  <a:cubicBezTo>
                    <a:pt x="240059" y="201067"/>
                    <a:pt x="254793" y="171698"/>
                    <a:pt x="254793" y="112961"/>
                  </a:cubicBezTo>
                  <a:cubicBezTo>
                    <a:pt x="254793" y="52239"/>
                    <a:pt x="240356" y="21878"/>
                    <a:pt x="211484" y="21878"/>
                  </a:cubicBezTo>
                  <a:close/>
                  <a:moveTo>
                    <a:pt x="1022299" y="1191"/>
                  </a:moveTo>
                  <a:cubicBezTo>
                    <a:pt x="1067047" y="1191"/>
                    <a:pt x="1089421" y="37654"/>
                    <a:pt x="1089421" y="110579"/>
                  </a:cubicBezTo>
                  <a:cubicBezTo>
                    <a:pt x="1089421" y="128439"/>
                    <a:pt x="1087809" y="144264"/>
                    <a:pt x="1084584" y="158056"/>
                  </a:cubicBezTo>
                  <a:cubicBezTo>
                    <a:pt x="1081359" y="171847"/>
                    <a:pt x="1076696" y="183480"/>
                    <a:pt x="1070594" y="192956"/>
                  </a:cubicBezTo>
                  <a:cubicBezTo>
                    <a:pt x="1064492" y="202431"/>
                    <a:pt x="1057001" y="209625"/>
                    <a:pt x="1048121" y="214536"/>
                  </a:cubicBezTo>
                  <a:cubicBezTo>
                    <a:pt x="1039241" y="219447"/>
                    <a:pt x="1029145" y="221903"/>
                    <a:pt x="1017835" y="221903"/>
                  </a:cubicBezTo>
                  <a:cubicBezTo>
                    <a:pt x="1007119" y="221903"/>
                    <a:pt x="997569" y="219546"/>
                    <a:pt x="989185" y="214834"/>
                  </a:cubicBezTo>
                  <a:cubicBezTo>
                    <a:pt x="980801" y="210121"/>
                    <a:pt x="973732" y="203250"/>
                    <a:pt x="967977" y="194221"/>
                  </a:cubicBezTo>
                  <a:cubicBezTo>
                    <a:pt x="962222" y="185192"/>
                    <a:pt x="957857" y="174104"/>
                    <a:pt x="954880" y="160958"/>
                  </a:cubicBezTo>
                  <a:cubicBezTo>
                    <a:pt x="951904" y="147811"/>
                    <a:pt x="950415" y="132755"/>
                    <a:pt x="950415" y="115788"/>
                  </a:cubicBezTo>
                  <a:cubicBezTo>
                    <a:pt x="950415" y="97135"/>
                    <a:pt x="951978" y="80665"/>
                    <a:pt x="955103" y="66377"/>
                  </a:cubicBezTo>
                  <a:cubicBezTo>
                    <a:pt x="958229" y="52090"/>
                    <a:pt x="962818" y="40109"/>
                    <a:pt x="968870" y="30435"/>
                  </a:cubicBezTo>
                  <a:cubicBezTo>
                    <a:pt x="974922" y="20762"/>
                    <a:pt x="982438" y="13469"/>
                    <a:pt x="991418" y="8558"/>
                  </a:cubicBezTo>
                  <a:cubicBezTo>
                    <a:pt x="1000397" y="3646"/>
                    <a:pt x="1010691" y="1191"/>
                    <a:pt x="1022299" y="1191"/>
                  </a:cubicBezTo>
                  <a:close/>
                  <a:moveTo>
                    <a:pt x="536524" y="1191"/>
                  </a:moveTo>
                  <a:cubicBezTo>
                    <a:pt x="581272" y="1191"/>
                    <a:pt x="603646" y="37654"/>
                    <a:pt x="603646" y="110579"/>
                  </a:cubicBezTo>
                  <a:cubicBezTo>
                    <a:pt x="603646" y="128439"/>
                    <a:pt x="602034" y="144264"/>
                    <a:pt x="598809" y="158056"/>
                  </a:cubicBezTo>
                  <a:cubicBezTo>
                    <a:pt x="595584" y="171847"/>
                    <a:pt x="590921" y="183480"/>
                    <a:pt x="584819" y="192956"/>
                  </a:cubicBezTo>
                  <a:cubicBezTo>
                    <a:pt x="578717" y="202431"/>
                    <a:pt x="571226" y="209625"/>
                    <a:pt x="562346" y="214536"/>
                  </a:cubicBezTo>
                  <a:cubicBezTo>
                    <a:pt x="553466" y="219447"/>
                    <a:pt x="543370" y="221903"/>
                    <a:pt x="532060" y="221903"/>
                  </a:cubicBezTo>
                  <a:cubicBezTo>
                    <a:pt x="521344" y="221903"/>
                    <a:pt x="511794" y="219546"/>
                    <a:pt x="503410" y="214834"/>
                  </a:cubicBezTo>
                  <a:cubicBezTo>
                    <a:pt x="495026" y="210121"/>
                    <a:pt x="487957" y="203250"/>
                    <a:pt x="482202" y="194221"/>
                  </a:cubicBezTo>
                  <a:cubicBezTo>
                    <a:pt x="476447" y="185192"/>
                    <a:pt x="472082" y="174104"/>
                    <a:pt x="469105" y="160958"/>
                  </a:cubicBezTo>
                  <a:cubicBezTo>
                    <a:pt x="466129" y="147811"/>
                    <a:pt x="464640" y="132755"/>
                    <a:pt x="464640" y="115788"/>
                  </a:cubicBezTo>
                  <a:cubicBezTo>
                    <a:pt x="464640" y="97135"/>
                    <a:pt x="466203" y="80665"/>
                    <a:pt x="469328" y="66377"/>
                  </a:cubicBezTo>
                  <a:cubicBezTo>
                    <a:pt x="472454" y="52090"/>
                    <a:pt x="477043" y="40109"/>
                    <a:pt x="483095" y="30435"/>
                  </a:cubicBezTo>
                  <a:cubicBezTo>
                    <a:pt x="489147" y="20762"/>
                    <a:pt x="496663" y="13469"/>
                    <a:pt x="505643" y="8558"/>
                  </a:cubicBezTo>
                  <a:cubicBezTo>
                    <a:pt x="514622" y="3646"/>
                    <a:pt x="524916" y="1191"/>
                    <a:pt x="536524" y="1191"/>
                  </a:cubicBezTo>
                  <a:close/>
                  <a:moveTo>
                    <a:pt x="212674" y="1191"/>
                  </a:moveTo>
                  <a:cubicBezTo>
                    <a:pt x="257422" y="1191"/>
                    <a:pt x="279796" y="37654"/>
                    <a:pt x="279796" y="110579"/>
                  </a:cubicBezTo>
                  <a:cubicBezTo>
                    <a:pt x="279796" y="128439"/>
                    <a:pt x="278184" y="144264"/>
                    <a:pt x="274959" y="158056"/>
                  </a:cubicBezTo>
                  <a:cubicBezTo>
                    <a:pt x="271734" y="171847"/>
                    <a:pt x="267071" y="183480"/>
                    <a:pt x="260969" y="192956"/>
                  </a:cubicBezTo>
                  <a:cubicBezTo>
                    <a:pt x="254867" y="202431"/>
                    <a:pt x="247376" y="209625"/>
                    <a:pt x="238496" y="214536"/>
                  </a:cubicBezTo>
                  <a:cubicBezTo>
                    <a:pt x="229616" y="219447"/>
                    <a:pt x="219520" y="221903"/>
                    <a:pt x="208210" y="221903"/>
                  </a:cubicBezTo>
                  <a:cubicBezTo>
                    <a:pt x="197494" y="221903"/>
                    <a:pt x="187944" y="219546"/>
                    <a:pt x="179560" y="214834"/>
                  </a:cubicBezTo>
                  <a:cubicBezTo>
                    <a:pt x="171176" y="210121"/>
                    <a:pt x="164107" y="203250"/>
                    <a:pt x="158352" y="194221"/>
                  </a:cubicBezTo>
                  <a:cubicBezTo>
                    <a:pt x="152597" y="185192"/>
                    <a:pt x="148232" y="174104"/>
                    <a:pt x="145255" y="160958"/>
                  </a:cubicBezTo>
                  <a:cubicBezTo>
                    <a:pt x="142279" y="147811"/>
                    <a:pt x="140790" y="132755"/>
                    <a:pt x="140790" y="115788"/>
                  </a:cubicBezTo>
                  <a:cubicBezTo>
                    <a:pt x="140790" y="97135"/>
                    <a:pt x="142353" y="80665"/>
                    <a:pt x="145478" y="66377"/>
                  </a:cubicBezTo>
                  <a:cubicBezTo>
                    <a:pt x="148604" y="52090"/>
                    <a:pt x="153193" y="40109"/>
                    <a:pt x="159245" y="30435"/>
                  </a:cubicBezTo>
                  <a:cubicBezTo>
                    <a:pt x="165297" y="20762"/>
                    <a:pt x="172813" y="13469"/>
                    <a:pt x="181793" y="8558"/>
                  </a:cubicBezTo>
                  <a:cubicBezTo>
                    <a:pt x="190772" y="3646"/>
                    <a:pt x="201066" y="1191"/>
                    <a:pt x="212674" y="1191"/>
                  </a:cubicBezTo>
                  <a:close/>
                  <a:moveTo>
                    <a:pt x="874216" y="0"/>
                  </a:moveTo>
                  <a:lnTo>
                    <a:pt x="883444" y="0"/>
                  </a:lnTo>
                  <a:lnTo>
                    <a:pt x="883444" y="218182"/>
                  </a:lnTo>
                  <a:lnTo>
                    <a:pt x="859036" y="218182"/>
                  </a:lnTo>
                  <a:lnTo>
                    <a:pt x="859036" y="33784"/>
                  </a:lnTo>
                  <a:cubicBezTo>
                    <a:pt x="857151" y="35669"/>
                    <a:pt x="854397" y="37827"/>
                    <a:pt x="850776" y="40258"/>
                  </a:cubicBezTo>
                  <a:cubicBezTo>
                    <a:pt x="847154" y="42689"/>
                    <a:pt x="843087" y="45095"/>
                    <a:pt x="838572" y="47476"/>
                  </a:cubicBezTo>
                  <a:cubicBezTo>
                    <a:pt x="834058" y="49858"/>
                    <a:pt x="829295" y="52090"/>
                    <a:pt x="824285" y="54174"/>
                  </a:cubicBezTo>
                  <a:cubicBezTo>
                    <a:pt x="819274" y="56257"/>
                    <a:pt x="814388" y="57894"/>
                    <a:pt x="809625" y="59085"/>
                  </a:cubicBezTo>
                  <a:lnTo>
                    <a:pt x="809625" y="34379"/>
                  </a:lnTo>
                  <a:cubicBezTo>
                    <a:pt x="814983" y="32891"/>
                    <a:pt x="820663" y="30882"/>
                    <a:pt x="826666" y="28352"/>
                  </a:cubicBezTo>
                  <a:cubicBezTo>
                    <a:pt x="832669" y="25822"/>
                    <a:pt x="838572" y="22994"/>
                    <a:pt x="844376" y="19869"/>
                  </a:cubicBezTo>
                  <a:cubicBezTo>
                    <a:pt x="850181" y="16743"/>
                    <a:pt x="855662" y="13469"/>
                    <a:pt x="860822" y="10046"/>
                  </a:cubicBezTo>
                  <a:cubicBezTo>
                    <a:pt x="865981" y="6623"/>
                    <a:pt x="870446" y="3274"/>
                    <a:pt x="874216" y="0"/>
                  </a:cubicBezTo>
                  <a:close/>
                  <a:moveTo>
                    <a:pt x="712291" y="0"/>
                  </a:moveTo>
                  <a:lnTo>
                    <a:pt x="721519" y="0"/>
                  </a:lnTo>
                  <a:lnTo>
                    <a:pt x="721519" y="218182"/>
                  </a:lnTo>
                  <a:lnTo>
                    <a:pt x="697111" y="218182"/>
                  </a:lnTo>
                  <a:lnTo>
                    <a:pt x="697111" y="33784"/>
                  </a:lnTo>
                  <a:cubicBezTo>
                    <a:pt x="695226" y="35669"/>
                    <a:pt x="692472" y="37827"/>
                    <a:pt x="688851" y="40258"/>
                  </a:cubicBezTo>
                  <a:cubicBezTo>
                    <a:pt x="685229" y="42689"/>
                    <a:pt x="681162" y="45095"/>
                    <a:pt x="676647" y="47476"/>
                  </a:cubicBezTo>
                  <a:cubicBezTo>
                    <a:pt x="672133" y="49858"/>
                    <a:pt x="667370" y="52090"/>
                    <a:pt x="662360" y="54174"/>
                  </a:cubicBezTo>
                  <a:cubicBezTo>
                    <a:pt x="657349" y="56257"/>
                    <a:pt x="652463" y="57894"/>
                    <a:pt x="647700" y="59085"/>
                  </a:cubicBezTo>
                  <a:lnTo>
                    <a:pt x="647700" y="34379"/>
                  </a:lnTo>
                  <a:cubicBezTo>
                    <a:pt x="653058" y="32891"/>
                    <a:pt x="658738" y="30882"/>
                    <a:pt x="664741" y="28352"/>
                  </a:cubicBezTo>
                  <a:cubicBezTo>
                    <a:pt x="670744" y="25822"/>
                    <a:pt x="676647" y="22994"/>
                    <a:pt x="682451" y="19869"/>
                  </a:cubicBezTo>
                  <a:cubicBezTo>
                    <a:pt x="688256" y="16743"/>
                    <a:pt x="693738" y="13469"/>
                    <a:pt x="698897" y="10046"/>
                  </a:cubicBezTo>
                  <a:cubicBezTo>
                    <a:pt x="704056" y="6623"/>
                    <a:pt x="708521" y="3274"/>
                    <a:pt x="712291" y="0"/>
                  </a:cubicBezTo>
                  <a:close/>
                  <a:moveTo>
                    <a:pt x="388441" y="0"/>
                  </a:moveTo>
                  <a:lnTo>
                    <a:pt x="397669" y="0"/>
                  </a:lnTo>
                  <a:lnTo>
                    <a:pt x="397669" y="218182"/>
                  </a:lnTo>
                  <a:lnTo>
                    <a:pt x="373261" y="218182"/>
                  </a:lnTo>
                  <a:lnTo>
                    <a:pt x="373261" y="33784"/>
                  </a:lnTo>
                  <a:cubicBezTo>
                    <a:pt x="371376" y="35669"/>
                    <a:pt x="368622" y="37827"/>
                    <a:pt x="365001" y="40258"/>
                  </a:cubicBezTo>
                  <a:cubicBezTo>
                    <a:pt x="361380" y="42689"/>
                    <a:pt x="357311" y="45095"/>
                    <a:pt x="352797" y="47476"/>
                  </a:cubicBezTo>
                  <a:cubicBezTo>
                    <a:pt x="348283" y="49858"/>
                    <a:pt x="343520" y="52090"/>
                    <a:pt x="338510" y="54174"/>
                  </a:cubicBezTo>
                  <a:cubicBezTo>
                    <a:pt x="333499" y="56257"/>
                    <a:pt x="328613" y="57894"/>
                    <a:pt x="323850" y="59085"/>
                  </a:cubicBezTo>
                  <a:lnTo>
                    <a:pt x="323850" y="34379"/>
                  </a:lnTo>
                  <a:cubicBezTo>
                    <a:pt x="329208" y="32891"/>
                    <a:pt x="334888" y="30882"/>
                    <a:pt x="340891" y="28352"/>
                  </a:cubicBezTo>
                  <a:cubicBezTo>
                    <a:pt x="346894" y="25822"/>
                    <a:pt x="352797" y="22994"/>
                    <a:pt x="358601" y="19869"/>
                  </a:cubicBezTo>
                  <a:cubicBezTo>
                    <a:pt x="364406" y="16743"/>
                    <a:pt x="369887" y="13469"/>
                    <a:pt x="375047" y="10046"/>
                  </a:cubicBezTo>
                  <a:cubicBezTo>
                    <a:pt x="380206" y="6623"/>
                    <a:pt x="384671" y="3274"/>
                    <a:pt x="388441" y="0"/>
                  </a:cubicBezTo>
                  <a:close/>
                  <a:moveTo>
                    <a:pt x="64591" y="0"/>
                  </a:moveTo>
                  <a:lnTo>
                    <a:pt x="73819" y="0"/>
                  </a:lnTo>
                  <a:lnTo>
                    <a:pt x="73819" y="218182"/>
                  </a:lnTo>
                  <a:lnTo>
                    <a:pt x="49411" y="218182"/>
                  </a:lnTo>
                  <a:lnTo>
                    <a:pt x="49411" y="33784"/>
                  </a:lnTo>
                  <a:cubicBezTo>
                    <a:pt x="47526" y="35669"/>
                    <a:pt x="44772" y="37827"/>
                    <a:pt x="41151" y="40258"/>
                  </a:cubicBezTo>
                  <a:cubicBezTo>
                    <a:pt x="37529" y="42689"/>
                    <a:pt x="33462" y="45095"/>
                    <a:pt x="28947" y="47476"/>
                  </a:cubicBezTo>
                  <a:cubicBezTo>
                    <a:pt x="24433" y="49858"/>
                    <a:pt x="19670" y="52090"/>
                    <a:pt x="14660" y="54174"/>
                  </a:cubicBezTo>
                  <a:cubicBezTo>
                    <a:pt x="9649" y="56257"/>
                    <a:pt x="4762" y="57894"/>
                    <a:pt x="0" y="59085"/>
                  </a:cubicBezTo>
                  <a:lnTo>
                    <a:pt x="0" y="34379"/>
                  </a:lnTo>
                  <a:cubicBezTo>
                    <a:pt x="5358" y="32891"/>
                    <a:pt x="11038" y="30882"/>
                    <a:pt x="17041" y="28352"/>
                  </a:cubicBezTo>
                  <a:cubicBezTo>
                    <a:pt x="23044" y="25822"/>
                    <a:pt x="28947" y="22994"/>
                    <a:pt x="34751" y="19869"/>
                  </a:cubicBezTo>
                  <a:cubicBezTo>
                    <a:pt x="40556" y="16743"/>
                    <a:pt x="46037" y="13469"/>
                    <a:pt x="51197" y="10046"/>
                  </a:cubicBezTo>
                  <a:cubicBezTo>
                    <a:pt x="56356" y="6623"/>
                    <a:pt x="60821" y="3274"/>
                    <a:pt x="64591" y="0"/>
                  </a:cubicBezTo>
                  <a:close/>
                </a:path>
              </a:pathLst>
            </a:cu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5439">
                      <a:srgbClr val="F8F8F8"/>
                    </a:gs>
                    <a:gs pos="10000">
                      <a:srgbClr val="F8F8F8"/>
                    </a:gs>
                  </a:gsLst>
                  <a:lin ang="5400000" scaled="0"/>
                </a:gradFill>
                <a:effectLst/>
                <a:uLnTx/>
                <a:uFillTx/>
              </a:endParaRPr>
            </a:p>
          </p:txBody>
        </p:sp>
        <p:sp>
          <p:nvSpPr>
            <p:cNvPr id="524" name="Freeform: Shape 523"/>
            <p:cNvSpPr/>
            <p:nvPr/>
          </p:nvSpPr>
          <p:spPr bwMode="auto">
            <a:xfrm>
              <a:off x="6743256" y="2947672"/>
              <a:ext cx="656522" cy="139362"/>
            </a:xfrm>
            <a:custGeom>
              <a:avLst/>
              <a:gdLst>
                <a:gd name="connsiteX0" fmla="*/ 859184 w 1045369"/>
                <a:gd name="connsiteY0" fmla="*/ 21878 h 221903"/>
                <a:gd name="connsiteX1" fmla="*/ 813494 w 1045369"/>
                <a:gd name="connsiteY1" fmla="*/ 114598 h 221903"/>
                <a:gd name="connsiteX2" fmla="*/ 858291 w 1045369"/>
                <a:gd name="connsiteY2" fmla="*/ 201067 h 221903"/>
                <a:gd name="connsiteX3" fmla="*/ 902493 w 1045369"/>
                <a:gd name="connsiteY3" fmla="*/ 112961 h 221903"/>
                <a:gd name="connsiteX4" fmla="*/ 859184 w 1045369"/>
                <a:gd name="connsiteY4" fmla="*/ 21878 h 221903"/>
                <a:gd name="connsiteX5" fmla="*/ 697259 w 1045369"/>
                <a:gd name="connsiteY5" fmla="*/ 21878 h 221903"/>
                <a:gd name="connsiteX6" fmla="*/ 651569 w 1045369"/>
                <a:gd name="connsiteY6" fmla="*/ 114598 h 221903"/>
                <a:gd name="connsiteX7" fmla="*/ 696366 w 1045369"/>
                <a:gd name="connsiteY7" fmla="*/ 201067 h 221903"/>
                <a:gd name="connsiteX8" fmla="*/ 740568 w 1045369"/>
                <a:gd name="connsiteY8" fmla="*/ 112961 h 221903"/>
                <a:gd name="connsiteX9" fmla="*/ 697259 w 1045369"/>
                <a:gd name="connsiteY9" fmla="*/ 21878 h 221903"/>
                <a:gd name="connsiteX10" fmla="*/ 373409 w 1045369"/>
                <a:gd name="connsiteY10" fmla="*/ 21878 h 221903"/>
                <a:gd name="connsiteX11" fmla="*/ 327719 w 1045369"/>
                <a:gd name="connsiteY11" fmla="*/ 114598 h 221903"/>
                <a:gd name="connsiteX12" fmla="*/ 372516 w 1045369"/>
                <a:gd name="connsiteY12" fmla="*/ 201067 h 221903"/>
                <a:gd name="connsiteX13" fmla="*/ 416718 w 1045369"/>
                <a:gd name="connsiteY13" fmla="*/ 112961 h 221903"/>
                <a:gd name="connsiteX14" fmla="*/ 373409 w 1045369"/>
                <a:gd name="connsiteY14" fmla="*/ 21878 h 221903"/>
                <a:gd name="connsiteX15" fmla="*/ 860374 w 1045369"/>
                <a:gd name="connsiteY15" fmla="*/ 1191 h 221903"/>
                <a:gd name="connsiteX16" fmla="*/ 927496 w 1045369"/>
                <a:gd name="connsiteY16" fmla="*/ 110579 h 221903"/>
                <a:gd name="connsiteX17" fmla="*/ 922659 w 1045369"/>
                <a:gd name="connsiteY17" fmla="*/ 158056 h 221903"/>
                <a:gd name="connsiteX18" fmla="*/ 908669 w 1045369"/>
                <a:gd name="connsiteY18" fmla="*/ 192956 h 221903"/>
                <a:gd name="connsiteX19" fmla="*/ 886196 w 1045369"/>
                <a:gd name="connsiteY19" fmla="*/ 214536 h 221903"/>
                <a:gd name="connsiteX20" fmla="*/ 855910 w 1045369"/>
                <a:gd name="connsiteY20" fmla="*/ 221903 h 221903"/>
                <a:gd name="connsiteX21" fmla="*/ 827260 w 1045369"/>
                <a:gd name="connsiteY21" fmla="*/ 214834 h 221903"/>
                <a:gd name="connsiteX22" fmla="*/ 806052 w 1045369"/>
                <a:gd name="connsiteY22" fmla="*/ 194221 h 221903"/>
                <a:gd name="connsiteX23" fmla="*/ 792955 w 1045369"/>
                <a:gd name="connsiteY23" fmla="*/ 160958 h 221903"/>
                <a:gd name="connsiteX24" fmla="*/ 788490 w 1045369"/>
                <a:gd name="connsiteY24" fmla="*/ 115788 h 221903"/>
                <a:gd name="connsiteX25" fmla="*/ 793178 w 1045369"/>
                <a:gd name="connsiteY25" fmla="*/ 66377 h 221903"/>
                <a:gd name="connsiteX26" fmla="*/ 806945 w 1045369"/>
                <a:gd name="connsiteY26" fmla="*/ 30435 h 221903"/>
                <a:gd name="connsiteX27" fmla="*/ 829493 w 1045369"/>
                <a:gd name="connsiteY27" fmla="*/ 8558 h 221903"/>
                <a:gd name="connsiteX28" fmla="*/ 860374 w 1045369"/>
                <a:gd name="connsiteY28" fmla="*/ 1191 h 221903"/>
                <a:gd name="connsiteX29" fmla="*/ 698449 w 1045369"/>
                <a:gd name="connsiteY29" fmla="*/ 1191 h 221903"/>
                <a:gd name="connsiteX30" fmla="*/ 765571 w 1045369"/>
                <a:gd name="connsiteY30" fmla="*/ 110579 h 221903"/>
                <a:gd name="connsiteX31" fmla="*/ 760734 w 1045369"/>
                <a:gd name="connsiteY31" fmla="*/ 158056 h 221903"/>
                <a:gd name="connsiteX32" fmla="*/ 746744 w 1045369"/>
                <a:gd name="connsiteY32" fmla="*/ 192956 h 221903"/>
                <a:gd name="connsiteX33" fmla="*/ 724271 w 1045369"/>
                <a:gd name="connsiteY33" fmla="*/ 214536 h 221903"/>
                <a:gd name="connsiteX34" fmla="*/ 693985 w 1045369"/>
                <a:gd name="connsiteY34" fmla="*/ 221903 h 221903"/>
                <a:gd name="connsiteX35" fmla="*/ 665335 w 1045369"/>
                <a:gd name="connsiteY35" fmla="*/ 214834 h 221903"/>
                <a:gd name="connsiteX36" fmla="*/ 644127 w 1045369"/>
                <a:gd name="connsiteY36" fmla="*/ 194221 h 221903"/>
                <a:gd name="connsiteX37" fmla="*/ 631030 w 1045369"/>
                <a:gd name="connsiteY37" fmla="*/ 160958 h 221903"/>
                <a:gd name="connsiteX38" fmla="*/ 626565 w 1045369"/>
                <a:gd name="connsiteY38" fmla="*/ 115788 h 221903"/>
                <a:gd name="connsiteX39" fmla="*/ 631253 w 1045369"/>
                <a:gd name="connsiteY39" fmla="*/ 66377 h 221903"/>
                <a:gd name="connsiteX40" fmla="*/ 645020 w 1045369"/>
                <a:gd name="connsiteY40" fmla="*/ 30435 h 221903"/>
                <a:gd name="connsiteX41" fmla="*/ 667568 w 1045369"/>
                <a:gd name="connsiteY41" fmla="*/ 8558 h 221903"/>
                <a:gd name="connsiteX42" fmla="*/ 698449 w 1045369"/>
                <a:gd name="connsiteY42" fmla="*/ 1191 h 221903"/>
                <a:gd name="connsiteX43" fmla="*/ 374599 w 1045369"/>
                <a:gd name="connsiteY43" fmla="*/ 1191 h 221903"/>
                <a:gd name="connsiteX44" fmla="*/ 441721 w 1045369"/>
                <a:gd name="connsiteY44" fmla="*/ 110579 h 221903"/>
                <a:gd name="connsiteX45" fmla="*/ 436884 w 1045369"/>
                <a:gd name="connsiteY45" fmla="*/ 158056 h 221903"/>
                <a:gd name="connsiteX46" fmla="*/ 422894 w 1045369"/>
                <a:gd name="connsiteY46" fmla="*/ 192956 h 221903"/>
                <a:gd name="connsiteX47" fmla="*/ 400421 w 1045369"/>
                <a:gd name="connsiteY47" fmla="*/ 214536 h 221903"/>
                <a:gd name="connsiteX48" fmla="*/ 370135 w 1045369"/>
                <a:gd name="connsiteY48" fmla="*/ 221903 h 221903"/>
                <a:gd name="connsiteX49" fmla="*/ 341485 w 1045369"/>
                <a:gd name="connsiteY49" fmla="*/ 214834 h 221903"/>
                <a:gd name="connsiteX50" fmla="*/ 320277 w 1045369"/>
                <a:gd name="connsiteY50" fmla="*/ 194221 h 221903"/>
                <a:gd name="connsiteX51" fmla="*/ 307180 w 1045369"/>
                <a:gd name="connsiteY51" fmla="*/ 160958 h 221903"/>
                <a:gd name="connsiteX52" fmla="*/ 302715 w 1045369"/>
                <a:gd name="connsiteY52" fmla="*/ 115788 h 221903"/>
                <a:gd name="connsiteX53" fmla="*/ 307403 w 1045369"/>
                <a:gd name="connsiteY53" fmla="*/ 66377 h 221903"/>
                <a:gd name="connsiteX54" fmla="*/ 321170 w 1045369"/>
                <a:gd name="connsiteY54" fmla="*/ 30435 h 221903"/>
                <a:gd name="connsiteX55" fmla="*/ 343718 w 1045369"/>
                <a:gd name="connsiteY55" fmla="*/ 8558 h 221903"/>
                <a:gd name="connsiteX56" fmla="*/ 374599 w 1045369"/>
                <a:gd name="connsiteY56" fmla="*/ 1191 h 221903"/>
                <a:gd name="connsiteX57" fmla="*/ 1036141 w 1045369"/>
                <a:gd name="connsiteY57" fmla="*/ 0 h 221903"/>
                <a:gd name="connsiteX58" fmla="*/ 1045369 w 1045369"/>
                <a:gd name="connsiteY58" fmla="*/ 0 h 221903"/>
                <a:gd name="connsiteX59" fmla="*/ 1045369 w 1045369"/>
                <a:gd name="connsiteY59" fmla="*/ 218182 h 221903"/>
                <a:gd name="connsiteX60" fmla="*/ 1020961 w 1045369"/>
                <a:gd name="connsiteY60" fmla="*/ 218182 h 221903"/>
                <a:gd name="connsiteX61" fmla="*/ 1020961 w 1045369"/>
                <a:gd name="connsiteY61" fmla="*/ 33784 h 221903"/>
                <a:gd name="connsiteX62" fmla="*/ 1012701 w 1045369"/>
                <a:gd name="connsiteY62" fmla="*/ 40258 h 221903"/>
                <a:gd name="connsiteX63" fmla="*/ 1000497 w 1045369"/>
                <a:gd name="connsiteY63" fmla="*/ 47476 h 221903"/>
                <a:gd name="connsiteX64" fmla="*/ 986210 w 1045369"/>
                <a:gd name="connsiteY64" fmla="*/ 54174 h 221903"/>
                <a:gd name="connsiteX65" fmla="*/ 971550 w 1045369"/>
                <a:gd name="connsiteY65" fmla="*/ 59085 h 221903"/>
                <a:gd name="connsiteX66" fmla="*/ 971550 w 1045369"/>
                <a:gd name="connsiteY66" fmla="*/ 34379 h 221903"/>
                <a:gd name="connsiteX67" fmla="*/ 988591 w 1045369"/>
                <a:gd name="connsiteY67" fmla="*/ 28352 h 221903"/>
                <a:gd name="connsiteX68" fmla="*/ 1006301 w 1045369"/>
                <a:gd name="connsiteY68" fmla="*/ 19869 h 221903"/>
                <a:gd name="connsiteX69" fmla="*/ 1022747 w 1045369"/>
                <a:gd name="connsiteY69" fmla="*/ 10046 h 221903"/>
                <a:gd name="connsiteX70" fmla="*/ 1036141 w 1045369"/>
                <a:gd name="connsiteY70" fmla="*/ 0 h 221903"/>
                <a:gd name="connsiteX71" fmla="*/ 550366 w 1045369"/>
                <a:gd name="connsiteY71" fmla="*/ 0 h 221903"/>
                <a:gd name="connsiteX72" fmla="*/ 559594 w 1045369"/>
                <a:gd name="connsiteY72" fmla="*/ 0 h 221903"/>
                <a:gd name="connsiteX73" fmla="*/ 559594 w 1045369"/>
                <a:gd name="connsiteY73" fmla="*/ 218182 h 221903"/>
                <a:gd name="connsiteX74" fmla="*/ 535186 w 1045369"/>
                <a:gd name="connsiteY74" fmla="*/ 218182 h 221903"/>
                <a:gd name="connsiteX75" fmla="*/ 535186 w 1045369"/>
                <a:gd name="connsiteY75" fmla="*/ 33784 h 221903"/>
                <a:gd name="connsiteX76" fmla="*/ 526926 w 1045369"/>
                <a:gd name="connsiteY76" fmla="*/ 40258 h 221903"/>
                <a:gd name="connsiteX77" fmla="*/ 514722 w 1045369"/>
                <a:gd name="connsiteY77" fmla="*/ 47476 h 221903"/>
                <a:gd name="connsiteX78" fmla="*/ 500435 w 1045369"/>
                <a:gd name="connsiteY78" fmla="*/ 54174 h 221903"/>
                <a:gd name="connsiteX79" fmla="*/ 485775 w 1045369"/>
                <a:gd name="connsiteY79" fmla="*/ 59085 h 221903"/>
                <a:gd name="connsiteX80" fmla="*/ 485775 w 1045369"/>
                <a:gd name="connsiteY80" fmla="*/ 34379 h 221903"/>
                <a:gd name="connsiteX81" fmla="*/ 502816 w 1045369"/>
                <a:gd name="connsiteY81" fmla="*/ 28352 h 221903"/>
                <a:gd name="connsiteX82" fmla="*/ 520526 w 1045369"/>
                <a:gd name="connsiteY82" fmla="*/ 19869 h 221903"/>
                <a:gd name="connsiteX83" fmla="*/ 536972 w 1045369"/>
                <a:gd name="connsiteY83" fmla="*/ 10046 h 221903"/>
                <a:gd name="connsiteX84" fmla="*/ 550366 w 1045369"/>
                <a:gd name="connsiteY84" fmla="*/ 0 h 221903"/>
                <a:gd name="connsiteX85" fmla="*/ 226516 w 1045369"/>
                <a:gd name="connsiteY85" fmla="*/ 0 h 221903"/>
                <a:gd name="connsiteX86" fmla="*/ 235744 w 1045369"/>
                <a:gd name="connsiteY86" fmla="*/ 0 h 221903"/>
                <a:gd name="connsiteX87" fmla="*/ 235744 w 1045369"/>
                <a:gd name="connsiteY87" fmla="*/ 218182 h 221903"/>
                <a:gd name="connsiteX88" fmla="*/ 211336 w 1045369"/>
                <a:gd name="connsiteY88" fmla="*/ 218182 h 221903"/>
                <a:gd name="connsiteX89" fmla="*/ 211336 w 1045369"/>
                <a:gd name="connsiteY89" fmla="*/ 33784 h 221903"/>
                <a:gd name="connsiteX90" fmla="*/ 203076 w 1045369"/>
                <a:gd name="connsiteY90" fmla="*/ 40258 h 221903"/>
                <a:gd name="connsiteX91" fmla="*/ 190872 w 1045369"/>
                <a:gd name="connsiteY91" fmla="*/ 47476 h 221903"/>
                <a:gd name="connsiteX92" fmla="*/ 176585 w 1045369"/>
                <a:gd name="connsiteY92" fmla="*/ 54174 h 221903"/>
                <a:gd name="connsiteX93" fmla="*/ 161925 w 1045369"/>
                <a:gd name="connsiteY93" fmla="*/ 59085 h 221903"/>
                <a:gd name="connsiteX94" fmla="*/ 161925 w 1045369"/>
                <a:gd name="connsiteY94" fmla="*/ 34379 h 221903"/>
                <a:gd name="connsiteX95" fmla="*/ 178966 w 1045369"/>
                <a:gd name="connsiteY95" fmla="*/ 28352 h 221903"/>
                <a:gd name="connsiteX96" fmla="*/ 196676 w 1045369"/>
                <a:gd name="connsiteY96" fmla="*/ 19869 h 221903"/>
                <a:gd name="connsiteX97" fmla="*/ 213122 w 1045369"/>
                <a:gd name="connsiteY97" fmla="*/ 10046 h 221903"/>
                <a:gd name="connsiteX98" fmla="*/ 226516 w 1045369"/>
                <a:gd name="connsiteY98" fmla="*/ 0 h 221903"/>
                <a:gd name="connsiteX99" fmla="*/ 64591 w 1045369"/>
                <a:gd name="connsiteY99" fmla="*/ 0 h 221903"/>
                <a:gd name="connsiteX100" fmla="*/ 73819 w 1045369"/>
                <a:gd name="connsiteY100" fmla="*/ 0 h 221903"/>
                <a:gd name="connsiteX101" fmla="*/ 73819 w 1045369"/>
                <a:gd name="connsiteY101" fmla="*/ 218182 h 221903"/>
                <a:gd name="connsiteX102" fmla="*/ 49411 w 1045369"/>
                <a:gd name="connsiteY102" fmla="*/ 218182 h 221903"/>
                <a:gd name="connsiteX103" fmla="*/ 49411 w 1045369"/>
                <a:gd name="connsiteY103" fmla="*/ 33784 h 221903"/>
                <a:gd name="connsiteX104" fmla="*/ 41151 w 1045369"/>
                <a:gd name="connsiteY104" fmla="*/ 40258 h 221903"/>
                <a:gd name="connsiteX105" fmla="*/ 28947 w 1045369"/>
                <a:gd name="connsiteY105" fmla="*/ 47476 h 221903"/>
                <a:gd name="connsiteX106" fmla="*/ 14660 w 1045369"/>
                <a:gd name="connsiteY106" fmla="*/ 54174 h 221903"/>
                <a:gd name="connsiteX107" fmla="*/ 0 w 1045369"/>
                <a:gd name="connsiteY107" fmla="*/ 59085 h 221903"/>
                <a:gd name="connsiteX108" fmla="*/ 0 w 1045369"/>
                <a:gd name="connsiteY108" fmla="*/ 34379 h 221903"/>
                <a:gd name="connsiteX109" fmla="*/ 17041 w 1045369"/>
                <a:gd name="connsiteY109" fmla="*/ 28352 h 221903"/>
                <a:gd name="connsiteX110" fmla="*/ 34751 w 1045369"/>
                <a:gd name="connsiteY110" fmla="*/ 19869 h 221903"/>
                <a:gd name="connsiteX111" fmla="*/ 51197 w 1045369"/>
                <a:gd name="connsiteY111" fmla="*/ 10046 h 221903"/>
                <a:gd name="connsiteX112" fmla="*/ 64591 w 1045369"/>
                <a:gd name="connsiteY112" fmla="*/ 0 h 2219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Lst>
              <a:rect l="l" t="t" r="r" b="b"/>
              <a:pathLst>
                <a:path w="1045369" h="221903">
                  <a:moveTo>
                    <a:pt x="859184" y="21878"/>
                  </a:moveTo>
                  <a:cubicBezTo>
                    <a:pt x="828724" y="21878"/>
                    <a:pt x="813494" y="52784"/>
                    <a:pt x="813494" y="114598"/>
                  </a:cubicBezTo>
                  <a:cubicBezTo>
                    <a:pt x="813494" y="172244"/>
                    <a:pt x="828426" y="201067"/>
                    <a:pt x="858291" y="201067"/>
                  </a:cubicBezTo>
                  <a:cubicBezTo>
                    <a:pt x="887759" y="201067"/>
                    <a:pt x="902493" y="171698"/>
                    <a:pt x="902493" y="112961"/>
                  </a:cubicBezTo>
                  <a:cubicBezTo>
                    <a:pt x="902493" y="52239"/>
                    <a:pt x="888056" y="21878"/>
                    <a:pt x="859184" y="21878"/>
                  </a:cubicBezTo>
                  <a:close/>
                  <a:moveTo>
                    <a:pt x="697259" y="21878"/>
                  </a:moveTo>
                  <a:cubicBezTo>
                    <a:pt x="666799" y="21878"/>
                    <a:pt x="651569" y="52784"/>
                    <a:pt x="651569" y="114598"/>
                  </a:cubicBezTo>
                  <a:cubicBezTo>
                    <a:pt x="651569" y="172244"/>
                    <a:pt x="666501" y="201067"/>
                    <a:pt x="696366" y="201067"/>
                  </a:cubicBezTo>
                  <a:cubicBezTo>
                    <a:pt x="725834" y="201067"/>
                    <a:pt x="740568" y="171698"/>
                    <a:pt x="740568" y="112961"/>
                  </a:cubicBezTo>
                  <a:cubicBezTo>
                    <a:pt x="740568" y="52239"/>
                    <a:pt x="726131" y="21878"/>
                    <a:pt x="697259" y="21878"/>
                  </a:cubicBezTo>
                  <a:close/>
                  <a:moveTo>
                    <a:pt x="373409" y="21878"/>
                  </a:moveTo>
                  <a:cubicBezTo>
                    <a:pt x="342949" y="21878"/>
                    <a:pt x="327719" y="52784"/>
                    <a:pt x="327719" y="114598"/>
                  </a:cubicBezTo>
                  <a:cubicBezTo>
                    <a:pt x="327719" y="172244"/>
                    <a:pt x="342651" y="201067"/>
                    <a:pt x="372516" y="201067"/>
                  </a:cubicBezTo>
                  <a:cubicBezTo>
                    <a:pt x="401984" y="201067"/>
                    <a:pt x="416718" y="171698"/>
                    <a:pt x="416718" y="112961"/>
                  </a:cubicBezTo>
                  <a:cubicBezTo>
                    <a:pt x="416718" y="52239"/>
                    <a:pt x="402281" y="21878"/>
                    <a:pt x="373409" y="21878"/>
                  </a:cubicBezTo>
                  <a:close/>
                  <a:moveTo>
                    <a:pt x="860374" y="1191"/>
                  </a:moveTo>
                  <a:cubicBezTo>
                    <a:pt x="905122" y="1191"/>
                    <a:pt x="927496" y="37654"/>
                    <a:pt x="927496" y="110579"/>
                  </a:cubicBezTo>
                  <a:cubicBezTo>
                    <a:pt x="927496" y="128439"/>
                    <a:pt x="925884" y="144264"/>
                    <a:pt x="922659" y="158056"/>
                  </a:cubicBezTo>
                  <a:cubicBezTo>
                    <a:pt x="919434" y="171847"/>
                    <a:pt x="914771" y="183480"/>
                    <a:pt x="908669" y="192956"/>
                  </a:cubicBezTo>
                  <a:cubicBezTo>
                    <a:pt x="902567" y="202431"/>
                    <a:pt x="895076" y="209625"/>
                    <a:pt x="886196" y="214536"/>
                  </a:cubicBezTo>
                  <a:cubicBezTo>
                    <a:pt x="877316" y="219447"/>
                    <a:pt x="867220" y="221903"/>
                    <a:pt x="855910" y="221903"/>
                  </a:cubicBezTo>
                  <a:cubicBezTo>
                    <a:pt x="845194" y="221903"/>
                    <a:pt x="835644" y="219546"/>
                    <a:pt x="827260" y="214834"/>
                  </a:cubicBezTo>
                  <a:cubicBezTo>
                    <a:pt x="818876" y="210121"/>
                    <a:pt x="811807" y="203250"/>
                    <a:pt x="806052" y="194221"/>
                  </a:cubicBezTo>
                  <a:cubicBezTo>
                    <a:pt x="800297" y="185192"/>
                    <a:pt x="795932" y="174104"/>
                    <a:pt x="792955" y="160958"/>
                  </a:cubicBezTo>
                  <a:cubicBezTo>
                    <a:pt x="789979" y="147811"/>
                    <a:pt x="788490" y="132755"/>
                    <a:pt x="788490" y="115788"/>
                  </a:cubicBezTo>
                  <a:cubicBezTo>
                    <a:pt x="788490" y="97135"/>
                    <a:pt x="790053" y="80665"/>
                    <a:pt x="793178" y="66377"/>
                  </a:cubicBezTo>
                  <a:cubicBezTo>
                    <a:pt x="796304" y="52090"/>
                    <a:pt x="800893" y="40109"/>
                    <a:pt x="806945" y="30435"/>
                  </a:cubicBezTo>
                  <a:cubicBezTo>
                    <a:pt x="812997" y="20762"/>
                    <a:pt x="820513" y="13469"/>
                    <a:pt x="829493" y="8558"/>
                  </a:cubicBezTo>
                  <a:cubicBezTo>
                    <a:pt x="838472" y="3646"/>
                    <a:pt x="848766" y="1191"/>
                    <a:pt x="860374" y="1191"/>
                  </a:cubicBezTo>
                  <a:close/>
                  <a:moveTo>
                    <a:pt x="698449" y="1191"/>
                  </a:moveTo>
                  <a:cubicBezTo>
                    <a:pt x="743197" y="1191"/>
                    <a:pt x="765571" y="37654"/>
                    <a:pt x="765571" y="110579"/>
                  </a:cubicBezTo>
                  <a:cubicBezTo>
                    <a:pt x="765571" y="128439"/>
                    <a:pt x="763959" y="144264"/>
                    <a:pt x="760734" y="158056"/>
                  </a:cubicBezTo>
                  <a:cubicBezTo>
                    <a:pt x="757509" y="171847"/>
                    <a:pt x="752846" y="183480"/>
                    <a:pt x="746744" y="192956"/>
                  </a:cubicBezTo>
                  <a:cubicBezTo>
                    <a:pt x="740642" y="202431"/>
                    <a:pt x="733151" y="209625"/>
                    <a:pt x="724271" y="214536"/>
                  </a:cubicBezTo>
                  <a:cubicBezTo>
                    <a:pt x="715391" y="219447"/>
                    <a:pt x="705295" y="221903"/>
                    <a:pt x="693985" y="221903"/>
                  </a:cubicBezTo>
                  <a:cubicBezTo>
                    <a:pt x="683269" y="221903"/>
                    <a:pt x="673719" y="219546"/>
                    <a:pt x="665335" y="214834"/>
                  </a:cubicBezTo>
                  <a:cubicBezTo>
                    <a:pt x="656951" y="210121"/>
                    <a:pt x="649882" y="203250"/>
                    <a:pt x="644127" y="194221"/>
                  </a:cubicBezTo>
                  <a:cubicBezTo>
                    <a:pt x="638372" y="185192"/>
                    <a:pt x="634007" y="174104"/>
                    <a:pt x="631030" y="160958"/>
                  </a:cubicBezTo>
                  <a:cubicBezTo>
                    <a:pt x="628054" y="147811"/>
                    <a:pt x="626565" y="132755"/>
                    <a:pt x="626565" y="115788"/>
                  </a:cubicBezTo>
                  <a:cubicBezTo>
                    <a:pt x="626565" y="97135"/>
                    <a:pt x="628128" y="80665"/>
                    <a:pt x="631253" y="66377"/>
                  </a:cubicBezTo>
                  <a:cubicBezTo>
                    <a:pt x="634379" y="52090"/>
                    <a:pt x="638968" y="40109"/>
                    <a:pt x="645020" y="30435"/>
                  </a:cubicBezTo>
                  <a:cubicBezTo>
                    <a:pt x="651072" y="20762"/>
                    <a:pt x="658588" y="13469"/>
                    <a:pt x="667568" y="8558"/>
                  </a:cubicBezTo>
                  <a:cubicBezTo>
                    <a:pt x="676547" y="3646"/>
                    <a:pt x="686841" y="1191"/>
                    <a:pt x="698449" y="1191"/>
                  </a:cubicBezTo>
                  <a:close/>
                  <a:moveTo>
                    <a:pt x="374599" y="1191"/>
                  </a:moveTo>
                  <a:cubicBezTo>
                    <a:pt x="419347" y="1191"/>
                    <a:pt x="441721" y="37654"/>
                    <a:pt x="441721" y="110579"/>
                  </a:cubicBezTo>
                  <a:cubicBezTo>
                    <a:pt x="441721" y="128439"/>
                    <a:pt x="440109" y="144264"/>
                    <a:pt x="436884" y="158056"/>
                  </a:cubicBezTo>
                  <a:cubicBezTo>
                    <a:pt x="433659" y="171847"/>
                    <a:pt x="428996" y="183480"/>
                    <a:pt x="422894" y="192956"/>
                  </a:cubicBezTo>
                  <a:cubicBezTo>
                    <a:pt x="416792" y="202431"/>
                    <a:pt x="409301" y="209625"/>
                    <a:pt x="400421" y="214536"/>
                  </a:cubicBezTo>
                  <a:cubicBezTo>
                    <a:pt x="391541" y="219447"/>
                    <a:pt x="381445" y="221903"/>
                    <a:pt x="370135" y="221903"/>
                  </a:cubicBezTo>
                  <a:cubicBezTo>
                    <a:pt x="359419" y="221903"/>
                    <a:pt x="349869" y="219546"/>
                    <a:pt x="341485" y="214834"/>
                  </a:cubicBezTo>
                  <a:cubicBezTo>
                    <a:pt x="333101" y="210121"/>
                    <a:pt x="326032" y="203250"/>
                    <a:pt x="320277" y="194221"/>
                  </a:cubicBezTo>
                  <a:cubicBezTo>
                    <a:pt x="314522" y="185192"/>
                    <a:pt x="310157" y="174104"/>
                    <a:pt x="307180" y="160958"/>
                  </a:cubicBezTo>
                  <a:cubicBezTo>
                    <a:pt x="304204" y="147811"/>
                    <a:pt x="302715" y="132755"/>
                    <a:pt x="302715" y="115788"/>
                  </a:cubicBezTo>
                  <a:cubicBezTo>
                    <a:pt x="302715" y="97135"/>
                    <a:pt x="304278" y="80665"/>
                    <a:pt x="307403" y="66377"/>
                  </a:cubicBezTo>
                  <a:cubicBezTo>
                    <a:pt x="310529" y="52090"/>
                    <a:pt x="315118" y="40109"/>
                    <a:pt x="321170" y="30435"/>
                  </a:cubicBezTo>
                  <a:cubicBezTo>
                    <a:pt x="327222" y="20762"/>
                    <a:pt x="334738" y="13469"/>
                    <a:pt x="343718" y="8558"/>
                  </a:cubicBezTo>
                  <a:cubicBezTo>
                    <a:pt x="352697" y="3646"/>
                    <a:pt x="362991" y="1191"/>
                    <a:pt x="374599" y="1191"/>
                  </a:cubicBezTo>
                  <a:close/>
                  <a:moveTo>
                    <a:pt x="1036141" y="0"/>
                  </a:moveTo>
                  <a:lnTo>
                    <a:pt x="1045369" y="0"/>
                  </a:lnTo>
                  <a:lnTo>
                    <a:pt x="1045369" y="218182"/>
                  </a:lnTo>
                  <a:lnTo>
                    <a:pt x="1020961" y="218182"/>
                  </a:lnTo>
                  <a:lnTo>
                    <a:pt x="1020961" y="33784"/>
                  </a:lnTo>
                  <a:cubicBezTo>
                    <a:pt x="1019076" y="35669"/>
                    <a:pt x="1016323" y="37827"/>
                    <a:pt x="1012701" y="40258"/>
                  </a:cubicBezTo>
                  <a:cubicBezTo>
                    <a:pt x="1009080" y="42689"/>
                    <a:pt x="1005012" y="45095"/>
                    <a:pt x="1000497" y="47476"/>
                  </a:cubicBezTo>
                  <a:cubicBezTo>
                    <a:pt x="995983" y="49858"/>
                    <a:pt x="991220" y="52090"/>
                    <a:pt x="986210" y="54174"/>
                  </a:cubicBezTo>
                  <a:cubicBezTo>
                    <a:pt x="981199" y="56257"/>
                    <a:pt x="976312" y="57894"/>
                    <a:pt x="971550" y="59085"/>
                  </a:cubicBezTo>
                  <a:lnTo>
                    <a:pt x="971550" y="34379"/>
                  </a:lnTo>
                  <a:cubicBezTo>
                    <a:pt x="976908" y="32891"/>
                    <a:pt x="982588" y="30882"/>
                    <a:pt x="988591" y="28352"/>
                  </a:cubicBezTo>
                  <a:cubicBezTo>
                    <a:pt x="994594" y="25822"/>
                    <a:pt x="1000497" y="22994"/>
                    <a:pt x="1006301" y="19869"/>
                  </a:cubicBezTo>
                  <a:cubicBezTo>
                    <a:pt x="1012106" y="16743"/>
                    <a:pt x="1017588" y="13469"/>
                    <a:pt x="1022747" y="10046"/>
                  </a:cubicBezTo>
                  <a:cubicBezTo>
                    <a:pt x="1027906" y="6623"/>
                    <a:pt x="1032371" y="3274"/>
                    <a:pt x="1036141" y="0"/>
                  </a:cubicBezTo>
                  <a:close/>
                  <a:moveTo>
                    <a:pt x="550366" y="0"/>
                  </a:moveTo>
                  <a:lnTo>
                    <a:pt x="559594" y="0"/>
                  </a:lnTo>
                  <a:lnTo>
                    <a:pt x="559594" y="218182"/>
                  </a:lnTo>
                  <a:lnTo>
                    <a:pt x="535186" y="218182"/>
                  </a:lnTo>
                  <a:lnTo>
                    <a:pt x="535186" y="33784"/>
                  </a:lnTo>
                  <a:cubicBezTo>
                    <a:pt x="533301" y="35669"/>
                    <a:pt x="530547" y="37827"/>
                    <a:pt x="526926" y="40258"/>
                  </a:cubicBezTo>
                  <a:cubicBezTo>
                    <a:pt x="523305" y="42689"/>
                    <a:pt x="519237" y="45095"/>
                    <a:pt x="514722" y="47476"/>
                  </a:cubicBezTo>
                  <a:cubicBezTo>
                    <a:pt x="510208" y="49858"/>
                    <a:pt x="505445" y="52090"/>
                    <a:pt x="500435" y="54174"/>
                  </a:cubicBezTo>
                  <a:cubicBezTo>
                    <a:pt x="495424" y="56257"/>
                    <a:pt x="490538" y="57894"/>
                    <a:pt x="485775" y="59085"/>
                  </a:cubicBezTo>
                  <a:lnTo>
                    <a:pt x="485775" y="34379"/>
                  </a:lnTo>
                  <a:cubicBezTo>
                    <a:pt x="491133" y="32891"/>
                    <a:pt x="496813" y="30882"/>
                    <a:pt x="502816" y="28352"/>
                  </a:cubicBezTo>
                  <a:cubicBezTo>
                    <a:pt x="508819" y="25822"/>
                    <a:pt x="514722" y="22994"/>
                    <a:pt x="520526" y="19869"/>
                  </a:cubicBezTo>
                  <a:cubicBezTo>
                    <a:pt x="526331" y="16743"/>
                    <a:pt x="531813" y="13469"/>
                    <a:pt x="536972" y="10046"/>
                  </a:cubicBezTo>
                  <a:cubicBezTo>
                    <a:pt x="542131" y="6623"/>
                    <a:pt x="546596" y="3274"/>
                    <a:pt x="550366" y="0"/>
                  </a:cubicBezTo>
                  <a:close/>
                  <a:moveTo>
                    <a:pt x="226516" y="0"/>
                  </a:moveTo>
                  <a:lnTo>
                    <a:pt x="235744" y="0"/>
                  </a:lnTo>
                  <a:lnTo>
                    <a:pt x="235744" y="218182"/>
                  </a:lnTo>
                  <a:lnTo>
                    <a:pt x="211336" y="218182"/>
                  </a:lnTo>
                  <a:lnTo>
                    <a:pt x="211336" y="33784"/>
                  </a:lnTo>
                  <a:cubicBezTo>
                    <a:pt x="209451" y="35669"/>
                    <a:pt x="206697" y="37827"/>
                    <a:pt x="203076" y="40258"/>
                  </a:cubicBezTo>
                  <a:cubicBezTo>
                    <a:pt x="199454" y="42689"/>
                    <a:pt x="195387" y="45095"/>
                    <a:pt x="190872" y="47476"/>
                  </a:cubicBezTo>
                  <a:cubicBezTo>
                    <a:pt x="186358" y="49858"/>
                    <a:pt x="181595" y="52090"/>
                    <a:pt x="176585" y="54174"/>
                  </a:cubicBezTo>
                  <a:cubicBezTo>
                    <a:pt x="171574" y="56257"/>
                    <a:pt x="166687" y="57894"/>
                    <a:pt x="161925" y="59085"/>
                  </a:cubicBezTo>
                  <a:lnTo>
                    <a:pt x="161925" y="34379"/>
                  </a:lnTo>
                  <a:cubicBezTo>
                    <a:pt x="167283" y="32891"/>
                    <a:pt x="172963" y="30882"/>
                    <a:pt x="178966" y="28352"/>
                  </a:cubicBezTo>
                  <a:cubicBezTo>
                    <a:pt x="184969" y="25822"/>
                    <a:pt x="190872" y="22994"/>
                    <a:pt x="196676" y="19869"/>
                  </a:cubicBezTo>
                  <a:cubicBezTo>
                    <a:pt x="202481" y="16743"/>
                    <a:pt x="207962" y="13469"/>
                    <a:pt x="213122" y="10046"/>
                  </a:cubicBezTo>
                  <a:cubicBezTo>
                    <a:pt x="218281" y="6623"/>
                    <a:pt x="222746" y="3274"/>
                    <a:pt x="226516" y="0"/>
                  </a:cubicBezTo>
                  <a:close/>
                  <a:moveTo>
                    <a:pt x="64591" y="0"/>
                  </a:moveTo>
                  <a:lnTo>
                    <a:pt x="73819" y="0"/>
                  </a:lnTo>
                  <a:lnTo>
                    <a:pt x="73819" y="218182"/>
                  </a:lnTo>
                  <a:lnTo>
                    <a:pt x="49411" y="218182"/>
                  </a:lnTo>
                  <a:lnTo>
                    <a:pt x="49411" y="33784"/>
                  </a:lnTo>
                  <a:cubicBezTo>
                    <a:pt x="47526" y="35669"/>
                    <a:pt x="44772" y="37827"/>
                    <a:pt x="41151" y="40258"/>
                  </a:cubicBezTo>
                  <a:cubicBezTo>
                    <a:pt x="37529" y="42689"/>
                    <a:pt x="33461" y="45095"/>
                    <a:pt x="28947" y="47476"/>
                  </a:cubicBezTo>
                  <a:cubicBezTo>
                    <a:pt x="24433" y="49858"/>
                    <a:pt x="19670" y="52090"/>
                    <a:pt x="14660" y="54174"/>
                  </a:cubicBezTo>
                  <a:cubicBezTo>
                    <a:pt x="9649" y="56257"/>
                    <a:pt x="4762" y="57894"/>
                    <a:pt x="0" y="59085"/>
                  </a:cubicBezTo>
                  <a:lnTo>
                    <a:pt x="0" y="34379"/>
                  </a:lnTo>
                  <a:cubicBezTo>
                    <a:pt x="5358" y="32891"/>
                    <a:pt x="11038" y="30882"/>
                    <a:pt x="17041" y="28352"/>
                  </a:cubicBezTo>
                  <a:cubicBezTo>
                    <a:pt x="23044" y="25822"/>
                    <a:pt x="28947" y="22994"/>
                    <a:pt x="34751" y="19869"/>
                  </a:cubicBezTo>
                  <a:cubicBezTo>
                    <a:pt x="40556" y="16743"/>
                    <a:pt x="46037" y="13469"/>
                    <a:pt x="51197" y="10046"/>
                  </a:cubicBezTo>
                  <a:cubicBezTo>
                    <a:pt x="56356" y="6623"/>
                    <a:pt x="60821" y="3274"/>
                    <a:pt x="64591" y="0"/>
                  </a:cubicBezTo>
                  <a:close/>
                </a:path>
              </a:pathLst>
            </a:cu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5439">
                      <a:srgbClr val="F8F8F8"/>
                    </a:gs>
                    <a:gs pos="10000">
                      <a:srgbClr val="F8F8F8"/>
                    </a:gs>
                  </a:gsLst>
                  <a:lin ang="5400000" scaled="0"/>
                </a:gradFill>
                <a:effectLst/>
                <a:uLnTx/>
                <a:uFillTx/>
              </a:endParaRPr>
            </a:p>
          </p:txBody>
        </p:sp>
        <p:sp>
          <p:nvSpPr>
            <p:cNvPr id="525" name="Freeform: Shape 524"/>
            <p:cNvSpPr/>
            <p:nvPr/>
          </p:nvSpPr>
          <p:spPr bwMode="auto">
            <a:xfrm>
              <a:off x="6743256" y="3259206"/>
              <a:ext cx="684188" cy="139362"/>
            </a:xfrm>
            <a:custGeom>
              <a:avLst/>
              <a:gdLst>
                <a:gd name="connsiteX0" fmla="*/ 1021109 w 1089421"/>
                <a:gd name="connsiteY0" fmla="*/ 21878 h 221903"/>
                <a:gd name="connsiteX1" fmla="*/ 975419 w 1089421"/>
                <a:gd name="connsiteY1" fmla="*/ 114598 h 221903"/>
                <a:gd name="connsiteX2" fmla="*/ 1020216 w 1089421"/>
                <a:gd name="connsiteY2" fmla="*/ 201067 h 221903"/>
                <a:gd name="connsiteX3" fmla="*/ 1064418 w 1089421"/>
                <a:gd name="connsiteY3" fmla="*/ 112961 h 221903"/>
                <a:gd name="connsiteX4" fmla="*/ 1021109 w 1089421"/>
                <a:gd name="connsiteY4" fmla="*/ 21878 h 221903"/>
                <a:gd name="connsiteX5" fmla="*/ 697259 w 1089421"/>
                <a:gd name="connsiteY5" fmla="*/ 21878 h 221903"/>
                <a:gd name="connsiteX6" fmla="*/ 651569 w 1089421"/>
                <a:gd name="connsiteY6" fmla="*/ 114598 h 221903"/>
                <a:gd name="connsiteX7" fmla="*/ 696366 w 1089421"/>
                <a:gd name="connsiteY7" fmla="*/ 201067 h 221903"/>
                <a:gd name="connsiteX8" fmla="*/ 740568 w 1089421"/>
                <a:gd name="connsiteY8" fmla="*/ 112961 h 221903"/>
                <a:gd name="connsiteX9" fmla="*/ 697259 w 1089421"/>
                <a:gd name="connsiteY9" fmla="*/ 21878 h 221903"/>
                <a:gd name="connsiteX10" fmla="*/ 373409 w 1089421"/>
                <a:gd name="connsiteY10" fmla="*/ 21878 h 221903"/>
                <a:gd name="connsiteX11" fmla="*/ 327719 w 1089421"/>
                <a:gd name="connsiteY11" fmla="*/ 114598 h 221903"/>
                <a:gd name="connsiteX12" fmla="*/ 372516 w 1089421"/>
                <a:gd name="connsiteY12" fmla="*/ 201067 h 221903"/>
                <a:gd name="connsiteX13" fmla="*/ 416718 w 1089421"/>
                <a:gd name="connsiteY13" fmla="*/ 112961 h 221903"/>
                <a:gd name="connsiteX14" fmla="*/ 373409 w 1089421"/>
                <a:gd name="connsiteY14" fmla="*/ 21878 h 221903"/>
                <a:gd name="connsiteX15" fmla="*/ 1022299 w 1089421"/>
                <a:gd name="connsiteY15" fmla="*/ 1191 h 221903"/>
                <a:gd name="connsiteX16" fmla="*/ 1089421 w 1089421"/>
                <a:gd name="connsiteY16" fmla="*/ 110579 h 221903"/>
                <a:gd name="connsiteX17" fmla="*/ 1084584 w 1089421"/>
                <a:gd name="connsiteY17" fmla="*/ 158056 h 221903"/>
                <a:gd name="connsiteX18" fmla="*/ 1070594 w 1089421"/>
                <a:gd name="connsiteY18" fmla="*/ 192956 h 221903"/>
                <a:gd name="connsiteX19" fmla="*/ 1048121 w 1089421"/>
                <a:gd name="connsiteY19" fmla="*/ 214536 h 221903"/>
                <a:gd name="connsiteX20" fmla="*/ 1017835 w 1089421"/>
                <a:gd name="connsiteY20" fmla="*/ 221903 h 221903"/>
                <a:gd name="connsiteX21" fmla="*/ 989185 w 1089421"/>
                <a:gd name="connsiteY21" fmla="*/ 214834 h 221903"/>
                <a:gd name="connsiteX22" fmla="*/ 967977 w 1089421"/>
                <a:gd name="connsiteY22" fmla="*/ 194221 h 221903"/>
                <a:gd name="connsiteX23" fmla="*/ 954880 w 1089421"/>
                <a:gd name="connsiteY23" fmla="*/ 160958 h 221903"/>
                <a:gd name="connsiteX24" fmla="*/ 950415 w 1089421"/>
                <a:gd name="connsiteY24" fmla="*/ 115788 h 221903"/>
                <a:gd name="connsiteX25" fmla="*/ 955103 w 1089421"/>
                <a:gd name="connsiteY25" fmla="*/ 66377 h 221903"/>
                <a:gd name="connsiteX26" fmla="*/ 968870 w 1089421"/>
                <a:gd name="connsiteY26" fmla="*/ 30435 h 221903"/>
                <a:gd name="connsiteX27" fmla="*/ 991418 w 1089421"/>
                <a:gd name="connsiteY27" fmla="*/ 8558 h 221903"/>
                <a:gd name="connsiteX28" fmla="*/ 1022299 w 1089421"/>
                <a:gd name="connsiteY28" fmla="*/ 1191 h 221903"/>
                <a:gd name="connsiteX29" fmla="*/ 698449 w 1089421"/>
                <a:gd name="connsiteY29" fmla="*/ 1191 h 221903"/>
                <a:gd name="connsiteX30" fmla="*/ 765571 w 1089421"/>
                <a:gd name="connsiteY30" fmla="*/ 110579 h 221903"/>
                <a:gd name="connsiteX31" fmla="*/ 760734 w 1089421"/>
                <a:gd name="connsiteY31" fmla="*/ 158056 h 221903"/>
                <a:gd name="connsiteX32" fmla="*/ 746744 w 1089421"/>
                <a:gd name="connsiteY32" fmla="*/ 192956 h 221903"/>
                <a:gd name="connsiteX33" fmla="*/ 724271 w 1089421"/>
                <a:gd name="connsiteY33" fmla="*/ 214536 h 221903"/>
                <a:gd name="connsiteX34" fmla="*/ 693985 w 1089421"/>
                <a:gd name="connsiteY34" fmla="*/ 221903 h 221903"/>
                <a:gd name="connsiteX35" fmla="*/ 665335 w 1089421"/>
                <a:gd name="connsiteY35" fmla="*/ 214834 h 221903"/>
                <a:gd name="connsiteX36" fmla="*/ 644127 w 1089421"/>
                <a:gd name="connsiteY36" fmla="*/ 194221 h 221903"/>
                <a:gd name="connsiteX37" fmla="*/ 631030 w 1089421"/>
                <a:gd name="connsiteY37" fmla="*/ 160958 h 221903"/>
                <a:gd name="connsiteX38" fmla="*/ 626565 w 1089421"/>
                <a:gd name="connsiteY38" fmla="*/ 115788 h 221903"/>
                <a:gd name="connsiteX39" fmla="*/ 631253 w 1089421"/>
                <a:gd name="connsiteY39" fmla="*/ 66377 h 221903"/>
                <a:gd name="connsiteX40" fmla="*/ 645020 w 1089421"/>
                <a:gd name="connsiteY40" fmla="*/ 30435 h 221903"/>
                <a:gd name="connsiteX41" fmla="*/ 667568 w 1089421"/>
                <a:gd name="connsiteY41" fmla="*/ 8558 h 221903"/>
                <a:gd name="connsiteX42" fmla="*/ 698449 w 1089421"/>
                <a:gd name="connsiteY42" fmla="*/ 1191 h 221903"/>
                <a:gd name="connsiteX43" fmla="*/ 374599 w 1089421"/>
                <a:gd name="connsiteY43" fmla="*/ 1191 h 221903"/>
                <a:gd name="connsiteX44" fmla="*/ 441721 w 1089421"/>
                <a:gd name="connsiteY44" fmla="*/ 110579 h 221903"/>
                <a:gd name="connsiteX45" fmla="*/ 436884 w 1089421"/>
                <a:gd name="connsiteY45" fmla="*/ 158056 h 221903"/>
                <a:gd name="connsiteX46" fmla="*/ 422894 w 1089421"/>
                <a:gd name="connsiteY46" fmla="*/ 192956 h 221903"/>
                <a:gd name="connsiteX47" fmla="*/ 400421 w 1089421"/>
                <a:gd name="connsiteY47" fmla="*/ 214536 h 221903"/>
                <a:gd name="connsiteX48" fmla="*/ 370135 w 1089421"/>
                <a:gd name="connsiteY48" fmla="*/ 221903 h 221903"/>
                <a:gd name="connsiteX49" fmla="*/ 341485 w 1089421"/>
                <a:gd name="connsiteY49" fmla="*/ 214834 h 221903"/>
                <a:gd name="connsiteX50" fmla="*/ 320277 w 1089421"/>
                <a:gd name="connsiteY50" fmla="*/ 194221 h 221903"/>
                <a:gd name="connsiteX51" fmla="*/ 307180 w 1089421"/>
                <a:gd name="connsiteY51" fmla="*/ 160958 h 221903"/>
                <a:gd name="connsiteX52" fmla="*/ 302715 w 1089421"/>
                <a:gd name="connsiteY52" fmla="*/ 115788 h 221903"/>
                <a:gd name="connsiteX53" fmla="*/ 307403 w 1089421"/>
                <a:gd name="connsiteY53" fmla="*/ 66377 h 221903"/>
                <a:gd name="connsiteX54" fmla="*/ 321170 w 1089421"/>
                <a:gd name="connsiteY54" fmla="*/ 30435 h 221903"/>
                <a:gd name="connsiteX55" fmla="*/ 343718 w 1089421"/>
                <a:gd name="connsiteY55" fmla="*/ 8558 h 221903"/>
                <a:gd name="connsiteX56" fmla="*/ 374599 w 1089421"/>
                <a:gd name="connsiteY56" fmla="*/ 1191 h 221903"/>
                <a:gd name="connsiteX57" fmla="*/ 874216 w 1089421"/>
                <a:gd name="connsiteY57" fmla="*/ 0 h 221903"/>
                <a:gd name="connsiteX58" fmla="*/ 883444 w 1089421"/>
                <a:gd name="connsiteY58" fmla="*/ 0 h 221903"/>
                <a:gd name="connsiteX59" fmla="*/ 883444 w 1089421"/>
                <a:gd name="connsiteY59" fmla="*/ 218182 h 221903"/>
                <a:gd name="connsiteX60" fmla="*/ 859036 w 1089421"/>
                <a:gd name="connsiteY60" fmla="*/ 218182 h 221903"/>
                <a:gd name="connsiteX61" fmla="*/ 859036 w 1089421"/>
                <a:gd name="connsiteY61" fmla="*/ 33784 h 221903"/>
                <a:gd name="connsiteX62" fmla="*/ 850776 w 1089421"/>
                <a:gd name="connsiteY62" fmla="*/ 40258 h 221903"/>
                <a:gd name="connsiteX63" fmla="*/ 838572 w 1089421"/>
                <a:gd name="connsiteY63" fmla="*/ 47476 h 221903"/>
                <a:gd name="connsiteX64" fmla="*/ 824285 w 1089421"/>
                <a:gd name="connsiteY64" fmla="*/ 54174 h 221903"/>
                <a:gd name="connsiteX65" fmla="*/ 809625 w 1089421"/>
                <a:gd name="connsiteY65" fmla="*/ 59085 h 221903"/>
                <a:gd name="connsiteX66" fmla="*/ 809625 w 1089421"/>
                <a:gd name="connsiteY66" fmla="*/ 34379 h 221903"/>
                <a:gd name="connsiteX67" fmla="*/ 826666 w 1089421"/>
                <a:gd name="connsiteY67" fmla="*/ 28352 h 221903"/>
                <a:gd name="connsiteX68" fmla="*/ 844376 w 1089421"/>
                <a:gd name="connsiteY68" fmla="*/ 19869 h 221903"/>
                <a:gd name="connsiteX69" fmla="*/ 860822 w 1089421"/>
                <a:gd name="connsiteY69" fmla="*/ 10046 h 221903"/>
                <a:gd name="connsiteX70" fmla="*/ 874216 w 1089421"/>
                <a:gd name="connsiteY70" fmla="*/ 0 h 221903"/>
                <a:gd name="connsiteX71" fmla="*/ 550366 w 1089421"/>
                <a:gd name="connsiteY71" fmla="*/ 0 h 221903"/>
                <a:gd name="connsiteX72" fmla="*/ 559594 w 1089421"/>
                <a:gd name="connsiteY72" fmla="*/ 0 h 221903"/>
                <a:gd name="connsiteX73" fmla="*/ 559594 w 1089421"/>
                <a:gd name="connsiteY73" fmla="*/ 218182 h 221903"/>
                <a:gd name="connsiteX74" fmla="*/ 535186 w 1089421"/>
                <a:gd name="connsiteY74" fmla="*/ 218182 h 221903"/>
                <a:gd name="connsiteX75" fmla="*/ 535186 w 1089421"/>
                <a:gd name="connsiteY75" fmla="*/ 33784 h 221903"/>
                <a:gd name="connsiteX76" fmla="*/ 526926 w 1089421"/>
                <a:gd name="connsiteY76" fmla="*/ 40258 h 221903"/>
                <a:gd name="connsiteX77" fmla="*/ 514722 w 1089421"/>
                <a:gd name="connsiteY77" fmla="*/ 47476 h 221903"/>
                <a:gd name="connsiteX78" fmla="*/ 500435 w 1089421"/>
                <a:gd name="connsiteY78" fmla="*/ 54174 h 221903"/>
                <a:gd name="connsiteX79" fmla="*/ 485775 w 1089421"/>
                <a:gd name="connsiteY79" fmla="*/ 59085 h 221903"/>
                <a:gd name="connsiteX80" fmla="*/ 485775 w 1089421"/>
                <a:gd name="connsiteY80" fmla="*/ 34379 h 221903"/>
                <a:gd name="connsiteX81" fmla="*/ 502816 w 1089421"/>
                <a:gd name="connsiteY81" fmla="*/ 28352 h 221903"/>
                <a:gd name="connsiteX82" fmla="*/ 520526 w 1089421"/>
                <a:gd name="connsiteY82" fmla="*/ 19869 h 221903"/>
                <a:gd name="connsiteX83" fmla="*/ 536972 w 1089421"/>
                <a:gd name="connsiteY83" fmla="*/ 10046 h 221903"/>
                <a:gd name="connsiteX84" fmla="*/ 550366 w 1089421"/>
                <a:gd name="connsiteY84" fmla="*/ 0 h 221903"/>
                <a:gd name="connsiteX85" fmla="*/ 226516 w 1089421"/>
                <a:gd name="connsiteY85" fmla="*/ 0 h 221903"/>
                <a:gd name="connsiteX86" fmla="*/ 235744 w 1089421"/>
                <a:gd name="connsiteY86" fmla="*/ 0 h 221903"/>
                <a:gd name="connsiteX87" fmla="*/ 235744 w 1089421"/>
                <a:gd name="connsiteY87" fmla="*/ 218182 h 221903"/>
                <a:gd name="connsiteX88" fmla="*/ 211336 w 1089421"/>
                <a:gd name="connsiteY88" fmla="*/ 218182 h 221903"/>
                <a:gd name="connsiteX89" fmla="*/ 211336 w 1089421"/>
                <a:gd name="connsiteY89" fmla="*/ 33784 h 221903"/>
                <a:gd name="connsiteX90" fmla="*/ 203076 w 1089421"/>
                <a:gd name="connsiteY90" fmla="*/ 40258 h 221903"/>
                <a:gd name="connsiteX91" fmla="*/ 190872 w 1089421"/>
                <a:gd name="connsiteY91" fmla="*/ 47476 h 221903"/>
                <a:gd name="connsiteX92" fmla="*/ 176585 w 1089421"/>
                <a:gd name="connsiteY92" fmla="*/ 54174 h 221903"/>
                <a:gd name="connsiteX93" fmla="*/ 161925 w 1089421"/>
                <a:gd name="connsiteY93" fmla="*/ 59085 h 221903"/>
                <a:gd name="connsiteX94" fmla="*/ 161925 w 1089421"/>
                <a:gd name="connsiteY94" fmla="*/ 34379 h 221903"/>
                <a:gd name="connsiteX95" fmla="*/ 178966 w 1089421"/>
                <a:gd name="connsiteY95" fmla="*/ 28352 h 221903"/>
                <a:gd name="connsiteX96" fmla="*/ 196676 w 1089421"/>
                <a:gd name="connsiteY96" fmla="*/ 19869 h 221903"/>
                <a:gd name="connsiteX97" fmla="*/ 213122 w 1089421"/>
                <a:gd name="connsiteY97" fmla="*/ 10046 h 221903"/>
                <a:gd name="connsiteX98" fmla="*/ 226516 w 1089421"/>
                <a:gd name="connsiteY98" fmla="*/ 0 h 221903"/>
                <a:gd name="connsiteX99" fmla="*/ 64591 w 1089421"/>
                <a:gd name="connsiteY99" fmla="*/ 0 h 221903"/>
                <a:gd name="connsiteX100" fmla="*/ 73819 w 1089421"/>
                <a:gd name="connsiteY100" fmla="*/ 0 h 221903"/>
                <a:gd name="connsiteX101" fmla="*/ 73819 w 1089421"/>
                <a:gd name="connsiteY101" fmla="*/ 218182 h 221903"/>
                <a:gd name="connsiteX102" fmla="*/ 49411 w 1089421"/>
                <a:gd name="connsiteY102" fmla="*/ 218182 h 221903"/>
                <a:gd name="connsiteX103" fmla="*/ 49411 w 1089421"/>
                <a:gd name="connsiteY103" fmla="*/ 33784 h 221903"/>
                <a:gd name="connsiteX104" fmla="*/ 41151 w 1089421"/>
                <a:gd name="connsiteY104" fmla="*/ 40258 h 221903"/>
                <a:gd name="connsiteX105" fmla="*/ 28947 w 1089421"/>
                <a:gd name="connsiteY105" fmla="*/ 47476 h 221903"/>
                <a:gd name="connsiteX106" fmla="*/ 14660 w 1089421"/>
                <a:gd name="connsiteY106" fmla="*/ 54174 h 221903"/>
                <a:gd name="connsiteX107" fmla="*/ 0 w 1089421"/>
                <a:gd name="connsiteY107" fmla="*/ 59085 h 221903"/>
                <a:gd name="connsiteX108" fmla="*/ 0 w 1089421"/>
                <a:gd name="connsiteY108" fmla="*/ 34379 h 221903"/>
                <a:gd name="connsiteX109" fmla="*/ 17041 w 1089421"/>
                <a:gd name="connsiteY109" fmla="*/ 28352 h 221903"/>
                <a:gd name="connsiteX110" fmla="*/ 34751 w 1089421"/>
                <a:gd name="connsiteY110" fmla="*/ 19869 h 221903"/>
                <a:gd name="connsiteX111" fmla="*/ 51197 w 1089421"/>
                <a:gd name="connsiteY111" fmla="*/ 10046 h 221903"/>
                <a:gd name="connsiteX112" fmla="*/ 64591 w 1089421"/>
                <a:gd name="connsiteY112" fmla="*/ 0 h 2219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Lst>
              <a:rect l="l" t="t" r="r" b="b"/>
              <a:pathLst>
                <a:path w="1089421" h="221903">
                  <a:moveTo>
                    <a:pt x="1021109" y="21878"/>
                  </a:moveTo>
                  <a:cubicBezTo>
                    <a:pt x="990649" y="21878"/>
                    <a:pt x="975419" y="52784"/>
                    <a:pt x="975419" y="114598"/>
                  </a:cubicBezTo>
                  <a:cubicBezTo>
                    <a:pt x="975419" y="172244"/>
                    <a:pt x="990351" y="201067"/>
                    <a:pt x="1020216" y="201067"/>
                  </a:cubicBezTo>
                  <a:cubicBezTo>
                    <a:pt x="1049684" y="201067"/>
                    <a:pt x="1064418" y="171698"/>
                    <a:pt x="1064418" y="112961"/>
                  </a:cubicBezTo>
                  <a:cubicBezTo>
                    <a:pt x="1064418" y="52239"/>
                    <a:pt x="1049981" y="21878"/>
                    <a:pt x="1021109" y="21878"/>
                  </a:cubicBezTo>
                  <a:close/>
                  <a:moveTo>
                    <a:pt x="697259" y="21878"/>
                  </a:moveTo>
                  <a:cubicBezTo>
                    <a:pt x="666799" y="21878"/>
                    <a:pt x="651569" y="52784"/>
                    <a:pt x="651569" y="114598"/>
                  </a:cubicBezTo>
                  <a:cubicBezTo>
                    <a:pt x="651569" y="172244"/>
                    <a:pt x="666501" y="201067"/>
                    <a:pt x="696366" y="201067"/>
                  </a:cubicBezTo>
                  <a:cubicBezTo>
                    <a:pt x="725834" y="201067"/>
                    <a:pt x="740568" y="171698"/>
                    <a:pt x="740568" y="112961"/>
                  </a:cubicBezTo>
                  <a:cubicBezTo>
                    <a:pt x="740568" y="52239"/>
                    <a:pt x="726131" y="21878"/>
                    <a:pt x="697259" y="21878"/>
                  </a:cubicBezTo>
                  <a:close/>
                  <a:moveTo>
                    <a:pt x="373409" y="21878"/>
                  </a:moveTo>
                  <a:cubicBezTo>
                    <a:pt x="342949" y="21878"/>
                    <a:pt x="327719" y="52784"/>
                    <a:pt x="327719" y="114598"/>
                  </a:cubicBezTo>
                  <a:cubicBezTo>
                    <a:pt x="327719" y="172244"/>
                    <a:pt x="342651" y="201067"/>
                    <a:pt x="372516" y="201067"/>
                  </a:cubicBezTo>
                  <a:cubicBezTo>
                    <a:pt x="401984" y="201067"/>
                    <a:pt x="416718" y="171698"/>
                    <a:pt x="416718" y="112961"/>
                  </a:cubicBezTo>
                  <a:cubicBezTo>
                    <a:pt x="416718" y="52239"/>
                    <a:pt x="402281" y="21878"/>
                    <a:pt x="373409" y="21878"/>
                  </a:cubicBezTo>
                  <a:close/>
                  <a:moveTo>
                    <a:pt x="1022299" y="1191"/>
                  </a:moveTo>
                  <a:cubicBezTo>
                    <a:pt x="1067047" y="1191"/>
                    <a:pt x="1089421" y="37654"/>
                    <a:pt x="1089421" y="110579"/>
                  </a:cubicBezTo>
                  <a:cubicBezTo>
                    <a:pt x="1089421" y="128439"/>
                    <a:pt x="1087809" y="144264"/>
                    <a:pt x="1084584" y="158056"/>
                  </a:cubicBezTo>
                  <a:cubicBezTo>
                    <a:pt x="1081359" y="171847"/>
                    <a:pt x="1076696" y="183480"/>
                    <a:pt x="1070594" y="192956"/>
                  </a:cubicBezTo>
                  <a:cubicBezTo>
                    <a:pt x="1064492" y="202431"/>
                    <a:pt x="1057001" y="209625"/>
                    <a:pt x="1048121" y="214536"/>
                  </a:cubicBezTo>
                  <a:cubicBezTo>
                    <a:pt x="1039241" y="219447"/>
                    <a:pt x="1029145" y="221903"/>
                    <a:pt x="1017835" y="221903"/>
                  </a:cubicBezTo>
                  <a:cubicBezTo>
                    <a:pt x="1007119" y="221903"/>
                    <a:pt x="997569" y="219546"/>
                    <a:pt x="989185" y="214834"/>
                  </a:cubicBezTo>
                  <a:cubicBezTo>
                    <a:pt x="980801" y="210121"/>
                    <a:pt x="973732" y="203250"/>
                    <a:pt x="967977" y="194221"/>
                  </a:cubicBezTo>
                  <a:cubicBezTo>
                    <a:pt x="962222" y="185192"/>
                    <a:pt x="957857" y="174104"/>
                    <a:pt x="954880" y="160958"/>
                  </a:cubicBezTo>
                  <a:cubicBezTo>
                    <a:pt x="951904" y="147811"/>
                    <a:pt x="950415" y="132755"/>
                    <a:pt x="950415" y="115788"/>
                  </a:cubicBezTo>
                  <a:cubicBezTo>
                    <a:pt x="950415" y="97135"/>
                    <a:pt x="951978" y="80665"/>
                    <a:pt x="955103" y="66377"/>
                  </a:cubicBezTo>
                  <a:cubicBezTo>
                    <a:pt x="958229" y="52090"/>
                    <a:pt x="962818" y="40109"/>
                    <a:pt x="968870" y="30435"/>
                  </a:cubicBezTo>
                  <a:cubicBezTo>
                    <a:pt x="974922" y="20762"/>
                    <a:pt x="982438" y="13469"/>
                    <a:pt x="991418" y="8558"/>
                  </a:cubicBezTo>
                  <a:cubicBezTo>
                    <a:pt x="1000397" y="3646"/>
                    <a:pt x="1010691" y="1191"/>
                    <a:pt x="1022299" y="1191"/>
                  </a:cubicBezTo>
                  <a:close/>
                  <a:moveTo>
                    <a:pt x="698449" y="1191"/>
                  </a:moveTo>
                  <a:cubicBezTo>
                    <a:pt x="743197" y="1191"/>
                    <a:pt x="765571" y="37654"/>
                    <a:pt x="765571" y="110579"/>
                  </a:cubicBezTo>
                  <a:cubicBezTo>
                    <a:pt x="765571" y="128439"/>
                    <a:pt x="763959" y="144264"/>
                    <a:pt x="760734" y="158056"/>
                  </a:cubicBezTo>
                  <a:cubicBezTo>
                    <a:pt x="757509" y="171847"/>
                    <a:pt x="752846" y="183480"/>
                    <a:pt x="746744" y="192956"/>
                  </a:cubicBezTo>
                  <a:cubicBezTo>
                    <a:pt x="740642" y="202431"/>
                    <a:pt x="733151" y="209625"/>
                    <a:pt x="724271" y="214536"/>
                  </a:cubicBezTo>
                  <a:cubicBezTo>
                    <a:pt x="715391" y="219447"/>
                    <a:pt x="705295" y="221903"/>
                    <a:pt x="693985" y="221903"/>
                  </a:cubicBezTo>
                  <a:cubicBezTo>
                    <a:pt x="683269" y="221903"/>
                    <a:pt x="673719" y="219546"/>
                    <a:pt x="665335" y="214834"/>
                  </a:cubicBezTo>
                  <a:cubicBezTo>
                    <a:pt x="656951" y="210121"/>
                    <a:pt x="649882" y="203250"/>
                    <a:pt x="644127" y="194221"/>
                  </a:cubicBezTo>
                  <a:cubicBezTo>
                    <a:pt x="638372" y="185192"/>
                    <a:pt x="634007" y="174104"/>
                    <a:pt x="631030" y="160958"/>
                  </a:cubicBezTo>
                  <a:cubicBezTo>
                    <a:pt x="628054" y="147811"/>
                    <a:pt x="626565" y="132755"/>
                    <a:pt x="626565" y="115788"/>
                  </a:cubicBezTo>
                  <a:cubicBezTo>
                    <a:pt x="626565" y="97135"/>
                    <a:pt x="628128" y="80665"/>
                    <a:pt x="631253" y="66377"/>
                  </a:cubicBezTo>
                  <a:cubicBezTo>
                    <a:pt x="634379" y="52090"/>
                    <a:pt x="638968" y="40109"/>
                    <a:pt x="645020" y="30435"/>
                  </a:cubicBezTo>
                  <a:cubicBezTo>
                    <a:pt x="651072" y="20762"/>
                    <a:pt x="658588" y="13469"/>
                    <a:pt x="667568" y="8558"/>
                  </a:cubicBezTo>
                  <a:cubicBezTo>
                    <a:pt x="676547" y="3646"/>
                    <a:pt x="686841" y="1191"/>
                    <a:pt x="698449" y="1191"/>
                  </a:cubicBezTo>
                  <a:close/>
                  <a:moveTo>
                    <a:pt x="374599" y="1191"/>
                  </a:moveTo>
                  <a:cubicBezTo>
                    <a:pt x="419347" y="1191"/>
                    <a:pt x="441721" y="37654"/>
                    <a:pt x="441721" y="110579"/>
                  </a:cubicBezTo>
                  <a:cubicBezTo>
                    <a:pt x="441721" y="128439"/>
                    <a:pt x="440109" y="144264"/>
                    <a:pt x="436884" y="158056"/>
                  </a:cubicBezTo>
                  <a:cubicBezTo>
                    <a:pt x="433659" y="171847"/>
                    <a:pt x="428996" y="183480"/>
                    <a:pt x="422894" y="192956"/>
                  </a:cubicBezTo>
                  <a:cubicBezTo>
                    <a:pt x="416792" y="202431"/>
                    <a:pt x="409301" y="209625"/>
                    <a:pt x="400421" y="214536"/>
                  </a:cubicBezTo>
                  <a:cubicBezTo>
                    <a:pt x="391541" y="219447"/>
                    <a:pt x="381445" y="221903"/>
                    <a:pt x="370135" y="221903"/>
                  </a:cubicBezTo>
                  <a:cubicBezTo>
                    <a:pt x="359419" y="221903"/>
                    <a:pt x="349869" y="219546"/>
                    <a:pt x="341485" y="214834"/>
                  </a:cubicBezTo>
                  <a:cubicBezTo>
                    <a:pt x="333101" y="210121"/>
                    <a:pt x="326032" y="203250"/>
                    <a:pt x="320277" y="194221"/>
                  </a:cubicBezTo>
                  <a:cubicBezTo>
                    <a:pt x="314522" y="185192"/>
                    <a:pt x="310157" y="174104"/>
                    <a:pt x="307180" y="160958"/>
                  </a:cubicBezTo>
                  <a:cubicBezTo>
                    <a:pt x="304204" y="147811"/>
                    <a:pt x="302715" y="132755"/>
                    <a:pt x="302715" y="115788"/>
                  </a:cubicBezTo>
                  <a:cubicBezTo>
                    <a:pt x="302715" y="97135"/>
                    <a:pt x="304278" y="80665"/>
                    <a:pt x="307403" y="66377"/>
                  </a:cubicBezTo>
                  <a:cubicBezTo>
                    <a:pt x="310529" y="52090"/>
                    <a:pt x="315118" y="40109"/>
                    <a:pt x="321170" y="30435"/>
                  </a:cubicBezTo>
                  <a:cubicBezTo>
                    <a:pt x="327222" y="20762"/>
                    <a:pt x="334738" y="13469"/>
                    <a:pt x="343718" y="8558"/>
                  </a:cubicBezTo>
                  <a:cubicBezTo>
                    <a:pt x="352697" y="3646"/>
                    <a:pt x="362991" y="1191"/>
                    <a:pt x="374599" y="1191"/>
                  </a:cubicBezTo>
                  <a:close/>
                  <a:moveTo>
                    <a:pt x="874216" y="0"/>
                  </a:moveTo>
                  <a:lnTo>
                    <a:pt x="883444" y="0"/>
                  </a:lnTo>
                  <a:lnTo>
                    <a:pt x="883444" y="218182"/>
                  </a:lnTo>
                  <a:lnTo>
                    <a:pt x="859036" y="218182"/>
                  </a:lnTo>
                  <a:lnTo>
                    <a:pt x="859036" y="33784"/>
                  </a:lnTo>
                  <a:cubicBezTo>
                    <a:pt x="857151" y="35669"/>
                    <a:pt x="854397" y="37827"/>
                    <a:pt x="850776" y="40258"/>
                  </a:cubicBezTo>
                  <a:cubicBezTo>
                    <a:pt x="847154" y="42689"/>
                    <a:pt x="843087" y="45095"/>
                    <a:pt x="838572" y="47476"/>
                  </a:cubicBezTo>
                  <a:cubicBezTo>
                    <a:pt x="834058" y="49858"/>
                    <a:pt x="829295" y="52090"/>
                    <a:pt x="824285" y="54174"/>
                  </a:cubicBezTo>
                  <a:cubicBezTo>
                    <a:pt x="819274" y="56257"/>
                    <a:pt x="814388" y="57894"/>
                    <a:pt x="809625" y="59085"/>
                  </a:cubicBezTo>
                  <a:lnTo>
                    <a:pt x="809625" y="34379"/>
                  </a:lnTo>
                  <a:cubicBezTo>
                    <a:pt x="814983" y="32891"/>
                    <a:pt x="820663" y="30882"/>
                    <a:pt x="826666" y="28352"/>
                  </a:cubicBezTo>
                  <a:cubicBezTo>
                    <a:pt x="832669" y="25822"/>
                    <a:pt x="838572" y="22994"/>
                    <a:pt x="844376" y="19869"/>
                  </a:cubicBezTo>
                  <a:cubicBezTo>
                    <a:pt x="850181" y="16743"/>
                    <a:pt x="855662" y="13469"/>
                    <a:pt x="860822" y="10046"/>
                  </a:cubicBezTo>
                  <a:cubicBezTo>
                    <a:pt x="865981" y="6623"/>
                    <a:pt x="870446" y="3274"/>
                    <a:pt x="874216" y="0"/>
                  </a:cubicBezTo>
                  <a:close/>
                  <a:moveTo>
                    <a:pt x="550366" y="0"/>
                  </a:moveTo>
                  <a:lnTo>
                    <a:pt x="559594" y="0"/>
                  </a:lnTo>
                  <a:lnTo>
                    <a:pt x="559594" y="218182"/>
                  </a:lnTo>
                  <a:lnTo>
                    <a:pt x="535186" y="218182"/>
                  </a:lnTo>
                  <a:lnTo>
                    <a:pt x="535186" y="33784"/>
                  </a:lnTo>
                  <a:cubicBezTo>
                    <a:pt x="533301" y="35669"/>
                    <a:pt x="530547" y="37827"/>
                    <a:pt x="526926" y="40258"/>
                  </a:cubicBezTo>
                  <a:cubicBezTo>
                    <a:pt x="523305" y="42689"/>
                    <a:pt x="519237" y="45095"/>
                    <a:pt x="514722" y="47476"/>
                  </a:cubicBezTo>
                  <a:cubicBezTo>
                    <a:pt x="510208" y="49858"/>
                    <a:pt x="505445" y="52090"/>
                    <a:pt x="500435" y="54174"/>
                  </a:cubicBezTo>
                  <a:cubicBezTo>
                    <a:pt x="495424" y="56257"/>
                    <a:pt x="490538" y="57894"/>
                    <a:pt x="485775" y="59085"/>
                  </a:cubicBezTo>
                  <a:lnTo>
                    <a:pt x="485775" y="34379"/>
                  </a:lnTo>
                  <a:cubicBezTo>
                    <a:pt x="491133" y="32891"/>
                    <a:pt x="496813" y="30882"/>
                    <a:pt x="502816" y="28352"/>
                  </a:cubicBezTo>
                  <a:cubicBezTo>
                    <a:pt x="508819" y="25822"/>
                    <a:pt x="514722" y="22994"/>
                    <a:pt x="520526" y="19869"/>
                  </a:cubicBezTo>
                  <a:cubicBezTo>
                    <a:pt x="526331" y="16743"/>
                    <a:pt x="531813" y="13469"/>
                    <a:pt x="536972" y="10046"/>
                  </a:cubicBezTo>
                  <a:cubicBezTo>
                    <a:pt x="542131" y="6623"/>
                    <a:pt x="546596" y="3274"/>
                    <a:pt x="550366" y="0"/>
                  </a:cubicBezTo>
                  <a:close/>
                  <a:moveTo>
                    <a:pt x="226516" y="0"/>
                  </a:moveTo>
                  <a:lnTo>
                    <a:pt x="235744" y="0"/>
                  </a:lnTo>
                  <a:lnTo>
                    <a:pt x="235744" y="218182"/>
                  </a:lnTo>
                  <a:lnTo>
                    <a:pt x="211336" y="218182"/>
                  </a:lnTo>
                  <a:lnTo>
                    <a:pt x="211336" y="33784"/>
                  </a:lnTo>
                  <a:cubicBezTo>
                    <a:pt x="209451" y="35669"/>
                    <a:pt x="206697" y="37827"/>
                    <a:pt x="203076" y="40258"/>
                  </a:cubicBezTo>
                  <a:cubicBezTo>
                    <a:pt x="199454" y="42689"/>
                    <a:pt x="195387" y="45095"/>
                    <a:pt x="190872" y="47476"/>
                  </a:cubicBezTo>
                  <a:cubicBezTo>
                    <a:pt x="186358" y="49858"/>
                    <a:pt x="181595" y="52090"/>
                    <a:pt x="176585" y="54174"/>
                  </a:cubicBezTo>
                  <a:cubicBezTo>
                    <a:pt x="171574" y="56257"/>
                    <a:pt x="166687" y="57894"/>
                    <a:pt x="161925" y="59085"/>
                  </a:cubicBezTo>
                  <a:lnTo>
                    <a:pt x="161925" y="34379"/>
                  </a:lnTo>
                  <a:cubicBezTo>
                    <a:pt x="167283" y="32891"/>
                    <a:pt x="172963" y="30882"/>
                    <a:pt x="178966" y="28352"/>
                  </a:cubicBezTo>
                  <a:cubicBezTo>
                    <a:pt x="184969" y="25822"/>
                    <a:pt x="190872" y="22994"/>
                    <a:pt x="196676" y="19869"/>
                  </a:cubicBezTo>
                  <a:cubicBezTo>
                    <a:pt x="202481" y="16743"/>
                    <a:pt x="207962" y="13469"/>
                    <a:pt x="213122" y="10046"/>
                  </a:cubicBezTo>
                  <a:cubicBezTo>
                    <a:pt x="218281" y="6623"/>
                    <a:pt x="222746" y="3274"/>
                    <a:pt x="226516" y="0"/>
                  </a:cubicBezTo>
                  <a:close/>
                  <a:moveTo>
                    <a:pt x="64591" y="0"/>
                  </a:moveTo>
                  <a:lnTo>
                    <a:pt x="73819" y="0"/>
                  </a:lnTo>
                  <a:lnTo>
                    <a:pt x="73819" y="218182"/>
                  </a:lnTo>
                  <a:lnTo>
                    <a:pt x="49411" y="218182"/>
                  </a:lnTo>
                  <a:lnTo>
                    <a:pt x="49411" y="33784"/>
                  </a:lnTo>
                  <a:cubicBezTo>
                    <a:pt x="47526" y="35669"/>
                    <a:pt x="44772" y="37827"/>
                    <a:pt x="41151" y="40258"/>
                  </a:cubicBezTo>
                  <a:cubicBezTo>
                    <a:pt x="37529" y="42689"/>
                    <a:pt x="33462" y="45095"/>
                    <a:pt x="28947" y="47476"/>
                  </a:cubicBezTo>
                  <a:cubicBezTo>
                    <a:pt x="24433" y="49858"/>
                    <a:pt x="19670" y="52090"/>
                    <a:pt x="14660" y="54174"/>
                  </a:cubicBezTo>
                  <a:cubicBezTo>
                    <a:pt x="9649" y="56257"/>
                    <a:pt x="4762" y="57894"/>
                    <a:pt x="0" y="59085"/>
                  </a:cubicBezTo>
                  <a:lnTo>
                    <a:pt x="0" y="34379"/>
                  </a:lnTo>
                  <a:cubicBezTo>
                    <a:pt x="5358" y="32891"/>
                    <a:pt x="11038" y="30882"/>
                    <a:pt x="17041" y="28352"/>
                  </a:cubicBezTo>
                  <a:cubicBezTo>
                    <a:pt x="23044" y="25822"/>
                    <a:pt x="28947" y="22994"/>
                    <a:pt x="34751" y="19869"/>
                  </a:cubicBezTo>
                  <a:cubicBezTo>
                    <a:pt x="40556" y="16743"/>
                    <a:pt x="46037" y="13469"/>
                    <a:pt x="51197" y="10046"/>
                  </a:cubicBezTo>
                  <a:cubicBezTo>
                    <a:pt x="56356" y="6623"/>
                    <a:pt x="60821" y="3274"/>
                    <a:pt x="64591" y="0"/>
                  </a:cubicBezTo>
                  <a:close/>
                </a:path>
              </a:pathLst>
            </a:cu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5439">
                      <a:srgbClr val="F8F8F8"/>
                    </a:gs>
                    <a:gs pos="10000">
                      <a:srgbClr val="F8F8F8"/>
                    </a:gs>
                  </a:gsLst>
                  <a:lin ang="5400000" scaled="0"/>
                </a:gradFill>
                <a:effectLst/>
                <a:uLnTx/>
                <a:uFillTx/>
              </a:endParaRPr>
            </a:p>
          </p:txBody>
        </p:sp>
        <p:sp>
          <p:nvSpPr>
            <p:cNvPr id="526" name="Freeform: Shape 525"/>
            <p:cNvSpPr/>
            <p:nvPr/>
          </p:nvSpPr>
          <p:spPr bwMode="auto">
            <a:xfrm>
              <a:off x="6743256" y="3564723"/>
              <a:ext cx="684188" cy="139362"/>
            </a:xfrm>
            <a:custGeom>
              <a:avLst/>
              <a:gdLst>
                <a:gd name="connsiteX0" fmla="*/ 1021109 w 1089421"/>
                <a:gd name="connsiteY0" fmla="*/ 21878 h 221903"/>
                <a:gd name="connsiteX1" fmla="*/ 975419 w 1089421"/>
                <a:gd name="connsiteY1" fmla="*/ 114598 h 221903"/>
                <a:gd name="connsiteX2" fmla="*/ 1020216 w 1089421"/>
                <a:gd name="connsiteY2" fmla="*/ 201067 h 221903"/>
                <a:gd name="connsiteX3" fmla="*/ 1064418 w 1089421"/>
                <a:gd name="connsiteY3" fmla="*/ 112961 h 221903"/>
                <a:gd name="connsiteX4" fmla="*/ 1021109 w 1089421"/>
                <a:gd name="connsiteY4" fmla="*/ 21878 h 221903"/>
                <a:gd name="connsiteX5" fmla="*/ 535334 w 1089421"/>
                <a:gd name="connsiteY5" fmla="*/ 21878 h 221903"/>
                <a:gd name="connsiteX6" fmla="*/ 489643 w 1089421"/>
                <a:gd name="connsiteY6" fmla="*/ 114598 h 221903"/>
                <a:gd name="connsiteX7" fmla="*/ 534441 w 1089421"/>
                <a:gd name="connsiteY7" fmla="*/ 201067 h 221903"/>
                <a:gd name="connsiteX8" fmla="*/ 578643 w 1089421"/>
                <a:gd name="connsiteY8" fmla="*/ 112961 h 221903"/>
                <a:gd name="connsiteX9" fmla="*/ 535334 w 1089421"/>
                <a:gd name="connsiteY9" fmla="*/ 21878 h 221903"/>
                <a:gd name="connsiteX10" fmla="*/ 211484 w 1089421"/>
                <a:gd name="connsiteY10" fmla="*/ 21878 h 221903"/>
                <a:gd name="connsiteX11" fmla="*/ 165793 w 1089421"/>
                <a:gd name="connsiteY11" fmla="*/ 114598 h 221903"/>
                <a:gd name="connsiteX12" fmla="*/ 210591 w 1089421"/>
                <a:gd name="connsiteY12" fmla="*/ 201067 h 221903"/>
                <a:gd name="connsiteX13" fmla="*/ 254793 w 1089421"/>
                <a:gd name="connsiteY13" fmla="*/ 112961 h 221903"/>
                <a:gd name="connsiteX14" fmla="*/ 211484 w 1089421"/>
                <a:gd name="connsiteY14" fmla="*/ 21878 h 221903"/>
                <a:gd name="connsiteX15" fmla="*/ 1022299 w 1089421"/>
                <a:gd name="connsiteY15" fmla="*/ 1191 h 221903"/>
                <a:gd name="connsiteX16" fmla="*/ 1089421 w 1089421"/>
                <a:gd name="connsiteY16" fmla="*/ 110579 h 221903"/>
                <a:gd name="connsiteX17" fmla="*/ 1084584 w 1089421"/>
                <a:gd name="connsiteY17" fmla="*/ 158056 h 221903"/>
                <a:gd name="connsiteX18" fmla="*/ 1070594 w 1089421"/>
                <a:gd name="connsiteY18" fmla="*/ 192956 h 221903"/>
                <a:gd name="connsiteX19" fmla="*/ 1048121 w 1089421"/>
                <a:gd name="connsiteY19" fmla="*/ 214536 h 221903"/>
                <a:gd name="connsiteX20" fmla="*/ 1017835 w 1089421"/>
                <a:gd name="connsiteY20" fmla="*/ 221903 h 221903"/>
                <a:gd name="connsiteX21" fmla="*/ 989185 w 1089421"/>
                <a:gd name="connsiteY21" fmla="*/ 214834 h 221903"/>
                <a:gd name="connsiteX22" fmla="*/ 967977 w 1089421"/>
                <a:gd name="connsiteY22" fmla="*/ 194221 h 221903"/>
                <a:gd name="connsiteX23" fmla="*/ 954880 w 1089421"/>
                <a:gd name="connsiteY23" fmla="*/ 160958 h 221903"/>
                <a:gd name="connsiteX24" fmla="*/ 950415 w 1089421"/>
                <a:gd name="connsiteY24" fmla="*/ 115788 h 221903"/>
                <a:gd name="connsiteX25" fmla="*/ 955103 w 1089421"/>
                <a:gd name="connsiteY25" fmla="*/ 66377 h 221903"/>
                <a:gd name="connsiteX26" fmla="*/ 968870 w 1089421"/>
                <a:gd name="connsiteY26" fmla="*/ 30435 h 221903"/>
                <a:gd name="connsiteX27" fmla="*/ 991418 w 1089421"/>
                <a:gd name="connsiteY27" fmla="*/ 8558 h 221903"/>
                <a:gd name="connsiteX28" fmla="*/ 1022299 w 1089421"/>
                <a:gd name="connsiteY28" fmla="*/ 1191 h 221903"/>
                <a:gd name="connsiteX29" fmla="*/ 536524 w 1089421"/>
                <a:gd name="connsiteY29" fmla="*/ 1191 h 221903"/>
                <a:gd name="connsiteX30" fmla="*/ 603646 w 1089421"/>
                <a:gd name="connsiteY30" fmla="*/ 110579 h 221903"/>
                <a:gd name="connsiteX31" fmla="*/ 598809 w 1089421"/>
                <a:gd name="connsiteY31" fmla="*/ 158056 h 221903"/>
                <a:gd name="connsiteX32" fmla="*/ 584819 w 1089421"/>
                <a:gd name="connsiteY32" fmla="*/ 192956 h 221903"/>
                <a:gd name="connsiteX33" fmla="*/ 562346 w 1089421"/>
                <a:gd name="connsiteY33" fmla="*/ 214536 h 221903"/>
                <a:gd name="connsiteX34" fmla="*/ 532060 w 1089421"/>
                <a:gd name="connsiteY34" fmla="*/ 221903 h 221903"/>
                <a:gd name="connsiteX35" fmla="*/ 503410 w 1089421"/>
                <a:gd name="connsiteY35" fmla="*/ 214834 h 221903"/>
                <a:gd name="connsiteX36" fmla="*/ 482202 w 1089421"/>
                <a:gd name="connsiteY36" fmla="*/ 194221 h 221903"/>
                <a:gd name="connsiteX37" fmla="*/ 469105 w 1089421"/>
                <a:gd name="connsiteY37" fmla="*/ 160958 h 221903"/>
                <a:gd name="connsiteX38" fmla="*/ 464640 w 1089421"/>
                <a:gd name="connsiteY38" fmla="*/ 115788 h 221903"/>
                <a:gd name="connsiteX39" fmla="*/ 469328 w 1089421"/>
                <a:gd name="connsiteY39" fmla="*/ 66377 h 221903"/>
                <a:gd name="connsiteX40" fmla="*/ 483095 w 1089421"/>
                <a:gd name="connsiteY40" fmla="*/ 30435 h 221903"/>
                <a:gd name="connsiteX41" fmla="*/ 505643 w 1089421"/>
                <a:gd name="connsiteY41" fmla="*/ 8558 h 221903"/>
                <a:gd name="connsiteX42" fmla="*/ 536524 w 1089421"/>
                <a:gd name="connsiteY42" fmla="*/ 1191 h 221903"/>
                <a:gd name="connsiteX43" fmla="*/ 212674 w 1089421"/>
                <a:gd name="connsiteY43" fmla="*/ 1191 h 221903"/>
                <a:gd name="connsiteX44" fmla="*/ 279796 w 1089421"/>
                <a:gd name="connsiteY44" fmla="*/ 110579 h 221903"/>
                <a:gd name="connsiteX45" fmla="*/ 274959 w 1089421"/>
                <a:gd name="connsiteY45" fmla="*/ 158056 h 221903"/>
                <a:gd name="connsiteX46" fmla="*/ 260969 w 1089421"/>
                <a:gd name="connsiteY46" fmla="*/ 192956 h 221903"/>
                <a:gd name="connsiteX47" fmla="*/ 238496 w 1089421"/>
                <a:gd name="connsiteY47" fmla="*/ 214536 h 221903"/>
                <a:gd name="connsiteX48" fmla="*/ 208210 w 1089421"/>
                <a:gd name="connsiteY48" fmla="*/ 221903 h 221903"/>
                <a:gd name="connsiteX49" fmla="*/ 179560 w 1089421"/>
                <a:gd name="connsiteY49" fmla="*/ 214834 h 221903"/>
                <a:gd name="connsiteX50" fmla="*/ 158352 w 1089421"/>
                <a:gd name="connsiteY50" fmla="*/ 194221 h 221903"/>
                <a:gd name="connsiteX51" fmla="*/ 145255 w 1089421"/>
                <a:gd name="connsiteY51" fmla="*/ 160958 h 221903"/>
                <a:gd name="connsiteX52" fmla="*/ 140790 w 1089421"/>
                <a:gd name="connsiteY52" fmla="*/ 115788 h 221903"/>
                <a:gd name="connsiteX53" fmla="*/ 145478 w 1089421"/>
                <a:gd name="connsiteY53" fmla="*/ 66377 h 221903"/>
                <a:gd name="connsiteX54" fmla="*/ 159245 w 1089421"/>
                <a:gd name="connsiteY54" fmla="*/ 30435 h 221903"/>
                <a:gd name="connsiteX55" fmla="*/ 181793 w 1089421"/>
                <a:gd name="connsiteY55" fmla="*/ 8558 h 221903"/>
                <a:gd name="connsiteX56" fmla="*/ 212674 w 1089421"/>
                <a:gd name="connsiteY56" fmla="*/ 1191 h 221903"/>
                <a:gd name="connsiteX57" fmla="*/ 874216 w 1089421"/>
                <a:gd name="connsiteY57" fmla="*/ 0 h 221903"/>
                <a:gd name="connsiteX58" fmla="*/ 883444 w 1089421"/>
                <a:gd name="connsiteY58" fmla="*/ 0 h 221903"/>
                <a:gd name="connsiteX59" fmla="*/ 883444 w 1089421"/>
                <a:gd name="connsiteY59" fmla="*/ 218182 h 221903"/>
                <a:gd name="connsiteX60" fmla="*/ 859036 w 1089421"/>
                <a:gd name="connsiteY60" fmla="*/ 218182 h 221903"/>
                <a:gd name="connsiteX61" fmla="*/ 859036 w 1089421"/>
                <a:gd name="connsiteY61" fmla="*/ 33784 h 221903"/>
                <a:gd name="connsiteX62" fmla="*/ 850776 w 1089421"/>
                <a:gd name="connsiteY62" fmla="*/ 40258 h 221903"/>
                <a:gd name="connsiteX63" fmla="*/ 838572 w 1089421"/>
                <a:gd name="connsiteY63" fmla="*/ 47476 h 221903"/>
                <a:gd name="connsiteX64" fmla="*/ 824285 w 1089421"/>
                <a:gd name="connsiteY64" fmla="*/ 54174 h 221903"/>
                <a:gd name="connsiteX65" fmla="*/ 809625 w 1089421"/>
                <a:gd name="connsiteY65" fmla="*/ 59085 h 221903"/>
                <a:gd name="connsiteX66" fmla="*/ 809625 w 1089421"/>
                <a:gd name="connsiteY66" fmla="*/ 34379 h 221903"/>
                <a:gd name="connsiteX67" fmla="*/ 826666 w 1089421"/>
                <a:gd name="connsiteY67" fmla="*/ 28352 h 221903"/>
                <a:gd name="connsiteX68" fmla="*/ 844376 w 1089421"/>
                <a:gd name="connsiteY68" fmla="*/ 19869 h 221903"/>
                <a:gd name="connsiteX69" fmla="*/ 860822 w 1089421"/>
                <a:gd name="connsiteY69" fmla="*/ 10046 h 221903"/>
                <a:gd name="connsiteX70" fmla="*/ 874216 w 1089421"/>
                <a:gd name="connsiteY70" fmla="*/ 0 h 221903"/>
                <a:gd name="connsiteX71" fmla="*/ 712291 w 1089421"/>
                <a:gd name="connsiteY71" fmla="*/ 0 h 221903"/>
                <a:gd name="connsiteX72" fmla="*/ 721519 w 1089421"/>
                <a:gd name="connsiteY72" fmla="*/ 0 h 221903"/>
                <a:gd name="connsiteX73" fmla="*/ 721519 w 1089421"/>
                <a:gd name="connsiteY73" fmla="*/ 218182 h 221903"/>
                <a:gd name="connsiteX74" fmla="*/ 697111 w 1089421"/>
                <a:gd name="connsiteY74" fmla="*/ 218182 h 221903"/>
                <a:gd name="connsiteX75" fmla="*/ 697111 w 1089421"/>
                <a:gd name="connsiteY75" fmla="*/ 33784 h 221903"/>
                <a:gd name="connsiteX76" fmla="*/ 688851 w 1089421"/>
                <a:gd name="connsiteY76" fmla="*/ 40258 h 221903"/>
                <a:gd name="connsiteX77" fmla="*/ 676647 w 1089421"/>
                <a:gd name="connsiteY77" fmla="*/ 47476 h 221903"/>
                <a:gd name="connsiteX78" fmla="*/ 662360 w 1089421"/>
                <a:gd name="connsiteY78" fmla="*/ 54174 h 221903"/>
                <a:gd name="connsiteX79" fmla="*/ 647700 w 1089421"/>
                <a:gd name="connsiteY79" fmla="*/ 59085 h 221903"/>
                <a:gd name="connsiteX80" fmla="*/ 647700 w 1089421"/>
                <a:gd name="connsiteY80" fmla="*/ 34379 h 221903"/>
                <a:gd name="connsiteX81" fmla="*/ 664741 w 1089421"/>
                <a:gd name="connsiteY81" fmla="*/ 28352 h 221903"/>
                <a:gd name="connsiteX82" fmla="*/ 682451 w 1089421"/>
                <a:gd name="connsiteY82" fmla="*/ 19869 h 221903"/>
                <a:gd name="connsiteX83" fmla="*/ 698897 w 1089421"/>
                <a:gd name="connsiteY83" fmla="*/ 10046 h 221903"/>
                <a:gd name="connsiteX84" fmla="*/ 712291 w 1089421"/>
                <a:gd name="connsiteY84" fmla="*/ 0 h 221903"/>
                <a:gd name="connsiteX85" fmla="*/ 388441 w 1089421"/>
                <a:gd name="connsiteY85" fmla="*/ 0 h 221903"/>
                <a:gd name="connsiteX86" fmla="*/ 397669 w 1089421"/>
                <a:gd name="connsiteY86" fmla="*/ 0 h 221903"/>
                <a:gd name="connsiteX87" fmla="*/ 397669 w 1089421"/>
                <a:gd name="connsiteY87" fmla="*/ 218182 h 221903"/>
                <a:gd name="connsiteX88" fmla="*/ 373261 w 1089421"/>
                <a:gd name="connsiteY88" fmla="*/ 218182 h 221903"/>
                <a:gd name="connsiteX89" fmla="*/ 373261 w 1089421"/>
                <a:gd name="connsiteY89" fmla="*/ 33784 h 221903"/>
                <a:gd name="connsiteX90" fmla="*/ 365001 w 1089421"/>
                <a:gd name="connsiteY90" fmla="*/ 40258 h 221903"/>
                <a:gd name="connsiteX91" fmla="*/ 352797 w 1089421"/>
                <a:gd name="connsiteY91" fmla="*/ 47476 h 221903"/>
                <a:gd name="connsiteX92" fmla="*/ 338510 w 1089421"/>
                <a:gd name="connsiteY92" fmla="*/ 54174 h 221903"/>
                <a:gd name="connsiteX93" fmla="*/ 323850 w 1089421"/>
                <a:gd name="connsiteY93" fmla="*/ 59085 h 221903"/>
                <a:gd name="connsiteX94" fmla="*/ 323850 w 1089421"/>
                <a:gd name="connsiteY94" fmla="*/ 34379 h 221903"/>
                <a:gd name="connsiteX95" fmla="*/ 340891 w 1089421"/>
                <a:gd name="connsiteY95" fmla="*/ 28352 h 221903"/>
                <a:gd name="connsiteX96" fmla="*/ 358601 w 1089421"/>
                <a:gd name="connsiteY96" fmla="*/ 19869 h 221903"/>
                <a:gd name="connsiteX97" fmla="*/ 375047 w 1089421"/>
                <a:gd name="connsiteY97" fmla="*/ 10046 h 221903"/>
                <a:gd name="connsiteX98" fmla="*/ 388441 w 1089421"/>
                <a:gd name="connsiteY98" fmla="*/ 0 h 221903"/>
                <a:gd name="connsiteX99" fmla="*/ 64591 w 1089421"/>
                <a:gd name="connsiteY99" fmla="*/ 0 h 221903"/>
                <a:gd name="connsiteX100" fmla="*/ 73819 w 1089421"/>
                <a:gd name="connsiteY100" fmla="*/ 0 h 221903"/>
                <a:gd name="connsiteX101" fmla="*/ 73819 w 1089421"/>
                <a:gd name="connsiteY101" fmla="*/ 218182 h 221903"/>
                <a:gd name="connsiteX102" fmla="*/ 49411 w 1089421"/>
                <a:gd name="connsiteY102" fmla="*/ 218182 h 221903"/>
                <a:gd name="connsiteX103" fmla="*/ 49411 w 1089421"/>
                <a:gd name="connsiteY103" fmla="*/ 33784 h 221903"/>
                <a:gd name="connsiteX104" fmla="*/ 41151 w 1089421"/>
                <a:gd name="connsiteY104" fmla="*/ 40258 h 221903"/>
                <a:gd name="connsiteX105" fmla="*/ 28947 w 1089421"/>
                <a:gd name="connsiteY105" fmla="*/ 47476 h 221903"/>
                <a:gd name="connsiteX106" fmla="*/ 14660 w 1089421"/>
                <a:gd name="connsiteY106" fmla="*/ 54174 h 221903"/>
                <a:gd name="connsiteX107" fmla="*/ 0 w 1089421"/>
                <a:gd name="connsiteY107" fmla="*/ 59085 h 221903"/>
                <a:gd name="connsiteX108" fmla="*/ 0 w 1089421"/>
                <a:gd name="connsiteY108" fmla="*/ 34379 h 221903"/>
                <a:gd name="connsiteX109" fmla="*/ 17041 w 1089421"/>
                <a:gd name="connsiteY109" fmla="*/ 28352 h 221903"/>
                <a:gd name="connsiteX110" fmla="*/ 34751 w 1089421"/>
                <a:gd name="connsiteY110" fmla="*/ 19869 h 221903"/>
                <a:gd name="connsiteX111" fmla="*/ 51197 w 1089421"/>
                <a:gd name="connsiteY111" fmla="*/ 10046 h 221903"/>
                <a:gd name="connsiteX112" fmla="*/ 64591 w 1089421"/>
                <a:gd name="connsiteY112" fmla="*/ 0 h 2219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Lst>
              <a:rect l="l" t="t" r="r" b="b"/>
              <a:pathLst>
                <a:path w="1089421" h="221903">
                  <a:moveTo>
                    <a:pt x="1021109" y="21878"/>
                  </a:moveTo>
                  <a:cubicBezTo>
                    <a:pt x="990649" y="21878"/>
                    <a:pt x="975419" y="52784"/>
                    <a:pt x="975419" y="114598"/>
                  </a:cubicBezTo>
                  <a:cubicBezTo>
                    <a:pt x="975419" y="172244"/>
                    <a:pt x="990351" y="201067"/>
                    <a:pt x="1020216" y="201067"/>
                  </a:cubicBezTo>
                  <a:cubicBezTo>
                    <a:pt x="1049684" y="201067"/>
                    <a:pt x="1064418" y="171698"/>
                    <a:pt x="1064418" y="112961"/>
                  </a:cubicBezTo>
                  <a:cubicBezTo>
                    <a:pt x="1064418" y="52239"/>
                    <a:pt x="1049981" y="21878"/>
                    <a:pt x="1021109" y="21878"/>
                  </a:cubicBezTo>
                  <a:close/>
                  <a:moveTo>
                    <a:pt x="535334" y="21878"/>
                  </a:moveTo>
                  <a:cubicBezTo>
                    <a:pt x="504874" y="21878"/>
                    <a:pt x="489643" y="52784"/>
                    <a:pt x="489643" y="114598"/>
                  </a:cubicBezTo>
                  <a:cubicBezTo>
                    <a:pt x="489643" y="172244"/>
                    <a:pt x="504576" y="201067"/>
                    <a:pt x="534441" y="201067"/>
                  </a:cubicBezTo>
                  <a:cubicBezTo>
                    <a:pt x="563909" y="201067"/>
                    <a:pt x="578643" y="171698"/>
                    <a:pt x="578643" y="112961"/>
                  </a:cubicBezTo>
                  <a:cubicBezTo>
                    <a:pt x="578643" y="52239"/>
                    <a:pt x="564206" y="21878"/>
                    <a:pt x="535334" y="21878"/>
                  </a:cubicBezTo>
                  <a:close/>
                  <a:moveTo>
                    <a:pt x="211484" y="21878"/>
                  </a:moveTo>
                  <a:cubicBezTo>
                    <a:pt x="181024" y="21878"/>
                    <a:pt x="165793" y="52784"/>
                    <a:pt x="165793" y="114598"/>
                  </a:cubicBezTo>
                  <a:cubicBezTo>
                    <a:pt x="165793" y="172244"/>
                    <a:pt x="180726" y="201067"/>
                    <a:pt x="210591" y="201067"/>
                  </a:cubicBezTo>
                  <a:cubicBezTo>
                    <a:pt x="240059" y="201067"/>
                    <a:pt x="254793" y="171698"/>
                    <a:pt x="254793" y="112961"/>
                  </a:cubicBezTo>
                  <a:cubicBezTo>
                    <a:pt x="254793" y="52239"/>
                    <a:pt x="240356" y="21878"/>
                    <a:pt x="211484" y="21878"/>
                  </a:cubicBezTo>
                  <a:close/>
                  <a:moveTo>
                    <a:pt x="1022299" y="1191"/>
                  </a:moveTo>
                  <a:cubicBezTo>
                    <a:pt x="1067047" y="1191"/>
                    <a:pt x="1089421" y="37654"/>
                    <a:pt x="1089421" y="110579"/>
                  </a:cubicBezTo>
                  <a:cubicBezTo>
                    <a:pt x="1089421" y="128439"/>
                    <a:pt x="1087809" y="144264"/>
                    <a:pt x="1084584" y="158056"/>
                  </a:cubicBezTo>
                  <a:cubicBezTo>
                    <a:pt x="1081359" y="171847"/>
                    <a:pt x="1076696" y="183480"/>
                    <a:pt x="1070594" y="192956"/>
                  </a:cubicBezTo>
                  <a:cubicBezTo>
                    <a:pt x="1064492" y="202431"/>
                    <a:pt x="1057001" y="209625"/>
                    <a:pt x="1048121" y="214536"/>
                  </a:cubicBezTo>
                  <a:cubicBezTo>
                    <a:pt x="1039241" y="219447"/>
                    <a:pt x="1029145" y="221903"/>
                    <a:pt x="1017835" y="221903"/>
                  </a:cubicBezTo>
                  <a:cubicBezTo>
                    <a:pt x="1007119" y="221903"/>
                    <a:pt x="997569" y="219546"/>
                    <a:pt x="989185" y="214834"/>
                  </a:cubicBezTo>
                  <a:cubicBezTo>
                    <a:pt x="980801" y="210121"/>
                    <a:pt x="973732" y="203250"/>
                    <a:pt x="967977" y="194221"/>
                  </a:cubicBezTo>
                  <a:cubicBezTo>
                    <a:pt x="962222" y="185192"/>
                    <a:pt x="957857" y="174104"/>
                    <a:pt x="954880" y="160958"/>
                  </a:cubicBezTo>
                  <a:cubicBezTo>
                    <a:pt x="951904" y="147811"/>
                    <a:pt x="950415" y="132755"/>
                    <a:pt x="950415" y="115788"/>
                  </a:cubicBezTo>
                  <a:cubicBezTo>
                    <a:pt x="950415" y="97135"/>
                    <a:pt x="951978" y="80665"/>
                    <a:pt x="955103" y="66377"/>
                  </a:cubicBezTo>
                  <a:cubicBezTo>
                    <a:pt x="958229" y="52090"/>
                    <a:pt x="962818" y="40109"/>
                    <a:pt x="968870" y="30435"/>
                  </a:cubicBezTo>
                  <a:cubicBezTo>
                    <a:pt x="974922" y="20762"/>
                    <a:pt x="982438" y="13469"/>
                    <a:pt x="991418" y="8558"/>
                  </a:cubicBezTo>
                  <a:cubicBezTo>
                    <a:pt x="1000397" y="3646"/>
                    <a:pt x="1010691" y="1191"/>
                    <a:pt x="1022299" y="1191"/>
                  </a:cubicBezTo>
                  <a:close/>
                  <a:moveTo>
                    <a:pt x="536524" y="1191"/>
                  </a:moveTo>
                  <a:cubicBezTo>
                    <a:pt x="581272" y="1191"/>
                    <a:pt x="603646" y="37654"/>
                    <a:pt x="603646" y="110579"/>
                  </a:cubicBezTo>
                  <a:cubicBezTo>
                    <a:pt x="603646" y="128439"/>
                    <a:pt x="602034" y="144264"/>
                    <a:pt x="598809" y="158056"/>
                  </a:cubicBezTo>
                  <a:cubicBezTo>
                    <a:pt x="595584" y="171847"/>
                    <a:pt x="590921" y="183480"/>
                    <a:pt x="584819" y="192956"/>
                  </a:cubicBezTo>
                  <a:cubicBezTo>
                    <a:pt x="578717" y="202431"/>
                    <a:pt x="571226" y="209625"/>
                    <a:pt x="562346" y="214536"/>
                  </a:cubicBezTo>
                  <a:cubicBezTo>
                    <a:pt x="553466" y="219447"/>
                    <a:pt x="543370" y="221903"/>
                    <a:pt x="532060" y="221903"/>
                  </a:cubicBezTo>
                  <a:cubicBezTo>
                    <a:pt x="521344" y="221903"/>
                    <a:pt x="511794" y="219546"/>
                    <a:pt x="503410" y="214834"/>
                  </a:cubicBezTo>
                  <a:cubicBezTo>
                    <a:pt x="495026" y="210121"/>
                    <a:pt x="487957" y="203250"/>
                    <a:pt x="482202" y="194221"/>
                  </a:cubicBezTo>
                  <a:cubicBezTo>
                    <a:pt x="476447" y="185192"/>
                    <a:pt x="472082" y="174104"/>
                    <a:pt x="469105" y="160958"/>
                  </a:cubicBezTo>
                  <a:cubicBezTo>
                    <a:pt x="466129" y="147811"/>
                    <a:pt x="464640" y="132755"/>
                    <a:pt x="464640" y="115788"/>
                  </a:cubicBezTo>
                  <a:cubicBezTo>
                    <a:pt x="464640" y="97135"/>
                    <a:pt x="466203" y="80665"/>
                    <a:pt x="469328" y="66377"/>
                  </a:cubicBezTo>
                  <a:cubicBezTo>
                    <a:pt x="472454" y="52090"/>
                    <a:pt x="477043" y="40109"/>
                    <a:pt x="483095" y="30435"/>
                  </a:cubicBezTo>
                  <a:cubicBezTo>
                    <a:pt x="489147" y="20762"/>
                    <a:pt x="496663" y="13469"/>
                    <a:pt x="505643" y="8558"/>
                  </a:cubicBezTo>
                  <a:cubicBezTo>
                    <a:pt x="514622" y="3646"/>
                    <a:pt x="524916" y="1191"/>
                    <a:pt x="536524" y="1191"/>
                  </a:cubicBezTo>
                  <a:close/>
                  <a:moveTo>
                    <a:pt x="212674" y="1191"/>
                  </a:moveTo>
                  <a:cubicBezTo>
                    <a:pt x="257422" y="1191"/>
                    <a:pt x="279796" y="37654"/>
                    <a:pt x="279796" y="110579"/>
                  </a:cubicBezTo>
                  <a:cubicBezTo>
                    <a:pt x="279796" y="128439"/>
                    <a:pt x="278184" y="144264"/>
                    <a:pt x="274959" y="158056"/>
                  </a:cubicBezTo>
                  <a:cubicBezTo>
                    <a:pt x="271734" y="171847"/>
                    <a:pt x="267071" y="183480"/>
                    <a:pt x="260969" y="192956"/>
                  </a:cubicBezTo>
                  <a:cubicBezTo>
                    <a:pt x="254867" y="202431"/>
                    <a:pt x="247376" y="209625"/>
                    <a:pt x="238496" y="214536"/>
                  </a:cubicBezTo>
                  <a:cubicBezTo>
                    <a:pt x="229616" y="219447"/>
                    <a:pt x="219520" y="221903"/>
                    <a:pt x="208210" y="221903"/>
                  </a:cubicBezTo>
                  <a:cubicBezTo>
                    <a:pt x="197494" y="221903"/>
                    <a:pt x="187944" y="219546"/>
                    <a:pt x="179560" y="214834"/>
                  </a:cubicBezTo>
                  <a:cubicBezTo>
                    <a:pt x="171176" y="210121"/>
                    <a:pt x="164107" y="203250"/>
                    <a:pt x="158352" y="194221"/>
                  </a:cubicBezTo>
                  <a:cubicBezTo>
                    <a:pt x="152597" y="185192"/>
                    <a:pt x="148232" y="174104"/>
                    <a:pt x="145255" y="160958"/>
                  </a:cubicBezTo>
                  <a:cubicBezTo>
                    <a:pt x="142279" y="147811"/>
                    <a:pt x="140790" y="132755"/>
                    <a:pt x="140790" y="115788"/>
                  </a:cubicBezTo>
                  <a:cubicBezTo>
                    <a:pt x="140790" y="97135"/>
                    <a:pt x="142353" y="80665"/>
                    <a:pt x="145478" y="66377"/>
                  </a:cubicBezTo>
                  <a:cubicBezTo>
                    <a:pt x="148604" y="52090"/>
                    <a:pt x="153193" y="40109"/>
                    <a:pt x="159245" y="30435"/>
                  </a:cubicBezTo>
                  <a:cubicBezTo>
                    <a:pt x="165297" y="20762"/>
                    <a:pt x="172813" y="13469"/>
                    <a:pt x="181793" y="8558"/>
                  </a:cubicBezTo>
                  <a:cubicBezTo>
                    <a:pt x="190772" y="3646"/>
                    <a:pt x="201066" y="1191"/>
                    <a:pt x="212674" y="1191"/>
                  </a:cubicBezTo>
                  <a:close/>
                  <a:moveTo>
                    <a:pt x="874216" y="0"/>
                  </a:moveTo>
                  <a:lnTo>
                    <a:pt x="883444" y="0"/>
                  </a:lnTo>
                  <a:lnTo>
                    <a:pt x="883444" y="218182"/>
                  </a:lnTo>
                  <a:lnTo>
                    <a:pt x="859036" y="218182"/>
                  </a:lnTo>
                  <a:lnTo>
                    <a:pt x="859036" y="33784"/>
                  </a:lnTo>
                  <a:cubicBezTo>
                    <a:pt x="857151" y="35669"/>
                    <a:pt x="854397" y="37827"/>
                    <a:pt x="850776" y="40258"/>
                  </a:cubicBezTo>
                  <a:cubicBezTo>
                    <a:pt x="847154" y="42689"/>
                    <a:pt x="843087" y="45095"/>
                    <a:pt x="838572" y="47476"/>
                  </a:cubicBezTo>
                  <a:cubicBezTo>
                    <a:pt x="834058" y="49858"/>
                    <a:pt x="829295" y="52090"/>
                    <a:pt x="824285" y="54174"/>
                  </a:cubicBezTo>
                  <a:cubicBezTo>
                    <a:pt x="819274" y="56257"/>
                    <a:pt x="814388" y="57894"/>
                    <a:pt x="809625" y="59085"/>
                  </a:cubicBezTo>
                  <a:lnTo>
                    <a:pt x="809625" y="34379"/>
                  </a:lnTo>
                  <a:cubicBezTo>
                    <a:pt x="814983" y="32891"/>
                    <a:pt x="820663" y="30882"/>
                    <a:pt x="826666" y="28352"/>
                  </a:cubicBezTo>
                  <a:cubicBezTo>
                    <a:pt x="832669" y="25822"/>
                    <a:pt x="838572" y="22994"/>
                    <a:pt x="844376" y="19869"/>
                  </a:cubicBezTo>
                  <a:cubicBezTo>
                    <a:pt x="850181" y="16743"/>
                    <a:pt x="855662" y="13469"/>
                    <a:pt x="860822" y="10046"/>
                  </a:cubicBezTo>
                  <a:cubicBezTo>
                    <a:pt x="865981" y="6623"/>
                    <a:pt x="870446" y="3274"/>
                    <a:pt x="874216" y="0"/>
                  </a:cubicBezTo>
                  <a:close/>
                  <a:moveTo>
                    <a:pt x="712291" y="0"/>
                  </a:moveTo>
                  <a:lnTo>
                    <a:pt x="721519" y="0"/>
                  </a:lnTo>
                  <a:lnTo>
                    <a:pt x="721519" y="218182"/>
                  </a:lnTo>
                  <a:lnTo>
                    <a:pt x="697111" y="218182"/>
                  </a:lnTo>
                  <a:lnTo>
                    <a:pt x="697111" y="33784"/>
                  </a:lnTo>
                  <a:cubicBezTo>
                    <a:pt x="695226" y="35669"/>
                    <a:pt x="692472" y="37827"/>
                    <a:pt x="688851" y="40258"/>
                  </a:cubicBezTo>
                  <a:cubicBezTo>
                    <a:pt x="685229" y="42689"/>
                    <a:pt x="681162" y="45095"/>
                    <a:pt x="676647" y="47476"/>
                  </a:cubicBezTo>
                  <a:cubicBezTo>
                    <a:pt x="672133" y="49858"/>
                    <a:pt x="667370" y="52090"/>
                    <a:pt x="662360" y="54174"/>
                  </a:cubicBezTo>
                  <a:cubicBezTo>
                    <a:pt x="657349" y="56257"/>
                    <a:pt x="652463" y="57894"/>
                    <a:pt x="647700" y="59085"/>
                  </a:cubicBezTo>
                  <a:lnTo>
                    <a:pt x="647700" y="34379"/>
                  </a:lnTo>
                  <a:cubicBezTo>
                    <a:pt x="653058" y="32891"/>
                    <a:pt x="658738" y="30882"/>
                    <a:pt x="664741" y="28352"/>
                  </a:cubicBezTo>
                  <a:cubicBezTo>
                    <a:pt x="670744" y="25822"/>
                    <a:pt x="676647" y="22994"/>
                    <a:pt x="682451" y="19869"/>
                  </a:cubicBezTo>
                  <a:cubicBezTo>
                    <a:pt x="688256" y="16743"/>
                    <a:pt x="693738" y="13469"/>
                    <a:pt x="698897" y="10046"/>
                  </a:cubicBezTo>
                  <a:cubicBezTo>
                    <a:pt x="704056" y="6623"/>
                    <a:pt x="708521" y="3274"/>
                    <a:pt x="712291" y="0"/>
                  </a:cubicBezTo>
                  <a:close/>
                  <a:moveTo>
                    <a:pt x="388441" y="0"/>
                  </a:moveTo>
                  <a:lnTo>
                    <a:pt x="397669" y="0"/>
                  </a:lnTo>
                  <a:lnTo>
                    <a:pt x="397669" y="218182"/>
                  </a:lnTo>
                  <a:lnTo>
                    <a:pt x="373261" y="218182"/>
                  </a:lnTo>
                  <a:lnTo>
                    <a:pt x="373261" y="33784"/>
                  </a:lnTo>
                  <a:cubicBezTo>
                    <a:pt x="371376" y="35669"/>
                    <a:pt x="368622" y="37827"/>
                    <a:pt x="365001" y="40258"/>
                  </a:cubicBezTo>
                  <a:cubicBezTo>
                    <a:pt x="361380" y="42689"/>
                    <a:pt x="357311" y="45095"/>
                    <a:pt x="352797" y="47476"/>
                  </a:cubicBezTo>
                  <a:cubicBezTo>
                    <a:pt x="348283" y="49858"/>
                    <a:pt x="343520" y="52090"/>
                    <a:pt x="338510" y="54174"/>
                  </a:cubicBezTo>
                  <a:cubicBezTo>
                    <a:pt x="333499" y="56257"/>
                    <a:pt x="328613" y="57894"/>
                    <a:pt x="323850" y="59085"/>
                  </a:cubicBezTo>
                  <a:lnTo>
                    <a:pt x="323850" y="34379"/>
                  </a:lnTo>
                  <a:cubicBezTo>
                    <a:pt x="329208" y="32891"/>
                    <a:pt x="334888" y="30882"/>
                    <a:pt x="340891" y="28352"/>
                  </a:cubicBezTo>
                  <a:cubicBezTo>
                    <a:pt x="346894" y="25822"/>
                    <a:pt x="352797" y="22994"/>
                    <a:pt x="358601" y="19869"/>
                  </a:cubicBezTo>
                  <a:cubicBezTo>
                    <a:pt x="364406" y="16743"/>
                    <a:pt x="369887" y="13469"/>
                    <a:pt x="375047" y="10046"/>
                  </a:cubicBezTo>
                  <a:cubicBezTo>
                    <a:pt x="380206" y="6623"/>
                    <a:pt x="384671" y="3274"/>
                    <a:pt x="388441" y="0"/>
                  </a:cubicBezTo>
                  <a:close/>
                  <a:moveTo>
                    <a:pt x="64591" y="0"/>
                  </a:moveTo>
                  <a:lnTo>
                    <a:pt x="73819" y="0"/>
                  </a:lnTo>
                  <a:lnTo>
                    <a:pt x="73819" y="218182"/>
                  </a:lnTo>
                  <a:lnTo>
                    <a:pt x="49411" y="218182"/>
                  </a:lnTo>
                  <a:lnTo>
                    <a:pt x="49411" y="33784"/>
                  </a:lnTo>
                  <a:cubicBezTo>
                    <a:pt x="47526" y="35669"/>
                    <a:pt x="44772" y="37827"/>
                    <a:pt x="41151" y="40258"/>
                  </a:cubicBezTo>
                  <a:cubicBezTo>
                    <a:pt x="37529" y="42689"/>
                    <a:pt x="33462" y="45095"/>
                    <a:pt x="28947" y="47476"/>
                  </a:cubicBezTo>
                  <a:cubicBezTo>
                    <a:pt x="24433" y="49858"/>
                    <a:pt x="19670" y="52090"/>
                    <a:pt x="14660" y="54174"/>
                  </a:cubicBezTo>
                  <a:cubicBezTo>
                    <a:pt x="9649" y="56257"/>
                    <a:pt x="4762" y="57894"/>
                    <a:pt x="0" y="59085"/>
                  </a:cubicBezTo>
                  <a:lnTo>
                    <a:pt x="0" y="34379"/>
                  </a:lnTo>
                  <a:cubicBezTo>
                    <a:pt x="5358" y="32891"/>
                    <a:pt x="11038" y="30882"/>
                    <a:pt x="17041" y="28352"/>
                  </a:cubicBezTo>
                  <a:cubicBezTo>
                    <a:pt x="23044" y="25822"/>
                    <a:pt x="28947" y="22994"/>
                    <a:pt x="34751" y="19869"/>
                  </a:cubicBezTo>
                  <a:cubicBezTo>
                    <a:pt x="40556" y="16743"/>
                    <a:pt x="46037" y="13469"/>
                    <a:pt x="51197" y="10046"/>
                  </a:cubicBezTo>
                  <a:cubicBezTo>
                    <a:pt x="56356" y="6623"/>
                    <a:pt x="60821" y="3274"/>
                    <a:pt x="64591" y="0"/>
                  </a:cubicBezTo>
                  <a:close/>
                </a:path>
              </a:pathLst>
            </a:cu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5439">
                      <a:srgbClr val="F8F8F8"/>
                    </a:gs>
                    <a:gs pos="10000">
                      <a:srgbClr val="F8F8F8"/>
                    </a:gs>
                  </a:gsLst>
                  <a:lin ang="5400000" scaled="0"/>
                </a:gradFill>
                <a:effectLst/>
                <a:uLnTx/>
                <a:uFillTx/>
              </a:endParaRPr>
            </a:p>
          </p:txBody>
        </p:sp>
        <p:sp>
          <p:nvSpPr>
            <p:cNvPr id="527" name="Freeform: Shape 526"/>
            <p:cNvSpPr/>
            <p:nvPr/>
          </p:nvSpPr>
          <p:spPr bwMode="auto">
            <a:xfrm>
              <a:off x="6743256" y="3874932"/>
              <a:ext cx="684188" cy="139362"/>
            </a:xfrm>
            <a:custGeom>
              <a:avLst/>
              <a:gdLst>
                <a:gd name="connsiteX0" fmla="*/ 1021109 w 1089421"/>
                <a:gd name="connsiteY0" fmla="*/ 21878 h 221903"/>
                <a:gd name="connsiteX1" fmla="*/ 975419 w 1089421"/>
                <a:gd name="connsiteY1" fmla="*/ 114598 h 221903"/>
                <a:gd name="connsiteX2" fmla="*/ 1020216 w 1089421"/>
                <a:gd name="connsiteY2" fmla="*/ 201067 h 221903"/>
                <a:gd name="connsiteX3" fmla="*/ 1064418 w 1089421"/>
                <a:gd name="connsiteY3" fmla="*/ 112961 h 221903"/>
                <a:gd name="connsiteX4" fmla="*/ 1021109 w 1089421"/>
                <a:gd name="connsiteY4" fmla="*/ 21878 h 221903"/>
                <a:gd name="connsiteX5" fmla="*/ 697259 w 1089421"/>
                <a:gd name="connsiteY5" fmla="*/ 21878 h 221903"/>
                <a:gd name="connsiteX6" fmla="*/ 651569 w 1089421"/>
                <a:gd name="connsiteY6" fmla="*/ 114598 h 221903"/>
                <a:gd name="connsiteX7" fmla="*/ 696366 w 1089421"/>
                <a:gd name="connsiteY7" fmla="*/ 201067 h 221903"/>
                <a:gd name="connsiteX8" fmla="*/ 740568 w 1089421"/>
                <a:gd name="connsiteY8" fmla="*/ 112961 h 221903"/>
                <a:gd name="connsiteX9" fmla="*/ 697259 w 1089421"/>
                <a:gd name="connsiteY9" fmla="*/ 21878 h 221903"/>
                <a:gd name="connsiteX10" fmla="*/ 373409 w 1089421"/>
                <a:gd name="connsiteY10" fmla="*/ 21878 h 221903"/>
                <a:gd name="connsiteX11" fmla="*/ 327719 w 1089421"/>
                <a:gd name="connsiteY11" fmla="*/ 114598 h 221903"/>
                <a:gd name="connsiteX12" fmla="*/ 372516 w 1089421"/>
                <a:gd name="connsiteY12" fmla="*/ 201067 h 221903"/>
                <a:gd name="connsiteX13" fmla="*/ 416718 w 1089421"/>
                <a:gd name="connsiteY13" fmla="*/ 112961 h 221903"/>
                <a:gd name="connsiteX14" fmla="*/ 373409 w 1089421"/>
                <a:gd name="connsiteY14" fmla="*/ 21878 h 221903"/>
                <a:gd name="connsiteX15" fmla="*/ 1022299 w 1089421"/>
                <a:gd name="connsiteY15" fmla="*/ 1191 h 221903"/>
                <a:gd name="connsiteX16" fmla="*/ 1089421 w 1089421"/>
                <a:gd name="connsiteY16" fmla="*/ 110579 h 221903"/>
                <a:gd name="connsiteX17" fmla="*/ 1084584 w 1089421"/>
                <a:gd name="connsiteY17" fmla="*/ 158056 h 221903"/>
                <a:gd name="connsiteX18" fmla="*/ 1070594 w 1089421"/>
                <a:gd name="connsiteY18" fmla="*/ 192956 h 221903"/>
                <a:gd name="connsiteX19" fmla="*/ 1048121 w 1089421"/>
                <a:gd name="connsiteY19" fmla="*/ 214536 h 221903"/>
                <a:gd name="connsiteX20" fmla="*/ 1017835 w 1089421"/>
                <a:gd name="connsiteY20" fmla="*/ 221903 h 221903"/>
                <a:gd name="connsiteX21" fmla="*/ 989185 w 1089421"/>
                <a:gd name="connsiteY21" fmla="*/ 214834 h 221903"/>
                <a:gd name="connsiteX22" fmla="*/ 967977 w 1089421"/>
                <a:gd name="connsiteY22" fmla="*/ 194221 h 221903"/>
                <a:gd name="connsiteX23" fmla="*/ 954880 w 1089421"/>
                <a:gd name="connsiteY23" fmla="*/ 160958 h 221903"/>
                <a:gd name="connsiteX24" fmla="*/ 950415 w 1089421"/>
                <a:gd name="connsiteY24" fmla="*/ 115788 h 221903"/>
                <a:gd name="connsiteX25" fmla="*/ 955103 w 1089421"/>
                <a:gd name="connsiteY25" fmla="*/ 66377 h 221903"/>
                <a:gd name="connsiteX26" fmla="*/ 968870 w 1089421"/>
                <a:gd name="connsiteY26" fmla="*/ 30435 h 221903"/>
                <a:gd name="connsiteX27" fmla="*/ 991418 w 1089421"/>
                <a:gd name="connsiteY27" fmla="*/ 8558 h 221903"/>
                <a:gd name="connsiteX28" fmla="*/ 1022299 w 1089421"/>
                <a:gd name="connsiteY28" fmla="*/ 1191 h 221903"/>
                <a:gd name="connsiteX29" fmla="*/ 698449 w 1089421"/>
                <a:gd name="connsiteY29" fmla="*/ 1191 h 221903"/>
                <a:gd name="connsiteX30" fmla="*/ 765571 w 1089421"/>
                <a:gd name="connsiteY30" fmla="*/ 110579 h 221903"/>
                <a:gd name="connsiteX31" fmla="*/ 760734 w 1089421"/>
                <a:gd name="connsiteY31" fmla="*/ 158056 h 221903"/>
                <a:gd name="connsiteX32" fmla="*/ 746744 w 1089421"/>
                <a:gd name="connsiteY32" fmla="*/ 192956 h 221903"/>
                <a:gd name="connsiteX33" fmla="*/ 724271 w 1089421"/>
                <a:gd name="connsiteY33" fmla="*/ 214536 h 221903"/>
                <a:gd name="connsiteX34" fmla="*/ 693985 w 1089421"/>
                <a:gd name="connsiteY34" fmla="*/ 221903 h 221903"/>
                <a:gd name="connsiteX35" fmla="*/ 665335 w 1089421"/>
                <a:gd name="connsiteY35" fmla="*/ 214834 h 221903"/>
                <a:gd name="connsiteX36" fmla="*/ 644127 w 1089421"/>
                <a:gd name="connsiteY36" fmla="*/ 194221 h 221903"/>
                <a:gd name="connsiteX37" fmla="*/ 631030 w 1089421"/>
                <a:gd name="connsiteY37" fmla="*/ 160958 h 221903"/>
                <a:gd name="connsiteX38" fmla="*/ 626565 w 1089421"/>
                <a:gd name="connsiteY38" fmla="*/ 115788 h 221903"/>
                <a:gd name="connsiteX39" fmla="*/ 631253 w 1089421"/>
                <a:gd name="connsiteY39" fmla="*/ 66377 h 221903"/>
                <a:gd name="connsiteX40" fmla="*/ 645020 w 1089421"/>
                <a:gd name="connsiteY40" fmla="*/ 30435 h 221903"/>
                <a:gd name="connsiteX41" fmla="*/ 667568 w 1089421"/>
                <a:gd name="connsiteY41" fmla="*/ 8558 h 221903"/>
                <a:gd name="connsiteX42" fmla="*/ 698449 w 1089421"/>
                <a:gd name="connsiteY42" fmla="*/ 1191 h 221903"/>
                <a:gd name="connsiteX43" fmla="*/ 374599 w 1089421"/>
                <a:gd name="connsiteY43" fmla="*/ 1191 h 221903"/>
                <a:gd name="connsiteX44" fmla="*/ 441721 w 1089421"/>
                <a:gd name="connsiteY44" fmla="*/ 110579 h 221903"/>
                <a:gd name="connsiteX45" fmla="*/ 436884 w 1089421"/>
                <a:gd name="connsiteY45" fmla="*/ 158056 h 221903"/>
                <a:gd name="connsiteX46" fmla="*/ 422894 w 1089421"/>
                <a:gd name="connsiteY46" fmla="*/ 192956 h 221903"/>
                <a:gd name="connsiteX47" fmla="*/ 400421 w 1089421"/>
                <a:gd name="connsiteY47" fmla="*/ 214536 h 221903"/>
                <a:gd name="connsiteX48" fmla="*/ 370135 w 1089421"/>
                <a:gd name="connsiteY48" fmla="*/ 221903 h 221903"/>
                <a:gd name="connsiteX49" fmla="*/ 341485 w 1089421"/>
                <a:gd name="connsiteY49" fmla="*/ 214834 h 221903"/>
                <a:gd name="connsiteX50" fmla="*/ 320277 w 1089421"/>
                <a:gd name="connsiteY50" fmla="*/ 194221 h 221903"/>
                <a:gd name="connsiteX51" fmla="*/ 307180 w 1089421"/>
                <a:gd name="connsiteY51" fmla="*/ 160958 h 221903"/>
                <a:gd name="connsiteX52" fmla="*/ 302715 w 1089421"/>
                <a:gd name="connsiteY52" fmla="*/ 115788 h 221903"/>
                <a:gd name="connsiteX53" fmla="*/ 307403 w 1089421"/>
                <a:gd name="connsiteY53" fmla="*/ 66377 h 221903"/>
                <a:gd name="connsiteX54" fmla="*/ 321170 w 1089421"/>
                <a:gd name="connsiteY54" fmla="*/ 30435 h 221903"/>
                <a:gd name="connsiteX55" fmla="*/ 343718 w 1089421"/>
                <a:gd name="connsiteY55" fmla="*/ 8558 h 221903"/>
                <a:gd name="connsiteX56" fmla="*/ 374599 w 1089421"/>
                <a:gd name="connsiteY56" fmla="*/ 1191 h 221903"/>
                <a:gd name="connsiteX57" fmla="*/ 874216 w 1089421"/>
                <a:gd name="connsiteY57" fmla="*/ 0 h 221903"/>
                <a:gd name="connsiteX58" fmla="*/ 883444 w 1089421"/>
                <a:gd name="connsiteY58" fmla="*/ 0 h 221903"/>
                <a:gd name="connsiteX59" fmla="*/ 883444 w 1089421"/>
                <a:gd name="connsiteY59" fmla="*/ 218182 h 221903"/>
                <a:gd name="connsiteX60" fmla="*/ 859036 w 1089421"/>
                <a:gd name="connsiteY60" fmla="*/ 218182 h 221903"/>
                <a:gd name="connsiteX61" fmla="*/ 859036 w 1089421"/>
                <a:gd name="connsiteY61" fmla="*/ 33784 h 221903"/>
                <a:gd name="connsiteX62" fmla="*/ 850776 w 1089421"/>
                <a:gd name="connsiteY62" fmla="*/ 40258 h 221903"/>
                <a:gd name="connsiteX63" fmla="*/ 838572 w 1089421"/>
                <a:gd name="connsiteY63" fmla="*/ 47476 h 221903"/>
                <a:gd name="connsiteX64" fmla="*/ 824285 w 1089421"/>
                <a:gd name="connsiteY64" fmla="*/ 54174 h 221903"/>
                <a:gd name="connsiteX65" fmla="*/ 809625 w 1089421"/>
                <a:gd name="connsiteY65" fmla="*/ 59085 h 221903"/>
                <a:gd name="connsiteX66" fmla="*/ 809625 w 1089421"/>
                <a:gd name="connsiteY66" fmla="*/ 34379 h 221903"/>
                <a:gd name="connsiteX67" fmla="*/ 826666 w 1089421"/>
                <a:gd name="connsiteY67" fmla="*/ 28352 h 221903"/>
                <a:gd name="connsiteX68" fmla="*/ 844376 w 1089421"/>
                <a:gd name="connsiteY68" fmla="*/ 19869 h 221903"/>
                <a:gd name="connsiteX69" fmla="*/ 860822 w 1089421"/>
                <a:gd name="connsiteY69" fmla="*/ 10046 h 221903"/>
                <a:gd name="connsiteX70" fmla="*/ 874216 w 1089421"/>
                <a:gd name="connsiteY70" fmla="*/ 0 h 221903"/>
                <a:gd name="connsiteX71" fmla="*/ 550366 w 1089421"/>
                <a:gd name="connsiteY71" fmla="*/ 0 h 221903"/>
                <a:gd name="connsiteX72" fmla="*/ 559594 w 1089421"/>
                <a:gd name="connsiteY72" fmla="*/ 0 h 221903"/>
                <a:gd name="connsiteX73" fmla="*/ 559594 w 1089421"/>
                <a:gd name="connsiteY73" fmla="*/ 218182 h 221903"/>
                <a:gd name="connsiteX74" fmla="*/ 535186 w 1089421"/>
                <a:gd name="connsiteY74" fmla="*/ 218182 h 221903"/>
                <a:gd name="connsiteX75" fmla="*/ 535186 w 1089421"/>
                <a:gd name="connsiteY75" fmla="*/ 33784 h 221903"/>
                <a:gd name="connsiteX76" fmla="*/ 526926 w 1089421"/>
                <a:gd name="connsiteY76" fmla="*/ 40258 h 221903"/>
                <a:gd name="connsiteX77" fmla="*/ 514722 w 1089421"/>
                <a:gd name="connsiteY77" fmla="*/ 47476 h 221903"/>
                <a:gd name="connsiteX78" fmla="*/ 500435 w 1089421"/>
                <a:gd name="connsiteY78" fmla="*/ 54174 h 221903"/>
                <a:gd name="connsiteX79" fmla="*/ 485775 w 1089421"/>
                <a:gd name="connsiteY79" fmla="*/ 59085 h 221903"/>
                <a:gd name="connsiteX80" fmla="*/ 485775 w 1089421"/>
                <a:gd name="connsiteY80" fmla="*/ 34379 h 221903"/>
                <a:gd name="connsiteX81" fmla="*/ 502816 w 1089421"/>
                <a:gd name="connsiteY81" fmla="*/ 28352 h 221903"/>
                <a:gd name="connsiteX82" fmla="*/ 520526 w 1089421"/>
                <a:gd name="connsiteY82" fmla="*/ 19869 h 221903"/>
                <a:gd name="connsiteX83" fmla="*/ 536972 w 1089421"/>
                <a:gd name="connsiteY83" fmla="*/ 10046 h 221903"/>
                <a:gd name="connsiteX84" fmla="*/ 550366 w 1089421"/>
                <a:gd name="connsiteY84" fmla="*/ 0 h 221903"/>
                <a:gd name="connsiteX85" fmla="*/ 226516 w 1089421"/>
                <a:gd name="connsiteY85" fmla="*/ 0 h 221903"/>
                <a:gd name="connsiteX86" fmla="*/ 235744 w 1089421"/>
                <a:gd name="connsiteY86" fmla="*/ 0 h 221903"/>
                <a:gd name="connsiteX87" fmla="*/ 235744 w 1089421"/>
                <a:gd name="connsiteY87" fmla="*/ 218182 h 221903"/>
                <a:gd name="connsiteX88" fmla="*/ 211336 w 1089421"/>
                <a:gd name="connsiteY88" fmla="*/ 218182 h 221903"/>
                <a:gd name="connsiteX89" fmla="*/ 211336 w 1089421"/>
                <a:gd name="connsiteY89" fmla="*/ 33784 h 221903"/>
                <a:gd name="connsiteX90" fmla="*/ 203076 w 1089421"/>
                <a:gd name="connsiteY90" fmla="*/ 40258 h 221903"/>
                <a:gd name="connsiteX91" fmla="*/ 190872 w 1089421"/>
                <a:gd name="connsiteY91" fmla="*/ 47476 h 221903"/>
                <a:gd name="connsiteX92" fmla="*/ 176585 w 1089421"/>
                <a:gd name="connsiteY92" fmla="*/ 54174 h 221903"/>
                <a:gd name="connsiteX93" fmla="*/ 161925 w 1089421"/>
                <a:gd name="connsiteY93" fmla="*/ 59085 h 221903"/>
                <a:gd name="connsiteX94" fmla="*/ 161925 w 1089421"/>
                <a:gd name="connsiteY94" fmla="*/ 34379 h 221903"/>
                <a:gd name="connsiteX95" fmla="*/ 178966 w 1089421"/>
                <a:gd name="connsiteY95" fmla="*/ 28352 h 221903"/>
                <a:gd name="connsiteX96" fmla="*/ 196676 w 1089421"/>
                <a:gd name="connsiteY96" fmla="*/ 19869 h 221903"/>
                <a:gd name="connsiteX97" fmla="*/ 213122 w 1089421"/>
                <a:gd name="connsiteY97" fmla="*/ 10046 h 221903"/>
                <a:gd name="connsiteX98" fmla="*/ 226516 w 1089421"/>
                <a:gd name="connsiteY98" fmla="*/ 0 h 221903"/>
                <a:gd name="connsiteX99" fmla="*/ 64591 w 1089421"/>
                <a:gd name="connsiteY99" fmla="*/ 0 h 221903"/>
                <a:gd name="connsiteX100" fmla="*/ 73819 w 1089421"/>
                <a:gd name="connsiteY100" fmla="*/ 0 h 221903"/>
                <a:gd name="connsiteX101" fmla="*/ 73819 w 1089421"/>
                <a:gd name="connsiteY101" fmla="*/ 218182 h 221903"/>
                <a:gd name="connsiteX102" fmla="*/ 49411 w 1089421"/>
                <a:gd name="connsiteY102" fmla="*/ 218182 h 221903"/>
                <a:gd name="connsiteX103" fmla="*/ 49411 w 1089421"/>
                <a:gd name="connsiteY103" fmla="*/ 33784 h 221903"/>
                <a:gd name="connsiteX104" fmla="*/ 41151 w 1089421"/>
                <a:gd name="connsiteY104" fmla="*/ 40258 h 221903"/>
                <a:gd name="connsiteX105" fmla="*/ 28947 w 1089421"/>
                <a:gd name="connsiteY105" fmla="*/ 47476 h 221903"/>
                <a:gd name="connsiteX106" fmla="*/ 14660 w 1089421"/>
                <a:gd name="connsiteY106" fmla="*/ 54174 h 221903"/>
                <a:gd name="connsiteX107" fmla="*/ 0 w 1089421"/>
                <a:gd name="connsiteY107" fmla="*/ 59085 h 221903"/>
                <a:gd name="connsiteX108" fmla="*/ 0 w 1089421"/>
                <a:gd name="connsiteY108" fmla="*/ 34379 h 221903"/>
                <a:gd name="connsiteX109" fmla="*/ 17041 w 1089421"/>
                <a:gd name="connsiteY109" fmla="*/ 28352 h 221903"/>
                <a:gd name="connsiteX110" fmla="*/ 34751 w 1089421"/>
                <a:gd name="connsiteY110" fmla="*/ 19869 h 221903"/>
                <a:gd name="connsiteX111" fmla="*/ 51197 w 1089421"/>
                <a:gd name="connsiteY111" fmla="*/ 10046 h 221903"/>
                <a:gd name="connsiteX112" fmla="*/ 64591 w 1089421"/>
                <a:gd name="connsiteY112" fmla="*/ 0 h 2219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Lst>
              <a:rect l="l" t="t" r="r" b="b"/>
              <a:pathLst>
                <a:path w="1089421" h="221903">
                  <a:moveTo>
                    <a:pt x="1021109" y="21878"/>
                  </a:moveTo>
                  <a:cubicBezTo>
                    <a:pt x="990649" y="21878"/>
                    <a:pt x="975419" y="52784"/>
                    <a:pt x="975419" y="114598"/>
                  </a:cubicBezTo>
                  <a:cubicBezTo>
                    <a:pt x="975419" y="172244"/>
                    <a:pt x="990351" y="201067"/>
                    <a:pt x="1020216" y="201067"/>
                  </a:cubicBezTo>
                  <a:cubicBezTo>
                    <a:pt x="1049684" y="201067"/>
                    <a:pt x="1064418" y="171698"/>
                    <a:pt x="1064418" y="112961"/>
                  </a:cubicBezTo>
                  <a:cubicBezTo>
                    <a:pt x="1064418" y="52239"/>
                    <a:pt x="1049981" y="21878"/>
                    <a:pt x="1021109" y="21878"/>
                  </a:cubicBezTo>
                  <a:close/>
                  <a:moveTo>
                    <a:pt x="697259" y="21878"/>
                  </a:moveTo>
                  <a:cubicBezTo>
                    <a:pt x="666799" y="21878"/>
                    <a:pt x="651569" y="52784"/>
                    <a:pt x="651569" y="114598"/>
                  </a:cubicBezTo>
                  <a:cubicBezTo>
                    <a:pt x="651569" y="172244"/>
                    <a:pt x="666501" y="201067"/>
                    <a:pt x="696366" y="201067"/>
                  </a:cubicBezTo>
                  <a:cubicBezTo>
                    <a:pt x="725834" y="201067"/>
                    <a:pt x="740568" y="171698"/>
                    <a:pt x="740568" y="112961"/>
                  </a:cubicBezTo>
                  <a:cubicBezTo>
                    <a:pt x="740568" y="52239"/>
                    <a:pt x="726131" y="21878"/>
                    <a:pt x="697259" y="21878"/>
                  </a:cubicBezTo>
                  <a:close/>
                  <a:moveTo>
                    <a:pt x="373409" y="21878"/>
                  </a:moveTo>
                  <a:cubicBezTo>
                    <a:pt x="342949" y="21878"/>
                    <a:pt x="327719" y="52784"/>
                    <a:pt x="327719" y="114598"/>
                  </a:cubicBezTo>
                  <a:cubicBezTo>
                    <a:pt x="327719" y="172244"/>
                    <a:pt x="342651" y="201067"/>
                    <a:pt x="372516" y="201067"/>
                  </a:cubicBezTo>
                  <a:cubicBezTo>
                    <a:pt x="401984" y="201067"/>
                    <a:pt x="416718" y="171698"/>
                    <a:pt x="416718" y="112961"/>
                  </a:cubicBezTo>
                  <a:cubicBezTo>
                    <a:pt x="416718" y="52239"/>
                    <a:pt x="402281" y="21878"/>
                    <a:pt x="373409" y="21878"/>
                  </a:cubicBezTo>
                  <a:close/>
                  <a:moveTo>
                    <a:pt x="1022299" y="1191"/>
                  </a:moveTo>
                  <a:cubicBezTo>
                    <a:pt x="1067047" y="1191"/>
                    <a:pt x="1089421" y="37654"/>
                    <a:pt x="1089421" y="110579"/>
                  </a:cubicBezTo>
                  <a:cubicBezTo>
                    <a:pt x="1089421" y="128439"/>
                    <a:pt x="1087809" y="144264"/>
                    <a:pt x="1084584" y="158056"/>
                  </a:cubicBezTo>
                  <a:cubicBezTo>
                    <a:pt x="1081359" y="171847"/>
                    <a:pt x="1076696" y="183480"/>
                    <a:pt x="1070594" y="192956"/>
                  </a:cubicBezTo>
                  <a:cubicBezTo>
                    <a:pt x="1064492" y="202431"/>
                    <a:pt x="1057001" y="209625"/>
                    <a:pt x="1048121" y="214536"/>
                  </a:cubicBezTo>
                  <a:cubicBezTo>
                    <a:pt x="1039241" y="219447"/>
                    <a:pt x="1029145" y="221903"/>
                    <a:pt x="1017835" y="221903"/>
                  </a:cubicBezTo>
                  <a:cubicBezTo>
                    <a:pt x="1007119" y="221903"/>
                    <a:pt x="997569" y="219546"/>
                    <a:pt x="989185" y="214834"/>
                  </a:cubicBezTo>
                  <a:cubicBezTo>
                    <a:pt x="980801" y="210121"/>
                    <a:pt x="973732" y="203250"/>
                    <a:pt x="967977" y="194221"/>
                  </a:cubicBezTo>
                  <a:cubicBezTo>
                    <a:pt x="962222" y="185192"/>
                    <a:pt x="957857" y="174104"/>
                    <a:pt x="954880" y="160958"/>
                  </a:cubicBezTo>
                  <a:cubicBezTo>
                    <a:pt x="951904" y="147811"/>
                    <a:pt x="950415" y="132755"/>
                    <a:pt x="950415" y="115788"/>
                  </a:cubicBezTo>
                  <a:cubicBezTo>
                    <a:pt x="950415" y="97135"/>
                    <a:pt x="951978" y="80665"/>
                    <a:pt x="955103" y="66377"/>
                  </a:cubicBezTo>
                  <a:cubicBezTo>
                    <a:pt x="958229" y="52090"/>
                    <a:pt x="962818" y="40109"/>
                    <a:pt x="968870" y="30435"/>
                  </a:cubicBezTo>
                  <a:cubicBezTo>
                    <a:pt x="974922" y="20762"/>
                    <a:pt x="982438" y="13469"/>
                    <a:pt x="991418" y="8558"/>
                  </a:cubicBezTo>
                  <a:cubicBezTo>
                    <a:pt x="1000397" y="3646"/>
                    <a:pt x="1010691" y="1191"/>
                    <a:pt x="1022299" y="1191"/>
                  </a:cubicBezTo>
                  <a:close/>
                  <a:moveTo>
                    <a:pt x="698449" y="1191"/>
                  </a:moveTo>
                  <a:cubicBezTo>
                    <a:pt x="743197" y="1191"/>
                    <a:pt x="765571" y="37654"/>
                    <a:pt x="765571" y="110579"/>
                  </a:cubicBezTo>
                  <a:cubicBezTo>
                    <a:pt x="765571" y="128439"/>
                    <a:pt x="763959" y="144264"/>
                    <a:pt x="760734" y="158056"/>
                  </a:cubicBezTo>
                  <a:cubicBezTo>
                    <a:pt x="757509" y="171847"/>
                    <a:pt x="752846" y="183480"/>
                    <a:pt x="746744" y="192956"/>
                  </a:cubicBezTo>
                  <a:cubicBezTo>
                    <a:pt x="740642" y="202431"/>
                    <a:pt x="733151" y="209625"/>
                    <a:pt x="724271" y="214536"/>
                  </a:cubicBezTo>
                  <a:cubicBezTo>
                    <a:pt x="715391" y="219447"/>
                    <a:pt x="705295" y="221903"/>
                    <a:pt x="693985" y="221903"/>
                  </a:cubicBezTo>
                  <a:cubicBezTo>
                    <a:pt x="683269" y="221903"/>
                    <a:pt x="673719" y="219546"/>
                    <a:pt x="665335" y="214834"/>
                  </a:cubicBezTo>
                  <a:cubicBezTo>
                    <a:pt x="656951" y="210121"/>
                    <a:pt x="649882" y="203250"/>
                    <a:pt x="644127" y="194221"/>
                  </a:cubicBezTo>
                  <a:cubicBezTo>
                    <a:pt x="638372" y="185192"/>
                    <a:pt x="634007" y="174104"/>
                    <a:pt x="631030" y="160958"/>
                  </a:cubicBezTo>
                  <a:cubicBezTo>
                    <a:pt x="628054" y="147811"/>
                    <a:pt x="626565" y="132755"/>
                    <a:pt x="626565" y="115788"/>
                  </a:cubicBezTo>
                  <a:cubicBezTo>
                    <a:pt x="626565" y="97135"/>
                    <a:pt x="628128" y="80665"/>
                    <a:pt x="631253" y="66377"/>
                  </a:cubicBezTo>
                  <a:cubicBezTo>
                    <a:pt x="634379" y="52090"/>
                    <a:pt x="638968" y="40109"/>
                    <a:pt x="645020" y="30435"/>
                  </a:cubicBezTo>
                  <a:cubicBezTo>
                    <a:pt x="651072" y="20762"/>
                    <a:pt x="658588" y="13469"/>
                    <a:pt x="667568" y="8558"/>
                  </a:cubicBezTo>
                  <a:cubicBezTo>
                    <a:pt x="676547" y="3646"/>
                    <a:pt x="686841" y="1191"/>
                    <a:pt x="698449" y="1191"/>
                  </a:cubicBezTo>
                  <a:close/>
                  <a:moveTo>
                    <a:pt x="374599" y="1191"/>
                  </a:moveTo>
                  <a:cubicBezTo>
                    <a:pt x="419347" y="1191"/>
                    <a:pt x="441721" y="37654"/>
                    <a:pt x="441721" y="110579"/>
                  </a:cubicBezTo>
                  <a:cubicBezTo>
                    <a:pt x="441721" y="128439"/>
                    <a:pt x="440109" y="144264"/>
                    <a:pt x="436884" y="158056"/>
                  </a:cubicBezTo>
                  <a:cubicBezTo>
                    <a:pt x="433659" y="171847"/>
                    <a:pt x="428996" y="183480"/>
                    <a:pt x="422894" y="192956"/>
                  </a:cubicBezTo>
                  <a:cubicBezTo>
                    <a:pt x="416792" y="202431"/>
                    <a:pt x="409301" y="209625"/>
                    <a:pt x="400421" y="214536"/>
                  </a:cubicBezTo>
                  <a:cubicBezTo>
                    <a:pt x="391541" y="219447"/>
                    <a:pt x="381445" y="221903"/>
                    <a:pt x="370135" y="221903"/>
                  </a:cubicBezTo>
                  <a:cubicBezTo>
                    <a:pt x="359419" y="221903"/>
                    <a:pt x="349869" y="219546"/>
                    <a:pt x="341485" y="214834"/>
                  </a:cubicBezTo>
                  <a:cubicBezTo>
                    <a:pt x="333101" y="210121"/>
                    <a:pt x="326032" y="203250"/>
                    <a:pt x="320277" y="194221"/>
                  </a:cubicBezTo>
                  <a:cubicBezTo>
                    <a:pt x="314522" y="185192"/>
                    <a:pt x="310157" y="174104"/>
                    <a:pt x="307180" y="160958"/>
                  </a:cubicBezTo>
                  <a:cubicBezTo>
                    <a:pt x="304204" y="147811"/>
                    <a:pt x="302715" y="132755"/>
                    <a:pt x="302715" y="115788"/>
                  </a:cubicBezTo>
                  <a:cubicBezTo>
                    <a:pt x="302715" y="97135"/>
                    <a:pt x="304278" y="80665"/>
                    <a:pt x="307403" y="66377"/>
                  </a:cubicBezTo>
                  <a:cubicBezTo>
                    <a:pt x="310529" y="52090"/>
                    <a:pt x="315118" y="40109"/>
                    <a:pt x="321170" y="30435"/>
                  </a:cubicBezTo>
                  <a:cubicBezTo>
                    <a:pt x="327222" y="20762"/>
                    <a:pt x="334738" y="13469"/>
                    <a:pt x="343718" y="8558"/>
                  </a:cubicBezTo>
                  <a:cubicBezTo>
                    <a:pt x="352697" y="3646"/>
                    <a:pt x="362991" y="1191"/>
                    <a:pt x="374599" y="1191"/>
                  </a:cubicBezTo>
                  <a:close/>
                  <a:moveTo>
                    <a:pt x="874216" y="0"/>
                  </a:moveTo>
                  <a:lnTo>
                    <a:pt x="883444" y="0"/>
                  </a:lnTo>
                  <a:lnTo>
                    <a:pt x="883444" y="218182"/>
                  </a:lnTo>
                  <a:lnTo>
                    <a:pt x="859036" y="218182"/>
                  </a:lnTo>
                  <a:lnTo>
                    <a:pt x="859036" y="33784"/>
                  </a:lnTo>
                  <a:cubicBezTo>
                    <a:pt x="857151" y="35669"/>
                    <a:pt x="854397" y="37827"/>
                    <a:pt x="850776" y="40258"/>
                  </a:cubicBezTo>
                  <a:cubicBezTo>
                    <a:pt x="847154" y="42689"/>
                    <a:pt x="843087" y="45095"/>
                    <a:pt x="838572" y="47476"/>
                  </a:cubicBezTo>
                  <a:cubicBezTo>
                    <a:pt x="834058" y="49858"/>
                    <a:pt x="829295" y="52090"/>
                    <a:pt x="824285" y="54174"/>
                  </a:cubicBezTo>
                  <a:cubicBezTo>
                    <a:pt x="819274" y="56257"/>
                    <a:pt x="814388" y="57894"/>
                    <a:pt x="809625" y="59085"/>
                  </a:cubicBezTo>
                  <a:lnTo>
                    <a:pt x="809625" y="34379"/>
                  </a:lnTo>
                  <a:cubicBezTo>
                    <a:pt x="814983" y="32891"/>
                    <a:pt x="820663" y="30882"/>
                    <a:pt x="826666" y="28352"/>
                  </a:cubicBezTo>
                  <a:cubicBezTo>
                    <a:pt x="832669" y="25822"/>
                    <a:pt x="838572" y="22994"/>
                    <a:pt x="844376" y="19869"/>
                  </a:cubicBezTo>
                  <a:cubicBezTo>
                    <a:pt x="850181" y="16743"/>
                    <a:pt x="855662" y="13469"/>
                    <a:pt x="860822" y="10046"/>
                  </a:cubicBezTo>
                  <a:cubicBezTo>
                    <a:pt x="865981" y="6623"/>
                    <a:pt x="870446" y="3274"/>
                    <a:pt x="874216" y="0"/>
                  </a:cubicBezTo>
                  <a:close/>
                  <a:moveTo>
                    <a:pt x="550366" y="0"/>
                  </a:moveTo>
                  <a:lnTo>
                    <a:pt x="559594" y="0"/>
                  </a:lnTo>
                  <a:lnTo>
                    <a:pt x="559594" y="218182"/>
                  </a:lnTo>
                  <a:lnTo>
                    <a:pt x="535186" y="218182"/>
                  </a:lnTo>
                  <a:lnTo>
                    <a:pt x="535186" y="33784"/>
                  </a:lnTo>
                  <a:cubicBezTo>
                    <a:pt x="533301" y="35669"/>
                    <a:pt x="530547" y="37827"/>
                    <a:pt x="526926" y="40258"/>
                  </a:cubicBezTo>
                  <a:cubicBezTo>
                    <a:pt x="523305" y="42689"/>
                    <a:pt x="519237" y="45095"/>
                    <a:pt x="514722" y="47476"/>
                  </a:cubicBezTo>
                  <a:cubicBezTo>
                    <a:pt x="510208" y="49858"/>
                    <a:pt x="505445" y="52090"/>
                    <a:pt x="500435" y="54174"/>
                  </a:cubicBezTo>
                  <a:cubicBezTo>
                    <a:pt x="495424" y="56257"/>
                    <a:pt x="490538" y="57894"/>
                    <a:pt x="485775" y="59085"/>
                  </a:cubicBezTo>
                  <a:lnTo>
                    <a:pt x="485775" y="34379"/>
                  </a:lnTo>
                  <a:cubicBezTo>
                    <a:pt x="491133" y="32891"/>
                    <a:pt x="496813" y="30882"/>
                    <a:pt x="502816" y="28352"/>
                  </a:cubicBezTo>
                  <a:cubicBezTo>
                    <a:pt x="508819" y="25822"/>
                    <a:pt x="514722" y="22994"/>
                    <a:pt x="520526" y="19869"/>
                  </a:cubicBezTo>
                  <a:cubicBezTo>
                    <a:pt x="526331" y="16743"/>
                    <a:pt x="531813" y="13469"/>
                    <a:pt x="536972" y="10046"/>
                  </a:cubicBezTo>
                  <a:cubicBezTo>
                    <a:pt x="542131" y="6623"/>
                    <a:pt x="546596" y="3274"/>
                    <a:pt x="550366" y="0"/>
                  </a:cubicBezTo>
                  <a:close/>
                  <a:moveTo>
                    <a:pt x="226516" y="0"/>
                  </a:moveTo>
                  <a:lnTo>
                    <a:pt x="235744" y="0"/>
                  </a:lnTo>
                  <a:lnTo>
                    <a:pt x="235744" y="218182"/>
                  </a:lnTo>
                  <a:lnTo>
                    <a:pt x="211336" y="218182"/>
                  </a:lnTo>
                  <a:lnTo>
                    <a:pt x="211336" y="33784"/>
                  </a:lnTo>
                  <a:cubicBezTo>
                    <a:pt x="209451" y="35669"/>
                    <a:pt x="206697" y="37827"/>
                    <a:pt x="203076" y="40258"/>
                  </a:cubicBezTo>
                  <a:cubicBezTo>
                    <a:pt x="199454" y="42689"/>
                    <a:pt x="195387" y="45095"/>
                    <a:pt x="190872" y="47476"/>
                  </a:cubicBezTo>
                  <a:cubicBezTo>
                    <a:pt x="186358" y="49858"/>
                    <a:pt x="181595" y="52090"/>
                    <a:pt x="176585" y="54174"/>
                  </a:cubicBezTo>
                  <a:cubicBezTo>
                    <a:pt x="171574" y="56257"/>
                    <a:pt x="166687" y="57894"/>
                    <a:pt x="161925" y="59085"/>
                  </a:cubicBezTo>
                  <a:lnTo>
                    <a:pt x="161925" y="34379"/>
                  </a:lnTo>
                  <a:cubicBezTo>
                    <a:pt x="167283" y="32891"/>
                    <a:pt x="172963" y="30882"/>
                    <a:pt x="178966" y="28352"/>
                  </a:cubicBezTo>
                  <a:cubicBezTo>
                    <a:pt x="184969" y="25822"/>
                    <a:pt x="190872" y="22994"/>
                    <a:pt x="196676" y="19869"/>
                  </a:cubicBezTo>
                  <a:cubicBezTo>
                    <a:pt x="202481" y="16743"/>
                    <a:pt x="207962" y="13469"/>
                    <a:pt x="213122" y="10046"/>
                  </a:cubicBezTo>
                  <a:cubicBezTo>
                    <a:pt x="218281" y="6623"/>
                    <a:pt x="222746" y="3274"/>
                    <a:pt x="226516" y="0"/>
                  </a:cubicBezTo>
                  <a:close/>
                  <a:moveTo>
                    <a:pt x="64591" y="0"/>
                  </a:moveTo>
                  <a:lnTo>
                    <a:pt x="73819" y="0"/>
                  </a:lnTo>
                  <a:lnTo>
                    <a:pt x="73819" y="218182"/>
                  </a:lnTo>
                  <a:lnTo>
                    <a:pt x="49411" y="218182"/>
                  </a:lnTo>
                  <a:lnTo>
                    <a:pt x="49411" y="33784"/>
                  </a:lnTo>
                  <a:cubicBezTo>
                    <a:pt x="47526" y="35669"/>
                    <a:pt x="44772" y="37827"/>
                    <a:pt x="41151" y="40258"/>
                  </a:cubicBezTo>
                  <a:cubicBezTo>
                    <a:pt x="37529" y="42689"/>
                    <a:pt x="33462" y="45095"/>
                    <a:pt x="28947" y="47476"/>
                  </a:cubicBezTo>
                  <a:cubicBezTo>
                    <a:pt x="24433" y="49858"/>
                    <a:pt x="19670" y="52090"/>
                    <a:pt x="14660" y="54174"/>
                  </a:cubicBezTo>
                  <a:cubicBezTo>
                    <a:pt x="9649" y="56257"/>
                    <a:pt x="4762" y="57894"/>
                    <a:pt x="0" y="59085"/>
                  </a:cubicBezTo>
                  <a:lnTo>
                    <a:pt x="0" y="34379"/>
                  </a:lnTo>
                  <a:cubicBezTo>
                    <a:pt x="5358" y="32891"/>
                    <a:pt x="11038" y="30882"/>
                    <a:pt x="17041" y="28352"/>
                  </a:cubicBezTo>
                  <a:cubicBezTo>
                    <a:pt x="23044" y="25822"/>
                    <a:pt x="28947" y="22994"/>
                    <a:pt x="34751" y="19869"/>
                  </a:cubicBezTo>
                  <a:cubicBezTo>
                    <a:pt x="40556" y="16743"/>
                    <a:pt x="46037" y="13469"/>
                    <a:pt x="51197" y="10046"/>
                  </a:cubicBezTo>
                  <a:cubicBezTo>
                    <a:pt x="56356" y="6623"/>
                    <a:pt x="60821" y="3274"/>
                    <a:pt x="64591" y="0"/>
                  </a:cubicBezTo>
                  <a:close/>
                </a:path>
              </a:pathLst>
            </a:cu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5439">
                      <a:srgbClr val="F8F8F8"/>
                    </a:gs>
                    <a:gs pos="10000">
                      <a:srgbClr val="F8F8F8"/>
                    </a:gs>
                  </a:gsLst>
                  <a:lin ang="5400000" scaled="0"/>
                </a:gradFill>
                <a:effectLst/>
                <a:uLnTx/>
                <a:uFillTx/>
              </a:endParaRPr>
            </a:p>
          </p:txBody>
        </p:sp>
        <p:sp>
          <p:nvSpPr>
            <p:cNvPr id="528" name="Freeform: Shape 527"/>
            <p:cNvSpPr/>
            <p:nvPr/>
          </p:nvSpPr>
          <p:spPr bwMode="auto">
            <a:xfrm>
              <a:off x="6729423" y="2617411"/>
              <a:ext cx="684188" cy="139362"/>
            </a:xfrm>
            <a:custGeom>
              <a:avLst/>
              <a:gdLst>
                <a:gd name="connsiteX0" fmla="*/ 1021109 w 1089421"/>
                <a:gd name="connsiteY0" fmla="*/ 21878 h 221903"/>
                <a:gd name="connsiteX1" fmla="*/ 975419 w 1089421"/>
                <a:gd name="connsiteY1" fmla="*/ 114598 h 221903"/>
                <a:gd name="connsiteX2" fmla="*/ 1020216 w 1089421"/>
                <a:gd name="connsiteY2" fmla="*/ 201067 h 221903"/>
                <a:gd name="connsiteX3" fmla="*/ 1064418 w 1089421"/>
                <a:gd name="connsiteY3" fmla="*/ 112961 h 221903"/>
                <a:gd name="connsiteX4" fmla="*/ 1021109 w 1089421"/>
                <a:gd name="connsiteY4" fmla="*/ 21878 h 221903"/>
                <a:gd name="connsiteX5" fmla="*/ 535334 w 1089421"/>
                <a:gd name="connsiteY5" fmla="*/ 21878 h 221903"/>
                <a:gd name="connsiteX6" fmla="*/ 489643 w 1089421"/>
                <a:gd name="connsiteY6" fmla="*/ 114598 h 221903"/>
                <a:gd name="connsiteX7" fmla="*/ 534441 w 1089421"/>
                <a:gd name="connsiteY7" fmla="*/ 201067 h 221903"/>
                <a:gd name="connsiteX8" fmla="*/ 578643 w 1089421"/>
                <a:gd name="connsiteY8" fmla="*/ 112961 h 221903"/>
                <a:gd name="connsiteX9" fmla="*/ 535334 w 1089421"/>
                <a:gd name="connsiteY9" fmla="*/ 21878 h 221903"/>
                <a:gd name="connsiteX10" fmla="*/ 211484 w 1089421"/>
                <a:gd name="connsiteY10" fmla="*/ 21878 h 221903"/>
                <a:gd name="connsiteX11" fmla="*/ 165793 w 1089421"/>
                <a:gd name="connsiteY11" fmla="*/ 114598 h 221903"/>
                <a:gd name="connsiteX12" fmla="*/ 210591 w 1089421"/>
                <a:gd name="connsiteY12" fmla="*/ 201067 h 221903"/>
                <a:gd name="connsiteX13" fmla="*/ 254793 w 1089421"/>
                <a:gd name="connsiteY13" fmla="*/ 112961 h 221903"/>
                <a:gd name="connsiteX14" fmla="*/ 211484 w 1089421"/>
                <a:gd name="connsiteY14" fmla="*/ 21878 h 221903"/>
                <a:gd name="connsiteX15" fmla="*/ 1022299 w 1089421"/>
                <a:gd name="connsiteY15" fmla="*/ 1191 h 221903"/>
                <a:gd name="connsiteX16" fmla="*/ 1089421 w 1089421"/>
                <a:gd name="connsiteY16" fmla="*/ 110579 h 221903"/>
                <a:gd name="connsiteX17" fmla="*/ 1084584 w 1089421"/>
                <a:gd name="connsiteY17" fmla="*/ 158056 h 221903"/>
                <a:gd name="connsiteX18" fmla="*/ 1070594 w 1089421"/>
                <a:gd name="connsiteY18" fmla="*/ 192956 h 221903"/>
                <a:gd name="connsiteX19" fmla="*/ 1048121 w 1089421"/>
                <a:gd name="connsiteY19" fmla="*/ 214536 h 221903"/>
                <a:gd name="connsiteX20" fmla="*/ 1017835 w 1089421"/>
                <a:gd name="connsiteY20" fmla="*/ 221903 h 221903"/>
                <a:gd name="connsiteX21" fmla="*/ 989185 w 1089421"/>
                <a:gd name="connsiteY21" fmla="*/ 214834 h 221903"/>
                <a:gd name="connsiteX22" fmla="*/ 967977 w 1089421"/>
                <a:gd name="connsiteY22" fmla="*/ 194221 h 221903"/>
                <a:gd name="connsiteX23" fmla="*/ 954880 w 1089421"/>
                <a:gd name="connsiteY23" fmla="*/ 160958 h 221903"/>
                <a:gd name="connsiteX24" fmla="*/ 950415 w 1089421"/>
                <a:gd name="connsiteY24" fmla="*/ 115788 h 221903"/>
                <a:gd name="connsiteX25" fmla="*/ 955103 w 1089421"/>
                <a:gd name="connsiteY25" fmla="*/ 66377 h 221903"/>
                <a:gd name="connsiteX26" fmla="*/ 968870 w 1089421"/>
                <a:gd name="connsiteY26" fmla="*/ 30435 h 221903"/>
                <a:gd name="connsiteX27" fmla="*/ 991418 w 1089421"/>
                <a:gd name="connsiteY27" fmla="*/ 8558 h 221903"/>
                <a:gd name="connsiteX28" fmla="*/ 1022299 w 1089421"/>
                <a:gd name="connsiteY28" fmla="*/ 1191 h 221903"/>
                <a:gd name="connsiteX29" fmla="*/ 536524 w 1089421"/>
                <a:gd name="connsiteY29" fmla="*/ 1191 h 221903"/>
                <a:gd name="connsiteX30" fmla="*/ 603646 w 1089421"/>
                <a:gd name="connsiteY30" fmla="*/ 110579 h 221903"/>
                <a:gd name="connsiteX31" fmla="*/ 598809 w 1089421"/>
                <a:gd name="connsiteY31" fmla="*/ 158056 h 221903"/>
                <a:gd name="connsiteX32" fmla="*/ 584819 w 1089421"/>
                <a:gd name="connsiteY32" fmla="*/ 192956 h 221903"/>
                <a:gd name="connsiteX33" fmla="*/ 562346 w 1089421"/>
                <a:gd name="connsiteY33" fmla="*/ 214536 h 221903"/>
                <a:gd name="connsiteX34" fmla="*/ 532060 w 1089421"/>
                <a:gd name="connsiteY34" fmla="*/ 221903 h 221903"/>
                <a:gd name="connsiteX35" fmla="*/ 503410 w 1089421"/>
                <a:gd name="connsiteY35" fmla="*/ 214834 h 221903"/>
                <a:gd name="connsiteX36" fmla="*/ 482202 w 1089421"/>
                <a:gd name="connsiteY36" fmla="*/ 194221 h 221903"/>
                <a:gd name="connsiteX37" fmla="*/ 469105 w 1089421"/>
                <a:gd name="connsiteY37" fmla="*/ 160958 h 221903"/>
                <a:gd name="connsiteX38" fmla="*/ 464640 w 1089421"/>
                <a:gd name="connsiteY38" fmla="*/ 115788 h 221903"/>
                <a:gd name="connsiteX39" fmla="*/ 469328 w 1089421"/>
                <a:gd name="connsiteY39" fmla="*/ 66377 h 221903"/>
                <a:gd name="connsiteX40" fmla="*/ 483095 w 1089421"/>
                <a:gd name="connsiteY40" fmla="*/ 30435 h 221903"/>
                <a:gd name="connsiteX41" fmla="*/ 505643 w 1089421"/>
                <a:gd name="connsiteY41" fmla="*/ 8558 h 221903"/>
                <a:gd name="connsiteX42" fmla="*/ 536524 w 1089421"/>
                <a:gd name="connsiteY42" fmla="*/ 1191 h 221903"/>
                <a:gd name="connsiteX43" fmla="*/ 212674 w 1089421"/>
                <a:gd name="connsiteY43" fmla="*/ 1191 h 221903"/>
                <a:gd name="connsiteX44" fmla="*/ 279796 w 1089421"/>
                <a:gd name="connsiteY44" fmla="*/ 110579 h 221903"/>
                <a:gd name="connsiteX45" fmla="*/ 274959 w 1089421"/>
                <a:gd name="connsiteY45" fmla="*/ 158056 h 221903"/>
                <a:gd name="connsiteX46" fmla="*/ 260969 w 1089421"/>
                <a:gd name="connsiteY46" fmla="*/ 192956 h 221903"/>
                <a:gd name="connsiteX47" fmla="*/ 238496 w 1089421"/>
                <a:gd name="connsiteY47" fmla="*/ 214536 h 221903"/>
                <a:gd name="connsiteX48" fmla="*/ 208210 w 1089421"/>
                <a:gd name="connsiteY48" fmla="*/ 221903 h 221903"/>
                <a:gd name="connsiteX49" fmla="*/ 179560 w 1089421"/>
                <a:gd name="connsiteY49" fmla="*/ 214834 h 221903"/>
                <a:gd name="connsiteX50" fmla="*/ 158352 w 1089421"/>
                <a:gd name="connsiteY50" fmla="*/ 194221 h 221903"/>
                <a:gd name="connsiteX51" fmla="*/ 145255 w 1089421"/>
                <a:gd name="connsiteY51" fmla="*/ 160958 h 221903"/>
                <a:gd name="connsiteX52" fmla="*/ 140790 w 1089421"/>
                <a:gd name="connsiteY52" fmla="*/ 115788 h 221903"/>
                <a:gd name="connsiteX53" fmla="*/ 145478 w 1089421"/>
                <a:gd name="connsiteY53" fmla="*/ 66377 h 221903"/>
                <a:gd name="connsiteX54" fmla="*/ 159245 w 1089421"/>
                <a:gd name="connsiteY54" fmla="*/ 30435 h 221903"/>
                <a:gd name="connsiteX55" fmla="*/ 181793 w 1089421"/>
                <a:gd name="connsiteY55" fmla="*/ 8558 h 221903"/>
                <a:gd name="connsiteX56" fmla="*/ 212674 w 1089421"/>
                <a:gd name="connsiteY56" fmla="*/ 1191 h 221903"/>
                <a:gd name="connsiteX57" fmla="*/ 874216 w 1089421"/>
                <a:gd name="connsiteY57" fmla="*/ 0 h 221903"/>
                <a:gd name="connsiteX58" fmla="*/ 883444 w 1089421"/>
                <a:gd name="connsiteY58" fmla="*/ 0 h 221903"/>
                <a:gd name="connsiteX59" fmla="*/ 883444 w 1089421"/>
                <a:gd name="connsiteY59" fmla="*/ 218182 h 221903"/>
                <a:gd name="connsiteX60" fmla="*/ 859036 w 1089421"/>
                <a:gd name="connsiteY60" fmla="*/ 218182 h 221903"/>
                <a:gd name="connsiteX61" fmla="*/ 859036 w 1089421"/>
                <a:gd name="connsiteY61" fmla="*/ 33784 h 221903"/>
                <a:gd name="connsiteX62" fmla="*/ 850776 w 1089421"/>
                <a:gd name="connsiteY62" fmla="*/ 40258 h 221903"/>
                <a:gd name="connsiteX63" fmla="*/ 838572 w 1089421"/>
                <a:gd name="connsiteY63" fmla="*/ 47476 h 221903"/>
                <a:gd name="connsiteX64" fmla="*/ 824285 w 1089421"/>
                <a:gd name="connsiteY64" fmla="*/ 54174 h 221903"/>
                <a:gd name="connsiteX65" fmla="*/ 809625 w 1089421"/>
                <a:gd name="connsiteY65" fmla="*/ 59085 h 221903"/>
                <a:gd name="connsiteX66" fmla="*/ 809625 w 1089421"/>
                <a:gd name="connsiteY66" fmla="*/ 34379 h 221903"/>
                <a:gd name="connsiteX67" fmla="*/ 826666 w 1089421"/>
                <a:gd name="connsiteY67" fmla="*/ 28352 h 221903"/>
                <a:gd name="connsiteX68" fmla="*/ 844376 w 1089421"/>
                <a:gd name="connsiteY68" fmla="*/ 19869 h 221903"/>
                <a:gd name="connsiteX69" fmla="*/ 860822 w 1089421"/>
                <a:gd name="connsiteY69" fmla="*/ 10046 h 221903"/>
                <a:gd name="connsiteX70" fmla="*/ 874216 w 1089421"/>
                <a:gd name="connsiteY70" fmla="*/ 0 h 221903"/>
                <a:gd name="connsiteX71" fmla="*/ 712291 w 1089421"/>
                <a:gd name="connsiteY71" fmla="*/ 0 h 221903"/>
                <a:gd name="connsiteX72" fmla="*/ 721519 w 1089421"/>
                <a:gd name="connsiteY72" fmla="*/ 0 h 221903"/>
                <a:gd name="connsiteX73" fmla="*/ 721519 w 1089421"/>
                <a:gd name="connsiteY73" fmla="*/ 218182 h 221903"/>
                <a:gd name="connsiteX74" fmla="*/ 697111 w 1089421"/>
                <a:gd name="connsiteY74" fmla="*/ 218182 h 221903"/>
                <a:gd name="connsiteX75" fmla="*/ 697111 w 1089421"/>
                <a:gd name="connsiteY75" fmla="*/ 33784 h 221903"/>
                <a:gd name="connsiteX76" fmla="*/ 688851 w 1089421"/>
                <a:gd name="connsiteY76" fmla="*/ 40258 h 221903"/>
                <a:gd name="connsiteX77" fmla="*/ 676647 w 1089421"/>
                <a:gd name="connsiteY77" fmla="*/ 47476 h 221903"/>
                <a:gd name="connsiteX78" fmla="*/ 662360 w 1089421"/>
                <a:gd name="connsiteY78" fmla="*/ 54174 h 221903"/>
                <a:gd name="connsiteX79" fmla="*/ 647700 w 1089421"/>
                <a:gd name="connsiteY79" fmla="*/ 59085 h 221903"/>
                <a:gd name="connsiteX80" fmla="*/ 647700 w 1089421"/>
                <a:gd name="connsiteY80" fmla="*/ 34379 h 221903"/>
                <a:gd name="connsiteX81" fmla="*/ 664741 w 1089421"/>
                <a:gd name="connsiteY81" fmla="*/ 28352 h 221903"/>
                <a:gd name="connsiteX82" fmla="*/ 682451 w 1089421"/>
                <a:gd name="connsiteY82" fmla="*/ 19869 h 221903"/>
                <a:gd name="connsiteX83" fmla="*/ 698897 w 1089421"/>
                <a:gd name="connsiteY83" fmla="*/ 10046 h 221903"/>
                <a:gd name="connsiteX84" fmla="*/ 712291 w 1089421"/>
                <a:gd name="connsiteY84" fmla="*/ 0 h 221903"/>
                <a:gd name="connsiteX85" fmla="*/ 388441 w 1089421"/>
                <a:gd name="connsiteY85" fmla="*/ 0 h 221903"/>
                <a:gd name="connsiteX86" fmla="*/ 397669 w 1089421"/>
                <a:gd name="connsiteY86" fmla="*/ 0 h 221903"/>
                <a:gd name="connsiteX87" fmla="*/ 397669 w 1089421"/>
                <a:gd name="connsiteY87" fmla="*/ 218182 h 221903"/>
                <a:gd name="connsiteX88" fmla="*/ 373261 w 1089421"/>
                <a:gd name="connsiteY88" fmla="*/ 218182 h 221903"/>
                <a:gd name="connsiteX89" fmla="*/ 373261 w 1089421"/>
                <a:gd name="connsiteY89" fmla="*/ 33784 h 221903"/>
                <a:gd name="connsiteX90" fmla="*/ 365001 w 1089421"/>
                <a:gd name="connsiteY90" fmla="*/ 40258 h 221903"/>
                <a:gd name="connsiteX91" fmla="*/ 352797 w 1089421"/>
                <a:gd name="connsiteY91" fmla="*/ 47476 h 221903"/>
                <a:gd name="connsiteX92" fmla="*/ 338510 w 1089421"/>
                <a:gd name="connsiteY92" fmla="*/ 54174 h 221903"/>
                <a:gd name="connsiteX93" fmla="*/ 323850 w 1089421"/>
                <a:gd name="connsiteY93" fmla="*/ 59085 h 221903"/>
                <a:gd name="connsiteX94" fmla="*/ 323850 w 1089421"/>
                <a:gd name="connsiteY94" fmla="*/ 34379 h 221903"/>
                <a:gd name="connsiteX95" fmla="*/ 340891 w 1089421"/>
                <a:gd name="connsiteY95" fmla="*/ 28352 h 221903"/>
                <a:gd name="connsiteX96" fmla="*/ 358601 w 1089421"/>
                <a:gd name="connsiteY96" fmla="*/ 19869 h 221903"/>
                <a:gd name="connsiteX97" fmla="*/ 375047 w 1089421"/>
                <a:gd name="connsiteY97" fmla="*/ 10046 h 221903"/>
                <a:gd name="connsiteX98" fmla="*/ 388441 w 1089421"/>
                <a:gd name="connsiteY98" fmla="*/ 0 h 221903"/>
                <a:gd name="connsiteX99" fmla="*/ 64591 w 1089421"/>
                <a:gd name="connsiteY99" fmla="*/ 0 h 221903"/>
                <a:gd name="connsiteX100" fmla="*/ 73819 w 1089421"/>
                <a:gd name="connsiteY100" fmla="*/ 0 h 221903"/>
                <a:gd name="connsiteX101" fmla="*/ 73819 w 1089421"/>
                <a:gd name="connsiteY101" fmla="*/ 218182 h 221903"/>
                <a:gd name="connsiteX102" fmla="*/ 49411 w 1089421"/>
                <a:gd name="connsiteY102" fmla="*/ 218182 h 221903"/>
                <a:gd name="connsiteX103" fmla="*/ 49411 w 1089421"/>
                <a:gd name="connsiteY103" fmla="*/ 33784 h 221903"/>
                <a:gd name="connsiteX104" fmla="*/ 41151 w 1089421"/>
                <a:gd name="connsiteY104" fmla="*/ 40258 h 221903"/>
                <a:gd name="connsiteX105" fmla="*/ 28947 w 1089421"/>
                <a:gd name="connsiteY105" fmla="*/ 47476 h 221903"/>
                <a:gd name="connsiteX106" fmla="*/ 14660 w 1089421"/>
                <a:gd name="connsiteY106" fmla="*/ 54174 h 221903"/>
                <a:gd name="connsiteX107" fmla="*/ 0 w 1089421"/>
                <a:gd name="connsiteY107" fmla="*/ 59085 h 221903"/>
                <a:gd name="connsiteX108" fmla="*/ 0 w 1089421"/>
                <a:gd name="connsiteY108" fmla="*/ 34379 h 221903"/>
                <a:gd name="connsiteX109" fmla="*/ 17041 w 1089421"/>
                <a:gd name="connsiteY109" fmla="*/ 28352 h 221903"/>
                <a:gd name="connsiteX110" fmla="*/ 34751 w 1089421"/>
                <a:gd name="connsiteY110" fmla="*/ 19869 h 221903"/>
                <a:gd name="connsiteX111" fmla="*/ 51197 w 1089421"/>
                <a:gd name="connsiteY111" fmla="*/ 10046 h 221903"/>
                <a:gd name="connsiteX112" fmla="*/ 64591 w 1089421"/>
                <a:gd name="connsiteY112" fmla="*/ 0 h 2219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Lst>
              <a:rect l="l" t="t" r="r" b="b"/>
              <a:pathLst>
                <a:path w="1089421" h="221903">
                  <a:moveTo>
                    <a:pt x="1021109" y="21878"/>
                  </a:moveTo>
                  <a:cubicBezTo>
                    <a:pt x="990649" y="21878"/>
                    <a:pt x="975419" y="52784"/>
                    <a:pt x="975419" y="114598"/>
                  </a:cubicBezTo>
                  <a:cubicBezTo>
                    <a:pt x="975419" y="172244"/>
                    <a:pt x="990351" y="201067"/>
                    <a:pt x="1020216" y="201067"/>
                  </a:cubicBezTo>
                  <a:cubicBezTo>
                    <a:pt x="1049684" y="201067"/>
                    <a:pt x="1064418" y="171698"/>
                    <a:pt x="1064418" y="112961"/>
                  </a:cubicBezTo>
                  <a:cubicBezTo>
                    <a:pt x="1064418" y="52239"/>
                    <a:pt x="1049981" y="21878"/>
                    <a:pt x="1021109" y="21878"/>
                  </a:cubicBezTo>
                  <a:close/>
                  <a:moveTo>
                    <a:pt x="535334" y="21878"/>
                  </a:moveTo>
                  <a:cubicBezTo>
                    <a:pt x="504874" y="21878"/>
                    <a:pt x="489643" y="52784"/>
                    <a:pt x="489643" y="114598"/>
                  </a:cubicBezTo>
                  <a:cubicBezTo>
                    <a:pt x="489643" y="172244"/>
                    <a:pt x="504576" y="201067"/>
                    <a:pt x="534441" y="201067"/>
                  </a:cubicBezTo>
                  <a:cubicBezTo>
                    <a:pt x="563909" y="201067"/>
                    <a:pt x="578643" y="171698"/>
                    <a:pt x="578643" y="112961"/>
                  </a:cubicBezTo>
                  <a:cubicBezTo>
                    <a:pt x="578643" y="52239"/>
                    <a:pt x="564206" y="21878"/>
                    <a:pt x="535334" y="21878"/>
                  </a:cubicBezTo>
                  <a:close/>
                  <a:moveTo>
                    <a:pt x="211484" y="21878"/>
                  </a:moveTo>
                  <a:cubicBezTo>
                    <a:pt x="181024" y="21878"/>
                    <a:pt x="165793" y="52784"/>
                    <a:pt x="165793" y="114598"/>
                  </a:cubicBezTo>
                  <a:cubicBezTo>
                    <a:pt x="165793" y="172244"/>
                    <a:pt x="180726" y="201067"/>
                    <a:pt x="210591" y="201067"/>
                  </a:cubicBezTo>
                  <a:cubicBezTo>
                    <a:pt x="240059" y="201067"/>
                    <a:pt x="254793" y="171698"/>
                    <a:pt x="254793" y="112961"/>
                  </a:cubicBezTo>
                  <a:cubicBezTo>
                    <a:pt x="254793" y="52239"/>
                    <a:pt x="240356" y="21878"/>
                    <a:pt x="211484" y="21878"/>
                  </a:cubicBezTo>
                  <a:close/>
                  <a:moveTo>
                    <a:pt x="1022299" y="1191"/>
                  </a:moveTo>
                  <a:cubicBezTo>
                    <a:pt x="1067047" y="1191"/>
                    <a:pt x="1089421" y="37654"/>
                    <a:pt x="1089421" y="110579"/>
                  </a:cubicBezTo>
                  <a:cubicBezTo>
                    <a:pt x="1089421" y="128439"/>
                    <a:pt x="1087809" y="144264"/>
                    <a:pt x="1084584" y="158056"/>
                  </a:cubicBezTo>
                  <a:cubicBezTo>
                    <a:pt x="1081359" y="171847"/>
                    <a:pt x="1076696" y="183480"/>
                    <a:pt x="1070594" y="192956"/>
                  </a:cubicBezTo>
                  <a:cubicBezTo>
                    <a:pt x="1064492" y="202431"/>
                    <a:pt x="1057001" y="209625"/>
                    <a:pt x="1048121" y="214536"/>
                  </a:cubicBezTo>
                  <a:cubicBezTo>
                    <a:pt x="1039241" y="219447"/>
                    <a:pt x="1029145" y="221903"/>
                    <a:pt x="1017835" y="221903"/>
                  </a:cubicBezTo>
                  <a:cubicBezTo>
                    <a:pt x="1007119" y="221903"/>
                    <a:pt x="997569" y="219546"/>
                    <a:pt x="989185" y="214834"/>
                  </a:cubicBezTo>
                  <a:cubicBezTo>
                    <a:pt x="980801" y="210121"/>
                    <a:pt x="973732" y="203250"/>
                    <a:pt x="967977" y="194221"/>
                  </a:cubicBezTo>
                  <a:cubicBezTo>
                    <a:pt x="962222" y="185192"/>
                    <a:pt x="957857" y="174104"/>
                    <a:pt x="954880" y="160958"/>
                  </a:cubicBezTo>
                  <a:cubicBezTo>
                    <a:pt x="951904" y="147811"/>
                    <a:pt x="950415" y="132755"/>
                    <a:pt x="950415" y="115788"/>
                  </a:cubicBezTo>
                  <a:cubicBezTo>
                    <a:pt x="950415" y="97135"/>
                    <a:pt x="951978" y="80665"/>
                    <a:pt x="955103" y="66377"/>
                  </a:cubicBezTo>
                  <a:cubicBezTo>
                    <a:pt x="958229" y="52090"/>
                    <a:pt x="962818" y="40109"/>
                    <a:pt x="968870" y="30435"/>
                  </a:cubicBezTo>
                  <a:cubicBezTo>
                    <a:pt x="974922" y="20762"/>
                    <a:pt x="982438" y="13469"/>
                    <a:pt x="991418" y="8558"/>
                  </a:cubicBezTo>
                  <a:cubicBezTo>
                    <a:pt x="1000397" y="3646"/>
                    <a:pt x="1010691" y="1191"/>
                    <a:pt x="1022299" y="1191"/>
                  </a:cubicBezTo>
                  <a:close/>
                  <a:moveTo>
                    <a:pt x="536524" y="1191"/>
                  </a:moveTo>
                  <a:cubicBezTo>
                    <a:pt x="581272" y="1191"/>
                    <a:pt x="603646" y="37654"/>
                    <a:pt x="603646" y="110579"/>
                  </a:cubicBezTo>
                  <a:cubicBezTo>
                    <a:pt x="603646" y="128439"/>
                    <a:pt x="602034" y="144264"/>
                    <a:pt x="598809" y="158056"/>
                  </a:cubicBezTo>
                  <a:cubicBezTo>
                    <a:pt x="595584" y="171847"/>
                    <a:pt x="590921" y="183480"/>
                    <a:pt x="584819" y="192956"/>
                  </a:cubicBezTo>
                  <a:cubicBezTo>
                    <a:pt x="578717" y="202431"/>
                    <a:pt x="571226" y="209625"/>
                    <a:pt x="562346" y="214536"/>
                  </a:cubicBezTo>
                  <a:cubicBezTo>
                    <a:pt x="553466" y="219447"/>
                    <a:pt x="543370" y="221903"/>
                    <a:pt x="532060" y="221903"/>
                  </a:cubicBezTo>
                  <a:cubicBezTo>
                    <a:pt x="521344" y="221903"/>
                    <a:pt x="511794" y="219546"/>
                    <a:pt x="503410" y="214834"/>
                  </a:cubicBezTo>
                  <a:cubicBezTo>
                    <a:pt x="495026" y="210121"/>
                    <a:pt x="487957" y="203250"/>
                    <a:pt x="482202" y="194221"/>
                  </a:cubicBezTo>
                  <a:cubicBezTo>
                    <a:pt x="476447" y="185192"/>
                    <a:pt x="472082" y="174104"/>
                    <a:pt x="469105" y="160958"/>
                  </a:cubicBezTo>
                  <a:cubicBezTo>
                    <a:pt x="466129" y="147811"/>
                    <a:pt x="464640" y="132755"/>
                    <a:pt x="464640" y="115788"/>
                  </a:cubicBezTo>
                  <a:cubicBezTo>
                    <a:pt x="464640" y="97135"/>
                    <a:pt x="466203" y="80665"/>
                    <a:pt x="469328" y="66377"/>
                  </a:cubicBezTo>
                  <a:cubicBezTo>
                    <a:pt x="472454" y="52090"/>
                    <a:pt x="477043" y="40109"/>
                    <a:pt x="483095" y="30435"/>
                  </a:cubicBezTo>
                  <a:cubicBezTo>
                    <a:pt x="489147" y="20762"/>
                    <a:pt x="496663" y="13469"/>
                    <a:pt x="505643" y="8558"/>
                  </a:cubicBezTo>
                  <a:cubicBezTo>
                    <a:pt x="514622" y="3646"/>
                    <a:pt x="524916" y="1191"/>
                    <a:pt x="536524" y="1191"/>
                  </a:cubicBezTo>
                  <a:close/>
                  <a:moveTo>
                    <a:pt x="212674" y="1191"/>
                  </a:moveTo>
                  <a:cubicBezTo>
                    <a:pt x="257422" y="1191"/>
                    <a:pt x="279796" y="37654"/>
                    <a:pt x="279796" y="110579"/>
                  </a:cubicBezTo>
                  <a:cubicBezTo>
                    <a:pt x="279796" y="128439"/>
                    <a:pt x="278184" y="144264"/>
                    <a:pt x="274959" y="158056"/>
                  </a:cubicBezTo>
                  <a:cubicBezTo>
                    <a:pt x="271734" y="171847"/>
                    <a:pt x="267071" y="183480"/>
                    <a:pt x="260969" y="192956"/>
                  </a:cubicBezTo>
                  <a:cubicBezTo>
                    <a:pt x="254867" y="202431"/>
                    <a:pt x="247376" y="209625"/>
                    <a:pt x="238496" y="214536"/>
                  </a:cubicBezTo>
                  <a:cubicBezTo>
                    <a:pt x="229616" y="219447"/>
                    <a:pt x="219520" y="221903"/>
                    <a:pt x="208210" y="221903"/>
                  </a:cubicBezTo>
                  <a:cubicBezTo>
                    <a:pt x="197494" y="221903"/>
                    <a:pt x="187944" y="219546"/>
                    <a:pt x="179560" y="214834"/>
                  </a:cubicBezTo>
                  <a:cubicBezTo>
                    <a:pt x="171176" y="210121"/>
                    <a:pt x="164107" y="203250"/>
                    <a:pt x="158352" y="194221"/>
                  </a:cubicBezTo>
                  <a:cubicBezTo>
                    <a:pt x="152597" y="185192"/>
                    <a:pt x="148232" y="174104"/>
                    <a:pt x="145255" y="160958"/>
                  </a:cubicBezTo>
                  <a:cubicBezTo>
                    <a:pt x="142279" y="147811"/>
                    <a:pt x="140790" y="132755"/>
                    <a:pt x="140790" y="115788"/>
                  </a:cubicBezTo>
                  <a:cubicBezTo>
                    <a:pt x="140790" y="97135"/>
                    <a:pt x="142353" y="80665"/>
                    <a:pt x="145478" y="66377"/>
                  </a:cubicBezTo>
                  <a:cubicBezTo>
                    <a:pt x="148604" y="52090"/>
                    <a:pt x="153193" y="40109"/>
                    <a:pt x="159245" y="30435"/>
                  </a:cubicBezTo>
                  <a:cubicBezTo>
                    <a:pt x="165297" y="20762"/>
                    <a:pt x="172813" y="13469"/>
                    <a:pt x="181793" y="8558"/>
                  </a:cubicBezTo>
                  <a:cubicBezTo>
                    <a:pt x="190772" y="3646"/>
                    <a:pt x="201066" y="1191"/>
                    <a:pt x="212674" y="1191"/>
                  </a:cubicBezTo>
                  <a:close/>
                  <a:moveTo>
                    <a:pt x="874216" y="0"/>
                  </a:moveTo>
                  <a:lnTo>
                    <a:pt x="883444" y="0"/>
                  </a:lnTo>
                  <a:lnTo>
                    <a:pt x="883444" y="218182"/>
                  </a:lnTo>
                  <a:lnTo>
                    <a:pt x="859036" y="218182"/>
                  </a:lnTo>
                  <a:lnTo>
                    <a:pt x="859036" y="33784"/>
                  </a:lnTo>
                  <a:cubicBezTo>
                    <a:pt x="857151" y="35669"/>
                    <a:pt x="854397" y="37827"/>
                    <a:pt x="850776" y="40258"/>
                  </a:cubicBezTo>
                  <a:cubicBezTo>
                    <a:pt x="847154" y="42689"/>
                    <a:pt x="843087" y="45095"/>
                    <a:pt x="838572" y="47476"/>
                  </a:cubicBezTo>
                  <a:cubicBezTo>
                    <a:pt x="834058" y="49858"/>
                    <a:pt x="829295" y="52090"/>
                    <a:pt x="824285" y="54174"/>
                  </a:cubicBezTo>
                  <a:cubicBezTo>
                    <a:pt x="819274" y="56257"/>
                    <a:pt x="814388" y="57894"/>
                    <a:pt x="809625" y="59085"/>
                  </a:cubicBezTo>
                  <a:lnTo>
                    <a:pt x="809625" y="34379"/>
                  </a:lnTo>
                  <a:cubicBezTo>
                    <a:pt x="814983" y="32891"/>
                    <a:pt x="820663" y="30882"/>
                    <a:pt x="826666" y="28352"/>
                  </a:cubicBezTo>
                  <a:cubicBezTo>
                    <a:pt x="832669" y="25822"/>
                    <a:pt x="838572" y="22994"/>
                    <a:pt x="844376" y="19869"/>
                  </a:cubicBezTo>
                  <a:cubicBezTo>
                    <a:pt x="850181" y="16743"/>
                    <a:pt x="855662" y="13469"/>
                    <a:pt x="860822" y="10046"/>
                  </a:cubicBezTo>
                  <a:cubicBezTo>
                    <a:pt x="865981" y="6623"/>
                    <a:pt x="870446" y="3274"/>
                    <a:pt x="874216" y="0"/>
                  </a:cubicBezTo>
                  <a:close/>
                  <a:moveTo>
                    <a:pt x="712291" y="0"/>
                  </a:moveTo>
                  <a:lnTo>
                    <a:pt x="721519" y="0"/>
                  </a:lnTo>
                  <a:lnTo>
                    <a:pt x="721519" y="218182"/>
                  </a:lnTo>
                  <a:lnTo>
                    <a:pt x="697111" y="218182"/>
                  </a:lnTo>
                  <a:lnTo>
                    <a:pt x="697111" y="33784"/>
                  </a:lnTo>
                  <a:cubicBezTo>
                    <a:pt x="695226" y="35669"/>
                    <a:pt x="692472" y="37827"/>
                    <a:pt x="688851" y="40258"/>
                  </a:cubicBezTo>
                  <a:cubicBezTo>
                    <a:pt x="685229" y="42689"/>
                    <a:pt x="681162" y="45095"/>
                    <a:pt x="676647" y="47476"/>
                  </a:cubicBezTo>
                  <a:cubicBezTo>
                    <a:pt x="672133" y="49858"/>
                    <a:pt x="667370" y="52090"/>
                    <a:pt x="662360" y="54174"/>
                  </a:cubicBezTo>
                  <a:cubicBezTo>
                    <a:pt x="657349" y="56257"/>
                    <a:pt x="652463" y="57894"/>
                    <a:pt x="647700" y="59085"/>
                  </a:cubicBezTo>
                  <a:lnTo>
                    <a:pt x="647700" y="34379"/>
                  </a:lnTo>
                  <a:cubicBezTo>
                    <a:pt x="653058" y="32891"/>
                    <a:pt x="658738" y="30882"/>
                    <a:pt x="664741" y="28352"/>
                  </a:cubicBezTo>
                  <a:cubicBezTo>
                    <a:pt x="670744" y="25822"/>
                    <a:pt x="676647" y="22994"/>
                    <a:pt x="682451" y="19869"/>
                  </a:cubicBezTo>
                  <a:cubicBezTo>
                    <a:pt x="688256" y="16743"/>
                    <a:pt x="693738" y="13469"/>
                    <a:pt x="698897" y="10046"/>
                  </a:cubicBezTo>
                  <a:cubicBezTo>
                    <a:pt x="704056" y="6623"/>
                    <a:pt x="708521" y="3274"/>
                    <a:pt x="712291" y="0"/>
                  </a:cubicBezTo>
                  <a:close/>
                  <a:moveTo>
                    <a:pt x="388441" y="0"/>
                  </a:moveTo>
                  <a:lnTo>
                    <a:pt x="397669" y="0"/>
                  </a:lnTo>
                  <a:lnTo>
                    <a:pt x="397669" y="218182"/>
                  </a:lnTo>
                  <a:lnTo>
                    <a:pt x="373261" y="218182"/>
                  </a:lnTo>
                  <a:lnTo>
                    <a:pt x="373261" y="33784"/>
                  </a:lnTo>
                  <a:cubicBezTo>
                    <a:pt x="371376" y="35669"/>
                    <a:pt x="368622" y="37827"/>
                    <a:pt x="365001" y="40258"/>
                  </a:cubicBezTo>
                  <a:cubicBezTo>
                    <a:pt x="361380" y="42689"/>
                    <a:pt x="357311" y="45095"/>
                    <a:pt x="352797" y="47476"/>
                  </a:cubicBezTo>
                  <a:cubicBezTo>
                    <a:pt x="348283" y="49858"/>
                    <a:pt x="343520" y="52090"/>
                    <a:pt x="338510" y="54174"/>
                  </a:cubicBezTo>
                  <a:cubicBezTo>
                    <a:pt x="333499" y="56257"/>
                    <a:pt x="328613" y="57894"/>
                    <a:pt x="323850" y="59085"/>
                  </a:cubicBezTo>
                  <a:lnTo>
                    <a:pt x="323850" y="34379"/>
                  </a:lnTo>
                  <a:cubicBezTo>
                    <a:pt x="329208" y="32891"/>
                    <a:pt x="334888" y="30882"/>
                    <a:pt x="340891" y="28352"/>
                  </a:cubicBezTo>
                  <a:cubicBezTo>
                    <a:pt x="346894" y="25822"/>
                    <a:pt x="352797" y="22994"/>
                    <a:pt x="358601" y="19869"/>
                  </a:cubicBezTo>
                  <a:cubicBezTo>
                    <a:pt x="364406" y="16743"/>
                    <a:pt x="369887" y="13469"/>
                    <a:pt x="375047" y="10046"/>
                  </a:cubicBezTo>
                  <a:cubicBezTo>
                    <a:pt x="380206" y="6623"/>
                    <a:pt x="384671" y="3274"/>
                    <a:pt x="388441" y="0"/>
                  </a:cubicBezTo>
                  <a:close/>
                  <a:moveTo>
                    <a:pt x="64591" y="0"/>
                  </a:moveTo>
                  <a:lnTo>
                    <a:pt x="73819" y="0"/>
                  </a:lnTo>
                  <a:lnTo>
                    <a:pt x="73819" y="218182"/>
                  </a:lnTo>
                  <a:lnTo>
                    <a:pt x="49411" y="218182"/>
                  </a:lnTo>
                  <a:lnTo>
                    <a:pt x="49411" y="33784"/>
                  </a:lnTo>
                  <a:cubicBezTo>
                    <a:pt x="47526" y="35669"/>
                    <a:pt x="44772" y="37827"/>
                    <a:pt x="41151" y="40258"/>
                  </a:cubicBezTo>
                  <a:cubicBezTo>
                    <a:pt x="37529" y="42689"/>
                    <a:pt x="33462" y="45095"/>
                    <a:pt x="28947" y="47476"/>
                  </a:cubicBezTo>
                  <a:cubicBezTo>
                    <a:pt x="24433" y="49858"/>
                    <a:pt x="19670" y="52090"/>
                    <a:pt x="14660" y="54174"/>
                  </a:cubicBezTo>
                  <a:cubicBezTo>
                    <a:pt x="9649" y="56257"/>
                    <a:pt x="4762" y="57894"/>
                    <a:pt x="0" y="59085"/>
                  </a:cubicBezTo>
                  <a:lnTo>
                    <a:pt x="0" y="34379"/>
                  </a:lnTo>
                  <a:cubicBezTo>
                    <a:pt x="5358" y="32891"/>
                    <a:pt x="11038" y="30882"/>
                    <a:pt x="17041" y="28352"/>
                  </a:cubicBezTo>
                  <a:cubicBezTo>
                    <a:pt x="23044" y="25822"/>
                    <a:pt x="28947" y="22994"/>
                    <a:pt x="34751" y="19869"/>
                  </a:cubicBezTo>
                  <a:cubicBezTo>
                    <a:pt x="40556" y="16743"/>
                    <a:pt x="46037" y="13469"/>
                    <a:pt x="51197" y="10046"/>
                  </a:cubicBezTo>
                  <a:cubicBezTo>
                    <a:pt x="56356" y="6623"/>
                    <a:pt x="60821" y="3274"/>
                    <a:pt x="64591" y="0"/>
                  </a:cubicBezTo>
                  <a:close/>
                </a:path>
              </a:pathLst>
            </a:cu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5439">
                      <a:srgbClr val="F8F8F8"/>
                    </a:gs>
                    <a:gs pos="10000">
                      <a:srgbClr val="F8F8F8"/>
                    </a:gs>
                  </a:gsLst>
                  <a:lin ang="5400000" scaled="0"/>
                </a:gradFill>
                <a:effectLst/>
                <a:uLnTx/>
                <a:uFillTx/>
              </a:endParaRPr>
            </a:p>
          </p:txBody>
        </p:sp>
        <p:sp>
          <p:nvSpPr>
            <p:cNvPr id="529" name="Freeform: Shape 528"/>
            <p:cNvSpPr/>
            <p:nvPr/>
          </p:nvSpPr>
          <p:spPr bwMode="auto">
            <a:xfrm>
              <a:off x="6752318" y="2314210"/>
              <a:ext cx="684188" cy="139362"/>
            </a:xfrm>
            <a:custGeom>
              <a:avLst/>
              <a:gdLst>
                <a:gd name="connsiteX0" fmla="*/ 1021109 w 1089421"/>
                <a:gd name="connsiteY0" fmla="*/ 21878 h 221903"/>
                <a:gd name="connsiteX1" fmla="*/ 975419 w 1089421"/>
                <a:gd name="connsiteY1" fmla="*/ 114598 h 221903"/>
                <a:gd name="connsiteX2" fmla="*/ 1020216 w 1089421"/>
                <a:gd name="connsiteY2" fmla="*/ 201067 h 221903"/>
                <a:gd name="connsiteX3" fmla="*/ 1064418 w 1089421"/>
                <a:gd name="connsiteY3" fmla="*/ 112961 h 221903"/>
                <a:gd name="connsiteX4" fmla="*/ 1021109 w 1089421"/>
                <a:gd name="connsiteY4" fmla="*/ 21878 h 221903"/>
                <a:gd name="connsiteX5" fmla="*/ 535334 w 1089421"/>
                <a:gd name="connsiteY5" fmla="*/ 21878 h 221903"/>
                <a:gd name="connsiteX6" fmla="*/ 489643 w 1089421"/>
                <a:gd name="connsiteY6" fmla="*/ 114598 h 221903"/>
                <a:gd name="connsiteX7" fmla="*/ 534441 w 1089421"/>
                <a:gd name="connsiteY7" fmla="*/ 201067 h 221903"/>
                <a:gd name="connsiteX8" fmla="*/ 578643 w 1089421"/>
                <a:gd name="connsiteY8" fmla="*/ 112961 h 221903"/>
                <a:gd name="connsiteX9" fmla="*/ 535334 w 1089421"/>
                <a:gd name="connsiteY9" fmla="*/ 21878 h 221903"/>
                <a:gd name="connsiteX10" fmla="*/ 211484 w 1089421"/>
                <a:gd name="connsiteY10" fmla="*/ 21878 h 221903"/>
                <a:gd name="connsiteX11" fmla="*/ 165793 w 1089421"/>
                <a:gd name="connsiteY11" fmla="*/ 114598 h 221903"/>
                <a:gd name="connsiteX12" fmla="*/ 210591 w 1089421"/>
                <a:gd name="connsiteY12" fmla="*/ 201067 h 221903"/>
                <a:gd name="connsiteX13" fmla="*/ 254793 w 1089421"/>
                <a:gd name="connsiteY13" fmla="*/ 112961 h 221903"/>
                <a:gd name="connsiteX14" fmla="*/ 211484 w 1089421"/>
                <a:gd name="connsiteY14" fmla="*/ 21878 h 221903"/>
                <a:gd name="connsiteX15" fmla="*/ 1022299 w 1089421"/>
                <a:gd name="connsiteY15" fmla="*/ 1191 h 221903"/>
                <a:gd name="connsiteX16" fmla="*/ 1089421 w 1089421"/>
                <a:gd name="connsiteY16" fmla="*/ 110579 h 221903"/>
                <a:gd name="connsiteX17" fmla="*/ 1084584 w 1089421"/>
                <a:gd name="connsiteY17" fmla="*/ 158056 h 221903"/>
                <a:gd name="connsiteX18" fmla="*/ 1070594 w 1089421"/>
                <a:gd name="connsiteY18" fmla="*/ 192956 h 221903"/>
                <a:gd name="connsiteX19" fmla="*/ 1048121 w 1089421"/>
                <a:gd name="connsiteY19" fmla="*/ 214536 h 221903"/>
                <a:gd name="connsiteX20" fmla="*/ 1017835 w 1089421"/>
                <a:gd name="connsiteY20" fmla="*/ 221903 h 221903"/>
                <a:gd name="connsiteX21" fmla="*/ 989185 w 1089421"/>
                <a:gd name="connsiteY21" fmla="*/ 214834 h 221903"/>
                <a:gd name="connsiteX22" fmla="*/ 967977 w 1089421"/>
                <a:gd name="connsiteY22" fmla="*/ 194221 h 221903"/>
                <a:gd name="connsiteX23" fmla="*/ 954880 w 1089421"/>
                <a:gd name="connsiteY23" fmla="*/ 160958 h 221903"/>
                <a:gd name="connsiteX24" fmla="*/ 950415 w 1089421"/>
                <a:gd name="connsiteY24" fmla="*/ 115788 h 221903"/>
                <a:gd name="connsiteX25" fmla="*/ 955103 w 1089421"/>
                <a:gd name="connsiteY25" fmla="*/ 66377 h 221903"/>
                <a:gd name="connsiteX26" fmla="*/ 968870 w 1089421"/>
                <a:gd name="connsiteY26" fmla="*/ 30435 h 221903"/>
                <a:gd name="connsiteX27" fmla="*/ 991418 w 1089421"/>
                <a:gd name="connsiteY27" fmla="*/ 8558 h 221903"/>
                <a:gd name="connsiteX28" fmla="*/ 1022299 w 1089421"/>
                <a:gd name="connsiteY28" fmla="*/ 1191 h 221903"/>
                <a:gd name="connsiteX29" fmla="*/ 536524 w 1089421"/>
                <a:gd name="connsiteY29" fmla="*/ 1191 h 221903"/>
                <a:gd name="connsiteX30" fmla="*/ 603646 w 1089421"/>
                <a:gd name="connsiteY30" fmla="*/ 110579 h 221903"/>
                <a:gd name="connsiteX31" fmla="*/ 598809 w 1089421"/>
                <a:gd name="connsiteY31" fmla="*/ 158056 h 221903"/>
                <a:gd name="connsiteX32" fmla="*/ 584819 w 1089421"/>
                <a:gd name="connsiteY32" fmla="*/ 192956 h 221903"/>
                <a:gd name="connsiteX33" fmla="*/ 562346 w 1089421"/>
                <a:gd name="connsiteY33" fmla="*/ 214536 h 221903"/>
                <a:gd name="connsiteX34" fmla="*/ 532060 w 1089421"/>
                <a:gd name="connsiteY34" fmla="*/ 221903 h 221903"/>
                <a:gd name="connsiteX35" fmla="*/ 503410 w 1089421"/>
                <a:gd name="connsiteY35" fmla="*/ 214834 h 221903"/>
                <a:gd name="connsiteX36" fmla="*/ 482202 w 1089421"/>
                <a:gd name="connsiteY36" fmla="*/ 194221 h 221903"/>
                <a:gd name="connsiteX37" fmla="*/ 469105 w 1089421"/>
                <a:gd name="connsiteY37" fmla="*/ 160958 h 221903"/>
                <a:gd name="connsiteX38" fmla="*/ 464640 w 1089421"/>
                <a:gd name="connsiteY38" fmla="*/ 115788 h 221903"/>
                <a:gd name="connsiteX39" fmla="*/ 469328 w 1089421"/>
                <a:gd name="connsiteY39" fmla="*/ 66377 h 221903"/>
                <a:gd name="connsiteX40" fmla="*/ 483095 w 1089421"/>
                <a:gd name="connsiteY40" fmla="*/ 30435 h 221903"/>
                <a:gd name="connsiteX41" fmla="*/ 505643 w 1089421"/>
                <a:gd name="connsiteY41" fmla="*/ 8558 h 221903"/>
                <a:gd name="connsiteX42" fmla="*/ 536524 w 1089421"/>
                <a:gd name="connsiteY42" fmla="*/ 1191 h 221903"/>
                <a:gd name="connsiteX43" fmla="*/ 212674 w 1089421"/>
                <a:gd name="connsiteY43" fmla="*/ 1191 h 221903"/>
                <a:gd name="connsiteX44" fmla="*/ 279796 w 1089421"/>
                <a:gd name="connsiteY44" fmla="*/ 110579 h 221903"/>
                <a:gd name="connsiteX45" fmla="*/ 274959 w 1089421"/>
                <a:gd name="connsiteY45" fmla="*/ 158056 h 221903"/>
                <a:gd name="connsiteX46" fmla="*/ 260969 w 1089421"/>
                <a:gd name="connsiteY46" fmla="*/ 192956 h 221903"/>
                <a:gd name="connsiteX47" fmla="*/ 238496 w 1089421"/>
                <a:gd name="connsiteY47" fmla="*/ 214536 h 221903"/>
                <a:gd name="connsiteX48" fmla="*/ 208210 w 1089421"/>
                <a:gd name="connsiteY48" fmla="*/ 221903 h 221903"/>
                <a:gd name="connsiteX49" fmla="*/ 179560 w 1089421"/>
                <a:gd name="connsiteY49" fmla="*/ 214834 h 221903"/>
                <a:gd name="connsiteX50" fmla="*/ 158352 w 1089421"/>
                <a:gd name="connsiteY50" fmla="*/ 194221 h 221903"/>
                <a:gd name="connsiteX51" fmla="*/ 145255 w 1089421"/>
                <a:gd name="connsiteY51" fmla="*/ 160958 h 221903"/>
                <a:gd name="connsiteX52" fmla="*/ 140790 w 1089421"/>
                <a:gd name="connsiteY52" fmla="*/ 115788 h 221903"/>
                <a:gd name="connsiteX53" fmla="*/ 145478 w 1089421"/>
                <a:gd name="connsiteY53" fmla="*/ 66377 h 221903"/>
                <a:gd name="connsiteX54" fmla="*/ 159245 w 1089421"/>
                <a:gd name="connsiteY54" fmla="*/ 30435 h 221903"/>
                <a:gd name="connsiteX55" fmla="*/ 181793 w 1089421"/>
                <a:gd name="connsiteY55" fmla="*/ 8558 h 221903"/>
                <a:gd name="connsiteX56" fmla="*/ 212674 w 1089421"/>
                <a:gd name="connsiteY56" fmla="*/ 1191 h 221903"/>
                <a:gd name="connsiteX57" fmla="*/ 874216 w 1089421"/>
                <a:gd name="connsiteY57" fmla="*/ 0 h 221903"/>
                <a:gd name="connsiteX58" fmla="*/ 883444 w 1089421"/>
                <a:gd name="connsiteY58" fmla="*/ 0 h 221903"/>
                <a:gd name="connsiteX59" fmla="*/ 883444 w 1089421"/>
                <a:gd name="connsiteY59" fmla="*/ 218182 h 221903"/>
                <a:gd name="connsiteX60" fmla="*/ 859036 w 1089421"/>
                <a:gd name="connsiteY60" fmla="*/ 218182 h 221903"/>
                <a:gd name="connsiteX61" fmla="*/ 859036 w 1089421"/>
                <a:gd name="connsiteY61" fmla="*/ 33784 h 221903"/>
                <a:gd name="connsiteX62" fmla="*/ 850776 w 1089421"/>
                <a:gd name="connsiteY62" fmla="*/ 40258 h 221903"/>
                <a:gd name="connsiteX63" fmla="*/ 838572 w 1089421"/>
                <a:gd name="connsiteY63" fmla="*/ 47476 h 221903"/>
                <a:gd name="connsiteX64" fmla="*/ 824285 w 1089421"/>
                <a:gd name="connsiteY64" fmla="*/ 54174 h 221903"/>
                <a:gd name="connsiteX65" fmla="*/ 809625 w 1089421"/>
                <a:gd name="connsiteY65" fmla="*/ 59085 h 221903"/>
                <a:gd name="connsiteX66" fmla="*/ 809625 w 1089421"/>
                <a:gd name="connsiteY66" fmla="*/ 34379 h 221903"/>
                <a:gd name="connsiteX67" fmla="*/ 826666 w 1089421"/>
                <a:gd name="connsiteY67" fmla="*/ 28352 h 221903"/>
                <a:gd name="connsiteX68" fmla="*/ 844376 w 1089421"/>
                <a:gd name="connsiteY68" fmla="*/ 19869 h 221903"/>
                <a:gd name="connsiteX69" fmla="*/ 860822 w 1089421"/>
                <a:gd name="connsiteY69" fmla="*/ 10046 h 221903"/>
                <a:gd name="connsiteX70" fmla="*/ 874216 w 1089421"/>
                <a:gd name="connsiteY70" fmla="*/ 0 h 221903"/>
                <a:gd name="connsiteX71" fmla="*/ 712291 w 1089421"/>
                <a:gd name="connsiteY71" fmla="*/ 0 h 221903"/>
                <a:gd name="connsiteX72" fmla="*/ 721519 w 1089421"/>
                <a:gd name="connsiteY72" fmla="*/ 0 h 221903"/>
                <a:gd name="connsiteX73" fmla="*/ 721519 w 1089421"/>
                <a:gd name="connsiteY73" fmla="*/ 218182 h 221903"/>
                <a:gd name="connsiteX74" fmla="*/ 697111 w 1089421"/>
                <a:gd name="connsiteY74" fmla="*/ 218182 h 221903"/>
                <a:gd name="connsiteX75" fmla="*/ 697111 w 1089421"/>
                <a:gd name="connsiteY75" fmla="*/ 33784 h 221903"/>
                <a:gd name="connsiteX76" fmla="*/ 688851 w 1089421"/>
                <a:gd name="connsiteY76" fmla="*/ 40258 h 221903"/>
                <a:gd name="connsiteX77" fmla="*/ 676647 w 1089421"/>
                <a:gd name="connsiteY77" fmla="*/ 47476 h 221903"/>
                <a:gd name="connsiteX78" fmla="*/ 662360 w 1089421"/>
                <a:gd name="connsiteY78" fmla="*/ 54174 h 221903"/>
                <a:gd name="connsiteX79" fmla="*/ 647700 w 1089421"/>
                <a:gd name="connsiteY79" fmla="*/ 59085 h 221903"/>
                <a:gd name="connsiteX80" fmla="*/ 647700 w 1089421"/>
                <a:gd name="connsiteY80" fmla="*/ 34379 h 221903"/>
                <a:gd name="connsiteX81" fmla="*/ 664741 w 1089421"/>
                <a:gd name="connsiteY81" fmla="*/ 28352 h 221903"/>
                <a:gd name="connsiteX82" fmla="*/ 682451 w 1089421"/>
                <a:gd name="connsiteY82" fmla="*/ 19869 h 221903"/>
                <a:gd name="connsiteX83" fmla="*/ 698897 w 1089421"/>
                <a:gd name="connsiteY83" fmla="*/ 10046 h 221903"/>
                <a:gd name="connsiteX84" fmla="*/ 712291 w 1089421"/>
                <a:gd name="connsiteY84" fmla="*/ 0 h 221903"/>
                <a:gd name="connsiteX85" fmla="*/ 388441 w 1089421"/>
                <a:gd name="connsiteY85" fmla="*/ 0 h 221903"/>
                <a:gd name="connsiteX86" fmla="*/ 397669 w 1089421"/>
                <a:gd name="connsiteY86" fmla="*/ 0 h 221903"/>
                <a:gd name="connsiteX87" fmla="*/ 397669 w 1089421"/>
                <a:gd name="connsiteY87" fmla="*/ 218182 h 221903"/>
                <a:gd name="connsiteX88" fmla="*/ 373261 w 1089421"/>
                <a:gd name="connsiteY88" fmla="*/ 218182 h 221903"/>
                <a:gd name="connsiteX89" fmla="*/ 373261 w 1089421"/>
                <a:gd name="connsiteY89" fmla="*/ 33784 h 221903"/>
                <a:gd name="connsiteX90" fmla="*/ 365001 w 1089421"/>
                <a:gd name="connsiteY90" fmla="*/ 40258 h 221903"/>
                <a:gd name="connsiteX91" fmla="*/ 352797 w 1089421"/>
                <a:gd name="connsiteY91" fmla="*/ 47476 h 221903"/>
                <a:gd name="connsiteX92" fmla="*/ 338510 w 1089421"/>
                <a:gd name="connsiteY92" fmla="*/ 54174 h 221903"/>
                <a:gd name="connsiteX93" fmla="*/ 323850 w 1089421"/>
                <a:gd name="connsiteY93" fmla="*/ 59085 h 221903"/>
                <a:gd name="connsiteX94" fmla="*/ 323850 w 1089421"/>
                <a:gd name="connsiteY94" fmla="*/ 34379 h 221903"/>
                <a:gd name="connsiteX95" fmla="*/ 340891 w 1089421"/>
                <a:gd name="connsiteY95" fmla="*/ 28352 h 221903"/>
                <a:gd name="connsiteX96" fmla="*/ 358601 w 1089421"/>
                <a:gd name="connsiteY96" fmla="*/ 19869 h 221903"/>
                <a:gd name="connsiteX97" fmla="*/ 375047 w 1089421"/>
                <a:gd name="connsiteY97" fmla="*/ 10046 h 221903"/>
                <a:gd name="connsiteX98" fmla="*/ 388441 w 1089421"/>
                <a:gd name="connsiteY98" fmla="*/ 0 h 221903"/>
                <a:gd name="connsiteX99" fmla="*/ 64591 w 1089421"/>
                <a:gd name="connsiteY99" fmla="*/ 0 h 221903"/>
                <a:gd name="connsiteX100" fmla="*/ 73819 w 1089421"/>
                <a:gd name="connsiteY100" fmla="*/ 0 h 221903"/>
                <a:gd name="connsiteX101" fmla="*/ 73819 w 1089421"/>
                <a:gd name="connsiteY101" fmla="*/ 218182 h 221903"/>
                <a:gd name="connsiteX102" fmla="*/ 49411 w 1089421"/>
                <a:gd name="connsiteY102" fmla="*/ 218182 h 221903"/>
                <a:gd name="connsiteX103" fmla="*/ 49411 w 1089421"/>
                <a:gd name="connsiteY103" fmla="*/ 33784 h 221903"/>
                <a:gd name="connsiteX104" fmla="*/ 41151 w 1089421"/>
                <a:gd name="connsiteY104" fmla="*/ 40258 h 221903"/>
                <a:gd name="connsiteX105" fmla="*/ 28947 w 1089421"/>
                <a:gd name="connsiteY105" fmla="*/ 47476 h 221903"/>
                <a:gd name="connsiteX106" fmla="*/ 14660 w 1089421"/>
                <a:gd name="connsiteY106" fmla="*/ 54174 h 221903"/>
                <a:gd name="connsiteX107" fmla="*/ 0 w 1089421"/>
                <a:gd name="connsiteY107" fmla="*/ 59085 h 221903"/>
                <a:gd name="connsiteX108" fmla="*/ 0 w 1089421"/>
                <a:gd name="connsiteY108" fmla="*/ 34379 h 221903"/>
                <a:gd name="connsiteX109" fmla="*/ 17041 w 1089421"/>
                <a:gd name="connsiteY109" fmla="*/ 28352 h 221903"/>
                <a:gd name="connsiteX110" fmla="*/ 34751 w 1089421"/>
                <a:gd name="connsiteY110" fmla="*/ 19869 h 221903"/>
                <a:gd name="connsiteX111" fmla="*/ 51197 w 1089421"/>
                <a:gd name="connsiteY111" fmla="*/ 10046 h 221903"/>
                <a:gd name="connsiteX112" fmla="*/ 64591 w 1089421"/>
                <a:gd name="connsiteY112" fmla="*/ 0 h 2219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Lst>
              <a:rect l="l" t="t" r="r" b="b"/>
              <a:pathLst>
                <a:path w="1089421" h="221903">
                  <a:moveTo>
                    <a:pt x="1021109" y="21878"/>
                  </a:moveTo>
                  <a:cubicBezTo>
                    <a:pt x="990649" y="21878"/>
                    <a:pt x="975419" y="52784"/>
                    <a:pt x="975419" y="114598"/>
                  </a:cubicBezTo>
                  <a:cubicBezTo>
                    <a:pt x="975419" y="172244"/>
                    <a:pt x="990351" y="201067"/>
                    <a:pt x="1020216" y="201067"/>
                  </a:cubicBezTo>
                  <a:cubicBezTo>
                    <a:pt x="1049684" y="201067"/>
                    <a:pt x="1064418" y="171698"/>
                    <a:pt x="1064418" y="112961"/>
                  </a:cubicBezTo>
                  <a:cubicBezTo>
                    <a:pt x="1064418" y="52239"/>
                    <a:pt x="1049981" y="21878"/>
                    <a:pt x="1021109" y="21878"/>
                  </a:cubicBezTo>
                  <a:close/>
                  <a:moveTo>
                    <a:pt x="535334" y="21878"/>
                  </a:moveTo>
                  <a:cubicBezTo>
                    <a:pt x="504874" y="21878"/>
                    <a:pt x="489643" y="52784"/>
                    <a:pt x="489643" y="114598"/>
                  </a:cubicBezTo>
                  <a:cubicBezTo>
                    <a:pt x="489643" y="172244"/>
                    <a:pt x="504576" y="201067"/>
                    <a:pt x="534441" y="201067"/>
                  </a:cubicBezTo>
                  <a:cubicBezTo>
                    <a:pt x="563909" y="201067"/>
                    <a:pt x="578643" y="171698"/>
                    <a:pt x="578643" y="112961"/>
                  </a:cubicBezTo>
                  <a:cubicBezTo>
                    <a:pt x="578643" y="52239"/>
                    <a:pt x="564206" y="21878"/>
                    <a:pt x="535334" y="21878"/>
                  </a:cubicBezTo>
                  <a:close/>
                  <a:moveTo>
                    <a:pt x="211484" y="21878"/>
                  </a:moveTo>
                  <a:cubicBezTo>
                    <a:pt x="181024" y="21878"/>
                    <a:pt x="165793" y="52784"/>
                    <a:pt x="165793" y="114598"/>
                  </a:cubicBezTo>
                  <a:cubicBezTo>
                    <a:pt x="165793" y="172244"/>
                    <a:pt x="180726" y="201067"/>
                    <a:pt x="210591" y="201067"/>
                  </a:cubicBezTo>
                  <a:cubicBezTo>
                    <a:pt x="240059" y="201067"/>
                    <a:pt x="254793" y="171698"/>
                    <a:pt x="254793" y="112961"/>
                  </a:cubicBezTo>
                  <a:cubicBezTo>
                    <a:pt x="254793" y="52239"/>
                    <a:pt x="240356" y="21878"/>
                    <a:pt x="211484" y="21878"/>
                  </a:cubicBezTo>
                  <a:close/>
                  <a:moveTo>
                    <a:pt x="1022299" y="1191"/>
                  </a:moveTo>
                  <a:cubicBezTo>
                    <a:pt x="1067047" y="1191"/>
                    <a:pt x="1089421" y="37654"/>
                    <a:pt x="1089421" y="110579"/>
                  </a:cubicBezTo>
                  <a:cubicBezTo>
                    <a:pt x="1089421" y="128439"/>
                    <a:pt x="1087809" y="144264"/>
                    <a:pt x="1084584" y="158056"/>
                  </a:cubicBezTo>
                  <a:cubicBezTo>
                    <a:pt x="1081359" y="171847"/>
                    <a:pt x="1076696" y="183480"/>
                    <a:pt x="1070594" y="192956"/>
                  </a:cubicBezTo>
                  <a:cubicBezTo>
                    <a:pt x="1064492" y="202431"/>
                    <a:pt x="1057001" y="209625"/>
                    <a:pt x="1048121" y="214536"/>
                  </a:cubicBezTo>
                  <a:cubicBezTo>
                    <a:pt x="1039241" y="219447"/>
                    <a:pt x="1029145" y="221903"/>
                    <a:pt x="1017835" y="221903"/>
                  </a:cubicBezTo>
                  <a:cubicBezTo>
                    <a:pt x="1007119" y="221903"/>
                    <a:pt x="997569" y="219546"/>
                    <a:pt x="989185" y="214834"/>
                  </a:cubicBezTo>
                  <a:cubicBezTo>
                    <a:pt x="980801" y="210121"/>
                    <a:pt x="973732" y="203250"/>
                    <a:pt x="967977" y="194221"/>
                  </a:cubicBezTo>
                  <a:cubicBezTo>
                    <a:pt x="962222" y="185192"/>
                    <a:pt x="957857" y="174104"/>
                    <a:pt x="954880" y="160958"/>
                  </a:cubicBezTo>
                  <a:cubicBezTo>
                    <a:pt x="951904" y="147811"/>
                    <a:pt x="950415" y="132755"/>
                    <a:pt x="950415" y="115788"/>
                  </a:cubicBezTo>
                  <a:cubicBezTo>
                    <a:pt x="950415" y="97135"/>
                    <a:pt x="951978" y="80665"/>
                    <a:pt x="955103" y="66377"/>
                  </a:cubicBezTo>
                  <a:cubicBezTo>
                    <a:pt x="958229" y="52090"/>
                    <a:pt x="962818" y="40109"/>
                    <a:pt x="968870" y="30435"/>
                  </a:cubicBezTo>
                  <a:cubicBezTo>
                    <a:pt x="974922" y="20762"/>
                    <a:pt x="982438" y="13469"/>
                    <a:pt x="991418" y="8558"/>
                  </a:cubicBezTo>
                  <a:cubicBezTo>
                    <a:pt x="1000397" y="3646"/>
                    <a:pt x="1010691" y="1191"/>
                    <a:pt x="1022299" y="1191"/>
                  </a:cubicBezTo>
                  <a:close/>
                  <a:moveTo>
                    <a:pt x="536524" y="1191"/>
                  </a:moveTo>
                  <a:cubicBezTo>
                    <a:pt x="581272" y="1191"/>
                    <a:pt x="603646" y="37654"/>
                    <a:pt x="603646" y="110579"/>
                  </a:cubicBezTo>
                  <a:cubicBezTo>
                    <a:pt x="603646" y="128439"/>
                    <a:pt x="602034" y="144264"/>
                    <a:pt x="598809" y="158056"/>
                  </a:cubicBezTo>
                  <a:cubicBezTo>
                    <a:pt x="595584" y="171847"/>
                    <a:pt x="590921" y="183480"/>
                    <a:pt x="584819" y="192956"/>
                  </a:cubicBezTo>
                  <a:cubicBezTo>
                    <a:pt x="578717" y="202431"/>
                    <a:pt x="571226" y="209625"/>
                    <a:pt x="562346" y="214536"/>
                  </a:cubicBezTo>
                  <a:cubicBezTo>
                    <a:pt x="553466" y="219447"/>
                    <a:pt x="543370" y="221903"/>
                    <a:pt x="532060" y="221903"/>
                  </a:cubicBezTo>
                  <a:cubicBezTo>
                    <a:pt x="521344" y="221903"/>
                    <a:pt x="511794" y="219546"/>
                    <a:pt x="503410" y="214834"/>
                  </a:cubicBezTo>
                  <a:cubicBezTo>
                    <a:pt x="495026" y="210121"/>
                    <a:pt x="487957" y="203250"/>
                    <a:pt x="482202" y="194221"/>
                  </a:cubicBezTo>
                  <a:cubicBezTo>
                    <a:pt x="476447" y="185192"/>
                    <a:pt x="472082" y="174104"/>
                    <a:pt x="469105" y="160958"/>
                  </a:cubicBezTo>
                  <a:cubicBezTo>
                    <a:pt x="466129" y="147811"/>
                    <a:pt x="464640" y="132755"/>
                    <a:pt x="464640" y="115788"/>
                  </a:cubicBezTo>
                  <a:cubicBezTo>
                    <a:pt x="464640" y="97135"/>
                    <a:pt x="466203" y="80665"/>
                    <a:pt x="469328" y="66377"/>
                  </a:cubicBezTo>
                  <a:cubicBezTo>
                    <a:pt x="472454" y="52090"/>
                    <a:pt x="477043" y="40109"/>
                    <a:pt x="483095" y="30435"/>
                  </a:cubicBezTo>
                  <a:cubicBezTo>
                    <a:pt x="489147" y="20762"/>
                    <a:pt x="496663" y="13469"/>
                    <a:pt x="505643" y="8558"/>
                  </a:cubicBezTo>
                  <a:cubicBezTo>
                    <a:pt x="514622" y="3646"/>
                    <a:pt x="524916" y="1191"/>
                    <a:pt x="536524" y="1191"/>
                  </a:cubicBezTo>
                  <a:close/>
                  <a:moveTo>
                    <a:pt x="212674" y="1191"/>
                  </a:moveTo>
                  <a:cubicBezTo>
                    <a:pt x="257422" y="1191"/>
                    <a:pt x="279796" y="37654"/>
                    <a:pt x="279796" y="110579"/>
                  </a:cubicBezTo>
                  <a:cubicBezTo>
                    <a:pt x="279796" y="128439"/>
                    <a:pt x="278184" y="144264"/>
                    <a:pt x="274959" y="158056"/>
                  </a:cubicBezTo>
                  <a:cubicBezTo>
                    <a:pt x="271734" y="171847"/>
                    <a:pt x="267071" y="183480"/>
                    <a:pt x="260969" y="192956"/>
                  </a:cubicBezTo>
                  <a:cubicBezTo>
                    <a:pt x="254867" y="202431"/>
                    <a:pt x="247376" y="209625"/>
                    <a:pt x="238496" y="214536"/>
                  </a:cubicBezTo>
                  <a:cubicBezTo>
                    <a:pt x="229616" y="219447"/>
                    <a:pt x="219520" y="221903"/>
                    <a:pt x="208210" y="221903"/>
                  </a:cubicBezTo>
                  <a:cubicBezTo>
                    <a:pt x="197494" y="221903"/>
                    <a:pt x="187944" y="219546"/>
                    <a:pt x="179560" y="214834"/>
                  </a:cubicBezTo>
                  <a:cubicBezTo>
                    <a:pt x="171176" y="210121"/>
                    <a:pt x="164107" y="203250"/>
                    <a:pt x="158352" y="194221"/>
                  </a:cubicBezTo>
                  <a:cubicBezTo>
                    <a:pt x="152597" y="185192"/>
                    <a:pt x="148232" y="174104"/>
                    <a:pt x="145255" y="160958"/>
                  </a:cubicBezTo>
                  <a:cubicBezTo>
                    <a:pt x="142279" y="147811"/>
                    <a:pt x="140790" y="132755"/>
                    <a:pt x="140790" y="115788"/>
                  </a:cubicBezTo>
                  <a:cubicBezTo>
                    <a:pt x="140790" y="97135"/>
                    <a:pt x="142353" y="80665"/>
                    <a:pt x="145478" y="66377"/>
                  </a:cubicBezTo>
                  <a:cubicBezTo>
                    <a:pt x="148604" y="52090"/>
                    <a:pt x="153193" y="40109"/>
                    <a:pt x="159245" y="30435"/>
                  </a:cubicBezTo>
                  <a:cubicBezTo>
                    <a:pt x="165297" y="20762"/>
                    <a:pt x="172813" y="13469"/>
                    <a:pt x="181793" y="8558"/>
                  </a:cubicBezTo>
                  <a:cubicBezTo>
                    <a:pt x="190772" y="3646"/>
                    <a:pt x="201066" y="1191"/>
                    <a:pt x="212674" y="1191"/>
                  </a:cubicBezTo>
                  <a:close/>
                  <a:moveTo>
                    <a:pt x="874216" y="0"/>
                  </a:moveTo>
                  <a:lnTo>
                    <a:pt x="883444" y="0"/>
                  </a:lnTo>
                  <a:lnTo>
                    <a:pt x="883444" y="218182"/>
                  </a:lnTo>
                  <a:lnTo>
                    <a:pt x="859036" y="218182"/>
                  </a:lnTo>
                  <a:lnTo>
                    <a:pt x="859036" y="33784"/>
                  </a:lnTo>
                  <a:cubicBezTo>
                    <a:pt x="857151" y="35669"/>
                    <a:pt x="854397" y="37827"/>
                    <a:pt x="850776" y="40258"/>
                  </a:cubicBezTo>
                  <a:cubicBezTo>
                    <a:pt x="847154" y="42689"/>
                    <a:pt x="843087" y="45095"/>
                    <a:pt x="838572" y="47476"/>
                  </a:cubicBezTo>
                  <a:cubicBezTo>
                    <a:pt x="834058" y="49858"/>
                    <a:pt x="829295" y="52090"/>
                    <a:pt x="824285" y="54174"/>
                  </a:cubicBezTo>
                  <a:cubicBezTo>
                    <a:pt x="819274" y="56257"/>
                    <a:pt x="814388" y="57894"/>
                    <a:pt x="809625" y="59085"/>
                  </a:cubicBezTo>
                  <a:lnTo>
                    <a:pt x="809625" y="34379"/>
                  </a:lnTo>
                  <a:cubicBezTo>
                    <a:pt x="814983" y="32891"/>
                    <a:pt x="820663" y="30882"/>
                    <a:pt x="826666" y="28352"/>
                  </a:cubicBezTo>
                  <a:cubicBezTo>
                    <a:pt x="832669" y="25822"/>
                    <a:pt x="838572" y="22994"/>
                    <a:pt x="844376" y="19869"/>
                  </a:cubicBezTo>
                  <a:cubicBezTo>
                    <a:pt x="850181" y="16743"/>
                    <a:pt x="855662" y="13469"/>
                    <a:pt x="860822" y="10046"/>
                  </a:cubicBezTo>
                  <a:cubicBezTo>
                    <a:pt x="865981" y="6623"/>
                    <a:pt x="870446" y="3274"/>
                    <a:pt x="874216" y="0"/>
                  </a:cubicBezTo>
                  <a:close/>
                  <a:moveTo>
                    <a:pt x="712291" y="0"/>
                  </a:moveTo>
                  <a:lnTo>
                    <a:pt x="721519" y="0"/>
                  </a:lnTo>
                  <a:lnTo>
                    <a:pt x="721519" y="218182"/>
                  </a:lnTo>
                  <a:lnTo>
                    <a:pt x="697111" y="218182"/>
                  </a:lnTo>
                  <a:lnTo>
                    <a:pt x="697111" y="33784"/>
                  </a:lnTo>
                  <a:cubicBezTo>
                    <a:pt x="695226" y="35669"/>
                    <a:pt x="692472" y="37827"/>
                    <a:pt x="688851" y="40258"/>
                  </a:cubicBezTo>
                  <a:cubicBezTo>
                    <a:pt x="685229" y="42689"/>
                    <a:pt x="681162" y="45095"/>
                    <a:pt x="676647" y="47476"/>
                  </a:cubicBezTo>
                  <a:cubicBezTo>
                    <a:pt x="672133" y="49858"/>
                    <a:pt x="667370" y="52090"/>
                    <a:pt x="662360" y="54174"/>
                  </a:cubicBezTo>
                  <a:cubicBezTo>
                    <a:pt x="657349" y="56257"/>
                    <a:pt x="652463" y="57894"/>
                    <a:pt x="647700" y="59085"/>
                  </a:cubicBezTo>
                  <a:lnTo>
                    <a:pt x="647700" y="34379"/>
                  </a:lnTo>
                  <a:cubicBezTo>
                    <a:pt x="653058" y="32891"/>
                    <a:pt x="658738" y="30882"/>
                    <a:pt x="664741" y="28352"/>
                  </a:cubicBezTo>
                  <a:cubicBezTo>
                    <a:pt x="670744" y="25822"/>
                    <a:pt x="676647" y="22994"/>
                    <a:pt x="682451" y="19869"/>
                  </a:cubicBezTo>
                  <a:cubicBezTo>
                    <a:pt x="688256" y="16743"/>
                    <a:pt x="693738" y="13469"/>
                    <a:pt x="698897" y="10046"/>
                  </a:cubicBezTo>
                  <a:cubicBezTo>
                    <a:pt x="704056" y="6623"/>
                    <a:pt x="708521" y="3274"/>
                    <a:pt x="712291" y="0"/>
                  </a:cubicBezTo>
                  <a:close/>
                  <a:moveTo>
                    <a:pt x="388441" y="0"/>
                  </a:moveTo>
                  <a:lnTo>
                    <a:pt x="397669" y="0"/>
                  </a:lnTo>
                  <a:lnTo>
                    <a:pt x="397669" y="218182"/>
                  </a:lnTo>
                  <a:lnTo>
                    <a:pt x="373261" y="218182"/>
                  </a:lnTo>
                  <a:lnTo>
                    <a:pt x="373261" y="33784"/>
                  </a:lnTo>
                  <a:cubicBezTo>
                    <a:pt x="371376" y="35669"/>
                    <a:pt x="368622" y="37827"/>
                    <a:pt x="365001" y="40258"/>
                  </a:cubicBezTo>
                  <a:cubicBezTo>
                    <a:pt x="361380" y="42689"/>
                    <a:pt x="357311" y="45095"/>
                    <a:pt x="352797" y="47476"/>
                  </a:cubicBezTo>
                  <a:cubicBezTo>
                    <a:pt x="348283" y="49858"/>
                    <a:pt x="343520" y="52090"/>
                    <a:pt x="338510" y="54174"/>
                  </a:cubicBezTo>
                  <a:cubicBezTo>
                    <a:pt x="333499" y="56257"/>
                    <a:pt x="328613" y="57894"/>
                    <a:pt x="323850" y="59085"/>
                  </a:cubicBezTo>
                  <a:lnTo>
                    <a:pt x="323850" y="34379"/>
                  </a:lnTo>
                  <a:cubicBezTo>
                    <a:pt x="329208" y="32891"/>
                    <a:pt x="334888" y="30882"/>
                    <a:pt x="340891" y="28352"/>
                  </a:cubicBezTo>
                  <a:cubicBezTo>
                    <a:pt x="346894" y="25822"/>
                    <a:pt x="352797" y="22994"/>
                    <a:pt x="358601" y="19869"/>
                  </a:cubicBezTo>
                  <a:cubicBezTo>
                    <a:pt x="364406" y="16743"/>
                    <a:pt x="369887" y="13469"/>
                    <a:pt x="375047" y="10046"/>
                  </a:cubicBezTo>
                  <a:cubicBezTo>
                    <a:pt x="380206" y="6623"/>
                    <a:pt x="384671" y="3274"/>
                    <a:pt x="388441" y="0"/>
                  </a:cubicBezTo>
                  <a:close/>
                  <a:moveTo>
                    <a:pt x="64591" y="0"/>
                  </a:moveTo>
                  <a:lnTo>
                    <a:pt x="73819" y="0"/>
                  </a:lnTo>
                  <a:lnTo>
                    <a:pt x="73819" y="218182"/>
                  </a:lnTo>
                  <a:lnTo>
                    <a:pt x="49411" y="218182"/>
                  </a:lnTo>
                  <a:lnTo>
                    <a:pt x="49411" y="33784"/>
                  </a:lnTo>
                  <a:cubicBezTo>
                    <a:pt x="47526" y="35669"/>
                    <a:pt x="44772" y="37827"/>
                    <a:pt x="41151" y="40258"/>
                  </a:cubicBezTo>
                  <a:cubicBezTo>
                    <a:pt x="37529" y="42689"/>
                    <a:pt x="33462" y="45095"/>
                    <a:pt x="28947" y="47476"/>
                  </a:cubicBezTo>
                  <a:cubicBezTo>
                    <a:pt x="24433" y="49858"/>
                    <a:pt x="19670" y="52090"/>
                    <a:pt x="14660" y="54174"/>
                  </a:cubicBezTo>
                  <a:cubicBezTo>
                    <a:pt x="9649" y="56257"/>
                    <a:pt x="4762" y="57894"/>
                    <a:pt x="0" y="59085"/>
                  </a:cubicBezTo>
                  <a:lnTo>
                    <a:pt x="0" y="34379"/>
                  </a:lnTo>
                  <a:cubicBezTo>
                    <a:pt x="5358" y="32891"/>
                    <a:pt x="11038" y="30882"/>
                    <a:pt x="17041" y="28352"/>
                  </a:cubicBezTo>
                  <a:cubicBezTo>
                    <a:pt x="23044" y="25822"/>
                    <a:pt x="28947" y="22994"/>
                    <a:pt x="34751" y="19869"/>
                  </a:cubicBezTo>
                  <a:cubicBezTo>
                    <a:pt x="40556" y="16743"/>
                    <a:pt x="46037" y="13469"/>
                    <a:pt x="51197" y="10046"/>
                  </a:cubicBezTo>
                  <a:cubicBezTo>
                    <a:pt x="56356" y="6623"/>
                    <a:pt x="60821" y="3274"/>
                    <a:pt x="64591" y="0"/>
                  </a:cubicBezTo>
                  <a:close/>
                </a:path>
              </a:pathLst>
            </a:cu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5439">
                      <a:srgbClr val="F8F8F8"/>
                    </a:gs>
                    <a:gs pos="10000">
                      <a:srgbClr val="F8F8F8"/>
                    </a:gs>
                  </a:gsLst>
                  <a:lin ang="5400000" scaled="0"/>
                </a:gradFill>
                <a:effectLst/>
                <a:uLnTx/>
                <a:uFillTx/>
              </a:endParaRPr>
            </a:p>
          </p:txBody>
        </p:sp>
        <p:grpSp>
          <p:nvGrpSpPr>
            <p:cNvPr id="530" name="Group 529"/>
            <p:cNvGrpSpPr/>
            <p:nvPr/>
          </p:nvGrpSpPr>
          <p:grpSpPr>
            <a:xfrm>
              <a:off x="7741070" y="2727249"/>
              <a:ext cx="1251290" cy="1227227"/>
              <a:chOff x="12389905" y="3554935"/>
              <a:chExt cx="330200" cy="323850"/>
            </a:xfrm>
          </p:grpSpPr>
          <p:sp>
            <p:nvSpPr>
              <p:cNvPr id="532" name="Freeform 118"/>
              <p:cNvSpPr>
                <a:spLocks/>
              </p:cNvSpPr>
              <p:nvPr/>
            </p:nvSpPr>
            <p:spPr bwMode="auto">
              <a:xfrm>
                <a:off x="12389905" y="3554935"/>
                <a:ext cx="330200" cy="323850"/>
              </a:xfrm>
              <a:custGeom>
                <a:avLst/>
                <a:gdLst>
                  <a:gd name="T0" fmla="*/ 43 w 223"/>
                  <a:gd name="T1" fmla="*/ 188 h 220"/>
                  <a:gd name="T2" fmla="*/ 51 w 223"/>
                  <a:gd name="T3" fmla="*/ 195 h 220"/>
                  <a:gd name="T4" fmla="*/ 113 w 223"/>
                  <a:gd name="T5" fmla="*/ 218 h 220"/>
                  <a:gd name="T6" fmla="*/ 222 w 223"/>
                  <a:gd name="T7" fmla="*/ 116 h 220"/>
                  <a:gd name="T8" fmla="*/ 209 w 223"/>
                  <a:gd name="T9" fmla="*/ 61 h 220"/>
                  <a:gd name="T10" fmla="*/ 168 w 223"/>
                  <a:gd name="T11" fmla="*/ 20 h 220"/>
                  <a:gd name="T12" fmla="*/ 142 w 223"/>
                  <a:gd name="T13" fmla="*/ 10 h 220"/>
                  <a:gd name="T14" fmla="*/ 41 w 223"/>
                  <a:gd name="T15" fmla="*/ 39 h 220"/>
                  <a:gd name="T16" fmla="*/ 41 w 223"/>
                  <a:gd name="T17" fmla="*/ 39 h 220"/>
                  <a:gd name="T18" fmla="*/ 43 w 223"/>
                  <a:gd name="T19" fmla="*/ 188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3" h="220">
                    <a:moveTo>
                      <a:pt x="43" y="188"/>
                    </a:moveTo>
                    <a:cubicBezTo>
                      <a:pt x="46" y="191"/>
                      <a:pt x="48" y="193"/>
                      <a:pt x="51" y="195"/>
                    </a:cubicBezTo>
                    <a:cubicBezTo>
                      <a:pt x="70" y="210"/>
                      <a:pt x="90" y="217"/>
                      <a:pt x="113" y="218"/>
                    </a:cubicBezTo>
                    <a:cubicBezTo>
                      <a:pt x="171" y="220"/>
                      <a:pt x="220" y="175"/>
                      <a:pt x="222" y="116"/>
                    </a:cubicBezTo>
                    <a:cubicBezTo>
                      <a:pt x="223" y="96"/>
                      <a:pt x="219" y="79"/>
                      <a:pt x="209" y="61"/>
                    </a:cubicBezTo>
                    <a:cubicBezTo>
                      <a:pt x="199" y="43"/>
                      <a:pt x="186" y="30"/>
                      <a:pt x="168" y="20"/>
                    </a:cubicBezTo>
                    <a:cubicBezTo>
                      <a:pt x="160" y="16"/>
                      <a:pt x="151" y="12"/>
                      <a:pt x="142" y="10"/>
                    </a:cubicBezTo>
                    <a:cubicBezTo>
                      <a:pt x="104" y="0"/>
                      <a:pt x="68" y="11"/>
                      <a:pt x="41" y="39"/>
                    </a:cubicBezTo>
                    <a:cubicBezTo>
                      <a:pt x="41" y="39"/>
                      <a:pt x="41" y="39"/>
                      <a:pt x="41" y="39"/>
                    </a:cubicBezTo>
                    <a:cubicBezTo>
                      <a:pt x="0" y="81"/>
                      <a:pt x="1" y="148"/>
                      <a:pt x="43" y="188"/>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33" name="Freeform 119"/>
              <p:cNvSpPr>
                <a:spLocks/>
              </p:cNvSpPr>
              <p:nvPr/>
            </p:nvSpPr>
            <p:spPr bwMode="auto">
              <a:xfrm>
                <a:off x="12466105" y="3570810"/>
                <a:ext cx="254000" cy="307975"/>
              </a:xfrm>
              <a:custGeom>
                <a:avLst/>
                <a:gdLst>
                  <a:gd name="T0" fmla="*/ 62 w 172"/>
                  <a:gd name="T1" fmla="*/ 208 h 210"/>
                  <a:gd name="T2" fmla="*/ 171 w 172"/>
                  <a:gd name="T3" fmla="*/ 106 h 210"/>
                  <a:gd name="T4" fmla="*/ 158 w 172"/>
                  <a:gd name="T5" fmla="*/ 51 h 210"/>
                  <a:gd name="T6" fmla="*/ 117 w 172"/>
                  <a:gd name="T7" fmla="*/ 10 h 210"/>
                  <a:gd name="T8" fmla="*/ 91 w 172"/>
                  <a:gd name="T9" fmla="*/ 0 h 210"/>
                  <a:gd name="T10" fmla="*/ 66 w 172"/>
                  <a:gd name="T11" fmla="*/ 102 h 210"/>
                  <a:gd name="T12" fmla="*/ 0 w 172"/>
                  <a:gd name="T13" fmla="*/ 185 h 210"/>
                  <a:gd name="T14" fmla="*/ 62 w 172"/>
                  <a:gd name="T15" fmla="*/ 208 h 2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2" h="210">
                    <a:moveTo>
                      <a:pt x="62" y="208"/>
                    </a:moveTo>
                    <a:cubicBezTo>
                      <a:pt x="120" y="210"/>
                      <a:pt x="169" y="165"/>
                      <a:pt x="171" y="106"/>
                    </a:cubicBezTo>
                    <a:cubicBezTo>
                      <a:pt x="172" y="86"/>
                      <a:pt x="168" y="69"/>
                      <a:pt x="158" y="51"/>
                    </a:cubicBezTo>
                    <a:cubicBezTo>
                      <a:pt x="148" y="33"/>
                      <a:pt x="135" y="20"/>
                      <a:pt x="117" y="10"/>
                    </a:cubicBezTo>
                    <a:cubicBezTo>
                      <a:pt x="109" y="6"/>
                      <a:pt x="100" y="2"/>
                      <a:pt x="91" y="0"/>
                    </a:cubicBezTo>
                    <a:cubicBezTo>
                      <a:pt x="66" y="102"/>
                      <a:pt x="66" y="102"/>
                      <a:pt x="66" y="102"/>
                    </a:cubicBezTo>
                    <a:cubicBezTo>
                      <a:pt x="0" y="185"/>
                      <a:pt x="0" y="185"/>
                      <a:pt x="0" y="185"/>
                    </a:cubicBezTo>
                    <a:cubicBezTo>
                      <a:pt x="19" y="200"/>
                      <a:pt x="39" y="207"/>
                      <a:pt x="62" y="208"/>
                    </a:cubicBezTo>
                    <a:close/>
                  </a:path>
                </a:pathLst>
              </a:custGeom>
              <a:solidFill>
                <a:schemeClr val="accent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34" name="Freeform 120"/>
              <p:cNvSpPr>
                <a:spLocks/>
              </p:cNvSpPr>
              <p:nvPr/>
            </p:nvSpPr>
            <p:spPr bwMode="auto">
              <a:xfrm>
                <a:off x="12450230" y="3554935"/>
                <a:ext cx="150813" cy="165100"/>
              </a:xfrm>
              <a:custGeom>
                <a:avLst/>
                <a:gdLst>
                  <a:gd name="T0" fmla="*/ 76 w 101"/>
                  <a:gd name="T1" fmla="*/ 112 h 112"/>
                  <a:gd name="T2" fmla="*/ 101 w 101"/>
                  <a:gd name="T3" fmla="*/ 10 h 112"/>
                  <a:gd name="T4" fmla="*/ 0 w 101"/>
                  <a:gd name="T5" fmla="*/ 39 h 112"/>
                  <a:gd name="T6" fmla="*/ 76 w 101"/>
                  <a:gd name="T7" fmla="*/ 112 h 112"/>
                </a:gdLst>
                <a:ahLst/>
                <a:cxnLst>
                  <a:cxn ang="0">
                    <a:pos x="T0" y="T1"/>
                  </a:cxn>
                  <a:cxn ang="0">
                    <a:pos x="T2" y="T3"/>
                  </a:cxn>
                  <a:cxn ang="0">
                    <a:pos x="T4" y="T5"/>
                  </a:cxn>
                  <a:cxn ang="0">
                    <a:pos x="T6" y="T7"/>
                  </a:cxn>
                </a:cxnLst>
                <a:rect l="0" t="0" r="r" b="b"/>
                <a:pathLst>
                  <a:path w="101" h="112">
                    <a:moveTo>
                      <a:pt x="76" y="112"/>
                    </a:moveTo>
                    <a:cubicBezTo>
                      <a:pt x="101" y="10"/>
                      <a:pt x="101" y="10"/>
                      <a:pt x="101" y="10"/>
                    </a:cubicBezTo>
                    <a:cubicBezTo>
                      <a:pt x="63" y="0"/>
                      <a:pt x="27" y="11"/>
                      <a:pt x="0" y="39"/>
                    </a:cubicBezTo>
                    <a:lnTo>
                      <a:pt x="76" y="112"/>
                    </a:lnTo>
                    <a:close/>
                  </a:path>
                </a:pathLst>
              </a:custGeom>
              <a:solidFill>
                <a:schemeClr val="accent1">
                  <a:lumMod val="40000"/>
                  <a:lumOff val="6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pic>
          <p:nvPicPr>
            <p:cNvPr id="531" name="Picture 530"/>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5699712" y="2098842"/>
              <a:ext cx="3637208" cy="2484043"/>
            </a:xfrm>
            <a:prstGeom prst="rect">
              <a:avLst/>
            </a:prstGeom>
          </p:spPr>
        </p:pic>
      </p:grpSp>
    </p:spTree>
    <p:extLst>
      <p:ext uri="{BB962C8B-B14F-4D97-AF65-F5344CB8AC3E}">
        <p14:creationId xmlns:p14="http://schemas.microsoft.com/office/powerpoint/2010/main" val="170453112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 name="Rectangle 73"/>
          <p:cNvSpPr/>
          <p:nvPr/>
        </p:nvSpPr>
        <p:spPr bwMode="auto">
          <a:xfrm>
            <a:off x="269240" y="2463800"/>
            <a:ext cx="2661118" cy="2036987"/>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5439">
                    <a:srgbClr val="F8F8F8"/>
                  </a:gs>
                  <a:gs pos="10000">
                    <a:srgbClr val="F8F8F8"/>
                  </a:gs>
                </a:gsLst>
                <a:lin ang="5400000" scaled="0"/>
              </a:gradFill>
              <a:effectLst/>
              <a:uLnTx/>
              <a:uFillTx/>
            </a:endParaRPr>
          </a:p>
        </p:txBody>
      </p:sp>
      <p:sp>
        <p:nvSpPr>
          <p:cNvPr id="4" name="Title 3"/>
          <p:cNvSpPr>
            <a:spLocks noGrp="1"/>
          </p:cNvSpPr>
          <p:nvPr>
            <p:ph type="title"/>
          </p:nvPr>
        </p:nvSpPr>
        <p:spPr/>
        <p:txBody>
          <a:bodyPr/>
          <a:lstStyle/>
          <a:p>
            <a:r>
              <a:rPr lang="en-GB" dirty="0"/>
              <a:t>Customizing using SDKs/APIs</a:t>
            </a:r>
            <a:endParaRPr lang="en-US" dirty="0"/>
          </a:p>
        </p:txBody>
      </p:sp>
      <p:sp>
        <p:nvSpPr>
          <p:cNvPr id="30" name="Rectangle 29"/>
          <p:cNvSpPr/>
          <p:nvPr/>
        </p:nvSpPr>
        <p:spPr>
          <a:xfrm>
            <a:off x="269240" y="5423186"/>
            <a:ext cx="11655840" cy="76223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571266" eaLnBrk="1" fontAlgn="auto" latinLnBrk="0" hangingPunct="1">
              <a:lnSpc>
                <a:spcPct val="100000"/>
              </a:lnSpc>
              <a:spcBef>
                <a:spcPts val="0"/>
              </a:spcBef>
              <a:spcAft>
                <a:spcPts val="0"/>
              </a:spcAft>
              <a:buClrTx/>
              <a:buSzTx/>
              <a:buFontTx/>
              <a:buNone/>
              <a:tabLst/>
              <a:defRPr/>
            </a:pPr>
            <a:r>
              <a:rPr kumimoji="0" lang="en-US" sz="2350" b="0" i="0" u="none" strike="noStrike" kern="0" cap="none" spc="0" normalizeH="0" baseline="0" noProof="0" dirty="0">
                <a:ln>
                  <a:noFill/>
                </a:ln>
                <a:solidFill>
                  <a:schemeClr val="bg2"/>
                </a:solidFill>
                <a:effectLst/>
                <a:uLnTx/>
                <a:uFillTx/>
                <a:latin typeface="Segoe UI Semibold" panose="020B0702040204020203" pitchFamily="34" charset="0"/>
                <a:cs typeface="Segoe UI Semibold" panose="020B0702040204020203" pitchFamily="34" charset="0"/>
              </a:rPr>
              <a:t>Azure and ADL Store REST APIs</a:t>
            </a:r>
          </a:p>
        </p:txBody>
      </p:sp>
      <p:sp>
        <p:nvSpPr>
          <p:cNvPr id="31" name="TextBox 30"/>
          <p:cNvSpPr txBox="1"/>
          <p:nvPr/>
        </p:nvSpPr>
        <p:spPr>
          <a:xfrm>
            <a:off x="10236543" y="6402143"/>
            <a:ext cx="1955457" cy="455857"/>
          </a:xfrm>
          <a:prstGeom prst="rect">
            <a:avLst/>
          </a:prstGeom>
          <a:noFill/>
        </p:spPr>
        <p:txBody>
          <a:bodyPr wrap="none" lIns="179285" tIns="143428" rIns="179285" bIns="143428" rtlCol="0">
            <a:spAutoFit/>
          </a:bodyPr>
          <a:lstStyle/>
          <a:p>
            <a:pPr marL="0" marR="0" lvl="0" indent="0" defTabSz="896386" eaLnBrk="1" fontAlgn="auto" latinLnBrk="0" hangingPunct="1">
              <a:lnSpc>
                <a:spcPct val="90000"/>
              </a:lnSpc>
              <a:spcBef>
                <a:spcPts val="0"/>
              </a:spcBef>
              <a:spcAft>
                <a:spcPts val="588"/>
              </a:spcAft>
              <a:buClrTx/>
              <a:buSzTx/>
              <a:buFontTx/>
              <a:buNone/>
              <a:tabLst/>
              <a:defRPr/>
            </a:pPr>
            <a:r>
              <a:rPr kumimoji="0" lang="en-US" sz="1200" b="0" i="0" u="none" strike="noStrike" kern="0" cap="none" spc="0" normalizeH="0" baseline="0" noProof="0" dirty="0">
                <a:ln>
                  <a:noFill/>
                </a:ln>
                <a:gradFill>
                  <a:gsLst>
                    <a:gs pos="2917">
                      <a:schemeClr val="tx1"/>
                    </a:gs>
                    <a:gs pos="30000">
                      <a:schemeClr val="tx1"/>
                    </a:gs>
                  </a:gsLst>
                  <a:lin ang="5400000" scaled="0"/>
                </a:gradFill>
                <a:effectLst/>
                <a:uLnTx/>
                <a:uFillTx/>
              </a:rPr>
              <a:t>* At General Availability</a:t>
            </a:r>
          </a:p>
        </p:txBody>
      </p:sp>
      <p:sp>
        <p:nvSpPr>
          <p:cNvPr id="32" name="Rectangle 31"/>
          <p:cNvSpPr/>
          <p:nvPr/>
        </p:nvSpPr>
        <p:spPr>
          <a:xfrm>
            <a:off x="359228" y="3573900"/>
            <a:ext cx="2470331" cy="833273"/>
          </a:xfrm>
          <a:prstGeom prst="rect">
            <a:avLst/>
          </a:prstGeom>
          <a:solidFill>
            <a:srgbClr val="00BCF2"/>
          </a:solidFill>
          <a:ln w="38100">
            <a:noFill/>
          </a:ln>
          <a:effectLst/>
        </p:spPr>
        <p:style>
          <a:lnRef idx="2">
            <a:schemeClr val="accent1">
              <a:shade val="50000"/>
            </a:schemeClr>
          </a:lnRef>
          <a:fillRef idx="1">
            <a:schemeClr val="accent1"/>
          </a:fillRef>
          <a:effectRef idx="0">
            <a:schemeClr val="accent1"/>
          </a:effectRef>
          <a:fontRef idx="minor">
            <a:schemeClr val="lt1"/>
          </a:fontRef>
        </p:style>
        <p:txBody>
          <a:bodyPr lIns="365760" rIns="274320" rtlCol="0" anchor="ctr"/>
          <a:lstStyle/>
          <a:p>
            <a:pPr marL="0" marR="0" lvl="0" indent="0" algn="r" defTabSz="571266" eaLnBrk="1" fontAlgn="auto" latinLnBrk="0" hangingPunct="1">
              <a:lnSpc>
                <a:spcPct val="100000"/>
              </a:lnSpc>
              <a:spcBef>
                <a:spcPts val="0"/>
              </a:spcBef>
              <a:spcAft>
                <a:spcPts val="0"/>
              </a:spcAft>
              <a:buClrTx/>
              <a:buSzTx/>
              <a:buFontTx/>
              <a:buNone/>
              <a:tabLst/>
              <a:defRPr/>
            </a:pPr>
            <a:r>
              <a:rPr kumimoji="0" lang="en-US" sz="1570" b="0" i="0" u="none" strike="noStrike" kern="0" cap="none" spc="0" normalizeH="0" baseline="0" noProof="0" dirty="0">
                <a:ln>
                  <a:noFill/>
                </a:ln>
                <a:solidFill>
                  <a:schemeClr val="bg1"/>
                </a:solidFill>
                <a:effectLst/>
                <a:uLnTx/>
                <a:uFillTx/>
              </a:rPr>
              <a:t>ADL .NET SDK</a:t>
            </a:r>
          </a:p>
        </p:txBody>
      </p:sp>
      <p:sp>
        <p:nvSpPr>
          <p:cNvPr id="33" name="Rectangle 32"/>
          <p:cNvSpPr/>
          <p:nvPr/>
        </p:nvSpPr>
        <p:spPr>
          <a:xfrm>
            <a:off x="1050470" y="2565706"/>
            <a:ext cx="1779089" cy="756117"/>
          </a:xfrm>
          <a:prstGeom prst="rect">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548640" rIns="182880" rtlCol="0" anchor="ctr"/>
          <a:lstStyle/>
          <a:p>
            <a:pPr marL="0" marR="0" lvl="0" indent="0" algn="r" defTabSz="571266" eaLnBrk="1" fontAlgn="auto" latinLnBrk="0" hangingPunct="1">
              <a:lnSpc>
                <a:spcPct val="100000"/>
              </a:lnSpc>
              <a:spcBef>
                <a:spcPts val="0"/>
              </a:spcBef>
              <a:spcAft>
                <a:spcPts val="0"/>
              </a:spcAft>
              <a:buClrTx/>
              <a:buSzTx/>
              <a:buFontTx/>
              <a:buNone/>
              <a:tabLst/>
              <a:defRPr/>
            </a:pPr>
            <a:r>
              <a:rPr kumimoji="0" lang="en-US" sz="1570" b="0" i="0" u="none" strike="noStrike" kern="0" cap="none" spc="0" normalizeH="0" baseline="0" noProof="0" dirty="0">
                <a:ln>
                  <a:noFill/>
                </a:ln>
                <a:solidFill>
                  <a:schemeClr val="bg1"/>
                </a:solidFill>
                <a:effectLst/>
                <a:uLnTx/>
                <a:uFillTx/>
              </a:rPr>
              <a:t>ADL PowerShell</a:t>
            </a:r>
          </a:p>
        </p:txBody>
      </p:sp>
      <p:sp>
        <p:nvSpPr>
          <p:cNvPr id="34" name="Rectangle 33"/>
          <p:cNvSpPr/>
          <p:nvPr/>
        </p:nvSpPr>
        <p:spPr>
          <a:xfrm>
            <a:off x="3946184" y="2565706"/>
            <a:ext cx="1779089" cy="756117"/>
          </a:xfrm>
          <a:prstGeom prst="rect">
            <a:avLst/>
          </a:prstGeom>
          <a:solidFill>
            <a:schemeClr val="accent6"/>
          </a:solidFill>
          <a:ln w="38100">
            <a:noFill/>
          </a:ln>
          <a:effectLst/>
        </p:spPr>
        <p:style>
          <a:lnRef idx="2">
            <a:schemeClr val="accent1">
              <a:shade val="50000"/>
            </a:schemeClr>
          </a:lnRef>
          <a:fillRef idx="1">
            <a:schemeClr val="accent1"/>
          </a:fillRef>
          <a:effectRef idx="0">
            <a:schemeClr val="accent1"/>
          </a:effectRef>
          <a:fontRef idx="minor">
            <a:schemeClr val="lt1"/>
          </a:fontRef>
        </p:style>
        <p:txBody>
          <a:bodyPr lIns="548640" rIns="182880" rtlCol="0" anchor="ctr"/>
          <a:lstStyle/>
          <a:p>
            <a:pPr marL="0" marR="0" lvl="0" indent="0" algn="r" defTabSz="571266" eaLnBrk="1" fontAlgn="auto" latinLnBrk="0" hangingPunct="1">
              <a:lnSpc>
                <a:spcPct val="100000"/>
              </a:lnSpc>
              <a:spcBef>
                <a:spcPts val="0"/>
              </a:spcBef>
              <a:spcAft>
                <a:spcPts val="0"/>
              </a:spcAft>
              <a:buClrTx/>
              <a:buSzTx/>
              <a:buFontTx/>
              <a:buNone/>
              <a:tabLst/>
              <a:defRPr/>
            </a:pPr>
            <a:r>
              <a:rPr kumimoji="0" lang="en-US" sz="1570" b="0" i="0" u="none" strike="noStrike" kern="0" cap="none" spc="0" normalizeH="0" baseline="0" noProof="0" dirty="0">
                <a:ln>
                  <a:noFill/>
                </a:ln>
                <a:solidFill>
                  <a:schemeClr val="bg1"/>
                </a:solidFill>
                <a:effectLst/>
                <a:uLnTx/>
                <a:uFillTx/>
              </a:rPr>
              <a:t>ADL</a:t>
            </a:r>
            <a:br>
              <a:rPr kumimoji="0" lang="en-US" sz="1570" b="0" i="0" u="none" strike="noStrike" kern="0" cap="none" spc="0" normalizeH="0" baseline="0" noProof="0" dirty="0">
                <a:ln>
                  <a:noFill/>
                </a:ln>
                <a:solidFill>
                  <a:schemeClr val="bg1"/>
                </a:solidFill>
                <a:effectLst/>
                <a:uLnTx/>
                <a:uFillTx/>
              </a:rPr>
            </a:br>
            <a:r>
              <a:rPr kumimoji="0" lang="en-US" sz="1570" b="0" i="0" u="none" strike="noStrike" kern="0" cap="none" spc="0" normalizeH="0" baseline="0" noProof="0" dirty="0" err="1">
                <a:ln>
                  <a:noFill/>
                </a:ln>
                <a:solidFill>
                  <a:schemeClr val="bg1"/>
                </a:solidFill>
                <a:effectLst/>
                <a:uLnTx/>
                <a:uFillTx/>
              </a:rPr>
              <a:t>XPlat</a:t>
            </a:r>
            <a:r>
              <a:rPr kumimoji="0" lang="en-US" sz="1570" b="0" i="0" u="none" strike="noStrike" kern="0" cap="none" spc="0" normalizeH="0" baseline="0" noProof="0" dirty="0">
                <a:ln>
                  <a:noFill/>
                </a:ln>
                <a:solidFill>
                  <a:schemeClr val="bg1"/>
                </a:solidFill>
                <a:effectLst/>
                <a:uLnTx/>
                <a:uFillTx/>
              </a:rPr>
              <a:t> CLI</a:t>
            </a:r>
          </a:p>
        </p:txBody>
      </p:sp>
      <p:sp>
        <p:nvSpPr>
          <p:cNvPr id="35" name="Rectangle 34"/>
          <p:cNvSpPr/>
          <p:nvPr/>
        </p:nvSpPr>
        <p:spPr>
          <a:xfrm>
            <a:off x="6060668" y="3573900"/>
            <a:ext cx="2560320" cy="833273"/>
          </a:xfrm>
          <a:prstGeom prst="rect">
            <a:avLst/>
          </a:prstGeom>
          <a:solidFill>
            <a:srgbClr val="00BCF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594360" rIns="274320" rtlCol="0" anchor="ctr"/>
          <a:lstStyle/>
          <a:p>
            <a:pPr marL="0" marR="0" lvl="0" indent="0" algn="r" defTabSz="571266" eaLnBrk="1" fontAlgn="auto" latinLnBrk="0" hangingPunct="1">
              <a:lnSpc>
                <a:spcPct val="100000"/>
              </a:lnSpc>
              <a:spcBef>
                <a:spcPts val="0"/>
              </a:spcBef>
              <a:spcAft>
                <a:spcPts val="0"/>
              </a:spcAft>
              <a:buClrTx/>
              <a:buSzTx/>
              <a:buFontTx/>
              <a:buNone/>
              <a:tabLst/>
              <a:defRPr/>
            </a:pPr>
            <a:r>
              <a:rPr kumimoji="0" lang="en-US" sz="1570" b="0" i="0" u="none" strike="noStrike" kern="0" cap="none" spc="0" normalizeH="0" baseline="0" noProof="0" dirty="0">
                <a:ln>
                  <a:noFill/>
                </a:ln>
                <a:solidFill>
                  <a:schemeClr val="bg1"/>
                </a:solidFill>
                <a:effectLst/>
                <a:uLnTx/>
                <a:uFillTx/>
              </a:rPr>
              <a:t>ADL Node.js</a:t>
            </a:r>
            <a:br>
              <a:rPr kumimoji="0" lang="en-US" sz="1570" b="0" i="0" u="none" strike="noStrike" kern="0" cap="none" spc="0" normalizeH="0" baseline="0" noProof="0" dirty="0">
                <a:ln>
                  <a:noFill/>
                </a:ln>
                <a:solidFill>
                  <a:schemeClr val="bg1"/>
                </a:solidFill>
                <a:effectLst/>
                <a:uLnTx/>
                <a:uFillTx/>
              </a:rPr>
            </a:br>
            <a:r>
              <a:rPr kumimoji="0" lang="en-US" sz="1570" b="0" i="0" u="none" strike="noStrike" kern="0" cap="none" spc="0" normalizeH="0" baseline="0" noProof="0" dirty="0">
                <a:ln>
                  <a:noFill/>
                </a:ln>
                <a:solidFill>
                  <a:schemeClr val="bg1"/>
                </a:solidFill>
                <a:effectLst/>
                <a:uLnTx/>
                <a:uFillTx/>
              </a:rPr>
              <a:t>SDK</a:t>
            </a:r>
          </a:p>
        </p:txBody>
      </p:sp>
      <p:sp>
        <p:nvSpPr>
          <p:cNvPr id="36" name="Rectangle 35"/>
          <p:cNvSpPr/>
          <p:nvPr/>
        </p:nvSpPr>
        <p:spPr>
          <a:xfrm>
            <a:off x="3164954" y="3573900"/>
            <a:ext cx="2560320" cy="833273"/>
          </a:xfrm>
          <a:prstGeom prst="rect">
            <a:avLst/>
          </a:prstGeom>
          <a:solidFill>
            <a:srgbClr val="00BCF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365760" rIns="274320" rtlCol="0" anchor="ctr"/>
          <a:lstStyle/>
          <a:p>
            <a:pPr marL="0" marR="0" lvl="0" indent="0" algn="r" defTabSz="571266" eaLnBrk="1" fontAlgn="auto" latinLnBrk="0" hangingPunct="1">
              <a:lnSpc>
                <a:spcPct val="100000"/>
              </a:lnSpc>
              <a:spcBef>
                <a:spcPts val="0"/>
              </a:spcBef>
              <a:spcAft>
                <a:spcPts val="0"/>
              </a:spcAft>
              <a:buClrTx/>
              <a:buSzTx/>
              <a:buFontTx/>
              <a:buNone/>
              <a:tabLst/>
              <a:defRPr/>
            </a:pPr>
            <a:r>
              <a:rPr kumimoji="0" lang="en-US" sz="1570" b="0" i="0" u="none" strike="noStrike" kern="0" cap="none" spc="0" normalizeH="0" baseline="0" noProof="0" dirty="0">
                <a:ln>
                  <a:noFill/>
                </a:ln>
                <a:solidFill>
                  <a:schemeClr val="bg1"/>
                </a:solidFill>
                <a:effectLst/>
                <a:uLnTx/>
                <a:uFillTx/>
              </a:rPr>
              <a:t>ADL Java SDK</a:t>
            </a:r>
          </a:p>
        </p:txBody>
      </p:sp>
      <p:sp>
        <p:nvSpPr>
          <p:cNvPr id="37" name="Rectangle 36"/>
          <p:cNvSpPr/>
          <p:nvPr/>
        </p:nvSpPr>
        <p:spPr>
          <a:xfrm>
            <a:off x="8956383" y="3573900"/>
            <a:ext cx="2560320" cy="833273"/>
          </a:xfrm>
          <a:prstGeom prst="rect">
            <a:avLst/>
          </a:prstGeom>
          <a:solidFill>
            <a:srgbClr val="00BCF2"/>
          </a:solidFill>
          <a:ln w="38100">
            <a:noFill/>
          </a:ln>
          <a:effectLst/>
        </p:spPr>
        <p:style>
          <a:lnRef idx="2">
            <a:schemeClr val="accent1">
              <a:shade val="50000"/>
            </a:schemeClr>
          </a:lnRef>
          <a:fillRef idx="1">
            <a:schemeClr val="accent1"/>
          </a:fillRef>
          <a:effectRef idx="0">
            <a:schemeClr val="accent1"/>
          </a:effectRef>
          <a:fontRef idx="minor">
            <a:schemeClr val="lt1"/>
          </a:fontRef>
        </p:style>
        <p:txBody>
          <a:bodyPr lIns="365760" rIns="274320" rtlCol="0" anchor="ctr"/>
          <a:lstStyle/>
          <a:p>
            <a:pPr marL="0" marR="0" lvl="0" indent="0" algn="r" defTabSz="571266" eaLnBrk="1" fontAlgn="auto" latinLnBrk="0" hangingPunct="1">
              <a:lnSpc>
                <a:spcPct val="100000"/>
              </a:lnSpc>
              <a:spcBef>
                <a:spcPts val="0"/>
              </a:spcBef>
              <a:spcAft>
                <a:spcPts val="0"/>
              </a:spcAft>
              <a:buClrTx/>
              <a:buSzTx/>
              <a:buFontTx/>
              <a:buNone/>
              <a:tabLst/>
              <a:defRPr/>
            </a:pPr>
            <a:r>
              <a:rPr kumimoji="0" lang="en-US" sz="1570" b="0" i="0" u="none" strike="noStrike" kern="0" cap="none" spc="0" normalizeH="0" baseline="0" noProof="0" dirty="0">
                <a:ln>
                  <a:noFill/>
                </a:ln>
                <a:solidFill>
                  <a:schemeClr val="bg1"/>
                </a:solidFill>
                <a:effectLst/>
                <a:uLnTx/>
                <a:uFillTx/>
              </a:rPr>
              <a:t>ADL Python*</a:t>
            </a:r>
          </a:p>
        </p:txBody>
      </p:sp>
      <p:sp>
        <p:nvSpPr>
          <p:cNvPr id="29" name="Rectangle 28"/>
          <p:cNvSpPr/>
          <p:nvPr/>
        </p:nvSpPr>
        <p:spPr>
          <a:xfrm>
            <a:off x="269240" y="1349339"/>
            <a:ext cx="11655840" cy="76223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bIns="91440" rtlCol="0" anchor="ctr"/>
          <a:lstStyle/>
          <a:p>
            <a:pPr marL="0" marR="0" lvl="0" indent="0" algn="ctr" defTabSz="571266" eaLnBrk="1" fontAlgn="auto" latinLnBrk="0" hangingPunct="1">
              <a:lnSpc>
                <a:spcPct val="100000"/>
              </a:lnSpc>
              <a:spcBef>
                <a:spcPts val="0"/>
              </a:spcBef>
              <a:spcAft>
                <a:spcPts val="0"/>
              </a:spcAft>
              <a:buClrTx/>
              <a:buSzTx/>
              <a:buFontTx/>
              <a:buNone/>
              <a:tabLst/>
              <a:defRPr/>
            </a:pPr>
            <a:r>
              <a:rPr kumimoji="0" lang="en-US" sz="2350" b="0" i="0" u="none" strike="noStrike" kern="0" cap="none" spc="0" normalizeH="0" baseline="0" noProof="0" dirty="0">
                <a:ln>
                  <a:noFill/>
                </a:ln>
                <a:solidFill>
                  <a:schemeClr val="bg2"/>
                </a:solidFill>
                <a:effectLst/>
                <a:uLnTx/>
                <a:uFillTx/>
                <a:latin typeface="Segoe UI Semibold" panose="020B0702040204020203" pitchFamily="34" charset="0"/>
                <a:cs typeface="Segoe UI Semibold" panose="020B0702040204020203" pitchFamily="34" charset="0"/>
              </a:rPr>
              <a:t>Your application</a:t>
            </a:r>
          </a:p>
        </p:txBody>
      </p:sp>
      <p:pic>
        <p:nvPicPr>
          <p:cNvPr id="1026" name="Picture 2" descr="https://upload.wikimedia.org/wikipedia/commons/2/2f/PowerShell_5.0_icon.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167605" y="2719681"/>
            <a:ext cx="448166" cy="448166"/>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https://upload.wikimedia.org/wikipedia/en/thumb/3/30/Java_programming_language_logo.svg/549px-Java_programming_language_logo.svg.png"/>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b="29524"/>
          <a:stretch/>
        </p:blipFill>
        <p:spPr bwMode="auto">
          <a:xfrm>
            <a:off x="3465409" y="3696067"/>
            <a:ext cx="448006" cy="588938"/>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descr="https://nodejs.org/static/images/logos/nodejs-new-pantone-white.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6227730" y="3733076"/>
            <a:ext cx="840554" cy="514922"/>
          </a:xfrm>
          <a:prstGeom prst="rect">
            <a:avLst/>
          </a:prstGeom>
          <a:noFill/>
          <a:extLst>
            <a:ext uri="{909E8E84-426E-40DD-AFC4-6F175D3DCCD1}">
              <a14:hiddenFill xmlns:a14="http://schemas.microsoft.com/office/drawing/2010/main">
                <a:solidFill>
                  <a:srgbClr val="FFFFFF"/>
                </a:solidFill>
              </a14:hiddenFill>
            </a:ext>
          </a:extLst>
        </p:spPr>
      </p:pic>
      <p:pic>
        <p:nvPicPr>
          <p:cNvPr id="1036" name="Picture 12" descr="https://upload.wikimedia.org/wikipedia/commons/thumb/c/c3/Python-logo-notext.svg/2000px-Python-logo-notext.svg.pn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9156308" y="3733074"/>
            <a:ext cx="514928" cy="514924"/>
          </a:xfrm>
          <a:prstGeom prst="rect">
            <a:avLst/>
          </a:prstGeom>
          <a:noFill/>
          <a:extLst>
            <a:ext uri="{909E8E84-426E-40DD-AFC4-6F175D3DCCD1}">
              <a14:hiddenFill xmlns:a14="http://schemas.microsoft.com/office/drawing/2010/main">
                <a:solidFill>
                  <a:srgbClr val="FFFFFF"/>
                </a:solidFill>
              </a14:hiddenFill>
            </a:ext>
          </a:extLst>
        </p:spPr>
      </p:pic>
      <p:pic>
        <p:nvPicPr>
          <p:cNvPr id="1040" name="Picture 16" descr="https://upload.wikimedia.org/wikipedia/commons/0/0e/Microsoft_.NET_logo.pn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476183" y="3733074"/>
            <a:ext cx="514924" cy="514924"/>
          </a:xfrm>
          <a:prstGeom prst="rect">
            <a:avLst/>
          </a:prstGeom>
          <a:noFill/>
          <a:extLst>
            <a:ext uri="{909E8E84-426E-40DD-AFC4-6F175D3DCCD1}">
              <a14:hiddenFill xmlns:a14="http://schemas.microsoft.com/office/drawing/2010/main">
                <a:solidFill>
                  <a:srgbClr val="FFFFFF"/>
                </a:solidFill>
              </a14:hiddenFill>
            </a:ext>
          </a:extLst>
        </p:spPr>
      </p:pic>
      <p:pic>
        <p:nvPicPr>
          <p:cNvPr id="1042" name="Picture 18" descr="https://upload.wikimedia.org/wikipedia/en/e/ef/Command_prompt_icon_%28windows%29.png"/>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108833" y="2719682"/>
            <a:ext cx="437964" cy="437962"/>
          </a:xfrm>
          <a:prstGeom prst="rect">
            <a:avLst/>
          </a:prstGeom>
          <a:noFill/>
          <a:extLst>
            <a:ext uri="{909E8E84-426E-40DD-AFC4-6F175D3DCCD1}">
              <a14:hiddenFill xmlns:a14="http://schemas.microsoft.com/office/drawing/2010/main">
                <a:solidFill>
                  <a:srgbClr val="FFFFFF"/>
                </a:solidFill>
              </a14:hiddenFill>
            </a:ext>
          </a:extLst>
        </p:spPr>
      </p:pic>
      <p:grpSp>
        <p:nvGrpSpPr>
          <p:cNvPr id="66" name="Group 65"/>
          <p:cNvGrpSpPr/>
          <p:nvPr/>
        </p:nvGrpSpPr>
        <p:grpSpPr>
          <a:xfrm>
            <a:off x="3112278" y="5457493"/>
            <a:ext cx="652316" cy="693622"/>
            <a:chOff x="9688513" y="606425"/>
            <a:chExt cx="1203325" cy="1279525"/>
          </a:xfrm>
        </p:grpSpPr>
        <p:sp>
          <p:nvSpPr>
            <p:cNvPr id="6" name="Freeform 23"/>
            <p:cNvSpPr>
              <a:spLocks/>
            </p:cNvSpPr>
            <p:nvPr/>
          </p:nvSpPr>
          <p:spPr bwMode="auto">
            <a:xfrm>
              <a:off x="9871075" y="663575"/>
              <a:ext cx="234950" cy="338138"/>
            </a:xfrm>
            <a:custGeom>
              <a:avLst/>
              <a:gdLst>
                <a:gd name="T0" fmla="*/ 246 w 246"/>
                <a:gd name="T1" fmla="*/ 94 h 357"/>
                <a:gd name="T2" fmla="*/ 170 w 246"/>
                <a:gd name="T3" fmla="*/ 32 h 357"/>
                <a:gd name="T4" fmla="*/ 107 w 246"/>
                <a:gd name="T5" fmla="*/ 113 h 357"/>
                <a:gd name="T6" fmla="*/ 164 w 246"/>
                <a:gd name="T7" fmla="*/ 27 h 357"/>
                <a:gd name="T8" fmla="*/ 136 w 246"/>
                <a:gd name="T9" fmla="*/ 4 h 357"/>
                <a:gd name="T10" fmla="*/ 80 w 246"/>
                <a:gd name="T11" fmla="*/ 99 h 357"/>
                <a:gd name="T12" fmla="*/ 124 w 246"/>
                <a:gd name="T13" fmla="*/ 0 h 357"/>
                <a:gd name="T14" fmla="*/ 76 w 246"/>
                <a:gd name="T15" fmla="*/ 18 h 357"/>
                <a:gd name="T16" fmla="*/ 51 w 246"/>
                <a:gd name="T17" fmla="*/ 79 h 357"/>
                <a:gd name="T18" fmla="*/ 67 w 246"/>
                <a:gd name="T19" fmla="*/ 21 h 357"/>
                <a:gd name="T20" fmla="*/ 33 w 246"/>
                <a:gd name="T21" fmla="*/ 34 h 357"/>
                <a:gd name="T22" fmla="*/ 8 w 246"/>
                <a:gd name="T23" fmla="*/ 272 h 357"/>
                <a:gd name="T24" fmla="*/ 0 w 246"/>
                <a:gd name="T25" fmla="*/ 281 h 357"/>
                <a:gd name="T26" fmla="*/ 105 w 246"/>
                <a:gd name="T27" fmla="*/ 357 h 357"/>
                <a:gd name="T28" fmla="*/ 201 w 246"/>
                <a:gd name="T29" fmla="*/ 294 h 357"/>
                <a:gd name="T30" fmla="*/ 201 w 246"/>
                <a:gd name="T31" fmla="*/ 294 h 357"/>
                <a:gd name="T32" fmla="*/ 212 w 246"/>
                <a:gd name="T33" fmla="*/ 253 h 357"/>
                <a:gd name="T34" fmla="*/ 228 w 246"/>
                <a:gd name="T35" fmla="*/ 193 h 357"/>
                <a:gd name="T36" fmla="*/ 246 w 246"/>
                <a:gd name="T37" fmla="*/ 122 h 357"/>
                <a:gd name="T38" fmla="*/ 202 w 246"/>
                <a:gd name="T39" fmla="*/ 148 h 357"/>
                <a:gd name="T40" fmla="*/ 175 w 246"/>
                <a:gd name="T41" fmla="*/ 237 h 357"/>
                <a:gd name="T42" fmla="*/ 131 w 246"/>
                <a:gd name="T43" fmla="*/ 255 h 357"/>
                <a:gd name="T44" fmla="*/ 125 w 246"/>
                <a:gd name="T45" fmla="*/ 172 h 357"/>
                <a:gd name="T46" fmla="*/ 172 w 246"/>
                <a:gd name="T47" fmla="*/ 78 h 357"/>
                <a:gd name="T48" fmla="*/ 197 w 246"/>
                <a:gd name="T49" fmla="*/ 99 h 357"/>
                <a:gd name="T50" fmla="*/ 246 w 246"/>
                <a:gd name="T51" fmla="*/ 94 h 3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46" h="357">
                  <a:moveTo>
                    <a:pt x="246" y="94"/>
                  </a:moveTo>
                  <a:cubicBezTo>
                    <a:pt x="170" y="32"/>
                    <a:pt x="170" y="32"/>
                    <a:pt x="170" y="32"/>
                  </a:cubicBezTo>
                  <a:cubicBezTo>
                    <a:pt x="107" y="113"/>
                    <a:pt x="107" y="113"/>
                    <a:pt x="107" y="113"/>
                  </a:cubicBezTo>
                  <a:cubicBezTo>
                    <a:pt x="164" y="27"/>
                    <a:pt x="164" y="27"/>
                    <a:pt x="164" y="27"/>
                  </a:cubicBezTo>
                  <a:cubicBezTo>
                    <a:pt x="136" y="4"/>
                    <a:pt x="136" y="4"/>
                    <a:pt x="136" y="4"/>
                  </a:cubicBezTo>
                  <a:cubicBezTo>
                    <a:pt x="80" y="99"/>
                    <a:pt x="80" y="99"/>
                    <a:pt x="80" y="99"/>
                  </a:cubicBezTo>
                  <a:cubicBezTo>
                    <a:pt x="124" y="0"/>
                    <a:pt x="124" y="0"/>
                    <a:pt x="124" y="0"/>
                  </a:cubicBezTo>
                  <a:cubicBezTo>
                    <a:pt x="76" y="18"/>
                    <a:pt x="76" y="18"/>
                    <a:pt x="76" y="18"/>
                  </a:cubicBezTo>
                  <a:cubicBezTo>
                    <a:pt x="51" y="79"/>
                    <a:pt x="51" y="79"/>
                    <a:pt x="51" y="79"/>
                  </a:cubicBezTo>
                  <a:cubicBezTo>
                    <a:pt x="67" y="21"/>
                    <a:pt x="67" y="21"/>
                    <a:pt x="67" y="21"/>
                  </a:cubicBezTo>
                  <a:cubicBezTo>
                    <a:pt x="33" y="34"/>
                    <a:pt x="33" y="34"/>
                    <a:pt x="33" y="34"/>
                  </a:cubicBezTo>
                  <a:cubicBezTo>
                    <a:pt x="8" y="272"/>
                    <a:pt x="8" y="272"/>
                    <a:pt x="8" y="272"/>
                  </a:cubicBezTo>
                  <a:cubicBezTo>
                    <a:pt x="0" y="281"/>
                    <a:pt x="0" y="281"/>
                    <a:pt x="0" y="281"/>
                  </a:cubicBezTo>
                  <a:cubicBezTo>
                    <a:pt x="105" y="357"/>
                    <a:pt x="105" y="357"/>
                    <a:pt x="105" y="357"/>
                  </a:cubicBezTo>
                  <a:cubicBezTo>
                    <a:pt x="201" y="294"/>
                    <a:pt x="201" y="294"/>
                    <a:pt x="201" y="294"/>
                  </a:cubicBezTo>
                  <a:cubicBezTo>
                    <a:pt x="201" y="294"/>
                    <a:pt x="201" y="294"/>
                    <a:pt x="201" y="294"/>
                  </a:cubicBezTo>
                  <a:cubicBezTo>
                    <a:pt x="212" y="253"/>
                    <a:pt x="212" y="253"/>
                    <a:pt x="212" y="253"/>
                  </a:cubicBezTo>
                  <a:cubicBezTo>
                    <a:pt x="228" y="193"/>
                    <a:pt x="228" y="193"/>
                    <a:pt x="228" y="193"/>
                  </a:cubicBezTo>
                  <a:cubicBezTo>
                    <a:pt x="246" y="122"/>
                    <a:pt x="246" y="122"/>
                    <a:pt x="246" y="122"/>
                  </a:cubicBezTo>
                  <a:cubicBezTo>
                    <a:pt x="227" y="118"/>
                    <a:pt x="207" y="129"/>
                    <a:pt x="202" y="148"/>
                  </a:cubicBezTo>
                  <a:cubicBezTo>
                    <a:pt x="175" y="237"/>
                    <a:pt x="175" y="237"/>
                    <a:pt x="175" y="237"/>
                  </a:cubicBezTo>
                  <a:cubicBezTo>
                    <a:pt x="131" y="255"/>
                    <a:pt x="131" y="255"/>
                    <a:pt x="131" y="255"/>
                  </a:cubicBezTo>
                  <a:cubicBezTo>
                    <a:pt x="125" y="172"/>
                    <a:pt x="125" y="172"/>
                    <a:pt x="125" y="172"/>
                  </a:cubicBezTo>
                  <a:cubicBezTo>
                    <a:pt x="172" y="78"/>
                    <a:pt x="172" y="78"/>
                    <a:pt x="172" y="78"/>
                  </a:cubicBezTo>
                  <a:cubicBezTo>
                    <a:pt x="197" y="99"/>
                    <a:pt x="197" y="99"/>
                    <a:pt x="197" y="99"/>
                  </a:cubicBezTo>
                  <a:cubicBezTo>
                    <a:pt x="212" y="111"/>
                    <a:pt x="234" y="109"/>
                    <a:pt x="246" y="94"/>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 name="Freeform 24"/>
            <p:cNvSpPr>
              <a:spLocks/>
            </p:cNvSpPr>
            <p:nvPr/>
          </p:nvSpPr>
          <p:spPr bwMode="auto">
            <a:xfrm>
              <a:off x="9831388" y="922338"/>
              <a:ext cx="147638" cy="125413"/>
            </a:xfrm>
            <a:custGeom>
              <a:avLst/>
              <a:gdLst>
                <a:gd name="T0" fmla="*/ 19 w 93"/>
                <a:gd name="T1" fmla="*/ 0 h 79"/>
                <a:gd name="T2" fmla="*/ 0 w 93"/>
                <a:gd name="T3" fmla="*/ 27 h 79"/>
                <a:gd name="T4" fmla="*/ 74 w 93"/>
                <a:gd name="T5" fmla="*/ 79 h 79"/>
                <a:gd name="T6" fmla="*/ 93 w 93"/>
                <a:gd name="T7" fmla="*/ 53 h 79"/>
                <a:gd name="T8" fmla="*/ 19 w 93"/>
                <a:gd name="T9" fmla="*/ 0 h 79"/>
              </a:gdLst>
              <a:ahLst/>
              <a:cxnLst>
                <a:cxn ang="0">
                  <a:pos x="T0" y="T1"/>
                </a:cxn>
                <a:cxn ang="0">
                  <a:pos x="T2" y="T3"/>
                </a:cxn>
                <a:cxn ang="0">
                  <a:pos x="T4" y="T5"/>
                </a:cxn>
                <a:cxn ang="0">
                  <a:pos x="T6" y="T7"/>
                </a:cxn>
                <a:cxn ang="0">
                  <a:pos x="T8" y="T9"/>
                </a:cxn>
              </a:cxnLst>
              <a:rect l="0" t="0" r="r" b="b"/>
              <a:pathLst>
                <a:path w="93" h="79">
                  <a:moveTo>
                    <a:pt x="19" y="0"/>
                  </a:moveTo>
                  <a:lnTo>
                    <a:pt x="0" y="27"/>
                  </a:lnTo>
                  <a:lnTo>
                    <a:pt x="74" y="79"/>
                  </a:lnTo>
                  <a:lnTo>
                    <a:pt x="93" y="53"/>
                  </a:lnTo>
                  <a:lnTo>
                    <a:pt x="1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8" name="Freeform 25"/>
            <p:cNvSpPr>
              <a:spLocks/>
            </p:cNvSpPr>
            <p:nvPr/>
          </p:nvSpPr>
          <p:spPr bwMode="auto">
            <a:xfrm>
              <a:off x="9688513" y="962025"/>
              <a:ext cx="336550" cy="631825"/>
            </a:xfrm>
            <a:custGeom>
              <a:avLst/>
              <a:gdLst>
                <a:gd name="T0" fmla="*/ 277 w 353"/>
                <a:gd name="T1" fmla="*/ 94 h 668"/>
                <a:gd name="T2" fmla="*/ 146 w 353"/>
                <a:gd name="T3" fmla="*/ 0 h 668"/>
                <a:gd name="T4" fmla="*/ 203 w 353"/>
                <a:gd name="T5" fmla="*/ 668 h 668"/>
                <a:gd name="T6" fmla="*/ 267 w 353"/>
                <a:gd name="T7" fmla="*/ 651 h 668"/>
                <a:gd name="T8" fmla="*/ 304 w 353"/>
                <a:gd name="T9" fmla="*/ 656 h 668"/>
                <a:gd name="T10" fmla="*/ 353 w 353"/>
                <a:gd name="T11" fmla="*/ 586 h 668"/>
                <a:gd name="T12" fmla="*/ 277 w 353"/>
                <a:gd name="T13" fmla="*/ 94 h 668"/>
              </a:gdLst>
              <a:ahLst/>
              <a:cxnLst>
                <a:cxn ang="0">
                  <a:pos x="T0" y="T1"/>
                </a:cxn>
                <a:cxn ang="0">
                  <a:pos x="T2" y="T3"/>
                </a:cxn>
                <a:cxn ang="0">
                  <a:pos x="T4" y="T5"/>
                </a:cxn>
                <a:cxn ang="0">
                  <a:pos x="T6" y="T7"/>
                </a:cxn>
                <a:cxn ang="0">
                  <a:pos x="T8" y="T9"/>
                </a:cxn>
                <a:cxn ang="0">
                  <a:pos x="T10" y="T11"/>
                </a:cxn>
                <a:cxn ang="0">
                  <a:pos x="T12" y="T13"/>
                </a:cxn>
              </a:cxnLst>
              <a:rect l="0" t="0" r="r" b="b"/>
              <a:pathLst>
                <a:path w="353" h="668">
                  <a:moveTo>
                    <a:pt x="277" y="94"/>
                  </a:moveTo>
                  <a:cubicBezTo>
                    <a:pt x="146" y="0"/>
                    <a:pt x="146" y="0"/>
                    <a:pt x="146" y="0"/>
                  </a:cubicBezTo>
                  <a:cubicBezTo>
                    <a:pt x="0" y="210"/>
                    <a:pt x="29" y="491"/>
                    <a:pt x="203" y="668"/>
                  </a:cubicBezTo>
                  <a:cubicBezTo>
                    <a:pt x="222" y="657"/>
                    <a:pt x="244" y="651"/>
                    <a:pt x="267" y="651"/>
                  </a:cubicBezTo>
                  <a:cubicBezTo>
                    <a:pt x="280" y="651"/>
                    <a:pt x="292" y="653"/>
                    <a:pt x="304" y="656"/>
                  </a:cubicBezTo>
                  <a:cubicBezTo>
                    <a:pt x="315" y="629"/>
                    <a:pt x="332" y="605"/>
                    <a:pt x="353" y="586"/>
                  </a:cubicBezTo>
                  <a:cubicBezTo>
                    <a:pt x="203" y="469"/>
                    <a:pt x="169" y="254"/>
                    <a:pt x="277" y="94"/>
                  </a:cubicBez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9" name="Oval 26"/>
            <p:cNvSpPr>
              <a:spLocks noChangeArrowheads="1"/>
            </p:cNvSpPr>
            <p:nvPr/>
          </p:nvSpPr>
          <p:spPr bwMode="auto">
            <a:xfrm>
              <a:off x="9888538" y="1049338"/>
              <a:ext cx="26988" cy="26988"/>
            </a:xfrm>
            <a:prstGeom prst="ellipse">
              <a:avLst/>
            </a:prstGeom>
            <a:solidFill>
              <a:srgbClr val="40CD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0" name="Freeform 27"/>
            <p:cNvSpPr>
              <a:spLocks/>
            </p:cNvSpPr>
            <p:nvPr/>
          </p:nvSpPr>
          <p:spPr bwMode="auto">
            <a:xfrm>
              <a:off x="10458450" y="1490663"/>
              <a:ext cx="233363" cy="338138"/>
            </a:xfrm>
            <a:custGeom>
              <a:avLst/>
              <a:gdLst>
                <a:gd name="T0" fmla="*/ 45 w 246"/>
                <a:gd name="T1" fmla="*/ 63 h 357"/>
                <a:gd name="T2" fmla="*/ 45 w 246"/>
                <a:gd name="T3" fmla="*/ 63 h 357"/>
                <a:gd name="T4" fmla="*/ 45 w 246"/>
                <a:gd name="T5" fmla="*/ 63 h 357"/>
                <a:gd name="T6" fmla="*/ 34 w 246"/>
                <a:gd name="T7" fmla="*/ 104 h 357"/>
                <a:gd name="T8" fmla="*/ 18 w 246"/>
                <a:gd name="T9" fmla="*/ 164 h 357"/>
                <a:gd name="T10" fmla="*/ 0 w 246"/>
                <a:gd name="T11" fmla="*/ 235 h 357"/>
                <a:gd name="T12" fmla="*/ 44 w 246"/>
                <a:gd name="T13" fmla="*/ 209 h 357"/>
                <a:gd name="T14" fmla="*/ 71 w 246"/>
                <a:gd name="T15" fmla="*/ 120 h 357"/>
                <a:gd name="T16" fmla="*/ 115 w 246"/>
                <a:gd name="T17" fmla="*/ 102 h 357"/>
                <a:gd name="T18" fmla="*/ 121 w 246"/>
                <a:gd name="T19" fmla="*/ 186 h 357"/>
                <a:gd name="T20" fmla="*/ 74 w 246"/>
                <a:gd name="T21" fmla="*/ 279 h 357"/>
                <a:gd name="T22" fmla="*/ 49 w 246"/>
                <a:gd name="T23" fmla="*/ 258 h 357"/>
                <a:gd name="T24" fmla="*/ 0 w 246"/>
                <a:gd name="T25" fmla="*/ 263 h 357"/>
                <a:gd name="T26" fmla="*/ 76 w 246"/>
                <a:gd name="T27" fmla="*/ 325 h 357"/>
                <a:gd name="T28" fmla="*/ 140 w 246"/>
                <a:gd name="T29" fmla="*/ 244 h 357"/>
                <a:gd name="T30" fmla="*/ 82 w 246"/>
                <a:gd name="T31" fmla="*/ 330 h 357"/>
                <a:gd name="T32" fmla="*/ 110 w 246"/>
                <a:gd name="T33" fmla="*/ 353 h 357"/>
                <a:gd name="T34" fmla="*/ 167 w 246"/>
                <a:gd name="T35" fmla="*/ 258 h 357"/>
                <a:gd name="T36" fmla="*/ 121 w 246"/>
                <a:gd name="T37" fmla="*/ 357 h 357"/>
                <a:gd name="T38" fmla="*/ 170 w 246"/>
                <a:gd name="T39" fmla="*/ 339 h 357"/>
                <a:gd name="T40" fmla="*/ 195 w 246"/>
                <a:gd name="T41" fmla="*/ 278 h 357"/>
                <a:gd name="T42" fmla="*/ 179 w 246"/>
                <a:gd name="T43" fmla="*/ 336 h 357"/>
                <a:gd name="T44" fmla="*/ 213 w 246"/>
                <a:gd name="T45" fmla="*/ 323 h 357"/>
                <a:gd name="T46" fmla="*/ 239 w 246"/>
                <a:gd name="T47" fmla="*/ 85 h 357"/>
                <a:gd name="T48" fmla="*/ 246 w 246"/>
                <a:gd name="T49" fmla="*/ 76 h 357"/>
                <a:gd name="T50" fmla="*/ 141 w 246"/>
                <a:gd name="T51" fmla="*/ 0 h 357"/>
                <a:gd name="T52" fmla="*/ 45 w 246"/>
                <a:gd name="T53" fmla="*/ 63 h 3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46" h="357">
                  <a:moveTo>
                    <a:pt x="45" y="63"/>
                  </a:moveTo>
                  <a:cubicBezTo>
                    <a:pt x="45" y="63"/>
                    <a:pt x="45" y="63"/>
                    <a:pt x="45" y="63"/>
                  </a:cubicBezTo>
                  <a:cubicBezTo>
                    <a:pt x="45" y="63"/>
                    <a:pt x="45" y="63"/>
                    <a:pt x="45" y="63"/>
                  </a:cubicBezTo>
                  <a:cubicBezTo>
                    <a:pt x="34" y="104"/>
                    <a:pt x="34" y="104"/>
                    <a:pt x="34" y="104"/>
                  </a:cubicBezTo>
                  <a:cubicBezTo>
                    <a:pt x="18" y="164"/>
                    <a:pt x="18" y="164"/>
                    <a:pt x="18" y="164"/>
                  </a:cubicBezTo>
                  <a:cubicBezTo>
                    <a:pt x="0" y="235"/>
                    <a:pt x="0" y="235"/>
                    <a:pt x="0" y="235"/>
                  </a:cubicBezTo>
                  <a:cubicBezTo>
                    <a:pt x="19" y="239"/>
                    <a:pt x="39" y="228"/>
                    <a:pt x="44" y="209"/>
                  </a:cubicBezTo>
                  <a:cubicBezTo>
                    <a:pt x="71" y="120"/>
                    <a:pt x="71" y="120"/>
                    <a:pt x="71" y="120"/>
                  </a:cubicBezTo>
                  <a:cubicBezTo>
                    <a:pt x="115" y="102"/>
                    <a:pt x="115" y="102"/>
                    <a:pt x="115" y="102"/>
                  </a:cubicBezTo>
                  <a:cubicBezTo>
                    <a:pt x="121" y="186"/>
                    <a:pt x="121" y="186"/>
                    <a:pt x="121" y="186"/>
                  </a:cubicBezTo>
                  <a:cubicBezTo>
                    <a:pt x="74" y="279"/>
                    <a:pt x="74" y="279"/>
                    <a:pt x="74" y="279"/>
                  </a:cubicBezTo>
                  <a:cubicBezTo>
                    <a:pt x="49" y="258"/>
                    <a:pt x="49" y="258"/>
                    <a:pt x="49" y="258"/>
                  </a:cubicBezTo>
                  <a:cubicBezTo>
                    <a:pt x="34" y="246"/>
                    <a:pt x="12" y="248"/>
                    <a:pt x="0" y="263"/>
                  </a:cubicBezTo>
                  <a:cubicBezTo>
                    <a:pt x="76" y="325"/>
                    <a:pt x="76" y="325"/>
                    <a:pt x="76" y="325"/>
                  </a:cubicBezTo>
                  <a:cubicBezTo>
                    <a:pt x="140" y="244"/>
                    <a:pt x="140" y="244"/>
                    <a:pt x="140" y="244"/>
                  </a:cubicBezTo>
                  <a:cubicBezTo>
                    <a:pt x="82" y="330"/>
                    <a:pt x="82" y="330"/>
                    <a:pt x="82" y="330"/>
                  </a:cubicBezTo>
                  <a:cubicBezTo>
                    <a:pt x="110" y="353"/>
                    <a:pt x="110" y="353"/>
                    <a:pt x="110" y="353"/>
                  </a:cubicBezTo>
                  <a:cubicBezTo>
                    <a:pt x="167" y="258"/>
                    <a:pt x="167" y="258"/>
                    <a:pt x="167" y="258"/>
                  </a:cubicBezTo>
                  <a:cubicBezTo>
                    <a:pt x="121" y="357"/>
                    <a:pt x="121" y="357"/>
                    <a:pt x="121" y="357"/>
                  </a:cubicBezTo>
                  <a:cubicBezTo>
                    <a:pt x="170" y="339"/>
                    <a:pt x="170" y="339"/>
                    <a:pt x="170" y="339"/>
                  </a:cubicBezTo>
                  <a:cubicBezTo>
                    <a:pt x="195" y="278"/>
                    <a:pt x="195" y="278"/>
                    <a:pt x="195" y="278"/>
                  </a:cubicBezTo>
                  <a:cubicBezTo>
                    <a:pt x="179" y="336"/>
                    <a:pt x="179" y="336"/>
                    <a:pt x="179" y="336"/>
                  </a:cubicBezTo>
                  <a:cubicBezTo>
                    <a:pt x="213" y="323"/>
                    <a:pt x="213" y="323"/>
                    <a:pt x="213" y="323"/>
                  </a:cubicBezTo>
                  <a:cubicBezTo>
                    <a:pt x="239" y="85"/>
                    <a:pt x="239" y="85"/>
                    <a:pt x="239" y="85"/>
                  </a:cubicBezTo>
                  <a:cubicBezTo>
                    <a:pt x="246" y="76"/>
                    <a:pt x="246" y="76"/>
                    <a:pt x="246" y="76"/>
                  </a:cubicBezTo>
                  <a:cubicBezTo>
                    <a:pt x="141" y="0"/>
                    <a:pt x="141" y="0"/>
                    <a:pt x="141" y="0"/>
                  </a:cubicBezTo>
                  <a:lnTo>
                    <a:pt x="45" y="63"/>
                  </a:ln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1" name="Freeform 28"/>
            <p:cNvSpPr>
              <a:spLocks/>
            </p:cNvSpPr>
            <p:nvPr/>
          </p:nvSpPr>
          <p:spPr bwMode="auto">
            <a:xfrm>
              <a:off x="10544175" y="800100"/>
              <a:ext cx="347663" cy="730250"/>
            </a:xfrm>
            <a:custGeom>
              <a:avLst/>
              <a:gdLst>
                <a:gd name="T0" fmla="*/ 72 w 364"/>
                <a:gd name="T1" fmla="*/ 42 h 771"/>
                <a:gd name="T2" fmla="*/ 0 w 364"/>
                <a:gd name="T3" fmla="*/ 0 h 771"/>
                <a:gd name="T4" fmla="*/ 0 w 364"/>
                <a:gd name="T5" fmla="*/ 191 h 771"/>
                <a:gd name="T6" fmla="*/ 69 w 364"/>
                <a:gd name="T7" fmla="*/ 677 h 771"/>
                <a:gd name="T8" fmla="*/ 200 w 364"/>
                <a:gd name="T9" fmla="*/ 771 h 771"/>
                <a:gd name="T10" fmla="*/ 72 w 364"/>
                <a:gd name="T11" fmla="*/ 42 h 771"/>
              </a:gdLst>
              <a:ahLst/>
              <a:cxnLst>
                <a:cxn ang="0">
                  <a:pos x="T0" y="T1"/>
                </a:cxn>
                <a:cxn ang="0">
                  <a:pos x="T2" y="T3"/>
                </a:cxn>
                <a:cxn ang="0">
                  <a:pos x="T4" y="T5"/>
                </a:cxn>
                <a:cxn ang="0">
                  <a:pos x="T6" y="T7"/>
                </a:cxn>
                <a:cxn ang="0">
                  <a:pos x="T8" y="T9"/>
                </a:cxn>
                <a:cxn ang="0">
                  <a:pos x="T10" y="T11"/>
                </a:cxn>
              </a:cxnLst>
              <a:rect l="0" t="0" r="r" b="b"/>
              <a:pathLst>
                <a:path w="364" h="771">
                  <a:moveTo>
                    <a:pt x="72" y="42"/>
                  </a:moveTo>
                  <a:cubicBezTo>
                    <a:pt x="48" y="26"/>
                    <a:pt x="25" y="12"/>
                    <a:pt x="0" y="0"/>
                  </a:cubicBezTo>
                  <a:cubicBezTo>
                    <a:pt x="0" y="191"/>
                    <a:pt x="0" y="191"/>
                    <a:pt x="0" y="191"/>
                  </a:cubicBezTo>
                  <a:cubicBezTo>
                    <a:pt x="144" y="310"/>
                    <a:pt x="175" y="520"/>
                    <a:pt x="69" y="677"/>
                  </a:cubicBezTo>
                  <a:cubicBezTo>
                    <a:pt x="200" y="771"/>
                    <a:pt x="200" y="771"/>
                    <a:pt x="200" y="771"/>
                  </a:cubicBezTo>
                  <a:cubicBezTo>
                    <a:pt x="364" y="534"/>
                    <a:pt x="308" y="209"/>
                    <a:pt x="72" y="42"/>
                  </a:cubicBez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2" name="Oval 29"/>
            <p:cNvSpPr>
              <a:spLocks noChangeArrowheads="1"/>
            </p:cNvSpPr>
            <p:nvPr/>
          </p:nvSpPr>
          <p:spPr bwMode="auto">
            <a:xfrm>
              <a:off x="10647363" y="1416050"/>
              <a:ext cx="26988" cy="26988"/>
            </a:xfrm>
            <a:prstGeom prst="ellipse">
              <a:avLst/>
            </a:prstGeom>
            <a:solidFill>
              <a:srgbClr val="40CD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3" name="Rectangle 30"/>
            <p:cNvSpPr>
              <a:spLocks noChangeArrowheads="1"/>
            </p:cNvSpPr>
            <p:nvPr/>
          </p:nvSpPr>
          <p:spPr bwMode="auto">
            <a:xfrm>
              <a:off x="10193338" y="649288"/>
              <a:ext cx="163513" cy="352425"/>
            </a:xfrm>
            <a:prstGeom prst="rect">
              <a:avLst/>
            </a:prstGeom>
            <a:solidFill>
              <a:srgbClr val="0048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4" name="Freeform 31"/>
            <p:cNvSpPr>
              <a:spLocks/>
            </p:cNvSpPr>
            <p:nvPr/>
          </p:nvSpPr>
          <p:spPr bwMode="auto">
            <a:xfrm>
              <a:off x="10210800" y="674688"/>
              <a:ext cx="128588" cy="22225"/>
            </a:xfrm>
            <a:custGeom>
              <a:avLst/>
              <a:gdLst>
                <a:gd name="T0" fmla="*/ 12 w 136"/>
                <a:gd name="T1" fmla="*/ 0 h 24"/>
                <a:gd name="T2" fmla="*/ 0 w 136"/>
                <a:gd name="T3" fmla="*/ 11 h 24"/>
                <a:gd name="T4" fmla="*/ 0 w 136"/>
                <a:gd name="T5" fmla="*/ 13 h 24"/>
                <a:gd name="T6" fmla="*/ 12 w 136"/>
                <a:gd name="T7" fmla="*/ 24 h 24"/>
                <a:gd name="T8" fmla="*/ 124 w 136"/>
                <a:gd name="T9" fmla="*/ 24 h 24"/>
                <a:gd name="T10" fmla="*/ 136 w 136"/>
                <a:gd name="T11" fmla="*/ 13 h 24"/>
                <a:gd name="T12" fmla="*/ 136 w 136"/>
                <a:gd name="T13" fmla="*/ 11 h 24"/>
                <a:gd name="T14" fmla="*/ 124 w 136"/>
                <a:gd name="T15" fmla="*/ 0 h 24"/>
                <a:gd name="T16" fmla="*/ 72 w 136"/>
                <a:gd name="T17" fmla="*/ 0 h 24"/>
                <a:gd name="T18" fmla="*/ 12 w 136"/>
                <a:gd name="T19"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6" h="24">
                  <a:moveTo>
                    <a:pt x="12" y="0"/>
                  </a:moveTo>
                  <a:cubicBezTo>
                    <a:pt x="12" y="0"/>
                    <a:pt x="0" y="0"/>
                    <a:pt x="0" y="11"/>
                  </a:cubicBezTo>
                  <a:cubicBezTo>
                    <a:pt x="0" y="13"/>
                    <a:pt x="0" y="13"/>
                    <a:pt x="0" y="13"/>
                  </a:cubicBezTo>
                  <a:cubicBezTo>
                    <a:pt x="0" y="13"/>
                    <a:pt x="0" y="24"/>
                    <a:pt x="12" y="24"/>
                  </a:cubicBezTo>
                  <a:cubicBezTo>
                    <a:pt x="124" y="24"/>
                    <a:pt x="124" y="24"/>
                    <a:pt x="124" y="24"/>
                  </a:cubicBezTo>
                  <a:cubicBezTo>
                    <a:pt x="124" y="24"/>
                    <a:pt x="136" y="24"/>
                    <a:pt x="136" y="13"/>
                  </a:cubicBezTo>
                  <a:cubicBezTo>
                    <a:pt x="136" y="11"/>
                    <a:pt x="136" y="11"/>
                    <a:pt x="136" y="11"/>
                  </a:cubicBezTo>
                  <a:cubicBezTo>
                    <a:pt x="136" y="11"/>
                    <a:pt x="136" y="0"/>
                    <a:pt x="124" y="0"/>
                  </a:cubicBezTo>
                  <a:cubicBezTo>
                    <a:pt x="72" y="0"/>
                    <a:pt x="72" y="0"/>
                    <a:pt x="72" y="0"/>
                  </a:cubicBezTo>
                  <a:lnTo>
                    <a:pt x="12" y="0"/>
                  </a:lnTo>
                  <a:close/>
                </a:path>
              </a:pathLst>
            </a:custGeom>
            <a:solidFill>
              <a:srgbClr val="409A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5" name="Freeform 32"/>
            <p:cNvSpPr>
              <a:spLocks/>
            </p:cNvSpPr>
            <p:nvPr/>
          </p:nvSpPr>
          <p:spPr bwMode="auto">
            <a:xfrm>
              <a:off x="10210800" y="714375"/>
              <a:ext cx="128588" cy="22225"/>
            </a:xfrm>
            <a:custGeom>
              <a:avLst/>
              <a:gdLst>
                <a:gd name="T0" fmla="*/ 12 w 136"/>
                <a:gd name="T1" fmla="*/ 0 h 24"/>
                <a:gd name="T2" fmla="*/ 0 w 136"/>
                <a:gd name="T3" fmla="*/ 11 h 24"/>
                <a:gd name="T4" fmla="*/ 0 w 136"/>
                <a:gd name="T5" fmla="*/ 13 h 24"/>
                <a:gd name="T6" fmla="*/ 12 w 136"/>
                <a:gd name="T7" fmla="*/ 24 h 24"/>
                <a:gd name="T8" fmla="*/ 124 w 136"/>
                <a:gd name="T9" fmla="*/ 24 h 24"/>
                <a:gd name="T10" fmla="*/ 136 w 136"/>
                <a:gd name="T11" fmla="*/ 13 h 24"/>
                <a:gd name="T12" fmla="*/ 136 w 136"/>
                <a:gd name="T13" fmla="*/ 11 h 24"/>
                <a:gd name="T14" fmla="*/ 124 w 136"/>
                <a:gd name="T15" fmla="*/ 0 h 24"/>
                <a:gd name="T16" fmla="*/ 72 w 136"/>
                <a:gd name="T17" fmla="*/ 0 h 24"/>
                <a:gd name="T18" fmla="*/ 12 w 136"/>
                <a:gd name="T19"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6" h="24">
                  <a:moveTo>
                    <a:pt x="12" y="0"/>
                  </a:moveTo>
                  <a:cubicBezTo>
                    <a:pt x="12" y="0"/>
                    <a:pt x="0" y="0"/>
                    <a:pt x="0" y="11"/>
                  </a:cubicBezTo>
                  <a:cubicBezTo>
                    <a:pt x="0" y="13"/>
                    <a:pt x="0" y="13"/>
                    <a:pt x="0" y="13"/>
                  </a:cubicBezTo>
                  <a:cubicBezTo>
                    <a:pt x="0" y="13"/>
                    <a:pt x="0" y="24"/>
                    <a:pt x="12" y="24"/>
                  </a:cubicBezTo>
                  <a:cubicBezTo>
                    <a:pt x="124" y="24"/>
                    <a:pt x="124" y="24"/>
                    <a:pt x="124" y="24"/>
                  </a:cubicBezTo>
                  <a:cubicBezTo>
                    <a:pt x="124" y="24"/>
                    <a:pt x="136" y="24"/>
                    <a:pt x="136" y="13"/>
                  </a:cubicBezTo>
                  <a:cubicBezTo>
                    <a:pt x="136" y="11"/>
                    <a:pt x="136" y="11"/>
                    <a:pt x="136" y="11"/>
                  </a:cubicBezTo>
                  <a:cubicBezTo>
                    <a:pt x="136" y="11"/>
                    <a:pt x="136" y="0"/>
                    <a:pt x="124" y="0"/>
                  </a:cubicBezTo>
                  <a:cubicBezTo>
                    <a:pt x="72" y="0"/>
                    <a:pt x="72" y="0"/>
                    <a:pt x="72" y="0"/>
                  </a:cubicBezTo>
                  <a:lnTo>
                    <a:pt x="12" y="0"/>
                  </a:lnTo>
                  <a:close/>
                </a:path>
              </a:pathLst>
            </a:custGeom>
            <a:solidFill>
              <a:srgbClr val="409A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6" name="Freeform 33"/>
            <p:cNvSpPr>
              <a:spLocks/>
            </p:cNvSpPr>
            <p:nvPr/>
          </p:nvSpPr>
          <p:spPr bwMode="auto">
            <a:xfrm>
              <a:off x="10210800" y="754063"/>
              <a:ext cx="128588" cy="23813"/>
            </a:xfrm>
            <a:custGeom>
              <a:avLst/>
              <a:gdLst>
                <a:gd name="T0" fmla="*/ 12 w 136"/>
                <a:gd name="T1" fmla="*/ 0 h 24"/>
                <a:gd name="T2" fmla="*/ 0 w 136"/>
                <a:gd name="T3" fmla="*/ 11 h 24"/>
                <a:gd name="T4" fmla="*/ 0 w 136"/>
                <a:gd name="T5" fmla="*/ 13 h 24"/>
                <a:gd name="T6" fmla="*/ 12 w 136"/>
                <a:gd name="T7" fmla="*/ 24 h 24"/>
                <a:gd name="T8" fmla="*/ 124 w 136"/>
                <a:gd name="T9" fmla="*/ 24 h 24"/>
                <a:gd name="T10" fmla="*/ 136 w 136"/>
                <a:gd name="T11" fmla="*/ 13 h 24"/>
                <a:gd name="T12" fmla="*/ 136 w 136"/>
                <a:gd name="T13" fmla="*/ 11 h 24"/>
                <a:gd name="T14" fmla="*/ 124 w 136"/>
                <a:gd name="T15" fmla="*/ 0 h 24"/>
                <a:gd name="T16" fmla="*/ 72 w 136"/>
                <a:gd name="T17" fmla="*/ 0 h 24"/>
                <a:gd name="T18" fmla="*/ 12 w 136"/>
                <a:gd name="T19"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6" h="24">
                  <a:moveTo>
                    <a:pt x="12" y="0"/>
                  </a:moveTo>
                  <a:cubicBezTo>
                    <a:pt x="12" y="0"/>
                    <a:pt x="0" y="0"/>
                    <a:pt x="0" y="11"/>
                  </a:cubicBezTo>
                  <a:cubicBezTo>
                    <a:pt x="0" y="13"/>
                    <a:pt x="0" y="13"/>
                    <a:pt x="0" y="13"/>
                  </a:cubicBezTo>
                  <a:cubicBezTo>
                    <a:pt x="0" y="13"/>
                    <a:pt x="0" y="24"/>
                    <a:pt x="12" y="24"/>
                  </a:cubicBezTo>
                  <a:cubicBezTo>
                    <a:pt x="124" y="24"/>
                    <a:pt x="124" y="24"/>
                    <a:pt x="124" y="24"/>
                  </a:cubicBezTo>
                  <a:cubicBezTo>
                    <a:pt x="124" y="24"/>
                    <a:pt x="136" y="24"/>
                    <a:pt x="136" y="13"/>
                  </a:cubicBezTo>
                  <a:cubicBezTo>
                    <a:pt x="136" y="11"/>
                    <a:pt x="136" y="11"/>
                    <a:pt x="136" y="11"/>
                  </a:cubicBezTo>
                  <a:cubicBezTo>
                    <a:pt x="136" y="11"/>
                    <a:pt x="136" y="0"/>
                    <a:pt x="124" y="0"/>
                  </a:cubicBezTo>
                  <a:cubicBezTo>
                    <a:pt x="72" y="0"/>
                    <a:pt x="72" y="0"/>
                    <a:pt x="72" y="0"/>
                  </a:cubicBezTo>
                  <a:lnTo>
                    <a:pt x="12" y="0"/>
                  </a:lnTo>
                  <a:close/>
                </a:path>
              </a:pathLst>
            </a:custGeom>
            <a:solidFill>
              <a:srgbClr val="409A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7" name="Freeform 34"/>
            <p:cNvSpPr>
              <a:spLocks/>
            </p:cNvSpPr>
            <p:nvPr/>
          </p:nvSpPr>
          <p:spPr bwMode="auto">
            <a:xfrm>
              <a:off x="10210800" y="795338"/>
              <a:ext cx="128588" cy="22225"/>
            </a:xfrm>
            <a:custGeom>
              <a:avLst/>
              <a:gdLst>
                <a:gd name="T0" fmla="*/ 12 w 136"/>
                <a:gd name="T1" fmla="*/ 0 h 23"/>
                <a:gd name="T2" fmla="*/ 0 w 136"/>
                <a:gd name="T3" fmla="*/ 10 h 23"/>
                <a:gd name="T4" fmla="*/ 0 w 136"/>
                <a:gd name="T5" fmla="*/ 12 h 23"/>
                <a:gd name="T6" fmla="*/ 12 w 136"/>
                <a:gd name="T7" fmla="*/ 23 h 23"/>
                <a:gd name="T8" fmla="*/ 124 w 136"/>
                <a:gd name="T9" fmla="*/ 23 h 23"/>
                <a:gd name="T10" fmla="*/ 136 w 136"/>
                <a:gd name="T11" fmla="*/ 12 h 23"/>
                <a:gd name="T12" fmla="*/ 136 w 136"/>
                <a:gd name="T13" fmla="*/ 10 h 23"/>
                <a:gd name="T14" fmla="*/ 124 w 136"/>
                <a:gd name="T15" fmla="*/ 0 h 23"/>
                <a:gd name="T16" fmla="*/ 72 w 136"/>
                <a:gd name="T17" fmla="*/ 0 h 23"/>
                <a:gd name="T18" fmla="*/ 12 w 136"/>
                <a:gd name="T19"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6" h="23">
                  <a:moveTo>
                    <a:pt x="12" y="0"/>
                  </a:moveTo>
                  <a:cubicBezTo>
                    <a:pt x="12" y="0"/>
                    <a:pt x="0" y="0"/>
                    <a:pt x="0" y="10"/>
                  </a:cubicBezTo>
                  <a:cubicBezTo>
                    <a:pt x="0" y="12"/>
                    <a:pt x="0" y="12"/>
                    <a:pt x="0" y="12"/>
                  </a:cubicBezTo>
                  <a:cubicBezTo>
                    <a:pt x="0" y="12"/>
                    <a:pt x="0" y="23"/>
                    <a:pt x="12" y="23"/>
                  </a:cubicBezTo>
                  <a:cubicBezTo>
                    <a:pt x="124" y="23"/>
                    <a:pt x="124" y="23"/>
                    <a:pt x="124" y="23"/>
                  </a:cubicBezTo>
                  <a:cubicBezTo>
                    <a:pt x="124" y="23"/>
                    <a:pt x="136" y="23"/>
                    <a:pt x="136" y="12"/>
                  </a:cubicBezTo>
                  <a:cubicBezTo>
                    <a:pt x="136" y="10"/>
                    <a:pt x="136" y="10"/>
                    <a:pt x="136" y="10"/>
                  </a:cubicBezTo>
                  <a:cubicBezTo>
                    <a:pt x="136" y="10"/>
                    <a:pt x="136" y="0"/>
                    <a:pt x="124" y="0"/>
                  </a:cubicBezTo>
                  <a:cubicBezTo>
                    <a:pt x="72" y="0"/>
                    <a:pt x="72" y="0"/>
                    <a:pt x="72" y="0"/>
                  </a:cubicBezTo>
                  <a:lnTo>
                    <a:pt x="12" y="0"/>
                  </a:lnTo>
                  <a:close/>
                </a:path>
              </a:pathLst>
            </a:custGeom>
            <a:solidFill>
              <a:srgbClr val="409A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8" name="Freeform 35"/>
            <p:cNvSpPr>
              <a:spLocks/>
            </p:cNvSpPr>
            <p:nvPr/>
          </p:nvSpPr>
          <p:spPr bwMode="auto">
            <a:xfrm>
              <a:off x="10210800" y="833438"/>
              <a:ext cx="128588" cy="23813"/>
            </a:xfrm>
            <a:custGeom>
              <a:avLst/>
              <a:gdLst>
                <a:gd name="T0" fmla="*/ 12 w 136"/>
                <a:gd name="T1" fmla="*/ 0 h 24"/>
                <a:gd name="T2" fmla="*/ 0 w 136"/>
                <a:gd name="T3" fmla="*/ 11 h 24"/>
                <a:gd name="T4" fmla="*/ 0 w 136"/>
                <a:gd name="T5" fmla="*/ 13 h 24"/>
                <a:gd name="T6" fmla="*/ 12 w 136"/>
                <a:gd name="T7" fmla="*/ 24 h 24"/>
                <a:gd name="T8" fmla="*/ 124 w 136"/>
                <a:gd name="T9" fmla="*/ 24 h 24"/>
                <a:gd name="T10" fmla="*/ 136 w 136"/>
                <a:gd name="T11" fmla="*/ 13 h 24"/>
                <a:gd name="T12" fmla="*/ 136 w 136"/>
                <a:gd name="T13" fmla="*/ 11 h 24"/>
                <a:gd name="T14" fmla="*/ 124 w 136"/>
                <a:gd name="T15" fmla="*/ 0 h 24"/>
                <a:gd name="T16" fmla="*/ 72 w 136"/>
                <a:gd name="T17" fmla="*/ 0 h 24"/>
                <a:gd name="T18" fmla="*/ 12 w 136"/>
                <a:gd name="T19"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6" h="24">
                  <a:moveTo>
                    <a:pt x="12" y="0"/>
                  </a:moveTo>
                  <a:cubicBezTo>
                    <a:pt x="12" y="0"/>
                    <a:pt x="0" y="0"/>
                    <a:pt x="0" y="11"/>
                  </a:cubicBezTo>
                  <a:cubicBezTo>
                    <a:pt x="0" y="13"/>
                    <a:pt x="0" y="13"/>
                    <a:pt x="0" y="13"/>
                  </a:cubicBezTo>
                  <a:cubicBezTo>
                    <a:pt x="0" y="13"/>
                    <a:pt x="0" y="24"/>
                    <a:pt x="12" y="24"/>
                  </a:cubicBezTo>
                  <a:cubicBezTo>
                    <a:pt x="124" y="24"/>
                    <a:pt x="124" y="24"/>
                    <a:pt x="124" y="24"/>
                  </a:cubicBezTo>
                  <a:cubicBezTo>
                    <a:pt x="124" y="24"/>
                    <a:pt x="136" y="24"/>
                    <a:pt x="136" y="13"/>
                  </a:cubicBezTo>
                  <a:cubicBezTo>
                    <a:pt x="136" y="11"/>
                    <a:pt x="136" y="11"/>
                    <a:pt x="136" y="11"/>
                  </a:cubicBezTo>
                  <a:cubicBezTo>
                    <a:pt x="136" y="11"/>
                    <a:pt x="136" y="0"/>
                    <a:pt x="124" y="0"/>
                  </a:cubicBezTo>
                  <a:cubicBezTo>
                    <a:pt x="72" y="0"/>
                    <a:pt x="72" y="0"/>
                    <a:pt x="72" y="0"/>
                  </a:cubicBezTo>
                  <a:lnTo>
                    <a:pt x="12" y="0"/>
                  </a:lnTo>
                  <a:close/>
                </a:path>
              </a:pathLst>
            </a:custGeom>
            <a:solidFill>
              <a:srgbClr val="409A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9" name="Freeform 36"/>
            <p:cNvSpPr>
              <a:spLocks/>
            </p:cNvSpPr>
            <p:nvPr/>
          </p:nvSpPr>
          <p:spPr bwMode="auto">
            <a:xfrm>
              <a:off x="10210800" y="873125"/>
              <a:ext cx="128588" cy="23813"/>
            </a:xfrm>
            <a:custGeom>
              <a:avLst/>
              <a:gdLst>
                <a:gd name="T0" fmla="*/ 12 w 136"/>
                <a:gd name="T1" fmla="*/ 0 h 24"/>
                <a:gd name="T2" fmla="*/ 0 w 136"/>
                <a:gd name="T3" fmla="*/ 11 h 24"/>
                <a:gd name="T4" fmla="*/ 0 w 136"/>
                <a:gd name="T5" fmla="*/ 14 h 24"/>
                <a:gd name="T6" fmla="*/ 12 w 136"/>
                <a:gd name="T7" fmla="*/ 24 h 24"/>
                <a:gd name="T8" fmla="*/ 124 w 136"/>
                <a:gd name="T9" fmla="*/ 24 h 24"/>
                <a:gd name="T10" fmla="*/ 136 w 136"/>
                <a:gd name="T11" fmla="*/ 14 h 24"/>
                <a:gd name="T12" fmla="*/ 136 w 136"/>
                <a:gd name="T13" fmla="*/ 11 h 24"/>
                <a:gd name="T14" fmla="*/ 124 w 136"/>
                <a:gd name="T15" fmla="*/ 0 h 24"/>
                <a:gd name="T16" fmla="*/ 72 w 136"/>
                <a:gd name="T17" fmla="*/ 0 h 24"/>
                <a:gd name="T18" fmla="*/ 12 w 136"/>
                <a:gd name="T19"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6" h="24">
                  <a:moveTo>
                    <a:pt x="12" y="0"/>
                  </a:moveTo>
                  <a:cubicBezTo>
                    <a:pt x="12" y="0"/>
                    <a:pt x="0" y="0"/>
                    <a:pt x="0" y="11"/>
                  </a:cubicBezTo>
                  <a:cubicBezTo>
                    <a:pt x="0" y="14"/>
                    <a:pt x="0" y="14"/>
                    <a:pt x="0" y="14"/>
                  </a:cubicBezTo>
                  <a:cubicBezTo>
                    <a:pt x="0" y="14"/>
                    <a:pt x="0" y="24"/>
                    <a:pt x="12" y="24"/>
                  </a:cubicBezTo>
                  <a:cubicBezTo>
                    <a:pt x="124" y="24"/>
                    <a:pt x="124" y="24"/>
                    <a:pt x="124" y="24"/>
                  </a:cubicBezTo>
                  <a:cubicBezTo>
                    <a:pt x="124" y="24"/>
                    <a:pt x="136" y="24"/>
                    <a:pt x="136" y="14"/>
                  </a:cubicBezTo>
                  <a:cubicBezTo>
                    <a:pt x="136" y="11"/>
                    <a:pt x="136" y="11"/>
                    <a:pt x="136" y="11"/>
                  </a:cubicBezTo>
                  <a:cubicBezTo>
                    <a:pt x="136" y="11"/>
                    <a:pt x="136" y="0"/>
                    <a:pt x="124" y="0"/>
                  </a:cubicBezTo>
                  <a:cubicBezTo>
                    <a:pt x="72" y="0"/>
                    <a:pt x="72" y="0"/>
                    <a:pt x="72" y="0"/>
                  </a:cubicBezTo>
                  <a:lnTo>
                    <a:pt x="12" y="0"/>
                  </a:lnTo>
                  <a:close/>
                </a:path>
              </a:pathLst>
            </a:custGeom>
            <a:solidFill>
              <a:srgbClr val="409A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0" name="Freeform 37"/>
            <p:cNvSpPr>
              <a:spLocks/>
            </p:cNvSpPr>
            <p:nvPr/>
          </p:nvSpPr>
          <p:spPr bwMode="auto">
            <a:xfrm>
              <a:off x="10210800" y="912813"/>
              <a:ext cx="128588" cy="23813"/>
            </a:xfrm>
            <a:custGeom>
              <a:avLst/>
              <a:gdLst>
                <a:gd name="T0" fmla="*/ 12 w 136"/>
                <a:gd name="T1" fmla="*/ 0 h 24"/>
                <a:gd name="T2" fmla="*/ 0 w 136"/>
                <a:gd name="T3" fmla="*/ 11 h 24"/>
                <a:gd name="T4" fmla="*/ 0 w 136"/>
                <a:gd name="T5" fmla="*/ 13 h 24"/>
                <a:gd name="T6" fmla="*/ 12 w 136"/>
                <a:gd name="T7" fmla="*/ 24 h 24"/>
                <a:gd name="T8" fmla="*/ 124 w 136"/>
                <a:gd name="T9" fmla="*/ 24 h 24"/>
                <a:gd name="T10" fmla="*/ 136 w 136"/>
                <a:gd name="T11" fmla="*/ 13 h 24"/>
                <a:gd name="T12" fmla="*/ 136 w 136"/>
                <a:gd name="T13" fmla="*/ 11 h 24"/>
                <a:gd name="T14" fmla="*/ 124 w 136"/>
                <a:gd name="T15" fmla="*/ 0 h 24"/>
                <a:gd name="T16" fmla="*/ 72 w 136"/>
                <a:gd name="T17" fmla="*/ 0 h 24"/>
                <a:gd name="T18" fmla="*/ 12 w 136"/>
                <a:gd name="T19"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6" h="24">
                  <a:moveTo>
                    <a:pt x="12" y="0"/>
                  </a:moveTo>
                  <a:cubicBezTo>
                    <a:pt x="12" y="0"/>
                    <a:pt x="0" y="0"/>
                    <a:pt x="0" y="11"/>
                  </a:cubicBezTo>
                  <a:cubicBezTo>
                    <a:pt x="0" y="13"/>
                    <a:pt x="0" y="13"/>
                    <a:pt x="0" y="13"/>
                  </a:cubicBezTo>
                  <a:cubicBezTo>
                    <a:pt x="0" y="13"/>
                    <a:pt x="0" y="24"/>
                    <a:pt x="12" y="24"/>
                  </a:cubicBezTo>
                  <a:cubicBezTo>
                    <a:pt x="124" y="24"/>
                    <a:pt x="124" y="24"/>
                    <a:pt x="124" y="24"/>
                  </a:cubicBezTo>
                  <a:cubicBezTo>
                    <a:pt x="124" y="24"/>
                    <a:pt x="136" y="24"/>
                    <a:pt x="136" y="13"/>
                  </a:cubicBezTo>
                  <a:cubicBezTo>
                    <a:pt x="136" y="11"/>
                    <a:pt x="136" y="11"/>
                    <a:pt x="136" y="11"/>
                  </a:cubicBezTo>
                  <a:cubicBezTo>
                    <a:pt x="136" y="11"/>
                    <a:pt x="136" y="0"/>
                    <a:pt x="124" y="0"/>
                  </a:cubicBezTo>
                  <a:cubicBezTo>
                    <a:pt x="72" y="0"/>
                    <a:pt x="72" y="0"/>
                    <a:pt x="72" y="0"/>
                  </a:cubicBezTo>
                  <a:lnTo>
                    <a:pt x="12" y="0"/>
                  </a:lnTo>
                  <a:close/>
                </a:path>
              </a:pathLst>
            </a:custGeom>
            <a:solidFill>
              <a:srgbClr val="409A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1" name="Freeform 38"/>
            <p:cNvSpPr>
              <a:spLocks/>
            </p:cNvSpPr>
            <p:nvPr/>
          </p:nvSpPr>
          <p:spPr bwMode="auto">
            <a:xfrm>
              <a:off x="10210800" y="952500"/>
              <a:ext cx="128588" cy="23813"/>
            </a:xfrm>
            <a:custGeom>
              <a:avLst/>
              <a:gdLst>
                <a:gd name="T0" fmla="*/ 12 w 136"/>
                <a:gd name="T1" fmla="*/ 0 h 24"/>
                <a:gd name="T2" fmla="*/ 0 w 136"/>
                <a:gd name="T3" fmla="*/ 11 h 24"/>
                <a:gd name="T4" fmla="*/ 0 w 136"/>
                <a:gd name="T5" fmla="*/ 13 h 24"/>
                <a:gd name="T6" fmla="*/ 12 w 136"/>
                <a:gd name="T7" fmla="*/ 24 h 24"/>
                <a:gd name="T8" fmla="*/ 124 w 136"/>
                <a:gd name="T9" fmla="*/ 24 h 24"/>
                <a:gd name="T10" fmla="*/ 136 w 136"/>
                <a:gd name="T11" fmla="*/ 13 h 24"/>
                <a:gd name="T12" fmla="*/ 136 w 136"/>
                <a:gd name="T13" fmla="*/ 11 h 24"/>
                <a:gd name="T14" fmla="*/ 124 w 136"/>
                <a:gd name="T15" fmla="*/ 0 h 24"/>
                <a:gd name="T16" fmla="*/ 72 w 136"/>
                <a:gd name="T17" fmla="*/ 0 h 24"/>
                <a:gd name="T18" fmla="*/ 12 w 136"/>
                <a:gd name="T19"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6" h="24">
                  <a:moveTo>
                    <a:pt x="12" y="0"/>
                  </a:moveTo>
                  <a:cubicBezTo>
                    <a:pt x="12" y="0"/>
                    <a:pt x="0" y="0"/>
                    <a:pt x="0" y="11"/>
                  </a:cubicBezTo>
                  <a:cubicBezTo>
                    <a:pt x="0" y="13"/>
                    <a:pt x="0" y="13"/>
                    <a:pt x="0" y="13"/>
                  </a:cubicBezTo>
                  <a:cubicBezTo>
                    <a:pt x="0" y="13"/>
                    <a:pt x="0" y="24"/>
                    <a:pt x="12" y="24"/>
                  </a:cubicBezTo>
                  <a:cubicBezTo>
                    <a:pt x="124" y="24"/>
                    <a:pt x="124" y="24"/>
                    <a:pt x="124" y="24"/>
                  </a:cubicBezTo>
                  <a:cubicBezTo>
                    <a:pt x="124" y="24"/>
                    <a:pt x="136" y="24"/>
                    <a:pt x="136" y="13"/>
                  </a:cubicBezTo>
                  <a:cubicBezTo>
                    <a:pt x="136" y="11"/>
                    <a:pt x="136" y="11"/>
                    <a:pt x="136" y="11"/>
                  </a:cubicBezTo>
                  <a:cubicBezTo>
                    <a:pt x="136" y="11"/>
                    <a:pt x="136" y="0"/>
                    <a:pt x="124" y="0"/>
                  </a:cubicBezTo>
                  <a:cubicBezTo>
                    <a:pt x="72" y="0"/>
                    <a:pt x="72" y="0"/>
                    <a:pt x="72" y="0"/>
                  </a:cubicBezTo>
                  <a:lnTo>
                    <a:pt x="12" y="0"/>
                  </a:lnTo>
                  <a:close/>
                </a:path>
              </a:pathLst>
            </a:custGeom>
            <a:solidFill>
              <a:srgbClr val="409A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2" name="Oval 39"/>
            <p:cNvSpPr>
              <a:spLocks noChangeArrowheads="1"/>
            </p:cNvSpPr>
            <p:nvPr/>
          </p:nvSpPr>
          <p:spPr bwMode="auto">
            <a:xfrm>
              <a:off x="10315575" y="679450"/>
              <a:ext cx="12700" cy="12700"/>
            </a:xfrm>
            <a:prstGeom prst="ellipse">
              <a:avLst/>
            </a:prstGeom>
            <a:solidFill>
              <a:srgbClr val="40CD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3" name="Oval 40"/>
            <p:cNvSpPr>
              <a:spLocks noChangeArrowheads="1"/>
            </p:cNvSpPr>
            <p:nvPr/>
          </p:nvSpPr>
          <p:spPr bwMode="auto">
            <a:xfrm>
              <a:off x="10315575" y="719138"/>
              <a:ext cx="12700" cy="12700"/>
            </a:xfrm>
            <a:prstGeom prst="ellipse">
              <a:avLst/>
            </a:prstGeom>
            <a:solidFill>
              <a:srgbClr val="40CD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4" name="Oval 41"/>
            <p:cNvSpPr>
              <a:spLocks noChangeArrowheads="1"/>
            </p:cNvSpPr>
            <p:nvPr/>
          </p:nvSpPr>
          <p:spPr bwMode="auto">
            <a:xfrm>
              <a:off x="10315575" y="758825"/>
              <a:ext cx="12700" cy="14288"/>
            </a:xfrm>
            <a:prstGeom prst="ellipse">
              <a:avLst/>
            </a:prstGeom>
            <a:solidFill>
              <a:srgbClr val="40CD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5" name="Oval 42"/>
            <p:cNvSpPr>
              <a:spLocks noChangeArrowheads="1"/>
            </p:cNvSpPr>
            <p:nvPr/>
          </p:nvSpPr>
          <p:spPr bwMode="auto">
            <a:xfrm>
              <a:off x="10315575" y="798513"/>
              <a:ext cx="12700" cy="12700"/>
            </a:xfrm>
            <a:prstGeom prst="ellipse">
              <a:avLst/>
            </a:prstGeom>
            <a:solidFill>
              <a:srgbClr val="40CD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6" name="Oval 43"/>
            <p:cNvSpPr>
              <a:spLocks noChangeArrowheads="1"/>
            </p:cNvSpPr>
            <p:nvPr/>
          </p:nvSpPr>
          <p:spPr bwMode="auto">
            <a:xfrm>
              <a:off x="10315575" y="839788"/>
              <a:ext cx="12700" cy="11113"/>
            </a:xfrm>
            <a:prstGeom prst="ellipse">
              <a:avLst/>
            </a:prstGeom>
            <a:solidFill>
              <a:srgbClr val="40CD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7" name="Oval 44"/>
            <p:cNvSpPr>
              <a:spLocks noChangeArrowheads="1"/>
            </p:cNvSpPr>
            <p:nvPr/>
          </p:nvSpPr>
          <p:spPr bwMode="auto">
            <a:xfrm>
              <a:off x="10315575" y="879475"/>
              <a:ext cx="12700" cy="12700"/>
            </a:xfrm>
            <a:prstGeom prst="ellipse">
              <a:avLst/>
            </a:prstGeom>
            <a:solidFill>
              <a:srgbClr val="40CD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8" name="Oval 45"/>
            <p:cNvSpPr>
              <a:spLocks noChangeArrowheads="1"/>
            </p:cNvSpPr>
            <p:nvPr/>
          </p:nvSpPr>
          <p:spPr bwMode="auto">
            <a:xfrm>
              <a:off x="10315575" y="919163"/>
              <a:ext cx="12700" cy="12700"/>
            </a:xfrm>
            <a:prstGeom prst="ellipse">
              <a:avLst/>
            </a:prstGeom>
            <a:solidFill>
              <a:srgbClr val="40CD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9" name="Oval 46"/>
            <p:cNvSpPr>
              <a:spLocks noChangeArrowheads="1"/>
            </p:cNvSpPr>
            <p:nvPr/>
          </p:nvSpPr>
          <p:spPr bwMode="auto">
            <a:xfrm>
              <a:off x="10315575" y="958850"/>
              <a:ext cx="12700" cy="12700"/>
            </a:xfrm>
            <a:prstGeom prst="ellipse">
              <a:avLst/>
            </a:prstGeom>
            <a:solidFill>
              <a:srgbClr val="40CD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0" name="Rectangle 47"/>
            <p:cNvSpPr>
              <a:spLocks noChangeArrowheads="1"/>
            </p:cNvSpPr>
            <p:nvPr/>
          </p:nvSpPr>
          <p:spPr bwMode="auto">
            <a:xfrm>
              <a:off x="10380663" y="649288"/>
              <a:ext cx="163513" cy="352425"/>
            </a:xfrm>
            <a:prstGeom prst="rect">
              <a:avLst/>
            </a:prstGeom>
            <a:solidFill>
              <a:srgbClr val="0048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1" name="Freeform 48"/>
            <p:cNvSpPr>
              <a:spLocks/>
            </p:cNvSpPr>
            <p:nvPr/>
          </p:nvSpPr>
          <p:spPr bwMode="auto">
            <a:xfrm>
              <a:off x="10398125" y="674688"/>
              <a:ext cx="128588" cy="22225"/>
            </a:xfrm>
            <a:custGeom>
              <a:avLst/>
              <a:gdLst>
                <a:gd name="T0" fmla="*/ 11 w 135"/>
                <a:gd name="T1" fmla="*/ 0 h 24"/>
                <a:gd name="T2" fmla="*/ 0 w 135"/>
                <a:gd name="T3" fmla="*/ 11 h 24"/>
                <a:gd name="T4" fmla="*/ 0 w 135"/>
                <a:gd name="T5" fmla="*/ 13 h 24"/>
                <a:gd name="T6" fmla="*/ 11 w 135"/>
                <a:gd name="T7" fmla="*/ 24 h 24"/>
                <a:gd name="T8" fmla="*/ 124 w 135"/>
                <a:gd name="T9" fmla="*/ 24 h 24"/>
                <a:gd name="T10" fmla="*/ 135 w 135"/>
                <a:gd name="T11" fmla="*/ 13 h 24"/>
                <a:gd name="T12" fmla="*/ 135 w 135"/>
                <a:gd name="T13" fmla="*/ 11 h 24"/>
                <a:gd name="T14" fmla="*/ 124 w 135"/>
                <a:gd name="T15" fmla="*/ 0 h 24"/>
                <a:gd name="T16" fmla="*/ 72 w 135"/>
                <a:gd name="T17" fmla="*/ 0 h 24"/>
                <a:gd name="T18" fmla="*/ 11 w 135"/>
                <a:gd name="T19"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5" h="24">
                  <a:moveTo>
                    <a:pt x="11" y="0"/>
                  </a:moveTo>
                  <a:cubicBezTo>
                    <a:pt x="11" y="0"/>
                    <a:pt x="0" y="0"/>
                    <a:pt x="0" y="11"/>
                  </a:cubicBezTo>
                  <a:cubicBezTo>
                    <a:pt x="0" y="13"/>
                    <a:pt x="0" y="13"/>
                    <a:pt x="0" y="13"/>
                  </a:cubicBezTo>
                  <a:cubicBezTo>
                    <a:pt x="0" y="13"/>
                    <a:pt x="0" y="24"/>
                    <a:pt x="11" y="24"/>
                  </a:cubicBezTo>
                  <a:cubicBezTo>
                    <a:pt x="124" y="24"/>
                    <a:pt x="124" y="24"/>
                    <a:pt x="124" y="24"/>
                  </a:cubicBezTo>
                  <a:cubicBezTo>
                    <a:pt x="124" y="24"/>
                    <a:pt x="135" y="24"/>
                    <a:pt x="135" y="13"/>
                  </a:cubicBezTo>
                  <a:cubicBezTo>
                    <a:pt x="135" y="11"/>
                    <a:pt x="135" y="11"/>
                    <a:pt x="135" y="11"/>
                  </a:cubicBezTo>
                  <a:cubicBezTo>
                    <a:pt x="135" y="11"/>
                    <a:pt x="135" y="0"/>
                    <a:pt x="124" y="0"/>
                  </a:cubicBezTo>
                  <a:cubicBezTo>
                    <a:pt x="72" y="0"/>
                    <a:pt x="72" y="0"/>
                    <a:pt x="72" y="0"/>
                  </a:cubicBezTo>
                  <a:lnTo>
                    <a:pt x="11" y="0"/>
                  </a:lnTo>
                  <a:close/>
                </a:path>
              </a:pathLst>
            </a:custGeom>
            <a:solidFill>
              <a:srgbClr val="409A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2" name="Freeform 49"/>
            <p:cNvSpPr>
              <a:spLocks/>
            </p:cNvSpPr>
            <p:nvPr/>
          </p:nvSpPr>
          <p:spPr bwMode="auto">
            <a:xfrm>
              <a:off x="10398125" y="714375"/>
              <a:ext cx="128588" cy="22225"/>
            </a:xfrm>
            <a:custGeom>
              <a:avLst/>
              <a:gdLst>
                <a:gd name="T0" fmla="*/ 11 w 135"/>
                <a:gd name="T1" fmla="*/ 0 h 24"/>
                <a:gd name="T2" fmla="*/ 0 w 135"/>
                <a:gd name="T3" fmla="*/ 11 h 24"/>
                <a:gd name="T4" fmla="*/ 0 w 135"/>
                <a:gd name="T5" fmla="*/ 13 h 24"/>
                <a:gd name="T6" fmla="*/ 11 w 135"/>
                <a:gd name="T7" fmla="*/ 24 h 24"/>
                <a:gd name="T8" fmla="*/ 124 w 135"/>
                <a:gd name="T9" fmla="*/ 24 h 24"/>
                <a:gd name="T10" fmla="*/ 135 w 135"/>
                <a:gd name="T11" fmla="*/ 13 h 24"/>
                <a:gd name="T12" fmla="*/ 135 w 135"/>
                <a:gd name="T13" fmla="*/ 11 h 24"/>
                <a:gd name="T14" fmla="*/ 124 w 135"/>
                <a:gd name="T15" fmla="*/ 0 h 24"/>
                <a:gd name="T16" fmla="*/ 72 w 135"/>
                <a:gd name="T17" fmla="*/ 0 h 24"/>
                <a:gd name="T18" fmla="*/ 11 w 135"/>
                <a:gd name="T19"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5" h="24">
                  <a:moveTo>
                    <a:pt x="11" y="0"/>
                  </a:moveTo>
                  <a:cubicBezTo>
                    <a:pt x="11" y="0"/>
                    <a:pt x="0" y="0"/>
                    <a:pt x="0" y="11"/>
                  </a:cubicBezTo>
                  <a:cubicBezTo>
                    <a:pt x="0" y="13"/>
                    <a:pt x="0" y="13"/>
                    <a:pt x="0" y="13"/>
                  </a:cubicBezTo>
                  <a:cubicBezTo>
                    <a:pt x="0" y="13"/>
                    <a:pt x="0" y="24"/>
                    <a:pt x="11" y="24"/>
                  </a:cubicBezTo>
                  <a:cubicBezTo>
                    <a:pt x="124" y="24"/>
                    <a:pt x="124" y="24"/>
                    <a:pt x="124" y="24"/>
                  </a:cubicBezTo>
                  <a:cubicBezTo>
                    <a:pt x="124" y="24"/>
                    <a:pt x="135" y="24"/>
                    <a:pt x="135" y="13"/>
                  </a:cubicBezTo>
                  <a:cubicBezTo>
                    <a:pt x="135" y="11"/>
                    <a:pt x="135" y="11"/>
                    <a:pt x="135" y="11"/>
                  </a:cubicBezTo>
                  <a:cubicBezTo>
                    <a:pt x="135" y="11"/>
                    <a:pt x="135" y="0"/>
                    <a:pt x="124" y="0"/>
                  </a:cubicBezTo>
                  <a:cubicBezTo>
                    <a:pt x="72" y="0"/>
                    <a:pt x="72" y="0"/>
                    <a:pt x="72" y="0"/>
                  </a:cubicBezTo>
                  <a:lnTo>
                    <a:pt x="11" y="0"/>
                  </a:lnTo>
                  <a:close/>
                </a:path>
              </a:pathLst>
            </a:custGeom>
            <a:solidFill>
              <a:srgbClr val="409A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3" name="Freeform 50"/>
            <p:cNvSpPr>
              <a:spLocks/>
            </p:cNvSpPr>
            <p:nvPr/>
          </p:nvSpPr>
          <p:spPr bwMode="auto">
            <a:xfrm>
              <a:off x="10398125" y="754063"/>
              <a:ext cx="128588" cy="23813"/>
            </a:xfrm>
            <a:custGeom>
              <a:avLst/>
              <a:gdLst>
                <a:gd name="T0" fmla="*/ 11 w 135"/>
                <a:gd name="T1" fmla="*/ 0 h 24"/>
                <a:gd name="T2" fmla="*/ 0 w 135"/>
                <a:gd name="T3" fmla="*/ 11 h 24"/>
                <a:gd name="T4" fmla="*/ 0 w 135"/>
                <a:gd name="T5" fmla="*/ 13 h 24"/>
                <a:gd name="T6" fmla="*/ 11 w 135"/>
                <a:gd name="T7" fmla="*/ 24 h 24"/>
                <a:gd name="T8" fmla="*/ 124 w 135"/>
                <a:gd name="T9" fmla="*/ 24 h 24"/>
                <a:gd name="T10" fmla="*/ 135 w 135"/>
                <a:gd name="T11" fmla="*/ 13 h 24"/>
                <a:gd name="T12" fmla="*/ 135 w 135"/>
                <a:gd name="T13" fmla="*/ 11 h 24"/>
                <a:gd name="T14" fmla="*/ 124 w 135"/>
                <a:gd name="T15" fmla="*/ 0 h 24"/>
                <a:gd name="T16" fmla="*/ 72 w 135"/>
                <a:gd name="T17" fmla="*/ 0 h 24"/>
                <a:gd name="T18" fmla="*/ 11 w 135"/>
                <a:gd name="T19"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5" h="24">
                  <a:moveTo>
                    <a:pt x="11" y="0"/>
                  </a:moveTo>
                  <a:cubicBezTo>
                    <a:pt x="11" y="0"/>
                    <a:pt x="0" y="0"/>
                    <a:pt x="0" y="11"/>
                  </a:cubicBezTo>
                  <a:cubicBezTo>
                    <a:pt x="0" y="13"/>
                    <a:pt x="0" y="13"/>
                    <a:pt x="0" y="13"/>
                  </a:cubicBezTo>
                  <a:cubicBezTo>
                    <a:pt x="0" y="13"/>
                    <a:pt x="0" y="24"/>
                    <a:pt x="11" y="24"/>
                  </a:cubicBezTo>
                  <a:cubicBezTo>
                    <a:pt x="124" y="24"/>
                    <a:pt x="124" y="24"/>
                    <a:pt x="124" y="24"/>
                  </a:cubicBezTo>
                  <a:cubicBezTo>
                    <a:pt x="124" y="24"/>
                    <a:pt x="135" y="24"/>
                    <a:pt x="135" y="13"/>
                  </a:cubicBezTo>
                  <a:cubicBezTo>
                    <a:pt x="135" y="11"/>
                    <a:pt x="135" y="11"/>
                    <a:pt x="135" y="11"/>
                  </a:cubicBezTo>
                  <a:cubicBezTo>
                    <a:pt x="135" y="11"/>
                    <a:pt x="135" y="0"/>
                    <a:pt x="124" y="0"/>
                  </a:cubicBezTo>
                  <a:cubicBezTo>
                    <a:pt x="72" y="0"/>
                    <a:pt x="72" y="0"/>
                    <a:pt x="72" y="0"/>
                  </a:cubicBezTo>
                  <a:lnTo>
                    <a:pt x="11" y="0"/>
                  </a:lnTo>
                  <a:close/>
                </a:path>
              </a:pathLst>
            </a:custGeom>
            <a:solidFill>
              <a:srgbClr val="409A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4" name="Freeform 51"/>
            <p:cNvSpPr>
              <a:spLocks/>
            </p:cNvSpPr>
            <p:nvPr/>
          </p:nvSpPr>
          <p:spPr bwMode="auto">
            <a:xfrm>
              <a:off x="10398125" y="795338"/>
              <a:ext cx="128588" cy="22225"/>
            </a:xfrm>
            <a:custGeom>
              <a:avLst/>
              <a:gdLst>
                <a:gd name="T0" fmla="*/ 11 w 135"/>
                <a:gd name="T1" fmla="*/ 0 h 23"/>
                <a:gd name="T2" fmla="*/ 0 w 135"/>
                <a:gd name="T3" fmla="*/ 10 h 23"/>
                <a:gd name="T4" fmla="*/ 0 w 135"/>
                <a:gd name="T5" fmla="*/ 12 h 23"/>
                <a:gd name="T6" fmla="*/ 11 w 135"/>
                <a:gd name="T7" fmla="*/ 23 h 23"/>
                <a:gd name="T8" fmla="*/ 124 w 135"/>
                <a:gd name="T9" fmla="*/ 23 h 23"/>
                <a:gd name="T10" fmla="*/ 135 w 135"/>
                <a:gd name="T11" fmla="*/ 12 h 23"/>
                <a:gd name="T12" fmla="*/ 135 w 135"/>
                <a:gd name="T13" fmla="*/ 10 h 23"/>
                <a:gd name="T14" fmla="*/ 124 w 135"/>
                <a:gd name="T15" fmla="*/ 0 h 23"/>
                <a:gd name="T16" fmla="*/ 72 w 135"/>
                <a:gd name="T17" fmla="*/ 0 h 23"/>
                <a:gd name="T18" fmla="*/ 11 w 135"/>
                <a:gd name="T19"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5" h="23">
                  <a:moveTo>
                    <a:pt x="11" y="0"/>
                  </a:moveTo>
                  <a:cubicBezTo>
                    <a:pt x="11" y="0"/>
                    <a:pt x="0" y="0"/>
                    <a:pt x="0" y="10"/>
                  </a:cubicBezTo>
                  <a:cubicBezTo>
                    <a:pt x="0" y="12"/>
                    <a:pt x="0" y="12"/>
                    <a:pt x="0" y="12"/>
                  </a:cubicBezTo>
                  <a:cubicBezTo>
                    <a:pt x="0" y="12"/>
                    <a:pt x="0" y="23"/>
                    <a:pt x="11" y="23"/>
                  </a:cubicBezTo>
                  <a:cubicBezTo>
                    <a:pt x="124" y="23"/>
                    <a:pt x="124" y="23"/>
                    <a:pt x="124" y="23"/>
                  </a:cubicBezTo>
                  <a:cubicBezTo>
                    <a:pt x="124" y="23"/>
                    <a:pt x="135" y="23"/>
                    <a:pt x="135" y="12"/>
                  </a:cubicBezTo>
                  <a:cubicBezTo>
                    <a:pt x="135" y="10"/>
                    <a:pt x="135" y="10"/>
                    <a:pt x="135" y="10"/>
                  </a:cubicBezTo>
                  <a:cubicBezTo>
                    <a:pt x="135" y="10"/>
                    <a:pt x="135" y="0"/>
                    <a:pt x="124" y="0"/>
                  </a:cubicBezTo>
                  <a:cubicBezTo>
                    <a:pt x="72" y="0"/>
                    <a:pt x="72" y="0"/>
                    <a:pt x="72" y="0"/>
                  </a:cubicBezTo>
                  <a:lnTo>
                    <a:pt x="11" y="0"/>
                  </a:lnTo>
                  <a:close/>
                </a:path>
              </a:pathLst>
            </a:custGeom>
            <a:solidFill>
              <a:srgbClr val="409A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5" name="Freeform 52"/>
            <p:cNvSpPr>
              <a:spLocks/>
            </p:cNvSpPr>
            <p:nvPr/>
          </p:nvSpPr>
          <p:spPr bwMode="auto">
            <a:xfrm>
              <a:off x="10398125" y="833438"/>
              <a:ext cx="128588" cy="23813"/>
            </a:xfrm>
            <a:custGeom>
              <a:avLst/>
              <a:gdLst>
                <a:gd name="T0" fmla="*/ 11 w 135"/>
                <a:gd name="T1" fmla="*/ 0 h 24"/>
                <a:gd name="T2" fmla="*/ 0 w 135"/>
                <a:gd name="T3" fmla="*/ 11 h 24"/>
                <a:gd name="T4" fmla="*/ 0 w 135"/>
                <a:gd name="T5" fmla="*/ 13 h 24"/>
                <a:gd name="T6" fmla="*/ 11 w 135"/>
                <a:gd name="T7" fmla="*/ 24 h 24"/>
                <a:gd name="T8" fmla="*/ 124 w 135"/>
                <a:gd name="T9" fmla="*/ 24 h 24"/>
                <a:gd name="T10" fmla="*/ 135 w 135"/>
                <a:gd name="T11" fmla="*/ 13 h 24"/>
                <a:gd name="T12" fmla="*/ 135 w 135"/>
                <a:gd name="T13" fmla="*/ 11 h 24"/>
                <a:gd name="T14" fmla="*/ 124 w 135"/>
                <a:gd name="T15" fmla="*/ 0 h 24"/>
                <a:gd name="T16" fmla="*/ 72 w 135"/>
                <a:gd name="T17" fmla="*/ 0 h 24"/>
                <a:gd name="T18" fmla="*/ 11 w 135"/>
                <a:gd name="T19"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5" h="24">
                  <a:moveTo>
                    <a:pt x="11" y="0"/>
                  </a:moveTo>
                  <a:cubicBezTo>
                    <a:pt x="11" y="0"/>
                    <a:pt x="0" y="0"/>
                    <a:pt x="0" y="11"/>
                  </a:cubicBezTo>
                  <a:cubicBezTo>
                    <a:pt x="0" y="13"/>
                    <a:pt x="0" y="13"/>
                    <a:pt x="0" y="13"/>
                  </a:cubicBezTo>
                  <a:cubicBezTo>
                    <a:pt x="0" y="13"/>
                    <a:pt x="0" y="24"/>
                    <a:pt x="11" y="24"/>
                  </a:cubicBezTo>
                  <a:cubicBezTo>
                    <a:pt x="124" y="24"/>
                    <a:pt x="124" y="24"/>
                    <a:pt x="124" y="24"/>
                  </a:cubicBezTo>
                  <a:cubicBezTo>
                    <a:pt x="124" y="24"/>
                    <a:pt x="135" y="24"/>
                    <a:pt x="135" y="13"/>
                  </a:cubicBezTo>
                  <a:cubicBezTo>
                    <a:pt x="135" y="11"/>
                    <a:pt x="135" y="11"/>
                    <a:pt x="135" y="11"/>
                  </a:cubicBezTo>
                  <a:cubicBezTo>
                    <a:pt x="135" y="11"/>
                    <a:pt x="135" y="0"/>
                    <a:pt x="124" y="0"/>
                  </a:cubicBezTo>
                  <a:cubicBezTo>
                    <a:pt x="72" y="0"/>
                    <a:pt x="72" y="0"/>
                    <a:pt x="72" y="0"/>
                  </a:cubicBezTo>
                  <a:lnTo>
                    <a:pt x="11" y="0"/>
                  </a:lnTo>
                  <a:close/>
                </a:path>
              </a:pathLst>
            </a:custGeom>
            <a:solidFill>
              <a:srgbClr val="409A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6" name="Freeform 53"/>
            <p:cNvSpPr>
              <a:spLocks/>
            </p:cNvSpPr>
            <p:nvPr/>
          </p:nvSpPr>
          <p:spPr bwMode="auto">
            <a:xfrm>
              <a:off x="10398125" y="873125"/>
              <a:ext cx="128588" cy="23813"/>
            </a:xfrm>
            <a:custGeom>
              <a:avLst/>
              <a:gdLst>
                <a:gd name="T0" fmla="*/ 11 w 135"/>
                <a:gd name="T1" fmla="*/ 0 h 24"/>
                <a:gd name="T2" fmla="*/ 0 w 135"/>
                <a:gd name="T3" fmla="*/ 11 h 24"/>
                <a:gd name="T4" fmla="*/ 0 w 135"/>
                <a:gd name="T5" fmla="*/ 14 h 24"/>
                <a:gd name="T6" fmla="*/ 11 w 135"/>
                <a:gd name="T7" fmla="*/ 24 h 24"/>
                <a:gd name="T8" fmla="*/ 124 w 135"/>
                <a:gd name="T9" fmla="*/ 24 h 24"/>
                <a:gd name="T10" fmla="*/ 135 w 135"/>
                <a:gd name="T11" fmla="*/ 14 h 24"/>
                <a:gd name="T12" fmla="*/ 135 w 135"/>
                <a:gd name="T13" fmla="*/ 11 h 24"/>
                <a:gd name="T14" fmla="*/ 124 w 135"/>
                <a:gd name="T15" fmla="*/ 0 h 24"/>
                <a:gd name="T16" fmla="*/ 72 w 135"/>
                <a:gd name="T17" fmla="*/ 0 h 24"/>
                <a:gd name="T18" fmla="*/ 11 w 135"/>
                <a:gd name="T19"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5" h="24">
                  <a:moveTo>
                    <a:pt x="11" y="0"/>
                  </a:moveTo>
                  <a:cubicBezTo>
                    <a:pt x="11" y="0"/>
                    <a:pt x="0" y="0"/>
                    <a:pt x="0" y="11"/>
                  </a:cubicBezTo>
                  <a:cubicBezTo>
                    <a:pt x="0" y="14"/>
                    <a:pt x="0" y="14"/>
                    <a:pt x="0" y="14"/>
                  </a:cubicBezTo>
                  <a:cubicBezTo>
                    <a:pt x="0" y="14"/>
                    <a:pt x="0" y="24"/>
                    <a:pt x="11" y="24"/>
                  </a:cubicBezTo>
                  <a:cubicBezTo>
                    <a:pt x="124" y="24"/>
                    <a:pt x="124" y="24"/>
                    <a:pt x="124" y="24"/>
                  </a:cubicBezTo>
                  <a:cubicBezTo>
                    <a:pt x="124" y="24"/>
                    <a:pt x="135" y="24"/>
                    <a:pt x="135" y="14"/>
                  </a:cubicBezTo>
                  <a:cubicBezTo>
                    <a:pt x="135" y="11"/>
                    <a:pt x="135" y="11"/>
                    <a:pt x="135" y="11"/>
                  </a:cubicBezTo>
                  <a:cubicBezTo>
                    <a:pt x="135" y="11"/>
                    <a:pt x="135" y="0"/>
                    <a:pt x="124" y="0"/>
                  </a:cubicBezTo>
                  <a:cubicBezTo>
                    <a:pt x="72" y="0"/>
                    <a:pt x="72" y="0"/>
                    <a:pt x="72" y="0"/>
                  </a:cubicBezTo>
                  <a:lnTo>
                    <a:pt x="11" y="0"/>
                  </a:lnTo>
                  <a:close/>
                </a:path>
              </a:pathLst>
            </a:custGeom>
            <a:solidFill>
              <a:srgbClr val="409A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7" name="Freeform 54"/>
            <p:cNvSpPr>
              <a:spLocks/>
            </p:cNvSpPr>
            <p:nvPr/>
          </p:nvSpPr>
          <p:spPr bwMode="auto">
            <a:xfrm>
              <a:off x="10398125" y="912813"/>
              <a:ext cx="128588" cy="23813"/>
            </a:xfrm>
            <a:custGeom>
              <a:avLst/>
              <a:gdLst>
                <a:gd name="T0" fmla="*/ 11 w 135"/>
                <a:gd name="T1" fmla="*/ 0 h 24"/>
                <a:gd name="T2" fmla="*/ 0 w 135"/>
                <a:gd name="T3" fmla="*/ 11 h 24"/>
                <a:gd name="T4" fmla="*/ 0 w 135"/>
                <a:gd name="T5" fmla="*/ 13 h 24"/>
                <a:gd name="T6" fmla="*/ 11 w 135"/>
                <a:gd name="T7" fmla="*/ 24 h 24"/>
                <a:gd name="T8" fmla="*/ 124 w 135"/>
                <a:gd name="T9" fmla="*/ 24 h 24"/>
                <a:gd name="T10" fmla="*/ 135 w 135"/>
                <a:gd name="T11" fmla="*/ 13 h 24"/>
                <a:gd name="T12" fmla="*/ 135 w 135"/>
                <a:gd name="T13" fmla="*/ 11 h 24"/>
                <a:gd name="T14" fmla="*/ 124 w 135"/>
                <a:gd name="T15" fmla="*/ 0 h 24"/>
                <a:gd name="T16" fmla="*/ 72 w 135"/>
                <a:gd name="T17" fmla="*/ 0 h 24"/>
                <a:gd name="T18" fmla="*/ 11 w 135"/>
                <a:gd name="T19"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5" h="24">
                  <a:moveTo>
                    <a:pt x="11" y="0"/>
                  </a:moveTo>
                  <a:cubicBezTo>
                    <a:pt x="11" y="0"/>
                    <a:pt x="0" y="0"/>
                    <a:pt x="0" y="11"/>
                  </a:cubicBezTo>
                  <a:cubicBezTo>
                    <a:pt x="0" y="13"/>
                    <a:pt x="0" y="13"/>
                    <a:pt x="0" y="13"/>
                  </a:cubicBezTo>
                  <a:cubicBezTo>
                    <a:pt x="0" y="13"/>
                    <a:pt x="0" y="24"/>
                    <a:pt x="11" y="24"/>
                  </a:cubicBezTo>
                  <a:cubicBezTo>
                    <a:pt x="124" y="24"/>
                    <a:pt x="124" y="24"/>
                    <a:pt x="124" y="24"/>
                  </a:cubicBezTo>
                  <a:cubicBezTo>
                    <a:pt x="124" y="24"/>
                    <a:pt x="135" y="24"/>
                    <a:pt x="135" y="13"/>
                  </a:cubicBezTo>
                  <a:cubicBezTo>
                    <a:pt x="135" y="11"/>
                    <a:pt x="135" y="11"/>
                    <a:pt x="135" y="11"/>
                  </a:cubicBezTo>
                  <a:cubicBezTo>
                    <a:pt x="135" y="11"/>
                    <a:pt x="135" y="0"/>
                    <a:pt x="124" y="0"/>
                  </a:cubicBezTo>
                  <a:cubicBezTo>
                    <a:pt x="72" y="0"/>
                    <a:pt x="72" y="0"/>
                    <a:pt x="72" y="0"/>
                  </a:cubicBezTo>
                  <a:lnTo>
                    <a:pt x="11" y="0"/>
                  </a:lnTo>
                  <a:close/>
                </a:path>
              </a:pathLst>
            </a:custGeom>
            <a:solidFill>
              <a:srgbClr val="409A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8" name="Freeform 55"/>
            <p:cNvSpPr>
              <a:spLocks/>
            </p:cNvSpPr>
            <p:nvPr/>
          </p:nvSpPr>
          <p:spPr bwMode="auto">
            <a:xfrm>
              <a:off x="10398125" y="952500"/>
              <a:ext cx="128588" cy="23813"/>
            </a:xfrm>
            <a:custGeom>
              <a:avLst/>
              <a:gdLst>
                <a:gd name="T0" fmla="*/ 11 w 135"/>
                <a:gd name="T1" fmla="*/ 0 h 24"/>
                <a:gd name="T2" fmla="*/ 0 w 135"/>
                <a:gd name="T3" fmla="*/ 11 h 24"/>
                <a:gd name="T4" fmla="*/ 0 w 135"/>
                <a:gd name="T5" fmla="*/ 13 h 24"/>
                <a:gd name="T6" fmla="*/ 11 w 135"/>
                <a:gd name="T7" fmla="*/ 24 h 24"/>
                <a:gd name="T8" fmla="*/ 124 w 135"/>
                <a:gd name="T9" fmla="*/ 24 h 24"/>
                <a:gd name="T10" fmla="*/ 135 w 135"/>
                <a:gd name="T11" fmla="*/ 13 h 24"/>
                <a:gd name="T12" fmla="*/ 135 w 135"/>
                <a:gd name="T13" fmla="*/ 11 h 24"/>
                <a:gd name="T14" fmla="*/ 124 w 135"/>
                <a:gd name="T15" fmla="*/ 0 h 24"/>
                <a:gd name="T16" fmla="*/ 72 w 135"/>
                <a:gd name="T17" fmla="*/ 0 h 24"/>
                <a:gd name="T18" fmla="*/ 11 w 135"/>
                <a:gd name="T19"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5" h="24">
                  <a:moveTo>
                    <a:pt x="11" y="0"/>
                  </a:moveTo>
                  <a:cubicBezTo>
                    <a:pt x="11" y="0"/>
                    <a:pt x="0" y="0"/>
                    <a:pt x="0" y="11"/>
                  </a:cubicBezTo>
                  <a:cubicBezTo>
                    <a:pt x="0" y="13"/>
                    <a:pt x="0" y="13"/>
                    <a:pt x="0" y="13"/>
                  </a:cubicBezTo>
                  <a:cubicBezTo>
                    <a:pt x="0" y="13"/>
                    <a:pt x="0" y="24"/>
                    <a:pt x="11" y="24"/>
                  </a:cubicBezTo>
                  <a:cubicBezTo>
                    <a:pt x="124" y="24"/>
                    <a:pt x="124" y="24"/>
                    <a:pt x="124" y="24"/>
                  </a:cubicBezTo>
                  <a:cubicBezTo>
                    <a:pt x="124" y="24"/>
                    <a:pt x="135" y="24"/>
                    <a:pt x="135" y="13"/>
                  </a:cubicBezTo>
                  <a:cubicBezTo>
                    <a:pt x="135" y="11"/>
                    <a:pt x="135" y="11"/>
                    <a:pt x="135" y="11"/>
                  </a:cubicBezTo>
                  <a:cubicBezTo>
                    <a:pt x="135" y="11"/>
                    <a:pt x="135" y="0"/>
                    <a:pt x="124" y="0"/>
                  </a:cubicBezTo>
                  <a:cubicBezTo>
                    <a:pt x="72" y="0"/>
                    <a:pt x="72" y="0"/>
                    <a:pt x="72" y="0"/>
                  </a:cubicBezTo>
                  <a:lnTo>
                    <a:pt x="11" y="0"/>
                  </a:lnTo>
                  <a:close/>
                </a:path>
              </a:pathLst>
            </a:custGeom>
            <a:solidFill>
              <a:srgbClr val="409A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9" name="Oval 56"/>
            <p:cNvSpPr>
              <a:spLocks noChangeArrowheads="1"/>
            </p:cNvSpPr>
            <p:nvPr/>
          </p:nvSpPr>
          <p:spPr bwMode="auto">
            <a:xfrm>
              <a:off x="10502900" y="679450"/>
              <a:ext cx="12700" cy="12700"/>
            </a:xfrm>
            <a:prstGeom prst="ellipse">
              <a:avLst/>
            </a:prstGeom>
            <a:solidFill>
              <a:srgbClr val="40CD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0" name="Oval 57"/>
            <p:cNvSpPr>
              <a:spLocks noChangeArrowheads="1"/>
            </p:cNvSpPr>
            <p:nvPr/>
          </p:nvSpPr>
          <p:spPr bwMode="auto">
            <a:xfrm>
              <a:off x="10502900" y="719138"/>
              <a:ext cx="12700" cy="12700"/>
            </a:xfrm>
            <a:prstGeom prst="ellipse">
              <a:avLst/>
            </a:prstGeom>
            <a:solidFill>
              <a:srgbClr val="40CD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1" name="Oval 58"/>
            <p:cNvSpPr>
              <a:spLocks noChangeArrowheads="1"/>
            </p:cNvSpPr>
            <p:nvPr/>
          </p:nvSpPr>
          <p:spPr bwMode="auto">
            <a:xfrm>
              <a:off x="10502900" y="758825"/>
              <a:ext cx="12700" cy="14288"/>
            </a:xfrm>
            <a:prstGeom prst="ellipse">
              <a:avLst/>
            </a:prstGeom>
            <a:solidFill>
              <a:srgbClr val="40CD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2" name="Oval 59"/>
            <p:cNvSpPr>
              <a:spLocks noChangeArrowheads="1"/>
            </p:cNvSpPr>
            <p:nvPr/>
          </p:nvSpPr>
          <p:spPr bwMode="auto">
            <a:xfrm>
              <a:off x="10502900" y="798513"/>
              <a:ext cx="12700" cy="12700"/>
            </a:xfrm>
            <a:prstGeom prst="ellipse">
              <a:avLst/>
            </a:prstGeom>
            <a:solidFill>
              <a:srgbClr val="40CD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3" name="Oval 60"/>
            <p:cNvSpPr>
              <a:spLocks noChangeArrowheads="1"/>
            </p:cNvSpPr>
            <p:nvPr/>
          </p:nvSpPr>
          <p:spPr bwMode="auto">
            <a:xfrm>
              <a:off x="10502900" y="839788"/>
              <a:ext cx="12700" cy="11113"/>
            </a:xfrm>
            <a:prstGeom prst="ellipse">
              <a:avLst/>
            </a:prstGeom>
            <a:solidFill>
              <a:srgbClr val="40CD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4" name="Oval 61"/>
            <p:cNvSpPr>
              <a:spLocks noChangeArrowheads="1"/>
            </p:cNvSpPr>
            <p:nvPr/>
          </p:nvSpPr>
          <p:spPr bwMode="auto">
            <a:xfrm>
              <a:off x="10502900" y="879475"/>
              <a:ext cx="12700" cy="12700"/>
            </a:xfrm>
            <a:prstGeom prst="ellipse">
              <a:avLst/>
            </a:prstGeom>
            <a:solidFill>
              <a:srgbClr val="40CD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5" name="Oval 62"/>
            <p:cNvSpPr>
              <a:spLocks noChangeArrowheads="1"/>
            </p:cNvSpPr>
            <p:nvPr/>
          </p:nvSpPr>
          <p:spPr bwMode="auto">
            <a:xfrm>
              <a:off x="10502900" y="919163"/>
              <a:ext cx="12700" cy="12700"/>
            </a:xfrm>
            <a:prstGeom prst="ellipse">
              <a:avLst/>
            </a:prstGeom>
            <a:solidFill>
              <a:srgbClr val="40CD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6" name="Oval 63"/>
            <p:cNvSpPr>
              <a:spLocks noChangeArrowheads="1"/>
            </p:cNvSpPr>
            <p:nvPr/>
          </p:nvSpPr>
          <p:spPr bwMode="auto">
            <a:xfrm>
              <a:off x="10502900" y="958850"/>
              <a:ext cx="12700" cy="12700"/>
            </a:xfrm>
            <a:prstGeom prst="ellipse">
              <a:avLst/>
            </a:prstGeom>
            <a:solidFill>
              <a:srgbClr val="40CD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7" name="Freeform 64"/>
            <p:cNvSpPr>
              <a:spLocks/>
            </p:cNvSpPr>
            <p:nvPr/>
          </p:nvSpPr>
          <p:spPr bwMode="auto">
            <a:xfrm>
              <a:off x="9818688" y="1470025"/>
              <a:ext cx="603250" cy="300038"/>
            </a:xfrm>
            <a:custGeom>
              <a:avLst/>
              <a:gdLst>
                <a:gd name="T0" fmla="*/ 21 w 633"/>
                <a:gd name="T1" fmla="*/ 316 h 316"/>
                <a:gd name="T2" fmla="*/ 0 w 633"/>
                <a:gd name="T3" fmla="*/ 245 h 316"/>
                <a:gd name="T4" fmla="*/ 131 w 633"/>
                <a:gd name="T5" fmla="*/ 114 h 316"/>
                <a:gd name="T6" fmla="*/ 168 w 633"/>
                <a:gd name="T7" fmla="*/ 119 h 316"/>
                <a:gd name="T8" fmla="*/ 345 w 633"/>
                <a:gd name="T9" fmla="*/ 0 h 316"/>
                <a:gd name="T10" fmla="*/ 536 w 633"/>
                <a:gd name="T11" fmla="*/ 180 h 316"/>
                <a:gd name="T12" fmla="*/ 633 w 633"/>
                <a:gd name="T13" fmla="*/ 280 h 316"/>
                <a:gd name="T14" fmla="*/ 626 w 633"/>
                <a:gd name="T15" fmla="*/ 316 h 316"/>
                <a:gd name="T16" fmla="*/ 21 w 633"/>
                <a:gd name="T17" fmla="*/ 316 h 3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3" h="316">
                  <a:moveTo>
                    <a:pt x="21" y="316"/>
                  </a:moveTo>
                  <a:cubicBezTo>
                    <a:pt x="8" y="295"/>
                    <a:pt x="0" y="271"/>
                    <a:pt x="0" y="245"/>
                  </a:cubicBezTo>
                  <a:cubicBezTo>
                    <a:pt x="0" y="172"/>
                    <a:pt x="59" y="114"/>
                    <a:pt x="131" y="114"/>
                  </a:cubicBezTo>
                  <a:cubicBezTo>
                    <a:pt x="144" y="114"/>
                    <a:pt x="156" y="116"/>
                    <a:pt x="168" y="119"/>
                  </a:cubicBezTo>
                  <a:cubicBezTo>
                    <a:pt x="196" y="49"/>
                    <a:pt x="265" y="0"/>
                    <a:pt x="345" y="0"/>
                  </a:cubicBezTo>
                  <a:cubicBezTo>
                    <a:pt x="447" y="0"/>
                    <a:pt x="531" y="80"/>
                    <a:pt x="536" y="180"/>
                  </a:cubicBezTo>
                  <a:cubicBezTo>
                    <a:pt x="590" y="181"/>
                    <a:pt x="633" y="225"/>
                    <a:pt x="633" y="280"/>
                  </a:cubicBezTo>
                  <a:cubicBezTo>
                    <a:pt x="633" y="292"/>
                    <a:pt x="631" y="304"/>
                    <a:pt x="626" y="316"/>
                  </a:cubicBezTo>
                  <a:lnTo>
                    <a:pt x="21" y="31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8" name="Freeform 65"/>
            <p:cNvSpPr>
              <a:spLocks/>
            </p:cNvSpPr>
            <p:nvPr/>
          </p:nvSpPr>
          <p:spPr bwMode="auto">
            <a:xfrm>
              <a:off x="10583863" y="1443038"/>
              <a:ext cx="147638" cy="125413"/>
            </a:xfrm>
            <a:custGeom>
              <a:avLst/>
              <a:gdLst>
                <a:gd name="T0" fmla="*/ 74 w 93"/>
                <a:gd name="T1" fmla="*/ 79 h 79"/>
                <a:gd name="T2" fmla="*/ 93 w 93"/>
                <a:gd name="T3" fmla="*/ 53 h 79"/>
                <a:gd name="T4" fmla="*/ 18 w 93"/>
                <a:gd name="T5" fmla="*/ 0 h 79"/>
                <a:gd name="T6" fmla="*/ 0 w 93"/>
                <a:gd name="T7" fmla="*/ 26 h 79"/>
                <a:gd name="T8" fmla="*/ 74 w 93"/>
                <a:gd name="T9" fmla="*/ 79 h 79"/>
              </a:gdLst>
              <a:ahLst/>
              <a:cxnLst>
                <a:cxn ang="0">
                  <a:pos x="T0" y="T1"/>
                </a:cxn>
                <a:cxn ang="0">
                  <a:pos x="T2" y="T3"/>
                </a:cxn>
                <a:cxn ang="0">
                  <a:pos x="T4" y="T5"/>
                </a:cxn>
                <a:cxn ang="0">
                  <a:pos x="T6" y="T7"/>
                </a:cxn>
                <a:cxn ang="0">
                  <a:pos x="T8" y="T9"/>
                </a:cxn>
              </a:cxnLst>
              <a:rect l="0" t="0" r="r" b="b"/>
              <a:pathLst>
                <a:path w="93" h="79">
                  <a:moveTo>
                    <a:pt x="74" y="79"/>
                  </a:moveTo>
                  <a:lnTo>
                    <a:pt x="93" y="53"/>
                  </a:lnTo>
                  <a:lnTo>
                    <a:pt x="18" y="0"/>
                  </a:lnTo>
                  <a:lnTo>
                    <a:pt x="0" y="26"/>
                  </a:lnTo>
                  <a:lnTo>
                    <a:pt x="74" y="7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9" name="Freeform 66"/>
            <p:cNvSpPr>
              <a:spLocks/>
            </p:cNvSpPr>
            <p:nvPr/>
          </p:nvSpPr>
          <p:spPr bwMode="auto">
            <a:xfrm>
              <a:off x="10031413" y="606425"/>
              <a:ext cx="288925" cy="203200"/>
            </a:xfrm>
            <a:custGeom>
              <a:avLst/>
              <a:gdLst>
                <a:gd name="T0" fmla="*/ 226 w 302"/>
                <a:gd name="T1" fmla="*/ 13 h 215"/>
                <a:gd name="T2" fmla="*/ 112 w 302"/>
                <a:gd name="T3" fmla="*/ 75 h 215"/>
                <a:gd name="T4" fmla="*/ 115 w 302"/>
                <a:gd name="T5" fmla="*/ 135 h 215"/>
                <a:gd name="T6" fmla="*/ 64 w 302"/>
                <a:gd name="T7" fmla="*/ 161 h 215"/>
                <a:gd name="T8" fmla="*/ 10 w 302"/>
                <a:gd name="T9" fmla="*/ 188 h 215"/>
                <a:gd name="T10" fmla="*/ 5 w 302"/>
                <a:gd name="T11" fmla="*/ 203 h 215"/>
                <a:gd name="T12" fmla="*/ 5 w 302"/>
                <a:gd name="T13" fmla="*/ 205 h 215"/>
                <a:gd name="T14" fmla="*/ 21 w 302"/>
                <a:gd name="T15" fmla="*/ 209 h 215"/>
                <a:gd name="T16" fmla="*/ 127 w 302"/>
                <a:gd name="T17" fmla="*/ 156 h 215"/>
                <a:gd name="T18" fmla="*/ 174 w 302"/>
                <a:gd name="T19" fmla="*/ 189 h 215"/>
                <a:gd name="T20" fmla="*/ 287 w 302"/>
                <a:gd name="T21" fmla="*/ 127 h 215"/>
                <a:gd name="T22" fmla="*/ 226 w 302"/>
                <a:gd name="T23" fmla="*/ 13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02" h="215">
                  <a:moveTo>
                    <a:pt x="226" y="13"/>
                  </a:moveTo>
                  <a:cubicBezTo>
                    <a:pt x="177" y="0"/>
                    <a:pt x="126" y="27"/>
                    <a:pt x="112" y="75"/>
                  </a:cubicBezTo>
                  <a:cubicBezTo>
                    <a:pt x="106" y="96"/>
                    <a:pt x="108" y="117"/>
                    <a:pt x="115" y="135"/>
                  </a:cubicBezTo>
                  <a:cubicBezTo>
                    <a:pt x="64" y="161"/>
                    <a:pt x="64" y="161"/>
                    <a:pt x="64" y="161"/>
                  </a:cubicBezTo>
                  <a:cubicBezTo>
                    <a:pt x="10" y="188"/>
                    <a:pt x="10" y="188"/>
                    <a:pt x="10" y="188"/>
                  </a:cubicBezTo>
                  <a:cubicBezTo>
                    <a:pt x="10" y="188"/>
                    <a:pt x="0" y="193"/>
                    <a:pt x="5" y="203"/>
                  </a:cubicBezTo>
                  <a:cubicBezTo>
                    <a:pt x="5" y="205"/>
                    <a:pt x="5" y="205"/>
                    <a:pt x="5" y="205"/>
                  </a:cubicBezTo>
                  <a:cubicBezTo>
                    <a:pt x="5" y="205"/>
                    <a:pt x="10" y="215"/>
                    <a:pt x="21" y="209"/>
                  </a:cubicBezTo>
                  <a:cubicBezTo>
                    <a:pt x="127" y="156"/>
                    <a:pt x="127" y="156"/>
                    <a:pt x="127" y="156"/>
                  </a:cubicBezTo>
                  <a:cubicBezTo>
                    <a:pt x="138" y="171"/>
                    <a:pt x="154" y="183"/>
                    <a:pt x="174" y="189"/>
                  </a:cubicBezTo>
                  <a:cubicBezTo>
                    <a:pt x="222" y="203"/>
                    <a:pt x="273" y="176"/>
                    <a:pt x="287" y="127"/>
                  </a:cubicBezTo>
                  <a:cubicBezTo>
                    <a:pt x="302" y="79"/>
                    <a:pt x="274" y="28"/>
                    <a:pt x="226" y="13"/>
                  </a:cubicBez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60" name="Freeform 67"/>
            <p:cNvSpPr>
              <a:spLocks/>
            </p:cNvSpPr>
            <p:nvPr/>
          </p:nvSpPr>
          <p:spPr bwMode="auto">
            <a:xfrm>
              <a:off x="10244138" y="1682750"/>
              <a:ext cx="287338" cy="203200"/>
            </a:xfrm>
            <a:custGeom>
              <a:avLst/>
              <a:gdLst>
                <a:gd name="T0" fmla="*/ 75 w 301"/>
                <a:gd name="T1" fmla="*/ 202 h 215"/>
                <a:gd name="T2" fmla="*/ 189 w 301"/>
                <a:gd name="T3" fmla="*/ 140 h 215"/>
                <a:gd name="T4" fmla="*/ 186 w 301"/>
                <a:gd name="T5" fmla="*/ 80 h 215"/>
                <a:gd name="T6" fmla="*/ 237 w 301"/>
                <a:gd name="T7" fmla="*/ 54 h 215"/>
                <a:gd name="T8" fmla="*/ 291 w 301"/>
                <a:gd name="T9" fmla="*/ 27 h 215"/>
                <a:gd name="T10" fmla="*/ 297 w 301"/>
                <a:gd name="T11" fmla="*/ 12 h 215"/>
                <a:gd name="T12" fmla="*/ 296 w 301"/>
                <a:gd name="T13" fmla="*/ 10 h 215"/>
                <a:gd name="T14" fmla="*/ 281 w 301"/>
                <a:gd name="T15" fmla="*/ 6 h 215"/>
                <a:gd name="T16" fmla="*/ 174 w 301"/>
                <a:gd name="T17" fmla="*/ 59 h 215"/>
                <a:gd name="T18" fmla="*/ 127 w 301"/>
                <a:gd name="T19" fmla="*/ 26 h 215"/>
                <a:gd name="T20" fmla="*/ 14 w 301"/>
                <a:gd name="T21" fmla="*/ 88 h 215"/>
                <a:gd name="T22" fmla="*/ 75 w 301"/>
                <a:gd name="T23" fmla="*/ 202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01" h="215">
                  <a:moveTo>
                    <a:pt x="75" y="202"/>
                  </a:moveTo>
                  <a:cubicBezTo>
                    <a:pt x="124" y="215"/>
                    <a:pt x="175" y="188"/>
                    <a:pt x="189" y="140"/>
                  </a:cubicBezTo>
                  <a:cubicBezTo>
                    <a:pt x="195" y="119"/>
                    <a:pt x="193" y="98"/>
                    <a:pt x="186" y="80"/>
                  </a:cubicBezTo>
                  <a:cubicBezTo>
                    <a:pt x="237" y="54"/>
                    <a:pt x="237" y="54"/>
                    <a:pt x="237" y="54"/>
                  </a:cubicBezTo>
                  <a:cubicBezTo>
                    <a:pt x="291" y="27"/>
                    <a:pt x="291" y="27"/>
                    <a:pt x="291" y="27"/>
                  </a:cubicBezTo>
                  <a:cubicBezTo>
                    <a:pt x="291" y="27"/>
                    <a:pt x="301" y="22"/>
                    <a:pt x="297" y="12"/>
                  </a:cubicBezTo>
                  <a:cubicBezTo>
                    <a:pt x="296" y="10"/>
                    <a:pt x="296" y="10"/>
                    <a:pt x="296" y="10"/>
                  </a:cubicBezTo>
                  <a:cubicBezTo>
                    <a:pt x="296" y="10"/>
                    <a:pt x="291" y="0"/>
                    <a:pt x="281" y="6"/>
                  </a:cubicBezTo>
                  <a:cubicBezTo>
                    <a:pt x="174" y="59"/>
                    <a:pt x="174" y="59"/>
                    <a:pt x="174" y="59"/>
                  </a:cubicBezTo>
                  <a:cubicBezTo>
                    <a:pt x="163" y="44"/>
                    <a:pt x="146" y="32"/>
                    <a:pt x="127" y="26"/>
                  </a:cubicBezTo>
                  <a:cubicBezTo>
                    <a:pt x="79" y="12"/>
                    <a:pt x="28" y="39"/>
                    <a:pt x="14" y="88"/>
                  </a:cubicBezTo>
                  <a:cubicBezTo>
                    <a:pt x="0" y="136"/>
                    <a:pt x="27" y="187"/>
                    <a:pt x="75" y="202"/>
                  </a:cubicBez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61" name="Freeform 68"/>
            <p:cNvSpPr>
              <a:spLocks/>
            </p:cNvSpPr>
            <p:nvPr/>
          </p:nvSpPr>
          <p:spPr bwMode="auto">
            <a:xfrm>
              <a:off x="10258425" y="1708150"/>
              <a:ext cx="165100" cy="163513"/>
            </a:xfrm>
            <a:custGeom>
              <a:avLst/>
              <a:gdLst>
                <a:gd name="T0" fmla="*/ 108 w 173"/>
                <a:gd name="T1" fmla="*/ 13 h 173"/>
                <a:gd name="T2" fmla="*/ 12 w 173"/>
                <a:gd name="T3" fmla="*/ 65 h 173"/>
                <a:gd name="T4" fmla="*/ 64 w 173"/>
                <a:gd name="T5" fmla="*/ 161 h 173"/>
                <a:gd name="T6" fmla="*/ 160 w 173"/>
                <a:gd name="T7" fmla="*/ 109 h 173"/>
                <a:gd name="T8" fmla="*/ 108 w 173"/>
                <a:gd name="T9" fmla="*/ 13 h 173"/>
              </a:gdLst>
              <a:ahLst/>
              <a:cxnLst>
                <a:cxn ang="0">
                  <a:pos x="T0" y="T1"/>
                </a:cxn>
                <a:cxn ang="0">
                  <a:pos x="T2" y="T3"/>
                </a:cxn>
                <a:cxn ang="0">
                  <a:pos x="T4" y="T5"/>
                </a:cxn>
                <a:cxn ang="0">
                  <a:pos x="T6" y="T7"/>
                </a:cxn>
                <a:cxn ang="0">
                  <a:pos x="T8" y="T9"/>
                </a:cxn>
              </a:cxnLst>
              <a:rect l="0" t="0" r="r" b="b"/>
              <a:pathLst>
                <a:path w="173" h="173">
                  <a:moveTo>
                    <a:pt x="108" y="13"/>
                  </a:moveTo>
                  <a:cubicBezTo>
                    <a:pt x="67" y="0"/>
                    <a:pt x="24" y="24"/>
                    <a:pt x="12" y="65"/>
                  </a:cubicBezTo>
                  <a:cubicBezTo>
                    <a:pt x="0" y="106"/>
                    <a:pt x="24" y="149"/>
                    <a:pt x="64" y="161"/>
                  </a:cubicBezTo>
                  <a:cubicBezTo>
                    <a:pt x="105" y="173"/>
                    <a:pt x="148" y="150"/>
                    <a:pt x="160" y="109"/>
                  </a:cubicBezTo>
                  <a:cubicBezTo>
                    <a:pt x="173" y="68"/>
                    <a:pt x="149" y="25"/>
                    <a:pt x="108" y="13"/>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62" name="Oval 69"/>
            <p:cNvSpPr>
              <a:spLocks noChangeArrowheads="1"/>
            </p:cNvSpPr>
            <p:nvPr/>
          </p:nvSpPr>
          <p:spPr bwMode="auto">
            <a:xfrm>
              <a:off x="10148888" y="628650"/>
              <a:ext cx="147638" cy="146050"/>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63" name="Freeform 70"/>
            <p:cNvSpPr>
              <a:spLocks noEditPoints="1"/>
            </p:cNvSpPr>
            <p:nvPr/>
          </p:nvSpPr>
          <p:spPr bwMode="auto">
            <a:xfrm>
              <a:off x="10147300" y="628650"/>
              <a:ext cx="146050" cy="146050"/>
            </a:xfrm>
            <a:custGeom>
              <a:avLst/>
              <a:gdLst>
                <a:gd name="T0" fmla="*/ 153 w 154"/>
                <a:gd name="T1" fmla="*/ 56 h 154"/>
                <a:gd name="T2" fmla="*/ 144 w 154"/>
                <a:gd name="T3" fmla="*/ 93 h 154"/>
                <a:gd name="T4" fmla="*/ 154 w 154"/>
                <a:gd name="T5" fmla="*/ 93 h 154"/>
                <a:gd name="T6" fmla="*/ 107 w 154"/>
                <a:gd name="T7" fmla="*/ 121 h 154"/>
                <a:gd name="T8" fmla="*/ 115 w 154"/>
                <a:gd name="T9" fmla="*/ 126 h 154"/>
                <a:gd name="T10" fmla="*/ 120 w 154"/>
                <a:gd name="T11" fmla="*/ 121 h 154"/>
                <a:gd name="T12" fmla="*/ 109 w 154"/>
                <a:gd name="T13" fmla="*/ 56 h 154"/>
                <a:gd name="T14" fmla="*/ 109 w 154"/>
                <a:gd name="T15" fmla="*/ 98 h 154"/>
                <a:gd name="T16" fmla="*/ 131 w 154"/>
                <a:gd name="T17" fmla="*/ 61 h 154"/>
                <a:gd name="T18" fmla="*/ 109 w 154"/>
                <a:gd name="T19" fmla="*/ 93 h 154"/>
                <a:gd name="T20" fmla="*/ 126 w 154"/>
                <a:gd name="T21" fmla="*/ 93 h 154"/>
                <a:gd name="T22" fmla="*/ 126 w 154"/>
                <a:gd name="T23" fmla="*/ 28 h 154"/>
                <a:gd name="T24" fmla="*/ 115 w 154"/>
                <a:gd name="T25" fmla="*/ 9 h 154"/>
                <a:gd name="T26" fmla="*/ 104 w 154"/>
                <a:gd name="T27" fmla="*/ 31 h 154"/>
                <a:gd name="T28" fmla="*/ 131 w 154"/>
                <a:gd name="T29" fmla="*/ 31 h 154"/>
                <a:gd name="T30" fmla="*/ 70 w 154"/>
                <a:gd name="T31" fmla="*/ 121 h 154"/>
                <a:gd name="T32" fmla="*/ 70 w 154"/>
                <a:gd name="T33" fmla="*/ 154 h 154"/>
                <a:gd name="T34" fmla="*/ 87 w 154"/>
                <a:gd name="T35" fmla="*/ 154 h 154"/>
                <a:gd name="T36" fmla="*/ 87 w 154"/>
                <a:gd name="T37" fmla="*/ 121 h 154"/>
                <a:gd name="T38" fmla="*/ 87 w 154"/>
                <a:gd name="T39" fmla="*/ 93 h 154"/>
                <a:gd name="T40" fmla="*/ 68 w 154"/>
                <a:gd name="T41" fmla="*/ 56 h 154"/>
                <a:gd name="T42" fmla="*/ 76 w 154"/>
                <a:gd name="T43" fmla="*/ 61 h 154"/>
                <a:gd name="T44" fmla="*/ 65 w 154"/>
                <a:gd name="T45" fmla="*/ 95 h 154"/>
                <a:gd name="T46" fmla="*/ 92 w 154"/>
                <a:gd name="T47" fmla="*/ 95 h 154"/>
                <a:gd name="T48" fmla="*/ 87 w 154"/>
                <a:gd name="T49" fmla="*/ 0 h 154"/>
                <a:gd name="T50" fmla="*/ 70 w 154"/>
                <a:gd name="T51" fmla="*/ 0 h 154"/>
                <a:gd name="T52" fmla="*/ 70 w 154"/>
                <a:gd name="T53" fmla="*/ 33 h 154"/>
                <a:gd name="T54" fmla="*/ 92 w 154"/>
                <a:gd name="T55" fmla="*/ 1 h 154"/>
                <a:gd name="T56" fmla="*/ 32 w 154"/>
                <a:gd name="T57" fmla="*/ 121 h 154"/>
                <a:gd name="T58" fmla="*/ 32 w 154"/>
                <a:gd name="T59" fmla="*/ 138 h 154"/>
                <a:gd name="T60" fmla="*/ 48 w 154"/>
                <a:gd name="T61" fmla="*/ 148 h 154"/>
                <a:gd name="T62" fmla="*/ 48 w 154"/>
                <a:gd name="T63" fmla="*/ 121 h 154"/>
                <a:gd name="T64" fmla="*/ 26 w 154"/>
                <a:gd name="T65" fmla="*/ 61 h 154"/>
                <a:gd name="T66" fmla="*/ 48 w 154"/>
                <a:gd name="T67" fmla="*/ 98 h 154"/>
                <a:gd name="T68" fmla="*/ 48 w 154"/>
                <a:gd name="T69" fmla="*/ 56 h 154"/>
                <a:gd name="T70" fmla="*/ 32 w 154"/>
                <a:gd name="T71" fmla="*/ 61 h 154"/>
                <a:gd name="T72" fmla="*/ 50 w 154"/>
                <a:gd name="T73" fmla="*/ 14 h 154"/>
                <a:gd name="T74" fmla="*/ 42 w 154"/>
                <a:gd name="T75" fmla="*/ 28 h 154"/>
                <a:gd name="T76" fmla="*/ 37 w 154"/>
                <a:gd name="T77" fmla="*/ 28 h 154"/>
                <a:gd name="T78" fmla="*/ 29 w 154"/>
                <a:gd name="T79" fmla="*/ 33 h 154"/>
                <a:gd name="T80" fmla="*/ 53 w 154"/>
                <a:gd name="T81" fmla="*/ 17 h 154"/>
                <a:gd name="T82" fmla="*/ 8 w 154"/>
                <a:gd name="T83" fmla="*/ 82 h 154"/>
                <a:gd name="T84" fmla="*/ 3 w 154"/>
                <a:gd name="T85" fmla="*/ 60 h 154"/>
                <a:gd name="T86" fmla="*/ 14 w 154"/>
                <a:gd name="T87" fmla="*/ 95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54" h="154">
                  <a:moveTo>
                    <a:pt x="149" y="61"/>
                  </a:moveTo>
                  <a:cubicBezTo>
                    <a:pt x="154" y="61"/>
                    <a:pt x="154" y="61"/>
                    <a:pt x="154" y="61"/>
                  </a:cubicBezTo>
                  <a:cubicBezTo>
                    <a:pt x="154" y="59"/>
                    <a:pt x="154" y="58"/>
                    <a:pt x="153" y="56"/>
                  </a:cubicBezTo>
                  <a:cubicBezTo>
                    <a:pt x="149" y="56"/>
                    <a:pt x="149" y="56"/>
                    <a:pt x="149" y="56"/>
                  </a:cubicBezTo>
                  <a:cubicBezTo>
                    <a:pt x="146" y="56"/>
                    <a:pt x="144" y="58"/>
                    <a:pt x="144" y="61"/>
                  </a:cubicBezTo>
                  <a:cubicBezTo>
                    <a:pt x="144" y="93"/>
                    <a:pt x="144" y="93"/>
                    <a:pt x="144" y="93"/>
                  </a:cubicBezTo>
                  <a:cubicBezTo>
                    <a:pt x="144" y="96"/>
                    <a:pt x="146" y="98"/>
                    <a:pt x="149" y="98"/>
                  </a:cubicBezTo>
                  <a:cubicBezTo>
                    <a:pt x="153" y="98"/>
                    <a:pt x="153" y="98"/>
                    <a:pt x="153" y="98"/>
                  </a:cubicBezTo>
                  <a:cubicBezTo>
                    <a:pt x="153" y="96"/>
                    <a:pt x="154" y="95"/>
                    <a:pt x="154" y="93"/>
                  </a:cubicBezTo>
                  <a:cubicBezTo>
                    <a:pt x="149" y="93"/>
                    <a:pt x="149" y="93"/>
                    <a:pt x="149" y="93"/>
                  </a:cubicBezTo>
                  <a:cubicBezTo>
                    <a:pt x="149" y="61"/>
                    <a:pt x="149" y="61"/>
                    <a:pt x="149" y="61"/>
                  </a:cubicBezTo>
                  <a:close/>
                  <a:moveTo>
                    <a:pt x="107" y="121"/>
                  </a:moveTo>
                  <a:cubicBezTo>
                    <a:pt x="106" y="121"/>
                    <a:pt x="104" y="122"/>
                    <a:pt x="104" y="124"/>
                  </a:cubicBezTo>
                  <a:cubicBezTo>
                    <a:pt x="104" y="126"/>
                    <a:pt x="106" y="126"/>
                    <a:pt x="107" y="126"/>
                  </a:cubicBezTo>
                  <a:cubicBezTo>
                    <a:pt x="115" y="126"/>
                    <a:pt x="115" y="126"/>
                    <a:pt x="115" y="126"/>
                  </a:cubicBezTo>
                  <a:cubicBezTo>
                    <a:pt x="115" y="145"/>
                    <a:pt x="115" y="145"/>
                    <a:pt x="115" y="145"/>
                  </a:cubicBezTo>
                  <a:cubicBezTo>
                    <a:pt x="117" y="145"/>
                    <a:pt x="118" y="143"/>
                    <a:pt x="120" y="142"/>
                  </a:cubicBezTo>
                  <a:cubicBezTo>
                    <a:pt x="120" y="121"/>
                    <a:pt x="120" y="121"/>
                    <a:pt x="120" y="121"/>
                  </a:cubicBezTo>
                  <a:cubicBezTo>
                    <a:pt x="107" y="121"/>
                    <a:pt x="107" y="121"/>
                    <a:pt x="107" y="121"/>
                  </a:cubicBezTo>
                  <a:close/>
                  <a:moveTo>
                    <a:pt x="126" y="56"/>
                  </a:moveTo>
                  <a:cubicBezTo>
                    <a:pt x="109" y="56"/>
                    <a:pt x="109" y="56"/>
                    <a:pt x="109" y="56"/>
                  </a:cubicBezTo>
                  <a:cubicBezTo>
                    <a:pt x="106" y="56"/>
                    <a:pt x="104" y="58"/>
                    <a:pt x="104" y="61"/>
                  </a:cubicBezTo>
                  <a:cubicBezTo>
                    <a:pt x="104" y="93"/>
                    <a:pt x="104" y="93"/>
                    <a:pt x="104" y="93"/>
                  </a:cubicBezTo>
                  <a:cubicBezTo>
                    <a:pt x="104" y="96"/>
                    <a:pt x="106" y="98"/>
                    <a:pt x="109" y="98"/>
                  </a:cubicBezTo>
                  <a:cubicBezTo>
                    <a:pt x="126" y="98"/>
                    <a:pt x="126" y="98"/>
                    <a:pt x="126" y="98"/>
                  </a:cubicBezTo>
                  <a:cubicBezTo>
                    <a:pt x="129" y="98"/>
                    <a:pt x="131" y="96"/>
                    <a:pt x="131" y="93"/>
                  </a:cubicBezTo>
                  <a:cubicBezTo>
                    <a:pt x="131" y="61"/>
                    <a:pt x="131" y="61"/>
                    <a:pt x="131" y="61"/>
                  </a:cubicBezTo>
                  <a:cubicBezTo>
                    <a:pt x="131" y="58"/>
                    <a:pt x="129" y="56"/>
                    <a:pt x="126" y="56"/>
                  </a:cubicBezTo>
                  <a:close/>
                  <a:moveTo>
                    <a:pt x="126" y="93"/>
                  </a:moveTo>
                  <a:cubicBezTo>
                    <a:pt x="109" y="93"/>
                    <a:pt x="109" y="93"/>
                    <a:pt x="109" y="93"/>
                  </a:cubicBezTo>
                  <a:cubicBezTo>
                    <a:pt x="109" y="61"/>
                    <a:pt x="109" y="61"/>
                    <a:pt x="109" y="61"/>
                  </a:cubicBezTo>
                  <a:cubicBezTo>
                    <a:pt x="126" y="61"/>
                    <a:pt x="126" y="61"/>
                    <a:pt x="126" y="61"/>
                  </a:cubicBezTo>
                  <a:lnTo>
                    <a:pt x="126" y="93"/>
                  </a:lnTo>
                  <a:close/>
                  <a:moveTo>
                    <a:pt x="126" y="16"/>
                  </a:moveTo>
                  <a:cubicBezTo>
                    <a:pt x="126" y="16"/>
                    <a:pt x="126" y="16"/>
                    <a:pt x="126" y="17"/>
                  </a:cubicBezTo>
                  <a:cubicBezTo>
                    <a:pt x="126" y="28"/>
                    <a:pt x="126" y="28"/>
                    <a:pt x="126" y="28"/>
                  </a:cubicBezTo>
                  <a:cubicBezTo>
                    <a:pt x="120" y="28"/>
                    <a:pt x="120" y="28"/>
                    <a:pt x="120" y="28"/>
                  </a:cubicBezTo>
                  <a:cubicBezTo>
                    <a:pt x="120" y="12"/>
                    <a:pt x="120" y="12"/>
                    <a:pt x="120" y="12"/>
                  </a:cubicBezTo>
                  <a:cubicBezTo>
                    <a:pt x="118" y="11"/>
                    <a:pt x="117" y="10"/>
                    <a:pt x="115" y="9"/>
                  </a:cubicBezTo>
                  <a:cubicBezTo>
                    <a:pt x="115" y="28"/>
                    <a:pt x="115" y="28"/>
                    <a:pt x="115" y="28"/>
                  </a:cubicBezTo>
                  <a:cubicBezTo>
                    <a:pt x="107" y="28"/>
                    <a:pt x="107" y="28"/>
                    <a:pt x="107" y="28"/>
                  </a:cubicBezTo>
                  <a:cubicBezTo>
                    <a:pt x="106" y="28"/>
                    <a:pt x="104" y="28"/>
                    <a:pt x="104" y="31"/>
                  </a:cubicBezTo>
                  <a:cubicBezTo>
                    <a:pt x="104" y="32"/>
                    <a:pt x="106" y="33"/>
                    <a:pt x="107" y="33"/>
                  </a:cubicBezTo>
                  <a:cubicBezTo>
                    <a:pt x="129" y="33"/>
                    <a:pt x="129" y="33"/>
                    <a:pt x="129" y="33"/>
                  </a:cubicBezTo>
                  <a:cubicBezTo>
                    <a:pt x="130" y="33"/>
                    <a:pt x="131" y="32"/>
                    <a:pt x="131" y="31"/>
                  </a:cubicBezTo>
                  <a:cubicBezTo>
                    <a:pt x="131" y="20"/>
                    <a:pt x="131" y="20"/>
                    <a:pt x="131" y="20"/>
                  </a:cubicBezTo>
                  <a:moveTo>
                    <a:pt x="87" y="121"/>
                  </a:moveTo>
                  <a:cubicBezTo>
                    <a:pt x="70" y="121"/>
                    <a:pt x="70" y="121"/>
                    <a:pt x="70" y="121"/>
                  </a:cubicBezTo>
                  <a:cubicBezTo>
                    <a:pt x="67" y="121"/>
                    <a:pt x="65" y="123"/>
                    <a:pt x="65" y="126"/>
                  </a:cubicBezTo>
                  <a:cubicBezTo>
                    <a:pt x="65" y="153"/>
                    <a:pt x="65" y="153"/>
                    <a:pt x="65" y="153"/>
                  </a:cubicBezTo>
                  <a:cubicBezTo>
                    <a:pt x="67" y="153"/>
                    <a:pt x="69" y="154"/>
                    <a:pt x="70" y="154"/>
                  </a:cubicBezTo>
                  <a:cubicBezTo>
                    <a:pt x="70" y="126"/>
                    <a:pt x="70" y="126"/>
                    <a:pt x="70" y="126"/>
                  </a:cubicBezTo>
                  <a:cubicBezTo>
                    <a:pt x="87" y="126"/>
                    <a:pt x="87" y="126"/>
                    <a:pt x="87" y="126"/>
                  </a:cubicBezTo>
                  <a:cubicBezTo>
                    <a:pt x="87" y="154"/>
                    <a:pt x="87" y="154"/>
                    <a:pt x="87" y="154"/>
                  </a:cubicBezTo>
                  <a:cubicBezTo>
                    <a:pt x="88" y="154"/>
                    <a:pt x="90" y="154"/>
                    <a:pt x="92" y="153"/>
                  </a:cubicBezTo>
                  <a:cubicBezTo>
                    <a:pt x="92" y="126"/>
                    <a:pt x="92" y="126"/>
                    <a:pt x="92" y="126"/>
                  </a:cubicBezTo>
                  <a:cubicBezTo>
                    <a:pt x="92" y="123"/>
                    <a:pt x="90" y="121"/>
                    <a:pt x="87" y="121"/>
                  </a:cubicBezTo>
                  <a:close/>
                  <a:moveTo>
                    <a:pt x="89" y="79"/>
                  </a:moveTo>
                  <a:cubicBezTo>
                    <a:pt x="87" y="79"/>
                    <a:pt x="87" y="80"/>
                    <a:pt x="87" y="82"/>
                  </a:cubicBezTo>
                  <a:cubicBezTo>
                    <a:pt x="87" y="93"/>
                    <a:pt x="87" y="93"/>
                    <a:pt x="87" y="93"/>
                  </a:cubicBezTo>
                  <a:cubicBezTo>
                    <a:pt x="81" y="93"/>
                    <a:pt x="81" y="93"/>
                    <a:pt x="81" y="93"/>
                  </a:cubicBezTo>
                  <a:cubicBezTo>
                    <a:pt x="81" y="56"/>
                    <a:pt x="81" y="56"/>
                    <a:pt x="81" y="56"/>
                  </a:cubicBezTo>
                  <a:cubicBezTo>
                    <a:pt x="68" y="56"/>
                    <a:pt x="68" y="56"/>
                    <a:pt x="68" y="56"/>
                  </a:cubicBezTo>
                  <a:cubicBezTo>
                    <a:pt x="66" y="56"/>
                    <a:pt x="65" y="57"/>
                    <a:pt x="65" y="59"/>
                  </a:cubicBezTo>
                  <a:cubicBezTo>
                    <a:pt x="65" y="61"/>
                    <a:pt x="66" y="61"/>
                    <a:pt x="68" y="61"/>
                  </a:cubicBezTo>
                  <a:cubicBezTo>
                    <a:pt x="76" y="61"/>
                    <a:pt x="76" y="61"/>
                    <a:pt x="76" y="61"/>
                  </a:cubicBezTo>
                  <a:cubicBezTo>
                    <a:pt x="76" y="93"/>
                    <a:pt x="76" y="93"/>
                    <a:pt x="76" y="93"/>
                  </a:cubicBezTo>
                  <a:cubicBezTo>
                    <a:pt x="68" y="93"/>
                    <a:pt x="68" y="93"/>
                    <a:pt x="68" y="93"/>
                  </a:cubicBezTo>
                  <a:cubicBezTo>
                    <a:pt x="66" y="93"/>
                    <a:pt x="65" y="93"/>
                    <a:pt x="65" y="95"/>
                  </a:cubicBezTo>
                  <a:cubicBezTo>
                    <a:pt x="65" y="98"/>
                    <a:pt x="66" y="98"/>
                    <a:pt x="68" y="98"/>
                  </a:cubicBezTo>
                  <a:cubicBezTo>
                    <a:pt x="89" y="98"/>
                    <a:pt x="89" y="98"/>
                    <a:pt x="89" y="98"/>
                  </a:cubicBezTo>
                  <a:cubicBezTo>
                    <a:pt x="91" y="98"/>
                    <a:pt x="92" y="98"/>
                    <a:pt x="92" y="95"/>
                  </a:cubicBezTo>
                  <a:cubicBezTo>
                    <a:pt x="92" y="82"/>
                    <a:pt x="92" y="82"/>
                    <a:pt x="92" y="82"/>
                  </a:cubicBezTo>
                  <a:cubicBezTo>
                    <a:pt x="92" y="80"/>
                    <a:pt x="91" y="79"/>
                    <a:pt x="89" y="79"/>
                  </a:cubicBezTo>
                  <a:close/>
                  <a:moveTo>
                    <a:pt x="87" y="0"/>
                  </a:moveTo>
                  <a:cubicBezTo>
                    <a:pt x="87" y="28"/>
                    <a:pt x="87" y="28"/>
                    <a:pt x="87" y="28"/>
                  </a:cubicBezTo>
                  <a:cubicBezTo>
                    <a:pt x="70" y="28"/>
                    <a:pt x="70" y="28"/>
                    <a:pt x="70" y="28"/>
                  </a:cubicBezTo>
                  <a:cubicBezTo>
                    <a:pt x="70" y="0"/>
                    <a:pt x="70" y="0"/>
                    <a:pt x="70" y="0"/>
                  </a:cubicBezTo>
                  <a:cubicBezTo>
                    <a:pt x="69" y="1"/>
                    <a:pt x="67" y="1"/>
                    <a:pt x="65" y="1"/>
                  </a:cubicBezTo>
                  <a:cubicBezTo>
                    <a:pt x="65" y="28"/>
                    <a:pt x="65" y="28"/>
                    <a:pt x="65" y="28"/>
                  </a:cubicBezTo>
                  <a:cubicBezTo>
                    <a:pt x="65" y="31"/>
                    <a:pt x="67" y="33"/>
                    <a:pt x="70" y="33"/>
                  </a:cubicBezTo>
                  <a:cubicBezTo>
                    <a:pt x="87" y="33"/>
                    <a:pt x="87" y="33"/>
                    <a:pt x="87" y="33"/>
                  </a:cubicBezTo>
                  <a:cubicBezTo>
                    <a:pt x="90" y="33"/>
                    <a:pt x="92" y="31"/>
                    <a:pt x="92" y="28"/>
                  </a:cubicBezTo>
                  <a:cubicBezTo>
                    <a:pt x="92" y="1"/>
                    <a:pt x="92" y="1"/>
                    <a:pt x="92" y="1"/>
                  </a:cubicBezTo>
                  <a:cubicBezTo>
                    <a:pt x="90" y="1"/>
                    <a:pt x="88" y="1"/>
                    <a:pt x="87" y="0"/>
                  </a:cubicBezTo>
                  <a:close/>
                  <a:moveTo>
                    <a:pt x="48" y="121"/>
                  </a:moveTo>
                  <a:cubicBezTo>
                    <a:pt x="32" y="121"/>
                    <a:pt x="32" y="121"/>
                    <a:pt x="32" y="121"/>
                  </a:cubicBezTo>
                  <a:cubicBezTo>
                    <a:pt x="29" y="121"/>
                    <a:pt x="26" y="123"/>
                    <a:pt x="26" y="126"/>
                  </a:cubicBezTo>
                  <a:cubicBezTo>
                    <a:pt x="26" y="134"/>
                    <a:pt x="26" y="134"/>
                    <a:pt x="26" y="134"/>
                  </a:cubicBezTo>
                  <a:cubicBezTo>
                    <a:pt x="28" y="135"/>
                    <a:pt x="30" y="137"/>
                    <a:pt x="32" y="138"/>
                  </a:cubicBezTo>
                  <a:cubicBezTo>
                    <a:pt x="32" y="126"/>
                    <a:pt x="32" y="126"/>
                    <a:pt x="32" y="126"/>
                  </a:cubicBezTo>
                  <a:cubicBezTo>
                    <a:pt x="48" y="126"/>
                    <a:pt x="48" y="126"/>
                    <a:pt x="48" y="126"/>
                  </a:cubicBezTo>
                  <a:cubicBezTo>
                    <a:pt x="48" y="148"/>
                    <a:pt x="48" y="148"/>
                    <a:pt x="48" y="148"/>
                  </a:cubicBezTo>
                  <a:cubicBezTo>
                    <a:pt x="49" y="149"/>
                    <a:pt x="51" y="149"/>
                    <a:pt x="53" y="150"/>
                  </a:cubicBezTo>
                  <a:cubicBezTo>
                    <a:pt x="53" y="126"/>
                    <a:pt x="53" y="126"/>
                    <a:pt x="53" y="126"/>
                  </a:cubicBezTo>
                  <a:cubicBezTo>
                    <a:pt x="53" y="123"/>
                    <a:pt x="51" y="121"/>
                    <a:pt x="48" y="121"/>
                  </a:cubicBezTo>
                  <a:close/>
                  <a:moveTo>
                    <a:pt x="48" y="56"/>
                  </a:moveTo>
                  <a:cubicBezTo>
                    <a:pt x="32" y="56"/>
                    <a:pt x="32" y="56"/>
                    <a:pt x="32" y="56"/>
                  </a:cubicBezTo>
                  <a:cubicBezTo>
                    <a:pt x="29" y="56"/>
                    <a:pt x="26" y="58"/>
                    <a:pt x="26" y="61"/>
                  </a:cubicBezTo>
                  <a:cubicBezTo>
                    <a:pt x="26" y="93"/>
                    <a:pt x="26" y="93"/>
                    <a:pt x="26" y="93"/>
                  </a:cubicBezTo>
                  <a:cubicBezTo>
                    <a:pt x="26" y="96"/>
                    <a:pt x="29" y="98"/>
                    <a:pt x="32" y="98"/>
                  </a:cubicBezTo>
                  <a:cubicBezTo>
                    <a:pt x="48" y="98"/>
                    <a:pt x="48" y="98"/>
                    <a:pt x="48" y="98"/>
                  </a:cubicBezTo>
                  <a:cubicBezTo>
                    <a:pt x="51" y="98"/>
                    <a:pt x="53" y="96"/>
                    <a:pt x="53" y="93"/>
                  </a:cubicBezTo>
                  <a:cubicBezTo>
                    <a:pt x="53" y="61"/>
                    <a:pt x="53" y="61"/>
                    <a:pt x="53" y="61"/>
                  </a:cubicBezTo>
                  <a:cubicBezTo>
                    <a:pt x="53" y="58"/>
                    <a:pt x="51" y="56"/>
                    <a:pt x="48" y="56"/>
                  </a:cubicBezTo>
                  <a:close/>
                  <a:moveTo>
                    <a:pt x="48" y="93"/>
                  </a:moveTo>
                  <a:cubicBezTo>
                    <a:pt x="32" y="93"/>
                    <a:pt x="32" y="93"/>
                    <a:pt x="32" y="93"/>
                  </a:cubicBezTo>
                  <a:cubicBezTo>
                    <a:pt x="32" y="61"/>
                    <a:pt x="32" y="61"/>
                    <a:pt x="32" y="61"/>
                  </a:cubicBezTo>
                  <a:cubicBezTo>
                    <a:pt x="48" y="61"/>
                    <a:pt x="48" y="61"/>
                    <a:pt x="48" y="61"/>
                  </a:cubicBezTo>
                  <a:lnTo>
                    <a:pt x="48" y="93"/>
                  </a:lnTo>
                  <a:close/>
                  <a:moveTo>
                    <a:pt x="50" y="14"/>
                  </a:moveTo>
                  <a:cubicBezTo>
                    <a:pt x="48" y="14"/>
                    <a:pt x="48" y="15"/>
                    <a:pt x="48" y="17"/>
                  </a:cubicBezTo>
                  <a:cubicBezTo>
                    <a:pt x="48" y="28"/>
                    <a:pt x="48" y="28"/>
                    <a:pt x="48" y="28"/>
                  </a:cubicBezTo>
                  <a:cubicBezTo>
                    <a:pt x="42" y="28"/>
                    <a:pt x="42" y="28"/>
                    <a:pt x="42" y="28"/>
                  </a:cubicBezTo>
                  <a:cubicBezTo>
                    <a:pt x="42" y="9"/>
                    <a:pt x="42" y="9"/>
                    <a:pt x="42" y="9"/>
                  </a:cubicBezTo>
                  <a:cubicBezTo>
                    <a:pt x="41" y="10"/>
                    <a:pt x="39" y="11"/>
                    <a:pt x="37" y="12"/>
                  </a:cubicBezTo>
                  <a:cubicBezTo>
                    <a:pt x="37" y="28"/>
                    <a:pt x="37" y="28"/>
                    <a:pt x="37" y="28"/>
                  </a:cubicBezTo>
                  <a:cubicBezTo>
                    <a:pt x="29" y="28"/>
                    <a:pt x="29" y="28"/>
                    <a:pt x="29" y="28"/>
                  </a:cubicBezTo>
                  <a:cubicBezTo>
                    <a:pt x="27" y="28"/>
                    <a:pt x="26" y="28"/>
                    <a:pt x="26" y="31"/>
                  </a:cubicBezTo>
                  <a:cubicBezTo>
                    <a:pt x="26" y="32"/>
                    <a:pt x="27" y="33"/>
                    <a:pt x="29" y="33"/>
                  </a:cubicBezTo>
                  <a:cubicBezTo>
                    <a:pt x="50" y="33"/>
                    <a:pt x="50" y="33"/>
                    <a:pt x="50" y="33"/>
                  </a:cubicBezTo>
                  <a:cubicBezTo>
                    <a:pt x="52" y="33"/>
                    <a:pt x="53" y="32"/>
                    <a:pt x="53" y="31"/>
                  </a:cubicBezTo>
                  <a:cubicBezTo>
                    <a:pt x="53" y="17"/>
                    <a:pt x="53" y="17"/>
                    <a:pt x="53" y="17"/>
                  </a:cubicBezTo>
                  <a:cubicBezTo>
                    <a:pt x="53" y="15"/>
                    <a:pt x="53" y="14"/>
                    <a:pt x="50" y="14"/>
                  </a:cubicBezTo>
                  <a:close/>
                  <a:moveTo>
                    <a:pt x="11" y="79"/>
                  </a:moveTo>
                  <a:cubicBezTo>
                    <a:pt x="9" y="79"/>
                    <a:pt x="8" y="80"/>
                    <a:pt x="8" y="82"/>
                  </a:cubicBezTo>
                  <a:cubicBezTo>
                    <a:pt x="8" y="93"/>
                    <a:pt x="8" y="93"/>
                    <a:pt x="8" y="93"/>
                  </a:cubicBezTo>
                  <a:cubicBezTo>
                    <a:pt x="3" y="93"/>
                    <a:pt x="3" y="93"/>
                    <a:pt x="3" y="93"/>
                  </a:cubicBezTo>
                  <a:cubicBezTo>
                    <a:pt x="3" y="60"/>
                    <a:pt x="3" y="60"/>
                    <a:pt x="3" y="60"/>
                  </a:cubicBezTo>
                  <a:cubicBezTo>
                    <a:pt x="0" y="73"/>
                    <a:pt x="1" y="86"/>
                    <a:pt x="5" y="98"/>
                  </a:cubicBezTo>
                  <a:cubicBezTo>
                    <a:pt x="11" y="98"/>
                    <a:pt x="11" y="98"/>
                    <a:pt x="11" y="98"/>
                  </a:cubicBezTo>
                  <a:cubicBezTo>
                    <a:pt x="12" y="98"/>
                    <a:pt x="14" y="98"/>
                    <a:pt x="14" y="95"/>
                  </a:cubicBezTo>
                  <a:cubicBezTo>
                    <a:pt x="14" y="82"/>
                    <a:pt x="14" y="82"/>
                    <a:pt x="14" y="82"/>
                  </a:cubicBezTo>
                  <a:cubicBezTo>
                    <a:pt x="14" y="80"/>
                    <a:pt x="13" y="79"/>
                    <a:pt x="11" y="79"/>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64" name="Freeform 71"/>
            <p:cNvSpPr>
              <a:spLocks noEditPoints="1"/>
            </p:cNvSpPr>
            <p:nvPr/>
          </p:nvSpPr>
          <p:spPr bwMode="auto">
            <a:xfrm>
              <a:off x="10272713" y="1717675"/>
              <a:ext cx="136525" cy="146050"/>
            </a:xfrm>
            <a:custGeom>
              <a:avLst/>
              <a:gdLst>
                <a:gd name="T0" fmla="*/ 21 w 144"/>
                <a:gd name="T1" fmla="*/ 28 h 154"/>
                <a:gd name="T2" fmla="*/ 9 w 144"/>
                <a:gd name="T3" fmla="*/ 33 h 154"/>
                <a:gd name="T4" fmla="*/ 27 w 144"/>
                <a:gd name="T5" fmla="*/ 17 h 154"/>
                <a:gd name="T6" fmla="*/ 21 w 144"/>
                <a:gd name="T7" fmla="*/ 81 h 154"/>
                <a:gd name="T8" fmla="*/ 16 w 144"/>
                <a:gd name="T9" fmla="*/ 56 h 154"/>
                <a:gd name="T10" fmla="*/ 3 w 144"/>
                <a:gd name="T11" fmla="*/ 61 h 154"/>
                <a:gd name="T12" fmla="*/ 3 w 144"/>
                <a:gd name="T13" fmla="*/ 93 h 154"/>
                <a:gd name="T14" fmla="*/ 24 w 144"/>
                <a:gd name="T15" fmla="*/ 98 h 154"/>
                <a:gd name="T16" fmla="*/ 24 w 144"/>
                <a:gd name="T17" fmla="*/ 79 h 154"/>
                <a:gd name="T18" fmla="*/ 13 w 144"/>
                <a:gd name="T19" fmla="*/ 126 h 154"/>
                <a:gd name="T20" fmla="*/ 27 w 144"/>
                <a:gd name="T21" fmla="*/ 139 h 154"/>
                <a:gd name="T22" fmla="*/ 60 w 144"/>
                <a:gd name="T23" fmla="*/ 0 h 154"/>
                <a:gd name="T24" fmla="*/ 45 w 144"/>
                <a:gd name="T25" fmla="*/ 5 h 154"/>
                <a:gd name="T26" fmla="*/ 45 w 144"/>
                <a:gd name="T27" fmla="*/ 33 h 154"/>
                <a:gd name="T28" fmla="*/ 66 w 144"/>
                <a:gd name="T29" fmla="*/ 0 h 154"/>
                <a:gd name="T30" fmla="*/ 60 w 144"/>
                <a:gd name="T31" fmla="*/ 81 h 154"/>
                <a:gd name="T32" fmla="*/ 56 w 144"/>
                <a:gd name="T33" fmla="*/ 56 h 154"/>
                <a:gd name="T34" fmla="*/ 42 w 144"/>
                <a:gd name="T35" fmla="*/ 61 h 154"/>
                <a:gd name="T36" fmla="*/ 42 w 144"/>
                <a:gd name="T37" fmla="*/ 93 h 154"/>
                <a:gd name="T38" fmla="*/ 63 w 144"/>
                <a:gd name="T39" fmla="*/ 98 h 154"/>
                <a:gd name="T40" fmla="*/ 63 w 144"/>
                <a:gd name="T41" fmla="*/ 79 h 154"/>
                <a:gd name="T42" fmla="*/ 42 w 144"/>
                <a:gd name="T43" fmla="*/ 126 h 154"/>
                <a:gd name="T44" fmla="*/ 50 w 144"/>
                <a:gd name="T45" fmla="*/ 151 h 154"/>
                <a:gd name="T46" fmla="*/ 42 w 144"/>
                <a:gd name="T47" fmla="*/ 121 h 154"/>
                <a:gd name="T48" fmla="*/ 60 w 144"/>
                <a:gd name="T49" fmla="*/ 153 h 154"/>
                <a:gd name="T50" fmla="*/ 63 w 144"/>
                <a:gd name="T51" fmla="*/ 144 h 154"/>
                <a:gd name="T52" fmla="*/ 84 w 144"/>
                <a:gd name="T53" fmla="*/ 28 h 154"/>
                <a:gd name="T54" fmla="*/ 78 w 144"/>
                <a:gd name="T55" fmla="*/ 28 h 154"/>
                <a:gd name="T56" fmla="*/ 105 w 144"/>
                <a:gd name="T57" fmla="*/ 28 h 154"/>
                <a:gd name="T58" fmla="*/ 102 w 144"/>
                <a:gd name="T59" fmla="*/ 79 h 154"/>
                <a:gd name="T60" fmla="*/ 95 w 144"/>
                <a:gd name="T61" fmla="*/ 93 h 154"/>
                <a:gd name="T62" fmla="*/ 78 w 144"/>
                <a:gd name="T63" fmla="*/ 59 h 154"/>
                <a:gd name="T64" fmla="*/ 89 w 144"/>
                <a:gd name="T65" fmla="*/ 93 h 154"/>
                <a:gd name="T66" fmla="*/ 81 w 144"/>
                <a:gd name="T67" fmla="*/ 98 h 154"/>
                <a:gd name="T68" fmla="*/ 105 w 144"/>
                <a:gd name="T69" fmla="*/ 81 h 154"/>
                <a:gd name="T70" fmla="*/ 84 w 144"/>
                <a:gd name="T71" fmla="*/ 121 h 154"/>
                <a:gd name="T72" fmla="*/ 84 w 144"/>
                <a:gd name="T73" fmla="*/ 153 h 154"/>
                <a:gd name="T74" fmla="*/ 100 w 144"/>
                <a:gd name="T75" fmla="*/ 149 h 154"/>
                <a:gd name="T76" fmla="*/ 100 w 144"/>
                <a:gd name="T77" fmla="*/ 121 h 154"/>
                <a:gd name="T78" fmla="*/ 84 w 144"/>
                <a:gd name="T79" fmla="*/ 153 h 154"/>
                <a:gd name="T80" fmla="*/ 120 w 144"/>
                <a:gd name="T81" fmla="*/ 28 h 154"/>
                <a:gd name="T82" fmla="*/ 136 w 144"/>
                <a:gd name="T83" fmla="*/ 33 h 154"/>
                <a:gd name="T84" fmla="*/ 123 w 144"/>
                <a:gd name="T85" fmla="*/ 56 h 154"/>
                <a:gd name="T86" fmla="*/ 123 w 144"/>
                <a:gd name="T87" fmla="*/ 98 h 154"/>
                <a:gd name="T88" fmla="*/ 144 w 144"/>
                <a:gd name="T89" fmla="*/ 61 h 154"/>
                <a:gd name="T90" fmla="*/ 123 w 144"/>
                <a:gd name="T91" fmla="*/ 93 h 154"/>
                <a:gd name="T92" fmla="*/ 139 w 144"/>
                <a:gd name="T93" fmla="*/ 93 h 154"/>
                <a:gd name="T94" fmla="*/ 117 w 144"/>
                <a:gd name="T95" fmla="*/ 139 h 154"/>
                <a:gd name="T96" fmla="*/ 131 w 144"/>
                <a:gd name="T97" fmla="*/ 126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44" h="154">
                  <a:moveTo>
                    <a:pt x="26" y="15"/>
                  </a:moveTo>
                  <a:cubicBezTo>
                    <a:pt x="25" y="16"/>
                    <a:pt x="23" y="17"/>
                    <a:pt x="21" y="19"/>
                  </a:cubicBezTo>
                  <a:cubicBezTo>
                    <a:pt x="21" y="28"/>
                    <a:pt x="21" y="28"/>
                    <a:pt x="21" y="28"/>
                  </a:cubicBezTo>
                  <a:cubicBezTo>
                    <a:pt x="16" y="28"/>
                    <a:pt x="16" y="28"/>
                    <a:pt x="16" y="28"/>
                  </a:cubicBezTo>
                  <a:cubicBezTo>
                    <a:pt x="16" y="24"/>
                    <a:pt x="16" y="24"/>
                    <a:pt x="16" y="24"/>
                  </a:cubicBezTo>
                  <a:cubicBezTo>
                    <a:pt x="13" y="27"/>
                    <a:pt x="11" y="30"/>
                    <a:pt x="9" y="33"/>
                  </a:cubicBezTo>
                  <a:cubicBezTo>
                    <a:pt x="24" y="33"/>
                    <a:pt x="24" y="33"/>
                    <a:pt x="24" y="33"/>
                  </a:cubicBezTo>
                  <a:cubicBezTo>
                    <a:pt x="26" y="33"/>
                    <a:pt x="27" y="32"/>
                    <a:pt x="27" y="30"/>
                  </a:cubicBezTo>
                  <a:cubicBezTo>
                    <a:pt x="27" y="17"/>
                    <a:pt x="27" y="17"/>
                    <a:pt x="27" y="17"/>
                  </a:cubicBezTo>
                  <a:cubicBezTo>
                    <a:pt x="27" y="16"/>
                    <a:pt x="27" y="15"/>
                    <a:pt x="26" y="15"/>
                  </a:cubicBezTo>
                  <a:close/>
                  <a:moveTo>
                    <a:pt x="24" y="79"/>
                  </a:moveTo>
                  <a:cubicBezTo>
                    <a:pt x="22" y="79"/>
                    <a:pt x="21" y="80"/>
                    <a:pt x="21" y="81"/>
                  </a:cubicBezTo>
                  <a:cubicBezTo>
                    <a:pt x="21" y="93"/>
                    <a:pt x="21" y="93"/>
                    <a:pt x="21" y="93"/>
                  </a:cubicBezTo>
                  <a:cubicBezTo>
                    <a:pt x="16" y="93"/>
                    <a:pt x="16" y="93"/>
                    <a:pt x="16" y="93"/>
                  </a:cubicBezTo>
                  <a:cubicBezTo>
                    <a:pt x="16" y="56"/>
                    <a:pt x="16" y="56"/>
                    <a:pt x="16" y="56"/>
                  </a:cubicBezTo>
                  <a:cubicBezTo>
                    <a:pt x="3" y="56"/>
                    <a:pt x="3" y="56"/>
                    <a:pt x="3" y="56"/>
                  </a:cubicBezTo>
                  <a:cubicBezTo>
                    <a:pt x="2" y="56"/>
                    <a:pt x="0" y="56"/>
                    <a:pt x="0" y="59"/>
                  </a:cubicBezTo>
                  <a:cubicBezTo>
                    <a:pt x="0" y="61"/>
                    <a:pt x="2" y="61"/>
                    <a:pt x="3" y="61"/>
                  </a:cubicBezTo>
                  <a:cubicBezTo>
                    <a:pt x="11" y="61"/>
                    <a:pt x="11" y="61"/>
                    <a:pt x="11" y="61"/>
                  </a:cubicBezTo>
                  <a:cubicBezTo>
                    <a:pt x="11" y="93"/>
                    <a:pt x="11" y="93"/>
                    <a:pt x="11" y="93"/>
                  </a:cubicBezTo>
                  <a:cubicBezTo>
                    <a:pt x="3" y="93"/>
                    <a:pt x="3" y="93"/>
                    <a:pt x="3" y="93"/>
                  </a:cubicBezTo>
                  <a:cubicBezTo>
                    <a:pt x="2" y="93"/>
                    <a:pt x="0" y="93"/>
                    <a:pt x="0" y="95"/>
                  </a:cubicBezTo>
                  <a:cubicBezTo>
                    <a:pt x="0" y="97"/>
                    <a:pt x="2" y="98"/>
                    <a:pt x="3" y="98"/>
                  </a:cubicBezTo>
                  <a:cubicBezTo>
                    <a:pt x="24" y="98"/>
                    <a:pt x="24" y="98"/>
                    <a:pt x="24" y="98"/>
                  </a:cubicBezTo>
                  <a:cubicBezTo>
                    <a:pt x="26" y="98"/>
                    <a:pt x="27" y="97"/>
                    <a:pt x="27" y="95"/>
                  </a:cubicBezTo>
                  <a:cubicBezTo>
                    <a:pt x="27" y="81"/>
                    <a:pt x="27" y="81"/>
                    <a:pt x="27" y="81"/>
                  </a:cubicBezTo>
                  <a:cubicBezTo>
                    <a:pt x="27" y="80"/>
                    <a:pt x="26" y="79"/>
                    <a:pt x="24" y="79"/>
                  </a:cubicBezTo>
                  <a:close/>
                  <a:moveTo>
                    <a:pt x="21" y="121"/>
                  </a:moveTo>
                  <a:cubicBezTo>
                    <a:pt x="9" y="121"/>
                    <a:pt x="9" y="121"/>
                    <a:pt x="9" y="121"/>
                  </a:cubicBezTo>
                  <a:cubicBezTo>
                    <a:pt x="10" y="123"/>
                    <a:pt x="12" y="125"/>
                    <a:pt x="13" y="126"/>
                  </a:cubicBezTo>
                  <a:cubicBezTo>
                    <a:pt x="21" y="126"/>
                    <a:pt x="21" y="126"/>
                    <a:pt x="21" y="126"/>
                  </a:cubicBezTo>
                  <a:cubicBezTo>
                    <a:pt x="21" y="135"/>
                    <a:pt x="21" y="135"/>
                    <a:pt x="21" y="135"/>
                  </a:cubicBezTo>
                  <a:cubicBezTo>
                    <a:pt x="23" y="137"/>
                    <a:pt x="25" y="138"/>
                    <a:pt x="27" y="139"/>
                  </a:cubicBezTo>
                  <a:cubicBezTo>
                    <a:pt x="27" y="126"/>
                    <a:pt x="27" y="126"/>
                    <a:pt x="27" y="126"/>
                  </a:cubicBezTo>
                  <a:cubicBezTo>
                    <a:pt x="27" y="123"/>
                    <a:pt x="24" y="121"/>
                    <a:pt x="21" y="121"/>
                  </a:cubicBezTo>
                  <a:close/>
                  <a:moveTo>
                    <a:pt x="60" y="0"/>
                  </a:moveTo>
                  <a:cubicBezTo>
                    <a:pt x="60" y="28"/>
                    <a:pt x="60" y="28"/>
                    <a:pt x="60" y="28"/>
                  </a:cubicBezTo>
                  <a:cubicBezTo>
                    <a:pt x="45" y="28"/>
                    <a:pt x="45" y="28"/>
                    <a:pt x="45" y="28"/>
                  </a:cubicBezTo>
                  <a:cubicBezTo>
                    <a:pt x="45" y="5"/>
                    <a:pt x="45" y="5"/>
                    <a:pt x="45" y="5"/>
                  </a:cubicBezTo>
                  <a:cubicBezTo>
                    <a:pt x="43" y="5"/>
                    <a:pt x="41" y="6"/>
                    <a:pt x="39" y="7"/>
                  </a:cubicBezTo>
                  <a:cubicBezTo>
                    <a:pt x="39" y="28"/>
                    <a:pt x="39" y="28"/>
                    <a:pt x="39" y="28"/>
                  </a:cubicBezTo>
                  <a:cubicBezTo>
                    <a:pt x="39" y="31"/>
                    <a:pt x="42" y="33"/>
                    <a:pt x="45" y="33"/>
                  </a:cubicBezTo>
                  <a:cubicBezTo>
                    <a:pt x="60" y="33"/>
                    <a:pt x="60" y="33"/>
                    <a:pt x="60" y="33"/>
                  </a:cubicBezTo>
                  <a:cubicBezTo>
                    <a:pt x="63" y="33"/>
                    <a:pt x="66" y="31"/>
                    <a:pt x="66" y="28"/>
                  </a:cubicBezTo>
                  <a:cubicBezTo>
                    <a:pt x="66" y="0"/>
                    <a:pt x="66" y="0"/>
                    <a:pt x="66" y="0"/>
                  </a:cubicBezTo>
                  <a:cubicBezTo>
                    <a:pt x="64" y="0"/>
                    <a:pt x="62" y="0"/>
                    <a:pt x="60" y="0"/>
                  </a:cubicBezTo>
                  <a:close/>
                  <a:moveTo>
                    <a:pt x="63" y="79"/>
                  </a:moveTo>
                  <a:cubicBezTo>
                    <a:pt x="62" y="79"/>
                    <a:pt x="60" y="80"/>
                    <a:pt x="60" y="81"/>
                  </a:cubicBezTo>
                  <a:cubicBezTo>
                    <a:pt x="60" y="93"/>
                    <a:pt x="60" y="93"/>
                    <a:pt x="60" y="93"/>
                  </a:cubicBezTo>
                  <a:cubicBezTo>
                    <a:pt x="56" y="93"/>
                    <a:pt x="56" y="93"/>
                    <a:pt x="56" y="93"/>
                  </a:cubicBezTo>
                  <a:cubicBezTo>
                    <a:pt x="56" y="56"/>
                    <a:pt x="56" y="56"/>
                    <a:pt x="56" y="56"/>
                  </a:cubicBezTo>
                  <a:cubicBezTo>
                    <a:pt x="42" y="56"/>
                    <a:pt x="42" y="56"/>
                    <a:pt x="42" y="56"/>
                  </a:cubicBezTo>
                  <a:cubicBezTo>
                    <a:pt x="41" y="56"/>
                    <a:pt x="39" y="56"/>
                    <a:pt x="39" y="59"/>
                  </a:cubicBezTo>
                  <a:cubicBezTo>
                    <a:pt x="39" y="61"/>
                    <a:pt x="41" y="61"/>
                    <a:pt x="42" y="61"/>
                  </a:cubicBezTo>
                  <a:cubicBezTo>
                    <a:pt x="50" y="61"/>
                    <a:pt x="50" y="61"/>
                    <a:pt x="50" y="61"/>
                  </a:cubicBezTo>
                  <a:cubicBezTo>
                    <a:pt x="50" y="93"/>
                    <a:pt x="50" y="93"/>
                    <a:pt x="50" y="93"/>
                  </a:cubicBezTo>
                  <a:cubicBezTo>
                    <a:pt x="42" y="93"/>
                    <a:pt x="42" y="93"/>
                    <a:pt x="42" y="93"/>
                  </a:cubicBezTo>
                  <a:cubicBezTo>
                    <a:pt x="41" y="93"/>
                    <a:pt x="39" y="93"/>
                    <a:pt x="39" y="95"/>
                  </a:cubicBezTo>
                  <a:cubicBezTo>
                    <a:pt x="39" y="97"/>
                    <a:pt x="41" y="98"/>
                    <a:pt x="42" y="98"/>
                  </a:cubicBezTo>
                  <a:cubicBezTo>
                    <a:pt x="63" y="98"/>
                    <a:pt x="63" y="98"/>
                    <a:pt x="63" y="98"/>
                  </a:cubicBezTo>
                  <a:cubicBezTo>
                    <a:pt x="65" y="98"/>
                    <a:pt x="66" y="97"/>
                    <a:pt x="66" y="95"/>
                  </a:cubicBezTo>
                  <a:cubicBezTo>
                    <a:pt x="66" y="81"/>
                    <a:pt x="66" y="81"/>
                    <a:pt x="66" y="81"/>
                  </a:cubicBezTo>
                  <a:cubicBezTo>
                    <a:pt x="66" y="80"/>
                    <a:pt x="65" y="79"/>
                    <a:pt x="63" y="79"/>
                  </a:cubicBezTo>
                  <a:close/>
                  <a:moveTo>
                    <a:pt x="42" y="121"/>
                  </a:moveTo>
                  <a:cubicBezTo>
                    <a:pt x="41" y="121"/>
                    <a:pt x="39" y="122"/>
                    <a:pt x="39" y="123"/>
                  </a:cubicBezTo>
                  <a:cubicBezTo>
                    <a:pt x="39" y="126"/>
                    <a:pt x="41" y="126"/>
                    <a:pt x="42" y="126"/>
                  </a:cubicBezTo>
                  <a:cubicBezTo>
                    <a:pt x="50" y="126"/>
                    <a:pt x="50" y="126"/>
                    <a:pt x="50" y="126"/>
                  </a:cubicBezTo>
                  <a:cubicBezTo>
                    <a:pt x="50" y="151"/>
                    <a:pt x="50" y="151"/>
                    <a:pt x="50" y="151"/>
                  </a:cubicBezTo>
                  <a:cubicBezTo>
                    <a:pt x="50" y="151"/>
                    <a:pt x="50" y="151"/>
                    <a:pt x="50" y="151"/>
                  </a:cubicBezTo>
                  <a:cubicBezTo>
                    <a:pt x="52" y="151"/>
                    <a:pt x="54" y="152"/>
                    <a:pt x="56" y="152"/>
                  </a:cubicBezTo>
                  <a:cubicBezTo>
                    <a:pt x="56" y="121"/>
                    <a:pt x="56" y="121"/>
                    <a:pt x="56" y="121"/>
                  </a:cubicBezTo>
                  <a:cubicBezTo>
                    <a:pt x="42" y="121"/>
                    <a:pt x="42" y="121"/>
                    <a:pt x="42" y="121"/>
                  </a:cubicBezTo>
                  <a:close/>
                  <a:moveTo>
                    <a:pt x="63" y="144"/>
                  </a:moveTo>
                  <a:cubicBezTo>
                    <a:pt x="62" y="144"/>
                    <a:pt x="60" y="145"/>
                    <a:pt x="60" y="147"/>
                  </a:cubicBezTo>
                  <a:cubicBezTo>
                    <a:pt x="60" y="153"/>
                    <a:pt x="60" y="153"/>
                    <a:pt x="60" y="153"/>
                  </a:cubicBezTo>
                  <a:cubicBezTo>
                    <a:pt x="62" y="153"/>
                    <a:pt x="64" y="154"/>
                    <a:pt x="66" y="154"/>
                  </a:cubicBezTo>
                  <a:cubicBezTo>
                    <a:pt x="66" y="147"/>
                    <a:pt x="66" y="147"/>
                    <a:pt x="66" y="147"/>
                  </a:cubicBezTo>
                  <a:cubicBezTo>
                    <a:pt x="66" y="145"/>
                    <a:pt x="65" y="144"/>
                    <a:pt x="63" y="144"/>
                  </a:cubicBezTo>
                  <a:close/>
                  <a:moveTo>
                    <a:pt x="100" y="5"/>
                  </a:moveTo>
                  <a:cubicBezTo>
                    <a:pt x="100" y="28"/>
                    <a:pt x="100" y="28"/>
                    <a:pt x="100" y="28"/>
                  </a:cubicBezTo>
                  <a:cubicBezTo>
                    <a:pt x="84" y="28"/>
                    <a:pt x="84" y="28"/>
                    <a:pt x="84" y="28"/>
                  </a:cubicBezTo>
                  <a:cubicBezTo>
                    <a:pt x="84" y="1"/>
                    <a:pt x="84" y="1"/>
                    <a:pt x="84" y="1"/>
                  </a:cubicBezTo>
                  <a:cubicBezTo>
                    <a:pt x="82" y="0"/>
                    <a:pt x="80" y="0"/>
                    <a:pt x="78" y="0"/>
                  </a:cubicBezTo>
                  <a:cubicBezTo>
                    <a:pt x="78" y="28"/>
                    <a:pt x="78" y="28"/>
                    <a:pt x="78" y="28"/>
                  </a:cubicBezTo>
                  <a:cubicBezTo>
                    <a:pt x="78" y="31"/>
                    <a:pt x="81" y="33"/>
                    <a:pt x="84" y="33"/>
                  </a:cubicBezTo>
                  <a:cubicBezTo>
                    <a:pt x="100" y="33"/>
                    <a:pt x="100" y="33"/>
                    <a:pt x="100" y="33"/>
                  </a:cubicBezTo>
                  <a:cubicBezTo>
                    <a:pt x="103" y="33"/>
                    <a:pt x="105" y="31"/>
                    <a:pt x="105" y="28"/>
                  </a:cubicBezTo>
                  <a:cubicBezTo>
                    <a:pt x="105" y="7"/>
                    <a:pt x="105" y="7"/>
                    <a:pt x="105" y="7"/>
                  </a:cubicBezTo>
                  <a:cubicBezTo>
                    <a:pt x="104" y="6"/>
                    <a:pt x="102" y="6"/>
                    <a:pt x="100" y="5"/>
                  </a:cubicBezTo>
                  <a:close/>
                  <a:moveTo>
                    <a:pt x="102" y="79"/>
                  </a:moveTo>
                  <a:cubicBezTo>
                    <a:pt x="100" y="79"/>
                    <a:pt x="100" y="80"/>
                    <a:pt x="100" y="81"/>
                  </a:cubicBezTo>
                  <a:cubicBezTo>
                    <a:pt x="100" y="93"/>
                    <a:pt x="100" y="93"/>
                    <a:pt x="100" y="93"/>
                  </a:cubicBezTo>
                  <a:cubicBezTo>
                    <a:pt x="95" y="93"/>
                    <a:pt x="95" y="93"/>
                    <a:pt x="95" y="93"/>
                  </a:cubicBezTo>
                  <a:cubicBezTo>
                    <a:pt x="95" y="56"/>
                    <a:pt x="95" y="56"/>
                    <a:pt x="95" y="56"/>
                  </a:cubicBezTo>
                  <a:cubicBezTo>
                    <a:pt x="81" y="56"/>
                    <a:pt x="81" y="56"/>
                    <a:pt x="81" y="56"/>
                  </a:cubicBezTo>
                  <a:cubicBezTo>
                    <a:pt x="79" y="56"/>
                    <a:pt x="78" y="56"/>
                    <a:pt x="78" y="59"/>
                  </a:cubicBezTo>
                  <a:cubicBezTo>
                    <a:pt x="78" y="61"/>
                    <a:pt x="79" y="61"/>
                    <a:pt x="81" y="61"/>
                  </a:cubicBezTo>
                  <a:cubicBezTo>
                    <a:pt x="89" y="61"/>
                    <a:pt x="89" y="61"/>
                    <a:pt x="89" y="61"/>
                  </a:cubicBezTo>
                  <a:cubicBezTo>
                    <a:pt x="89" y="93"/>
                    <a:pt x="89" y="93"/>
                    <a:pt x="89" y="93"/>
                  </a:cubicBezTo>
                  <a:cubicBezTo>
                    <a:pt x="81" y="93"/>
                    <a:pt x="81" y="93"/>
                    <a:pt x="81" y="93"/>
                  </a:cubicBezTo>
                  <a:cubicBezTo>
                    <a:pt x="79" y="93"/>
                    <a:pt x="78" y="93"/>
                    <a:pt x="78" y="95"/>
                  </a:cubicBezTo>
                  <a:cubicBezTo>
                    <a:pt x="78" y="97"/>
                    <a:pt x="79" y="98"/>
                    <a:pt x="81" y="98"/>
                  </a:cubicBezTo>
                  <a:cubicBezTo>
                    <a:pt x="102" y="98"/>
                    <a:pt x="102" y="98"/>
                    <a:pt x="102" y="98"/>
                  </a:cubicBezTo>
                  <a:cubicBezTo>
                    <a:pt x="103" y="98"/>
                    <a:pt x="105" y="97"/>
                    <a:pt x="105" y="95"/>
                  </a:cubicBezTo>
                  <a:cubicBezTo>
                    <a:pt x="105" y="81"/>
                    <a:pt x="105" y="81"/>
                    <a:pt x="105" y="81"/>
                  </a:cubicBezTo>
                  <a:cubicBezTo>
                    <a:pt x="105" y="80"/>
                    <a:pt x="104" y="79"/>
                    <a:pt x="102" y="79"/>
                  </a:cubicBezTo>
                  <a:close/>
                  <a:moveTo>
                    <a:pt x="100" y="121"/>
                  </a:moveTo>
                  <a:cubicBezTo>
                    <a:pt x="84" y="121"/>
                    <a:pt x="84" y="121"/>
                    <a:pt x="84" y="121"/>
                  </a:cubicBezTo>
                  <a:cubicBezTo>
                    <a:pt x="81" y="121"/>
                    <a:pt x="78" y="123"/>
                    <a:pt x="78" y="126"/>
                  </a:cubicBezTo>
                  <a:cubicBezTo>
                    <a:pt x="78" y="154"/>
                    <a:pt x="78" y="154"/>
                    <a:pt x="78" y="154"/>
                  </a:cubicBezTo>
                  <a:cubicBezTo>
                    <a:pt x="80" y="154"/>
                    <a:pt x="82" y="153"/>
                    <a:pt x="84" y="153"/>
                  </a:cubicBezTo>
                  <a:cubicBezTo>
                    <a:pt x="84" y="126"/>
                    <a:pt x="84" y="126"/>
                    <a:pt x="84" y="126"/>
                  </a:cubicBezTo>
                  <a:cubicBezTo>
                    <a:pt x="100" y="126"/>
                    <a:pt x="100" y="126"/>
                    <a:pt x="100" y="126"/>
                  </a:cubicBezTo>
                  <a:cubicBezTo>
                    <a:pt x="100" y="149"/>
                    <a:pt x="100" y="149"/>
                    <a:pt x="100" y="149"/>
                  </a:cubicBezTo>
                  <a:cubicBezTo>
                    <a:pt x="102" y="148"/>
                    <a:pt x="104" y="147"/>
                    <a:pt x="105" y="147"/>
                  </a:cubicBezTo>
                  <a:cubicBezTo>
                    <a:pt x="105" y="126"/>
                    <a:pt x="105" y="126"/>
                    <a:pt x="105" y="126"/>
                  </a:cubicBezTo>
                  <a:cubicBezTo>
                    <a:pt x="105" y="123"/>
                    <a:pt x="103" y="121"/>
                    <a:pt x="100" y="121"/>
                  </a:cubicBezTo>
                  <a:close/>
                  <a:moveTo>
                    <a:pt x="84" y="153"/>
                  </a:moveTo>
                  <a:cubicBezTo>
                    <a:pt x="89" y="152"/>
                    <a:pt x="95" y="151"/>
                    <a:pt x="100" y="149"/>
                  </a:cubicBezTo>
                  <a:lnTo>
                    <a:pt x="84" y="153"/>
                  </a:lnTo>
                  <a:close/>
                  <a:moveTo>
                    <a:pt x="128" y="23"/>
                  </a:moveTo>
                  <a:cubicBezTo>
                    <a:pt x="128" y="28"/>
                    <a:pt x="128" y="28"/>
                    <a:pt x="128" y="28"/>
                  </a:cubicBezTo>
                  <a:cubicBezTo>
                    <a:pt x="120" y="28"/>
                    <a:pt x="120" y="28"/>
                    <a:pt x="120" y="28"/>
                  </a:cubicBezTo>
                  <a:cubicBezTo>
                    <a:pt x="118" y="28"/>
                    <a:pt x="117" y="28"/>
                    <a:pt x="117" y="30"/>
                  </a:cubicBezTo>
                  <a:cubicBezTo>
                    <a:pt x="117" y="32"/>
                    <a:pt x="118" y="33"/>
                    <a:pt x="120" y="33"/>
                  </a:cubicBezTo>
                  <a:cubicBezTo>
                    <a:pt x="136" y="33"/>
                    <a:pt x="136" y="33"/>
                    <a:pt x="136" y="33"/>
                  </a:cubicBezTo>
                  <a:cubicBezTo>
                    <a:pt x="134" y="30"/>
                    <a:pt x="131" y="26"/>
                    <a:pt x="128" y="23"/>
                  </a:cubicBezTo>
                  <a:close/>
                  <a:moveTo>
                    <a:pt x="139" y="56"/>
                  </a:moveTo>
                  <a:cubicBezTo>
                    <a:pt x="123" y="56"/>
                    <a:pt x="123" y="56"/>
                    <a:pt x="123" y="56"/>
                  </a:cubicBezTo>
                  <a:cubicBezTo>
                    <a:pt x="120" y="56"/>
                    <a:pt x="117" y="58"/>
                    <a:pt x="117" y="61"/>
                  </a:cubicBezTo>
                  <a:cubicBezTo>
                    <a:pt x="117" y="93"/>
                    <a:pt x="117" y="93"/>
                    <a:pt x="117" y="93"/>
                  </a:cubicBezTo>
                  <a:cubicBezTo>
                    <a:pt x="117" y="96"/>
                    <a:pt x="120" y="98"/>
                    <a:pt x="123" y="98"/>
                  </a:cubicBezTo>
                  <a:cubicBezTo>
                    <a:pt x="139" y="98"/>
                    <a:pt x="139" y="98"/>
                    <a:pt x="139" y="98"/>
                  </a:cubicBezTo>
                  <a:cubicBezTo>
                    <a:pt x="142" y="98"/>
                    <a:pt x="144" y="96"/>
                    <a:pt x="144" y="93"/>
                  </a:cubicBezTo>
                  <a:cubicBezTo>
                    <a:pt x="144" y="61"/>
                    <a:pt x="144" y="61"/>
                    <a:pt x="144" y="61"/>
                  </a:cubicBezTo>
                  <a:cubicBezTo>
                    <a:pt x="144" y="58"/>
                    <a:pt x="142" y="56"/>
                    <a:pt x="139" y="56"/>
                  </a:cubicBezTo>
                  <a:close/>
                  <a:moveTo>
                    <a:pt x="139" y="93"/>
                  </a:moveTo>
                  <a:cubicBezTo>
                    <a:pt x="123" y="93"/>
                    <a:pt x="123" y="93"/>
                    <a:pt x="123" y="93"/>
                  </a:cubicBezTo>
                  <a:cubicBezTo>
                    <a:pt x="123" y="61"/>
                    <a:pt x="123" y="61"/>
                    <a:pt x="123" y="61"/>
                  </a:cubicBezTo>
                  <a:cubicBezTo>
                    <a:pt x="139" y="61"/>
                    <a:pt x="139" y="61"/>
                    <a:pt x="139" y="61"/>
                  </a:cubicBezTo>
                  <a:lnTo>
                    <a:pt x="139" y="93"/>
                  </a:lnTo>
                  <a:close/>
                  <a:moveTo>
                    <a:pt x="123" y="121"/>
                  </a:moveTo>
                  <a:cubicBezTo>
                    <a:pt x="120" y="121"/>
                    <a:pt x="117" y="123"/>
                    <a:pt x="117" y="126"/>
                  </a:cubicBezTo>
                  <a:cubicBezTo>
                    <a:pt x="117" y="139"/>
                    <a:pt x="117" y="139"/>
                    <a:pt x="117" y="139"/>
                  </a:cubicBezTo>
                  <a:cubicBezTo>
                    <a:pt x="119" y="138"/>
                    <a:pt x="121" y="137"/>
                    <a:pt x="123" y="135"/>
                  </a:cubicBezTo>
                  <a:cubicBezTo>
                    <a:pt x="123" y="126"/>
                    <a:pt x="123" y="126"/>
                    <a:pt x="123" y="126"/>
                  </a:cubicBezTo>
                  <a:cubicBezTo>
                    <a:pt x="131" y="126"/>
                    <a:pt x="131" y="126"/>
                    <a:pt x="131" y="126"/>
                  </a:cubicBezTo>
                  <a:cubicBezTo>
                    <a:pt x="133" y="125"/>
                    <a:pt x="134" y="123"/>
                    <a:pt x="135" y="121"/>
                  </a:cubicBezTo>
                  <a:cubicBezTo>
                    <a:pt x="123" y="121"/>
                    <a:pt x="123" y="121"/>
                    <a:pt x="123" y="121"/>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pic>
        <p:nvPicPr>
          <p:cNvPr id="88" name="Picture 87"/>
          <p:cNvPicPr>
            <a:picLocks noChangeAspect="1"/>
          </p:cNvPicPr>
          <p:nvPr/>
        </p:nvPicPr>
        <p:blipFill>
          <a:blip r:embed="rId9"/>
          <a:stretch>
            <a:fillRect/>
          </a:stretch>
        </p:blipFill>
        <p:spPr>
          <a:xfrm>
            <a:off x="3833211" y="1432867"/>
            <a:ext cx="785960" cy="595182"/>
          </a:xfrm>
          <a:prstGeom prst="rect">
            <a:avLst/>
          </a:prstGeom>
        </p:spPr>
      </p:pic>
      <p:cxnSp>
        <p:nvCxnSpPr>
          <p:cNvPr id="81" name="Straight Arrow Connector 80"/>
          <p:cNvCxnSpPr/>
          <p:nvPr/>
        </p:nvCxnSpPr>
        <p:spPr>
          <a:xfrm>
            <a:off x="11734800" y="2111575"/>
            <a:ext cx="0" cy="3297442"/>
          </a:xfrm>
          <a:prstGeom prst="straightConnector1">
            <a:avLst/>
          </a:prstGeom>
          <a:ln w="38100">
            <a:solidFill>
              <a:schemeClr val="accent1"/>
            </a:solidFill>
            <a:prstDash val="sysDash"/>
            <a:miter lim="800000"/>
            <a:headEnd type="none"/>
            <a:tailEnd type="triangle" w="lg" len="med"/>
          </a:ln>
        </p:spPr>
        <p:style>
          <a:lnRef idx="1">
            <a:schemeClr val="accent1"/>
          </a:lnRef>
          <a:fillRef idx="0">
            <a:schemeClr val="accent1"/>
          </a:fillRef>
          <a:effectRef idx="0">
            <a:schemeClr val="accent1"/>
          </a:effectRef>
          <a:fontRef idx="minor">
            <a:schemeClr val="tx1"/>
          </a:fontRef>
        </p:style>
      </p:cxnSp>
      <p:cxnSp>
        <p:nvCxnSpPr>
          <p:cNvPr id="85" name="Straight Arrow Connector 84"/>
          <p:cNvCxnSpPr>
            <a:stCxn id="37" idx="2"/>
          </p:cNvCxnSpPr>
          <p:nvPr/>
        </p:nvCxnSpPr>
        <p:spPr>
          <a:xfrm>
            <a:off x="10236543" y="4407173"/>
            <a:ext cx="0" cy="1008194"/>
          </a:xfrm>
          <a:prstGeom prst="straightConnector1">
            <a:avLst/>
          </a:prstGeom>
          <a:ln w="38100">
            <a:solidFill>
              <a:schemeClr val="accent1"/>
            </a:solidFill>
            <a:prstDash val="sysDash"/>
            <a:miter lim="800000"/>
            <a:headEnd type="none"/>
            <a:tailEnd type="triangle" w="lg" len="med"/>
          </a:ln>
        </p:spPr>
        <p:style>
          <a:lnRef idx="1">
            <a:schemeClr val="accent1"/>
          </a:lnRef>
          <a:fillRef idx="0">
            <a:schemeClr val="accent1"/>
          </a:fillRef>
          <a:effectRef idx="0">
            <a:schemeClr val="accent1"/>
          </a:effectRef>
          <a:fontRef idx="minor">
            <a:schemeClr val="tx1"/>
          </a:fontRef>
        </p:style>
      </p:cxnSp>
      <p:cxnSp>
        <p:nvCxnSpPr>
          <p:cNvPr id="87" name="Straight Arrow Connector 86"/>
          <p:cNvCxnSpPr>
            <a:stCxn id="35" idx="2"/>
          </p:cNvCxnSpPr>
          <p:nvPr/>
        </p:nvCxnSpPr>
        <p:spPr>
          <a:xfrm>
            <a:off x="7340828" y="4407173"/>
            <a:ext cx="0" cy="1008194"/>
          </a:xfrm>
          <a:prstGeom prst="straightConnector1">
            <a:avLst/>
          </a:prstGeom>
          <a:ln w="38100">
            <a:solidFill>
              <a:schemeClr val="accent1"/>
            </a:solidFill>
            <a:prstDash val="sysDash"/>
            <a:miter lim="800000"/>
            <a:headEnd type="none"/>
            <a:tailEnd type="triangle" w="lg" len="med"/>
          </a:ln>
        </p:spPr>
        <p:style>
          <a:lnRef idx="1">
            <a:schemeClr val="accent1"/>
          </a:lnRef>
          <a:fillRef idx="0">
            <a:schemeClr val="accent1"/>
          </a:fillRef>
          <a:effectRef idx="0">
            <a:schemeClr val="accent1"/>
          </a:effectRef>
          <a:fontRef idx="minor">
            <a:schemeClr val="tx1"/>
          </a:fontRef>
        </p:style>
      </p:cxnSp>
      <p:cxnSp>
        <p:nvCxnSpPr>
          <p:cNvPr id="89" name="Straight Arrow Connector 88"/>
          <p:cNvCxnSpPr>
            <a:stCxn id="36" idx="2"/>
          </p:cNvCxnSpPr>
          <p:nvPr/>
        </p:nvCxnSpPr>
        <p:spPr>
          <a:xfrm>
            <a:off x="4445114" y="4407173"/>
            <a:ext cx="0" cy="1008194"/>
          </a:xfrm>
          <a:prstGeom prst="straightConnector1">
            <a:avLst/>
          </a:prstGeom>
          <a:ln w="38100">
            <a:solidFill>
              <a:schemeClr val="accent1"/>
            </a:solidFill>
            <a:prstDash val="sysDash"/>
            <a:miter lim="800000"/>
            <a:headEnd type="none"/>
            <a:tailEnd type="triangle" w="lg" len="med"/>
          </a:ln>
        </p:spPr>
        <p:style>
          <a:lnRef idx="1">
            <a:schemeClr val="accent1"/>
          </a:lnRef>
          <a:fillRef idx="0">
            <a:schemeClr val="accent1"/>
          </a:fillRef>
          <a:effectRef idx="0">
            <a:schemeClr val="accent1"/>
          </a:effectRef>
          <a:fontRef idx="minor">
            <a:schemeClr val="tx1"/>
          </a:fontRef>
        </p:style>
      </p:cxnSp>
      <p:cxnSp>
        <p:nvCxnSpPr>
          <p:cNvPr id="90" name="Straight Arrow Connector 89"/>
          <p:cNvCxnSpPr>
            <a:stCxn id="32" idx="2"/>
          </p:cNvCxnSpPr>
          <p:nvPr/>
        </p:nvCxnSpPr>
        <p:spPr>
          <a:xfrm>
            <a:off x="1594394" y="4407173"/>
            <a:ext cx="0" cy="1001844"/>
          </a:xfrm>
          <a:prstGeom prst="straightConnector1">
            <a:avLst/>
          </a:prstGeom>
          <a:ln w="38100">
            <a:solidFill>
              <a:schemeClr val="accent1"/>
            </a:solidFill>
            <a:prstDash val="sysDash"/>
            <a:miter lim="800000"/>
            <a:headEnd type="none"/>
            <a:tailEnd type="triangle" w="lg" len="med"/>
          </a:ln>
        </p:spPr>
        <p:style>
          <a:lnRef idx="1">
            <a:schemeClr val="accent1"/>
          </a:lnRef>
          <a:fillRef idx="0">
            <a:schemeClr val="accent1"/>
          </a:fillRef>
          <a:effectRef idx="0">
            <a:schemeClr val="accent1"/>
          </a:effectRef>
          <a:fontRef idx="minor">
            <a:schemeClr val="tx1"/>
          </a:fontRef>
        </p:style>
      </p:cxnSp>
      <p:cxnSp>
        <p:nvCxnSpPr>
          <p:cNvPr id="98" name="Straight Arrow Connector 97"/>
          <p:cNvCxnSpPr/>
          <p:nvPr/>
        </p:nvCxnSpPr>
        <p:spPr>
          <a:xfrm>
            <a:off x="3547042" y="2111575"/>
            <a:ext cx="0" cy="1462325"/>
          </a:xfrm>
          <a:prstGeom prst="straightConnector1">
            <a:avLst/>
          </a:prstGeom>
          <a:ln w="38100">
            <a:solidFill>
              <a:schemeClr val="accent1"/>
            </a:solidFill>
            <a:prstDash val="sysDash"/>
            <a:miter lim="800000"/>
            <a:headEnd type="none"/>
            <a:tailEnd type="triangle" w="lg" len="med"/>
          </a:ln>
        </p:spPr>
        <p:style>
          <a:lnRef idx="1">
            <a:schemeClr val="accent1"/>
          </a:lnRef>
          <a:fillRef idx="0">
            <a:schemeClr val="accent1"/>
          </a:fillRef>
          <a:effectRef idx="0">
            <a:schemeClr val="accent1"/>
          </a:effectRef>
          <a:fontRef idx="minor">
            <a:schemeClr val="tx1"/>
          </a:fontRef>
        </p:style>
      </p:cxnSp>
      <p:cxnSp>
        <p:nvCxnSpPr>
          <p:cNvPr id="103" name="Straight Arrow Connector 102"/>
          <p:cNvCxnSpPr/>
          <p:nvPr/>
        </p:nvCxnSpPr>
        <p:spPr>
          <a:xfrm>
            <a:off x="673213" y="2111575"/>
            <a:ext cx="0" cy="1462325"/>
          </a:xfrm>
          <a:prstGeom prst="straightConnector1">
            <a:avLst/>
          </a:prstGeom>
          <a:ln w="38100">
            <a:solidFill>
              <a:schemeClr val="accent1"/>
            </a:solidFill>
            <a:prstDash val="sysDash"/>
            <a:miter lim="800000"/>
            <a:headEnd type="none"/>
            <a:tailEnd type="triangle" w="lg" len="med"/>
          </a:ln>
        </p:spPr>
        <p:style>
          <a:lnRef idx="1">
            <a:schemeClr val="accent1"/>
          </a:lnRef>
          <a:fillRef idx="0">
            <a:schemeClr val="accent1"/>
          </a:fillRef>
          <a:effectRef idx="0">
            <a:schemeClr val="accent1"/>
          </a:effectRef>
          <a:fontRef idx="minor">
            <a:schemeClr val="tx1"/>
          </a:fontRef>
        </p:style>
      </p:cxnSp>
      <p:cxnSp>
        <p:nvCxnSpPr>
          <p:cNvPr id="104" name="Straight Arrow Connector 103"/>
          <p:cNvCxnSpPr/>
          <p:nvPr/>
        </p:nvCxnSpPr>
        <p:spPr>
          <a:xfrm>
            <a:off x="10236543" y="2111575"/>
            <a:ext cx="0" cy="1462325"/>
          </a:xfrm>
          <a:prstGeom prst="straightConnector1">
            <a:avLst/>
          </a:prstGeom>
          <a:ln w="38100">
            <a:solidFill>
              <a:schemeClr val="accent1"/>
            </a:solidFill>
            <a:prstDash val="sysDash"/>
            <a:miter lim="800000"/>
            <a:headEnd type="none"/>
            <a:tailEnd type="triangle" w="lg" len="med"/>
          </a:ln>
        </p:spPr>
        <p:style>
          <a:lnRef idx="1">
            <a:schemeClr val="accent1"/>
          </a:lnRef>
          <a:fillRef idx="0">
            <a:schemeClr val="accent1"/>
          </a:fillRef>
          <a:effectRef idx="0">
            <a:schemeClr val="accent1"/>
          </a:effectRef>
          <a:fontRef idx="minor">
            <a:schemeClr val="tx1"/>
          </a:fontRef>
        </p:style>
      </p:cxnSp>
      <p:cxnSp>
        <p:nvCxnSpPr>
          <p:cNvPr id="108" name="Straight Arrow Connector 107"/>
          <p:cNvCxnSpPr/>
          <p:nvPr/>
        </p:nvCxnSpPr>
        <p:spPr>
          <a:xfrm>
            <a:off x="7362714" y="2111575"/>
            <a:ext cx="0" cy="1462325"/>
          </a:xfrm>
          <a:prstGeom prst="straightConnector1">
            <a:avLst/>
          </a:prstGeom>
          <a:ln w="38100">
            <a:solidFill>
              <a:schemeClr val="accent1"/>
            </a:solidFill>
            <a:prstDash val="sysDash"/>
            <a:miter lim="800000"/>
            <a:headEnd type="none"/>
            <a:tailEnd type="triangle" w="lg" len="med"/>
          </a:ln>
        </p:spPr>
        <p:style>
          <a:lnRef idx="1">
            <a:schemeClr val="accent1"/>
          </a:lnRef>
          <a:fillRef idx="0">
            <a:schemeClr val="accent1"/>
          </a:fillRef>
          <a:effectRef idx="0">
            <a:schemeClr val="accent1"/>
          </a:effectRef>
          <a:fontRef idx="minor">
            <a:schemeClr val="tx1"/>
          </a:fontRef>
        </p:style>
      </p:cxnSp>
      <p:cxnSp>
        <p:nvCxnSpPr>
          <p:cNvPr id="109" name="Straight Arrow Connector 108"/>
          <p:cNvCxnSpPr/>
          <p:nvPr/>
        </p:nvCxnSpPr>
        <p:spPr>
          <a:xfrm>
            <a:off x="1940014" y="2111575"/>
            <a:ext cx="0" cy="454131"/>
          </a:xfrm>
          <a:prstGeom prst="straightConnector1">
            <a:avLst/>
          </a:prstGeom>
          <a:ln w="38100">
            <a:solidFill>
              <a:schemeClr val="accent1"/>
            </a:solidFill>
            <a:prstDash val="sysDash"/>
            <a:miter lim="800000"/>
            <a:headEnd type="none"/>
            <a:tailEnd type="triangle" w="lg" len="med"/>
          </a:ln>
        </p:spPr>
        <p:style>
          <a:lnRef idx="1">
            <a:schemeClr val="accent1"/>
          </a:lnRef>
          <a:fillRef idx="0">
            <a:schemeClr val="accent1"/>
          </a:fillRef>
          <a:effectRef idx="0">
            <a:schemeClr val="accent1"/>
          </a:effectRef>
          <a:fontRef idx="minor">
            <a:schemeClr val="tx1"/>
          </a:fontRef>
        </p:style>
      </p:cxnSp>
      <p:cxnSp>
        <p:nvCxnSpPr>
          <p:cNvPr id="112" name="Straight Arrow Connector 111"/>
          <p:cNvCxnSpPr/>
          <p:nvPr/>
        </p:nvCxnSpPr>
        <p:spPr>
          <a:xfrm>
            <a:off x="1940014" y="3321823"/>
            <a:ext cx="0" cy="252077"/>
          </a:xfrm>
          <a:prstGeom prst="straightConnector1">
            <a:avLst/>
          </a:prstGeom>
          <a:ln w="38100">
            <a:solidFill>
              <a:schemeClr val="accent1"/>
            </a:solidFill>
            <a:prstDash val="sysDash"/>
            <a:miter lim="800000"/>
            <a:headEnd type="none"/>
            <a:tailEnd type="triangle" w="lg" len="med"/>
          </a:ln>
        </p:spPr>
        <p:style>
          <a:lnRef idx="1">
            <a:schemeClr val="accent1"/>
          </a:lnRef>
          <a:fillRef idx="0">
            <a:schemeClr val="accent1"/>
          </a:fillRef>
          <a:effectRef idx="0">
            <a:schemeClr val="accent1"/>
          </a:effectRef>
          <a:fontRef idx="minor">
            <a:schemeClr val="tx1"/>
          </a:fontRef>
        </p:style>
      </p:cxnSp>
      <p:cxnSp>
        <p:nvCxnSpPr>
          <p:cNvPr id="113" name="Straight Arrow Connector 112"/>
          <p:cNvCxnSpPr/>
          <p:nvPr/>
        </p:nvCxnSpPr>
        <p:spPr>
          <a:xfrm>
            <a:off x="4835728" y="2111575"/>
            <a:ext cx="0" cy="454131"/>
          </a:xfrm>
          <a:prstGeom prst="straightConnector1">
            <a:avLst/>
          </a:prstGeom>
          <a:ln w="38100">
            <a:solidFill>
              <a:schemeClr val="accent1"/>
            </a:solidFill>
            <a:prstDash val="sysDash"/>
            <a:miter lim="800000"/>
            <a:headEnd type="none"/>
            <a:tailEnd type="triangle" w="lg" len="med"/>
          </a:ln>
        </p:spPr>
        <p:style>
          <a:lnRef idx="1">
            <a:schemeClr val="accent1"/>
          </a:lnRef>
          <a:fillRef idx="0">
            <a:schemeClr val="accent1"/>
          </a:fillRef>
          <a:effectRef idx="0">
            <a:schemeClr val="accent1"/>
          </a:effectRef>
          <a:fontRef idx="minor">
            <a:schemeClr val="tx1"/>
          </a:fontRef>
        </p:style>
      </p:cxnSp>
      <p:cxnSp>
        <p:nvCxnSpPr>
          <p:cNvPr id="114" name="Straight Arrow Connector 113"/>
          <p:cNvCxnSpPr/>
          <p:nvPr/>
        </p:nvCxnSpPr>
        <p:spPr>
          <a:xfrm>
            <a:off x="4835728" y="3321823"/>
            <a:ext cx="0" cy="252077"/>
          </a:xfrm>
          <a:prstGeom prst="straightConnector1">
            <a:avLst/>
          </a:prstGeom>
          <a:ln w="38100">
            <a:solidFill>
              <a:schemeClr val="accent1"/>
            </a:solidFill>
            <a:prstDash val="sysDash"/>
            <a:miter lim="800000"/>
            <a:headEnd type="none"/>
            <a:tailEnd type="triangle" w="lg" len="med"/>
          </a:ln>
        </p:spPr>
        <p:style>
          <a:lnRef idx="1">
            <a:schemeClr val="accent1"/>
          </a:lnRef>
          <a:fillRef idx="0">
            <a:schemeClr val="accent1"/>
          </a:fillRef>
          <a:effectRef idx="0">
            <a:schemeClr val="accent1"/>
          </a:effectRef>
          <a:fontRef idx="minor">
            <a:schemeClr val="tx1"/>
          </a:fontRef>
        </p:style>
      </p:cxnSp>
      <p:sp>
        <p:nvSpPr>
          <p:cNvPr id="115" name="TextBox 114"/>
          <p:cNvSpPr txBox="1"/>
          <p:nvPr/>
        </p:nvSpPr>
        <p:spPr>
          <a:xfrm>
            <a:off x="269240" y="4496299"/>
            <a:ext cx="1048685" cy="480131"/>
          </a:xfrm>
          <a:prstGeom prst="rect">
            <a:avLst/>
          </a:prstGeom>
          <a:noFill/>
        </p:spPr>
        <p:txBody>
          <a:bodyPr wrap="none" lIns="91440" tIns="73152" rIns="91440" bIns="73152" rtlCol="0">
            <a:spAutoFit/>
          </a:bodyPr>
          <a:lstStyle/>
          <a:p>
            <a:pPr marL="0" marR="0" lvl="0" indent="0" defTabSz="896386" eaLnBrk="1" fontAlgn="auto" latinLnBrk="0" hangingPunct="1">
              <a:lnSpc>
                <a:spcPct val="90000"/>
              </a:lnSpc>
              <a:spcBef>
                <a:spcPts val="0"/>
              </a:spcBef>
              <a:spcAft>
                <a:spcPts val="588"/>
              </a:spcAft>
              <a:buClrTx/>
              <a:buSzTx/>
              <a:buFontTx/>
              <a:buNone/>
              <a:tabLst/>
              <a:defRPr/>
            </a:pPr>
            <a:r>
              <a:rPr kumimoji="0" lang="en-US" sz="1200" b="0" i="0" u="none" strike="noStrike" kern="0" cap="none" spc="0" normalizeH="0" baseline="0" noProof="0" dirty="0">
                <a:ln>
                  <a:noFill/>
                </a:ln>
                <a:gradFill>
                  <a:gsLst>
                    <a:gs pos="2917">
                      <a:schemeClr val="tx1"/>
                    </a:gs>
                    <a:gs pos="30000">
                      <a:schemeClr val="tx1"/>
                    </a:gs>
                  </a:gsLst>
                  <a:lin ang="5400000" scaled="0"/>
                </a:gradFill>
                <a:effectLst/>
                <a:uLnTx/>
                <a:uFillTx/>
              </a:rPr>
              <a:t>Only on</a:t>
            </a:r>
            <a:br>
              <a:rPr kumimoji="0" lang="en-US" sz="1200" b="0" i="0" u="none" strike="noStrike" kern="0" cap="none" spc="0" normalizeH="0" baseline="0" noProof="0" dirty="0">
                <a:ln>
                  <a:noFill/>
                </a:ln>
                <a:gradFill>
                  <a:gsLst>
                    <a:gs pos="2917">
                      <a:schemeClr val="tx1"/>
                    </a:gs>
                    <a:gs pos="30000">
                      <a:schemeClr val="tx1"/>
                    </a:gs>
                  </a:gsLst>
                  <a:lin ang="5400000" scaled="0"/>
                </a:gradFill>
                <a:effectLst/>
                <a:uLnTx/>
                <a:uFillTx/>
              </a:rPr>
            </a:br>
            <a:r>
              <a:rPr kumimoji="0" lang="en-US" sz="1200" b="0" i="0" u="none" strike="noStrike" kern="0" cap="none" spc="0" normalizeH="0" baseline="0" noProof="0" dirty="0">
                <a:ln>
                  <a:noFill/>
                </a:ln>
                <a:gradFill>
                  <a:gsLst>
                    <a:gs pos="2917">
                      <a:schemeClr val="tx1"/>
                    </a:gs>
                    <a:gs pos="30000">
                      <a:schemeClr val="tx1"/>
                    </a:gs>
                  </a:gsLst>
                  <a:lin ang="5400000" scaled="0"/>
                </a:gradFill>
                <a:effectLst/>
                <a:uLnTx/>
                <a:uFillTx/>
              </a:rPr>
              <a:t>Windows OS</a:t>
            </a:r>
          </a:p>
        </p:txBody>
      </p:sp>
    </p:spTree>
    <p:extLst>
      <p:ext uri="{BB962C8B-B14F-4D97-AF65-F5344CB8AC3E}">
        <p14:creationId xmlns:p14="http://schemas.microsoft.com/office/powerpoint/2010/main" val="126595256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31"/>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2"/>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33"/>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35"/>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34"/>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36"/>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37"/>
                                        </p:tgtEl>
                                        <p:attrNameLst>
                                          <p:attrName>style.visibility</p:attrName>
                                        </p:attrNameLst>
                                      </p:cBhvr>
                                      <p:to>
                                        <p:strVal val="visible"/>
                                      </p:to>
                                    </p:set>
                                  </p:childTnLst>
                                </p:cTn>
                              </p:par>
                            </p:childTnLst>
                          </p:cTn>
                        </p:par>
                        <p:par>
                          <p:cTn id="19" fill="hold">
                            <p:stCondLst>
                              <p:cond delay="0"/>
                            </p:stCondLst>
                            <p:childTnLst>
                              <p:par>
                                <p:cTn id="20" presetID="22" presetClass="entr" presetSubtype="8" fill="hold" nodeType="afterEffect">
                                  <p:stCondLst>
                                    <p:cond delay="0"/>
                                  </p:stCondLst>
                                  <p:childTnLst>
                                    <p:set>
                                      <p:cBhvr>
                                        <p:cTn id="21" dur="1" fill="hold">
                                          <p:stCondLst>
                                            <p:cond delay="0"/>
                                          </p:stCondLst>
                                        </p:cTn>
                                        <p:tgtEl>
                                          <p:spTgt spid="81"/>
                                        </p:tgtEl>
                                        <p:attrNameLst>
                                          <p:attrName>style.visibility</p:attrName>
                                        </p:attrNameLst>
                                      </p:cBhvr>
                                      <p:to>
                                        <p:strVal val="visible"/>
                                      </p:to>
                                    </p:set>
                                    <p:animEffect transition="in" filter="wipe(left)">
                                      <p:cBhvr>
                                        <p:cTn id="22" dur="500"/>
                                        <p:tgtEl>
                                          <p:spTgt spid="81"/>
                                        </p:tgtEl>
                                      </p:cBhvr>
                                    </p:animEffect>
                                  </p:childTnLst>
                                </p:cTn>
                              </p:par>
                              <p:par>
                                <p:cTn id="23" presetID="1" presetClass="entr" presetSubtype="0" fill="hold" grpId="0" nodeType="withEffect">
                                  <p:stCondLst>
                                    <p:cond delay="0"/>
                                  </p:stCondLst>
                                  <p:childTnLst>
                                    <p:set>
                                      <p:cBhvr>
                                        <p:cTn id="24" dur="1" fill="hold">
                                          <p:stCondLst>
                                            <p:cond delay="0"/>
                                          </p:stCondLst>
                                        </p:cTn>
                                        <p:tgtEl>
                                          <p:spTgt spid="11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1" grpId="0"/>
      <p:bldP spid="32" grpId="0" animBg="1"/>
      <p:bldP spid="33" grpId="0" animBg="1"/>
      <p:bldP spid="34" grpId="0" animBg="1"/>
      <p:bldP spid="35" grpId="0" animBg="1"/>
      <p:bldP spid="36" grpId="0" animBg="1"/>
      <p:bldP spid="37" grpId="0" animBg="1"/>
      <p:bldP spid="115" grpId="0"/>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4400"/>
              <a:t>Building pipelines - Management and orchestration</a:t>
            </a:r>
            <a:endParaRPr lang="en-US" sz="4400" dirty="0"/>
          </a:p>
        </p:txBody>
      </p:sp>
      <p:sp>
        <p:nvSpPr>
          <p:cNvPr id="35" name="Rectangle 34"/>
          <p:cNvSpPr/>
          <p:nvPr/>
        </p:nvSpPr>
        <p:spPr bwMode="auto">
          <a:xfrm>
            <a:off x="269239" y="1217385"/>
            <a:ext cx="7700206" cy="5409838"/>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5439">
                    <a:srgbClr val="F8F8F8"/>
                  </a:gs>
                  <a:gs pos="10000">
                    <a:srgbClr val="F8F8F8"/>
                  </a:gs>
                </a:gsLst>
                <a:lin ang="5400000" scaled="0"/>
              </a:gradFill>
              <a:effectLst/>
              <a:uLnTx/>
              <a:uFillTx/>
            </a:endParaRPr>
          </a:p>
        </p:txBody>
      </p:sp>
      <p:sp>
        <p:nvSpPr>
          <p:cNvPr id="40" name="Rectangle 39"/>
          <p:cNvSpPr/>
          <p:nvPr/>
        </p:nvSpPr>
        <p:spPr bwMode="auto">
          <a:xfrm>
            <a:off x="8116389" y="1217385"/>
            <a:ext cx="3808691" cy="5409838"/>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5439">
                    <a:srgbClr val="F8F8F8"/>
                  </a:gs>
                  <a:gs pos="10000">
                    <a:srgbClr val="F8F8F8"/>
                  </a:gs>
                </a:gsLst>
                <a:lin ang="5400000" scaled="0"/>
              </a:gradFill>
              <a:effectLst/>
              <a:uLnTx/>
              <a:uFillTx/>
            </a:endParaRPr>
          </a:p>
        </p:txBody>
      </p:sp>
      <p:sp>
        <p:nvSpPr>
          <p:cNvPr id="41" name="Rectangle 40"/>
          <p:cNvSpPr/>
          <p:nvPr/>
        </p:nvSpPr>
        <p:spPr bwMode="auto">
          <a:xfrm>
            <a:off x="475658" y="2809564"/>
            <a:ext cx="1408176" cy="1382825"/>
          </a:xfrm>
          <a:prstGeom prst="rect">
            <a:avLst/>
          </a:prstGeom>
          <a:solidFill>
            <a:schemeClr val="tx2"/>
          </a:solidFill>
          <a:ln w="254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45713" rIns="91440" bIns="91440" numCol="1" rtlCol="0" anchor="b" anchorCtr="0" compatLnSpc="1">
            <a:prstTxWarp prst="textNoShape">
              <a:avLst/>
            </a:prstTxWarp>
          </a:bodyPr>
          <a:lstStyle/>
          <a:p>
            <a:pPr marL="0" marR="0" lvl="0" indent="0" algn="ctr" defTabSz="913908" eaLnBrk="1" fontAlgn="base" latinLnBrk="0" hangingPunct="1">
              <a:lnSpc>
                <a:spcPct val="100000"/>
              </a:lnSpc>
              <a:spcBef>
                <a:spcPct val="0"/>
              </a:spcBef>
              <a:spcAft>
                <a:spcPct val="0"/>
              </a:spcAft>
              <a:buClrTx/>
              <a:buSzTx/>
              <a:buFontTx/>
              <a:buNone/>
              <a:tabLst/>
              <a:defRPr/>
            </a:pPr>
            <a:r>
              <a:rPr kumimoji="0" lang="en-US" sz="1568" b="1"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charset="0"/>
                <a:ea typeface="Segoe UI Semibold" charset="0"/>
                <a:cs typeface="Segoe UI Semibold" charset="0"/>
              </a:rPr>
              <a:t>Azure Data Factory</a:t>
            </a:r>
          </a:p>
        </p:txBody>
      </p:sp>
      <p:sp>
        <p:nvSpPr>
          <p:cNvPr id="42" name="Rectangle 41"/>
          <p:cNvSpPr/>
          <p:nvPr/>
        </p:nvSpPr>
        <p:spPr bwMode="auto">
          <a:xfrm>
            <a:off x="2435647" y="2809564"/>
            <a:ext cx="1408176" cy="1382825"/>
          </a:xfrm>
          <a:prstGeom prst="rect">
            <a:avLst/>
          </a:prstGeom>
          <a:solidFill>
            <a:schemeClr val="tx2"/>
          </a:solidFill>
          <a:ln w="254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45713" rIns="91440" bIns="91440" numCol="1" rtlCol="0" anchor="b" anchorCtr="0" compatLnSpc="1">
            <a:prstTxWarp prst="textNoShape">
              <a:avLst/>
            </a:prstTxWarp>
          </a:bodyPr>
          <a:lstStyle/>
          <a:p>
            <a:pPr marL="0" marR="0" lvl="0" indent="0" algn="ctr" defTabSz="913908" eaLnBrk="1" fontAlgn="base" latinLnBrk="0" hangingPunct="1">
              <a:lnSpc>
                <a:spcPct val="100000"/>
              </a:lnSpc>
              <a:spcBef>
                <a:spcPct val="0"/>
              </a:spcBef>
              <a:spcAft>
                <a:spcPct val="0"/>
              </a:spcAft>
              <a:buClrTx/>
              <a:buSzTx/>
              <a:buFontTx/>
              <a:buNone/>
              <a:tabLst/>
              <a:defRPr/>
            </a:pPr>
            <a:r>
              <a:rPr kumimoji="0" lang="en-US" sz="1568" b="1"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charset="0"/>
                <a:ea typeface="Segoe UI Semibold" charset="0"/>
                <a:cs typeface="Segoe UI Semibold" charset="0"/>
              </a:rPr>
              <a:t>Azure Stream Analytics</a:t>
            </a:r>
          </a:p>
        </p:txBody>
      </p:sp>
      <p:sp>
        <p:nvSpPr>
          <p:cNvPr id="43" name="Rectangle 42"/>
          <p:cNvSpPr/>
          <p:nvPr/>
        </p:nvSpPr>
        <p:spPr bwMode="auto">
          <a:xfrm>
            <a:off x="4395636" y="2809564"/>
            <a:ext cx="1408176" cy="1382825"/>
          </a:xfrm>
          <a:prstGeom prst="rect">
            <a:avLst/>
          </a:prstGeom>
          <a:solidFill>
            <a:schemeClr val="tx2"/>
          </a:solidFill>
          <a:ln w="254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45713" rIns="91440" bIns="91440" numCol="1" rtlCol="0" anchor="b" anchorCtr="0" compatLnSpc="1">
            <a:prstTxWarp prst="textNoShape">
              <a:avLst/>
            </a:prstTxWarp>
          </a:bodyPr>
          <a:lstStyle/>
          <a:p>
            <a:pPr marL="0" marR="0" lvl="0" indent="0" algn="ctr" defTabSz="913908" eaLnBrk="1" fontAlgn="base" latinLnBrk="0" hangingPunct="1">
              <a:lnSpc>
                <a:spcPct val="100000"/>
              </a:lnSpc>
              <a:spcBef>
                <a:spcPct val="0"/>
              </a:spcBef>
              <a:spcAft>
                <a:spcPct val="0"/>
              </a:spcAft>
              <a:buClrTx/>
              <a:buSzTx/>
              <a:buFontTx/>
              <a:buNone/>
              <a:tabLst/>
              <a:defRPr/>
            </a:pPr>
            <a:r>
              <a:rPr kumimoji="0" lang="en-US" sz="1568" b="1"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charset="0"/>
                <a:ea typeface="Segoe UI Semibold" charset="0"/>
                <a:cs typeface="Segoe UI Semibold" charset="0"/>
              </a:rPr>
              <a:t>OSS tools</a:t>
            </a:r>
          </a:p>
        </p:txBody>
      </p:sp>
      <p:sp>
        <p:nvSpPr>
          <p:cNvPr id="44" name="Rectangle 43"/>
          <p:cNvSpPr/>
          <p:nvPr/>
        </p:nvSpPr>
        <p:spPr bwMode="auto">
          <a:xfrm>
            <a:off x="10301182" y="2809564"/>
            <a:ext cx="1408176" cy="1382825"/>
          </a:xfrm>
          <a:prstGeom prst="rect">
            <a:avLst/>
          </a:prstGeom>
          <a:solidFill>
            <a:schemeClr val="tx2"/>
          </a:solidFill>
          <a:ln w="254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45713" rIns="91440" bIns="91440" numCol="1" rtlCol="0" anchor="b" anchorCtr="0" compatLnSpc="1">
            <a:prstTxWarp prst="textNoShape">
              <a:avLst/>
            </a:prstTxWarp>
          </a:bodyPr>
          <a:lstStyle/>
          <a:p>
            <a:pPr marL="0" marR="0" lvl="0" indent="0" algn="ctr" defTabSz="913908" eaLnBrk="1" fontAlgn="base" latinLnBrk="0" hangingPunct="1">
              <a:lnSpc>
                <a:spcPct val="100000"/>
              </a:lnSpc>
              <a:spcBef>
                <a:spcPct val="0"/>
              </a:spcBef>
              <a:spcAft>
                <a:spcPct val="0"/>
              </a:spcAft>
              <a:buClrTx/>
              <a:buSzTx/>
              <a:buFontTx/>
              <a:buNone/>
              <a:tabLst/>
              <a:defRPr/>
            </a:pPr>
            <a:r>
              <a:rPr kumimoji="0" lang="en-US" sz="1568" b="1"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charset="0"/>
                <a:ea typeface="Segoe UI Semibold" charset="0"/>
                <a:cs typeface="Segoe UI Semibold" charset="0"/>
              </a:rPr>
              <a:t>REST APIs</a:t>
            </a:r>
          </a:p>
        </p:txBody>
      </p:sp>
      <p:sp>
        <p:nvSpPr>
          <p:cNvPr id="45" name="Rectangle 44"/>
          <p:cNvSpPr/>
          <p:nvPr/>
        </p:nvSpPr>
        <p:spPr bwMode="auto">
          <a:xfrm>
            <a:off x="6352552" y="2809564"/>
            <a:ext cx="1408176" cy="1382825"/>
          </a:xfrm>
          <a:prstGeom prst="rect">
            <a:avLst/>
          </a:prstGeom>
          <a:solidFill>
            <a:schemeClr val="tx2"/>
          </a:solidFill>
          <a:ln w="254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45713" rIns="91440" bIns="91440" numCol="1" rtlCol="0" anchor="b" anchorCtr="0" compatLnSpc="1">
            <a:prstTxWarp prst="textNoShape">
              <a:avLst/>
            </a:prstTxWarp>
          </a:bodyPr>
          <a:lstStyle/>
          <a:p>
            <a:pPr marL="0" marR="0" lvl="0" indent="0" algn="ctr" defTabSz="913908" eaLnBrk="1" fontAlgn="base" latinLnBrk="0" hangingPunct="1">
              <a:lnSpc>
                <a:spcPct val="100000"/>
              </a:lnSpc>
              <a:spcBef>
                <a:spcPct val="0"/>
              </a:spcBef>
              <a:spcAft>
                <a:spcPct val="0"/>
              </a:spcAft>
              <a:buClrTx/>
              <a:buSzTx/>
              <a:buFontTx/>
              <a:buNone/>
              <a:tabLst/>
              <a:defRPr/>
            </a:pPr>
            <a:r>
              <a:rPr kumimoji="0" lang="en-US" sz="1568" b="1"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charset="0"/>
                <a:ea typeface="Segoe UI Semibold" charset="0"/>
                <a:cs typeface="Segoe UI Semibold" charset="0"/>
              </a:rPr>
              <a:t>PowerShell</a:t>
            </a:r>
          </a:p>
        </p:txBody>
      </p:sp>
      <p:sp>
        <p:nvSpPr>
          <p:cNvPr id="47" name="Rectangle 46"/>
          <p:cNvSpPr/>
          <p:nvPr/>
        </p:nvSpPr>
        <p:spPr bwMode="auto">
          <a:xfrm>
            <a:off x="8318044" y="2809564"/>
            <a:ext cx="1408176" cy="1382825"/>
          </a:xfrm>
          <a:prstGeom prst="rect">
            <a:avLst/>
          </a:prstGeom>
          <a:solidFill>
            <a:schemeClr val="tx2"/>
          </a:solidFill>
          <a:ln w="254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45713" rIns="91440" bIns="91440" numCol="1" rtlCol="0" anchor="b" anchorCtr="0" compatLnSpc="1">
            <a:prstTxWarp prst="textNoShape">
              <a:avLst/>
            </a:prstTxWarp>
          </a:bodyPr>
          <a:lstStyle/>
          <a:p>
            <a:pPr marL="0" marR="0" lvl="0" indent="0" algn="ctr" defTabSz="913908" eaLnBrk="1" fontAlgn="base" latinLnBrk="0" hangingPunct="1">
              <a:lnSpc>
                <a:spcPct val="100000"/>
              </a:lnSpc>
              <a:spcBef>
                <a:spcPct val="0"/>
              </a:spcBef>
              <a:spcAft>
                <a:spcPct val="0"/>
              </a:spcAft>
              <a:buClrTx/>
              <a:buSzTx/>
              <a:buFontTx/>
              <a:buNone/>
              <a:tabLst/>
              <a:defRPr/>
            </a:pPr>
            <a:r>
              <a:rPr kumimoji="0" lang="en-US" sz="1568" b="1"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charset="0"/>
                <a:ea typeface="Segoe UI Semibold" charset="0"/>
                <a:cs typeface="Segoe UI Semibold" charset="0"/>
              </a:rPr>
              <a:t>ADL Store SDK</a:t>
            </a:r>
          </a:p>
        </p:txBody>
      </p:sp>
      <p:sp>
        <p:nvSpPr>
          <p:cNvPr id="48" name="Oval 47"/>
          <p:cNvSpPr/>
          <p:nvPr/>
        </p:nvSpPr>
        <p:spPr bwMode="auto">
          <a:xfrm>
            <a:off x="475454" y="2092297"/>
            <a:ext cx="1408584" cy="1408584"/>
          </a:xfrm>
          <a:prstGeom prst="ellipse">
            <a:avLst/>
          </a:prstGeom>
          <a:solidFill>
            <a:schemeClr val="bg1"/>
          </a:solidFill>
          <a:ln w="254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5439">
                    <a:srgbClr val="F8F8F8"/>
                  </a:gs>
                  <a:gs pos="10000">
                    <a:srgbClr val="F8F8F8"/>
                  </a:gs>
                </a:gsLst>
                <a:lin ang="5400000" scaled="0"/>
              </a:gradFill>
              <a:effectLst/>
              <a:uLnTx/>
              <a:uFillTx/>
            </a:endParaRPr>
          </a:p>
        </p:txBody>
      </p:sp>
      <p:sp>
        <p:nvSpPr>
          <p:cNvPr id="49" name="Oval 48"/>
          <p:cNvSpPr/>
          <p:nvPr/>
        </p:nvSpPr>
        <p:spPr bwMode="auto">
          <a:xfrm>
            <a:off x="2435443" y="2092297"/>
            <a:ext cx="1408584" cy="1408584"/>
          </a:xfrm>
          <a:prstGeom prst="ellipse">
            <a:avLst/>
          </a:prstGeom>
          <a:solidFill>
            <a:schemeClr val="bg1"/>
          </a:solidFill>
          <a:ln w="254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5439">
                    <a:srgbClr val="F8F8F8"/>
                  </a:gs>
                  <a:gs pos="10000">
                    <a:srgbClr val="F8F8F8"/>
                  </a:gs>
                </a:gsLst>
                <a:lin ang="5400000" scaled="0"/>
              </a:gradFill>
              <a:effectLst/>
              <a:uLnTx/>
              <a:uFillTx/>
            </a:endParaRPr>
          </a:p>
        </p:txBody>
      </p:sp>
      <p:sp>
        <p:nvSpPr>
          <p:cNvPr id="50" name="Oval 49"/>
          <p:cNvSpPr/>
          <p:nvPr/>
        </p:nvSpPr>
        <p:spPr bwMode="auto">
          <a:xfrm>
            <a:off x="4395432" y="2092297"/>
            <a:ext cx="1408584" cy="1408584"/>
          </a:xfrm>
          <a:prstGeom prst="ellipse">
            <a:avLst/>
          </a:prstGeom>
          <a:solidFill>
            <a:schemeClr val="bg1"/>
          </a:solidFill>
          <a:ln w="254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5439">
                    <a:srgbClr val="F8F8F8"/>
                  </a:gs>
                  <a:gs pos="10000">
                    <a:srgbClr val="F8F8F8"/>
                  </a:gs>
                </a:gsLst>
                <a:lin ang="5400000" scaled="0"/>
              </a:gradFill>
              <a:effectLst/>
              <a:uLnTx/>
              <a:uFillTx/>
            </a:endParaRPr>
          </a:p>
        </p:txBody>
      </p:sp>
      <p:sp>
        <p:nvSpPr>
          <p:cNvPr id="51" name="Oval 50"/>
          <p:cNvSpPr/>
          <p:nvPr/>
        </p:nvSpPr>
        <p:spPr bwMode="auto">
          <a:xfrm>
            <a:off x="6352348" y="2092297"/>
            <a:ext cx="1408584" cy="1408584"/>
          </a:xfrm>
          <a:prstGeom prst="ellipse">
            <a:avLst/>
          </a:prstGeom>
          <a:solidFill>
            <a:schemeClr val="bg1"/>
          </a:solidFill>
          <a:ln w="254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5439">
                    <a:srgbClr val="F8F8F8"/>
                  </a:gs>
                  <a:gs pos="10000">
                    <a:srgbClr val="F8F8F8"/>
                  </a:gs>
                </a:gsLst>
                <a:lin ang="5400000" scaled="0"/>
              </a:gradFill>
              <a:effectLst/>
              <a:uLnTx/>
              <a:uFillTx/>
            </a:endParaRPr>
          </a:p>
        </p:txBody>
      </p:sp>
      <p:sp>
        <p:nvSpPr>
          <p:cNvPr id="52" name="Oval 51"/>
          <p:cNvSpPr/>
          <p:nvPr/>
        </p:nvSpPr>
        <p:spPr bwMode="auto">
          <a:xfrm>
            <a:off x="8317840" y="2092297"/>
            <a:ext cx="1408584" cy="1408584"/>
          </a:xfrm>
          <a:prstGeom prst="ellipse">
            <a:avLst/>
          </a:prstGeom>
          <a:solidFill>
            <a:schemeClr val="bg1"/>
          </a:solidFill>
          <a:ln w="254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5439">
                    <a:srgbClr val="F8F8F8"/>
                  </a:gs>
                  <a:gs pos="10000">
                    <a:srgbClr val="F8F8F8"/>
                  </a:gs>
                </a:gsLst>
                <a:lin ang="5400000" scaled="0"/>
              </a:gradFill>
              <a:effectLst/>
              <a:uLnTx/>
              <a:uFillTx/>
            </a:endParaRPr>
          </a:p>
        </p:txBody>
      </p:sp>
      <p:sp>
        <p:nvSpPr>
          <p:cNvPr id="53" name="Oval 52"/>
          <p:cNvSpPr/>
          <p:nvPr/>
        </p:nvSpPr>
        <p:spPr bwMode="auto">
          <a:xfrm>
            <a:off x="10300978" y="2092297"/>
            <a:ext cx="1408584" cy="1408584"/>
          </a:xfrm>
          <a:prstGeom prst="ellipse">
            <a:avLst/>
          </a:prstGeom>
          <a:solidFill>
            <a:schemeClr val="bg1"/>
          </a:solidFill>
          <a:ln w="254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5439">
                    <a:srgbClr val="F8F8F8"/>
                  </a:gs>
                  <a:gs pos="10000">
                    <a:srgbClr val="F8F8F8"/>
                  </a:gs>
                </a:gsLst>
                <a:lin ang="5400000" scaled="0"/>
              </a:gradFill>
              <a:effectLst/>
              <a:uLnTx/>
              <a:uFillTx/>
            </a:endParaRPr>
          </a:p>
        </p:txBody>
      </p:sp>
      <p:sp>
        <p:nvSpPr>
          <p:cNvPr id="55" name="TextBox 54"/>
          <p:cNvSpPr txBox="1"/>
          <p:nvPr/>
        </p:nvSpPr>
        <p:spPr>
          <a:xfrm>
            <a:off x="2628412" y="1396918"/>
            <a:ext cx="2981860" cy="473206"/>
          </a:xfrm>
          <a:prstGeom prst="rect">
            <a:avLst/>
          </a:prstGeom>
          <a:noFill/>
        </p:spPr>
        <p:txBody>
          <a:bodyPr wrap="square" lIns="91440" tIns="73152" rIns="91440" bIns="73152" rtlCol="0">
            <a:spAutoFit/>
          </a:bodyPr>
          <a:lstStyle/>
          <a:p>
            <a:pPr marL="0" marR="0" lvl="0" indent="0" algn="ctr" defTabSz="914132" eaLnBrk="1" fontAlgn="auto" latinLnBrk="0" hangingPunct="1">
              <a:lnSpc>
                <a:spcPct val="90000"/>
              </a:lnSpc>
              <a:spcBef>
                <a:spcPct val="0"/>
              </a:spcBef>
              <a:spcAft>
                <a:spcPts val="588"/>
              </a:spcAft>
              <a:buClrTx/>
              <a:buSzTx/>
              <a:buFontTx/>
              <a:buNone/>
              <a:tabLst/>
              <a:defRPr/>
            </a:pPr>
            <a:r>
              <a:rPr kumimoji="0" lang="en-US" sz="2350" b="0" i="0" u="none" strike="noStrike" kern="0" cap="none" spc="-29" normalizeH="0" baseline="0" noProof="0" dirty="0">
                <a:ln>
                  <a:noFill/>
                </a:ln>
                <a:solidFill>
                  <a:schemeClr val="tx2"/>
                </a:solidFill>
                <a:effectLst/>
                <a:uLnTx/>
                <a:uFillTx/>
                <a:latin typeface="Segoe UI Semilight" panose="020B0402040204020203" pitchFamily="34" charset="0"/>
                <a:ea typeface="MS PGothic" panose="020B0600070205080204" pitchFamily="34" charset="-128"/>
                <a:cs typeface="Segoe UI Semilight" panose="020B0402040204020203" pitchFamily="34" charset="0"/>
              </a:rPr>
              <a:t>Out-of-the-box tools</a:t>
            </a:r>
          </a:p>
        </p:txBody>
      </p:sp>
      <p:sp>
        <p:nvSpPr>
          <p:cNvPr id="56" name="TextBox 55"/>
          <p:cNvSpPr txBox="1"/>
          <p:nvPr/>
        </p:nvSpPr>
        <p:spPr>
          <a:xfrm>
            <a:off x="8784772" y="1396918"/>
            <a:ext cx="2471924" cy="473206"/>
          </a:xfrm>
          <a:prstGeom prst="rect">
            <a:avLst/>
          </a:prstGeom>
          <a:noFill/>
        </p:spPr>
        <p:txBody>
          <a:bodyPr wrap="square" lIns="91440" tIns="73152" rIns="91440" bIns="73152" rtlCol="0">
            <a:spAutoFit/>
          </a:bodyPr>
          <a:lstStyle/>
          <a:p>
            <a:pPr marL="0" marR="0" lvl="0" indent="0" algn="ctr" defTabSz="914132" eaLnBrk="1" fontAlgn="auto" latinLnBrk="0" hangingPunct="1">
              <a:lnSpc>
                <a:spcPct val="90000"/>
              </a:lnSpc>
              <a:spcBef>
                <a:spcPct val="0"/>
              </a:spcBef>
              <a:spcAft>
                <a:spcPts val="588"/>
              </a:spcAft>
              <a:buClrTx/>
              <a:buSzTx/>
              <a:buFontTx/>
              <a:buNone/>
              <a:tabLst/>
              <a:defRPr/>
            </a:pPr>
            <a:r>
              <a:rPr kumimoji="0" lang="en-US" sz="2350" b="0" i="0" u="none" strike="noStrike" kern="0" cap="none" spc="-29" normalizeH="0" baseline="0" noProof="0" dirty="0">
                <a:ln>
                  <a:noFill/>
                </a:ln>
                <a:solidFill>
                  <a:schemeClr val="tx2"/>
                </a:solidFill>
                <a:effectLst/>
                <a:uLnTx/>
                <a:uFillTx/>
                <a:latin typeface="Segoe UI Semilight" panose="020B0402040204020203" pitchFamily="34" charset="0"/>
                <a:ea typeface="MS PGothic" panose="020B0600070205080204" pitchFamily="34" charset="-128"/>
                <a:cs typeface="Segoe UI Semilight" panose="020B0402040204020203" pitchFamily="34" charset="0"/>
              </a:rPr>
              <a:t>Custom tools</a:t>
            </a:r>
          </a:p>
        </p:txBody>
      </p:sp>
      <p:sp>
        <p:nvSpPr>
          <p:cNvPr id="57" name="Rectangle 56"/>
          <p:cNvSpPr/>
          <p:nvPr/>
        </p:nvSpPr>
        <p:spPr bwMode="auto">
          <a:xfrm>
            <a:off x="466514" y="4192389"/>
            <a:ext cx="1426464" cy="2079163"/>
          </a:xfrm>
          <a:prstGeom prst="rect">
            <a:avLst/>
          </a:prstGeom>
          <a:solidFill>
            <a:schemeClr val="accent3"/>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37160" tIns="137160" rIns="137160" bIns="73152" numCol="1" rtlCol="0" anchor="t" anchorCtr="0" compatLnSpc="1">
            <a:prstTxWarp prst="textNoShape">
              <a:avLst/>
            </a:prstTxWarp>
          </a:bodyPr>
          <a:lstStyle/>
          <a:p>
            <a:pPr marL="0" marR="0" lvl="0" indent="0" defTabSz="913908" eaLnBrk="1" fontAlgn="base" latinLnBrk="0" hangingPunct="1">
              <a:lnSpc>
                <a:spcPct val="100000"/>
              </a:lnSpc>
              <a:spcBef>
                <a:spcPct val="0"/>
              </a:spcBef>
              <a:spcAft>
                <a:spcPts val="600"/>
              </a:spcAft>
              <a:buClrTx/>
              <a:buSzTx/>
              <a:buFontTx/>
              <a:buNone/>
              <a:tabLst/>
              <a:defRPr/>
            </a:pPr>
            <a:r>
              <a:rPr kumimoji="0" lang="en-US" sz="1400" b="0" i="0" u="none" strike="noStrike" kern="0" cap="none" spc="0" normalizeH="0" baseline="0" noProof="0" dirty="0">
                <a:ln>
                  <a:noFill/>
                </a:ln>
                <a:gradFill>
                  <a:gsLst>
                    <a:gs pos="0">
                      <a:srgbClr val="FFFFFF"/>
                    </a:gs>
                    <a:gs pos="100000">
                      <a:srgbClr val="FFFFFF"/>
                    </a:gs>
                  </a:gsLst>
                  <a:lin ang="5400000" scaled="0"/>
                </a:gradFill>
                <a:effectLst/>
                <a:uLnTx/>
                <a:uFillTx/>
              </a:rPr>
              <a:t>First-class support</a:t>
            </a:r>
          </a:p>
        </p:txBody>
      </p:sp>
      <p:sp>
        <p:nvSpPr>
          <p:cNvPr id="58" name="Rectangle 57"/>
          <p:cNvSpPr/>
          <p:nvPr/>
        </p:nvSpPr>
        <p:spPr bwMode="auto">
          <a:xfrm>
            <a:off x="2426503" y="4192389"/>
            <a:ext cx="1426464" cy="2079163"/>
          </a:xfrm>
          <a:prstGeom prst="rect">
            <a:avLst/>
          </a:prstGeom>
          <a:solidFill>
            <a:schemeClr val="accent3"/>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37160" tIns="137160" rIns="137160" bIns="73152" numCol="1" rtlCol="0" anchor="t" anchorCtr="0" compatLnSpc="1">
            <a:prstTxWarp prst="textNoShape">
              <a:avLst/>
            </a:prstTxWarp>
          </a:bodyPr>
          <a:lstStyle/>
          <a:p>
            <a:pPr marL="0" marR="0" lvl="0" indent="0" defTabSz="913908" eaLnBrk="1" fontAlgn="base" latinLnBrk="0" hangingPunct="1">
              <a:lnSpc>
                <a:spcPct val="100000"/>
              </a:lnSpc>
              <a:spcBef>
                <a:spcPct val="0"/>
              </a:spcBef>
              <a:spcAft>
                <a:spcPts val="600"/>
              </a:spcAft>
              <a:buClrTx/>
              <a:buSzTx/>
              <a:buFontTx/>
              <a:buNone/>
              <a:tabLst/>
              <a:defRPr/>
            </a:pPr>
            <a:r>
              <a:rPr kumimoji="0" lang="en-US" sz="1400" b="0" i="0" u="none" strike="noStrike" kern="0" cap="none" spc="0" normalizeH="0" baseline="0" noProof="0" dirty="0">
                <a:ln>
                  <a:noFill/>
                </a:ln>
                <a:gradFill>
                  <a:gsLst>
                    <a:gs pos="0">
                      <a:srgbClr val="FFFFFF"/>
                    </a:gs>
                    <a:gs pos="100000">
                      <a:srgbClr val="FFFFFF"/>
                    </a:gs>
                  </a:gsLst>
                  <a:lin ang="5400000" scaled="0"/>
                </a:gradFill>
                <a:effectLst/>
                <a:uLnTx/>
                <a:uFillTx/>
              </a:rPr>
              <a:t>Seamlessly stream data</a:t>
            </a:r>
          </a:p>
        </p:txBody>
      </p:sp>
      <p:sp>
        <p:nvSpPr>
          <p:cNvPr id="59" name="Rectangle 58"/>
          <p:cNvSpPr/>
          <p:nvPr/>
        </p:nvSpPr>
        <p:spPr bwMode="auto">
          <a:xfrm>
            <a:off x="4386492" y="4192389"/>
            <a:ext cx="1426464" cy="2079163"/>
          </a:xfrm>
          <a:prstGeom prst="rect">
            <a:avLst/>
          </a:prstGeom>
          <a:solidFill>
            <a:schemeClr val="accent3"/>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37160" tIns="137160" rIns="137160" bIns="73152" numCol="1" rtlCol="0" anchor="t" anchorCtr="0" compatLnSpc="1">
            <a:prstTxWarp prst="textNoShape">
              <a:avLst/>
            </a:prstTxWarp>
          </a:bodyPr>
          <a:lstStyle/>
          <a:p>
            <a:pPr marL="0" marR="0" lvl="0" indent="0" defTabSz="913908"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dirty="0">
                <a:ln>
                  <a:noFill/>
                </a:ln>
                <a:gradFill>
                  <a:gsLst>
                    <a:gs pos="0">
                      <a:srgbClr val="FFFFFF"/>
                    </a:gs>
                    <a:gs pos="100000">
                      <a:srgbClr val="FFFFFF"/>
                    </a:gs>
                  </a:gsLst>
                  <a:lin ang="5400000" scaled="0"/>
                </a:gradFill>
                <a:effectLst/>
                <a:uLnTx/>
                <a:uFillTx/>
              </a:rPr>
              <a:t>Supports</a:t>
            </a:r>
            <a:br>
              <a:rPr kumimoji="0" lang="en-US" sz="1400" b="0" i="0" u="none" strike="noStrike" kern="0" cap="none" spc="0" normalizeH="0" baseline="0" noProof="0" dirty="0">
                <a:ln>
                  <a:noFill/>
                </a:ln>
                <a:gradFill>
                  <a:gsLst>
                    <a:gs pos="0">
                      <a:srgbClr val="FFFFFF"/>
                    </a:gs>
                    <a:gs pos="100000">
                      <a:srgbClr val="FFFFFF"/>
                    </a:gs>
                  </a:gsLst>
                  <a:lin ang="5400000" scaled="0"/>
                </a:gradFill>
                <a:effectLst/>
                <a:uLnTx/>
                <a:uFillTx/>
              </a:rPr>
            </a:br>
            <a:r>
              <a:rPr kumimoji="0" lang="en-US" sz="1400" b="0" i="0" u="none" strike="noStrike" kern="0" cap="none" spc="0" normalizeH="0" baseline="0" noProof="0" dirty="0">
                <a:ln>
                  <a:noFill/>
                </a:ln>
                <a:gradFill>
                  <a:gsLst>
                    <a:gs pos="0">
                      <a:srgbClr val="FFFFFF"/>
                    </a:gs>
                    <a:gs pos="100000">
                      <a:srgbClr val="FFFFFF"/>
                    </a:gs>
                  </a:gsLst>
                  <a:lin ang="5400000" scaled="0"/>
                </a:gradFill>
                <a:effectLst/>
                <a:uLnTx/>
                <a:uFillTx/>
              </a:rPr>
              <a:t>OSS tools</a:t>
            </a:r>
          </a:p>
        </p:txBody>
      </p:sp>
      <p:sp>
        <p:nvSpPr>
          <p:cNvPr id="60" name="Rectangle 59"/>
          <p:cNvSpPr/>
          <p:nvPr/>
        </p:nvSpPr>
        <p:spPr bwMode="auto">
          <a:xfrm>
            <a:off x="10292038" y="4192389"/>
            <a:ext cx="1426464" cy="2079163"/>
          </a:xfrm>
          <a:prstGeom prst="rect">
            <a:avLst/>
          </a:prstGeom>
          <a:solidFill>
            <a:schemeClr val="accent3"/>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37160" tIns="137160" rIns="137160" bIns="73152" numCol="1" rtlCol="0" anchor="t" anchorCtr="0" compatLnSpc="1">
            <a:prstTxWarp prst="textNoShape">
              <a:avLst/>
            </a:prstTxWarp>
          </a:bodyPr>
          <a:lstStyle/>
          <a:p>
            <a:pPr marL="0" marR="0" lvl="0" indent="0" defTabSz="913908" eaLnBrk="1" fontAlgn="base" latinLnBrk="0" hangingPunct="1">
              <a:lnSpc>
                <a:spcPct val="100000"/>
              </a:lnSpc>
              <a:spcBef>
                <a:spcPct val="0"/>
              </a:spcBef>
              <a:spcAft>
                <a:spcPts val="600"/>
              </a:spcAft>
              <a:buClrTx/>
              <a:buSzTx/>
              <a:buFontTx/>
              <a:buNone/>
              <a:tabLst/>
              <a:defRPr/>
            </a:pPr>
            <a:r>
              <a:rPr kumimoji="0" lang="en-US" sz="1400" b="0" i="0" u="none" strike="noStrike" kern="0" cap="none" spc="0" normalizeH="0" baseline="0" noProof="0" dirty="0">
                <a:ln>
                  <a:noFill/>
                </a:ln>
                <a:gradFill>
                  <a:gsLst>
                    <a:gs pos="0">
                      <a:srgbClr val="FFFFFF"/>
                    </a:gs>
                    <a:gs pos="100000">
                      <a:srgbClr val="FFFFFF"/>
                    </a:gs>
                  </a:gsLst>
                  <a:lin ang="5400000" scaled="0"/>
                </a:gradFill>
                <a:effectLst/>
                <a:uLnTx/>
                <a:uFillTx/>
              </a:rPr>
              <a:t>For unsupported languages and platforms</a:t>
            </a:r>
          </a:p>
        </p:txBody>
      </p:sp>
      <p:sp>
        <p:nvSpPr>
          <p:cNvPr id="61" name="Rectangle 60"/>
          <p:cNvSpPr/>
          <p:nvPr/>
        </p:nvSpPr>
        <p:spPr bwMode="auto">
          <a:xfrm>
            <a:off x="6343408" y="4192389"/>
            <a:ext cx="1426464" cy="2079163"/>
          </a:xfrm>
          <a:prstGeom prst="rect">
            <a:avLst/>
          </a:prstGeom>
          <a:solidFill>
            <a:schemeClr val="accent3"/>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37160" tIns="137160" rIns="137160" bIns="73152" numCol="1" rtlCol="0" anchor="t" anchorCtr="0" compatLnSpc="1">
            <a:prstTxWarp prst="textNoShape">
              <a:avLst/>
            </a:prstTxWarp>
          </a:bodyPr>
          <a:lstStyle/>
          <a:p>
            <a:pPr marL="0" marR="0" lvl="0" indent="0" defTabSz="913908" eaLnBrk="1" fontAlgn="base" latinLnBrk="0" hangingPunct="1">
              <a:lnSpc>
                <a:spcPct val="100000"/>
              </a:lnSpc>
              <a:spcBef>
                <a:spcPct val="0"/>
              </a:spcBef>
              <a:spcAft>
                <a:spcPts val="600"/>
              </a:spcAft>
              <a:buClrTx/>
              <a:buSzTx/>
              <a:buFontTx/>
              <a:buNone/>
              <a:tabLst/>
              <a:defRPr/>
            </a:pPr>
            <a:r>
              <a:rPr kumimoji="0" lang="en-US" sz="1400" b="0" i="0" u="none" strike="noStrike" kern="0" cap="none" spc="0" normalizeH="0" baseline="0" noProof="0" dirty="0">
                <a:ln>
                  <a:noFill/>
                </a:ln>
                <a:gradFill>
                  <a:gsLst>
                    <a:gs pos="0">
                      <a:srgbClr val="FFFFFF"/>
                    </a:gs>
                    <a:gs pos="100000">
                      <a:srgbClr val="FFFFFF"/>
                    </a:gs>
                  </a:gsLst>
                  <a:lin ang="5400000" scaled="0"/>
                </a:gradFill>
                <a:effectLst/>
                <a:uLnTx/>
                <a:uFillTx/>
              </a:rPr>
              <a:t>Management with Workflow &amp; Script Runbooks</a:t>
            </a:r>
          </a:p>
        </p:txBody>
      </p:sp>
      <p:sp>
        <p:nvSpPr>
          <p:cNvPr id="63" name="Rectangle 62"/>
          <p:cNvSpPr/>
          <p:nvPr/>
        </p:nvSpPr>
        <p:spPr bwMode="auto">
          <a:xfrm>
            <a:off x="8308900" y="4192389"/>
            <a:ext cx="1426464" cy="2079163"/>
          </a:xfrm>
          <a:prstGeom prst="rect">
            <a:avLst/>
          </a:prstGeom>
          <a:solidFill>
            <a:schemeClr val="accent3"/>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37160" tIns="137160" rIns="137160" bIns="73152" numCol="1" rtlCol="0" anchor="t" anchorCtr="0" compatLnSpc="1">
            <a:prstTxWarp prst="textNoShape">
              <a:avLst/>
            </a:prstTxWarp>
          </a:bodyPr>
          <a:lstStyle/>
          <a:p>
            <a:pPr marL="0" marR="0" lvl="0" indent="0" defTabSz="913908" eaLnBrk="1" fontAlgn="base" latinLnBrk="0" hangingPunct="1">
              <a:lnSpc>
                <a:spcPct val="100000"/>
              </a:lnSpc>
              <a:spcBef>
                <a:spcPct val="0"/>
              </a:spcBef>
              <a:spcAft>
                <a:spcPts val="600"/>
              </a:spcAft>
              <a:buClrTx/>
              <a:buSzTx/>
              <a:buFontTx/>
              <a:buNone/>
              <a:tabLst/>
              <a:defRPr/>
            </a:pPr>
            <a:r>
              <a:rPr kumimoji="0" lang="en-US" sz="1400" b="0" i="0" u="none" strike="noStrike" kern="0" cap="none" spc="0" normalizeH="0" baseline="0" noProof="0" dirty="0">
                <a:ln>
                  <a:noFill/>
                </a:ln>
                <a:gradFill>
                  <a:gsLst>
                    <a:gs pos="0">
                      <a:srgbClr val="FFFFFF"/>
                    </a:gs>
                    <a:gs pos="100000">
                      <a:srgbClr val="FFFFFF"/>
                    </a:gs>
                  </a:gsLst>
                  <a:lin ang="5400000" scaled="0"/>
                </a:gradFill>
                <a:effectLst/>
                <a:uLnTx/>
                <a:uFillTx/>
              </a:rPr>
              <a:t>Available in multiple languages</a:t>
            </a:r>
          </a:p>
        </p:txBody>
      </p:sp>
      <p:grpSp>
        <p:nvGrpSpPr>
          <p:cNvPr id="111" name="Group 110"/>
          <p:cNvGrpSpPr/>
          <p:nvPr/>
        </p:nvGrpSpPr>
        <p:grpSpPr>
          <a:xfrm>
            <a:off x="792672" y="2374000"/>
            <a:ext cx="774148" cy="771626"/>
            <a:chOff x="3029010" y="3853608"/>
            <a:chExt cx="2248798" cy="2241477"/>
          </a:xfrm>
        </p:grpSpPr>
        <p:sp>
          <p:nvSpPr>
            <p:cNvPr id="112" name="Freeform 184"/>
            <p:cNvSpPr/>
            <p:nvPr/>
          </p:nvSpPr>
          <p:spPr bwMode="auto">
            <a:xfrm>
              <a:off x="3029010" y="3853609"/>
              <a:ext cx="2248798" cy="2241476"/>
            </a:xfrm>
            <a:custGeom>
              <a:avLst/>
              <a:gdLst>
                <a:gd name="connsiteX0" fmla="*/ 3231086 w 4158080"/>
                <a:gd name="connsiteY0" fmla="*/ 3012228 h 4144545"/>
                <a:gd name="connsiteX1" fmla="*/ 3231086 w 4158080"/>
                <a:gd name="connsiteY1" fmla="*/ 3475725 h 4144545"/>
                <a:gd name="connsiteX2" fmla="*/ 3694583 w 4158080"/>
                <a:gd name="connsiteY2" fmla="*/ 3475725 h 4144545"/>
                <a:gd name="connsiteX3" fmla="*/ 3694583 w 4158080"/>
                <a:gd name="connsiteY3" fmla="*/ 3012228 h 4144545"/>
                <a:gd name="connsiteX4" fmla="*/ 2425129 w 4158080"/>
                <a:gd name="connsiteY4" fmla="*/ 3012228 h 4144545"/>
                <a:gd name="connsiteX5" fmla="*/ 2425129 w 4158080"/>
                <a:gd name="connsiteY5" fmla="*/ 3475725 h 4144545"/>
                <a:gd name="connsiteX6" fmla="*/ 2888626 w 4158080"/>
                <a:gd name="connsiteY6" fmla="*/ 3475725 h 4144545"/>
                <a:gd name="connsiteX7" fmla="*/ 2888626 w 4158080"/>
                <a:gd name="connsiteY7" fmla="*/ 3012228 h 4144545"/>
                <a:gd name="connsiteX8" fmla="*/ 1619172 w 4158080"/>
                <a:gd name="connsiteY8" fmla="*/ 3012228 h 4144545"/>
                <a:gd name="connsiteX9" fmla="*/ 1619172 w 4158080"/>
                <a:gd name="connsiteY9" fmla="*/ 3475725 h 4144545"/>
                <a:gd name="connsiteX10" fmla="*/ 2082669 w 4158080"/>
                <a:gd name="connsiteY10" fmla="*/ 3475725 h 4144545"/>
                <a:gd name="connsiteX11" fmla="*/ 2082669 w 4158080"/>
                <a:gd name="connsiteY11" fmla="*/ 3012228 h 4144545"/>
                <a:gd name="connsiteX12" fmla="*/ 1 w 4158080"/>
                <a:gd name="connsiteY12" fmla="*/ 300015 h 4144545"/>
                <a:gd name="connsiteX13" fmla="*/ 1 w 4158080"/>
                <a:gd name="connsiteY13" fmla="*/ 348372 h 4144545"/>
                <a:gd name="connsiteX14" fmla="*/ 1 w 4158080"/>
                <a:gd name="connsiteY14" fmla="*/ 377378 h 4144545"/>
                <a:gd name="connsiteX15" fmla="*/ 0 w 4158080"/>
                <a:gd name="connsiteY15" fmla="*/ 377381 h 4144545"/>
                <a:gd name="connsiteX16" fmla="*/ 1 w 4158080"/>
                <a:gd name="connsiteY16" fmla="*/ 300015 h 4144545"/>
                <a:gd name="connsiteX17" fmla="*/ 925155 w 4158080"/>
                <a:gd name="connsiteY17" fmla="*/ 136141 h 4144545"/>
                <a:gd name="connsiteX18" fmla="*/ 286574 w 4158080"/>
                <a:gd name="connsiteY18" fmla="*/ 323563 h 4144545"/>
                <a:gd name="connsiteX19" fmla="*/ 925155 w 4158080"/>
                <a:gd name="connsiteY19" fmla="*/ 510984 h 4144545"/>
                <a:gd name="connsiteX20" fmla="*/ 1563737 w 4158080"/>
                <a:gd name="connsiteY20" fmla="*/ 323563 h 4144545"/>
                <a:gd name="connsiteX21" fmla="*/ 925155 w 4158080"/>
                <a:gd name="connsiteY21" fmla="*/ 136141 h 4144545"/>
                <a:gd name="connsiteX22" fmla="*/ 925154 w 4158080"/>
                <a:gd name="connsiteY22" fmla="*/ 0 h 4144545"/>
                <a:gd name="connsiteX23" fmla="*/ 1845533 w 4158080"/>
                <a:gd name="connsiteY23" fmla="*/ 338796 h 4144545"/>
                <a:gd name="connsiteX24" fmla="*/ 1848895 w 4158080"/>
                <a:gd name="connsiteY24" fmla="*/ 365965 h 4144545"/>
                <a:gd name="connsiteX25" fmla="*/ 1850308 w 4158080"/>
                <a:gd name="connsiteY25" fmla="*/ 365965 h 4144545"/>
                <a:gd name="connsiteX26" fmla="*/ 1850308 w 4158080"/>
                <a:gd name="connsiteY26" fmla="*/ 377381 h 4144545"/>
                <a:gd name="connsiteX27" fmla="*/ 1850309 w 4158080"/>
                <a:gd name="connsiteY27" fmla="*/ 2420253 h 4144545"/>
                <a:gd name="connsiteX28" fmla="*/ 3004195 w 4158080"/>
                <a:gd name="connsiteY28" fmla="*/ 1412231 h 4144545"/>
                <a:gd name="connsiteX29" fmla="*/ 3004195 w 4158080"/>
                <a:gd name="connsiteY29" fmla="*/ 2420252 h 4144545"/>
                <a:gd name="connsiteX30" fmla="*/ 4158080 w 4158080"/>
                <a:gd name="connsiteY30" fmla="*/ 1412231 h 4144545"/>
                <a:gd name="connsiteX31" fmla="*/ 4158079 w 4158080"/>
                <a:gd name="connsiteY31" fmla="*/ 4144544 h 4144545"/>
                <a:gd name="connsiteX32" fmla="*/ 1 w 4158080"/>
                <a:gd name="connsiteY32" fmla="*/ 4144545 h 4144545"/>
                <a:gd name="connsiteX33" fmla="*/ 1 w 4158080"/>
                <a:gd name="connsiteY33" fmla="*/ 377385 h 4144545"/>
                <a:gd name="connsiteX34" fmla="*/ 1 w 4158080"/>
                <a:gd name="connsiteY34" fmla="*/ 377378 h 4144545"/>
                <a:gd name="connsiteX35" fmla="*/ 4778 w 4158080"/>
                <a:gd name="connsiteY35" fmla="*/ 338796 h 4144545"/>
                <a:gd name="connsiteX36" fmla="*/ 925154 w 4158080"/>
                <a:gd name="connsiteY36" fmla="*/ 0 h 41445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4158080" h="4144545">
                  <a:moveTo>
                    <a:pt x="3231086" y="3012228"/>
                  </a:moveTo>
                  <a:lnTo>
                    <a:pt x="3231086" y="3475725"/>
                  </a:lnTo>
                  <a:lnTo>
                    <a:pt x="3694583" y="3475725"/>
                  </a:lnTo>
                  <a:lnTo>
                    <a:pt x="3694583" y="3012228"/>
                  </a:lnTo>
                  <a:close/>
                  <a:moveTo>
                    <a:pt x="2425129" y="3012228"/>
                  </a:moveTo>
                  <a:lnTo>
                    <a:pt x="2425129" y="3475725"/>
                  </a:lnTo>
                  <a:lnTo>
                    <a:pt x="2888626" y="3475725"/>
                  </a:lnTo>
                  <a:lnTo>
                    <a:pt x="2888626" y="3012228"/>
                  </a:lnTo>
                  <a:close/>
                  <a:moveTo>
                    <a:pt x="1619172" y="3012228"/>
                  </a:moveTo>
                  <a:lnTo>
                    <a:pt x="1619172" y="3475725"/>
                  </a:lnTo>
                  <a:lnTo>
                    <a:pt x="2082669" y="3475725"/>
                  </a:lnTo>
                  <a:lnTo>
                    <a:pt x="2082669" y="3012228"/>
                  </a:lnTo>
                  <a:close/>
                  <a:moveTo>
                    <a:pt x="1" y="300015"/>
                  </a:moveTo>
                  <a:lnTo>
                    <a:pt x="1" y="348372"/>
                  </a:lnTo>
                  <a:lnTo>
                    <a:pt x="1" y="377378"/>
                  </a:lnTo>
                  <a:cubicBezTo>
                    <a:pt x="1" y="377379"/>
                    <a:pt x="0" y="377380"/>
                    <a:pt x="0" y="377381"/>
                  </a:cubicBezTo>
                  <a:cubicBezTo>
                    <a:pt x="0" y="377382"/>
                    <a:pt x="0" y="308611"/>
                    <a:pt x="1" y="300015"/>
                  </a:cubicBezTo>
                  <a:close/>
                  <a:moveTo>
                    <a:pt x="925155" y="136141"/>
                  </a:moveTo>
                  <a:cubicBezTo>
                    <a:pt x="572477" y="136141"/>
                    <a:pt x="286574" y="220052"/>
                    <a:pt x="286574" y="323563"/>
                  </a:cubicBezTo>
                  <a:cubicBezTo>
                    <a:pt x="286574" y="427073"/>
                    <a:pt x="572477" y="510984"/>
                    <a:pt x="925155" y="510984"/>
                  </a:cubicBezTo>
                  <a:cubicBezTo>
                    <a:pt x="1277834" y="510984"/>
                    <a:pt x="1563737" y="427073"/>
                    <a:pt x="1563737" y="323563"/>
                  </a:cubicBezTo>
                  <a:cubicBezTo>
                    <a:pt x="1563737" y="220052"/>
                    <a:pt x="1277834" y="136141"/>
                    <a:pt x="925155" y="136141"/>
                  </a:cubicBezTo>
                  <a:close/>
                  <a:moveTo>
                    <a:pt x="925154" y="0"/>
                  </a:moveTo>
                  <a:cubicBezTo>
                    <a:pt x="1404168" y="0"/>
                    <a:pt x="1798155" y="148500"/>
                    <a:pt x="1845533" y="338796"/>
                  </a:cubicBezTo>
                  <a:lnTo>
                    <a:pt x="1848895" y="365965"/>
                  </a:lnTo>
                  <a:lnTo>
                    <a:pt x="1850308" y="365965"/>
                  </a:lnTo>
                  <a:lnTo>
                    <a:pt x="1850308" y="377381"/>
                  </a:lnTo>
                  <a:cubicBezTo>
                    <a:pt x="1850308" y="719762"/>
                    <a:pt x="1850309" y="2051836"/>
                    <a:pt x="1850309" y="2420253"/>
                  </a:cubicBezTo>
                  <a:lnTo>
                    <a:pt x="3004195" y="1412231"/>
                  </a:lnTo>
                  <a:lnTo>
                    <a:pt x="3004195" y="2420252"/>
                  </a:lnTo>
                  <a:lnTo>
                    <a:pt x="4158080" y="1412231"/>
                  </a:lnTo>
                  <a:cubicBezTo>
                    <a:pt x="4158080" y="2323002"/>
                    <a:pt x="4158079" y="3233773"/>
                    <a:pt x="4158079" y="4144544"/>
                  </a:cubicBezTo>
                  <a:lnTo>
                    <a:pt x="1" y="4144545"/>
                  </a:lnTo>
                  <a:lnTo>
                    <a:pt x="1" y="377385"/>
                  </a:lnTo>
                  <a:lnTo>
                    <a:pt x="1" y="377378"/>
                  </a:lnTo>
                  <a:lnTo>
                    <a:pt x="4778" y="338796"/>
                  </a:lnTo>
                  <a:cubicBezTo>
                    <a:pt x="52154" y="148500"/>
                    <a:pt x="446140" y="0"/>
                    <a:pt x="925154" y="0"/>
                  </a:cubicBezTo>
                  <a:close/>
                </a:path>
              </a:pathLst>
            </a:custGeom>
            <a:solidFill>
              <a:srgbClr val="59B4D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000" b="1" i="0" u="none" strike="noStrike" kern="0" cap="none" spc="0" normalizeH="0" baseline="0" noProof="0" dirty="0">
                <a:ln>
                  <a:noFill/>
                </a:ln>
                <a:solidFill>
                  <a:schemeClr val="tx1"/>
                </a:solidFill>
                <a:effectLst/>
                <a:uLnTx/>
                <a:uFillTx/>
                <a:latin typeface="+mj-lt"/>
                <a:ea typeface="Segoe UI" pitchFamily="34" charset="0"/>
                <a:cs typeface="Segoe UI" pitchFamily="34" charset="0"/>
              </a:endParaRPr>
            </a:p>
          </p:txBody>
        </p:sp>
        <p:sp>
          <p:nvSpPr>
            <p:cNvPr id="113" name="Rectangle 112"/>
            <p:cNvSpPr/>
            <p:nvPr/>
          </p:nvSpPr>
          <p:spPr bwMode="auto">
            <a:xfrm>
              <a:off x="3029010" y="4057650"/>
              <a:ext cx="498279" cy="2037434"/>
            </a:xfrm>
            <a:prstGeom prst="rect">
              <a:avLst/>
            </a:prstGeom>
            <a:solidFill>
              <a:srgbClr val="3999C6"/>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5439">
                      <a:srgbClr val="F8F8F8"/>
                    </a:gs>
                    <a:gs pos="10000">
                      <a:srgbClr val="F8F8F8"/>
                    </a:gs>
                  </a:gsLst>
                  <a:lin ang="5400000" scaled="0"/>
                </a:gradFill>
                <a:effectLst/>
                <a:uLnTx/>
                <a:uFillTx/>
              </a:endParaRPr>
            </a:p>
          </p:txBody>
        </p:sp>
        <p:sp>
          <p:nvSpPr>
            <p:cNvPr id="114" name="Oval 113"/>
            <p:cNvSpPr/>
            <p:nvPr/>
          </p:nvSpPr>
          <p:spPr bwMode="auto">
            <a:xfrm>
              <a:off x="3029010" y="3853608"/>
              <a:ext cx="1001426" cy="405085"/>
            </a:xfrm>
            <a:prstGeom prst="ellipse">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5439">
                      <a:srgbClr val="F8F8F8"/>
                    </a:gs>
                    <a:gs pos="10000">
                      <a:srgbClr val="F8F8F8"/>
                    </a:gs>
                  </a:gsLst>
                  <a:lin ang="5400000" scaled="0"/>
                </a:gradFill>
                <a:effectLst/>
                <a:uLnTx/>
                <a:uFillTx/>
              </a:endParaRPr>
            </a:p>
          </p:txBody>
        </p:sp>
        <p:sp>
          <p:nvSpPr>
            <p:cNvPr id="115" name="Oval 114"/>
            <p:cNvSpPr/>
            <p:nvPr/>
          </p:nvSpPr>
          <p:spPr bwMode="auto">
            <a:xfrm>
              <a:off x="3130747" y="3939810"/>
              <a:ext cx="797952" cy="232681"/>
            </a:xfrm>
            <a:prstGeom prst="ellipse">
              <a:avLst/>
            </a:prstGeom>
            <a:solidFill>
              <a:srgbClr val="B8D43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5439">
                      <a:srgbClr val="F8F8F8"/>
                    </a:gs>
                    <a:gs pos="10000">
                      <a:srgbClr val="F8F8F8"/>
                    </a:gs>
                  </a:gsLst>
                  <a:lin ang="5400000" scaled="0"/>
                </a:gradFill>
                <a:effectLst/>
                <a:uLnTx/>
                <a:uFillTx/>
              </a:endParaRPr>
            </a:p>
          </p:txBody>
        </p:sp>
        <p:sp>
          <p:nvSpPr>
            <p:cNvPr id="116" name="Freeform: Shape 115"/>
            <p:cNvSpPr/>
            <p:nvPr/>
          </p:nvSpPr>
          <p:spPr bwMode="auto">
            <a:xfrm>
              <a:off x="3222043" y="4080199"/>
              <a:ext cx="615360" cy="90262"/>
            </a:xfrm>
            <a:custGeom>
              <a:avLst/>
              <a:gdLst>
                <a:gd name="connsiteX0" fmla="*/ 307680 w 615360"/>
                <a:gd name="connsiteY0" fmla="*/ 0 h 90262"/>
                <a:gd name="connsiteX1" fmla="*/ 589799 w 615360"/>
                <a:gd name="connsiteY1" fmla="*/ 34076 h 90262"/>
                <a:gd name="connsiteX2" fmla="*/ 615360 w 615360"/>
                <a:gd name="connsiteY2" fmla="*/ 45131 h 90262"/>
                <a:gd name="connsiteX3" fmla="*/ 589799 w 615360"/>
                <a:gd name="connsiteY3" fmla="*/ 56186 h 90262"/>
                <a:gd name="connsiteX4" fmla="*/ 307680 w 615360"/>
                <a:gd name="connsiteY4" fmla="*/ 90262 h 90262"/>
                <a:gd name="connsiteX5" fmla="*/ 25562 w 615360"/>
                <a:gd name="connsiteY5" fmla="*/ 56186 h 90262"/>
                <a:gd name="connsiteX6" fmla="*/ 0 w 615360"/>
                <a:gd name="connsiteY6" fmla="*/ 45131 h 90262"/>
                <a:gd name="connsiteX7" fmla="*/ 25562 w 615360"/>
                <a:gd name="connsiteY7" fmla="*/ 34076 h 90262"/>
                <a:gd name="connsiteX8" fmla="*/ 307680 w 615360"/>
                <a:gd name="connsiteY8" fmla="*/ 0 h 90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15360" h="90262">
                  <a:moveTo>
                    <a:pt x="307680" y="0"/>
                  </a:moveTo>
                  <a:cubicBezTo>
                    <a:pt x="417854" y="0"/>
                    <a:pt x="517598" y="13022"/>
                    <a:pt x="589799" y="34076"/>
                  </a:cubicBezTo>
                  <a:lnTo>
                    <a:pt x="615360" y="45131"/>
                  </a:lnTo>
                  <a:lnTo>
                    <a:pt x="589799" y="56186"/>
                  </a:lnTo>
                  <a:cubicBezTo>
                    <a:pt x="517598" y="77240"/>
                    <a:pt x="417854" y="90262"/>
                    <a:pt x="307680" y="90262"/>
                  </a:cubicBezTo>
                  <a:cubicBezTo>
                    <a:pt x="197506" y="90262"/>
                    <a:pt x="97762" y="77240"/>
                    <a:pt x="25562" y="56186"/>
                  </a:cubicBezTo>
                  <a:lnTo>
                    <a:pt x="0" y="45131"/>
                  </a:lnTo>
                  <a:lnTo>
                    <a:pt x="25562" y="34076"/>
                  </a:lnTo>
                  <a:cubicBezTo>
                    <a:pt x="97762" y="13022"/>
                    <a:pt x="197506" y="0"/>
                    <a:pt x="307680" y="0"/>
                  </a:cubicBezTo>
                  <a:close/>
                </a:path>
              </a:pathLst>
            </a:custGeom>
            <a:solidFill>
              <a:srgbClr val="7FBA0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5439">
                      <a:srgbClr val="F8F8F8"/>
                    </a:gs>
                    <a:gs pos="10000">
                      <a:srgbClr val="F8F8F8"/>
                    </a:gs>
                  </a:gsLst>
                  <a:lin ang="5400000" scaled="0"/>
                </a:gradFill>
                <a:effectLst/>
                <a:uLnTx/>
                <a:uFillTx/>
              </a:endParaRPr>
            </a:p>
          </p:txBody>
        </p:sp>
      </p:grpSp>
      <p:pic>
        <p:nvPicPr>
          <p:cNvPr id="117" name="Graphic 17"/>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694905" y="2390641"/>
            <a:ext cx="809638" cy="809638"/>
          </a:xfrm>
          <a:prstGeom prst="rect">
            <a:avLst/>
          </a:prstGeom>
        </p:spPr>
      </p:pic>
      <p:pic>
        <p:nvPicPr>
          <p:cNvPr id="119" name="Picture 2" descr="https://upload.wikimedia.org/wikipedia/commons/2/2f/PowerShell_5.0_icon.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6669698" y="2408518"/>
            <a:ext cx="773884" cy="773884"/>
          </a:xfrm>
          <a:prstGeom prst="rect">
            <a:avLst/>
          </a:prstGeom>
          <a:noFill/>
          <a:extLst>
            <a:ext uri="{909E8E84-426E-40DD-AFC4-6F175D3DCCD1}">
              <a14:hiddenFill xmlns:a14="http://schemas.microsoft.com/office/drawing/2010/main">
                <a:solidFill>
                  <a:srgbClr val="FFFFFF"/>
                </a:solidFill>
              </a14:hiddenFill>
            </a:ext>
          </a:extLst>
        </p:spPr>
      </p:pic>
      <p:pic>
        <p:nvPicPr>
          <p:cNvPr id="2050" name="Picture 2" descr="https://azure.microsoft.com/svghandler/stream-analytics/?width=600&amp;height=315"/>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l="14256" r="15050"/>
          <a:stretch/>
        </p:blipFill>
        <p:spPr bwMode="auto">
          <a:xfrm>
            <a:off x="2510627" y="2405359"/>
            <a:ext cx="1047759" cy="778102"/>
          </a:xfrm>
          <a:prstGeom prst="rect">
            <a:avLst/>
          </a:prstGeom>
          <a:noFill/>
          <a:extLst>
            <a:ext uri="{909E8E84-426E-40DD-AFC4-6F175D3DCCD1}">
              <a14:hiddenFill xmlns:a14="http://schemas.microsoft.com/office/drawing/2010/main">
                <a:solidFill>
                  <a:srgbClr val="FFFFFF"/>
                </a:solidFill>
              </a14:hiddenFill>
            </a:ext>
          </a:extLst>
        </p:spPr>
      </p:pic>
      <p:sp>
        <p:nvSpPr>
          <p:cNvPr id="128" name="Freeform 5"/>
          <p:cNvSpPr>
            <a:spLocks noEditPoints="1"/>
          </p:cNvSpPr>
          <p:nvPr/>
        </p:nvSpPr>
        <p:spPr bwMode="auto">
          <a:xfrm>
            <a:off x="8675545" y="2522698"/>
            <a:ext cx="693174" cy="545523"/>
          </a:xfrm>
          <a:custGeom>
            <a:avLst/>
            <a:gdLst>
              <a:gd name="T0" fmla="*/ 3752 w 5983"/>
              <a:gd name="T1" fmla="*/ 2549 h 4697"/>
              <a:gd name="T2" fmla="*/ 2693 w 5983"/>
              <a:gd name="T3" fmla="*/ 4063 h 4697"/>
              <a:gd name="T4" fmla="*/ 2651 w 5983"/>
              <a:gd name="T5" fmla="*/ 4087 h 4697"/>
              <a:gd name="T6" fmla="*/ 2627 w 5983"/>
              <a:gd name="T7" fmla="*/ 4081 h 4697"/>
              <a:gd name="T8" fmla="*/ 2603 w 5983"/>
              <a:gd name="T9" fmla="*/ 4021 h 4697"/>
              <a:gd name="T10" fmla="*/ 2878 w 5983"/>
              <a:gd name="T11" fmla="*/ 3117 h 4697"/>
              <a:gd name="T12" fmla="*/ 2262 w 5983"/>
              <a:gd name="T13" fmla="*/ 3117 h 4697"/>
              <a:gd name="T14" fmla="*/ 2214 w 5983"/>
              <a:gd name="T15" fmla="*/ 3087 h 4697"/>
              <a:gd name="T16" fmla="*/ 2220 w 5983"/>
              <a:gd name="T17" fmla="*/ 3034 h 4697"/>
              <a:gd name="T18" fmla="*/ 3249 w 5983"/>
              <a:gd name="T19" fmla="*/ 1538 h 4697"/>
              <a:gd name="T20" fmla="*/ 3291 w 5983"/>
              <a:gd name="T21" fmla="*/ 1514 h 4697"/>
              <a:gd name="T22" fmla="*/ 3315 w 5983"/>
              <a:gd name="T23" fmla="*/ 1520 h 4697"/>
              <a:gd name="T24" fmla="*/ 3339 w 5983"/>
              <a:gd name="T25" fmla="*/ 1580 h 4697"/>
              <a:gd name="T26" fmla="*/ 3075 w 5983"/>
              <a:gd name="T27" fmla="*/ 2465 h 4697"/>
              <a:gd name="T28" fmla="*/ 3710 w 5983"/>
              <a:gd name="T29" fmla="*/ 2465 h 4697"/>
              <a:gd name="T30" fmla="*/ 3763 w 5983"/>
              <a:gd name="T31" fmla="*/ 2519 h 4697"/>
              <a:gd name="T32" fmla="*/ 3752 w 5983"/>
              <a:gd name="T33" fmla="*/ 2549 h 4697"/>
              <a:gd name="T34" fmla="*/ 5750 w 5983"/>
              <a:gd name="T35" fmla="*/ 754 h 4697"/>
              <a:gd name="T36" fmla="*/ 0 w 5983"/>
              <a:gd name="T37" fmla="*/ 754 h 4697"/>
              <a:gd name="T38" fmla="*/ 0 w 5983"/>
              <a:gd name="T39" fmla="*/ 4326 h 4697"/>
              <a:gd name="T40" fmla="*/ 371 w 5983"/>
              <a:gd name="T41" fmla="*/ 4697 h 4697"/>
              <a:gd name="T42" fmla="*/ 5612 w 5983"/>
              <a:gd name="T43" fmla="*/ 4697 h 4697"/>
              <a:gd name="T44" fmla="*/ 5983 w 5983"/>
              <a:gd name="T45" fmla="*/ 4326 h 4697"/>
              <a:gd name="T46" fmla="*/ 5983 w 5983"/>
              <a:gd name="T47" fmla="*/ 1095 h 4697"/>
              <a:gd name="T48" fmla="*/ 5750 w 5983"/>
              <a:gd name="T49" fmla="*/ 754 h 4697"/>
              <a:gd name="T50" fmla="*/ 3536 w 5983"/>
              <a:gd name="T51" fmla="*/ 485 h 4697"/>
              <a:gd name="T52" fmla="*/ 3363 w 5983"/>
              <a:gd name="T53" fmla="*/ 186 h 4697"/>
              <a:gd name="T54" fmla="*/ 3040 w 5983"/>
              <a:gd name="T55" fmla="*/ 0 h 4697"/>
              <a:gd name="T56" fmla="*/ 371 w 5983"/>
              <a:gd name="T57" fmla="*/ 0 h 4697"/>
              <a:gd name="T58" fmla="*/ 0 w 5983"/>
              <a:gd name="T59" fmla="*/ 371 h 4697"/>
              <a:gd name="T60" fmla="*/ 0 w 5983"/>
              <a:gd name="T61" fmla="*/ 563 h 4697"/>
              <a:gd name="T62" fmla="*/ 3602 w 5983"/>
              <a:gd name="T63" fmla="*/ 563 h 4697"/>
              <a:gd name="T64" fmla="*/ 3536 w 5983"/>
              <a:gd name="T65" fmla="*/ 485 h 46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983" h="4697">
                <a:moveTo>
                  <a:pt x="3752" y="2549"/>
                </a:moveTo>
                <a:lnTo>
                  <a:pt x="2693" y="4063"/>
                </a:lnTo>
                <a:cubicBezTo>
                  <a:pt x="2681" y="4075"/>
                  <a:pt x="2669" y="4087"/>
                  <a:pt x="2651" y="4087"/>
                </a:cubicBezTo>
                <a:cubicBezTo>
                  <a:pt x="2645" y="4087"/>
                  <a:pt x="2633" y="4087"/>
                  <a:pt x="2627" y="4081"/>
                </a:cubicBezTo>
                <a:cubicBezTo>
                  <a:pt x="2603" y="4069"/>
                  <a:pt x="2591" y="4045"/>
                  <a:pt x="2603" y="4021"/>
                </a:cubicBezTo>
                <a:lnTo>
                  <a:pt x="2878" y="3117"/>
                </a:lnTo>
                <a:lnTo>
                  <a:pt x="2262" y="3117"/>
                </a:lnTo>
                <a:cubicBezTo>
                  <a:pt x="2244" y="3117"/>
                  <a:pt x="2226" y="3105"/>
                  <a:pt x="2214" y="3087"/>
                </a:cubicBezTo>
                <a:cubicBezTo>
                  <a:pt x="2208" y="3070"/>
                  <a:pt x="2208" y="3052"/>
                  <a:pt x="2220" y="3034"/>
                </a:cubicBezTo>
                <a:lnTo>
                  <a:pt x="3249" y="1538"/>
                </a:lnTo>
                <a:cubicBezTo>
                  <a:pt x="3261" y="1526"/>
                  <a:pt x="3273" y="1514"/>
                  <a:pt x="3291" y="1514"/>
                </a:cubicBezTo>
                <a:cubicBezTo>
                  <a:pt x="3297" y="1514"/>
                  <a:pt x="3303" y="1514"/>
                  <a:pt x="3315" y="1520"/>
                </a:cubicBezTo>
                <a:cubicBezTo>
                  <a:pt x="3339" y="1532"/>
                  <a:pt x="3351" y="1556"/>
                  <a:pt x="3339" y="1580"/>
                </a:cubicBezTo>
                <a:lnTo>
                  <a:pt x="3075" y="2465"/>
                </a:lnTo>
                <a:lnTo>
                  <a:pt x="3710" y="2465"/>
                </a:lnTo>
                <a:cubicBezTo>
                  <a:pt x="3740" y="2465"/>
                  <a:pt x="3763" y="2489"/>
                  <a:pt x="3763" y="2519"/>
                </a:cubicBezTo>
                <a:cubicBezTo>
                  <a:pt x="3763" y="2531"/>
                  <a:pt x="3758" y="2537"/>
                  <a:pt x="3752" y="2549"/>
                </a:cubicBezTo>
                <a:close/>
                <a:moveTo>
                  <a:pt x="5750" y="754"/>
                </a:moveTo>
                <a:lnTo>
                  <a:pt x="0" y="754"/>
                </a:lnTo>
                <a:lnTo>
                  <a:pt x="0" y="4326"/>
                </a:lnTo>
                <a:cubicBezTo>
                  <a:pt x="0" y="4529"/>
                  <a:pt x="168" y="4697"/>
                  <a:pt x="371" y="4697"/>
                </a:cubicBezTo>
                <a:lnTo>
                  <a:pt x="5612" y="4697"/>
                </a:lnTo>
                <a:cubicBezTo>
                  <a:pt x="5816" y="4697"/>
                  <a:pt x="5983" y="4529"/>
                  <a:pt x="5983" y="4326"/>
                </a:cubicBezTo>
                <a:lnTo>
                  <a:pt x="5983" y="1095"/>
                </a:lnTo>
                <a:cubicBezTo>
                  <a:pt x="5983" y="946"/>
                  <a:pt x="5887" y="814"/>
                  <a:pt x="5750" y="754"/>
                </a:cubicBezTo>
                <a:close/>
                <a:moveTo>
                  <a:pt x="3536" y="485"/>
                </a:moveTo>
                <a:lnTo>
                  <a:pt x="3363" y="186"/>
                </a:lnTo>
                <a:cubicBezTo>
                  <a:pt x="3297" y="72"/>
                  <a:pt x="3171" y="0"/>
                  <a:pt x="3040" y="0"/>
                </a:cubicBezTo>
                <a:lnTo>
                  <a:pt x="371" y="0"/>
                </a:lnTo>
                <a:cubicBezTo>
                  <a:pt x="168" y="0"/>
                  <a:pt x="0" y="168"/>
                  <a:pt x="0" y="371"/>
                </a:cubicBezTo>
                <a:lnTo>
                  <a:pt x="0" y="563"/>
                </a:lnTo>
                <a:lnTo>
                  <a:pt x="3602" y="563"/>
                </a:lnTo>
                <a:cubicBezTo>
                  <a:pt x="3572" y="545"/>
                  <a:pt x="3554" y="515"/>
                  <a:pt x="3536" y="485"/>
                </a:cubicBezTo>
                <a:close/>
              </a:path>
            </a:pathLst>
          </a:custGeom>
          <a:solidFill>
            <a:srgbClr val="59B4D9"/>
          </a:solidFill>
          <a:ln w="0">
            <a:noFill/>
            <a:prstDash val="solid"/>
            <a:round/>
            <a:headEnd/>
            <a:tailEnd/>
          </a:ln>
        </p:spPr>
        <p:txBody>
          <a:bodyPr vert="horz" wrap="square" lIns="74702" tIns="37351" rIns="74702" bIns="37351" numCol="1" anchor="t" anchorCtr="0" compatLnSpc="1">
            <a:prstTxWarp prst="textNoShape">
              <a:avLst/>
            </a:prstTxWarp>
          </a:bodyPr>
          <a:lstStyle/>
          <a:p>
            <a:pPr marL="0" marR="0" lvl="0" indent="0" defTabSz="896350" eaLnBrk="1" fontAlgn="base" latinLnBrk="0" hangingPunct="1">
              <a:lnSpc>
                <a:spcPct val="100000"/>
              </a:lnSpc>
              <a:spcBef>
                <a:spcPct val="0"/>
              </a:spcBef>
              <a:spcAft>
                <a:spcPct val="0"/>
              </a:spcAft>
              <a:buClrTx/>
              <a:buSzTx/>
              <a:buFontTx/>
              <a:buNone/>
              <a:tabLst/>
              <a:defRPr/>
            </a:pPr>
            <a:endParaRPr kumimoji="0" lang="en-US" sz="2353" b="0" i="0" u="none" strike="noStrike" kern="0" cap="none" spc="0" normalizeH="0" baseline="0" noProof="0">
              <a:ln>
                <a:noFill/>
              </a:ln>
              <a:solidFill>
                <a:prstClr val="white"/>
              </a:solidFill>
              <a:effectLst/>
              <a:uLnTx/>
              <a:uFillTx/>
            </a:endParaRPr>
          </a:p>
        </p:txBody>
      </p:sp>
      <p:sp>
        <p:nvSpPr>
          <p:cNvPr id="131" name="TextBox 130"/>
          <p:cNvSpPr txBox="1"/>
          <p:nvPr/>
        </p:nvSpPr>
        <p:spPr>
          <a:xfrm>
            <a:off x="10515693" y="2448115"/>
            <a:ext cx="979154" cy="620106"/>
          </a:xfrm>
          <a:custGeom>
            <a:avLst/>
            <a:gdLst/>
            <a:ahLst/>
            <a:cxnLst/>
            <a:rect l="l" t="t" r="r" b="b"/>
            <a:pathLst>
              <a:path w="1709987" h="1082948">
                <a:moveTo>
                  <a:pt x="998518" y="371864"/>
                </a:moveTo>
                <a:lnTo>
                  <a:pt x="998518" y="427526"/>
                </a:lnTo>
                <a:cubicBezTo>
                  <a:pt x="1030268" y="427526"/>
                  <a:pt x="1046143" y="444790"/>
                  <a:pt x="1046143" y="479318"/>
                </a:cubicBezTo>
                <a:lnTo>
                  <a:pt x="1046143" y="540337"/>
                </a:lnTo>
                <a:cubicBezTo>
                  <a:pt x="1046143" y="589947"/>
                  <a:pt x="1061324" y="621002"/>
                  <a:pt x="1091685" y="633504"/>
                </a:cubicBezTo>
                <a:lnTo>
                  <a:pt x="1091685" y="634694"/>
                </a:lnTo>
                <a:cubicBezTo>
                  <a:pt x="1061324" y="646601"/>
                  <a:pt x="1046143" y="676267"/>
                  <a:pt x="1046143" y="723694"/>
                </a:cubicBezTo>
                <a:lnTo>
                  <a:pt x="1046143" y="787095"/>
                </a:lnTo>
                <a:cubicBezTo>
                  <a:pt x="1046143" y="806343"/>
                  <a:pt x="1042373" y="819986"/>
                  <a:pt x="1034832" y="828022"/>
                </a:cubicBezTo>
                <a:cubicBezTo>
                  <a:pt x="1027292" y="836059"/>
                  <a:pt x="1015187" y="840077"/>
                  <a:pt x="998518" y="840077"/>
                </a:cubicBezTo>
                <a:lnTo>
                  <a:pt x="998518" y="895739"/>
                </a:lnTo>
                <a:cubicBezTo>
                  <a:pt x="1041976" y="895739"/>
                  <a:pt x="1073379" y="887802"/>
                  <a:pt x="1092727" y="871927"/>
                </a:cubicBezTo>
                <a:cubicBezTo>
                  <a:pt x="1112074" y="856052"/>
                  <a:pt x="1121748" y="827179"/>
                  <a:pt x="1121748" y="785309"/>
                </a:cubicBezTo>
                <a:lnTo>
                  <a:pt x="1121748" y="716550"/>
                </a:lnTo>
                <a:cubicBezTo>
                  <a:pt x="1121748" y="679442"/>
                  <a:pt x="1136928" y="660888"/>
                  <a:pt x="1167289" y="660888"/>
                </a:cubicBezTo>
                <a:lnTo>
                  <a:pt x="1167289" y="606119"/>
                </a:lnTo>
                <a:cubicBezTo>
                  <a:pt x="1136928" y="606119"/>
                  <a:pt x="1121748" y="587367"/>
                  <a:pt x="1121748" y="549862"/>
                </a:cubicBezTo>
                <a:lnTo>
                  <a:pt x="1121748" y="481699"/>
                </a:lnTo>
                <a:cubicBezTo>
                  <a:pt x="1121748" y="441615"/>
                  <a:pt x="1112025" y="413288"/>
                  <a:pt x="1092578" y="396718"/>
                </a:cubicBezTo>
                <a:cubicBezTo>
                  <a:pt x="1073131" y="380149"/>
                  <a:pt x="1041778" y="371864"/>
                  <a:pt x="998518" y="371864"/>
                </a:cubicBezTo>
                <a:close/>
                <a:moveTo>
                  <a:pt x="850286" y="371864"/>
                </a:moveTo>
                <a:cubicBezTo>
                  <a:pt x="806629" y="371864"/>
                  <a:pt x="775078" y="380149"/>
                  <a:pt x="755631" y="396718"/>
                </a:cubicBezTo>
                <a:cubicBezTo>
                  <a:pt x="736184" y="413288"/>
                  <a:pt x="726461" y="442012"/>
                  <a:pt x="726461" y="482890"/>
                </a:cubicBezTo>
                <a:lnTo>
                  <a:pt x="726461" y="549267"/>
                </a:lnTo>
                <a:cubicBezTo>
                  <a:pt x="726461" y="587169"/>
                  <a:pt x="711379" y="606119"/>
                  <a:pt x="681217" y="606119"/>
                </a:cubicBezTo>
                <a:lnTo>
                  <a:pt x="681217" y="660888"/>
                </a:lnTo>
                <a:cubicBezTo>
                  <a:pt x="711379" y="660888"/>
                  <a:pt x="726461" y="679145"/>
                  <a:pt x="726461" y="715657"/>
                </a:cubicBezTo>
                <a:lnTo>
                  <a:pt x="726461" y="787095"/>
                </a:lnTo>
                <a:cubicBezTo>
                  <a:pt x="726461" y="827774"/>
                  <a:pt x="736283" y="856052"/>
                  <a:pt x="755929" y="871927"/>
                </a:cubicBezTo>
                <a:cubicBezTo>
                  <a:pt x="775574" y="887802"/>
                  <a:pt x="807026" y="895739"/>
                  <a:pt x="850286" y="895739"/>
                </a:cubicBezTo>
                <a:lnTo>
                  <a:pt x="850286" y="840077"/>
                </a:lnTo>
                <a:cubicBezTo>
                  <a:pt x="833418" y="840077"/>
                  <a:pt x="821264" y="836009"/>
                  <a:pt x="813823" y="827873"/>
                </a:cubicBezTo>
                <a:cubicBezTo>
                  <a:pt x="806381" y="819737"/>
                  <a:pt x="802661" y="805946"/>
                  <a:pt x="802661" y="786499"/>
                </a:cubicBezTo>
                <a:lnTo>
                  <a:pt x="802661" y="725480"/>
                </a:lnTo>
                <a:cubicBezTo>
                  <a:pt x="802661" y="676862"/>
                  <a:pt x="787381" y="646402"/>
                  <a:pt x="756821" y="634099"/>
                </a:cubicBezTo>
                <a:lnTo>
                  <a:pt x="756821" y="632909"/>
                </a:lnTo>
                <a:cubicBezTo>
                  <a:pt x="787381" y="620407"/>
                  <a:pt x="802661" y="590344"/>
                  <a:pt x="802661" y="542719"/>
                </a:cubicBezTo>
                <a:lnTo>
                  <a:pt x="802661" y="479318"/>
                </a:lnTo>
                <a:cubicBezTo>
                  <a:pt x="802661" y="444790"/>
                  <a:pt x="818536" y="427526"/>
                  <a:pt x="850286" y="427526"/>
                </a:cubicBezTo>
                <a:close/>
                <a:moveTo>
                  <a:pt x="929156" y="589"/>
                </a:moveTo>
                <a:cubicBezTo>
                  <a:pt x="960411" y="-980"/>
                  <a:pt x="992286" y="550"/>
                  <a:pt x="1024456" y="5602"/>
                </a:cubicBezTo>
                <a:cubicBezTo>
                  <a:pt x="1292394" y="47677"/>
                  <a:pt x="1503526" y="302698"/>
                  <a:pt x="1466046" y="566430"/>
                </a:cubicBezTo>
                <a:cubicBezTo>
                  <a:pt x="1659015" y="593599"/>
                  <a:pt x="1709638" y="745731"/>
                  <a:pt x="1709986" y="823614"/>
                </a:cubicBezTo>
                <a:cubicBezTo>
                  <a:pt x="1710446" y="926074"/>
                  <a:pt x="1623448" y="1083726"/>
                  <a:pt x="1455615" y="1082946"/>
                </a:cubicBezTo>
                <a:lnTo>
                  <a:pt x="370875" y="1082946"/>
                </a:lnTo>
                <a:cubicBezTo>
                  <a:pt x="150150" y="1081626"/>
                  <a:pt x="4414" y="884511"/>
                  <a:pt x="81" y="704920"/>
                </a:cubicBezTo>
                <a:cubicBezTo>
                  <a:pt x="-4253" y="525329"/>
                  <a:pt x="164429" y="245150"/>
                  <a:pt x="475705" y="344101"/>
                </a:cubicBezTo>
                <a:cubicBezTo>
                  <a:pt x="521976" y="174400"/>
                  <a:pt x="710370" y="11570"/>
                  <a:pt x="929156" y="589"/>
                </a:cubicBezTo>
                <a:close/>
              </a:path>
            </a:pathLst>
          </a:custGeom>
          <a:solidFill>
            <a:schemeClr val="accent2"/>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defTabSz="914400" eaLnBrk="1" fontAlgn="auto" latinLnBrk="0" hangingPunct="1">
              <a:lnSpc>
                <a:spcPct val="90000"/>
              </a:lnSpc>
              <a:spcBef>
                <a:spcPts val="0"/>
              </a:spcBef>
              <a:spcAft>
                <a:spcPts val="600"/>
              </a:spcAft>
              <a:buClrTx/>
              <a:buSzTx/>
              <a:buFontTx/>
              <a:buNone/>
              <a:tabLst/>
              <a:defRPr/>
            </a:pPr>
            <a:endParaRPr kumimoji="0" lang="en-US" sz="4800" b="1" i="0" u="none" strike="noStrike" kern="0" cap="none" spc="0" normalizeH="0" baseline="0" noProof="0" dirty="0">
              <a:ln>
                <a:noFill/>
              </a:ln>
              <a:solidFill>
                <a:schemeClr val="bg1"/>
              </a:solidFill>
              <a:effectLst/>
              <a:uLnTx/>
              <a:uFillTx/>
            </a:endParaRPr>
          </a:p>
        </p:txBody>
      </p:sp>
    </p:spTree>
    <p:extLst>
      <p:ext uri="{BB962C8B-B14F-4D97-AF65-F5344CB8AC3E}">
        <p14:creationId xmlns:p14="http://schemas.microsoft.com/office/powerpoint/2010/main" val="301422958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3" name="Group 22"/>
          <p:cNvGrpSpPr/>
          <p:nvPr/>
        </p:nvGrpSpPr>
        <p:grpSpPr>
          <a:xfrm>
            <a:off x="5292798" y="1192676"/>
            <a:ext cx="6377380" cy="4453960"/>
            <a:chOff x="5292798" y="1415824"/>
            <a:chExt cx="6377380" cy="4453960"/>
          </a:xfrm>
        </p:grpSpPr>
        <p:sp>
          <p:nvSpPr>
            <p:cNvPr id="24" name="Rectangle 74"/>
            <p:cNvSpPr/>
            <p:nvPr/>
          </p:nvSpPr>
          <p:spPr>
            <a:xfrm>
              <a:off x="7598017" y="2372018"/>
              <a:ext cx="1773789" cy="2279648"/>
            </a:xfrm>
            <a:custGeom>
              <a:avLst/>
              <a:gdLst/>
              <a:ahLst/>
              <a:cxnLst/>
              <a:rect l="l" t="t" r="r" b="b"/>
              <a:pathLst>
                <a:path w="93101" h="119655">
                  <a:moveTo>
                    <a:pt x="46888" y="61255"/>
                  </a:moveTo>
                  <a:cubicBezTo>
                    <a:pt x="40157" y="61255"/>
                    <a:pt x="34700" y="66712"/>
                    <a:pt x="34700" y="73443"/>
                  </a:cubicBezTo>
                  <a:cubicBezTo>
                    <a:pt x="34700" y="78113"/>
                    <a:pt x="37327" y="82169"/>
                    <a:pt x="41596" y="83438"/>
                  </a:cubicBezTo>
                  <a:lnTo>
                    <a:pt x="38933" y="104741"/>
                  </a:lnTo>
                  <a:lnTo>
                    <a:pt x="55183" y="104741"/>
                  </a:lnTo>
                  <a:lnTo>
                    <a:pt x="52504" y="83305"/>
                  </a:lnTo>
                  <a:cubicBezTo>
                    <a:pt x="56597" y="81937"/>
                    <a:pt x="59076" y="77980"/>
                    <a:pt x="59076" y="73443"/>
                  </a:cubicBezTo>
                  <a:cubicBezTo>
                    <a:pt x="59076" y="66712"/>
                    <a:pt x="53619" y="61255"/>
                    <a:pt x="46888" y="61255"/>
                  </a:cubicBezTo>
                  <a:close/>
                  <a:moveTo>
                    <a:pt x="47468" y="17532"/>
                  </a:moveTo>
                  <a:cubicBezTo>
                    <a:pt x="43681" y="17333"/>
                    <a:pt x="39830" y="18360"/>
                    <a:pt x="36547" y="20648"/>
                  </a:cubicBezTo>
                  <a:cubicBezTo>
                    <a:pt x="29978" y="25222"/>
                    <a:pt x="27348" y="33667"/>
                    <a:pt x="30159" y="41162"/>
                  </a:cubicBezTo>
                  <a:lnTo>
                    <a:pt x="29615" y="41365"/>
                  </a:lnTo>
                  <a:lnTo>
                    <a:pt x="62407" y="41365"/>
                  </a:lnTo>
                  <a:cubicBezTo>
                    <a:pt x="65562" y="34644"/>
                    <a:pt x="63689" y="26692"/>
                    <a:pt x="58003" y="21774"/>
                  </a:cubicBezTo>
                  <a:cubicBezTo>
                    <a:pt x="54976" y="19155"/>
                    <a:pt x="51254" y="17730"/>
                    <a:pt x="47468" y="17532"/>
                  </a:cubicBezTo>
                  <a:close/>
                  <a:moveTo>
                    <a:pt x="48385" y="49"/>
                  </a:moveTo>
                  <a:cubicBezTo>
                    <a:pt x="55959" y="446"/>
                    <a:pt x="63402" y="3297"/>
                    <a:pt x="69456" y="8533"/>
                  </a:cubicBezTo>
                  <a:cubicBezTo>
                    <a:pt x="79598" y="17305"/>
                    <a:pt x="83675" y="30904"/>
                    <a:pt x="78885" y="43093"/>
                  </a:cubicBezTo>
                  <a:cubicBezTo>
                    <a:pt x="87177" y="43906"/>
                    <a:pt x="93101" y="51139"/>
                    <a:pt x="93101" y="59752"/>
                  </a:cubicBezTo>
                  <a:lnTo>
                    <a:pt x="93101" y="119654"/>
                  </a:lnTo>
                  <a:lnTo>
                    <a:pt x="0" y="119655"/>
                  </a:lnTo>
                  <a:lnTo>
                    <a:pt x="0" y="59752"/>
                  </a:lnTo>
                  <a:cubicBezTo>
                    <a:pt x="0" y="51365"/>
                    <a:pt x="5617" y="44289"/>
                    <a:pt x="13654" y="43326"/>
                  </a:cubicBezTo>
                  <a:cubicBezTo>
                    <a:pt x="9060" y="29605"/>
                    <a:pt x="14482" y="14678"/>
                    <a:pt x="26544" y="6281"/>
                  </a:cubicBezTo>
                  <a:cubicBezTo>
                    <a:pt x="33111" y="1706"/>
                    <a:pt x="40813" y="-348"/>
                    <a:pt x="48385" y="49"/>
                  </a:cubicBezTo>
                  <a:close/>
                </a:path>
              </a:pathLst>
            </a:custGeom>
            <a:solidFill>
              <a:schemeClr val="accent6"/>
            </a:solidFill>
            <a:ln w="6350" cap="flat" cmpd="sng" algn="ctr">
              <a:no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25" name="Arc 24"/>
            <p:cNvSpPr/>
            <p:nvPr/>
          </p:nvSpPr>
          <p:spPr>
            <a:xfrm rot="2928516">
              <a:off x="8350717" y="987486"/>
              <a:ext cx="681705" cy="5390437"/>
            </a:xfrm>
            <a:prstGeom prst="arc">
              <a:avLst>
                <a:gd name="adj1" fmla="val 14976134"/>
                <a:gd name="adj2" fmla="val 6281761"/>
              </a:avLst>
            </a:prstGeom>
            <a:noFill/>
            <a:ln w="9525" cap="flat" cmpd="sng" algn="ctr">
              <a:solidFill>
                <a:srgbClr val="FFFFFF"/>
              </a:solidFill>
              <a:prstDash val="solid"/>
              <a:headEnd type="none"/>
              <a:tailEnd type="none"/>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26" name="Arc 25"/>
            <p:cNvSpPr/>
            <p:nvPr/>
          </p:nvSpPr>
          <p:spPr>
            <a:xfrm rot="18809525" flipH="1">
              <a:off x="7988365" y="913145"/>
              <a:ext cx="612456" cy="5212802"/>
            </a:xfrm>
            <a:prstGeom prst="arc">
              <a:avLst>
                <a:gd name="adj1" fmla="val 15059208"/>
                <a:gd name="adj2" fmla="val 6138459"/>
              </a:avLst>
            </a:prstGeom>
            <a:noFill/>
            <a:ln w="9525" cap="flat" cmpd="sng" algn="ctr">
              <a:solidFill>
                <a:srgbClr val="FFFFFF"/>
              </a:solidFill>
              <a:prstDash val="solid"/>
              <a:headEnd type="none"/>
              <a:tailEnd type="none"/>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27" name="Arc 26"/>
            <p:cNvSpPr/>
            <p:nvPr/>
          </p:nvSpPr>
          <p:spPr>
            <a:xfrm rot="5400000">
              <a:off x="8391295" y="957391"/>
              <a:ext cx="474281" cy="5390437"/>
            </a:xfrm>
            <a:prstGeom prst="arc">
              <a:avLst>
                <a:gd name="adj1" fmla="val 15165605"/>
                <a:gd name="adj2" fmla="val 6121132"/>
              </a:avLst>
            </a:prstGeom>
            <a:noFill/>
            <a:ln w="9525" cap="flat" cmpd="sng" algn="ctr">
              <a:solidFill>
                <a:srgbClr val="FFFFFF"/>
              </a:solidFill>
              <a:prstDash val="solid"/>
              <a:headEnd type="none"/>
              <a:tailEnd type="none"/>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28" name="Freeform 27"/>
            <p:cNvSpPr>
              <a:spLocks noEditPoints="1"/>
            </p:cNvSpPr>
            <p:nvPr/>
          </p:nvSpPr>
          <p:spPr bwMode="black">
            <a:xfrm>
              <a:off x="10504074" y="1677186"/>
              <a:ext cx="760311" cy="650364"/>
            </a:xfrm>
            <a:custGeom>
              <a:avLst/>
              <a:gdLst>
                <a:gd name="T0" fmla="*/ 2004 w 2444"/>
                <a:gd name="T1" fmla="*/ 326 h 2090"/>
                <a:gd name="T2" fmla="*/ 1774 w 2444"/>
                <a:gd name="T3" fmla="*/ 391 h 2090"/>
                <a:gd name="T4" fmla="*/ 1156 w 2444"/>
                <a:gd name="T5" fmla="*/ 0 h 2090"/>
                <a:gd name="T6" fmla="*/ 489 w 2444"/>
                <a:gd name="T7" fmla="*/ 535 h 2090"/>
                <a:gd name="T8" fmla="*/ 350 w 2444"/>
                <a:gd name="T9" fmla="*/ 506 h 2090"/>
                <a:gd name="T10" fmla="*/ 0 w 2444"/>
                <a:gd name="T11" fmla="*/ 856 h 2090"/>
                <a:gd name="T12" fmla="*/ 350 w 2444"/>
                <a:gd name="T13" fmla="*/ 1206 h 2090"/>
                <a:gd name="T14" fmla="*/ 2004 w 2444"/>
                <a:gd name="T15" fmla="*/ 1206 h 2090"/>
                <a:gd name="T16" fmla="*/ 2444 w 2444"/>
                <a:gd name="T17" fmla="*/ 766 h 2090"/>
                <a:gd name="T18" fmla="*/ 2004 w 2444"/>
                <a:gd name="T19" fmla="*/ 326 h 2090"/>
                <a:gd name="T20" fmla="*/ 1590 w 2444"/>
                <a:gd name="T21" fmla="*/ 1326 h 2090"/>
                <a:gd name="T22" fmla="*/ 1465 w 2444"/>
                <a:gd name="T23" fmla="*/ 1326 h 2090"/>
                <a:gd name="T24" fmla="*/ 1465 w 2444"/>
                <a:gd name="T25" fmla="*/ 1743 h 2090"/>
                <a:gd name="T26" fmla="*/ 1222 w 2444"/>
                <a:gd name="T27" fmla="*/ 1934 h 2090"/>
                <a:gd name="T28" fmla="*/ 980 w 2444"/>
                <a:gd name="T29" fmla="*/ 1743 h 2090"/>
                <a:gd name="T30" fmla="*/ 980 w 2444"/>
                <a:gd name="T31" fmla="*/ 1326 h 2090"/>
                <a:gd name="T32" fmla="*/ 854 w 2444"/>
                <a:gd name="T33" fmla="*/ 1326 h 2090"/>
                <a:gd name="T34" fmla="*/ 854 w 2444"/>
                <a:gd name="T35" fmla="*/ 1656 h 2090"/>
                <a:gd name="T36" fmla="*/ 666 w 2444"/>
                <a:gd name="T37" fmla="*/ 1656 h 2090"/>
                <a:gd name="T38" fmla="*/ 1222 w 2444"/>
                <a:gd name="T39" fmla="*/ 2090 h 2090"/>
                <a:gd name="T40" fmla="*/ 1779 w 2444"/>
                <a:gd name="T41" fmla="*/ 1656 h 2090"/>
                <a:gd name="T42" fmla="*/ 1590 w 2444"/>
                <a:gd name="T43" fmla="*/ 1656 h 2090"/>
                <a:gd name="T44" fmla="*/ 1590 w 2444"/>
                <a:gd name="T45" fmla="*/ 1326 h 20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444" h="2090">
                  <a:moveTo>
                    <a:pt x="2004" y="326"/>
                  </a:moveTo>
                  <a:cubicBezTo>
                    <a:pt x="1920" y="326"/>
                    <a:pt x="1841" y="350"/>
                    <a:pt x="1774" y="391"/>
                  </a:cubicBezTo>
                  <a:cubicBezTo>
                    <a:pt x="1665" y="160"/>
                    <a:pt x="1429" y="0"/>
                    <a:pt x="1156" y="0"/>
                  </a:cubicBezTo>
                  <a:cubicBezTo>
                    <a:pt x="830" y="0"/>
                    <a:pt x="557" y="229"/>
                    <a:pt x="489" y="535"/>
                  </a:cubicBezTo>
                  <a:cubicBezTo>
                    <a:pt x="446" y="516"/>
                    <a:pt x="399" y="506"/>
                    <a:pt x="350" y="506"/>
                  </a:cubicBezTo>
                  <a:cubicBezTo>
                    <a:pt x="157" y="506"/>
                    <a:pt x="0" y="663"/>
                    <a:pt x="0" y="856"/>
                  </a:cubicBezTo>
                  <a:cubicBezTo>
                    <a:pt x="0" y="1049"/>
                    <a:pt x="157" y="1206"/>
                    <a:pt x="350" y="1206"/>
                  </a:cubicBezTo>
                  <a:cubicBezTo>
                    <a:pt x="2004" y="1206"/>
                    <a:pt x="2004" y="1206"/>
                    <a:pt x="2004" y="1206"/>
                  </a:cubicBezTo>
                  <a:cubicBezTo>
                    <a:pt x="2247" y="1206"/>
                    <a:pt x="2444" y="1009"/>
                    <a:pt x="2444" y="766"/>
                  </a:cubicBezTo>
                  <a:cubicBezTo>
                    <a:pt x="2444" y="523"/>
                    <a:pt x="2247" y="326"/>
                    <a:pt x="2004" y="326"/>
                  </a:cubicBezTo>
                  <a:close/>
                  <a:moveTo>
                    <a:pt x="1590" y="1326"/>
                  </a:moveTo>
                  <a:cubicBezTo>
                    <a:pt x="1465" y="1326"/>
                    <a:pt x="1465" y="1326"/>
                    <a:pt x="1465" y="1326"/>
                  </a:cubicBezTo>
                  <a:cubicBezTo>
                    <a:pt x="1465" y="1743"/>
                    <a:pt x="1465" y="1743"/>
                    <a:pt x="1465" y="1743"/>
                  </a:cubicBezTo>
                  <a:cubicBezTo>
                    <a:pt x="1222" y="1934"/>
                    <a:pt x="1222" y="1934"/>
                    <a:pt x="1222" y="1934"/>
                  </a:cubicBezTo>
                  <a:cubicBezTo>
                    <a:pt x="980" y="1743"/>
                    <a:pt x="980" y="1743"/>
                    <a:pt x="980" y="1743"/>
                  </a:cubicBezTo>
                  <a:cubicBezTo>
                    <a:pt x="980" y="1326"/>
                    <a:pt x="980" y="1326"/>
                    <a:pt x="980" y="1326"/>
                  </a:cubicBezTo>
                  <a:cubicBezTo>
                    <a:pt x="854" y="1326"/>
                    <a:pt x="854" y="1326"/>
                    <a:pt x="854" y="1326"/>
                  </a:cubicBezTo>
                  <a:cubicBezTo>
                    <a:pt x="854" y="1656"/>
                    <a:pt x="854" y="1656"/>
                    <a:pt x="854" y="1656"/>
                  </a:cubicBezTo>
                  <a:cubicBezTo>
                    <a:pt x="666" y="1656"/>
                    <a:pt x="666" y="1656"/>
                    <a:pt x="666" y="1656"/>
                  </a:cubicBezTo>
                  <a:cubicBezTo>
                    <a:pt x="1222" y="2090"/>
                    <a:pt x="1222" y="2090"/>
                    <a:pt x="1222" y="2090"/>
                  </a:cubicBezTo>
                  <a:cubicBezTo>
                    <a:pt x="1779" y="1656"/>
                    <a:pt x="1779" y="1656"/>
                    <a:pt x="1779" y="1656"/>
                  </a:cubicBezTo>
                  <a:cubicBezTo>
                    <a:pt x="1590" y="1656"/>
                    <a:pt x="1590" y="1656"/>
                    <a:pt x="1590" y="1656"/>
                  </a:cubicBezTo>
                  <a:lnTo>
                    <a:pt x="1590" y="1326"/>
                  </a:lnTo>
                  <a:close/>
                </a:path>
              </a:pathLst>
            </a:custGeom>
            <a:solidFill>
              <a:srgbClr val="00BCF2"/>
            </a:solidFill>
            <a:ln>
              <a:noFill/>
            </a:ln>
          </p:spPr>
          <p:txBody>
            <a:bodyPr vert="horz" wrap="square" lIns="82305" tIns="41153" rIns="82305" bIns="4115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29" name="Freeform 28"/>
            <p:cNvSpPr>
              <a:spLocks noEditPoints="1"/>
            </p:cNvSpPr>
            <p:nvPr/>
          </p:nvSpPr>
          <p:spPr bwMode="black">
            <a:xfrm>
              <a:off x="11162353" y="3318380"/>
              <a:ext cx="507825" cy="630160"/>
            </a:xfrm>
            <a:custGeom>
              <a:avLst/>
              <a:gdLst>
                <a:gd name="T0" fmla="*/ 277 w 277"/>
                <a:gd name="T1" fmla="*/ 171 h 344"/>
                <a:gd name="T2" fmla="*/ 277 w 277"/>
                <a:gd name="T3" fmla="*/ 251 h 344"/>
                <a:gd name="T4" fmla="*/ 274 w 277"/>
                <a:gd name="T5" fmla="*/ 258 h 344"/>
                <a:gd name="T6" fmla="*/ 251 w 277"/>
                <a:gd name="T7" fmla="*/ 280 h 344"/>
                <a:gd name="T8" fmla="*/ 251 w 277"/>
                <a:gd name="T9" fmla="*/ 295 h 344"/>
                <a:gd name="T10" fmla="*/ 248 w 277"/>
                <a:gd name="T11" fmla="*/ 302 h 344"/>
                <a:gd name="T12" fmla="*/ 241 w 277"/>
                <a:gd name="T13" fmla="*/ 305 h 344"/>
                <a:gd name="T14" fmla="*/ 10 w 277"/>
                <a:gd name="T15" fmla="*/ 305 h 344"/>
                <a:gd name="T16" fmla="*/ 3 w 277"/>
                <a:gd name="T17" fmla="*/ 302 h 344"/>
                <a:gd name="T18" fmla="*/ 0 w 277"/>
                <a:gd name="T19" fmla="*/ 295 h 344"/>
                <a:gd name="T20" fmla="*/ 0 w 277"/>
                <a:gd name="T21" fmla="*/ 9 h 344"/>
                <a:gd name="T22" fmla="*/ 3 w 277"/>
                <a:gd name="T23" fmla="*/ 2 h 344"/>
                <a:gd name="T24" fmla="*/ 10 w 277"/>
                <a:gd name="T25" fmla="*/ 0 h 344"/>
                <a:gd name="T26" fmla="*/ 241 w 277"/>
                <a:gd name="T27" fmla="*/ 0 h 344"/>
                <a:gd name="T28" fmla="*/ 248 w 277"/>
                <a:gd name="T29" fmla="*/ 2 h 344"/>
                <a:gd name="T30" fmla="*/ 251 w 277"/>
                <a:gd name="T31" fmla="*/ 9 h 344"/>
                <a:gd name="T32" fmla="*/ 251 w 277"/>
                <a:gd name="T33" fmla="*/ 143 h 344"/>
                <a:gd name="T34" fmla="*/ 274 w 277"/>
                <a:gd name="T35" fmla="*/ 164 h 344"/>
                <a:gd name="T36" fmla="*/ 277 w 277"/>
                <a:gd name="T37" fmla="*/ 171 h 344"/>
                <a:gd name="T38" fmla="*/ 3 w 277"/>
                <a:gd name="T39" fmla="*/ 2 h 344"/>
                <a:gd name="T40" fmla="*/ 0 w 277"/>
                <a:gd name="T41" fmla="*/ 9 h 344"/>
                <a:gd name="T42" fmla="*/ 0 w 277"/>
                <a:gd name="T43" fmla="*/ 295 h 344"/>
                <a:gd name="T44" fmla="*/ 3 w 277"/>
                <a:gd name="T45" fmla="*/ 302 h 344"/>
                <a:gd name="T46" fmla="*/ 10 w 277"/>
                <a:gd name="T47" fmla="*/ 305 h 344"/>
                <a:gd name="T48" fmla="*/ 199 w 277"/>
                <a:gd name="T49" fmla="*/ 305 h 344"/>
                <a:gd name="T50" fmla="*/ 199 w 277"/>
                <a:gd name="T51" fmla="*/ 191 h 344"/>
                <a:gd name="T52" fmla="*/ 216 w 277"/>
                <a:gd name="T53" fmla="*/ 171 h 344"/>
                <a:gd name="T54" fmla="*/ 222 w 277"/>
                <a:gd name="T55" fmla="*/ 155 h 344"/>
                <a:gd name="T56" fmla="*/ 222 w 277"/>
                <a:gd name="T57" fmla="*/ 56 h 344"/>
                <a:gd name="T58" fmla="*/ 202 w 277"/>
                <a:gd name="T59" fmla="*/ 32 h 344"/>
                <a:gd name="T60" fmla="*/ 31 w 277"/>
                <a:gd name="T61" fmla="*/ 0 h 344"/>
                <a:gd name="T62" fmla="*/ 10 w 277"/>
                <a:gd name="T63" fmla="*/ 0 h 344"/>
                <a:gd name="T64" fmla="*/ 3 w 277"/>
                <a:gd name="T65" fmla="*/ 2 h 344"/>
                <a:gd name="T66" fmla="*/ 200 w 277"/>
                <a:gd name="T67" fmla="*/ 47 h 344"/>
                <a:gd name="T68" fmla="*/ 11 w 277"/>
                <a:gd name="T69" fmla="*/ 11 h 344"/>
                <a:gd name="T70" fmla="*/ 4 w 277"/>
                <a:gd name="T71" fmla="*/ 13 h 344"/>
                <a:gd name="T72" fmla="*/ 0 w 277"/>
                <a:gd name="T73" fmla="*/ 20 h 344"/>
                <a:gd name="T74" fmla="*/ 0 w 277"/>
                <a:gd name="T75" fmla="*/ 302 h 344"/>
                <a:gd name="T76" fmla="*/ 8 w 277"/>
                <a:gd name="T77" fmla="*/ 311 h 344"/>
                <a:gd name="T78" fmla="*/ 173 w 277"/>
                <a:gd name="T79" fmla="*/ 343 h 344"/>
                <a:gd name="T80" fmla="*/ 181 w 277"/>
                <a:gd name="T81" fmla="*/ 341 h 344"/>
                <a:gd name="T82" fmla="*/ 184 w 277"/>
                <a:gd name="T83" fmla="*/ 334 h 344"/>
                <a:gd name="T84" fmla="*/ 184 w 277"/>
                <a:gd name="T85" fmla="*/ 185 h 344"/>
                <a:gd name="T86" fmla="*/ 205 w 277"/>
                <a:gd name="T87" fmla="*/ 161 h 344"/>
                <a:gd name="T88" fmla="*/ 207 w 277"/>
                <a:gd name="T89" fmla="*/ 155 h 344"/>
                <a:gd name="T90" fmla="*/ 207 w 277"/>
                <a:gd name="T91" fmla="*/ 56 h 344"/>
                <a:gd name="T92" fmla="*/ 200 w 277"/>
                <a:gd name="T93" fmla="*/ 47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77" h="344">
                  <a:moveTo>
                    <a:pt x="277" y="171"/>
                  </a:moveTo>
                  <a:cubicBezTo>
                    <a:pt x="277" y="251"/>
                    <a:pt x="277" y="251"/>
                    <a:pt x="277" y="251"/>
                  </a:cubicBezTo>
                  <a:cubicBezTo>
                    <a:pt x="277" y="254"/>
                    <a:pt x="276" y="256"/>
                    <a:pt x="274" y="258"/>
                  </a:cubicBezTo>
                  <a:cubicBezTo>
                    <a:pt x="251" y="280"/>
                    <a:pt x="251" y="280"/>
                    <a:pt x="251" y="280"/>
                  </a:cubicBezTo>
                  <a:cubicBezTo>
                    <a:pt x="251" y="295"/>
                    <a:pt x="251" y="295"/>
                    <a:pt x="251" y="295"/>
                  </a:cubicBezTo>
                  <a:cubicBezTo>
                    <a:pt x="251" y="298"/>
                    <a:pt x="250" y="300"/>
                    <a:pt x="248" y="302"/>
                  </a:cubicBezTo>
                  <a:cubicBezTo>
                    <a:pt x="246" y="304"/>
                    <a:pt x="244" y="305"/>
                    <a:pt x="241" y="305"/>
                  </a:cubicBezTo>
                  <a:cubicBezTo>
                    <a:pt x="10" y="305"/>
                    <a:pt x="10" y="305"/>
                    <a:pt x="10" y="305"/>
                  </a:cubicBezTo>
                  <a:cubicBezTo>
                    <a:pt x="7" y="305"/>
                    <a:pt x="5" y="304"/>
                    <a:pt x="3" y="302"/>
                  </a:cubicBezTo>
                  <a:cubicBezTo>
                    <a:pt x="1" y="300"/>
                    <a:pt x="0" y="298"/>
                    <a:pt x="0" y="295"/>
                  </a:cubicBezTo>
                  <a:cubicBezTo>
                    <a:pt x="0" y="9"/>
                    <a:pt x="0" y="9"/>
                    <a:pt x="0" y="9"/>
                  </a:cubicBezTo>
                  <a:cubicBezTo>
                    <a:pt x="0" y="6"/>
                    <a:pt x="1" y="4"/>
                    <a:pt x="3" y="2"/>
                  </a:cubicBezTo>
                  <a:cubicBezTo>
                    <a:pt x="5" y="1"/>
                    <a:pt x="7" y="0"/>
                    <a:pt x="10" y="0"/>
                  </a:cubicBezTo>
                  <a:cubicBezTo>
                    <a:pt x="241" y="0"/>
                    <a:pt x="241" y="0"/>
                    <a:pt x="241" y="0"/>
                  </a:cubicBezTo>
                  <a:cubicBezTo>
                    <a:pt x="244" y="0"/>
                    <a:pt x="246" y="1"/>
                    <a:pt x="248" y="2"/>
                  </a:cubicBezTo>
                  <a:cubicBezTo>
                    <a:pt x="250" y="4"/>
                    <a:pt x="251" y="6"/>
                    <a:pt x="251" y="9"/>
                  </a:cubicBezTo>
                  <a:cubicBezTo>
                    <a:pt x="251" y="143"/>
                    <a:pt x="251" y="143"/>
                    <a:pt x="251" y="143"/>
                  </a:cubicBezTo>
                  <a:cubicBezTo>
                    <a:pt x="274" y="164"/>
                    <a:pt x="274" y="164"/>
                    <a:pt x="274" y="164"/>
                  </a:cubicBezTo>
                  <a:cubicBezTo>
                    <a:pt x="276" y="166"/>
                    <a:pt x="277" y="169"/>
                    <a:pt x="277" y="171"/>
                  </a:cubicBezTo>
                  <a:close/>
                  <a:moveTo>
                    <a:pt x="3" y="2"/>
                  </a:moveTo>
                  <a:cubicBezTo>
                    <a:pt x="1" y="4"/>
                    <a:pt x="0" y="6"/>
                    <a:pt x="0" y="9"/>
                  </a:cubicBezTo>
                  <a:cubicBezTo>
                    <a:pt x="0" y="295"/>
                    <a:pt x="0" y="295"/>
                    <a:pt x="0" y="295"/>
                  </a:cubicBezTo>
                  <a:cubicBezTo>
                    <a:pt x="0" y="298"/>
                    <a:pt x="1" y="300"/>
                    <a:pt x="3" y="302"/>
                  </a:cubicBezTo>
                  <a:cubicBezTo>
                    <a:pt x="5" y="304"/>
                    <a:pt x="7" y="305"/>
                    <a:pt x="10" y="305"/>
                  </a:cubicBezTo>
                  <a:cubicBezTo>
                    <a:pt x="199" y="305"/>
                    <a:pt x="199" y="305"/>
                    <a:pt x="199" y="305"/>
                  </a:cubicBezTo>
                  <a:cubicBezTo>
                    <a:pt x="199" y="191"/>
                    <a:pt x="199" y="191"/>
                    <a:pt x="199" y="191"/>
                  </a:cubicBezTo>
                  <a:cubicBezTo>
                    <a:pt x="204" y="185"/>
                    <a:pt x="216" y="171"/>
                    <a:pt x="216" y="171"/>
                  </a:cubicBezTo>
                  <a:cubicBezTo>
                    <a:pt x="220" y="166"/>
                    <a:pt x="222" y="161"/>
                    <a:pt x="222" y="155"/>
                  </a:cubicBezTo>
                  <a:cubicBezTo>
                    <a:pt x="222" y="56"/>
                    <a:pt x="222" y="56"/>
                    <a:pt x="222" y="56"/>
                  </a:cubicBezTo>
                  <a:cubicBezTo>
                    <a:pt x="222" y="44"/>
                    <a:pt x="214" y="35"/>
                    <a:pt x="202" y="32"/>
                  </a:cubicBezTo>
                  <a:cubicBezTo>
                    <a:pt x="31" y="0"/>
                    <a:pt x="31" y="0"/>
                    <a:pt x="31" y="0"/>
                  </a:cubicBezTo>
                  <a:cubicBezTo>
                    <a:pt x="10" y="0"/>
                    <a:pt x="10" y="0"/>
                    <a:pt x="10" y="0"/>
                  </a:cubicBezTo>
                  <a:cubicBezTo>
                    <a:pt x="7" y="0"/>
                    <a:pt x="5" y="1"/>
                    <a:pt x="3" y="2"/>
                  </a:cubicBezTo>
                  <a:close/>
                  <a:moveTo>
                    <a:pt x="200" y="47"/>
                  </a:moveTo>
                  <a:cubicBezTo>
                    <a:pt x="11" y="11"/>
                    <a:pt x="11" y="11"/>
                    <a:pt x="11" y="11"/>
                  </a:cubicBezTo>
                  <a:cubicBezTo>
                    <a:pt x="9" y="10"/>
                    <a:pt x="6" y="11"/>
                    <a:pt x="4" y="13"/>
                  </a:cubicBezTo>
                  <a:cubicBezTo>
                    <a:pt x="2" y="14"/>
                    <a:pt x="0" y="17"/>
                    <a:pt x="0" y="20"/>
                  </a:cubicBezTo>
                  <a:cubicBezTo>
                    <a:pt x="0" y="302"/>
                    <a:pt x="0" y="302"/>
                    <a:pt x="0" y="302"/>
                  </a:cubicBezTo>
                  <a:cubicBezTo>
                    <a:pt x="0" y="307"/>
                    <a:pt x="4" y="311"/>
                    <a:pt x="8" y="311"/>
                  </a:cubicBezTo>
                  <a:cubicBezTo>
                    <a:pt x="173" y="343"/>
                    <a:pt x="173" y="343"/>
                    <a:pt x="173" y="343"/>
                  </a:cubicBezTo>
                  <a:cubicBezTo>
                    <a:pt x="176" y="344"/>
                    <a:pt x="179" y="343"/>
                    <a:pt x="181" y="341"/>
                  </a:cubicBezTo>
                  <a:cubicBezTo>
                    <a:pt x="183" y="339"/>
                    <a:pt x="184" y="337"/>
                    <a:pt x="184" y="334"/>
                  </a:cubicBezTo>
                  <a:cubicBezTo>
                    <a:pt x="184" y="185"/>
                    <a:pt x="184" y="185"/>
                    <a:pt x="184" y="185"/>
                  </a:cubicBezTo>
                  <a:cubicBezTo>
                    <a:pt x="205" y="161"/>
                    <a:pt x="205" y="161"/>
                    <a:pt x="205" y="161"/>
                  </a:cubicBezTo>
                  <a:cubicBezTo>
                    <a:pt x="206" y="159"/>
                    <a:pt x="207" y="157"/>
                    <a:pt x="207" y="155"/>
                  </a:cubicBezTo>
                  <a:cubicBezTo>
                    <a:pt x="207" y="56"/>
                    <a:pt x="207" y="56"/>
                    <a:pt x="207" y="56"/>
                  </a:cubicBezTo>
                  <a:cubicBezTo>
                    <a:pt x="207" y="51"/>
                    <a:pt x="204" y="48"/>
                    <a:pt x="200" y="47"/>
                  </a:cubicBezTo>
                  <a:close/>
                </a:path>
              </a:pathLst>
            </a:custGeom>
            <a:solidFill>
              <a:srgbClr val="FCD116"/>
            </a:solidFill>
            <a:ln>
              <a:noFill/>
            </a:ln>
            <a:extLst/>
          </p:spPr>
          <p:txBody>
            <a:bodyPr vert="horz" wrap="square" lIns="82305" tIns="41153" rIns="82305" bIns="4115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78D7">
                    <a:lumMod val="75000"/>
                  </a:srgbClr>
                </a:solidFill>
                <a:effectLst/>
                <a:uLnTx/>
                <a:uFillTx/>
                <a:latin typeface="Segoe UI"/>
                <a:ea typeface="+mn-ea"/>
                <a:cs typeface="+mn-cs"/>
              </a:endParaRPr>
            </a:p>
          </p:txBody>
        </p:sp>
        <p:sp>
          <p:nvSpPr>
            <p:cNvPr id="30" name="Freeform 29"/>
            <p:cNvSpPr/>
            <p:nvPr/>
          </p:nvSpPr>
          <p:spPr>
            <a:xfrm>
              <a:off x="9912909" y="5314166"/>
              <a:ext cx="616200" cy="390975"/>
            </a:xfrm>
            <a:custGeom>
              <a:avLst/>
              <a:gdLst>
                <a:gd name="connsiteX0" fmla="*/ 430507 w 2006786"/>
                <a:gd name="connsiteY0" fmla="*/ 705228 h 1273296"/>
                <a:gd name="connsiteX1" fmla="*/ 1576280 w 2006786"/>
                <a:gd name="connsiteY1" fmla="*/ 705228 h 1273296"/>
                <a:gd name="connsiteX2" fmla="*/ 1576280 w 2006786"/>
                <a:gd name="connsiteY2" fmla="*/ 796668 h 1273296"/>
                <a:gd name="connsiteX3" fmla="*/ 430507 w 2006786"/>
                <a:gd name="connsiteY3" fmla="*/ 796668 h 1273296"/>
                <a:gd name="connsiteX4" fmla="*/ 430507 w 2006786"/>
                <a:gd name="connsiteY4" fmla="*/ 476628 h 1273296"/>
                <a:gd name="connsiteX5" fmla="*/ 1576280 w 2006786"/>
                <a:gd name="connsiteY5" fmla="*/ 476628 h 1273296"/>
                <a:gd name="connsiteX6" fmla="*/ 1576280 w 2006786"/>
                <a:gd name="connsiteY6" fmla="*/ 568068 h 1273296"/>
                <a:gd name="connsiteX7" fmla="*/ 430507 w 2006786"/>
                <a:gd name="connsiteY7" fmla="*/ 568068 h 1273296"/>
                <a:gd name="connsiteX8" fmla="*/ 81402 w 2006786"/>
                <a:gd name="connsiteY8" fmla="*/ 0 h 1273296"/>
                <a:gd name="connsiteX9" fmla="*/ 1925384 w 2006786"/>
                <a:gd name="connsiteY9" fmla="*/ 0 h 1273296"/>
                <a:gd name="connsiteX10" fmla="*/ 2006786 w 2006786"/>
                <a:gd name="connsiteY10" fmla="*/ 81402 h 1273296"/>
                <a:gd name="connsiteX11" fmla="*/ 2006786 w 2006786"/>
                <a:gd name="connsiteY11" fmla="*/ 519008 h 1273296"/>
                <a:gd name="connsiteX12" fmla="*/ 1996779 w 2006786"/>
                <a:gd name="connsiteY12" fmla="*/ 515901 h 1273296"/>
                <a:gd name="connsiteX13" fmla="*/ 1925255 w 2006786"/>
                <a:gd name="connsiteY13" fmla="*/ 508691 h 1273296"/>
                <a:gd name="connsiteX14" fmla="*/ 1877594 w 2006786"/>
                <a:gd name="connsiteY14" fmla="*/ 513496 h 1273296"/>
                <a:gd name="connsiteX15" fmla="*/ 1877594 w 2006786"/>
                <a:gd name="connsiteY15" fmla="*/ 135312 h 1273296"/>
                <a:gd name="connsiteX16" fmla="*/ 129192 w 2006786"/>
                <a:gd name="connsiteY16" fmla="*/ 135312 h 1273296"/>
                <a:gd name="connsiteX17" fmla="*/ 129192 w 2006786"/>
                <a:gd name="connsiteY17" fmla="*/ 1137984 h 1273296"/>
                <a:gd name="connsiteX18" fmla="*/ 1458978 w 2006786"/>
                <a:gd name="connsiteY18" fmla="*/ 1137984 h 1273296"/>
                <a:gd name="connsiteX19" fmla="*/ 1458978 w 2006786"/>
                <a:gd name="connsiteY19" fmla="*/ 1273296 h 1273296"/>
                <a:gd name="connsiteX20" fmla="*/ 81402 w 2006786"/>
                <a:gd name="connsiteY20" fmla="*/ 1273296 h 1273296"/>
                <a:gd name="connsiteX21" fmla="*/ 0 w 2006786"/>
                <a:gd name="connsiteY21" fmla="*/ 1191894 h 1273296"/>
                <a:gd name="connsiteX22" fmla="*/ 0 w 2006786"/>
                <a:gd name="connsiteY22" fmla="*/ 81402 h 1273296"/>
                <a:gd name="connsiteX23" fmla="*/ 81402 w 2006786"/>
                <a:gd name="connsiteY23" fmla="*/ 0 h 12732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006786" h="1273296">
                  <a:moveTo>
                    <a:pt x="430507" y="705228"/>
                  </a:moveTo>
                  <a:lnTo>
                    <a:pt x="1576280" y="705228"/>
                  </a:lnTo>
                  <a:lnTo>
                    <a:pt x="1576280" y="796668"/>
                  </a:lnTo>
                  <a:lnTo>
                    <a:pt x="430507" y="796668"/>
                  </a:lnTo>
                  <a:close/>
                  <a:moveTo>
                    <a:pt x="430507" y="476628"/>
                  </a:moveTo>
                  <a:lnTo>
                    <a:pt x="1576280" y="476628"/>
                  </a:lnTo>
                  <a:lnTo>
                    <a:pt x="1576280" y="568068"/>
                  </a:lnTo>
                  <a:lnTo>
                    <a:pt x="430507" y="568068"/>
                  </a:lnTo>
                  <a:close/>
                  <a:moveTo>
                    <a:pt x="81402" y="0"/>
                  </a:moveTo>
                  <a:lnTo>
                    <a:pt x="1925384" y="0"/>
                  </a:lnTo>
                  <a:cubicBezTo>
                    <a:pt x="1970341" y="0"/>
                    <a:pt x="2006786" y="36445"/>
                    <a:pt x="2006786" y="81402"/>
                  </a:cubicBezTo>
                  <a:lnTo>
                    <a:pt x="2006786" y="519008"/>
                  </a:lnTo>
                  <a:lnTo>
                    <a:pt x="1996779" y="515901"/>
                  </a:lnTo>
                  <a:cubicBezTo>
                    <a:pt x="1973676" y="511174"/>
                    <a:pt x="1949756" y="508691"/>
                    <a:pt x="1925255" y="508691"/>
                  </a:cubicBezTo>
                  <a:lnTo>
                    <a:pt x="1877594" y="513496"/>
                  </a:lnTo>
                  <a:lnTo>
                    <a:pt x="1877594" y="135312"/>
                  </a:lnTo>
                  <a:lnTo>
                    <a:pt x="129192" y="135312"/>
                  </a:lnTo>
                  <a:lnTo>
                    <a:pt x="129192" y="1137984"/>
                  </a:lnTo>
                  <a:lnTo>
                    <a:pt x="1458978" y="1137984"/>
                  </a:lnTo>
                  <a:lnTo>
                    <a:pt x="1458978" y="1273296"/>
                  </a:lnTo>
                  <a:lnTo>
                    <a:pt x="81402" y="1273296"/>
                  </a:lnTo>
                  <a:cubicBezTo>
                    <a:pt x="36445" y="1273296"/>
                    <a:pt x="0" y="1236851"/>
                    <a:pt x="0" y="1191894"/>
                  </a:cubicBezTo>
                  <a:lnTo>
                    <a:pt x="0" y="81402"/>
                  </a:lnTo>
                  <a:cubicBezTo>
                    <a:pt x="0" y="36445"/>
                    <a:pt x="36445" y="0"/>
                    <a:pt x="81402" y="0"/>
                  </a:cubicBezTo>
                  <a:close/>
                </a:path>
              </a:pathLst>
            </a:custGeom>
            <a:solidFill>
              <a:srgbClr val="BAD80A"/>
            </a:solidFill>
            <a:ln w="10795" cap="flat" cmpd="sng" algn="ctr">
              <a:noFill/>
              <a:prstDash val="solid"/>
            </a:ln>
            <a:effectLst/>
          </p:spPr>
          <p:txBody>
            <a:bodyPr rot="0" spcFirstLastPara="0" vert="horz" wrap="square" lIns="91416" tIns="45708" rIns="91416" bIns="45708"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126"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dirty="0">
                <a:ln>
                  <a:noFill/>
                </a:ln>
                <a:solidFill>
                  <a:prstClr val="white"/>
                </a:solidFill>
                <a:effectLst/>
                <a:uLnTx/>
                <a:uFillTx/>
                <a:latin typeface="Segoe UI"/>
                <a:ea typeface="+mn-ea"/>
                <a:cs typeface="+mn-cs"/>
              </a:endParaRPr>
            </a:p>
          </p:txBody>
        </p:sp>
        <p:sp>
          <p:nvSpPr>
            <p:cNvPr id="31" name="Freeform 30"/>
            <p:cNvSpPr/>
            <p:nvPr/>
          </p:nvSpPr>
          <p:spPr>
            <a:xfrm flipH="1">
              <a:off x="10376813" y="5485976"/>
              <a:ext cx="254523" cy="329793"/>
            </a:xfrm>
            <a:custGeom>
              <a:avLst/>
              <a:gdLst>
                <a:gd name="connsiteX0" fmla="*/ 669654 w 1336385"/>
                <a:gd name="connsiteY0" fmla="*/ 879596 h 1731595"/>
                <a:gd name="connsiteX1" fmla="*/ 819926 w 1336385"/>
                <a:gd name="connsiteY1" fmla="*/ 1029868 h 1731595"/>
                <a:gd name="connsiteX2" fmla="*/ 775912 w 1336385"/>
                <a:gd name="connsiteY2" fmla="*/ 1136126 h 1731595"/>
                <a:gd name="connsiteX3" fmla="*/ 729882 w 1336385"/>
                <a:gd name="connsiteY3" fmla="*/ 1167161 h 1731595"/>
                <a:gd name="connsiteX4" fmla="*/ 729882 w 1336385"/>
                <a:gd name="connsiteY4" fmla="*/ 1577660 h 1731595"/>
                <a:gd name="connsiteX5" fmla="*/ 609428 w 1336385"/>
                <a:gd name="connsiteY5" fmla="*/ 1577660 h 1731595"/>
                <a:gd name="connsiteX6" fmla="*/ 609428 w 1336385"/>
                <a:gd name="connsiteY6" fmla="*/ 1167161 h 1731595"/>
                <a:gd name="connsiteX7" fmla="*/ 563396 w 1336385"/>
                <a:gd name="connsiteY7" fmla="*/ 1136126 h 1731595"/>
                <a:gd name="connsiteX8" fmla="*/ 519382 w 1336385"/>
                <a:gd name="connsiteY8" fmla="*/ 1029868 h 1731595"/>
                <a:gd name="connsiteX9" fmla="*/ 669654 w 1336385"/>
                <a:gd name="connsiteY9" fmla="*/ 879596 h 1731595"/>
                <a:gd name="connsiteX10" fmla="*/ 669655 w 1336385"/>
                <a:gd name="connsiteY10" fmla="*/ 129306 h 1731595"/>
                <a:gd name="connsiteX11" fmla="*/ 964057 w 1336385"/>
                <a:gd name="connsiteY11" fmla="*/ 423707 h 1731595"/>
                <a:gd name="connsiteX12" fmla="*/ 964057 w 1336385"/>
                <a:gd name="connsiteY12" fmla="*/ 649736 h 1731595"/>
                <a:gd name="connsiteX13" fmla="*/ 432737 w 1336385"/>
                <a:gd name="connsiteY13" fmla="*/ 649736 h 1731595"/>
                <a:gd name="connsiteX14" fmla="*/ 432737 w 1336385"/>
                <a:gd name="connsiteY14" fmla="*/ 649736 h 1731595"/>
                <a:gd name="connsiteX15" fmla="*/ 375253 w 1336385"/>
                <a:gd name="connsiteY15" fmla="*/ 649736 h 1731595"/>
                <a:gd name="connsiteX16" fmla="*/ 375253 w 1336385"/>
                <a:gd name="connsiteY16" fmla="*/ 423707 h 1731595"/>
                <a:gd name="connsiteX17" fmla="*/ 381106 w 1336385"/>
                <a:gd name="connsiteY17" fmla="*/ 365647 h 1731595"/>
                <a:gd name="connsiteX18" fmla="*/ 381359 w 1336385"/>
                <a:gd name="connsiteY18" fmla="*/ 363973 h 1731595"/>
                <a:gd name="connsiteX19" fmla="*/ 398064 w 1336385"/>
                <a:gd name="connsiteY19" fmla="*/ 310160 h 1731595"/>
                <a:gd name="connsiteX20" fmla="*/ 399948 w 1336385"/>
                <a:gd name="connsiteY20" fmla="*/ 306240 h 1731595"/>
                <a:gd name="connsiteX21" fmla="*/ 425532 w 1336385"/>
                <a:gd name="connsiteY21" fmla="*/ 259105 h 1731595"/>
                <a:gd name="connsiteX22" fmla="*/ 669655 w 1336385"/>
                <a:gd name="connsiteY22" fmla="*/ 129306 h 1731595"/>
                <a:gd name="connsiteX23" fmla="*/ 669654 w 1336385"/>
                <a:gd name="connsiteY23" fmla="*/ 0 h 1731595"/>
                <a:gd name="connsiteX24" fmla="*/ 490929 w 1336385"/>
                <a:gd name="connsiteY24" fmla="*/ 36083 h 1731595"/>
                <a:gd name="connsiteX25" fmla="*/ 432737 w 1336385"/>
                <a:gd name="connsiteY25" fmla="*/ 67669 h 1731595"/>
                <a:gd name="connsiteX26" fmla="*/ 432737 w 1336385"/>
                <a:gd name="connsiteY26" fmla="*/ 66082 h 1731595"/>
                <a:gd name="connsiteX27" fmla="*/ 410011 w 1336385"/>
                <a:gd name="connsiteY27" fmla="*/ 78417 h 1731595"/>
                <a:gd name="connsiteX28" fmla="*/ 351065 w 1336385"/>
                <a:gd name="connsiteY28" fmla="*/ 129464 h 1731595"/>
                <a:gd name="connsiteX29" fmla="*/ 344980 w 1336385"/>
                <a:gd name="connsiteY29" fmla="*/ 134484 h 1731595"/>
                <a:gd name="connsiteX30" fmla="*/ 344261 w 1336385"/>
                <a:gd name="connsiteY30" fmla="*/ 135357 h 1731595"/>
                <a:gd name="connsiteX31" fmla="*/ 326854 w 1336385"/>
                <a:gd name="connsiteY31" fmla="*/ 150431 h 1731595"/>
                <a:gd name="connsiteX32" fmla="*/ 295991 w 1336385"/>
                <a:gd name="connsiteY32" fmla="*/ 193860 h 1731595"/>
                <a:gd name="connsiteX33" fmla="*/ 288913 w 1336385"/>
                <a:gd name="connsiteY33" fmla="*/ 202439 h 1731595"/>
                <a:gd name="connsiteX34" fmla="*/ 285739 w 1336385"/>
                <a:gd name="connsiteY34" fmla="*/ 208286 h 1731595"/>
                <a:gd name="connsiteX35" fmla="*/ 262991 w 1336385"/>
                <a:gd name="connsiteY35" fmla="*/ 240296 h 1731595"/>
                <a:gd name="connsiteX36" fmla="*/ 248833 w 1336385"/>
                <a:gd name="connsiteY36" fmla="*/ 276279 h 1731595"/>
                <a:gd name="connsiteX37" fmla="*/ 246579 w 1336385"/>
                <a:gd name="connsiteY37" fmla="*/ 280433 h 1731595"/>
                <a:gd name="connsiteX38" fmla="*/ 244260 w 1336385"/>
                <a:gd name="connsiteY38" fmla="*/ 287904 h 1731595"/>
                <a:gd name="connsiteX39" fmla="*/ 222029 w 1336385"/>
                <a:gd name="connsiteY39" fmla="*/ 344407 h 1731595"/>
                <a:gd name="connsiteX40" fmla="*/ 207573 w 1336385"/>
                <a:gd name="connsiteY40" fmla="*/ 459158 h 1731595"/>
                <a:gd name="connsiteX41" fmla="*/ 207573 w 1336385"/>
                <a:gd name="connsiteY41" fmla="*/ 622701 h 1731595"/>
                <a:gd name="connsiteX42" fmla="*/ 210298 w 1336385"/>
                <a:gd name="connsiteY42" fmla="*/ 649736 h 1731595"/>
                <a:gd name="connsiteX43" fmla="*/ 79754 w 1336385"/>
                <a:gd name="connsiteY43" fmla="*/ 649736 h 1731595"/>
                <a:gd name="connsiteX44" fmla="*/ 0 w 1336385"/>
                <a:gd name="connsiteY44" fmla="*/ 729491 h 1731595"/>
                <a:gd name="connsiteX45" fmla="*/ 0 w 1336385"/>
                <a:gd name="connsiteY45" fmla="*/ 1651841 h 1731595"/>
                <a:gd name="connsiteX46" fmla="*/ 79754 w 1336385"/>
                <a:gd name="connsiteY46" fmla="*/ 1731595 h 1731595"/>
                <a:gd name="connsiteX47" fmla="*/ 103222 w 1336385"/>
                <a:gd name="connsiteY47" fmla="*/ 1731595 h 1731595"/>
                <a:gd name="connsiteX48" fmla="*/ 432737 w 1336385"/>
                <a:gd name="connsiteY48" fmla="*/ 1731595 h 1731595"/>
                <a:gd name="connsiteX49" fmla="*/ 1256631 w 1336385"/>
                <a:gd name="connsiteY49" fmla="*/ 1731595 h 1731595"/>
                <a:gd name="connsiteX50" fmla="*/ 1336385 w 1336385"/>
                <a:gd name="connsiteY50" fmla="*/ 1651841 h 1731595"/>
                <a:gd name="connsiteX51" fmla="*/ 1336385 w 1336385"/>
                <a:gd name="connsiteY51" fmla="*/ 729491 h 1731595"/>
                <a:gd name="connsiteX52" fmla="*/ 1256631 w 1336385"/>
                <a:gd name="connsiteY52" fmla="*/ 649736 h 1731595"/>
                <a:gd name="connsiteX53" fmla="*/ 1126087 w 1336385"/>
                <a:gd name="connsiteY53" fmla="*/ 649736 h 1731595"/>
                <a:gd name="connsiteX54" fmla="*/ 1128812 w 1336385"/>
                <a:gd name="connsiteY54" fmla="*/ 622701 h 1731595"/>
                <a:gd name="connsiteX55" fmla="*/ 1128812 w 1336385"/>
                <a:gd name="connsiteY55" fmla="*/ 459158 h 1731595"/>
                <a:gd name="connsiteX56" fmla="*/ 669654 w 1336385"/>
                <a:gd name="connsiteY56" fmla="*/ 0 h 1731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Lst>
              <a:rect l="l" t="t" r="r" b="b"/>
              <a:pathLst>
                <a:path w="1336385" h="1731595">
                  <a:moveTo>
                    <a:pt x="669654" y="879596"/>
                  </a:moveTo>
                  <a:cubicBezTo>
                    <a:pt x="752647" y="879596"/>
                    <a:pt x="819926" y="946875"/>
                    <a:pt x="819926" y="1029868"/>
                  </a:cubicBezTo>
                  <a:cubicBezTo>
                    <a:pt x="819926" y="1071365"/>
                    <a:pt x="803107" y="1108933"/>
                    <a:pt x="775912" y="1136126"/>
                  </a:cubicBezTo>
                  <a:lnTo>
                    <a:pt x="729882" y="1167161"/>
                  </a:lnTo>
                  <a:lnTo>
                    <a:pt x="729882" y="1577660"/>
                  </a:lnTo>
                  <a:lnTo>
                    <a:pt x="609428" y="1577660"/>
                  </a:lnTo>
                  <a:lnTo>
                    <a:pt x="609428" y="1167161"/>
                  </a:lnTo>
                  <a:lnTo>
                    <a:pt x="563396" y="1136126"/>
                  </a:lnTo>
                  <a:cubicBezTo>
                    <a:pt x="536202" y="1108933"/>
                    <a:pt x="519382" y="1071365"/>
                    <a:pt x="519382" y="1029868"/>
                  </a:cubicBezTo>
                  <a:cubicBezTo>
                    <a:pt x="519382" y="946875"/>
                    <a:pt x="586661" y="879596"/>
                    <a:pt x="669654" y="879596"/>
                  </a:cubicBezTo>
                  <a:close/>
                  <a:moveTo>
                    <a:pt x="669655" y="129306"/>
                  </a:moveTo>
                  <a:cubicBezTo>
                    <a:pt x="832249" y="129306"/>
                    <a:pt x="964057" y="261114"/>
                    <a:pt x="964057" y="423707"/>
                  </a:cubicBezTo>
                  <a:lnTo>
                    <a:pt x="964057" y="649736"/>
                  </a:lnTo>
                  <a:lnTo>
                    <a:pt x="432737" y="649736"/>
                  </a:lnTo>
                  <a:lnTo>
                    <a:pt x="432737" y="649736"/>
                  </a:lnTo>
                  <a:lnTo>
                    <a:pt x="375253" y="649736"/>
                  </a:lnTo>
                  <a:lnTo>
                    <a:pt x="375253" y="423707"/>
                  </a:lnTo>
                  <a:lnTo>
                    <a:pt x="381106" y="365647"/>
                  </a:lnTo>
                  <a:lnTo>
                    <a:pt x="381359" y="363973"/>
                  </a:lnTo>
                  <a:lnTo>
                    <a:pt x="398064" y="310160"/>
                  </a:lnTo>
                  <a:lnTo>
                    <a:pt x="399948" y="306240"/>
                  </a:lnTo>
                  <a:lnTo>
                    <a:pt x="425532" y="259105"/>
                  </a:lnTo>
                  <a:cubicBezTo>
                    <a:pt x="478438" y="180793"/>
                    <a:pt x="568034" y="129306"/>
                    <a:pt x="669655" y="129306"/>
                  </a:cubicBezTo>
                  <a:close/>
                  <a:moveTo>
                    <a:pt x="669654" y="0"/>
                  </a:moveTo>
                  <a:cubicBezTo>
                    <a:pt x="606257" y="0"/>
                    <a:pt x="545862" y="12848"/>
                    <a:pt x="490929" y="36083"/>
                  </a:cubicBezTo>
                  <a:lnTo>
                    <a:pt x="432737" y="67669"/>
                  </a:lnTo>
                  <a:lnTo>
                    <a:pt x="432737" y="66082"/>
                  </a:lnTo>
                  <a:lnTo>
                    <a:pt x="410011" y="78417"/>
                  </a:lnTo>
                  <a:lnTo>
                    <a:pt x="351065" y="129464"/>
                  </a:lnTo>
                  <a:lnTo>
                    <a:pt x="344980" y="134484"/>
                  </a:lnTo>
                  <a:lnTo>
                    <a:pt x="344261" y="135357"/>
                  </a:lnTo>
                  <a:lnTo>
                    <a:pt x="326854" y="150431"/>
                  </a:lnTo>
                  <a:lnTo>
                    <a:pt x="295991" y="193860"/>
                  </a:lnTo>
                  <a:lnTo>
                    <a:pt x="288913" y="202439"/>
                  </a:lnTo>
                  <a:lnTo>
                    <a:pt x="285739" y="208286"/>
                  </a:lnTo>
                  <a:lnTo>
                    <a:pt x="262991" y="240296"/>
                  </a:lnTo>
                  <a:lnTo>
                    <a:pt x="248833" y="276279"/>
                  </a:lnTo>
                  <a:lnTo>
                    <a:pt x="246579" y="280433"/>
                  </a:lnTo>
                  <a:lnTo>
                    <a:pt x="244260" y="287904"/>
                  </a:lnTo>
                  <a:lnTo>
                    <a:pt x="222029" y="344407"/>
                  </a:lnTo>
                  <a:cubicBezTo>
                    <a:pt x="212592" y="381085"/>
                    <a:pt x="207573" y="419535"/>
                    <a:pt x="207573" y="459158"/>
                  </a:cubicBezTo>
                  <a:lnTo>
                    <a:pt x="207573" y="622701"/>
                  </a:lnTo>
                  <a:lnTo>
                    <a:pt x="210298" y="649736"/>
                  </a:lnTo>
                  <a:lnTo>
                    <a:pt x="79754" y="649736"/>
                  </a:lnTo>
                  <a:cubicBezTo>
                    <a:pt x="35708" y="649736"/>
                    <a:pt x="0" y="685444"/>
                    <a:pt x="0" y="729491"/>
                  </a:cubicBezTo>
                  <a:lnTo>
                    <a:pt x="0" y="1651841"/>
                  </a:lnTo>
                  <a:cubicBezTo>
                    <a:pt x="0" y="1695888"/>
                    <a:pt x="35708" y="1731595"/>
                    <a:pt x="79754" y="1731595"/>
                  </a:cubicBezTo>
                  <a:lnTo>
                    <a:pt x="103222" y="1731595"/>
                  </a:lnTo>
                  <a:lnTo>
                    <a:pt x="432737" y="1731595"/>
                  </a:lnTo>
                  <a:lnTo>
                    <a:pt x="1256631" y="1731595"/>
                  </a:lnTo>
                  <a:cubicBezTo>
                    <a:pt x="1300678" y="1731595"/>
                    <a:pt x="1336385" y="1695888"/>
                    <a:pt x="1336385" y="1651841"/>
                  </a:cubicBezTo>
                  <a:lnTo>
                    <a:pt x="1336385" y="729491"/>
                  </a:lnTo>
                  <a:cubicBezTo>
                    <a:pt x="1336385" y="685444"/>
                    <a:pt x="1300678" y="649736"/>
                    <a:pt x="1256631" y="649736"/>
                  </a:cubicBezTo>
                  <a:lnTo>
                    <a:pt x="1126087" y="649736"/>
                  </a:lnTo>
                  <a:lnTo>
                    <a:pt x="1128812" y="622701"/>
                  </a:lnTo>
                  <a:lnTo>
                    <a:pt x="1128812" y="459158"/>
                  </a:lnTo>
                  <a:cubicBezTo>
                    <a:pt x="1128812" y="205572"/>
                    <a:pt x="923240" y="0"/>
                    <a:pt x="669654" y="0"/>
                  </a:cubicBezTo>
                  <a:close/>
                </a:path>
              </a:pathLst>
            </a:custGeom>
            <a:solidFill>
              <a:srgbClr val="BAD80A"/>
            </a:solidFill>
            <a:ln w="10795" cap="flat" cmpd="sng" algn="ctr">
              <a:noFill/>
              <a:prstDash val="solid"/>
            </a:ln>
            <a:effectLst/>
          </p:spPr>
          <p:txBody>
            <a:bodyPr rot="0" spcFirstLastPara="0" vert="horz" wrap="square" lIns="91416" tIns="45708" rIns="91416" bIns="45708"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126"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dirty="0">
                <a:ln>
                  <a:noFill/>
                </a:ln>
                <a:solidFill>
                  <a:prstClr val="white"/>
                </a:solidFill>
                <a:effectLst/>
                <a:uLnTx/>
                <a:uFillTx/>
                <a:latin typeface="Segoe UI"/>
                <a:ea typeface="+mn-ea"/>
                <a:cs typeface="+mn-cs"/>
              </a:endParaRPr>
            </a:p>
          </p:txBody>
        </p:sp>
        <p:sp>
          <p:nvSpPr>
            <p:cNvPr id="32" name="Freeform 31"/>
            <p:cNvSpPr/>
            <p:nvPr/>
          </p:nvSpPr>
          <p:spPr>
            <a:xfrm rot="16200000">
              <a:off x="5461606" y="3458745"/>
              <a:ext cx="468098" cy="468099"/>
            </a:xfrm>
            <a:custGeom>
              <a:avLst/>
              <a:gdLst>
                <a:gd name="connsiteX0" fmla="*/ 688598 w 3295651"/>
                <a:gd name="connsiteY0" fmla="*/ 967956 h 3295651"/>
                <a:gd name="connsiteX1" fmla="*/ 677731 w 3295651"/>
                <a:gd name="connsiteY1" fmla="*/ 945398 h 3295651"/>
                <a:gd name="connsiteX2" fmla="*/ 603916 w 3295651"/>
                <a:gd name="connsiteY2" fmla="*/ 823895 h 3295651"/>
                <a:gd name="connsiteX3" fmla="*/ 523671 w 3295651"/>
                <a:gd name="connsiteY3" fmla="*/ 716585 h 3295651"/>
                <a:gd name="connsiteX4" fmla="*/ 453797 w 3295651"/>
                <a:gd name="connsiteY4" fmla="*/ 800243 h 3295651"/>
                <a:gd name="connsiteX5" fmla="*/ 249493 w 3295651"/>
                <a:gd name="connsiteY5" fmla="*/ 1212430 h 3295651"/>
                <a:gd name="connsiteX6" fmla="*/ 243899 w 3295651"/>
                <a:gd name="connsiteY6" fmla="*/ 1234188 h 3295651"/>
                <a:gd name="connsiteX7" fmla="*/ 294775 w 3295651"/>
                <a:gd name="connsiteY7" fmla="*/ 1194206 h 3295651"/>
                <a:gd name="connsiteX8" fmla="*/ 590064 w 3295651"/>
                <a:gd name="connsiteY8" fmla="*/ 1013716 h 3295651"/>
                <a:gd name="connsiteX9" fmla="*/ 688599 w 3295651"/>
                <a:gd name="connsiteY9" fmla="*/ 2327695 h 3295651"/>
                <a:gd name="connsiteX10" fmla="*/ 590064 w 3295651"/>
                <a:gd name="connsiteY10" fmla="*/ 2281936 h 3295651"/>
                <a:gd name="connsiteX11" fmla="*/ 294775 w 3295651"/>
                <a:gd name="connsiteY11" fmla="*/ 2101445 h 3295651"/>
                <a:gd name="connsiteX12" fmla="*/ 243899 w 3295651"/>
                <a:gd name="connsiteY12" fmla="*/ 2061464 h 3295651"/>
                <a:gd name="connsiteX13" fmla="*/ 249493 w 3295651"/>
                <a:gd name="connsiteY13" fmla="*/ 2083222 h 3295651"/>
                <a:gd name="connsiteX14" fmla="*/ 453797 w 3295651"/>
                <a:gd name="connsiteY14" fmla="*/ 2495409 h 3295651"/>
                <a:gd name="connsiteX15" fmla="*/ 523672 w 3295651"/>
                <a:gd name="connsiteY15" fmla="*/ 2579067 h 3295651"/>
                <a:gd name="connsiteX16" fmla="*/ 603916 w 3295651"/>
                <a:gd name="connsiteY16" fmla="*/ 2471759 h 3295651"/>
                <a:gd name="connsiteX17" fmla="*/ 677731 w 3295651"/>
                <a:gd name="connsiteY17" fmla="*/ 2350256 h 3295651"/>
                <a:gd name="connsiteX18" fmla="*/ 855593 w 3295651"/>
                <a:gd name="connsiteY18" fmla="*/ 1647827 h 3295651"/>
                <a:gd name="connsiteX19" fmla="*/ 789340 w 3295651"/>
                <a:gd name="connsiteY19" fmla="*/ 1209609 h 3295651"/>
                <a:gd name="connsiteX20" fmla="*/ 765819 w 3295651"/>
                <a:gd name="connsiteY20" fmla="*/ 1145344 h 3295651"/>
                <a:gd name="connsiteX21" fmla="*/ 673328 w 3295651"/>
                <a:gd name="connsiteY21" fmla="*/ 1186893 h 3295651"/>
                <a:gd name="connsiteX22" fmla="*/ 197779 w 3295651"/>
                <a:gd name="connsiteY22" fmla="*/ 1511702 h 3295651"/>
                <a:gd name="connsiteX23" fmla="*/ 190164 w 3295651"/>
                <a:gd name="connsiteY23" fmla="*/ 1519183 h 3295651"/>
                <a:gd name="connsiteX24" fmla="*/ 183668 w 3295651"/>
                <a:gd name="connsiteY24" fmla="*/ 1647826 h 3295651"/>
                <a:gd name="connsiteX25" fmla="*/ 190658 w 3295651"/>
                <a:gd name="connsiteY25" fmla="*/ 1786254 h 3295651"/>
                <a:gd name="connsiteX26" fmla="*/ 197779 w 3295651"/>
                <a:gd name="connsiteY26" fmla="*/ 1793249 h 3295651"/>
                <a:gd name="connsiteX27" fmla="*/ 673328 w 3295651"/>
                <a:gd name="connsiteY27" fmla="*/ 2118059 h 3295651"/>
                <a:gd name="connsiteX28" fmla="*/ 762897 w 3295651"/>
                <a:gd name="connsiteY28" fmla="*/ 2158295 h 3295651"/>
                <a:gd name="connsiteX29" fmla="*/ 789340 w 3295651"/>
                <a:gd name="connsiteY29" fmla="*/ 2086045 h 3295651"/>
                <a:gd name="connsiteX30" fmla="*/ 855593 w 3295651"/>
                <a:gd name="connsiteY30" fmla="*/ 1647827 h 3295651"/>
                <a:gd name="connsiteX31" fmla="*/ 1553976 w 3295651"/>
                <a:gd name="connsiteY31" fmla="*/ 2526459 h 3295651"/>
                <a:gd name="connsiteX32" fmla="*/ 1432371 w 3295651"/>
                <a:gd name="connsiteY32" fmla="*/ 2521576 h 3295651"/>
                <a:gd name="connsiteX33" fmla="*/ 911236 w 3295651"/>
                <a:gd name="connsiteY33" fmla="*/ 2416235 h 3295651"/>
                <a:gd name="connsiteX34" fmla="*/ 850097 w 3295651"/>
                <a:gd name="connsiteY34" fmla="*/ 2393395 h 3295651"/>
                <a:gd name="connsiteX35" fmla="*/ 830884 w 3295651"/>
                <a:gd name="connsiteY35" fmla="*/ 2433279 h 3295651"/>
                <a:gd name="connsiteX36" fmla="*/ 653484 w 3295651"/>
                <a:gd name="connsiteY36" fmla="*/ 2695997 h 3295651"/>
                <a:gd name="connsiteX37" fmla="*/ 642663 w 3295651"/>
                <a:gd name="connsiteY37" fmla="*/ 2707904 h 3295651"/>
                <a:gd name="connsiteX38" fmla="*/ 771797 w 3295651"/>
                <a:gd name="connsiteY38" fmla="*/ 2821107 h 3295651"/>
                <a:gd name="connsiteX39" fmla="*/ 1525886 w 3295651"/>
                <a:gd name="connsiteY39" fmla="*/ 3106978 h 3295651"/>
                <a:gd name="connsiteX40" fmla="*/ 1553976 w 3295651"/>
                <a:gd name="connsiteY40" fmla="*/ 3108131 h 3295651"/>
                <a:gd name="connsiteX41" fmla="*/ 1553976 w 3295651"/>
                <a:gd name="connsiteY41" fmla="*/ 964224 h 3295651"/>
                <a:gd name="connsiteX42" fmla="*/ 1464365 w 3295651"/>
                <a:gd name="connsiteY42" fmla="*/ 967436 h 3295651"/>
                <a:gd name="connsiteX43" fmla="*/ 1031256 w 3295651"/>
                <a:gd name="connsiteY43" fmla="*/ 1045428 h 3295651"/>
                <a:gd name="connsiteX44" fmla="*/ 927581 w 3295651"/>
                <a:gd name="connsiteY44" fmla="*/ 1081027 h 3295651"/>
                <a:gd name="connsiteX45" fmla="*/ 955685 w 3295651"/>
                <a:gd name="connsiteY45" fmla="*/ 1157814 h 3295651"/>
                <a:gd name="connsiteX46" fmla="*/ 1029768 w 3295651"/>
                <a:gd name="connsiteY46" fmla="*/ 1647827 h 3295651"/>
                <a:gd name="connsiteX47" fmla="*/ 955685 w 3295651"/>
                <a:gd name="connsiteY47" fmla="*/ 2137840 h 3295651"/>
                <a:gd name="connsiteX48" fmla="*/ 924557 w 3295651"/>
                <a:gd name="connsiteY48" fmla="*/ 2222886 h 3295651"/>
                <a:gd name="connsiteX49" fmla="*/ 1031256 w 3295651"/>
                <a:gd name="connsiteY49" fmla="*/ 2259524 h 3295651"/>
                <a:gd name="connsiteX50" fmla="*/ 1464365 w 3295651"/>
                <a:gd name="connsiteY50" fmla="*/ 2337515 h 3295651"/>
                <a:gd name="connsiteX51" fmla="*/ 1553976 w 3295651"/>
                <a:gd name="connsiteY51" fmla="*/ 2340728 h 3295651"/>
                <a:gd name="connsiteX52" fmla="*/ 1553976 w 3295651"/>
                <a:gd name="connsiteY52" fmla="*/ 187520 h 3295651"/>
                <a:gd name="connsiteX53" fmla="*/ 1525886 w 3295651"/>
                <a:gd name="connsiteY53" fmla="*/ 188673 h 3295651"/>
                <a:gd name="connsiteX54" fmla="*/ 771797 w 3295651"/>
                <a:gd name="connsiteY54" fmla="*/ 474544 h 3295651"/>
                <a:gd name="connsiteX55" fmla="*/ 642661 w 3295651"/>
                <a:gd name="connsiteY55" fmla="*/ 587748 h 3295651"/>
                <a:gd name="connsiteX56" fmla="*/ 653484 w 3295651"/>
                <a:gd name="connsiteY56" fmla="*/ 599657 h 3295651"/>
                <a:gd name="connsiteX57" fmla="*/ 830884 w 3295651"/>
                <a:gd name="connsiteY57" fmla="*/ 862375 h 3295651"/>
                <a:gd name="connsiteX58" fmla="*/ 850096 w 3295651"/>
                <a:gd name="connsiteY58" fmla="*/ 902257 h 3295651"/>
                <a:gd name="connsiteX59" fmla="*/ 911236 w 3295651"/>
                <a:gd name="connsiteY59" fmla="*/ 879416 h 3295651"/>
                <a:gd name="connsiteX60" fmla="*/ 1432371 w 3295651"/>
                <a:gd name="connsiteY60" fmla="*/ 774075 h 3295651"/>
                <a:gd name="connsiteX61" fmla="*/ 1553976 w 3295651"/>
                <a:gd name="connsiteY61" fmla="*/ 769193 h 3295651"/>
                <a:gd name="connsiteX62" fmla="*/ 2363650 w 3295651"/>
                <a:gd name="connsiteY62" fmla="*/ 2202550 h 3295651"/>
                <a:gd name="connsiteX63" fmla="*/ 2339965 w 3295651"/>
                <a:gd name="connsiteY63" fmla="*/ 2137840 h 3295651"/>
                <a:gd name="connsiteX64" fmla="*/ 2265883 w 3295651"/>
                <a:gd name="connsiteY64" fmla="*/ 1647827 h 3295651"/>
                <a:gd name="connsiteX65" fmla="*/ 2339965 w 3295651"/>
                <a:gd name="connsiteY65" fmla="*/ 1157814 h 3295651"/>
                <a:gd name="connsiteX66" fmla="*/ 2360627 w 3295651"/>
                <a:gd name="connsiteY66" fmla="*/ 1101363 h 3295651"/>
                <a:gd name="connsiteX67" fmla="*/ 2197727 w 3295651"/>
                <a:gd name="connsiteY67" fmla="*/ 1045428 h 3295651"/>
                <a:gd name="connsiteX68" fmla="*/ 1764617 w 3295651"/>
                <a:gd name="connsiteY68" fmla="*/ 967436 h 3295651"/>
                <a:gd name="connsiteX69" fmla="*/ 1741675 w 3295651"/>
                <a:gd name="connsiteY69" fmla="*/ 966614 h 3295651"/>
                <a:gd name="connsiteX70" fmla="*/ 1741675 w 3295651"/>
                <a:gd name="connsiteY70" fmla="*/ 2338338 h 3295651"/>
                <a:gd name="connsiteX71" fmla="*/ 1764617 w 3295651"/>
                <a:gd name="connsiteY71" fmla="*/ 2337515 h 3295651"/>
                <a:gd name="connsiteX72" fmla="*/ 2197727 w 3295651"/>
                <a:gd name="connsiteY72" fmla="*/ 2259524 h 3295651"/>
                <a:gd name="connsiteX73" fmla="*/ 2652988 w 3295651"/>
                <a:gd name="connsiteY73" fmla="*/ 2707905 h 3295651"/>
                <a:gd name="connsiteX74" fmla="*/ 2642165 w 3295651"/>
                <a:gd name="connsiteY74" fmla="*/ 2695997 h 3295651"/>
                <a:gd name="connsiteX75" fmla="*/ 2464766 w 3295651"/>
                <a:gd name="connsiteY75" fmla="*/ 2433279 h 3295651"/>
                <a:gd name="connsiteX76" fmla="*/ 2435384 w 3295651"/>
                <a:gd name="connsiteY76" fmla="*/ 2372286 h 3295651"/>
                <a:gd name="connsiteX77" fmla="*/ 2317745 w 3295651"/>
                <a:gd name="connsiteY77" fmla="*/ 2416235 h 3295651"/>
                <a:gd name="connsiteX78" fmla="*/ 1796610 w 3295651"/>
                <a:gd name="connsiteY78" fmla="*/ 2521576 h 3295651"/>
                <a:gd name="connsiteX79" fmla="*/ 1741675 w 3295651"/>
                <a:gd name="connsiteY79" fmla="*/ 2523782 h 3295651"/>
                <a:gd name="connsiteX80" fmla="*/ 1741675 w 3295651"/>
                <a:gd name="connsiteY80" fmla="*/ 3108131 h 3295651"/>
                <a:gd name="connsiteX81" fmla="*/ 1769765 w 3295651"/>
                <a:gd name="connsiteY81" fmla="*/ 3106978 h 3295651"/>
                <a:gd name="connsiteX82" fmla="*/ 2523855 w 3295651"/>
                <a:gd name="connsiteY82" fmla="*/ 2821107 h 3295651"/>
                <a:gd name="connsiteX83" fmla="*/ 2652989 w 3295651"/>
                <a:gd name="connsiteY83" fmla="*/ 587748 h 3295651"/>
                <a:gd name="connsiteX84" fmla="*/ 2523855 w 3295651"/>
                <a:gd name="connsiteY84" fmla="*/ 474544 h 3295651"/>
                <a:gd name="connsiteX85" fmla="*/ 1769765 w 3295651"/>
                <a:gd name="connsiteY85" fmla="*/ 188673 h 3295651"/>
                <a:gd name="connsiteX86" fmla="*/ 1741675 w 3295651"/>
                <a:gd name="connsiteY86" fmla="*/ 187520 h 3295651"/>
                <a:gd name="connsiteX87" fmla="*/ 1741675 w 3295651"/>
                <a:gd name="connsiteY87" fmla="*/ 771870 h 3295651"/>
                <a:gd name="connsiteX88" fmla="*/ 1796610 w 3295651"/>
                <a:gd name="connsiteY88" fmla="*/ 774075 h 3295651"/>
                <a:gd name="connsiteX89" fmla="*/ 2317745 w 3295651"/>
                <a:gd name="connsiteY89" fmla="*/ 879416 h 3295651"/>
                <a:gd name="connsiteX90" fmla="*/ 2435385 w 3295651"/>
                <a:gd name="connsiteY90" fmla="*/ 923365 h 3295651"/>
                <a:gd name="connsiteX91" fmla="*/ 2464766 w 3295651"/>
                <a:gd name="connsiteY91" fmla="*/ 862375 h 3295651"/>
                <a:gd name="connsiteX92" fmla="*/ 2642165 w 3295651"/>
                <a:gd name="connsiteY92" fmla="*/ 599657 h 3295651"/>
                <a:gd name="connsiteX93" fmla="*/ 3068636 w 3295651"/>
                <a:gd name="connsiteY93" fmla="*/ 1995803 h 3295651"/>
                <a:gd name="connsiteX94" fmla="*/ 2934206 w 3295651"/>
                <a:gd name="connsiteY94" fmla="*/ 2101445 h 3295651"/>
                <a:gd name="connsiteX95" fmla="*/ 2638917 w 3295651"/>
                <a:gd name="connsiteY95" fmla="*/ 2281936 h 3295651"/>
                <a:gd name="connsiteX96" fmla="*/ 2607257 w 3295651"/>
                <a:gd name="connsiteY96" fmla="*/ 2296639 h 3295651"/>
                <a:gd name="connsiteX97" fmla="*/ 2629945 w 3295651"/>
                <a:gd name="connsiteY97" fmla="*/ 2343737 h 3295651"/>
                <a:gd name="connsiteX98" fmla="*/ 2703075 w 3295651"/>
                <a:gd name="connsiteY98" fmla="*/ 2464112 h 3295651"/>
                <a:gd name="connsiteX99" fmla="*/ 2780979 w 3295651"/>
                <a:gd name="connsiteY99" fmla="*/ 2568292 h 3295651"/>
                <a:gd name="connsiteX100" fmla="*/ 2841854 w 3295651"/>
                <a:gd name="connsiteY100" fmla="*/ 2495409 h 3295651"/>
                <a:gd name="connsiteX101" fmla="*/ 3046158 w 3295651"/>
                <a:gd name="connsiteY101" fmla="*/ 2083222 h 3295651"/>
                <a:gd name="connsiteX102" fmla="*/ 3068636 w 3295651"/>
                <a:gd name="connsiteY102" fmla="*/ 1299849 h 3295651"/>
                <a:gd name="connsiteX103" fmla="*/ 3046158 w 3295651"/>
                <a:gd name="connsiteY103" fmla="*/ 1212430 h 3295651"/>
                <a:gd name="connsiteX104" fmla="*/ 2841854 w 3295651"/>
                <a:gd name="connsiteY104" fmla="*/ 800243 h 3295651"/>
                <a:gd name="connsiteX105" fmla="*/ 2780980 w 3295651"/>
                <a:gd name="connsiteY105" fmla="*/ 727361 h 3295651"/>
                <a:gd name="connsiteX106" fmla="*/ 2703075 w 3295651"/>
                <a:gd name="connsiteY106" fmla="*/ 831542 h 3295651"/>
                <a:gd name="connsiteX107" fmla="*/ 2629945 w 3295651"/>
                <a:gd name="connsiteY107" fmla="*/ 951917 h 3295651"/>
                <a:gd name="connsiteX108" fmla="*/ 2607258 w 3295651"/>
                <a:gd name="connsiteY108" fmla="*/ 999013 h 3295651"/>
                <a:gd name="connsiteX109" fmla="*/ 2638917 w 3295651"/>
                <a:gd name="connsiteY109" fmla="*/ 1013716 h 3295651"/>
                <a:gd name="connsiteX110" fmla="*/ 2934206 w 3295651"/>
                <a:gd name="connsiteY110" fmla="*/ 1194206 h 3295651"/>
                <a:gd name="connsiteX111" fmla="*/ 3111984 w 3295651"/>
                <a:gd name="connsiteY111" fmla="*/ 1647826 h 3295651"/>
                <a:gd name="connsiteX112" fmla="*/ 3108967 w 3295651"/>
                <a:gd name="connsiteY112" fmla="*/ 1588083 h 3295651"/>
                <a:gd name="connsiteX113" fmla="*/ 3031205 w 3295651"/>
                <a:gd name="connsiteY113" fmla="*/ 1511702 h 3295651"/>
                <a:gd name="connsiteX114" fmla="*/ 2555656 w 3295651"/>
                <a:gd name="connsiteY114" fmla="*/ 1186893 h 3295651"/>
                <a:gd name="connsiteX115" fmla="*/ 2532914 w 3295651"/>
                <a:gd name="connsiteY115" fmla="*/ 1176677 h 3295651"/>
                <a:gd name="connsiteX116" fmla="*/ 2519372 w 3295651"/>
                <a:gd name="connsiteY116" fmla="*/ 1213676 h 3295651"/>
                <a:gd name="connsiteX117" fmla="*/ 2453735 w 3295651"/>
                <a:gd name="connsiteY117" fmla="*/ 1647827 h 3295651"/>
                <a:gd name="connsiteX118" fmla="*/ 2519372 w 3295651"/>
                <a:gd name="connsiteY118" fmla="*/ 2081978 h 3295651"/>
                <a:gd name="connsiteX119" fmla="*/ 2535836 w 3295651"/>
                <a:gd name="connsiteY119" fmla="*/ 2126962 h 3295651"/>
                <a:gd name="connsiteX120" fmla="*/ 2555656 w 3295651"/>
                <a:gd name="connsiteY120" fmla="*/ 2118059 h 3295651"/>
                <a:gd name="connsiteX121" fmla="*/ 3031205 w 3295651"/>
                <a:gd name="connsiteY121" fmla="*/ 1793249 h 3295651"/>
                <a:gd name="connsiteX122" fmla="*/ 3108473 w 3295651"/>
                <a:gd name="connsiteY122" fmla="*/ 1717354 h 3295651"/>
                <a:gd name="connsiteX123" fmla="*/ 3295651 w 3295651"/>
                <a:gd name="connsiteY123" fmla="*/ 1647826 h 3295651"/>
                <a:gd name="connsiteX124" fmla="*/ 2919368 w 3295651"/>
                <a:gd name="connsiteY124" fmla="*/ 2695996 h 3295651"/>
                <a:gd name="connsiteX125" fmla="*/ 2838724 w 3295651"/>
                <a:gd name="connsiteY125" fmla="*/ 2784726 h 3295651"/>
                <a:gd name="connsiteX126" fmla="*/ 2813013 w 3295651"/>
                <a:gd name="connsiteY126" fmla="*/ 2813016 h 3295651"/>
                <a:gd name="connsiteX127" fmla="*/ 2780766 w 3295651"/>
                <a:gd name="connsiteY127" fmla="*/ 2842324 h 3295651"/>
                <a:gd name="connsiteX128" fmla="*/ 2780765 w 3295651"/>
                <a:gd name="connsiteY128" fmla="*/ 2842324 h 3295651"/>
                <a:gd name="connsiteX129" fmla="*/ 2695995 w 3295651"/>
                <a:gd name="connsiteY129" fmla="*/ 2919368 h 3295651"/>
                <a:gd name="connsiteX130" fmla="*/ 1647826 w 3295651"/>
                <a:gd name="connsiteY130" fmla="*/ 3295651 h 3295651"/>
                <a:gd name="connsiteX131" fmla="*/ 599656 w 3295651"/>
                <a:gd name="connsiteY131" fmla="*/ 2919368 h 3295651"/>
                <a:gd name="connsiteX132" fmla="*/ 514885 w 3295651"/>
                <a:gd name="connsiteY132" fmla="*/ 2842323 h 3295651"/>
                <a:gd name="connsiteX133" fmla="*/ 514884 w 3295651"/>
                <a:gd name="connsiteY133" fmla="*/ 2842324 h 3295651"/>
                <a:gd name="connsiteX134" fmla="*/ 482637 w 3295651"/>
                <a:gd name="connsiteY134" fmla="*/ 2813016 h 3295651"/>
                <a:gd name="connsiteX135" fmla="*/ 394798 w 3295651"/>
                <a:gd name="connsiteY135" fmla="*/ 2716368 h 3295651"/>
                <a:gd name="connsiteX136" fmla="*/ 394799 w 3295651"/>
                <a:gd name="connsiteY136" fmla="*/ 2716367 h 3295651"/>
                <a:gd name="connsiteX137" fmla="*/ 376284 w 3295651"/>
                <a:gd name="connsiteY137" fmla="*/ 2695996 h 3295651"/>
                <a:gd name="connsiteX138" fmla="*/ 0 w 3295651"/>
                <a:gd name="connsiteY138" fmla="*/ 1647826 h 3295651"/>
                <a:gd name="connsiteX139" fmla="*/ 1647826 w 3295651"/>
                <a:gd name="connsiteY139" fmla="*/ 0 h 3295651"/>
                <a:gd name="connsiteX140" fmla="*/ 3295651 w 3295651"/>
                <a:gd name="connsiteY140" fmla="*/ 1647826 h 3295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Lst>
              <a:rect l="l" t="t" r="r" b="b"/>
              <a:pathLst>
                <a:path w="3295651" h="3295651">
                  <a:moveTo>
                    <a:pt x="688598" y="967956"/>
                  </a:moveTo>
                  <a:lnTo>
                    <a:pt x="677731" y="945398"/>
                  </a:lnTo>
                  <a:cubicBezTo>
                    <a:pt x="655045" y="903637"/>
                    <a:pt x="630399" y="863095"/>
                    <a:pt x="603916" y="823895"/>
                  </a:cubicBezTo>
                  <a:lnTo>
                    <a:pt x="523671" y="716585"/>
                  </a:lnTo>
                  <a:lnTo>
                    <a:pt x="453797" y="800243"/>
                  </a:lnTo>
                  <a:cubicBezTo>
                    <a:pt x="365343" y="924628"/>
                    <a:pt x="295838" y="1063427"/>
                    <a:pt x="249493" y="1212430"/>
                  </a:cubicBezTo>
                  <a:lnTo>
                    <a:pt x="243899" y="1234188"/>
                  </a:lnTo>
                  <a:lnTo>
                    <a:pt x="294775" y="1194206"/>
                  </a:lnTo>
                  <a:cubicBezTo>
                    <a:pt x="388426" y="1126827"/>
                    <a:pt x="487088" y="1066422"/>
                    <a:pt x="590064" y="1013716"/>
                  </a:cubicBezTo>
                  <a:close/>
                  <a:moveTo>
                    <a:pt x="688599" y="2327695"/>
                  </a:moveTo>
                  <a:lnTo>
                    <a:pt x="590064" y="2281936"/>
                  </a:lnTo>
                  <a:cubicBezTo>
                    <a:pt x="487088" y="2229229"/>
                    <a:pt x="388426" y="2168824"/>
                    <a:pt x="294775" y="2101445"/>
                  </a:cubicBezTo>
                  <a:lnTo>
                    <a:pt x="243899" y="2061464"/>
                  </a:lnTo>
                  <a:lnTo>
                    <a:pt x="249493" y="2083222"/>
                  </a:lnTo>
                  <a:cubicBezTo>
                    <a:pt x="295838" y="2232225"/>
                    <a:pt x="365343" y="2371024"/>
                    <a:pt x="453797" y="2495409"/>
                  </a:cubicBezTo>
                  <a:lnTo>
                    <a:pt x="523672" y="2579067"/>
                  </a:lnTo>
                  <a:lnTo>
                    <a:pt x="603916" y="2471759"/>
                  </a:lnTo>
                  <a:cubicBezTo>
                    <a:pt x="630399" y="2432559"/>
                    <a:pt x="655045" y="2392017"/>
                    <a:pt x="677731" y="2350256"/>
                  </a:cubicBezTo>
                  <a:close/>
                  <a:moveTo>
                    <a:pt x="855593" y="1647827"/>
                  </a:moveTo>
                  <a:cubicBezTo>
                    <a:pt x="855593" y="1495225"/>
                    <a:pt x="832397" y="1348042"/>
                    <a:pt x="789340" y="1209609"/>
                  </a:cubicBezTo>
                  <a:lnTo>
                    <a:pt x="765819" y="1145344"/>
                  </a:lnTo>
                  <a:lnTo>
                    <a:pt x="673328" y="1186893"/>
                  </a:lnTo>
                  <a:cubicBezTo>
                    <a:pt x="501793" y="1273451"/>
                    <a:pt x="342152" y="1382936"/>
                    <a:pt x="197779" y="1511702"/>
                  </a:cubicBezTo>
                  <a:lnTo>
                    <a:pt x="190164" y="1519183"/>
                  </a:lnTo>
                  <a:lnTo>
                    <a:pt x="183668" y="1647826"/>
                  </a:lnTo>
                  <a:lnTo>
                    <a:pt x="190658" y="1786254"/>
                  </a:lnTo>
                  <a:lnTo>
                    <a:pt x="197779" y="1793249"/>
                  </a:lnTo>
                  <a:cubicBezTo>
                    <a:pt x="342152" y="1922016"/>
                    <a:pt x="501793" y="2031501"/>
                    <a:pt x="673328" y="2118059"/>
                  </a:cubicBezTo>
                  <a:lnTo>
                    <a:pt x="762897" y="2158295"/>
                  </a:lnTo>
                  <a:lnTo>
                    <a:pt x="789340" y="2086045"/>
                  </a:lnTo>
                  <a:cubicBezTo>
                    <a:pt x="832397" y="1947612"/>
                    <a:pt x="855593" y="1800428"/>
                    <a:pt x="855593" y="1647827"/>
                  </a:cubicBezTo>
                  <a:close/>
                  <a:moveTo>
                    <a:pt x="1553976" y="2526459"/>
                  </a:moveTo>
                  <a:lnTo>
                    <a:pt x="1432371" y="2521576"/>
                  </a:lnTo>
                  <a:cubicBezTo>
                    <a:pt x="1252092" y="2507042"/>
                    <a:pt x="1077596" y="2471114"/>
                    <a:pt x="911236" y="2416235"/>
                  </a:cubicBezTo>
                  <a:lnTo>
                    <a:pt x="850097" y="2393395"/>
                  </a:lnTo>
                  <a:lnTo>
                    <a:pt x="830884" y="2433279"/>
                  </a:lnTo>
                  <a:cubicBezTo>
                    <a:pt x="780149" y="2526673"/>
                    <a:pt x="720648" y="2614614"/>
                    <a:pt x="653484" y="2695997"/>
                  </a:cubicBezTo>
                  <a:lnTo>
                    <a:pt x="642663" y="2707904"/>
                  </a:lnTo>
                  <a:lnTo>
                    <a:pt x="771797" y="2821107"/>
                  </a:lnTo>
                  <a:cubicBezTo>
                    <a:pt x="985545" y="2980960"/>
                    <a:pt x="1244430" y="3083773"/>
                    <a:pt x="1525886" y="3106978"/>
                  </a:cubicBezTo>
                  <a:lnTo>
                    <a:pt x="1553976" y="3108131"/>
                  </a:lnTo>
                  <a:close/>
                  <a:moveTo>
                    <a:pt x="1553976" y="964224"/>
                  </a:moveTo>
                  <a:lnTo>
                    <a:pt x="1464365" y="967436"/>
                  </a:lnTo>
                  <a:cubicBezTo>
                    <a:pt x="1315520" y="978143"/>
                    <a:pt x="1170675" y="1004653"/>
                    <a:pt x="1031256" y="1045428"/>
                  </a:cubicBezTo>
                  <a:lnTo>
                    <a:pt x="927581" y="1081027"/>
                  </a:lnTo>
                  <a:lnTo>
                    <a:pt x="955685" y="1157814"/>
                  </a:lnTo>
                  <a:cubicBezTo>
                    <a:pt x="1003831" y="1312609"/>
                    <a:pt x="1029768" y="1477189"/>
                    <a:pt x="1029768" y="1647827"/>
                  </a:cubicBezTo>
                  <a:cubicBezTo>
                    <a:pt x="1029768" y="1818465"/>
                    <a:pt x="1003831" y="1983045"/>
                    <a:pt x="955685" y="2137840"/>
                  </a:cubicBezTo>
                  <a:lnTo>
                    <a:pt x="924557" y="2222886"/>
                  </a:lnTo>
                  <a:lnTo>
                    <a:pt x="1031256" y="2259524"/>
                  </a:lnTo>
                  <a:cubicBezTo>
                    <a:pt x="1170675" y="2300299"/>
                    <a:pt x="1315520" y="2326809"/>
                    <a:pt x="1464365" y="2337515"/>
                  </a:cubicBezTo>
                  <a:lnTo>
                    <a:pt x="1553976" y="2340728"/>
                  </a:lnTo>
                  <a:close/>
                  <a:moveTo>
                    <a:pt x="1553976" y="187520"/>
                  </a:moveTo>
                  <a:lnTo>
                    <a:pt x="1525886" y="188673"/>
                  </a:lnTo>
                  <a:cubicBezTo>
                    <a:pt x="1244430" y="211878"/>
                    <a:pt x="985545" y="314691"/>
                    <a:pt x="771797" y="474544"/>
                  </a:cubicBezTo>
                  <a:lnTo>
                    <a:pt x="642661" y="587748"/>
                  </a:lnTo>
                  <a:lnTo>
                    <a:pt x="653484" y="599657"/>
                  </a:lnTo>
                  <a:cubicBezTo>
                    <a:pt x="720648" y="681040"/>
                    <a:pt x="780149" y="768981"/>
                    <a:pt x="830884" y="862375"/>
                  </a:cubicBezTo>
                  <a:lnTo>
                    <a:pt x="850096" y="902257"/>
                  </a:lnTo>
                  <a:lnTo>
                    <a:pt x="911236" y="879416"/>
                  </a:lnTo>
                  <a:cubicBezTo>
                    <a:pt x="1077596" y="824537"/>
                    <a:pt x="1252092" y="788610"/>
                    <a:pt x="1432371" y="774075"/>
                  </a:cubicBezTo>
                  <a:lnTo>
                    <a:pt x="1553976" y="769193"/>
                  </a:lnTo>
                  <a:close/>
                  <a:moveTo>
                    <a:pt x="2363650" y="2202550"/>
                  </a:moveTo>
                  <a:lnTo>
                    <a:pt x="2339965" y="2137840"/>
                  </a:lnTo>
                  <a:cubicBezTo>
                    <a:pt x="2291819" y="1983045"/>
                    <a:pt x="2265883" y="1818465"/>
                    <a:pt x="2265883" y="1647827"/>
                  </a:cubicBezTo>
                  <a:cubicBezTo>
                    <a:pt x="2265883" y="1477189"/>
                    <a:pt x="2291819" y="1312609"/>
                    <a:pt x="2339965" y="1157814"/>
                  </a:cubicBezTo>
                  <a:lnTo>
                    <a:pt x="2360627" y="1101363"/>
                  </a:lnTo>
                  <a:lnTo>
                    <a:pt x="2197727" y="1045428"/>
                  </a:lnTo>
                  <a:cubicBezTo>
                    <a:pt x="2058307" y="1004653"/>
                    <a:pt x="1913463" y="978143"/>
                    <a:pt x="1764617" y="967436"/>
                  </a:cubicBezTo>
                  <a:lnTo>
                    <a:pt x="1741675" y="966614"/>
                  </a:lnTo>
                  <a:lnTo>
                    <a:pt x="1741675" y="2338338"/>
                  </a:lnTo>
                  <a:lnTo>
                    <a:pt x="1764617" y="2337515"/>
                  </a:lnTo>
                  <a:cubicBezTo>
                    <a:pt x="1913463" y="2326809"/>
                    <a:pt x="2058307" y="2300299"/>
                    <a:pt x="2197727" y="2259524"/>
                  </a:cubicBezTo>
                  <a:close/>
                  <a:moveTo>
                    <a:pt x="2652988" y="2707905"/>
                  </a:moveTo>
                  <a:lnTo>
                    <a:pt x="2642165" y="2695997"/>
                  </a:lnTo>
                  <a:cubicBezTo>
                    <a:pt x="2575002" y="2614614"/>
                    <a:pt x="2515501" y="2526673"/>
                    <a:pt x="2464766" y="2433279"/>
                  </a:cubicBezTo>
                  <a:lnTo>
                    <a:pt x="2435384" y="2372286"/>
                  </a:lnTo>
                  <a:lnTo>
                    <a:pt x="2317745" y="2416235"/>
                  </a:lnTo>
                  <a:cubicBezTo>
                    <a:pt x="2151385" y="2471114"/>
                    <a:pt x="1976889" y="2507042"/>
                    <a:pt x="1796610" y="2521576"/>
                  </a:cubicBezTo>
                  <a:lnTo>
                    <a:pt x="1741675" y="2523782"/>
                  </a:lnTo>
                  <a:lnTo>
                    <a:pt x="1741675" y="3108131"/>
                  </a:lnTo>
                  <a:lnTo>
                    <a:pt x="1769765" y="3106978"/>
                  </a:lnTo>
                  <a:cubicBezTo>
                    <a:pt x="2051221" y="3083773"/>
                    <a:pt x="2310106" y="2980960"/>
                    <a:pt x="2523855" y="2821107"/>
                  </a:cubicBezTo>
                  <a:close/>
                  <a:moveTo>
                    <a:pt x="2652989" y="587748"/>
                  </a:moveTo>
                  <a:lnTo>
                    <a:pt x="2523855" y="474544"/>
                  </a:lnTo>
                  <a:cubicBezTo>
                    <a:pt x="2310106" y="314691"/>
                    <a:pt x="2051221" y="211878"/>
                    <a:pt x="1769765" y="188673"/>
                  </a:cubicBezTo>
                  <a:lnTo>
                    <a:pt x="1741675" y="187520"/>
                  </a:lnTo>
                  <a:lnTo>
                    <a:pt x="1741675" y="771870"/>
                  </a:lnTo>
                  <a:lnTo>
                    <a:pt x="1796610" y="774075"/>
                  </a:lnTo>
                  <a:cubicBezTo>
                    <a:pt x="1976889" y="788610"/>
                    <a:pt x="2151385" y="824537"/>
                    <a:pt x="2317745" y="879416"/>
                  </a:cubicBezTo>
                  <a:lnTo>
                    <a:pt x="2435385" y="923365"/>
                  </a:lnTo>
                  <a:lnTo>
                    <a:pt x="2464766" y="862375"/>
                  </a:lnTo>
                  <a:cubicBezTo>
                    <a:pt x="2515501" y="768981"/>
                    <a:pt x="2575002" y="681040"/>
                    <a:pt x="2642165" y="599657"/>
                  </a:cubicBezTo>
                  <a:close/>
                  <a:moveTo>
                    <a:pt x="3068636" y="1995803"/>
                  </a:moveTo>
                  <a:lnTo>
                    <a:pt x="2934206" y="2101445"/>
                  </a:lnTo>
                  <a:cubicBezTo>
                    <a:pt x="2840555" y="2168824"/>
                    <a:pt x="2741893" y="2229229"/>
                    <a:pt x="2638917" y="2281936"/>
                  </a:cubicBezTo>
                  <a:lnTo>
                    <a:pt x="2607257" y="2296639"/>
                  </a:lnTo>
                  <a:lnTo>
                    <a:pt x="2629945" y="2343737"/>
                  </a:lnTo>
                  <a:cubicBezTo>
                    <a:pt x="2652421" y="2385111"/>
                    <a:pt x="2676838" y="2425276"/>
                    <a:pt x="2703075" y="2464112"/>
                  </a:cubicBezTo>
                  <a:lnTo>
                    <a:pt x="2780979" y="2568292"/>
                  </a:lnTo>
                  <a:lnTo>
                    <a:pt x="2841854" y="2495409"/>
                  </a:lnTo>
                  <a:cubicBezTo>
                    <a:pt x="2930308" y="2371024"/>
                    <a:pt x="2999813" y="2232225"/>
                    <a:pt x="3046158" y="2083222"/>
                  </a:cubicBezTo>
                  <a:close/>
                  <a:moveTo>
                    <a:pt x="3068636" y="1299849"/>
                  </a:moveTo>
                  <a:lnTo>
                    <a:pt x="3046158" y="1212430"/>
                  </a:lnTo>
                  <a:cubicBezTo>
                    <a:pt x="2999813" y="1063427"/>
                    <a:pt x="2930308" y="924628"/>
                    <a:pt x="2841854" y="800243"/>
                  </a:cubicBezTo>
                  <a:lnTo>
                    <a:pt x="2780980" y="727361"/>
                  </a:lnTo>
                  <a:lnTo>
                    <a:pt x="2703075" y="831542"/>
                  </a:lnTo>
                  <a:cubicBezTo>
                    <a:pt x="2676838" y="870377"/>
                    <a:pt x="2652421" y="910543"/>
                    <a:pt x="2629945" y="951917"/>
                  </a:cubicBezTo>
                  <a:lnTo>
                    <a:pt x="2607258" y="999013"/>
                  </a:lnTo>
                  <a:lnTo>
                    <a:pt x="2638917" y="1013716"/>
                  </a:lnTo>
                  <a:cubicBezTo>
                    <a:pt x="2741893" y="1066422"/>
                    <a:pt x="2840555" y="1126827"/>
                    <a:pt x="2934206" y="1194206"/>
                  </a:cubicBezTo>
                  <a:close/>
                  <a:moveTo>
                    <a:pt x="3111984" y="1647826"/>
                  </a:moveTo>
                  <a:lnTo>
                    <a:pt x="3108967" y="1588083"/>
                  </a:lnTo>
                  <a:lnTo>
                    <a:pt x="3031205" y="1511702"/>
                  </a:lnTo>
                  <a:cubicBezTo>
                    <a:pt x="2886832" y="1382936"/>
                    <a:pt x="2727191" y="1273451"/>
                    <a:pt x="2555656" y="1186893"/>
                  </a:cubicBezTo>
                  <a:lnTo>
                    <a:pt x="2532914" y="1176677"/>
                  </a:lnTo>
                  <a:lnTo>
                    <a:pt x="2519372" y="1213676"/>
                  </a:lnTo>
                  <a:cubicBezTo>
                    <a:pt x="2476715" y="1350824"/>
                    <a:pt x="2453735" y="1496642"/>
                    <a:pt x="2453735" y="1647827"/>
                  </a:cubicBezTo>
                  <a:cubicBezTo>
                    <a:pt x="2453735" y="1799012"/>
                    <a:pt x="2476715" y="1944830"/>
                    <a:pt x="2519372" y="2081978"/>
                  </a:cubicBezTo>
                  <a:lnTo>
                    <a:pt x="2535836" y="2126962"/>
                  </a:lnTo>
                  <a:lnTo>
                    <a:pt x="2555656" y="2118059"/>
                  </a:lnTo>
                  <a:cubicBezTo>
                    <a:pt x="2727191" y="2031501"/>
                    <a:pt x="2886832" y="1922016"/>
                    <a:pt x="3031205" y="1793249"/>
                  </a:cubicBezTo>
                  <a:lnTo>
                    <a:pt x="3108473" y="1717354"/>
                  </a:lnTo>
                  <a:close/>
                  <a:moveTo>
                    <a:pt x="3295651" y="1647826"/>
                  </a:moveTo>
                  <a:cubicBezTo>
                    <a:pt x="3295651" y="2045981"/>
                    <a:pt x="3154439" y="2411154"/>
                    <a:pt x="2919368" y="2695996"/>
                  </a:cubicBezTo>
                  <a:lnTo>
                    <a:pt x="2838724" y="2784726"/>
                  </a:lnTo>
                  <a:lnTo>
                    <a:pt x="2813013" y="2813016"/>
                  </a:lnTo>
                  <a:lnTo>
                    <a:pt x="2780766" y="2842324"/>
                  </a:lnTo>
                  <a:lnTo>
                    <a:pt x="2780765" y="2842324"/>
                  </a:lnTo>
                  <a:lnTo>
                    <a:pt x="2695995" y="2919368"/>
                  </a:lnTo>
                  <a:cubicBezTo>
                    <a:pt x="2411154" y="3154440"/>
                    <a:pt x="2045981" y="3295651"/>
                    <a:pt x="1647826" y="3295651"/>
                  </a:cubicBezTo>
                  <a:cubicBezTo>
                    <a:pt x="1249671" y="3295651"/>
                    <a:pt x="884497" y="3154440"/>
                    <a:pt x="599656" y="2919368"/>
                  </a:cubicBezTo>
                  <a:lnTo>
                    <a:pt x="514885" y="2842323"/>
                  </a:lnTo>
                  <a:lnTo>
                    <a:pt x="514884" y="2842324"/>
                  </a:lnTo>
                  <a:lnTo>
                    <a:pt x="482637" y="2813016"/>
                  </a:lnTo>
                  <a:lnTo>
                    <a:pt x="394798" y="2716368"/>
                  </a:lnTo>
                  <a:lnTo>
                    <a:pt x="394799" y="2716367"/>
                  </a:lnTo>
                  <a:lnTo>
                    <a:pt x="376284" y="2695996"/>
                  </a:lnTo>
                  <a:cubicBezTo>
                    <a:pt x="141212" y="2411154"/>
                    <a:pt x="0" y="2045981"/>
                    <a:pt x="0" y="1647826"/>
                  </a:cubicBezTo>
                  <a:cubicBezTo>
                    <a:pt x="0" y="737756"/>
                    <a:pt x="737757" y="0"/>
                    <a:pt x="1647826" y="0"/>
                  </a:cubicBezTo>
                  <a:cubicBezTo>
                    <a:pt x="2557895" y="0"/>
                    <a:pt x="3295651" y="737756"/>
                    <a:pt x="3295651" y="1647826"/>
                  </a:cubicBezTo>
                  <a:close/>
                </a:path>
              </a:pathLst>
            </a:custGeom>
            <a:solidFill>
              <a:srgbClr val="FF8C00"/>
            </a:solidFill>
            <a:ln w="10795" cap="flat" cmpd="sng" algn="ctr">
              <a:noFill/>
              <a:prstDash val="solid"/>
            </a:ln>
            <a:effectLst/>
          </p:spPr>
          <p:txBody>
            <a:bodyPr rot="0" spcFirstLastPara="0" vert="horz" wrap="square" lIns="91416" tIns="45708" rIns="91416" bIns="45708"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126"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prstClr val="black"/>
                </a:solidFill>
                <a:effectLst/>
                <a:uLnTx/>
                <a:uFillTx/>
                <a:latin typeface="Segoe UI"/>
                <a:ea typeface="+mn-ea"/>
                <a:cs typeface="+mn-cs"/>
              </a:endParaRPr>
            </a:p>
          </p:txBody>
        </p:sp>
        <p:grpSp>
          <p:nvGrpSpPr>
            <p:cNvPr id="35" name="Group 34"/>
            <p:cNvGrpSpPr/>
            <p:nvPr/>
          </p:nvGrpSpPr>
          <p:grpSpPr>
            <a:xfrm>
              <a:off x="5292798" y="3762800"/>
              <a:ext cx="311025" cy="371479"/>
              <a:chOff x="5328717" y="3807714"/>
              <a:chExt cx="311025" cy="371479"/>
            </a:xfrm>
          </p:grpSpPr>
          <p:sp>
            <p:nvSpPr>
              <p:cNvPr id="59" name="Freeform 58"/>
              <p:cNvSpPr>
                <a:spLocks/>
              </p:cNvSpPr>
              <p:nvPr/>
            </p:nvSpPr>
            <p:spPr bwMode="auto">
              <a:xfrm>
                <a:off x="5328717" y="3807714"/>
                <a:ext cx="220672" cy="334385"/>
              </a:xfrm>
              <a:custGeom>
                <a:avLst/>
                <a:gdLst>
                  <a:gd name="connsiteX0" fmla="*/ 1534272 w 1909131"/>
                  <a:gd name="connsiteY0" fmla="*/ 189566 h 2892910"/>
                  <a:gd name="connsiteX1" fmla="*/ 1665623 w 1909131"/>
                  <a:gd name="connsiteY1" fmla="*/ 320917 h 2892910"/>
                  <a:gd name="connsiteX2" fmla="*/ 1534272 w 1909131"/>
                  <a:gd name="connsiteY2" fmla="*/ 320917 h 2892910"/>
                  <a:gd name="connsiteX3" fmla="*/ 160408 w 1909131"/>
                  <a:gd name="connsiteY3" fmla="*/ 166688 h 2892910"/>
                  <a:gd name="connsiteX4" fmla="*/ 1453309 w 1909131"/>
                  <a:gd name="connsiteY4" fmla="*/ 166688 h 2892910"/>
                  <a:gd name="connsiteX5" fmla="*/ 1453309 w 1909131"/>
                  <a:gd name="connsiteY5" fmla="*/ 320917 h 2892910"/>
                  <a:gd name="connsiteX6" fmla="*/ 406400 w 1909131"/>
                  <a:gd name="connsiteY6" fmla="*/ 320917 h 2892910"/>
                  <a:gd name="connsiteX7" fmla="*/ 406400 w 1909131"/>
                  <a:gd name="connsiteY7" fmla="*/ 2700338 h 2892910"/>
                  <a:gd name="connsiteX8" fmla="*/ 160408 w 1909131"/>
                  <a:gd name="connsiteY8" fmla="*/ 2700338 h 2892910"/>
                  <a:gd name="connsiteX9" fmla="*/ 0 w 1909131"/>
                  <a:gd name="connsiteY9" fmla="*/ 0 h 2892910"/>
                  <a:gd name="connsiteX10" fmla="*/ 1589190 w 1909131"/>
                  <a:gd name="connsiteY10" fmla="*/ 0 h 2892910"/>
                  <a:gd name="connsiteX11" fmla="*/ 1909131 w 1909131"/>
                  <a:gd name="connsiteY11" fmla="*/ 320917 h 2892910"/>
                  <a:gd name="connsiteX12" fmla="*/ 1788515 w 1909131"/>
                  <a:gd name="connsiteY12" fmla="*/ 320917 h 2892910"/>
                  <a:gd name="connsiteX13" fmla="*/ 1539036 w 1909131"/>
                  <a:gd name="connsiteY13" fmla="*/ 71438 h 2892910"/>
                  <a:gd name="connsiteX14" fmla="*/ 86473 w 1909131"/>
                  <a:gd name="connsiteY14" fmla="*/ 71438 h 2892910"/>
                  <a:gd name="connsiteX15" fmla="*/ 86473 w 1909131"/>
                  <a:gd name="connsiteY15" fmla="*/ 2795588 h 2892910"/>
                  <a:gd name="connsiteX16" fmla="*/ 406400 w 1909131"/>
                  <a:gd name="connsiteY16" fmla="*/ 2795588 h 2892910"/>
                  <a:gd name="connsiteX17" fmla="*/ 406400 w 1909131"/>
                  <a:gd name="connsiteY17" fmla="*/ 2892910 h 2892910"/>
                  <a:gd name="connsiteX18" fmla="*/ 0 w 1909131"/>
                  <a:gd name="connsiteY18" fmla="*/ 2892910 h 28929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909131" h="2892910">
                    <a:moveTo>
                      <a:pt x="1534272" y="189566"/>
                    </a:moveTo>
                    <a:lnTo>
                      <a:pt x="1665623" y="320917"/>
                    </a:lnTo>
                    <a:lnTo>
                      <a:pt x="1534272" y="320917"/>
                    </a:lnTo>
                    <a:close/>
                    <a:moveTo>
                      <a:pt x="160408" y="166688"/>
                    </a:moveTo>
                    <a:lnTo>
                      <a:pt x="1453309" y="166688"/>
                    </a:lnTo>
                    <a:lnTo>
                      <a:pt x="1453309" y="320917"/>
                    </a:lnTo>
                    <a:lnTo>
                      <a:pt x="406400" y="320917"/>
                    </a:lnTo>
                    <a:lnTo>
                      <a:pt x="406400" y="2700338"/>
                    </a:lnTo>
                    <a:lnTo>
                      <a:pt x="160408" y="2700338"/>
                    </a:lnTo>
                    <a:close/>
                    <a:moveTo>
                      <a:pt x="0" y="0"/>
                    </a:moveTo>
                    <a:lnTo>
                      <a:pt x="1589190" y="0"/>
                    </a:lnTo>
                    <a:lnTo>
                      <a:pt x="1909131" y="320917"/>
                    </a:lnTo>
                    <a:lnTo>
                      <a:pt x="1788515" y="320917"/>
                    </a:lnTo>
                    <a:lnTo>
                      <a:pt x="1539036" y="71438"/>
                    </a:lnTo>
                    <a:lnTo>
                      <a:pt x="86473" y="71438"/>
                    </a:lnTo>
                    <a:lnTo>
                      <a:pt x="86473" y="2795588"/>
                    </a:lnTo>
                    <a:lnTo>
                      <a:pt x="406400" y="2795588"/>
                    </a:lnTo>
                    <a:lnTo>
                      <a:pt x="406400" y="2892910"/>
                    </a:lnTo>
                    <a:lnTo>
                      <a:pt x="0" y="2892910"/>
                    </a:lnTo>
                    <a:close/>
                  </a:path>
                </a:pathLst>
              </a:custGeom>
              <a:noFill/>
              <a:ln w="9525">
                <a:solidFill>
                  <a:srgbClr val="FF8C00"/>
                </a:solidFill>
                <a:round/>
                <a:headEnd/>
                <a:tailEnd/>
              </a:ln>
              <a:extLst/>
            </p:spPr>
            <p:txBody>
              <a:bodyPr vert="horz" wrap="square" lIns="91416" tIns="45708" rIns="91416" bIns="45708" numCol="1" anchor="t" anchorCtr="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dirty="0">
                  <a:ln>
                    <a:noFill/>
                  </a:ln>
                  <a:solidFill>
                    <a:prstClr val="black"/>
                  </a:solidFill>
                  <a:effectLst/>
                  <a:uLnTx/>
                  <a:uFillTx/>
                  <a:latin typeface="Segoe UI"/>
                  <a:ea typeface="+mn-ea"/>
                  <a:cs typeface="+mn-cs"/>
                </a:endParaRPr>
              </a:p>
            </p:txBody>
          </p:sp>
          <p:sp>
            <p:nvSpPr>
              <p:cNvPr id="60" name="Freeform 59"/>
              <p:cNvSpPr>
                <a:spLocks/>
              </p:cNvSpPr>
              <p:nvPr/>
            </p:nvSpPr>
            <p:spPr bwMode="auto">
              <a:xfrm>
                <a:off x="5375692" y="3844808"/>
                <a:ext cx="264050" cy="334385"/>
              </a:xfrm>
              <a:custGeom>
                <a:avLst/>
                <a:gdLst>
                  <a:gd name="connsiteX0" fmla="*/ 496887 w 2284413"/>
                  <a:gd name="connsiteY0" fmla="*/ 1820244 h 2892910"/>
                  <a:gd name="connsiteX1" fmla="*/ 496887 w 2284413"/>
                  <a:gd name="connsiteY1" fmla="*/ 1909144 h 2892910"/>
                  <a:gd name="connsiteX2" fmla="*/ 1787525 w 2284413"/>
                  <a:gd name="connsiteY2" fmla="*/ 1909144 h 2892910"/>
                  <a:gd name="connsiteX3" fmla="*/ 1787525 w 2284413"/>
                  <a:gd name="connsiteY3" fmla="*/ 1820244 h 2892910"/>
                  <a:gd name="connsiteX4" fmla="*/ 496887 w 2284413"/>
                  <a:gd name="connsiteY4" fmla="*/ 1489802 h 2892910"/>
                  <a:gd name="connsiteX5" fmla="*/ 496887 w 2284413"/>
                  <a:gd name="connsiteY5" fmla="*/ 1578702 h 2892910"/>
                  <a:gd name="connsiteX6" fmla="*/ 1787525 w 2284413"/>
                  <a:gd name="connsiteY6" fmla="*/ 1578702 h 2892910"/>
                  <a:gd name="connsiteX7" fmla="*/ 1787525 w 2284413"/>
                  <a:gd name="connsiteY7" fmla="*/ 1489802 h 2892910"/>
                  <a:gd name="connsiteX8" fmla="*/ 496887 w 2284413"/>
                  <a:gd name="connsiteY8" fmla="*/ 1159360 h 2892910"/>
                  <a:gd name="connsiteX9" fmla="*/ 496887 w 2284413"/>
                  <a:gd name="connsiteY9" fmla="*/ 1248260 h 2892910"/>
                  <a:gd name="connsiteX10" fmla="*/ 1787525 w 2284413"/>
                  <a:gd name="connsiteY10" fmla="*/ 1248260 h 2892910"/>
                  <a:gd name="connsiteX11" fmla="*/ 1787525 w 2284413"/>
                  <a:gd name="connsiteY11" fmla="*/ 1159360 h 2892910"/>
                  <a:gd name="connsiteX12" fmla="*/ 1534272 w 2284413"/>
                  <a:gd name="connsiteY12" fmla="*/ 189566 h 2892910"/>
                  <a:gd name="connsiteX13" fmla="*/ 2073369 w 2284413"/>
                  <a:gd name="connsiteY13" fmla="*/ 728663 h 2892910"/>
                  <a:gd name="connsiteX14" fmla="*/ 1534272 w 2284413"/>
                  <a:gd name="connsiteY14" fmla="*/ 728663 h 2892910"/>
                  <a:gd name="connsiteX15" fmla="*/ 160408 w 2284413"/>
                  <a:gd name="connsiteY15" fmla="*/ 166688 h 2892910"/>
                  <a:gd name="connsiteX16" fmla="*/ 1453309 w 2284413"/>
                  <a:gd name="connsiteY16" fmla="*/ 166688 h 2892910"/>
                  <a:gd name="connsiteX17" fmla="*/ 1453309 w 2284413"/>
                  <a:gd name="connsiteY17" fmla="*/ 809626 h 2892910"/>
                  <a:gd name="connsiteX18" fmla="*/ 1534272 w 2284413"/>
                  <a:gd name="connsiteY18" fmla="*/ 809626 h 2892910"/>
                  <a:gd name="connsiteX19" fmla="*/ 2127088 w 2284413"/>
                  <a:gd name="connsiteY19" fmla="*/ 809626 h 2892910"/>
                  <a:gd name="connsiteX20" fmla="*/ 2127088 w 2284413"/>
                  <a:gd name="connsiteY20" fmla="*/ 2700338 h 2892910"/>
                  <a:gd name="connsiteX21" fmla="*/ 160408 w 2284413"/>
                  <a:gd name="connsiteY21" fmla="*/ 2700338 h 2892910"/>
                  <a:gd name="connsiteX22" fmla="*/ 86473 w 2284413"/>
                  <a:gd name="connsiteY22" fmla="*/ 71438 h 2892910"/>
                  <a:gd name="connsiteX23" fmla="*/ 86473 w 2284413"/>
                  <a:gd name="connsiteY23" fmla="*/ 2795588 h 2892910"/>
                  <a:gd name="connsiteX24" fmla="*/ 2201023 w 2284413"/>
                  <a:gd name="connsiteY24" fmla="*/ 2795588 h 2892910"/>
                  <a:gd name="connsiteX25" fmla="*/ 2201023 w 2284413"/>
                  <a:gd name="connsiteY25" fmla="*/ 733425 h 2892910"/>
                  <a:gd name="connsiteX26" fmla="*/ 1539036 w 2284413"/>
                  <a:gd name="connsiteY26" fmla="*/ 71438 h 2892910"/>
                  <a:gd name="connsiteX27" fmla="*/ 0 w 2284413"/>
                  <a:gd name="connsiteY27" fmla="*/ 0 h 2892910"/>
                  <a:gd name="connsiteX28" fmla="*/ 1589190 w 2284413"/>
                  <a:gd name="connsiteY28" fmla="*/ 0 h 2892910"/>
                  <a:gd name="connsiteX29" fmla="*/ 2284413 w 2284413"/>
                  <a:gd name="connsiteY29" fmla="*/ 697344 h 2892910"/>
                  <a:gd name="connsiteX30" fmla="*/ 2284413 w 2284413"/>
                  <a:gd name="connsiteY30" fmla="*/ 2892910 h 2892910"/>
                  <a:gd name="connsiteX31" fmla="*/ 0 w 2284413"/>
                  <a:gd name="connsiteY31" fmla="*/ 2892910 h 28929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2284413" h="2892910">
                    <a:moveTo>
                      <a:pt x="496887" y="1820244"/>
                    </a:moveTo>
                    <a:lnTo>
                      <a:pt x="496887" y="1909144"/>
                    </a:lnTo>
                    <a:lnTo>
                      <a:pt x="1787525" y="1909144"/>
                    </a:lnTo>
                    <a:lnTo>
                      <a:pt x="1787525" y="1820244"/>
                    </a:lnTo>
                    <a:close/>
                    <a:moveTo>
                      <a:pt x="496887" y="1489802"/>
                    </a:moveTo>
                    <a:lnTo>
                      <a:pt x="496887" y="1578702"/>
                    </a:lnTo>
                    <a:lnTo>
                      <a:pt x="1787525" y="1578702"/>
                    </a:lnTo>
                    <a:lnTo>
                      <a:pt x="1787525" y="1489802"/>
                    </a:lnTo>
                    <a:close/>
                    <a:moveTo>
                      <a:pt x="496887" y="1159360"/>
                    </a:moveTo>
                    <a:lnTo>
                      <a:pt x="496887" y="1248260"/>
                    </a:lnTo>
                    <a:lnTo>
                      <a:pt x="1787525" y="1248260"/>
                    </a:lnTo>
                    <a:lnTo>
                      <a:pt x="1787525" y="1159360"/>
                    </a:lnTo>
                    <a:close/>
                    <a:moveTo>
                      <a:pt x="1534272" y="189566"/>
                    </a:moveTo>
                    <a:lnTo>
                      <a:pt x="2073369" y="728663"/>
                    </a:lnTo>
                    <a:lnTo>
                      <a:pt x="1534272" y="728663"/>
                    </a:lnTo>
                    <a:close/>
                    <a:moveTo>
                      <a:pt x="160408" y="166688"/>
                    </a:moveTo>
                    <a:lnTo>
                      <a:pt x="1453309" y="166688"/>
                    </a:lnTo>
                    <a:lnTo>
                      <a:pt x="1453309" y="809626"/>
                    </a:lnTo>
                    <a:lnTo>
                      <a:pt x="1534272" y="809626"/>
                    </a:lnTo>
                    <a:lnTo>
                      <a:pt x="2127088" y="809626"/>
                    </a:lnTo>
                    <a:lnTo>
                      <a:pt x="2127088" y="2700338"/>
                    </a:lnTo>
                    <a:lnTo>
                      <a:pt x="160408" y="2700338"/>
                    </a:lnTo>
                    <a:close/>
                    <a:moveTo>
                      <a:pt x="86473" y="71438"/>
                    </a:moveTo>
                    <a:lnTo>
                      <a:pt x="86473" y="2795588"/>
                    </a:lnTo>
                    <a:lnTo>
                      <a:pt x="2201023" y="2795588"/>
                    </a:lnTo>
                    <a:lnTo>
                      <a:pt x="2201023" y="733425"/>
                    </a:lnTo>
                    <a:lnTo>
                      <a:pt x="1539036" y="71438"/>
                    </a:lnTo>
                    <a:close/>
                    <a:moveTo>
                      <a:pt x="0" y="0"/>
                    </a:moveTo>
                    <a:lnTo>
                      <a:pt x="1589190" y="0"/>
                    </a:lnTo>
                    <a:lnTo>
                      <a:pt x="2284413" y="697344"/>
                    </a:lnTo>
                    <a:lnTo>
                      <a:pt x="2284413" y="2892910"/>
                    </a:lnTo>
                    <a:lnTo>
                      <a:pt x="0" y="2892910"/>
                    </a:lnTo>
                    <a:close/>
                  </a:path>
                </a:pathLst>
              </a:custGeom>
              <a:noFill/>
              <a:ln w="9525">
                <a:solidFill>
                  <a:srgbClr val="FF8C00"/>
                </a:solidFill>
                <a:round/>
                <a:headEnd/>
                <a:tailEnd/>
              </a:ln>
              <a:extLst/>
            </p:spPr>
            <p:txBody>
              <a:bodyPr vert="horz" wrap="square" lIns="91416" tIns="45708" rIns="91416" bIns="45708" numCol="1" anchor="t" anchorCtr="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dirty="0">
                  <a:ln>
                    <a:noFill/>
                  </a:ln>
                  <a:solidFill>
                    <a:prstClr val="black"/>
                  </a:solidFill>
                  <a:effectLst/>
                  <a:uLnTx/>
                  <a:uFillTx/>
                  <a:latin typeface="Segoe UI"/>
                  <a:ea typeface="+mn-ea"/>
                  <a:cs typeface="+mn-cs"/>
                </a:endParaRPr>
              </a:p>
            </p:txBody>
          </p:sp>
        </p:grpSp>
        <p:sp>
          <p:nvSpPr>
            <p:cNvPr id="36" name="Rectangle 31"/>
            <p:cNvSpPr/>
            <p:nvPr/>
          </p:nvSpPr>
          <p:spPr bwMode="auto">
            <a:xfrm>
              <a:off x="6041271" y="1430094"/>
              <a:ext cx="427284" cy="546833"/>
            </a:xfrm>
            <a:custGeom>
              <a:avLst/>
              <a:gdLst>
                <a:gd name="connsiteX0" fmla="*/ 0 w 355600"/>
                <a:gd name="connsiteY0" fmla="*/ 0 h 408472"/>
                <a:gd name="connsiteX1" fmla="*/ 355600 w 355600"/>
                <a:gd name="connsiteY1" fmla="*/ 0 h 408472"/>
                <a:gd name="connsiteX2" fmla="*/ 355600 w 355600"/>
                <a:gd name="connsiteY2" fmla="*/ 408472 h 408472"/>
                <a:gd name="connsiteX3" fmla="*/ 0 w 355600"/>
                <a:gd name="connsiteY3" fmla="*/ 408472 h 408472"/>
                <a:gd name="connsiteX4" fmla="*/ 0 w 355600"/>
                <a:gd name="connsiteY4" fmla="*/ 0 h 408472"/>
                <a:gd name="connsiteX0" fmla="*/ 0 w 425450"/>
                <a:gd name="connsiteY0" fmla="*/ 0 h 408472"/>
                <a:gd name="connsiteX1" fmla="*/ 425450 w 425450"/>
                <a:gd name="connsiteY1" fmla="*/ 3175 h 408472"/>
                <a:gd name="connsiteX2" fmla="*/ 355600 w 425450"/>
                <a:gd name="connsiteY2" fmla="*/ 408472 h 408472"/>
                <a:gd name="connsiteX3" fmla="*/ 0 w 425450"/>
                <a:gd name="connsiteY3" fmla="*/ 408472 h 408472"/>
                <a:gd name="connsiteX4" fmla="*/ 0 w 425450"/>
                <a:gd name="connsiteY4" fmla="*/ 0 h 408472"/>
                <a:gd name="connsiteX0" fmla="*/ 0 w 449928"/>
                <a:gd name="connsiteY0" fmla="*/ 49296 h 457768"/>
                <a:gd name="connsiteX1" fmla="*/ 425450 w 449928"/>
                <a:gd name="connsiteY1" fmla="*/ 52471 h 457768"/>
                <a:gd name="connsiteX2" fmla="*/ 355600 w 449928"/>
                <a:gd name="connsiteY2" fmla="*/ 457768 h 457768"/>
                <a:gd name="connsiteX3" fmla="*/ 0 w 449928"/>
                <a:gd name="connsiteY3" fmla="*/ 457768 h 457768"/>
                <a:gd name="connsiteX4" fmla="*/ 0 w 449928"/>
                <a:gd name="connsiteY4" fmla="*/ 49296 h 457768"/>
                <a:gd name="connsiteX0" fmla="*/ 0 w 444374"/>
                <a:gd name="connsiteY0" fmla="*/ 60281 h 468753"/>
                <a:gd name="connsiteX1" fmla="*/ 425450 w 444374"/>
                <a:gd name="connsiteY1" fmla="*/ 63456 h 468753"/>
                <a:gd name="connsiteX2" fmla="*/ 355600 w 444374"/>
                <a:gd name="connsiteY2" fmla="*/ 468753 h 468753"/>
                <a:gd name="connsiteX3" fmla="*/ 0 w 444374"/>
                <a:gd name="connsiteY3" fmla="*/ 468753 h 468753"/>
                <a:gd name="connsiteX4" fmla="*/ 0 w 444374"/>
                <a:gd name="connsiteY4" fmla="*/ 60281 h 468753"/>
                <a:gd name="connsiteX0" fmla="*/ 0 w 444374"/>
                <a:gd name="connsiteY0" fmla="*/ 60281 h 468753"/>
                <a:gd name="connsiteX1" fmla="*/ 425450 w 444374"/>
                <a:gd name="connsiteY1" fmla="*/ 63456 h 468753"/>
                <a:gd name="connsiteX2" fmla="*/ 355600 w 444374"/>
                <a:gd name="connsiteY2" fmla="*/ 468753 h 468753"/>
                <a:gd name="connsiteX3" fmla="*/ 107950 w 444374"/>
                <a:gd name="connsiteY3" fmla="*/ 468753 h 468753"/>
                <a:gd name="connsiteX4" fmla="*/ 0 w 444374"/>
                <a:gd name="connsiteY4" fmla="*/ 60281 h 468753"/>
                <a:gd name="connsiteX0" fmla="*/ 0 w 444374"/>
                <a:gd name="connsiteY0" fmla="*/ 60281 h 469857"/>
                <a:gd name="connsiteX1" fmla="*/ 425450 w 444374"/>
                <a:gd name="connsiteY1" fmla="*/ 63456 h 469857"/>
                <a:gd name="connsiteX2" fmla="*/ 355600 w 444374"/>
                <a:gd name="connsiteY2" fmla="*/ 468753 h 469857"/>
                <a:gd name="connsiteX3" fmla="*/ 107950 w 444374"/>
                <a:gd name="connsiteY3" fmla="*/ 468753 h 469857"/>
                <a:gd name="connsiteX4" fmla="*/ 108710 w 444374"/>
                <a:gd name="connsiteY4" fmla="*/ 469857 h 469857"/>
                <a:gd name="connsiteX5" fmla="*/ 0 w 444374"/>
                <a:gd name="connsiteY5" fmla="*/ 60281 h 469857"/>
                <a:gd name="connsiteX0" fmla="*/ 0 w 444374"/>
                <a:gd name="connsiteY0" fmla="*/ 60281 h 468753"/>
                <a:gd name="connsiteX1" fmla="*/ 425450 w 444374"/>
                <a:gd name="connsiteY1" fmla="*/ 63456 h 468753"/>
                <a:gd name="connsiteX2" fmla="*/ 355600 w 444374"/>
                <a:gd name="connsiteY2" fmla="*/ 468753 h 468753"/>
                <a:gd name="connsiteX3" fmla="*/ 107950 w 444374"/>
                <a:gd name="connsiteY3" fmla="*/ 468753 h 468753"/>
                <a:gd name="connsiteX4" fmla="*/ 7110 w 444374"/>
                <a:gd name="connsiteY4" fmla="*/ 323807 h 468753"/>
                <a:gd name="connsiteX5" fmla="*/ 0 w 444374"/>
                <a:gd name="connsiteY5" fmla="*/ 60281 h 468753"/>
                <a:gd name="connsiteX0" fmla="*/ 8765 w 441658"/>
                <a:gd name="connsiteY0" fmla="*/ 53536 h 452483"/>
                <a:gd name="connsiteX1" fmla="*/ 418340 w 441658"/>
                <a:gd name="connsiteY1" fmla="*/ 47186 h 452483"/>
                <a:gd name="connsiteX2" fmla="*/ 348490 w 441658"/>
                <a:gd name="connsiteY2" fmla="*/ 452483 h 452483"/>
                <a:gd name="connsiteX3" fmla="*/ 100840 w 441658"/>
                <a:gd name="connsiteY3" fmla="*/ 452483 h 452483"/>
                <a:gd name="connsiteX4" fmla="*/ 0 w 441658"/>
                <a:gd name="connsiteY4" fmla="*/ 307537 h 452483"/>
                <a:gd name="connsiteX5" fmla="*/ 8765 w 441658"/>
                <a:gd name="connsiteY5" fmla="*/ 53536 h 452483"/>
                <a:gd name="connsiteX0" fmla="*/ 8765 w 441658"/>
                <a:gd name="connsiteY0" fmla="*/ 68103 h 467050"/>
                <a:gd name="connsiteX1" fmla="*/ 418340 w 441658"/>
                <a:gd name="connsiteY1" fmla="*/ 61753 h 467050"/>
                <a:gd name="connsiteX2" fmla="*/ 348490 w 441658"/>
                <a:gd name="connsiteY2" fmla="*/ 467050 h 467050"/>
                <a:gd name="connsiteX3" fmla="*/ 100840 w 441658"/>
                <a:gd name="connsiteY3" fmla="*/ 467050 h 467050"/>
                <a:gd name="connsiteX4" fmla="*/ 0 w 441658"/>
                <a:gd name="connsiteY4" fmla="*/ 322104 h 467050"/>
                <a:gd name="connsiteX5" fmla="*/ 8765 w 441658"/>
                <a:gd name="connsiteY5" fmla="*/ 68103 h 467050"/>
                <a:gd name="connsiteX0" fmla="*/ 5590 w 438483"/>
                <a:gd name="connsiteY0" fmla="*/ 68103 h 467050"/>
                <a:gd name="connsiteX1" fmla="*/ 415165 w 438483"/>
                <a:gd name="connsiteY1" fmla="*/ 61753 h 467050"/>
                <a:gd name="connsiteX2" fmla="*/ 345315 w 438483"/>
                <a:gd name="connsiteY2" fmla="*/ 467050 h 467050"/>
                <a:gd name="connsiteX3" fmla="*/ 97665 w 438483"/>
                <a:gd name="connsiteY3" fmla="*/ 467050 h 467050"/>
                <a:gd name="connsiteX4" fmla="*/ 0 w 438483"/>
                <a:gd name="connsiteY4" fmla="*/ 318929 h 467050"/>
                <a:gd name="connsiteX5" fmla="*/ 5590 w 438483"/>
                <a:gd name="connsiteY5" fmla="*/ 68103 h 467050"/>
                <a:gd name="connsiteX0" fmla="*/ 5590 w 438483"/>
                <a:gd name="connsiteY0" fmla="*/ 68103 h 467050"/>
                <a:gd name="connsiteX1" fmla="*/ 415165 w 438483"/>
                <a:gd name="connsiteY1" fmla="*/ 61753 h 467050"/>
                <a:gd name="connsiteX2" fmla="*/ 345315 w 438483"/>
                <a:gd name="connsiteY2" fmla="*/ 467050 h 467050"/>
                <a:gd name="connsiteX3" fmla="*/ 97665 w 438483"/>
                <a:gd name="connsiteY3" fmla="*/ 467050 h 467050"/>
                <a:gd name="connsiteX4" fmla="*/ 0 w 438483"/>
                <a:gd name="connsiteY4" fmla="*/ 318929 h 467050"/>
                <a:gd name="connsiteX5" fmla="*/ 5590 w 438483"/>
                <a:gd name="connsiteY5" fmla="*/ 68103 h 467050"/>
                <a:gd name="connsiteX0" fmla="*/ 5590 w 438483"/>
                <a:gd name="connsiteY0" fmla="*/ 68103 h 467050"/>
                <a:gd name="connsiteX1" fmla="*/ 415165 w 438483"/>
                <a:gd name="connsiteY1" fmla="*/ 61753 h 467050"/>
                <a:gd name="connsiteX2" fmla="*/ 345315 w 438483"/>
                <a:gd name="connsiteY2" fmla="*/ 467050 h 467050"/>
                <a:gd name="connsiteX3" fmla="*/ 97665 w 438483"/>
                <a:gd name="connsiteY3" fmla="*/ 467050 h 467050"/>
                <a:gd name="connsiteX4" fmla="*/ 0 w 438483"/>
                <a:gd name="connsiteY4" fmla="*/ 318929 h 467050"/>
                <a:gd name="connsiteX5" fmla="*/ 5590 w 438483"/>
                <a:gd name="connsiteY5" fmla="*/ 68103 h 467050"/>
                <a:gd name="connsiteX0" fmla="*/ 5590 w 438483"/>
                <a:gd name="connsiteY0" fmla="*/ 68103 h 517850"/>
                <a:gd name="connsiteX1" fmla="*/ 415165 w 438483"/>
                <a:gd name="connsiteY1" fmla="*/ 61753 h 517850"/>
                <a:gd name="connsiteX2" fmla="*/ 345315 w 438483"/>
                <a:gd name="connsiteY2" fmla="*/ 467050 h 517850"/>
                <a:gd name="connsiteX3" fmla="*/ 189740 w 438483"/>
                <a:gd name="connsiteY3" fmla="*/ 517850 h 517850"/>
                <a:gd name="connsiteX4" fmla="*/ 0 w 438483"/>
                <a:gd name="connsiteY4" fmla="*/ 318929 h 517850"/>
                <a:gd name="connsiteX5" fmla="*/ 5590 w 438483"/>
                <a:gd name="connsiteY5" fmla="*/ 68103 h 517850"/>
                <a:gd name="connsiteX0" fmla="*/ 5590 w 438483"/>
                <a:gd name="connsiteY0" fmla="*/ 68103 h 517957"/>
                <a:gd name="connsiteX1" fmla="*/ 415165 w 438483"/>
                <a:gd name="connsiteY1" fmla="*/ 61753 h 517957"/>
                <a:gd name="connsiteX2" fmla="*/ 345315 w 438483"/>
                <a:gd name="connsiteY2" fmla="*/ 467050 h 517957"/>
                <a:gd name="connsiteX3" fmla="*/ 189740 w 438483"/>
                <a:gd name="connsiteY3" fmla="*/ 517850 h 517957"/>
                <a:gd name="connsiteX4" fmla="*/ 0 w 438483"/>
                <a:gd name="connsiteY4" fmla="*/ 318929 h 517957"/>
                <a:gd name="connsiteX5" fmla="*/ 5590 w 438483"/>
                <a:gd name="connsiteY5" fmla="*/ 68103 h 517957"/>
                <a:gd name="connsiteX0" fmla="*/ 5590 w 438483"/>
                <a:gd name="connsiteY0" fmla="*/ 68103 h 524302"/>
                <a:gd name="connsiteX1" fmla="*/ 415165 w 438483"/>
                <a:gd name="connsiteY1" fmla="*/ 61753 h 524302"/>
                <a:gd name="connsiteX2" fmla="*/ 345315 w 438483"/>
                <a:gd name="connsiteY2" fmla="*/ 467050 h 524302"/>
                <a:gd name="connsiteX3" fmla="*/ 189740 w 438483"/>
                <a:gd name="connsiteY3" fmla="*/ 524200 h 524302"/>
                <a:gd name="connsiteX4" fmla="*/ 0 w 438483"/>
                <a:gd name="connsiteY4" fmla="*/ 318929 h 524302"/>
                <a:gd name="connsiteX5" fmla="*/ 5590 w 438483"/>
                <a:gd name="connsiteY5" fmla="*/ 68103 h 524302"/>
                <a:gd name="connsiteX0" fmla="*/ 5590 w 438483"/>
                <a:gd name="connsiteY0" fmla="*/ 68103 h 524373"/>
                <a:gd name="connsiteX1" fmla="*/ 415165 w 438483"/>
                <a:gd name="connsiteY1" fmla="*/ 61753 h 524373"/>
                <a:gd name="connsiteX2" fmla="*/ 345315 w 438483"/>
                <a:gd name="connsiteY2" fmla="*/ 467050 h 524373"/>
                <a:gd name="connsiteX3" fmla="*/ 189740 w 438483"/>
                <a:gd name="connsiteY3" fmla="*/ 524200 h 524373"/>
                <a:gd name="connsiteX4" fmla="*/ 0 w 438483"/>
                <a:gd name="connsiteY4" fmla="*/ 318929 h 524373"/>
                <a:gd name="connsiteX5" fmla="*/ 5590 w 438483"/>
                <a:gd name="connsiteY5" fmla="*/ 68103 h 524373"/>
                <a:gd name="connsiteX0" fmla="*/ 5590 w 436805"/>
                <a:gd name="connsiteY0" fmla="*/ 67740 h 523988"/>
                <a:gd name="connsiteX1" fmla="*/ 415165 w 436805"/>
                <a:gd name="connsiteY1" fmla="*/ 61390 h 523988"/>
                <a:gd name="connsiteX2" fmla="*/ 338965 w 436805"/>
                <a:gd name="connsiteY2" fmla="*/ 460337 h 523988"/>
                <a:gd name="connsiteX3" fmla="*/ 189740 w 436805"/>
                <a:gd name="connsiteY3" fmla="*/ 523837 h 523988"/>
                <a:gd name="connsiteX4" fmla="*/ 0 w 436805"/>
                <a:gd name="connsiteY4" fmla="*/ 318566 h 523988"/>
                <a:gd name="connsiteX5" fmla="*/ 5590 w 436805"/>
                <a:gd name="connsiteY5" fmla="*/ 67740 h 523988"/>
                <a:gd name="connsiteX0" fmla="*/ 5590 w 417201"/>
                <a:gd name="connsiteY0" fmla="*/ 71069 h 527317"/>
                <a:gd name="connsiteX1" fmla="*/ 415165 w 417201"/>
                <a:gd name="connsiteY1" fmla="*/ 64719 h 527317"/>
                <a:gd name="connsiteX2" fmla="*/ 338965 w 417201"/>
                <a:gd name="connsiteY2" fmla="*/ 463666 h 527317"/>
                <a:gd name="connsiteX3" fmla="*/ 189740 w 417201"/>
                <a:gd name="connsiteY3" fmla="*/ 527166 h 527317"/>
                <a:gd name="connsiteX4" fmla="*/ 0 w 417201"/>
                <a:gd name="connsiteY4" fmla="*/ 321895 h 527317"/>
                <a:gd name="connsiteX5" fmla="*/ 5590 w 417201"/>
                <a:gd name="connsiteY5" fmla="*/ 71069 h 527317"/>
                <a:gd name="connsiteX0" fmla="*/ 5590 w 398234"/>
                <a:gd name="connsiteY0" fmla="*/ 68211 h 524459"/>
                <a:gd name="connsiteX1" fmla="*/ 392940 w 398234"/>
                <a:gd name="connsiteY1" fmla="*/ 68211 h 524459"/>
                <a:gd name="connsiteX2" fmla="*/ 338965 w 398234"/>
                <a:gd name="connsiteY2" fmla="*/ 460808 h 524459"/>
                <a:gd name="connsiteX3" fmla="*/ 189740 w 398234"/>
                <a:gd name="connsiteY3" fmla="*/ 524308 h 524459"/>
                <a:gd name="connsiteX4" fmla="*/ 0 w 398234"/>
                <a:gd name="connsiteY4" fmla="*/ 319037 h 524459"/>
                <a:gd name="connsiteX5" fmla="*/ 5590 w 398234"/>
                <a:gd name="connsiteY5" fmla="*/ 68211 h 524459"/>
                <a:gd name="connsiteX0" fmla="*/ 5590 w 405863"/>
                <a:gd name="connsiteY0" fmla="*/ 66840 h 523088"/>
                <a:gd name="connsiteX1" fmla="*/ 402465 w 405863"/>
                <a:gd name="connsiteY1" fmla="*/ 70015 h 523088"/>
                <a:gd name="connsiteX2" fmla="*/ 338965 w 405863"/>
                <a:gd name="connsiteY2" fmla="*/ 459437 h 523088"/>
                <a:gd name="connsiteX3" fmla="*/ 189740 w 405863"/>
                <a:gd name="connsiteY3" fmla="*/ 522937 h 523088"/>
                <a:gd name="connsiteX4" fmla="*/ 0 w 405863"/>
                <a:gd name="connsiteY4" fmla="*/ 317666 h 523088"/>
                <a:gd name="connsiteX5" fmla="*/ 5590 w 405863"/>
                <a:gd name="connsiteY5" fmla="*/ 66840 h 523088"/>
                <a:gd name="connsiteX0" fmla="*/ 5590 w 408827"/>
                <a:gd name="connsiteY0" fmla="*/ 66840 h 523088"/>
                <a:gd name="connsiteX1" fmla="*/ 402465 w 408827"/>
                <a:gd name="connsiteY1" fmla="*/ 70015 h 523088"/>
                <a:gd name="connsiteX2" fmla="*/ 338965 w 408827"/>
                <a:gd name="connsiteY2" fmla="*/ 459437 h 523088"/>
                <a:gd name="connsiteX3" fmla="*/ 189740 w 408827"/>
                <a:gd name="connsiteY3" fmla="*/ 522937 h 523088"/>
                <a:gd name="connsiteX4" fmla="*/ 0 w 408827"/>
                <a:gd name="connsiteY4" fmla="*/ 317666 h 523088"/>
                <a:gd name="connsiteX5" fmla="*/ 5590 w 408827"/>
                <a:gd name="connsiteY5" fmla="*/ 66840 h 523088"/>
                <a:gd name="connsiteX0" fmla="*/ 5590 w 408827"/>
                <a:gd name="connsiteY0" fmla="*/ 66840 h 523109"/>
                <a:gd name="connsiteX1" fmla="*/ 402465 w 408827"/>
                <a:gd name="connsiteY1" fmla="*/ 70015 h 523109"/>
                <a:gd name="connsiteX2" fmla="*/ 338965 w 408827"/>
                <a:gd name="connsiteY2" fmla="*/ 459437 h 523109"/>
                <a:gd name="connsiteX3" fmla="*/ 189740 w 408827"/>
                <a:gd name="connsiteY3" fmla="*/ 522937 h 523109"/>
                <a:gd name="connsiteX4" fmla="*/ 0 w 408827"/>
                <a:gd name="connsiteY4" fmla="*/ 317666 h 523109"/>
                <a:gd name="connsiteX5" fmla="*/ 5590 w 408827"/>
                <a:gd name="connsiteY5" fmla="*/ 66840 h 523109"/>
                <a:gd name="connsiteX0" fmla="*/ 5590 w 408827"/>
                <a:gd name="connsiteY0" fmla="*/ 66840 h 523211"/>
                <a:gd name="connsiteX1" fmla="*/ 402465 w 408827"/>
                <a:gd name="connsiteY1" fmla="*/ 70015 h 523211"/>
                <a:gd name="connsiteX2" fmla="*/ 338965 w 408827"/>
                <a:gd name="connsiteY2" fmla="*/ 459437 h 523211"/>
                <a:gd name="connsiteX3" fmla="*/ 189740 w 408827"/>
                <a:gd name="connsiteY3" fmla="*/ 522937 h 523211"/>
                <a:gd name="connsiteX4" fmla="*/ 0 w 408827"/>
                <a:gd name="connsiteY4" fmla="*/ 317666 h 523211"/>
                <a:gd name="connsiteX5" fmla="*/ 5590 w 408827"/>
                <a:gd name="connsiteY5" fmla="*/ 66840 h 523211"/>
                <a:gd name="connsiteX0" fmla="*/ 5590 w 408827"/>
                <a:gd name="connsiteY0" fmla="*/ 66840 h 523211"/>
                <a:gd name="connsiteX1" fmla="*/ 402465 w 408827"/>
                <a:gd name="connsiteY1" fmla="*/ 70015 h 523211"/>
                <a:gd name="connsiteX2" fmla="*/ 338965 w 408827"/>
                <a:gd name="connsiteY2" fmla="*/ 459437 h 523211"/>
                <a:gd name="connsiteX3" fmla="*/ 189740 w 408827"/>
                <a:gd name="connsiteY3" fmla="*/ 522937 h 523211"/>
                <a:gd name="connsiteX4" fmla="*/ 0 w 408827"/>
                <a:gd name="connsiteY4" fmla="*/ 317666 h 523211"/>
                <a:gd name="connsiteX5" fmla="*/ 5590 w 408827"/>
                <a:gd name="connsiteY5" fmla="*/ 66840 h 523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08827" h="523211">
                  <a:moveTo>
                    <a:pt x="5590" y="66840"/>
                  </a:moveTo>
                  <a:cubicBezTo>
                    <a:pt x="66973" y="-38810"/>
                    <a:pt x="394528" y="-4943"/>
                    <a:pt x="402465" y="70015"/>
                  </a:cubicBezTo>
                  <a:cubicBezTo>
                    <a:pt x="410402" y="144973"/>
                    <a:pt x="425748" y="398238"/>
                    <a:pt x="338965" y="459437"/>
                  </a:cubicBezTo>
                  <a:cubicBezTo>
                    <a:pt x="295045" y="501506"/>
                    <a:pt x="257473" y="526112"/>
                    <a:pt x="189740" y="522937"/>
                  </a:cubicBezTo>
                  <a:cubicBezTo>
                    <a:pt x="96860" y="527538"/>
                    <a:pt x="39699" y="419428"/>
                    <a:pt x="0" y="317666"/>
                  </a:cubicBezTo>
                  <a:lnTo>
                    <a:pt x="5590" y="66840"/>
                  </a:lnTo>
                  <a:close/>
                </a:path>
              </a:pathLst>
            </a:custGeom>
            <a:solidFill>
              <a:srgbClr val="FFFFFF"/>
            </a:solidFill>
            <a:ln w="3175" cap="flat" cmpd="sng" algn="ctr">
              <a:no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37" name="Rectangle 36"/>
            <p:cNvSpPr/>
            <p:nvPr/>
          </p:nvSpPr>
          <p:spPr bwMode="auto">
            <a:xfrm>
              <a:off x="6087075" y="1503117"/>
              <a:ext cx="335783" cy="344174"/>
            </a:xfrm>
            <a:prstGeom prst="rect">
              <a:avLst/>
            </a:prstGeom>
            <a:solidFill>
              <a:srgbClr val="FFFFFF"/>
            </a:solidFill>
            <a:ln w="3175" cap="flat" cmpd="sng" algn="ctr">
              <a:no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38" name="Freeform 37"/>
            <p:cNvSpPr/>
            <p:nvPr/>
          </p:nvSpPr>
          <p:spPr>
            <a:xfrm>
              <a:off x="6030546" y="1415824"/>
              <a:ext cx="446573" cy="575229"/>
            </a:xfrm>
            <a:custGeom>
              <a:avLst/>
              <a:gdLst/>
              <a:ahLst/>
              <a:cxnLst/>
              <a:rect l="l" t="t" r="r" b="b"/>
              <a:pathLst>
                <a:path w="4298535" h="5536927">
                  <a:moveTo>
                    <a:pt x="1247842" y="3720122"/>
                  </a:moveTo>
                  <a:cubicBezTo>
                    <a:pt x="1418117" y="3804830"/>
                    <a:pt x="1773168" y="3862665"/>
                    <a:pt x="2183452" y="3862665"/>
                  </a:cubicBezTo>
                  <a:cubicBezTo>
                    <a:pt x="2592439" y="3862665"/>
                    <a:pt x="2946541" y="3805195"/>
                    <a:pt x="3117435" y="3720908"/>
                  </a:cubicBezTo>
                  <a:lnTo>
                    <a:pt x="3117435" y="3786462"/>
                  </a:lnTo>
                  <a:lnTo>
                    <a:pt x="3116600" y="3786462"/>
                  </a:lnTo>
                  <a:cubicBezTo>
                    <a:pt x="3094704" y="3878555"/>
                    <a:pt x="2685221" y="3951681"/>
                    <a:pt x="2183452" y="3951681"/>
                  </a:cubicBezTo>
                  <a:cubicBezTo>
                    <a:pt x="1681684" y="3951681"/>
                    <a:pt x="1272201" y="3878555"/>
                    <a:pt x="1250305" y="3786462"/>
                  </a:cubicBezTo>
                  <a:lnTo>
                    <a:pt x="1247842" y="3786462"/>
                  </a:lnTo>
                  <a:close/>
                  <a:moveTo>
                    <a:pt x="1247842" y="3012097"/>
                  </a:moveTo>
                  <a:cubicBezTo>
                    <a:pt x="1418117" y="3096805"/>
                    <a:pt x="1773168" y="3154640"/>
                    <a:pt x="2183452" y="3154640"/>
                  </a:cubicBezTo>
                  <a:cubicBezTo>
                    <a:pt x="2592439" y="3154640"/>
                    <a:pt x="2946541" y="3097170"/>
                    <a:pt x="3117435" y="3012883"/>
                  </a:cubicBezTo>
                  <a:lnTo>
                    <a:pt x="3117435" y="3615012"/>
                  </a:lnTo>
                  <a:lnTo>
                    <a:pt x="3116600" y="3615012"/>
                  </a:lnTo>
                  <a:cubicBezTo>
                    <a:pt x="3094704" y="3707105"/>
                    <a:pt x="2685221" y="3780231"/>
                    <a:pt x="2183452" y="3780231"/>
                  </a:cubicBezTo>
                  <a:cubicBezTo>
                    <a:pt x="1681684" y="3780231"/>
                    <a:pt x="1272201" y="3707105"/>
                    <a:pt x="1250305" y="3615012"/>
                  </a:cubicBezTo>
                  <a:lnTo>
                    <a:pt x="1247842" y="3615012"/>
                  </a:lnTo>
                  <a:close/>
                  <a:moveTo>
                    <a:pt x="1247842" y="2310422"/>
                  </a:moveTo>
                  <a:cubicBezTo>
                    <a:pt x="1418117" y="2395130"/>
                    <a:pt x="1773168" y="2452965"/>
                    <a:pt x="2183452" y="2452965"/>
                  </a:cubicBezTo>
                  <a:cubicBezTo>
                    <a:pt x="2592439" y="2452965"/>
                    <a:pt x="2946541" y="2395495"/>
                    <a:pt x="3117435" y="2311208"/>
                  </a:cubicBezTo>
                  <a:lnTo>
                    <a:pt x="3117435" y="2906987"/>
                  </a:lnTo>
                  <a:lnTo>
                    <a:pt x="3116600" y="2906987"/>
                  </a:lnTo>
                  <a:cubicBezTo>
                    <a:pt x="3094704" y="2999080"/>
                    <a:pt x="2685221" y="3072206"/>
                    <a:pt x="2183452" y="3072206"/>
                  </a:cubicBezTo>
                  <a:cubicBezTo>
                    <a:pt x="1681684" y="3072206"/>
                    <a:pt x="1272201" y="2999080"/>
                    <a:pt x="1250305" y="2906987"/>
                  </a:cubicBezTo>
                  <a:lnTo>
                    <a:pt x="1247842" y="2906987"/>
                  </a:lnTo>
                  <a:close/>
                  <a:moveTo>
                    <a:pt x="1247842" y="1520090"/>
                  </a:moveTo>
                  <a:cubicBezTo>
                    <a:pt x="1418698" y="1604649"/>
                    <a:pt x="1773504" y="1662389"/>
                    <a:pt x="2183451" y="1662389"/>
                  </a:cubicBezTo>
                  <a:cubicBezTo>
                    <a:pt x="2592095" y="1662389"/>
                    <a:pt x="2945946" y="1605015"/>
                    <a:pt x="3117435" y="1520915"/>
                  </a:cubicBezTo>
                  <a:lnTo>
                    <a:pt x="3117435" y="2205312"/>
                  </a:lnTo>
                  <a:lnTo>
                    <a:pt x="3116600" y="2205312"/>
                  </a:lnTo>
                  <a:cubicBezTo>
                    <a:pt x="3094704" y="2297405"/>
                    <a:pt x="2685221" y="2370531"/>
                    <a:pt x="2183452" y="2370531"/>
                  </a:cubicBezTo>
                  <a:cubicBezTo>
                    <a:pt x="1681684" y="2370531"/>
                    <a:pt x="1272201" y="2297405"/>
                    <a:pt x="1250305" y="2205312"/>
                  </a:cubicBezTo>
                  <a:lnTo>
                    <a:pt x="1247842" y="2205312"/>
                  </a:lnTo>
                  <a:close/>
                  <a:moveTo>
                    <a:pt x="1784983" y="1150395"/>
                  </a:moveTo>
                  <a:lnTo>
                    <a:pt x="2581919" y="1150395"/>
                  </a:lnTo>
                  <a:cubicBezTo>
                    <a:pt x="2652413" y="1150395"/>
                    <a:pt x="2709872" y="1206201"/>
                    <a:pt x="2711610" y="1276080"/>
                  </a:cubicBezTo>
                  <a:lnTo>
                    <a:pt x="2805225" y="1278416"/>
                  </a:lnTo>
                  <a:cubicBezTo>
                    <a:pt x="2991875" y="1308347"/>
                    <a:pt x="3111415" y="1352690"/>
                    <a:pt x="3117435" y="1402383"/>
                  </a:cubicBezTo>
                  <a:lnTo>
                    <a:pt x="3117435" y="1411670"/>
                  </a:lnTo>
                  <a:cubicBezTo>
                    <a:pt x="3104202" y="1505121"/>
                    <a:pt x="2691047" y="1579955"/>
                    <a:pt x="2183451" y="1579955"/>
                  </a:cubicBezTo>
                  <a:cubicBezTo>
                    <a:pt x="1666901" y="1579955"/>
                    <a:pt x="1248154" y="1502457"/>
                    <a:pt x="1248154" y="1406858"/>
                  </a:cubicBezTo>
                  <a:cubicBezTo>
                    <a:pt x="1248154" y="1355448"/>
                    <a:pt x="1369253" y="1309273"/>
                    <a:pt x="1561677" y="1278416"/>
                  </a:cubicBezTo>
                  <a:lnTo>
                    <a:pt x="1561677" y="1276080"/>
                  </a:lnTo>
                  <a:lnTo>
                    <a:pt x="1655293" y="1276080"/>
                  </a:lnTo>
                  <a:cubicBezTo>
                    <a:pt x="1657031" y="1206201"/>
                    <a:pt x="1714490" y="1150395"/>
                    <a:pt x="1784983" y="1150395"/>
                  </a:cubicBezTo>
                  <a:close/>
                  <a:moveTo>
                    <a:pt x="1799274" y="1040857"/>
                  </a:moveTo>
                  <a:cubicBezTo>
                    <a:pt x="1695766" y="1040857"/>
                    <a:pt x="1607700" y="1106972"/>
                    <a:pt x="1576101" y="1199620"/>
                  </a:cubicBezTo>
                  <a:cubicBezTo>
                    <a:pt x="1320506" y="1243677"/>
                    <a:pt x="1150878" y="1315841"/>
                    <a:pt x="1140820" y="1398067"/>
                  </a:cubicBezTo>
                  <a:lnTo>
                    <a:pt x="1138616" y="1398067"/>
                  </a:lnTo>
                  <a:lnTo>
                    <a:pt x="1138616" y="1406858"/>
                  </a:lnTo>
                  <a:lnTo>
                    <a:pt x="1138616" y="3786462"/>
                  </a:lnTo>
                  <a:lnTo>
                    <a:pt x="1140244" y="3786462"/>
                  </a:lnTo>
                  <a:cubicBezTo>
                    <a:pt x="1156443" y="3924019"/>
                    <a:pt x="1617377" y="4034115"/>
                    <a:pt x="2183452" y="4034115"/>
                  </a:cubicBezTo>
                  <a:cubicBezTo>
                    <a:pt x="2749528" y="4034115"/>
                    <a:pt x="3210461" y="3924019"/>
                    <a:pt x="3226661" y="3786462"/>
                  </a:cubicBezTo>
                  <a:lnTo>
                    <a:pt x="3226661" y="3615012"/>
                  </a:lnTo>
                  <a:lnTo>
                    <a:pt x="3226661" y="2906987"/>
                  </a:lnTo>
                  <a:lnTo>
                    <a:pt x="3226661" y="2205312"/>
                  </a:lnTo>
                  <a:lnTo>
                    <a:pt x="3226661" y="1414729"/>
                  </a:lnTo>
                  <a:lnTo>
                    <a:pt x="3228286" y="1406858"/>
                  </a:lnTo>
                  <a:cubicBezTo>
                    <a:pt x="3228286" y="1404646"/>
                    <a:pt x="3228171" y="1402441"/>
                    <a:pt x="3226661" y="1400376"/>
                  </a:cubicBezTo>
                  <a:lnTo>
                    <a:pt x="3226661" y="1398067"/>
                  </a:lnTo>
                  <a:lnTo>
                    <a:pt x="3226082" y="1398067"/>
                  </a:lnTo>
                  <a:cubicBezTo>
                    <a:pt x="3216025" y="1315841"/>
                    <a:pt x="3046397" y="1243677"/>
                    <a:pt x="2790801" y="1199620"/>
                  </a:cubicBezTo>
                  <a:cubicBezTo>
                    <a:pt x="2759203" y="1106972"/>
                    <a:pt x="2671136" y="1040857"/>
                    <a:pt x="2567628" y="1040857"/>
                  </a:cubicBezTo>
                  <a:close/>
                  <a:moveTo>
                    <a:pt x="2180659" y="268457"/>
                  </a:moveTo>
                  <a:cubicBezTo>
                    <a:pt x="2999440" y="282674"/>
                    <a:pt x="3731810" y="574032"/>
                    <a:pt x="4046336" y="867601"/>
                  </a:cubicBezTo>
                  <a:lnTo>
                    <a:pt x="4046336" y="3257424"/>
                  </a:lnTo>
                  <a:cubicBezTo>
                    <a:pt x="3689300" y="5136960"/>
                    <a:pt x="2472360" y="5206861"/>
                    <a:pt x="2137953" y="5284528"/>
                  </a:cubicBezTo>
                  <a:cubicBezTo>
                    <a:pt x="1041702" y="5180973"/>
                    <a:pt x="352774" y="4091047"/>
                    <a:pt x="274829" y="3296258"/>
                  </a:cubicBezTo>
                  <a:cubicBezTo>
                    <a:pt x="272983" y="2486705"/>
                    <a:pt x="271137" y="1677154"/>
                    <a:pt x="269291" y="867601"/>
                  </a:cubicBezTo>
                  <a:cubicBezTo>
                    <a:pt x="854726" y="413995"/>
                    <a:pt x="1543829" y="257399"/>
                    <a:pt x="2180659" y="268457"/>
                  </a:cubicBezTo>
                  <a:close/>
                  <a:moveTo>
                    <a:pt x="2225366" y="102393"/>
                  </a:moveTo>
                  <a:cubicBezTo>
                    <a:pt x="1537110" y="89802"/>
                    <a:pt x="785755" y="276444"/>
                    <a:pt x="159456" y="814832"/>
                  </a:cubicBezTo>
                  <a:lnTo>
                    <a:pt x="183360" y="3317056"/>
                  </a:lnTo>
                  <a:cubicBezTo>
                    <a:pt x="265694" y="4156600"/>
                    <a:pt x="993415" y="5307898"/>
                    <a:pt x="2151396" y="5417284"/>
                  </a:cubicBezTo>
                  <a:cubicBezTo>
                    <a:pt x="2504632" y="5335244"/>
                    <a:pt x="3790098" y="5261407"/>
                    <a:pt x="4167238" y="3276036"/>
                  </a:cubicBezTo>
                  <a:lnTo>
                    <a:pt x="4167238" y="814832"/>
                  </a:lnTo>
                  <a:cubicBezTo>
                    <a:pt x="3890857" y="464111"/>
                    <a:pt x="3110265" y="118581"/>
                    <a:pt x="2225366" y="102393"/>
                  </a:cubicBezTo>
                  <a:close/>
                  <a:moveTo>
                    <a:pt x="2215785" y="617"/>
                  </a:moveTo>
                  <a:cubicBezTo>
                    <a:pt x="3164882" y="17479"/>
                    <a:pt x="4002103" y="377404"/>
                    <a:pt x="4298535" y="742736"/>
                  </a:cubicBezTo>
                  <a:lnTo>
                    <a:pt x="4298535" y="3306474"/>
                  </a:lnTo>
                  <a:cubicBezTo>
                    <a:pt x="3894034" y="5374556"/>
                    <a:pt x="2515312" y="5451469"/>
                    <a:pt x="2136449" y="5536927"/>
                  </a:cubicBezTo>
                  <a:cubicBezTo>
                    <a:pt x="894460" y="5422984"/>
                    <a:pt x="113945" y="4223722"/>
                    <a:pt x="25638" y="3349203"/>
                  </a:cubicBezTo>
                  <a:lnTo>
                    <a:pt x="0" y="742736"/>
                  </a:lnTo>
                  <a:cubicBezTo>
                    <a:pt x="671735" y="181918"/>
                    <a:pt x="1477599" y="-12498"/>
                    <a:pt x="2215785" y="617"/>
                  </a:cubicBezTo>
                  <a:close/>
                </a:path>
              </a:pathLst>
            </a:custGeom>
            <a:solidFill>
              <a:srgbClr val="D83B01">
                <a:lumMod val="50000"/>
              </a:srgbClr>
            </a:solidFill>
            <a:ln w="10795" cap="flat" cmpd="sng" algn="ctr">
              <a:noFill/>
              <a:prstDash val="solid"/>
            </a:ln>
            <a:effectLst/>
          </p:spPr>
          <p:txBody>
            <a:bodyPr rot="0" spcFirstLastPara="0" vert="horz" wrap="square" lIns="91440" tIns="91440" rIns="91440" bIns="91440"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44" name="Rectangle 43"/>
            <p:cNvSpPr/>
            <p:nvPr/>
          </p:nvSpPr>
          <p:spPr bwMode="auto">
            <a:xfrm>
              <a:off x="6399272" y="5211165"/>
              <a:ext cx="469423" cy="476707"/>
            </a:xfrm>
            <a:prstGeom prst="rect">
              <a:avLst/>
            </a:prstGeom>
            <a:solidFill>
              <a:srgbClr val="FFFFFF"/>
            </a:solidFill>
            <a:ln w="3175" cap="flat" cmpd="sng" algn="ctr">
              <a:no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grpSp>
          <p:nvGrpSpPr>
            <p:cNvPr id="48" name="Group 47"/>
            <p:cNvGrpSpPr>
              <a:grpSpLocks noChangeAspect="1"/>
            </p:cNvGrpSpPr>
            <p:nvPr/>
          </p:nvGrpSpPr>
          <p:grpSpPr bwMode="auto">
            <a:xfrm>
              <a:off x="6368132" y="5173029"/>
              <a:ext cx="537749" cy="696755"/>
              <a:chOff x="7763" y="1222"/>
              <a:chExt cx="3967" cy="5140"/>
            </a:xfrm>
            <a:solidFill>
              <a:srgbClr val="68217A"/>
            </a:solidFill>
          </p:grpSpPr>
          <p:sp>
            <p:nvSpPr>
              <p:cNvPr id="51" name="Oval 50"/>
              <p:cNvSpPr>
                <a:spLocks noChangeArrowheads="1"/>
              </p:cNvSpPr>
              <p:nvPr/>
            </p:nvSpPr>
            <p:spPr bwMode="auto">
              <a:xfrm>
                <a:off x="7832" y="1222"/>
                <a:ext cx="3829" cy="723"/>
              </a:xfrm>
              <a:prstGeom prst="ellipse">
                <a:avLst/>
              </a:pr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dirty="0">
                  <a:ln>
                    <a:noFill/>
                  </a:ln>
                  <a:solidFill>
                    <a:prstClr val="black"/>
                  </a:solidFill>
                  <a:effectLst/>
                  <a:uLnTx/>
                  <a:uFillTx/>
                  <a:latin typeface="Segoe UI"/>
                  <a:ea typeface="+mn-ea"/>
                  <a:cs typeface="+mn-cs"/>
                </a:endParaRPr>
              </a:p>
            </p:txBody>
          </p:sp>
          <p:sp>
            <p:nvSpPr>
              <p:cNvPr id="52" name="Freeform 51"/>
              <p:cNvSpPr>
                <a:spLocks noEditPoints="1"/>
              </p:cNvSpPr>
              <p:nvPr/>
            </p:nvSpPr>
            <p:spPr bwMode="auto">
              <a:xfrm>
                <a:off x="7763" y="1723"/>
                <a:ext cx="3967" cy="4639"/>
              </a:xfrm>
              <a:custGeom>
                <a:avLst/>
                <a:gdLst>
                  <a:gd name="T0" fmla="*/ 1599 w 1676"/>
                  <a:gd name="T1" fmla="*/ 580 h 1961"/>
                  <a:gd name="T2" fmla="*/ 838 w 1676"/>
                  <a:gd name="T3" fmla="*/ 681 h 1961"/>
                  <a:gd name="T4" fmla="*/ 80 w 1676"/>
                  <a:gd name="T5" fmla="*/ 580 h 1961"/>
                  <a:gd name="T6" fmla="*/ 80 w 1676"/>
                  <a:gd name="T7" fmla="*/ 513 h 1961"/>
                  <a:gd name="T8" fmla="*/ 838 w 1676"/>
                  <a:gd name="T9" fmla="*/ 615 h 1961"/>
                  <a:gd name="T10" fmla="*/ 1599 w 1676"/>
                  <a:gd name="T11" fmla="*/ 513 h 1961"/>
                  <a:gd name="T12" fmla="*/ 1599 w 1676"/>
                  <a:gd name="T13" fmla="*/ 580 h 1961"/>
                  <a:gd name="T14" fmla="*/ 1599 w 1676"/>
                  <a:gd name="T15" fmla="*/ 1229 h 1961"/>
                  <a:gd name="T16" fmla="*/ 838 w 1676"/>
                  <a:gd name="T17" fmla="*/ 1326 h 1961"/>
                  <a:gd name="T18" fmla="*/ 80 w 1676"/>
                  <a:gd name="T19" fmla="*/ 1229 h 1961"/>
                  <a:gd name="T20" fmla="*/ 80 w 1676"/>
                  <a:gd name="T21" fmla="*/ 1162 h 1961"/>
                  <a:gd name="T22" fmla="*/ 838 w 1676"/>
                  <a:gd name="T23" fmla="*/ 1260 h 1961"/>
                  <a:gd name="T24" fmla="*/ 1599 w 1676"/>
                  <a:gd name="T25" fmla="*/ 1162 h 1961"/>
                  <a:gd name="T26" fmla="*/ 1599 w 1676"/>
                  <a:gd name="T27" fmla="*/ 1229 h 1961"/>
                  <a:gd name="T28" fmla="*/ 1676 w 1676"/>
                  <a:gd name="T29" fmla="*/ 471 h 1961"/>
                  <a:gd name="T30" fmla="*/ 1676 w 1676"/>
                  <a:gd name="T31" fmla="*/ 0 h 1961"/>
                  <a:gd name="T32" fmla="*/ 838 w 1676"/>
                  <a:gd name="T33" fmla="*/ 150 h 1961"/>
                  <a:gd name="T34" fmla="*/ 0 w 1676"/>
                  <a:gd name="T35" fmla="*/ 0 h 1961"/>
                  <a:gd name="T36" fmla="*/ 0 w 1676"/>
                  <a:gd name="T37" fmla="*/ 471 h 1961"/>
                  <a:gd name="T38" fmla="*/ 52 w 1676"/>
                  <a:gd name="T39" fmla="*/ 534 h 1961"/>
                  <a:gd name="T40" fmla="*/ 0 w 1676"/>
                  <a:gd name="T41" fmla="*/ 594 h 1961"/>
                  <a:gd name="T42" fmla="*/ 0 w 1676"/>
                  <a:gd name="T43" fmla="*/ 1124 h 1961"/>
                  <a:gd name="T44" fmla="*/ 52 w 1676"/>
                  <a:gd name="T45" fmla="*/ 1187 h 1961"/>
                  <a:gd name="T46" fmla="*/ 0 w 1676"/>
                  <a:gd name="T47" fmla="*/ 1249 h 1961"/>
                  <a:gd name="T48" fmla="*/ 0 w 1676"/>
                  <a:gd name="T49" fmla="*/ 1780 h 1961"/>
                  <a:gd name="T50" fmla="*/ 838 w 1676"/>
                  <a:gd name="T51" fmla="*/ 1961 h 1961"/>
                  <a:gd name="T52" fmla="*/ 1676 w 1676"/>
                  <a:gd name="T53" fmla="*/ 1780 h 1961"/>
                  <a:gd name="T54" fmla="*/ 1676 w 1676"/>
                  <a:gd name="T55" fmla="*/ 1249 h 1961"/>
                  <a:gd name="T56" fmla="*/ 1627 w 1676"/>
                  <a:gd name="T57" fmla="*/ 1187 h 1961"/>
                  <a:gd name="T58" fmla="*/ 1676 w 1676"/>
                  <a:gd name="T59" fmla="*/ 1124 h 1961"/>
                  <a:gd name="T60" fmla="*/ 1676 w 1676"/>
                  <a:gd name="T61" fmla="*/ 594 h 1961"/>
                  <a:gd name="T62" fmla="*/ 1627 w 1676"/>
                  <a:gd name="T63" fmla="*/ 534 h 1961"/>
                  <a:gd name="T64" fmla="*/ 1676 w 1676"/>
                  <a:gd name="T65" fmla="*/ 471 h 19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76" h="1961">
                    <a:moveTo>
                      <a:pt x="1599" y="580"/>
                    </a:moveTo>
                    <a:cubicBezTo>
                      <a:pt x="1599" y="635"/>
                      <a:pt x="1260" y="681"/>
                      <a:pt x="838" y="681"/>
                    </a:cubicBezTo>
                    <a:cubicBezTo>
                      <a:pt x="419" y="681"/>
                      <a:pt x="80" y="635"/>
                      <a:pt x="80" y="580"/>
                    </a:cubicBezTo>
                    <a:cubicBezTo>
                      <a:pt x="80" y="513"/>
                      <a:pt x="80" y="513"/>
                      <a:pt x="80" y="513"/>
                    </a:cubicBezTo>
                    <a:cubicBezTo>
                      <a:pt x="80" y="569"/>
                      <a:pt x="419" y="615"/>
                      <a:pt x="838" y="615"/>
                    </a:cubicBezTo>
                    <a:cubicBezTo>
                      <a:pt x="1260" y="615"/>
                      <a:pt x="1599" y="569"/>
                      <a:pt x="1599" y="513"/>
                    </a:cubicBezTo>
                    <a:lnTo>
                      <a:pt x="1599" y="580"/>
                    </a:lnTo>
                    <a:close/>
                    <a:moveTo>
                      <a:pt x="1599" y="1229"/>
                    </a:moveTo>
                    <a:cubicBezTo>
                      <a:pt x="1599" y="1284"/>
                      <a:pt x="1260" y="1326"/>
                      <a:pt x="838" y="1326"/>
                    </a:cubicBezTo>
                    <a:cubicBezTo>
                      <a:pt x="419" y="1326"/>
                      <a:pt x="80" y="1284"/>
                      <a:pt x="80" y="1229"/>
                    </a:cubicBezTo>
                    <a:cubicBezTo>
                      <a:pt x="80" y="1162"/>
                      <a:pt x="80" y="1162"/>
                      <a:pt x="80" y="1162"/>
                    </a:cubicBezTo>
                    <a:cubicBezTo>
                      <a:pt x="80" y="1218"/>
                      <a:pt x="419" y="1260"/>
                      <a:pt x="838" y="1260"/>
                    </a:cubicBezTo>
                    <a:cubicBezTo>
                      <a:pt x="1260" y="1260"/>
                      <a:pt x="1599" y="1218"/>
                      <a:pt x="1599" y="1162"/>
                    </a:cubicBezTo>
                    <a:lnTo>
                      <a:pt x="1599" y="1229"/>
                    </a:lnTo>
                    <a:close/>
                    <a:moveTo>
                      <a:pt x="1676" y="471"/>
                    </a:moveTo>
                    <a:cubicBezTo>
                      <a:pt x="1676" y="0"/>
                      <a:pt x="1676" y="0"/>
                      <a:pt x="1676" y="0"/>
                    </a:cubicBezTo>
                    <a:cubicBezTo>
                      <a:pt x="1564" y="109"/>
                      <a:pt x="1138" y="150"/>
                      <a:pt x="838" y="150"/>
                    </a:cubicBezTo>
                    <a:cubicBezTo>
                      <a:pt x="538" y="150"/>
                      <a:pt x="112" y="109"/>
                      <a:pt x="0" y="0"/>
                    </a:cubicBezTo>
                    <a:cubicBezTo>
                      <a:pt x="0" y="471"/>
                      <a:pt x="0" y="471"/>
                      <a:pt x="0" y="471"/>
                    </a:cubicBezTo>
                    <a:cubicBezTo>
                      <a:pt x="0" y="492"/>
                      <a:pt x="17" y="513"/>
                      <a:pt x="52" y="534"/>
                    </a:cubicBezTo>
                    <a:cubicBezTo>
                      <a:pt x="17" y="552"/>
                      <a:pt x="0" y="573"/>
                      <a:pt x="0" y="594"/>
                    </a:cubicBezTo>
                    <a:cubicBezTo>
                      <a:pt x="0" y="1124"/>
                      <a:pt x="0" y="1124"/>
                      <a:pt x="0" y="1124"/>
                    </a:cubicBezTo>
                    <a:cubicBezTo>
                      <a:pt x="0" y="1148"/>
                      <a:pt x="17" y="1169"/>
                      <a:pt x="52" y="1187"/>
                    </a:cubicBezTo>
                    <a:cubicBezTo>
                      <a:pt x="17" y="1208"/>
                      <a:pt x="0" y="1225"/>
                      <a:pt x="0" y="1249"/>
                    </a:cubicBezTo>
                    <a:cubicBezTo>
                      <a:pt x="0" y="1780"/>
                      <a:pt x="0" y="1780"/>
                      <a:pt x="0" y="1780"/>
                    </a:cubicBezTo>
                    <a:cubicBezTo>
                      <a:pt x="0" y="1877"/>
                      <a:pt x="377" y="1961"/>
                      <a:pt x="838" y="1961"/>
                    </a:cubicBezTo>
                    <a:cubicBezTo>
                      <a:pt x="1302" y="1961"/>
                      <a:pt x="1676" y="1877"/>
                      <a:pt x="1676" y="1780"/>
                    </a:cubicBezTo>
                    <a:cubicBezTo>
                      <a:pt x="1676" y="1249"/>
                      <a:pt x="1676" y="1249"/>
                      <a:pt x="1676" y="1249"/>
                    </a:cubicBezTo>
                    <a:cubicBezTo>
                      <a:pt x="1676" y="1225"/>
                      <a:pt x="1658" y="1208"/>
                      <a:pt x="1627" y="1187"/>
                    </a:cubicBezTo>
                    <a:cubicBezTo>
                      <a:pt x="1658" y="1169"/>
                      <a:pt x="1676" y="1148"/>
                      <a:pt x="1676" y="1124"/>
                    </a:cubicBezTo>
                    <a:cubicBezTo>
                      <a:pt x="1676" y="594"/>
                      <a:pt x="1676" y="594"/>
                      <a:pt x="1676" y="594"/>
                    </a:cubicBezTo>
                    <a:cubicBezTo>
                      <a:pt x="1676" y="573"/>
                      <a:pt x="1658" y="552"/>
                      <a:pt x="1627" y="534"/>
                    </a:cubicBezTo>
                    <a:cubicBezTo>
                      <a:pt x="1658" y="513"/>
                      <a:pt x="1676" y="492"/>
                      <a:pt x="1676" y="471"/>
                    </a:cubicBezTo>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dirty="0">
                  <a:ln>
                    <a:noFill/>
                  </a:ln>
                  <a:solidFill>
                    <a:prstClr val="black"/>
                  </a:solidFill>
                  <a:effectLst/>
                  <a:uLnTx/>
                  <a:uFillTx/>
                  <a:latin typeface="Segoe UI"/>
                  <a:ea typeface="+mn-ea"/>
                  <a:cs typeface="+mn-cs"/>
                </a:endParaRPr>
              </a:p>
            </p:txBody>
          </p:sp>
        </p:grpSp>
      </p:grpSp>
      <p:sp>
        <p:nvSpPr>
          <p:cNvPr id="2" name="Title 1"/>
          <p:cNvSpPr>
            <a:spLocks noGrp="1"/>
          </p:cNvSpPr>
          <p:nvPr>
            <p:ph type="title"/>
          </p:nvPr>
        </p:nvSpPr>
        <p:spPr/>
        <p:txBody>
          <a:bodyPr/>
          <a:lstStyle/>
          <a:p>
            <a:r>
              <a:rPr lang="en-US" dirty="0"/>
              <a:t>Security </a:t>
            </a:r>
          </a:p>
        </p:txBody>
      </p:sp>
    </p:spTree>
    <p:extLst>
      <p:ext uri="{BB962C8B-B14F-4D97-AF65-F5344CB8AC3E}">
        <p14:creationId xmlns:p14="http://schemas.microsoft.com/office/powerpoint/2010/main" val="117866720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Security features</a:t>
            </a:r>
            <a:endParaRPr lang="en-US" dirty="0"/>
          </a:p>
        </p:txBody>
      </p:sp>
      <p:sp>
        <p:nvSpPr>
          <p:cNvPr id="20" name="TextBox 19"/>
          <p:cNvSpPr txBox="1"/>
          <p:nvPr/>
        </p:nvSpPr>
        <p:spPr>
          <a:xfrm>
            <a:off x="7590042" y="4828797"/>
            <a:ext cx="3809805" cy="534056"/>
          </a:xfrm>
          <a:prstGeom prst="rect">
            <a:avLst/>
          </a:prstGeom>
          <a:noFill/>
        </p:spPr>
        <p:txBody>
          <a:bodyPr wrap="square" lIns="179285" tIns="143428" rIns="179285" bIns="143428" rtlCol="0">
            <a:spAutoFit/>
          </a:bodyPr>
          <a:lstStyle/>
          <a:p>
            <a:pPr marL="0" marR="0" lvl="0" indent="0" defTabSz="896386" eaLnBrk="1" fontAlgn="auto" latinLnBrk="0" hangingPunct="1">
              <a:lnSpc>
                <a:spcPct val="90000"/>
              </a:lnSpc>
              <a:spcBef>
                <a:spcPts val="0"/>
              </a:spcBef>
              <a:spcAft>
                <a:spcPts val="588"/>
              </a:spcAft>
              <a:buClrTx/>
              <a:buSzTx/>
              <a:buFontTx/>
              <a:buNone/>
              <a:tabLst/>
              <a:defRPr/>
            </a:pPr>
            <a:endParaRPr kumimoji="0" lang="en-US" sz="1765" b="0" i="0" u="none" strike="noStrike" kern="0" cap="none" spc="0" normalizeH="0" baseline="0" noProof="0" dirty="0">
              <a:ln>
                <a:noFill/>
              </a:ln>
              <a:gradFill>
                <a:gsLst>
                  <a:gs pos="2917">
                    <a:schemeClr val="tx1"/>
                  </a:gs>
                  <a:gs pos="30000">
                    <a:schemeClr val="tx1"/>
                  </a:gs>
                </a:gsLst>
                <a:lin ang="5400000" scaled="0"/>
              </a:gradFill>
              <a:effectLst/>
              <a:uLnTx/>
              <a:uFillTx/>
            </a:endParaRPr>
          </a:p>
        </p:txBody>
      </p:sp>
      <p:graphicFrame>
        <p:nvGraphicFramePr>
          <p:cNvPr id="9" name="Table 8"/>
          <p:cNvGraphicFramePr>
            <a:graphicFrameLocks noGrp="1"/>
          </p:cNvGraphicFramePr>
          <p:nvPr>
            <p:extLst/>
          </p:nvPr>
        </p:nvGraphicFramePr>
        <p:xfrm>
          <a:off x="269238" y="1227909"/>
          <a:ext cx="6561048" cy="5454901"/>
        </p:xfrm>
        <a:graphic>
          <a:graphicData uri="http://schemas.openxmlformats.org/drawingml/2006/table">
            <a:tbl>
              <a:tblPr firstRow="1" bandRow="1">
                <a:tableStyleId>{5940675A-B579-460E-94D1-54222C63F5DA}</a:tableStyleId>
              </a:tblPr>
              <a:tblGrid>
                <a:gridCol w="3510282">
                  <a:extLst>
                    <a:ext uri="{9D8B030D-6E8A-4147-A177-3AD203B41FA5}">
                      <a16:colId xmlns:a16="http://schemas.microsoft.com/office/drawing/2014/main" val="3702753057"/>
                    </a:ext>
                  </a:extLst>
                </a:gridCol>
                <a:gridCol w="3050766">
                  <a:extLst>
                    <a:ext uri="{9D8B030D-6E8A-4147-A177-3AD203B41FA5}">
                      <a16:colId xmlns:a16="http://schemas.microsoft.com/office/drawing/2014/main" val="3342823978"/>
                    </a:ext>
                  </a:extLst>
                </a:gridCol>
              </a:tblGrid>
              <a:tr h="1193038">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1800" kern="1200" noProof="0" dirty="0">
                          <a:solidFill>
                            <a:schemeClr val="bg1"/>
                          </a:solidFill>
                          <a:latin typeface="+mn-lt"/>
                          <a:ea typeface="+mn-ea"/>
                          <a:cs typeface="+mn-cs"/>
                        </a:rPr>
                        <a:t>Identity Management &amp; Authentication</a:t>
                      </a:r>
                    </a:p>
                  </a:txBody>
                  <a:tcPr marL="137160" marR="137160" marT="137160" marB="137160">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solidFill>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gradFill>
                            <a:gsLst>
                              <a:gs pos="2917">
                                <a:schemeClr val="tx1"/>
                              </a:gs>
                              <a:gs pos="30000">
                                <a:schemeClr val="tx1"/>
                              </a:gs>
                            </a:gsLst>
                            <a:lin ang="5400000" scaled="0"/>
                          </a:gradFill>
                          <a:effectLst/>
                          <a:uLnTx/>
                          <a:uFillTx/>
                        </a:rPr>
                        <a:t>Azure Active Directory</a:t>
                      </a:r>
                    </a:p>
                  </a:txBody>
                  <a:tcPr marL="137160" marR="137160" marT="137160" marB="137160">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911915717"/>
                  </a:ext>
                </a:extLst>
              </a:tr>
              <a:tr h="1380009">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1800" kern="1200" noProof="0" dirty="0">
                          <a:solidFill>
                            <a:schemeClr val="bg1"/>
                          </a:solidFill>
                          <a:latin typeface="+mn-lt"/>
                          <a:ea typeface="+mn-ea"/>
                          <a:cs typeface="+mn-cs"/>
                        </a:rPr>
                        <a:t>Access Control &amp; Authorization</a:t>
                      </a:r>
                    </a:p>
                  </a:txBody>
                  <a:tcPr marL="137160" marR="137160" marT="137160" marB="137160">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solidFill>
                  </a:tcPr>
                </a:tc>
                <a:tc>
                  <a:txBody>
                    <a:bodyPr/>
                    <a:lstStyle/>
                    <a:p>
                      <a:pPr marL="0" marR="0" lvl="0" indent="0" defTabSz="896386" eaLnBrk="1" fontAlgn="auto" latinLnBrk="0" hangingPunct="1">
                        <a:lnSpc>
                          <a:spcPct val="90000"/>
                        </a:lnSpc>
                        <a:spcBef>
                          <a:spcPts val="0"/>
                        </a:spcBef>
                        <a:spcAft>
                          <a:spcPts val="588"/>
                        </a:spcAft>
                        <a:buClrTx/>
                        <a:buSzTx/>
                        <a:buFontTx/>
                        <a:buNone/>
                        <a:tabLst/>
                        <a:defRPr/>
                      </a:pPr>
                      <a:r>
                        <a:rPr kumimoji="0" lang="en-US" sz="1200" b="0" i="0" u="none" strike="noStrike" kern="0" cap="none" spc="0" normalizeH="0" baseline="0" noProof="0" dirty="0">
                          <a:ln>
                            <a:noFill/>
                          </a:ln>
                          <a:gradFill>
                            <a:gsLst>
                              <a:gs pos="2917">
                                <a:schemeClr val="tx1"/>
                              </a:gs>
                              <a:gs pos="30000">
                                <a:schemeClr val="tx1"/>
                              </a:gs>
                            </a:gsLst>
                            <a:lin ang="5400000" scaled="0"/>
                          </a:gradFill>
                          <a:effectLst/>
                          <a:uLnTx/>
                          <a:uFillTx/>
                        </a:rPr>
                        <a:t>Azure RBAC for Account Management</a:t>
                      </a:r>
                    </a:p>
                    <a:p>
                      <a:pPr marL="0" marR="0" lvl="0" indent="0" defTabSz="896386" eaLnBrk="1" fontAlgn="auto" latinLnBrk="0" hangingPunct="1">
                        <a:lnSpc>
                          <a:spcPct val="90000"/>
                        </a:lnSpc>
                        <a:spcBef>
                          <a:spcPts val="0"/>
                        </a:spcBef>
                        <a:spcAft>
                          <a:spcPts val="588"/>
                        </a:spcAft>
                        <a:buClrTx/>
                        <a:buSzTx/>
                        <a:buFontTx/>
                        <a:buNone/>
                        <a:tabLst/>
                        <a:defRPr/>
                      </a:pPr>
                      <a:r>
                        <a:rPr kumimoji="0" lang="en-US" sz="1200" b="0" i="0" u="none" strike="noStrike" kern="0" cap="none" spc="0" normalizeH="0" baseline="0" noProof="0" dirty="0">
                          <a:ln>
                            <a:noFill/>
                          </a:ln>
                          <a:gradFill>
                            <a:gsLst>
                              <a:gs pos="2917">
                                <a:schemeClr val="tx1"/>
                              </a:gs>
                              <a:gs pos="30000">
                                <a:schemeClr val="tx1"/>
                              </a:gs>
                            </a:gsLst>
                            <a:lin ang="5400000" scaled="0"/>
                          </a:gradFill>
                          <a:effectLst/>
                          <a:uLnTx/>
                          <a:uFillTx/>
                        </a:rPr>
                        <a:t>File &amp; Folder level POSIX ACLs</a:t>
                      </a:r>
                    </a:p>
                  </a:txBody>
                  <a:tcPr marL="137160" marR="137160" marT="137160" marB="137160">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952133358"/>
                  </a:ext>
                </a:extLst>
              </a:tr>
              <a:tr h="764683">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1800" kern="1200" noProof="0" dirty="0">
                          <a:solidFill>
                            <a:schemeClr val="bg1"/>
                          </a:solidFill>
                          <a:latin typeface="+mn-lt"/>
                          <a:ea typeface="+mn-ea"/>
                          <a:cs typeface="+mn-cs"/>
                        </a:rPr>
                        <a:t>Auditing</a:t>
                      </a:r>
                    </a:p>
                  </a:txBody>
                  <a:tcPr marL="137160" marR="137160" marT="137160" marB="137160">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solidFill>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gradFill>
                            <a:gsLst>
                              <a:gs pos="2917">
                                <a:schemeClr val="tx1"/>
                              </a:gs>
                              <a:gs pos="30000">
                                <a:schemeClr val="tx1"/>
                              </a:gs>
                            </a:gsLst>
                            <a:lin ang="5400000" scaled="0"/>
                          </a:gradFill>
                          <a:effectLst/>
                          <a:uLnTx/>
                          <a:uFillTx/>
                        </a:rPr>
                        <a:t>Azure Diagnostic Audit Logs</a:t>
                      </a:r>
                    </a:p>
                  </a:txBody>
                  <a:tcPr marL="137160" marR="137160" marT="137160" marB="137160">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220753558"/>
                  </a:ext>
                </a:extLst>
              </a:tr>
              <a:tr h="2117171">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1800" kern="1200" noProof="0" dirty="0">
                          <a:solidFill>
                            <a:schemeClr val="bg1"/>
                          </a:solidFill>
                          <a:latin typeface="+mn-lt"/>
                          <a:ea typeface="+mn-ea"/>
                          <a:cs typeface="+mn-cs"/>
                        </a:rPr>
                        <a:t>Data Protection &amp; Encryption</a:t>
                      </a:r>
                    </a:p>
                  </a:txBody>
                  <a:tcPr marL="137160" marR="137160" marT="137160" marB="137160">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tc>
                  <a:txBody>
                    <a:bodyPr/>
                    <a:lstStyle/>
                    <a:p>
                      <a:pPr marL="0" marR="0" lvl="0" indent="0" defTabSz="896386" eaLnBrk="1" fontAlgn="auto" latinLnBrk="0" hangingPunct="1">
                        <a:lnSpc>
                          <a:spcPct val="90000"/>
                        </a:lnSpc>
                        <a:spcBef>
                          <a:spcPts val="0"/>
                        </a:spcBef>
                        <a:spcAft>
                          <a:spcPts val="588"/>
                        </a:spcAft>
                        <a:buClrTx/>
                        <a:buSzTx/>
                        <a:buFontTx/>
                        <a:buNone/>
                        <a:tabLst/>
                        <a:defRPr/>
                      </a:pPr>
                      <a:r>
                        <a:rPr kumimoji="0" lang="en-US" sz="1200" b="0" i="0" u="none" strike="noStrike" kern="0" cap="none" spc="0" normalizeH="0" baseline="0" noProof="0" dirty="0">
                          <a:ln>
                            <a:noFill/>
                          </a:ln>
                          <a:gradFill>
                            <a:gsLst>
                              <a:gs pos="2917">
                                <a:schemeClr val="tx1"/>
                              </a:gs>
                              <a:gs pos="30000">
                                <a:schemeClr val="tx1"/>
                              </a:gs>
                            </a:gsLst>
                            <a:lin ang="5400000" scaled="0"/>
                          </a:gradFill>
                          <a:effectLst/>
                          <a:uLnTx/>
                          <a:uFillTx/>
                        </a:rPr>
                        <a:t>Encryption on the wire using HTTPS</a:t>
                      </a:r>
                    </a:p>
                    <a:p>
                      <a:pPr marL="0" marR="0" lvl="0" indent="0" defTabSz="896386" eaLnBrk="1" fontAlgn="auto" latinLnBrk="0" hangingPunct="1">
                        <a:lnSpc>
                          <a:spcPct val="90000"/>
                        </a:lnSpc>
                        <a:spcBef>
                          <a:spcPts val="0"/>
                        </a:spcBef>
                        <a:spcAft>
                          <a:spcPts val="588"/>
                        </a:spcAft>
                        <a:buClrTx/>
                        <a:buSzTx/>
                        <a:buFontTx/>
                        <a:buNone/>
                        <a:tabLst/>
                        <a:defRPr/>
                      </a:pPr>
                      <a:r>
                        <a:rPr kumimoji="0" lang="en-US" sz="1200" b="0" i="0" u="none" strike="noStrike" kern="0" cap="none" spc="0" normalizeH="0" baseline="0" noProof="0" dirty="0">
                          <a:ln>
                            <a:noFill/>
                          </a:ln>
                          <a:gradFill>
                            <a:gsLst>
                              <a:gs pos="2917">
                                <a:schemeClr val="tx1"/>
                              </a:gs>
                              <a:gs pos="30000">
                                <a:schemeClr val="tx1"/>
                              </a:gs>
                            </a:gsLst>
                            <a:lin ang="5400000" scaled="0"/>
                          </a:gradFill>
                          <a:effectLst/>
                          <a:uLnTx/>
                          <a:uFillTx/>
                        </a:rPr>
                        <a:t>Transparent Service side encryption using service &amp; customer managed keys</a:t>
                      </a:r>
                    </a:p>
                  </a:txBody>
                  <a:tcPr marL="137160" marR="137160" marT="137160" marB="137160">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541774005"/>
                  </a:ext>
                </a:extLst>
              </a:tr>
            </a:tbl>
          </a:graphicData>
        </a:graphic>
      </p:graphicFrame>
      <p:grpSp>
        <p:nvGrpSpPr>
          <p:cNvPr id="1473" name="Group 1472"/>
          <p:cNvGrpSpPr/>
          <p:nvPr/>
        </p:nvGrpSpPr>
        <p:grpSpPr>
          <a:xfrm>
            <a:off x="8947068" y="4917843"/>
            <a:ext cx="1280280" cy="1313890"/>
            <a:chOff x="7886917" y="3469989"/>
            <a:chExt cx="2061809" cy="2115935"/>
          </a:xfrm>
        </p:grpSpPr>
        <p:grpSp>
          <p:nvGrpSpPr>
            <p:cNvPr id="1970" name="Group 1969"/>
            <p:cNvGrpSpPr/>
            <p:nvPr/>
          </p:nvGrpSpPr>
          <p:grpSpPr>
            <a:xfrm>
              <a:off x="7886917" y="3469989"/>
              <a:ext cx="1039650" cy="1882552"/>
              <a:chOff x="14160501" y="3376613"/>
              <a:chExt cx="796925" cy="1443038"/>
            </a:xfrm>
          </p:grpSpPr>
          <p:sp>
            <p:nvSpPr>
              <p:cNvPr id="2107" name="Freeform 1349"/>
              <p:cNvSpPr>
                <a:spLocks/>
              </p:cNvSpPr>
              <p:nvPr/>
            </p:nvSpPr>
            <p:spPr bwMode="auto">
              <a:xfrm>
                <a:off x="14682788" y="3376613"/>
                <a:ext cx="274638" cy="1443038"/>
              </a:xfrm>
              <a:custGeom>
                <a:avLst/>
                <a:gdLst>
                  <a:gd name="T0" fmla="*/ 184 w 224"/>
                  <a:gd name="T1" fmla="*/ 0 h 1184"/>
                  <a:gd name="T2" fmla="*/ 0 w 224"/>
                  <a:gd name="T3" fmla="*/ 0 h 1184"/>
                  <a:gd name="T4" fmla="*/ 40 w 224"/>
                  <a:gd name="T5" fmla="*/ 41 h 1184"/>
                  <a:gd name="T6" fmla="*/ 40 w 224"/>
                  <a:gd name="T7" fmla="*/ 1144 h 1184"/>
                  <a:gd name="T8" fmla="*/ 0 w 224"/>
                  <a:gd name="T9" fmla="*/ 1184 h 1184"/>
                  <a:gd name="T10" fmla="*/ 184 w 224"/>
                  <a:gd name="T11" fmla="*/ 1184 h 1184"/>
                  <a:gd name="T12" fmla="*/ 224 w 224"/>
                  <a:gd name="T13" fmla="*/ 1144 h 1184"/>
                  <a:gd name="T14" fmla="*/ 224 w 224"/>
                  <a:gd name="T15" fmla="*/ 41 h 1184"/>
                  <a:gd name="T16" fmla="*/ 184 w 224"/>
                  <a:gd name="T17" fmla="*/ 0 h 1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4" h="1184">
                    <a:moveTo>
                      <a:pt x="184" y="0"/>
                    </a:moveTo>
                    <a:cubicBezTo>
                      <a:pt x="0" y="0"/>
                      <a:pt x="0" y="0"/>
                      <a:pt x="0" y="0"/>
                    </a:cubicBezTo>
                    <a:cubicBezTo>
                      <a:pt x="22" y="0"/>
                      <a:pt x="40" y="18"/>
                      <a:pt x="40" y="41"/>
                    </a:cubicBezTo>
                    <a:cubicBezTo>
                      <a:pt x="40" y="1144"/>
                      <a:pt x="40" y="1144"/>
                      <a:pt x="40" y="1144"/>
                    </a:cubicBezTo>
                    <a:cubicBezTo>
                      <a:pt x="40" y="1166"/>
                      <a:pt x="22" y="1184"/>
                      <a:pt x="0" y="1184"/>
                    </a:cubicBezTo>
                    <a:cubicBezTo>
                      <a:pt x="184" y="1184"/>
                      <a:pt x="184" y="1184"/>
                      <a:pt x="184" y="1184"/>
                    </a:cubicBezTo>
                    <a:cubicBezTo>
                      <a:pt x="206" y="1184"/>
                      <a:pt x="224" y="1166"/>
                      <a:pt x="224" y="1144"/>
                    </a:cubicBezTo>
                    <a:cubicBezTo>
                      <a:pt x="224" y="41"/>
                      <a:pt x="224" y="41"/>
                      <a:pt x="224" y="41"/>
                    </a:cubicBezTo>
                    <a:cubicBezTo>
                      <a:pt x="224" y="18"/>
                      <a:pt x="206" y="0"/>
                      <a:pt x="184" y="0"/>
                    </a:cubicBez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108" name="Freeform 1350"/>
              <p:cNvSpPr>
                <a:spLocks/>
              </p:cNvSpPr>
              <p:nvPr/>
            </p:nvSpPr>
            <p:spPr bwMode="auto">
              <a:xfrm>
                <a:off x="14682788" y="3376613"/>
                <a:ext cx="274638" cy="1443038"/>
              </a:xfrm>
              <a:custGeom>
                <a:avLst/>
                <a:gdLst>
                  <a:gd name="T0" fmla="*/ 184 w 224"/>
                  <a:gd name="T1" fmla="*/ 0 h 1184"/>
                  <a:gd name="T2" fmla="*/ 0 w 224"/>
                  <a:gd name="T3" fmla="*/ 0 h 1184"/>
                  <a:gd name="T4" fmla="*/ 40 w 224"/>
                  <a:gd name="T5" fmla="*/ 41 h 1184"/>
                  <a:gd name="T6" fmla="*/ 40 w 224"/>
                  <a:gd name="T7" fmla="*/ 1144 h 1184"/>
                  <a:gd name="T8" fmla="*/ 0 w 224"/>
                  <a:gd name="T9" fmla="*/ 1184 h 1184"/>
                  <a:gd name="T10" fmla="*/ 184 w 224"/>
                  <a:gd name="T11" fmla="*/ 1184 h 1184"/>
                  <a:gd name="T12" fmla="*/ 224 w 224"/>
                  <a:gd name="T13" fmla="*/ 1144 h 1184"/>
                  <a:gd name="T14" fmla="*/ 224 w 224"/>
                  <a:gd name="T15" fmla="*/ 41 h 1184"/>
                  <a:gd name="T16" fmla="*/ 184 w 224"/>
                  <a:gd name="T17" fmla="*/ 0 h 1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4" h="1184">
                    <a:moveTo>
                      <a:pt x="184" y="0"/>
                    </a:moveTo>
                    <a:cubicBezTo>
                      <a:pt x="0" y="0"/>
                      <a:pt x="0" y="0"/>
                      <a:pt x="0" y="0"/>
                    </a:cubicBezTo>
                    <a:cubicBezTo>
                      <a:pt x="22" y="0"/>
                      <a:pt x="40" y="18"/>
                      <a:pt x="40" y="41"/>
                    </a:cubicBezTo>
                    <a:cubicBezTo>
                      <a:pt x="40" y="1144"/>
                      <a:pt x="40" y="1144"/>
                      <a:pt x="40" y="1144"/>
                    </a:cubicBezTo>
                    <a:cubicBezTo>
                      <a:pt x="40" y="1166"/>
                      <a:pt x="22" y="1184"/>
                      <a:pt x="0" y="1184"/>
                    </a:cubicBezTo>
                    <a:cubicBezTo>
                      <a:pt x="184" y="1184"/>
                      <a:pt x="184" y="1184"/>
                      <a:pt x="184" y="1184"/>
                    </a:cubicBezTo>
                    <a:cubicBezTo>
                      <a:pt x="206" y="1184"/>
                      <a:pt x="224" y="1166"/>
                      <a:pt x="224" y="1144"/>
                    </a:cubicBezTo>
                    <a:cubicBezTo>
                      <a:pt x="224" y="41"/>
                      <a:pt x="224" y="41"/>
                      <a:pt x="224" y="41"/>
                    </a:cubicBezTo>
                    <a:cubicBezTo>
                      <a:pt x="224" y="18"/>
                      <a:pt x="206" y="0"/>
                      <a:pt x="184" y="0"/>
                    </a:cubicBezTo>
                    <a:close/>
                  </a:path>
                </a:pathLst>
              </a:custGeom>
              <a:solidFill>
                <a:srgbClr val="003D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109" name="Freeform 1351"/>
              <p:cNvSpPr>
                <a:spLocks/>
              </p:cNvSpPr>
              <p:nvPr/>
            </p:nvSpPr>
            <p:spPr bwMode="auto">
              <a:xfrm>
                <a:off x="14160501" y="3376613"/>
                <a:ext cx="611188" cy="1443038"/>
              </a:xfrm>
              <a:custGeom>
                <a:avLst/>
                <a:gdLst>
                  <a:gd name="T0" fmla="*/ 499 w 499"/>
                  <a:gd name="T1" fmla="*/ 1144 h 1184"/>
                  <a:gd name="T2" fmla="*/ 459 w 499"/>
                  <a:gd name="T3" fmla="*/ 1184 h 1184"/>
                  <a:gd name="T4" fmla="*/ 40 w 499"/>
                  <a:gd name="T5" fmla="*/ 1184 h 1184"/>
                  <a:gd name="T6" fmla="*/ 0 w 499"/>
                  <a:gd name="T7" fmla="*/ 1144 h 1184"/>
                  <a:gd name="T8" fmla="*/ 0 w 499"/>
                  <a:gd name="T9" fmla="*/ 41 h 1184"/>
                  <a:gd name="T10" fmla="*/ 40 w 499"/>
                  <a:gd name="T11" fmla="*/ 0 h 1184"/>
                  <a:gd name="T12" fmla="*/ 459 w 499"/>
                  <a:gd name="T13" fmla="*/ 0 h 1184"/>
                  <a:gd name="T14" fmla="*/ 499 w 499"/>
                  <a:gd name="T15" fmla="*/ 41 h 1184"/>
                  <a:gd name="T16" fmla="*/ 499 w 499"/>
                  <a:gd name="T17" fmla="*/ 1144 h 1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9" h="1184">
                    <a:moveTo>
                      <a:pt x="499" y="1144"/>
                    </a:moveTo>
                    <a:cubicBezTo>
                      <a:pt x="499" y="1166"/>
                      <a:pt x="481" y="1184"/>
                      <a:pt x="459" y="1184"/>
                    </a:cubicBezTo>
                    <a:cubicBezTo>
                      <a:pt x="40" y="1184"/>
                      <a:pt x="40" y="1184"/>
                      <a:pt x="40" y="1184"/>
                    </a:cubicBezTo>
                    <a:cubicBezTo>
                      <a:pt x="18" y="1184"/>
                      <a:pt x="0" y="1166"/>
                      <a:pt x="0" y="1144"/>
                    </a:cubicBezTo>
                    <a:cubicBezTo>
                      <a:pt x="0" y="41"/>
                      <a:pt x="0" y="41"/>
                      <a:pt x="0" y="41"/>
                    </a:cubicBezTo>
                    <a:cubicBezTo>
                      <a:pt x="0" y="18"/>
                      <a:pt x="18" y="0"/>
                      <a:pt x="40" y="0"/>
                    </a:cubicBezTo>
                    <a:cubicBezTo>
                      <a:pt x="459" y="0"/>
                      <a:pt x="459" y="0"/>
                      <a:pt x="459" y="0"/>
                    </a:cubicBezTo>
                    <a:cubicBezTo>
                      <a:pt x="481" y="0"/>
                      <a:pt x="499" y="18"/>
                      <a:pt x="499" y="41"/>
                    </a:cubicBezTo>
                    <a:lnTo>
                      <a:pt x="499" y="1144"/>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110" name="Freeform 1352"/>
              <p:cNvSpPr>
                <a:spLocks/>
              </p:cNvSpPr>
              <p:nvPr/>
            </p:nvSpPr>
            <p:spPr bwMode="auto">
              <a:xfrm>
                <a:off x="14216063" y="3455988"/>
                <a:ext cx="485775" cy="114300"/>
              </a:xfrm>
              <a:custGeom>
                <a:avLst/>
                <a:gdLst>
                  <a:gd name="T0" fmla="*/ 396 w 396"/>
                  <a:gd name="T1" fmla="*/ 83 h 94"/>
                  <a:gd name="T2" fmla="*/ 385 w 396"/>
                  <a:gd name="T3" fmla="*/ 94 h 94"/>
                  <a:gd name="T4" fmla="*/ 12 w 396"/>
                  <a:gd name="T5" fmla="*/ 94 h 94"/>
                  <a:gd name="T6" fmla="*/ 0 w 396"/>
                  <a:gd name="T7" fmla="*/ 83 h 94"/>
                  <a:gd name="T8" fmla="*/ 0 w 396"/>
                  <a:gd name="T9" fmla="*/ 12 h 94"/>
                  <a:gd name="T10" fmla="*/ 12 w 396"/>
                  <a:gd name="T11" fmla="*/ 0 h 94"/>
                  <a:gd name="T12" fmla="*/ 385 w 396"/>
                  <a:gd name="T13" fmla="*/ 0 h 94"/>
                  <a:gd name="T14" fmla="*/ 396 w 396"/>
                  <a:gd name="T15" fmla="*/ 12 h 94"/>
                  <a:gd name="T16" fmla="*/ 396 w 396"/>
                  <a:gd name="T17" fmla="*/ 83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6" h="94">
                    <a:moveTo>
                      <a:pt x="396" y="83"/>
                    </a:moveTo>
                    <a:cubicBezTo>
                      <a:pt x="396" y="89"/>
                      <a:pt x="391" y="94"/>
                      <a:pt x="385" y="94"/>
                    </a:cubicBezTo>
                    <a:cubicBezTo>
                      <a:pt x="12" y="94"/>
                      <a:pt x="12" y="94"/>
                      <a:pt x="12" y="94"/>
                    </a:cubicBezTo>
                    <a:cubicBezTo>
                      <a:pt x="6" y="94"/>
                      <a:pt x="0" y="89"/>
                      <a:pt x="0" y="83"/>
                    </a:cubicBezTo>
                    <a:cubicBezTo>
                      <a:pt x="0" y="12"/>
                      <a:pt x="0" y="12"/>
                      <a:pt x="0" y="12"/>
                    </a:cubicBezTo>
                    <a:cubicBezTo>
                      <a:pt x="0" y="5"/>
                      <a:pt x="6" y="0"/>
                      <a:pt x="12" y="0"/>
                    </a:cubicBezTo>
                    <a:cubicBezTo>
                      <a:pt x="385" y="0"/>
                      <a:pt x="385" y="0"/>
                      <a:pt x="385" y="0"/>
                    </a:cubicBezTo>
                    <a:cubicBezTo>
                      <a:pt x="391" y="0"/>
                      <a:pt x="396" y="5"/>
                      <a:pt x="396" y="12"/>
                    </a:cubicBezTo>
                    <a:lnTo>
                      <a:pt x="396" y="83"/>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111" name="Oval 1353"/>
              <p:cNvSpPr>
                <a:spLocks noChangeArrowheads="1"/>
              </p:cNvSpPr>
              <p:nvPr/>
            </p:nvSpPr>
            <p:spPr bwMode="auto">
              <a:xfrm>
                <a:off x="14562138" y="3494088"/>
                <a:ext cx="38100" cy="3810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112" name="Freeform 1354"/>
              <p:cNvSpPr>
                <a:spLocks/>
              </p:cNvSpPr>
              <p:nvPr/>
            </p:nvSpPr>
            <p:spPr bwMode="auto">
              <a:xfrm>
                <a:off x="14216063" y="3622675"/>
                <a:ext cx="485775" cy="114300"/>
              </a:xfrm>
              <a:custGeom>
                <a:avLst/>
                <a:gdLst>
                  <a:gd name="T0" fmla="*/ 396 w 396"/>
                  <a:gd name="T1" fmla="*/ 83 h 94"/>
                  <a:gd name="T2" fmla="*/ 385 w 396"/>
                  <a:gd name="T3" fmla="*/ 94 h 94"/>
                  <a:gd name="T4" fmla="*/ 12 w 396"/>
                  <a:gd name="T5" fmla="*/ 94 h 94"/>
                  <a:gd name="T6" fmla="*/ 0 w 396"/>
                  <a:gd name="T7" fmla="*/ 83 h 94"/>
                  <a:gd name="T8" fmla="*/ 0 w 396"/>
                  <a:gd name="T9" fmla="*/ 12 h 94"/>
                  <a:gd name="T10" fmla="*/ 12 w 396"/>
                  <a:gd name="T11" fmla="*/ 0 h 94"/>
                  <a:gd name="T12" fmla="*/ 385 w 396"/>
                  <a:gd name="T13" fmla="*/ 0 h 94"/>
                  <a:gd name="T14" fmla="*/ 396 w 396"/>
                  <a:gd name="T15" fmla="*/ 12 h 94"/>
                  <a:gd name="T16" fmla="*/ 396 w 396"/>
                  <a:gd name="T17" fmla="*/ 83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6" h="94">
                    <a:moveTo>
                      <a:pt x="396" y="83"/>
                    </a:moveTo>
                    <a:cubicBezTo>
                      <a:pt x="396" y="89"/>
                      <a:pt x="391" y="94"/>
                      <a:pt x="385" y="94"/>
                    </a:cubicBezTo>
                    <a:cubicBezTo>
                      <a:pt x="12" y="94"/>
                      <a:pt x="12" y="94"/>
                      <a:pt x="12" y="94"/>
                    </a:cubicBezTo>
                    <a:cubicBezTo>
                      <a:pt x="6" y="94"/>
                      <a:pt x="0" y="89"/>
                      <a:pt x="0" y="83"/>
                    </a:cubicBezTo>
                    <a:cubicBezTo>
                      <a:pt x="0" y="12"/>
                      <a:pt x="0" y="12"/>
                      <a:pt x="0" y="12"/>
                    </a:cubicBezTo>
                    <a:cubicBezTo>
                      <a:pt x="0" y="5"/>
                      <a:pt x="6" y="0"/>
                      <a:pt x="12" y="0"/>
                    </a:cubicBezTo>
                    <a:cubicBezTo>
                      <a:pt x="385" y="0"/>
                      <a:pt x="385" y="0"/>
                      <a:pt x="385" y="0"/>
                    </a:cubicBezTo>
                    <a:cubicBezTo>
                      <a:pt x="391" y="0"/>
                      <a:pt x="396" y="5"/>
                      <a:pt x="396" y="12"/>
                    </a:cubicBezTo>
                    <a:lnTo>
                      <a:pt x="396" y="83"/>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113" name="Oval 1355"/>
              <p:cNvSpPr>
                <a:spLocks noChangeArrowheads="1"/>
              </p:cNvSpPr>
              <p:nvPr/>
            </p:nvSpPr>
            <p:spPr bwMode="auto">
              <a:xfrm>
                <a:off x="14562138" y="3662363"/>
                <a:ext cx="38100" cy="3651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114" name="Freeform 1356"/>
              <p:cNvSpPr>
                <a:spLocks/>
              </p:cNvSpPr>
              <p:nvPr/>
            </p:nvSpPr>
            <p:spPr bwMode="auto">
              <a:xfrm>
                <a:off x="14216063" y="3789363"/>
                <a:ext cx="485775" cy="114300"/>
              </a:xfrm>
              <a:custGeom>
                <a:avLst/>
                <a:gdLst>
                  <a:gd name="T0" fmla="*/ 396 w 396"/>
                  <a:gd name="T1" fmla="*/ 83 h 94"/>
                  <a:gd name="T2" fmla="*/ 385 w 396"/>
                  <a:gd name="T3" fmla="*/ 94 h 94"/>
                  <a:gd name="T4" fmla="*/ 12 w 396"/>
                  <a:gd name="T5" fmla="*/ 94 h 94"/>
                  <a:gd name="T6" fmla="*/ 0 w 396"/>
                  <a:gd name="T7" fmla="*/ 83 h 94"/>
                  <a:gd name="T8" fmla="*/ 0 w 396"/>
                  <a:gd name="T9" fmla="*/ 12 h 94"/>
                  <a:gd name="T10" fmla="*/ 12 w 396"/>
                  <a:gd name="T11" fmla="*/ 0 h 94"/>
                  <a:gd name="T12" fmla="*/ 385 w 396"/>
                  <a:gd name="T13" fmla="*/ 0 h 94"/>
                  <a:gd name="T14" fmla="*/ 396 w 396"/>
                  <a:gd name="T15" fmla="*/ 12 h 94"/>
                  <a:gd name="T16" fmla="*/ 396 w 396"/>
                  <a:gd name="T17" fmla="*/ 83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6" h="94">
                    <a:moveTo>
                      <a:pt x="396" y="83"/>
                    </a:moveTo>
                    <a:cubicBezTo>
                      <a:pt x="396" y="89"/>
                      <a:pt x="391" y="94"/>
                      <a:pt x="385" y="94"/>
                    </a:cubicBezTo>
                    <a:cubicBezTo>
                      <a:pt x="12" y="94"/>
                      <a:pt x="12" y="94"/>
                      <a:pt x="12" y="94"/>
                    </a:cubicBezTo>
                    <a:cubicBezTo>
                      <a:pt x="6" y="94"/>
                      <a:pt x="0" y="89"/>
                      <a:pt x="0" y="83"/>
                    </a:cubicBezTo>
                    <a:cubicBezTo>
                      <a:pt x="0" y="12"/>
                      <a:pt x="0" y="12"/>
                      <a:pt x="0" y="12"/>
                    </a:cubicBezTo>
                    <a:cubicBezTo>
                      <a:pt x="0" y="5"/>
                      <a:pt x="6" y="0"/>
                      <a:pt x="12" y="0"/>
                    </a:cubicBezTo>
                    <a:cubicBezTo>
                      <a:pt x="385" y="0"/>
                      <a:pt x="385" y="0"/>
                      <a:pt x="385" y="0"/>
                    </a:cubicBezTo>
                    <a:cubicBezTo>
                      <a:pt x="391" y="0"/>
                      <a:pt x="396" y="5"/>
                      <a:pt x="396" y="12"/>
                    </a:cubicBezTo>
                    <a:lnTo>
                      <a:pt x="396" y="83"/>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115" name="Oval 1357"/>
              <p:cNvSpPr>
                <a:spLocks noChangeArrowheads="1"/>
              </p:cNvSpPr>
              <p:nvPr/>
            </p:nvSpPr>
            <p:spPr bwMode="auto">
              <a:xfrm>
                <a:off x="14562138" y="3829050"/>
                <a:ext cx="38100" cy="3651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116" name="Freeform 1358"/>
              <p:cNvSpPr>
                <a:spLocks/>
              </p:cNvSpPr>
              <p:nvPr/>
            </p:nvSpPr>
            <p:spPr bwMode="auto">
              <a:xfrm>
                <a:off x="14216063" y="3956050"/>
                <a:ext cx="485775" cy="115888"/>
              </a:xfrm>
              <a:custGeom>
                <a:avLst/>
                <a:gdLst>
                  <a:gd name="T0" fmla="*/ 396 w 396"/>
                  <a:gd name="T1" fmla="*/ 83 h 94"/>
                  <a:gd name="T2" fmla="*/ 385 w 396"/>
                  <a:gd name="T3" fmla="*/ 94 h 94"/>
                  <a:gd name="T4" fmla="*/ 12 w 396"/>
                  <a:gd name="T5" fmla="*/ 94 h 94"/>
                  <a:gd name="T6" fmla="*/ 0 w 396"/>
                  <a:gd name="T7" fmla="*/ 83 h 94"/>
                  <a:gd name="T8" fmla="*/ 0 w 396"/>
                  <a:gd name="T9" fmla="*/ 12 h 94"/>
                  <a:gd name="T10" fmla="*/ 12 w 396"/>
                  <a:gd name="T11" fmla="*/ 0 h 94"/>
                  <a:gd name="T12" fmla="*/ 385 w 396"/>
                  <a:gd name="T13" fmla="*/ 0 h 94"/>
                  <a:gd name="T14" fmla="*/ 396 w 396"/>
                  <a:gd name="T15" fmla="*/ 12 h 94"/>
                  <a:gd name="T16" fmla="*/ 396 w 396"/>
                  <a:gd name="T17" fmla="*/ 83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6" h="94">
                    <a:moveTo>
                      <a:pt x="396" y="83"/>
                    </a:moveTo>
                    <a:cubicBezTo>
                      <a:pt x="396" y="89"/>
                      <a:pt x="391" y="94"/>
                      <a:pt x="385" y="94"/>
                    </a:cubicBezTo>
                    <a:cubicBezTo>
                      <a:pt x="12" y="94"/>
                      <a:pt x="12" y="94"/>
                      <a:pt x="12" y="94"/>
                    </a:cubicBezTo>
                    <a:cubicBezTo>
                      <a:pt x="6" y="94"/>
                      <a:pt x="0" y="89"/>
                      <a:pt x="0" y="83"/>
                    </a:cubicBezTo>
                    <a:cubicBezTo>
                      <a:pt x="0" y="12"/>
                      <a:pt x="0" y="12"/>
                      <a:pt x="0" y="12"/>
                    </a:cubicBezTo>
                    <a:cubicBezTo>
                      <a:pt x="0" y="5"/>
                      <a:pt x="6" y="0"/>
                      <a:pt x="12" y="0"/>
                    </a:cubicBezTo>
                    <a:cubicBezTo>
                      <a:pt x="385" y="0"/>
                      <a:pt x="385" y="0"/>
                      <a:pt x="385" y="0"/>
                    </a:cubicBezTo>
                    <a:cubicBezTo>
                      <a:pt x="391" y="0"/>
                      <a:pt x="396" y="5"/>
                      <a:pt x="396" y="12"/>
                    </a:cubicBezTo>
                    <a:lnTo>
                      <a:pt x="396" y="83"/>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117" name="Oval 1359"/>
              <p:cNvSpPr>
                <a:spLocks noChangeArrowheads="1"/>
              </p:cNvSpPr>
              <p:nvPr/>
            </p:nvSpPr>
            <p:spPr bwMode="auto">
              <a:xfrm>
                <a:off x="14562138" y="3995738"/>
                <a:ext cx="38100" cy="3651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118" name="Freeform 1360"/>
              <p:cNvSpPr>
                <a:spLocks/>
              </p:cNvSpPr>
              <p:nvPr/>
            </p:nvSpPr>
            <p:spPr bwMode="auto">
              <a:xfrm>
                <a:off x="14216063" y="4124325"/>
                <a:ext cx="485775" cy="114300"/>
              </a:xfrm>
              <a:custGeom>
                <a:avLst/>
                <a:gdLst>
                  <a:gd name="T0" fmla="*/ 396 w 396"/>
                  <a:gd name="T1" fmla="*/ 82 h 94"/>
                  <a:gd name="T2" fmla="*/ 385 w 396"/>
                  <a:gd name="T3" fmla="*/ 94 h 94"/>
                  <a:gd name="T4" fmla="*/ 12 w 396"/>
                  <a:gd name="T5" fmla="*/ 94 h 94"/>
                  <a:gd name="T6" fmla="*/ 0 w 396"/>
                  <a:gd name="T7" fmla="*/ 82 h 94"/>
                  <a:gd name="T8" fmla="*/ 0 w 396"/>
                  <a:gd name="T9" fmla="*/ 11 h 94"/>
                  <a:gd name="T10" fmla="*/ 12 w 396"/>
                  <a:gd name="T11" fmla="*/ 0 h 94"/>
                  <a:gd name="T12" fmla="*/ 385 w 396"/>
                  <a:gd name="T13" fmla="*/ 0 h 94"/>
                  <a:gd name="T14" fmla="*/ 396 w 396"/>
                  <a:gd name="T15" fmla="*/ 11 h 94"/>
                  <a:gd name="T16" fmla="*/ 396 w 396"/>
                  <a:gd name="T17" fmla="*/ 82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6" h="94">
                    <a:moveTo>
                      <a:pt x="396" y="82"/>
                    </a:moveTo>
                    <a:cubicBezTo>
                      <a:pt x="396" y="89"/>
                      <a:pt x="391" y="94"/>
                      <a:pt x="385" y="94"/>
                    </a:cubicBezTo>
                    <a:cubicBezTo>
                      <a:pt x="12" y="94"/>
                      <a:pt x="12" y="94"/>
                      <a:pt x="12" y="94"/>
                    </a:cubicBezTo>
                    <a:cubicBezTo>
                      <a:pt x="6" y="94"/>
                      <a:pt x="0" y="89"/>
                      <a:pt x="0" y="82"/>
                    </a:cubicBezTo>
                    <a:cubicBezTo>
                      <a:pt x="0" y="11"/>
                      <a:pt x="0" y="11"/>
                      <a:pt x="0" y="11"/>
                    </a:cubicBezTo>
                    <a:cubicBezTo>
                      <a:pt x="0" y="5"/>
                      <a:pt x="6" y="0"/>
                      <a:pt x="12" y="0"/>
                    </a:cubicBezTo>
                    <a:cubicBezTo>
                      <a:pt x="385" y="0"/>
                      <a:pt x="385" y="0"/>
                      <a:pt x="385" y="0"/>
                    </a:cubicBezTo>
                    <a:cubicBezTo>
                      <a:pt x="391" y="0"/>
                      <a:pt x="396" y="5"/>
                      <a:pt x="396" y="11"/>
                    </a:cubicBezTo>
                    <a:lnTo>
                      <a:pt x="396" y="82"/>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119" name="Oval 1361"/>
              <p:cNvSpPr>
                <a:spLocks noChangeArrowheads="1"/>
              </p:cNvSpPr>
              <p:nvPr/>
            </p:nvSpPr>
            <p:spPr bwMode="auto">
              <a:xfrm>
                <a:off x="14562138" y="4162425"/>
                <a:ext cx="38100" cy="3651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120" name="Freeform 1362"/>
              <p:cNvSpPr>
                <a:spLocks/>
              </p:cNvSpPr>
              <p:nvPr/>
            </p:nvSpPr>
            <p:spPr bwMode="auto">
              <a:xfrm>
                <a:off x="14216063" y="4291013"/>
                <a:ext cx="485775" cy="114300"/>
              </a:xfrm>
              <a:custGeom>
                <a:avLst/>
                <a:gdLst>
                  <a:gd name="T0" fmla="*/ 396 w 396"/>
                  <a:gd name="T1" fmla="*/ 82 h 94"/>
                  <a:gd name="T2" fmla="*/ 385 w 396"/>
                  <a:gd name="T3" fmla="*/ 94 h 94"/>
                  <a:gd name="T4" fmla="*/ 12 w 396"/>
                  <a:gd name="T5" fmla="*/ 94 h 94"/>
                  <a:gd name="T6" fmla="*/ 0 w 396"/>
                  <a:gd name="T7" fmla="*/ 82 h 94"/>
                  <a:gd name="T8" fmla="*/ 0 w 396"/>
                  <a:gd name="T9" fmla="*/ 11 h 94"/>
                  <a:gd name="T10" fmla="*/ 12 w 396"/>
                  <a:gd name="T11" fmla="*/ 0 h 94"/>
                  <a:gd name="T12" fmla="*/ 385 w 396"/>
                  <a:gd name="T13" fmla="*/ 0 h 94"/>
                  <a:gd name="T14" fmla="*/ 396 w 396"/>
                  <a:gd name="T15" fmla="*/ 11 h 94"/>
                  <a:gd name="T16" fmla="*/ 396 w 396"/>
                  <a:gd name="T17" fmla="*/ 82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6" h="94">
                    <a:moveTo>
                      <a:pt x="396" y="82"/>
                    </a:moveTo>
                    <a:cubicBezTo>
                      <a:pt x="396" y="89"/>
                      <a:pt x="391" y="94"/>
                      <a:pt x="385" y="94"/>
                    </a:cubicBezTo>
                    <a:cubicBezTo>
                      <a:pt x="12" y="94"/>
                      <a:pt x="12" y="94"/>
                      <a:pt x="12" y="94"/>
                    </a:cubicBezTo>
                    <a:cubicBezTo>
                      <a:pt x="6" y="94"/>
                      <a:pt x="0" y="89"/>
                      <a:pt x="0" y="82"/>
                    </a:cubicBezTo>
                    <a:cubicBezTo>
                      <a:pt x="0" y="11"/>
                      <a:pt x="0" y="11"/>
                      <a:pt x="0" y="11"/>
                    </a:cubicBezTo>
                    <a:cubicBezTo>
                      <a:pt x="0" y="5"/>
                      <a:pt x="6" y="0"/>
                      <a:pt x="12" y="0"/>
                    </a:cubicBezTo>
                    <a:cubicBezTo>
                      <a:pt x="385" y="0"/>
                      <a:pt x="385" y="0"/>
                      <a:pt x="385" y="0"/>
                    </a:cubicBezTo>
                    <a:cubicBezTo>
                      <a:pt x="391" y="0"/>
                      <a:pt x="396" y="5"/>
                      <a:pt x="396" y="11"/>
                    </a:cubicBezTo>
                    <a:lnTo>
                      <a:pt x="396" y="82"/>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121" name="Oval 1363"/>
              <p:cNvSpPr>
                <a:spLocks noChangeArrowheads="1"/>
              </p:cNvSpPr>
              <p:nvPr/>
            </p:nvSpPr>
            <p:spPr bwMode="auto">
              <a:xfrm>
                <a:off x="14562138" y="4329113"/>
                <a:ext cx="38100" cy="3651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122" name="Freeform 1364"/>
              <p:cNvSpPr>
                <a:spLocks/>
              </p:cNvSpPr>
              <p:nvPr/>
            </p:nvSpPr>
            <p:spPr bwMode="auto">
              <a:xfrm>
                <a:off x="14216063" y="4457700"/>
                <a:ext cx="485775" cy="114300"/>
              </a:xfrm>
              <a:custGeom>
                <a:avLst/>
                <a:gdLst>
                  <a:gd name="T0" fmla="*/ 396 w 396"/>
                  <a:gd name="T1" fmla="*/ 82 h 94"/>
                  <a:gd name="T2" fmla="*/ 385 w 396"/>
                  <a:gd name="T3" fmla="*/ 94 h 94"/>
                  <a:gd name="T4" fmla="*/ 12 w 396"/>
                  <a:gd name="T5" fmla="*/ 94 h 94"/>
                  <a:gd name="T6" fmla="*/ 0 w 396"/>
                  <a:gd name="T7" fmla="*/ 82 h 94"/>
                  <a:gd name="T8" fmla="*/ 0 w 396"/>
                  <a:gd name="T9" fmla="*/ 11 h 94"/>
                  <a:gd name="T10" fmla="*/ 12 w 396"/>
                  <a:gd name="T11" fmla="*/ 0 h 94"/>
                  <a:gd name="T12" fmla="*/ 385 w 396"/>
                  <a:gd name="T13" fmla="*/ 0 h 94"/>
                  <a:gd name="T14" fmla="*/ 396 w 396"/>
                  <a:gd name="T15" fmla="*/ 11 h 94"/>
                  <a:gd name="T16" fmla="*/ 396 w 396"/>
                  <a:gd name="T17" fmla="*/ 82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6" h="94">
                    <a:moveTo>
                      <a:pt x="396" y="82"/>
                    </a:moveTo>
                    <a:cubicBezTo>
                      <a:pt x="396" y="89"/>
                      <a:pt x="391" y="94"/>
                      <a:pt x="385" y="94"/>
                    </a:cubicBezTo>
                    <a:cubicBezTo>
                      <a:pt x="12" y="94"/>
                      <a:pt x="12" y="94"/>
                      <a:pt x="12" y="94"/>
                    </a:cubicBezTo>
                    <a:cubicBezTo>
                      <a:pt x="6" y="94"/>
                      <a:pt x="0" y="89"/>
                      <a:pt x="0" y="82"/>
                    </a:cubicBezTo>
                    <a:cubicBezTo>
                      <a:pt x="0" y="11"/>
                      <a:pt x="0" y="11"/>
                      <a:pt x="0" y="11"/>
                    </a:cubicBezTo>
                    <a:cubicBezTo>
                      <a:pt x="0" y="5"/>
                      <a:pt x="6" y="0"/>
                      <a:pt x="12" y="0"/>
                    </a:cubicBezTo>
                    <a:cubicBezTo>
                      <a:pt x="385" y="0"/>
                      <a:pt x="385" y="0"/>
                      <a:pt x="385" y="0"/>
                    </a:cubicBezTo>
                    <a:cubicBezTo>
                      <a:pt x="391" y="0"/>
                      <a:pt x="396" y="5"/>
                      <a:pt x="396" y="11"/>
                    </a:cubicBezTo>
                    <a:lnTo>
                      <a:pt x="396" y="82"/>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123" name="Oval 1365"/>
              <p:cNvSpPr>
                <a:spLocks noChangeArrowheads="1"/>
              </p:cNvSpPr>
              <p:nvPr/>
            </p:nvSpPr>
            <p:spPr bwMode="auto">
              <a:xfrm>
                <a:off x="14562138" y="4495800"/>
                <a:ext cx="38100" cy="3810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124" name="Freeform 1366"/>
              <p:cNvSpPr>
                <a:spLocks/>
              </p:cNvSpPr>
              <p:nvPr/>
            </p:nvSpPr>
            <p:spPr bwMode="auto">
              <a:xfrm>
                <a:off x="14216063" y="4624388"/>
                <a:ext cx="485775" cy="114300"/>
              </a:xfrm>
              <a:custGeom>
                <a:avLst/>
                <a:gdLst>
                  <a:gd name="T0" fmla="*/ 396 w 396"/>
                  <a:gd name="T1" fmla="*/ 82 h 94"/>
                  <a:gd name="T2" fmla="*/ 385 w 396"/>
                  <a:gd name="T3" fmla="*/ 94 h 94"/>
                  <a:gd name="T4" fmla="*/ 12 w 396"/>
                  <a:gd name="T5" fmla="*/ 94 h 94"/>
                  <a:gd name="T6" fmla="*/ 0 w 396"/>
                  <a:gd name="T7" fmla="*/ 82 h 94"/>
                  <a:gd name="T8" fmla="*/ 0 w 396"/>
                  <a:gd name="T9" fmla="*/ 11 h 94"/>
                  <a:gd name="T10" fmla="*/ 12 w 396"/>
                  <a:gd name="T11" fmla="*/ 0 h 94"/>
                  <a:gd name="T12" fmla="*/ 385 w 396"/>
                  <a:gd name="T13" fmla="*/ 0 h 94"/>
                  <a:gd name="T14" fmla="*/ 396 w 396"/>
                  <a:gd name="T15" fmla="*/ 11 h 94"/>
                  <a:gd name="T16" fmla="*/ 396 w 396"/>
                  <a:gd name="T17" fmla="*/ 82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6" h="94">
                    <a:moveTo>
                      <a:pt x="396" y="82"/>
                    </a:moveTo>
                    <a:cubicBezTo>
                      <a:pt x="396" y="89"/>
                      <a:pt x="391" y="94"/>
                      <a:pt x="385" y="94"/>
                    </a:cubicBezTo>
                    <a:cubicBezTo>
                      <a:pt x="12" y="94"/>
                      <a:pt x="12" y="94"/>
                      <a:pt x="12" y="94"/>
                    </a:cubicBezTo>
                    <a:cubicBezTo>
                      <a:pt x="6" y="94"/>
                      <a:pt x="0" y="89"/>
                      <a:pt x="0" y="82"/>
                    </a:cubicBezTo>
                    <a:cubicBezTo>
                      <a:pt x="0" y="11"/>
                      <a:pt x="0" y="11"/>
                      <a:pt x="0" y="11"/>
                    </a:cubicBezTo>
                    <a:cubicBezTo>
                      <a:pt x="0" y="5"/>
                      <a:pt x="6" y="0"/>
                      <a:pt x="12" y="0"/>
                    </a:cubicBezTo>
                    <a:cubicBezTo>
                      <a:pt x="385" y="0"/>
                      <a:pt x="385" y="0"/>
                      <a:pt x="385" y="0"/>
                    </a:cubicBezTo>
                    <a:cubicBezTo>
                      <a:pt x="391" y="0"/>
                      <a:pt x="396" y="5"/>
                      <a:pt x="396" y="11"/>
                    </a:cubicBezTo>
                    <a:lnTo>
                      <a:pt x="396" y="82"/>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125" name="Rectangle 1367"/>
              <p:cNvSpPr>
                <a:spLocks noChangeArrowheads="1"/>
              </p:cNvSpPr>
              <p:nvPr/>
            </p:nvSpPr>
            <p:spPr bwMode="auto">
              <a:xfrm>
                <a:off x="14250988" y="3479800"/>
                <a:ext cx="22225"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126" name="Rectangle 1368"/>
              <p:cNvSpPr>
                <a:spLocks noChangeArrowheads="1"/>
              </p:cNvSpPr>
              <p:nvPr/>
            </p:nvSpPr>
            <p:spPr bwMode="auto">
              <a:xfrm>
                <a:off x="14285913" y="3479800"/>
                <a:ext cx="23813"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127" name="Rectangle 1369"/>
              <p:cNvSpPr>
                <a:spLocks noChangeArrowheads="1"/>
              </p:cNvSpPr>
              <p:nvPr/>
            </p:nvSpPr>
            <p:spPr bwMode="auto">
              <a:xfrm>
                <a:off x="14320838" y="3479800"/>
                <a:ext cx="23813"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128" name="Rectangle 1370"/>
              <p:cNvSpPr>
                <a:spLocks noChangeArrowheads="1"/>
              </p:cNvSpPr>
              <p:nvPr/>
            </p:nvSpPr>
            <p:spPr bwMode="auto">
              <a:xfrm>
                <a:off x="14357351" y="3479800"/>
                <a:ext cx="22225"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129" name="Rectangle 1371"/>
              <p:cNvSpPr>
                <a:spLocks noChangeArrowheads="1"/>
              </p:cNvSpPr>
              <p:nvPr/>
            </p:nvSpPr>
            <p:spPr bwMode="auto">
              <a:xfrm>
                <a:off x="14393863" y="3479800"/>
                <a:ext cx="22225"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130" name="Rectangle 1372"/>
              <p:cNvSpPr>
                <a:spLocks noChangeArrowheads="1"/>
              </p:cNvSpPr>
              <p:nvPr/>
            </p:nvSpPr>
            <p:spPr bwMode="auto">
              <a:xfrm>
                <a:off x="14250988" y="3646488"/>
                <a:ext cx="22225" cy="68263"/>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131" name="Rectangle 1373"/>
              <p:cNvSpPr>
                <a:spLocks noChangeArrowheads="1"/>
              </p:cNvSpPr>
              <p:nvPr/>
            </p:nvSpPr>
            <p:spPr bwMode="auto">
              <a:xfrm>
                <a:off x="14285913" y="3646488"/>
                <a:ext cx="23813" cy="68263"/>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132" name="Rectangle 1374"/>
              <p:cNvSpPr>
                <a:spLocks noChangeArrowheads="1"/>
              </p:cNvSpPr>
              <p:nvPr/>
            </p:nvSpPr>
            <p:spPr bwMode="auto">
              <a:xfrm>
                <a:off x="14320838" y="3646488"/>
                <a:ext cx="23813" cy="68263"/>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133" name="Rectangle 1375"/>
              <p:cNvSpPr>
                <a:spLocks noChangeArrowheads="1"/>
              </p:cNvSpPr>
              <p:nvPr/>
            </p:nvSpPr>
            <p:spPr bwMode="auto">
              <a:xfrm>
                <a:off x="14357351" y="3646488"/>
                <a:ext cx="22225" cy="68263"/>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134" name="Rectangle 1376"/>
              <p:cNvSpPr>
                <a:spLocks noChangeArrowheads="1"/>
              </p:cNvSpPr>
              <p:nvPr/>
            </p:nvSpPr>
            <p:spPr bwMode="auto">
              <a:xfrm>
                <a:off x="14393863" y="3646488"/>
                <a:ext cx="22225" cy="68263"/>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135" name="Rectangle 1377"/>
              <p:cNvSpPr>
                <a:spLocks noChangeArrowheads="1"/>
              </p:cNvSpPr>
              <p:nvPr/>
            </p:nvSpPr>
            <p:spPr bwMode="auto">
              <a:xfrm>
                <a:off x="14250988" y="3814763"/>
                <a:ext cx="22225"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136" name="Rectangle 1378"/>
              <p:cNvSpPr>
                <a:spLocks noChangeArrowheads="1"/>
              </p:cNvSpPr>
              <p:nvPr/>
            </p:nvSpPr>
            <p:spPr bwMode="auto">
              <a:xfrm>
                <a:off x="14285913" y="3814763"/>
                <a:ext cx="23813"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137" name="Rectangle 1379"/>
              <p:cNvSpPr>
                <a:spLocks noChangeArrowheads="1"/>
              </p:cNvSpPr>
              <p:nvPr/>
            </p:nvSpPr>
            <p:spPr bwMode="auto">
              <a:xfrm>
                <a:off x="14320838" y="3814763"/>
                <a:ext cx="23813"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138" name="Rectangle 1380"/>
              <p:cNvSpPr>
                <a:spLocks noChangeArrowheads="1"/>
              </p:cNvSpPr>
              <p:nvPr/>
            </p:nvSpPr>
            <p:spPr bwMode="auto">
              <a:xfrm>
                <a:off x="14357351" y="3814763"/>
                <a:ext cx="22225"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139" name="Rectangle 1381"/>
              <p:cNvSpPr>
                <a:spLocks noChangeArrowheads="1"/>
              </p:cNvSpPr>
              <p:nvPr/>
            </p:nvSpPr>
            <p:spPr bwMode="auto">
              <a:xfrm>
                <a:off x="14393863" y="3814763"/>
                <a:ext cx="22225"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140" name="Rectangle 1382"/>
              <p:cNvSpPr>
                <a:spLocks noChangeArrowheads="1"/>
              </p:cNvSpPr>
              <p:nvPr/>
            </p:nvSpPr>
            <p:spPr bwMode="auto">
              <a:xfrm>
                <a:off x="14250988" y="3981450"/>
                <a:ext cx="22225" cy="6508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141" name="Rectangle 1383"/>
              <p:cNvSpPr>
                <a:spLocks noChangeArrowheads="1"/>
              </p:cNvSpPr>
              <p:nvPr/>
            </p:nvSpPr>
            <p:spPr bwMode="auto">
              <a:xfrm>
                <a:off x="14285913" y="3981450"/>
                <a:ext cx="23813" cy="6508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142" name="Rectangle 1384"/>
              <p:cNvSpPr>
                <a:spLocks noChangeArrowheads="1"/>
              </p:cNvSpPr>
              <p:nvPr/>
            </p:nvSpPr>
            <p:spPr bwMode="auto">
              <a:xfrm>
                <a:off x="14320838" y="3981450"/>
                <a:ext cx="23813" cy="6508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143" name="Rectangle 1385"/>
              <p:cNvSpPr>
                <a:spLocks noChangeArrowheads="1"/>
              </p:cNvSpPr>
              <p:nvPr/>
            </p:nvSpPr>
            <p:spPr bwMode="auto">
              <a:xfrm>
                <a:off x="14357351" y="3981450"/>
                <a:ext cx="22225" cy="6508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144" name="Rectangle 1386"/>
              <p:cNvSpPr>
                <a:spLocks noChangeArrowheads="1"/>
              </p:cNvSpPr>
              <p:nvPr/>
            </p:nvSpPr>
            <p:spPr bwMode="auto">
              <a:xfrm>
                <a:off x="14393863" y="3981450"/>
                <a:ext cx="22225" cy="6508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145" name="Rectangle 1387"/>
              <p:cNvSpPr>
                <a:spLocks noChangeArrowheads="1"/>
              </p:cNvSpPr>
              <p:nvPr/>
            </p:nvSpPr>
            <p:spPr bwMode="auto">
              <a:xfrm>
                <a:off x="14250988" y="4148138"/>
                <a:ext cx="22225" cy="6508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146" name="Rectangle 1388"/>
              <p:cNvSpPr>
                <a:spLocks noChangeArrowheads="1"/>
              </p:cNvSpPr>
              <p:nvPr/>
            </p:nvSpPr>
            <p:spPr bwMode="auto">
              <a:xfrm>
                <a:off x="14285913" y="4148138"/>
                <a:ext cx="23813" cy="6508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147" name="Rectangle 1389"/>
              <p:cNvSpPr>
                <a:spLocks noChangeArrowheads="1"/>
              </p:cNvSpPr>
              <p:nvPr/>
            </p:nvSpPr>
            <p:spPr bwMode="auto">
              <a:xfrm>
                <a:off x="14320838" y="4148138"/>
                <a:ext cx="23813" cy="6508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148" name="Rectangle 1390"/>
              <p:cNvSpPr>
                <a:spLocks noChangeArrowheads="1"/>
              </p:cNvSpPr>
              <p:nvPr/>
            </p:nvSpPr>
            <p:spPr bwMode="auto">
              <a:xfrm>
                <a:off x="14357351" y="4148138"/>
                <a:ext cx="22225" cy="6508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149" name="Rectangle 1391"/>
              <p:cNvSpPr>
                <a:spLocks noChangeArrowheads="1"/>
              </p:cNvSpPr>
              <p:nvPr/>
            </p:nvSpPr>
            <p:spPr bwMode="auto">
              <a:xfrm>
                <a:off x="14393863" y="4148138"/>
                <a:ext cx="22225" cy="6508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150" name="Rectangle 1392"/>
              <p:cNvSpPr>
                <a:spLocks noChangeArrowheads="1"/>
              </p:cNvSpPr>
              <p:nvPr/>
            </p:nvSpPr>
            <p:spPr bwMode="auto">
              <a:xfrm>
                <a:off x="14250988" y="4313238"/>
                <a:ext cx="22225" cy="68263"/>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151" name="Rectangle 1393"/>
              <p:cNvSpPr>
                <a:spLocks noChangeArrowheads="1"/>
              </p:cNvSpPr>
              <p:nvPr/>
            </p:nvSpPr>
            <p:spPr bwMode="auto">
              <a:xfrm>
                <a:off x="14285913" y="4313238"/>
                <a:ext cx="23813" cy="68263"/>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152" name="Rectangle 1394"/>
              <p:cNvSpPr>
                <a:spLocks noChangeArrowheads="1"/>
              </p:cNvSpPr>
              <p:nvPr/>
            </p:nvSpPr>
            <p:spPr bwMode="auto">
              <a:xfrm>
                <a:off x="14320838" y="4313238"/>
                <a:ext cx="23813" cy="68263"/>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153" name="Rectangle 1395"/>
              <p:cNvSpPr>
                <a:spLocks noChangeArrowheads="1"/>
              </p:cNvSpPr>
              <p:nvPr/>
            </p:nvSpPr>
            <p:spPr bwMode="auto">
              <a:xfrm>
                <a:off x="14357351" y="4313238"/>
                <a:ext cx="22225" cy="68263"/>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154" name="Rectangle 1396"/>
              <p:cNvSpPr>
                <a:spLocks noChangeArrowheads="1"/>
              </p:cNvSpPr>
              <p:nvPr/>
            </p:nvSpPr>
            <p:spPr bwMode="auto">
              <a:xfrm>
                <a:off x="14393863" y="4313238"/>
                <a:ext cx="22225" cy="68263"/>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155" name="Rectangle 1397"/>
              <p:cNvSpPr>
                <a:spLocks noChangeArrowheads="1"/>
              </p:cNvSpPr>
              <p:nvPr/>
            </p:nvSpPr>
            <p:spPr bwMode="auto">
              <a:xfrm>
                <a:off x="14250988" y="4481513"/>
                <a:ext cx="22225"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156" name="Rectangle 1398"/>
              <p:cNvSpPr>
                <a:spLocks noChangeArrowheads="1"/>
              </p:cNvSpPr>
              <p:nvPr/>
            </p:nvSpPr>
            <p:spPr bwMode="auto">
              <a:xfrm>
                <a:off x="14285913" y="4481513"/>
                <a:ext cx="23813"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157" name="Rectangle 1399"/>
              <p:cNvSpPr>
                <a:spLocks noChangeArrowheads="1"/>
              </p:cNvSpPr>
              <p:nvPr/>
            </p:nvSpPr>
            <p:spPr bwMode="auto">
              <a:xfrm>
                <a:off x="14320838" y="4481513"/>
                <a:ext cx="23813"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158" name="Rectangle 1400"/>
              <p:cNvSpPr>
                <a:spLocks noChangeArrowheads="1"/>
              </p:cNvSpPr>
              <p:nvPr/>
            </p:nvSpPr>
            <p:spPr bwMode="auto">
              <a:xfrm>
                <a:off x="14357351" y="4481513"/>
                <a:ext cx="22225"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159" name="Rectangle 1401"/>
              <p:cNvSpPr>
                <a:spLocks noChangeArrowheads="1"/>
              </p:cNvSpPr>
              <p:nvPr/>
            </p:nvSpPr>
            <p:spPr bwMode="auto">
              <a:xfrm>
                <a:off x="14393863" y="4481513"/>
                <a:ext cx="22225"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160" name="Rectangle 1402"/>
              <p:cNvSpPr>
                <a:spLocks noChangeArrowheads="1"/>
              </p:cNvSpPr>
              <p:nvPr/>
            </p:nvSpPr>
            <p:spPr bwMode="auto">
              <a:xfrm>
                <a:off x="14250988" y="4648200"/>
                <a:ext cx="22225"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161" name="Rectangle 1403"/>
              <p:cNvSpPr>
                <a:spLocks noChangeArrowheads="1"/>
              </p:cNvSpPr>
              <p:nvPr/>
            </p:nvSpPr>
            <p:spPr bwMode="auto">
              <a:xfrm>
                <a:off x="14285913" y="4648200"/>
                <a:ext cx="23813"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162" name="Rectangle 1404"/>
              <p:cNvSpPr>
                <a:spLocks noChangeArrowheads="1"/>
              </p:cNvSpPr>
              <p:nvPr/>
            </p:nvSpPr>
            <p:spPr bwMode="auto">
              <a:xfrm>
                <a:off x="14320838" y="4648200"/>
                <a:ext cx="23813"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163" name="Rectangle 1405"/>
              <p:cNvSpPr>
                <a:spLocks noChangeArrowheads="1"/>
              </p:cNvSpPr>
              <p:nvPr/>
            </p:nvSpPr>
            <p:spPr bwMode="auto">
              <a:xfrm>
                <a:off x="14357351" y="4648200"/>
                <a:ext cx="22225"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164" name="Rectangle 1406"/>
              <p:cNvSpPr>
                <a:spLocks noChangeArrowheads="1"/>
              </p:cNvSpPr>
              <p:nvPr/>
            </p:nvSpPr>
            <p:spPr bwMode="auto">
              <a:xfrm>
                <a:off x="14393863" y="4648200"/>
                <a:ext cx="22225"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165" name="Oval 1407"/>
              <p:cNvSpPr>
                <a:spLocks noChangeArrowheads="1"/>
              </p:cNvSpPr>
              <p:nvPr/>
            </p:nvSpPr>
            <p:spPr bwMode="auto">
              <a:xfrm>
                <a:off x="14562138" y="4664075"/>
                <a:ext cx="38100" cy="3651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166" name="Oval 1408"/>
              <p:cNvSpPr>
                <a:spLocks noChangeArrowheads="1"/>
              </p:cNvSpPr>
              <p:nvPr/>
            </p:nvSpPr>
            <p:spPr bwMode="auto">
              <a:xfrm>
                <a:off x="14630401" y="3494088"/>
                <a:ext cx="38100" cy="38100"/>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167" name="Oval 1409"/>
              <p:cNvSpPr>
                <a:spLocks noChangeArrowheads="1"/>
              </p:cNvSpPr>
              <p:nvPr/>
            </p:nvSpPr>
            <p:spPr bwMode="auto">
              <a:xfrm>
                <a:off x="14630401" y="3662363"/>
                <a:ext cx="38100" cy="36513"/>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168" name="Oval 1410"/>
              <p:cNvSpPr>
                <a:spLocks noChangeArrowheads="1"/>
              </p:cNvSpPr>
              <p:nvPr/>
            </p:nvSpPr>
            <p:spPr bwMode="auto">
              <a:xfrm>
                <a:off x="14630401" y="3829050"/>
                <a:ext cx="38100" cy="36513"/>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169" name="Oval 1411"/>
              <p:cNvSpPr>
                <a:spLocks noChangeArrowheads="1"/>
              </p:cNvSpPr>
              <p:nvPr/>
            </p:nvSpPr>
            <p:spPr bwMode="auto">
              <a:xfrm>
                <a:off x="14630401" y="3995738"/>
                <a:ext cx="38100" cy="36513"/>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170" name="Oval 1412"/>
              <p:cNvSpPr>
                <a:spLocks noChangeArrowheads="1"/>
              </p:cNvSpPr>
              <p:nvPr/>
            </p:nvSpPr>
            <p:spPr bwMode="auto">
              <a:xfrm>
                <a:off x="14630401" y="4162425"/>
                <a:ext cx="38100" cy="36513"/>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171" name="Oval 1413"/>
              <p:cNvSpPr>
                <a:spLocks noChangeArrowheads="1"/>
              </p:cNvSpPr>
              <p:nvPr/>
            </p:nvSpPr>
            <p:spPr bwMode="auto">
              <a:xfrm>
                <a:off x="14630401" y="4329113"/>
                <a:ext cx="38100" cy="36513"/>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172" name="Oval 1414"/>
              <p:cNvSpPr>
                <a:spLocks noChangeArrowheads="1"/>
              </p:cNvSpPr>
              <p:nvPr/>
            </p:nvSpPr>
            <p:spPr bwMode="auto">
              <a:xfrm>
                <a:off x="14630401" y="4495800"/>
                <a:ext cx="38100" cy="38100"/>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173" name="Oval 1415"/>
              <p:cNvSpPr>
                <a:spLocks noChangeArrowheads="1"/>
              </p:cNvSpPr>
              <p:nvPr/>
            </p:nvSpPr>
            <p:spPr bwMode="auto">
              <a:xfrm>
                <a:off x="14630401" y="4664075"/>
                <a:ext cx="38100" cy="36513"/>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grpSp>
          <p:nvGrpSpPr>
            <p:cNvPr id="1971" name="Group 1970"/>
            <p:cNvGrpSpPr/>
            <p:nvPr/>
          </p:nvGrpSpPr>
          <p:grpSpPr>
            <a:xfrm>
              <a:off x="8909076" y="3469989"/>
              <a:ext cx="1039650" cy="1882552"/>
              <a:chOff x="14160501" y="3376613"/>
              <a:chExt cx="796925" cy="1443038"/>
            </a:xfrm>
          </p:grpSpPr>
          <p:sp>
            <p:nvSpPr>
              <p:cNvPr id="2040" name="Freeform 1349"/>
              <p:cNvSpPr>
                <a:spLocks/>
              </p:cNvSpPr>
              <p:nvPr/>
            </p:nvSpPr>
            <p:spPr bwMode="auto">
              <a:xfrm>
                <a:off x="14682788" y="3376613"/>
                <a:ext cx="274638" cy="1443038"/>
              </a:xfrm>
              <a:custGeom>
                <a:avLst/>
                <a:gdLst>
                  <a:gd name="T0" fmla="*/ 184 w 224"/>
                  <a:gd name="T1" fmla="*/ 0 h 1184"/>
                  <a:gd name="T2" fmla="*/ 0 w 224"/>
                  <a:gd name="T3" fmla="*/ 0 h 1184"/>
                  <a:gd name="T4" fmla="*/ 40 w 224"/>
                  <a:gd name="T5" fmla="*/ 41 h 1184"/>
                  <a:gd name="T6" fmla="*/ 40 w 224"/>
                  <a:gd name="T7" fmla="*/ 1144 h 1184"/>
                  <a:gd name="T8" fmla="*/ 0 w 224"/>
                  <a:gd name="T9" fmla="*/ 1184 h 1184"/>
                  <a:gd name="T10" fmla="*/ 184 w 224"/>
                  <a:gd name="T11" fmla="*/ 1184 h 1184"/>
                  <a:gd name="T12" fmla="*/ 224 w 224"/>
                  <a:gd name="T13" fmla="*/ 1144 h 1184"/>
                  <a:gd name="T14" fmla="*/ 224 w 224"/>
                  <a:gd name="T15" fmla="*/ 41 h 1184"/>
                  <a:gd name="T16" fmla="*/ 184 w 224"/>
                  <a:gd name="T17" fmla="*/ 0 h 1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4" h="1184">
                    <a:moveTo>
                      <a:pt x="184" y="0"/>
                    </a:moveTo>
                    <a:cubicBezTo>
                      <a:pt x="0" y="0"/>
                      <a:pt x="0" y="0"/>
                      <a:pt x="0" y="0"/>
                    </a:cubicBezTo>
                    <a:cubicBezTo>
                      <a:pt x="22" y="0"/>
                      <a:pt x="40" y="18"/>
                      <a:pt x="40" y="41"/>
                    </a:cubicBezTo>
                    <a:cubicBezTo>
                      <a:pt x="40" y="1144"/>
                      <a:pt x="40" y="1144"/>
                      <a:pt x="40" y="1144"/>
                    </a:cubicBezTo>
                    <a:cubicBezTo>
                      <a:pt x="40" y="1166"/>
                      <a:pt x="22" y="1184"/>
                      <a:pt x="0" y="1184"/>
                    </a:cubicBezTo>
                    <a:cubicBezTo>
                      <a:pt x="184" y="1184"/>
                      <a:pt x="184" y="1184"/>
                      <a:pt x="184" y="1184"/>
                    </a:cubicBezTo>
                    <a:cubicBezTo>
                      <a:pt x="206" y="1184"/>
                      <a:pt x="224" y="1166"/>
                      <a:pt x="224" y="1144"/>
                    </a:cubicBezTo>
                    <a:cubicBezTo>
                      <a:pt x="224" y="41"/>
                      <a:pt x="224" y="41"/>
                      <a:pt x="224" y="41"/>
                    </a:cubicBezTo>
                    <a:cubicBezTo>
                      <a:pt x="224" y="18"/>
                      <a:pt x="206" y="0"/>
                      <a:pt x="184" y="0"/>
                    </a:cubicBez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041" name="Freeform 1350"/>
              <p:cNvSpPr>
                <a:spLocks/>
              </p:cNvSpPr>
              <p:nvPr/>
            </p:nvSpPr>
            <p:spPr bwMode="auto">
              <a:xfrm>
                <a:off x="14682788" y="3376613"/>
                <a:ext cx="274638" cy="1443038"/>
              </a:xfrm>
              <a:custGeom>
                <a:avLst/>
                <a:gdLst>
                  <a:gd name="T0" fmla="*/ 184 w 224"/>
                  <a:gd name="T1" fmla="*/ 0 h 1184"/>
                  <a:gd name="T2" fmla="*/ 0 w 224"/>
                  <a:gd name="T3" fmla="*/ 0 h 1184"/>
                  <a:gd name="T4" fmla="*/ 40 w 224"/>
                  <a:gd name="T5" fmla="*/ 41 h 1184"/>
                  <a:gd name="T6" fmla="*/ 40 w 224"/>
                  <a:gd name="T7" fmla="*/ 1144 h 1184"/>
                  <a:gd name="T8" fmla="*/ 0 w 224"/>
                  <a:gd name="T9" fmla="*/ 1184 h 1184"/>
                  <a:gd name="T10" fmla="*/ 184 w 224"/>
                  <a:gd name="T11" fmla="*/ 1184 h 1184"/>
                  <a:gd name="T12" fmla="*/ 224 w 224"/>
                  <a:gd name="T13" fmla="*/ 1144 h 1184"/>
                  <a:gd name="T14" fmla="*/ 224 w 224"/>
                  <a:gd name="T15" fmla="*/ 41 h 1184"/>
                  <a:gd name="T16" fmla="*/ 184 w 224"/>
                  <a:gd name="T17" fmla="*/ 0 h 1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4" h="1184">
                    <a:moveTo>
                      <a:pt x="184" y="0"/>
                    </a:moveTo>
                    <a:cubicBezTo>
                      <a:pt x="0" y="0"/>
                      <a:pt x="0" y="0"/>
                      <a:pt x="0" y="0"/>
                    </a:cubicBezTo>
                    <a:cubicBezTo>
                      <a:pt x="22" y="0"/>
                      <a:pt x="40" y="18"/>
                      <a:pt x="40" y="41"/>
                    </a:cubicBezTo>
                    <a:cubicBezTo>
                      <a:pt x="40" y="1144"/>
                      <a:pt x="40" y="1144"/>
                      <a:pt x="40" y="1144"/>
                    </a:cubicBezTo>
                    <a:cubicBezTo>
                      <a:pt x="40" y="1166"/>
                      <a:pt x="22" y="1184"/>
                      <a:pt x="0" y="1184"/>
                    </a:cubicBezTo>
                    <a:cubicBezTo>
                      <a:pt x="184" y="1184"/>
                      <a:pt x="184" y="1184"/>
                      <a:pt x="184" y="1184"/>
                    </a:cubicBezTo>
                    <a:cubicBezTo>
                      <a:pt x="206" y="1184"/>
                      <a:pt x="224" y="1166"/>
                      <a:pt x="224" y="1144"/>
                    </a:cubicBezTo>
                    <a:cubicBezTo>
                      <a:pt x="224" y="41"/>
                      <a:pt x="224" y="41"/>
                      <a:pt x="224" y="41"/>
                    </a:cubicBezTo>
                    <a:cubicBezTo>
                      <a:pt x="224" y="18"/>
                      <a:pt x="206" y="0"/>
                      <a:pt x="184" y="0"/>
                    </a:cubicBezTo>
                    <a:close/>
                  </a:path>
                </a:pathLst>
              </a:custGeom>
              <a:solidFill>
                <a:srgbClr val="003D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042" name="Freeform 1351"/>
              <p:cNvSpPr>
                <a:spLocks/>
              </p:cNvSpPr>
              <p:nvPr/>
            </p:nvSpPr>
            <p:spPr bwMode="auto">
              <a:xfrm>
                <a:off x="14160501" y="3376613"/>
                <a:ext cx="611188" cy="1443038"/>
              </a:xfrm>
              <a:custGeom>
                <a:avLst/>
                <a:gdLst>
                  <a:gd name="T0" fmla="*/ 499 w 499"/>
                  <a:gd name="T1" fmla="*/ 1144 h 1184"/>
                  <a:gd name="T2" fmla="*/ 459 w 499"/>
                  <a:gd name="T3" fmla="*/ 1184 h 1184"/>
                  <a:gd name="T4" fmla="*/ 40 w 499"/>
                  <a:gd name="T5" fmla="*/ 1184 h 1184"/>
                  <a:gd name="T6" fmla="*/ 0 w 499"/>
                  <a:gd name="T7" fmla="*/ 1144 h 1184"/>
                  <a:gd name="T8" fmla="*/ 0 w 499"/>
                  <a:gd name="T9" fmla="*/ 41 h 1184"/>
                  <a:gd name="T10" fmla="*/ 40 w 499"/>
                  <a:gd name="T11" fmla="*/ 0 h 1184"/>
                  <a:gd name="T12" fmla="*/ 459 w 499"/>
                  <a:gd name="T13" fmla="*/ 0 h 1184"/>
                  <a:gd name="T14" fmla="*/ 499 w 499"/>
                  <a:gd name="T15" fmla="*/ 41 h 1184"/>
                  <a:gd name="T16" fmla="*/ 499 w 499"/>
                  <a:gd name="T17" fmla="*/ 1144 h 1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9" h="1184">
                    <a:moveTo>
                      <a:pt x="499" y="1144"/>
                    </a:moveTo>
                    <a:cubicBezTo>
                      <a:pt x="499" y="1166"/>
                      <a:pt x="481" y="1184"/>
                      <a:pt x="459" y="1184"/>
                    </a:cubicBezTo>
                    <a:cubicBezTo>
                      <a:pt x="40" y="1184"/>
                      <a:pt x="40" y="1184"/>
                      <a:pt x="40" y="1184"/>
                    </a:cubicBezTo>
                    <a:cubicBezTo>
                      <a:pt x="18" y="1184"/>
                      <a:pt x="0" y="1166"/>
                      <a:pt x="0" y="1144"/>
                    </a:cubicBezTo>
                    <a:cubicBezTo>
                      <a:pt x="0" y="41"/>
                      <a:pt x="0" y="41"/>
                      <a:pt x="0" y="41"/>
                    </a:cubicBezTo>
                    <a:cubicBezTo>
                      <a:pt x="0" y="18"/>
                      <a:pt x="18" y="0"/>
                      <a:pt x="40" y="0"/>
                    </a:cubicBezTo>
                    <a:cubicBezTo>
                      <a:pt x="459" y="0"/>
                      <a:pt x="459" y="0"/>
                      <a:pt x="459" y="0"/>
                    </a:cubicBezTo>
                    <a:cubicBezTo>
                      <a:pt x="481" y="0"/>
                      <a:pt x="499" y="18"/>
                      <a:pt x="499" y="41"/>
                    </a:cubicBezTo>
                    <a:lnTo>
                      <a:pt x="499" y="1144"/>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043" name="Freeform 1352"/>
              <p:cNvSpPr>
                <a:spLocks/>
              </p:cNvSpPr>
              <p:nvPr/>
            </p:nvSpPr>
            <p:spPr bwMode="auto">
              <a:xfrm>
                <a:off x="14216063" y="3455988"/>
                <a:ext cx="485775" cy="114300"/>
              </a:xfrm>
              <a:custGeom>
                <a:avLst/>
                <a:gdLst>
                  <a:gd name="T0" fmla="*/ 396 w 396"/>
                  <a:gd name="T1" fmla="*/ 83 h 94"/>
                  <a:gd name="T2" fmla="*/ 385 w 396"/>
                  <a:gd name="T3" fmla="*/ 94 h 94"/>
                  <a:gd name="T4" fmla="*/ 12 w 396"/>
                  <a:gd name="T5" fmla="*/ 94 h 94"/>
                  <a:gd name="T6" fmla="*/ 0 w 396"/>
                  <a:gd name="T7" fmla="*/ 83 h 94"/>
                  <a:gd name="T8" fmla="*/ 0 w 396"/>
                  <a:gd name="T9" fmla="*/ 12 h 94"/>
                  <a:gd name="T10" fmla="*/ 12 w 396"/>
                  <a:gd name="T11" fmla="*/ 0 h 94"/>
                  <a:gd name="T12" fmla="*/ 385 w 396"/>
                  <a:gd name="T13" fmla="*/ 0 h 94"/>
                  <a:gd name="T14" fmla="*/ 396 w 396"/>
                  <a:gd name="T15" fmla="*/ 12 h 94"/>
                  <a:gd name="T16" fmla="*/ 396 w 396"/>
                  <a:gd name="T17" fmla="*/ 83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6" h="94">
                    <a:moveTo>
                      <a:pt x="396" y="83"/>
                    </a:moveTo>
                    <a:cubicBezTo>
                      <a:pt x="396" y="89"/>
                      <a:pt x="391" y="94"/>
                      <a:pt x="385" y="94"/>
                    </a:cubicBezTo>
                    <a:cubicBezTo>
                      <a:pt x="12" y="94"/>
                      <a:pt x="12" y="94"/>
                      <a:pt x="12" y="94"/>
                    </a:cubicBezTo>
                    <a:cubicBezTo>
                      <a:pt x="6" y="94"/>
                      <a:pt x="0" y="89"/>
                      <a:pt x="0" y="83"/>
                    </a:cubicBezTo>
                    <a:cubicBezTo>
                      <a:pt x="0" y="12"/>
                      <a:pt x="0" y="12"/>
                      <a:pt x="0" y="12"/>
                    </a:cubicBezTo>
                    <a:cubicBezTo>
                      <a:pt x="0" y="5"/>
                      <a:pt x="6" y="0"/>
                      <a:pt x="12" y="0"/>
                    </a:cubicBezTo>
                    <a:cubicBezTo>
                      <a:pt x="385" y="0"/>
                      <a:pt x="385" y="0"/>
                      <a:pt x="385" y="0"/>
                    </a:cubicBezTo>
                    <a:cubicBezTo>
                      <a:pt x="391" y="0"/>
                      <a:pt x="396" y="5"/>
                      <a:pt x="396" y="12"/>
                    </a:cubicBezTo>
                    <a:lnTo>
                      <a:pt x="396" y="83"/>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044" name="Oval 1353"/>
              <p:cNvSpPr>
                <a:spLocks noChangeArrowheads="1"/>
              </p:cNvSpPr>
              <p:nvPr/>
            </p:nvSpPr>
            <p:spPr bwMode="auto">
              <a:xfrm>
                <a:off x="14562138" y="3494088"/>
                <a:ext cx="38100" cy="3810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045" name="Freeform 1354"/>
              <p:cNvSpPr>
                <a:spLocks/>
              </p:cNvSpPr>
              <p:nvPr/>
            </p:nvSpPr>
            <p:spPr bwMode="auto">
              <a:xfrm>
                <a:off x="14216063" y="3622675"/>
                <a:ext cx="485775" cy="114300"/>
              </a:xfrm>
              <a:custGeom>
                <a:avLst/>
                <a:gdLst>
                  <a:gd name="T0" fmla="*/ 396 w 396"/>
                  <a:gd name="T1" fmla="*/ 83 h 94"/>
                  <a:gd name="T2" fmla="*/ 385 w 396"/>
                  <a:gd name="T3" fmla="*/ 94 h 94"/>
                  <a:gd name="T4" fmla="*/ 12 w 396"/>
                  <a:gd name="T5" fmla="*/ 94 h 94"/>
                  <a:gd name="T6" fmla="*/ 0 w 396"/>
                  <a:gd name="T7" fmla="*/ 83 h 94"/>
                  <a:gd name="T8" fmla="*/ 0 w 396"/>
                  <a:gd name="T9" fmla="*/ 12 h 94"/>
                  <a:gd name="T10" fmla="*/ 12 w 396"/>
                  <a:gd name="T11" fmla="*/ 0 h 94"/>
                  <a:gd name="T12" fmla="*/ 385 w 396"/>
                  <a:gd name="T13" fmla="*/ 0 h 94"/>
                  <a:gd name="T14" fmla="*/ 396 w 396"/>
                  <a:gd name="T15" fmla="*/ 12 h 94"/>
                  <a:gd name="T16" fmla="*/ 396 w 396"/>
                  <a:gd name="T17" fmla="*/ 83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6" h="94">
                    <a:moveTo>
                      <a:pt x="396" y="83"/>
                    </a:moveTo>
                    <a:cubicBezTo>
                      <a:pt x="396" y="89"/>
                      <a:pt x="391" y="94"/>
                      <a:pt x="385" y="94"/>
                    </a:cubicBezTo>
                    <a:cubicBezTo>
                      <a:pt x="12" y="94"/>
                      <a:pt x="12" y="94"/>
                      <a:pt x="12" y="94"/>
                    </a:cubicBezTo>
                    <a:cubicBezTo>
                      <a:pt x="6" y="94"/>
                      <a:pt x="0" y="89"/>
                      <a:pt x="0" y="83"/>
                    </a:cubicBezTo>
                    <a:cubicBezTo>
                      <a:pt x="0" y="12"/>
                      <a:pt x="0" y="12"/>
                      <a:pt x="0" y="12"/>
                    </a:cubicBezTo>
                    <a:cubicBezTo>
                      <a:pt x="0" y="5"/>
                      <a:pt x="6" y="0"/>
                      <a:pt x="12" y="0"/>
                    </a:cubicBezTo>
                    <a:cubicBezTo>
                      <a:pt x="385" y="0"/>
                      <a:pt x="385" y="0"/>
                      <a:pt x="385" y="0"/>
                    </a:cubicBezTo>
                    <a:cubicBezTo>
                      <a:pt x="391" y="0"/>
                      <a:pt x="396" y="5"/>
                      <a:pt x="396" y="12"/>
                    </a:cubicBezTo>
                    <a:lnTo>
                      <a:pt x="396" y="83"/>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046" name="Oval 1355"/>
              <p:cNvSpPr>
                <a:spLocks noChangeArrowheads="1"/>
              </p:cNvSpPr>
              <p:nvPr/>
            </p:nvSpPr>
            <p:spPr bwMode="auto">
              <a:xfrm>
                <a:off x="14562138" y="3662363"/>
                <a:ext cx="38100" cy="3651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047" name="Freeform 1356"/>
              <p:cNvSpPr>
                <a:spLocks/>
              </p:cNvSpPr>
              <p:nvPr/>
            </p:nvSpPr>
            <p:spPr bwMode="auto">
              <a:xfrm>
                <a:off x="14216063" y="3789363"/>
                <a:ext cx="485775" cy="114300"/>
              </a:xfrm>
              <a:custGeom>
                <a:avLst/>
                <a:gdLst>
                  <a:gd name="T0" fmla="*/ 396 w 396"/>
                  <a:gd name="T1" fmla="*/ 83 h 94"/>
                  <a:gd name="T2" fmla="*/ 385 w 396"/>
                  <a:gd name="T3" fmla="*/ 94 h 94"/>
                  <a:gd name="T4" fmla="*/ 12 w 396"/>
                  <a:gd name="T5" fmla="*/ 94 h 94"/>
                  <a:gd name="T6" fmla="*/ 0 w 396"/>
                  <a:gd name="T7" fmla="*/ 83 h 94"/>
                  <a:gd name="T8" fmla="*/ 0 w 396"/>
                  <a:gd name="T9" fmla="*/ 12 h 94"/>
                  <a:gd name="T10" fmla="*/ 12 w 396"/>
                  <a:gd name="T11" fmla="*/ 0 h 94"/>
                  <a:gd name="T12" fmla="*/ 385 w 396"/>
                  <a:gd name="T13" fmla="*/ 0 h 94"/>
                  <a:gd name="T14" fmla="*/ 396 w 396"/>
                  <a:gd name="T15" fmla="*/ 12 h 94"/>
                  <a:gd name="T16" fmla="*/ 396 w 396"/>
                  <a:gd name="T17" fmla="*/ 83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6" h="94">
                    <a:moveTo>
                      <a:pt x="396" y="83"/>
                    </a:moveTo>
                    <a:cubicBezTo>
                      <a:pt x="396" y="89"/>
                      <a:pt x="391" y="94"/>
                      <a:pt x="385" y="94"/>
                    </a:cubicBezTo>
                    <a:cubicBezTo>
                      <a:pt x="12" y="94"/>
                      <a:pt x="12" y="94"/>
                      <a:pt x="12" y="94"/>
                    </a:cubicBezTo>
                    <a:cubicBezTo>
                      <a:pt x="6" y="94"/>
                      <a:pt x="0" y="89"/>
                      <a:pt x="0" y="83"/>
                    </a:cubicBezTo>
                    <a:cubicBezTo>
                      <a:pt x="0" y="12"/>
                      <a:pt x="0" y="12"/>
                      <a:pt x="0" y="12"/>
                    </a:cubicBezTo>
                    <a:cubicBezTo>
                      <a:pt x="0" y="5"/>
                      <a:pt x="6" y="0"/>
                      <a:pt x="12" y="0"/>
                    </a:cubicBezTo>
                    <a:cubicBezTo>
                      <a:pt x="385" y="0"/>
                      <a:pt x="385" y="0"/>
                      <a:pt x="385" y="0"/>
                    </a:cubicBezTo>
                    <a:cubicBezTo>
                      <a:pt x="391" y="0"/>
                      <a:pt x="396" y="5"/>
                      <a:pt x="396" y="12"/>
                    </a:cubicBezTo>
                    <a:lnTo>
                      <a:pt x="396" y="83"/>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048" name="Oval 1357"/>
              <p:cNvSpPr>
                <a:spLocks noChangeArrowheads="1"/>
              </p:cNvSpPr>
              <p:nvPr/>
            </p:nvSpPr>
            <p:spPr bwMode="auto">
              <a:xfrm>
                <a:off x="14562138" y="3829050"/>
                <a:ext cx="38100" cy="3651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049" name="Freeform 1358"/>
              <p:cNvSpPr>
                <a:spLocks/>
              </p:cNvSpPr>
              <p:nvPr/>
            </p:nvSpPr>
            <p:spPr bwMode="auto">
              <a:xfrm>
                <a:off x="14216063" y="3956050"/>
                <a:ext cx="485775" cy="115888"/>
              </a:xfrm>
              <a:custGeom>
                <a:avLst/>
                <a:gdLst>
                  <a:gd name="T0" fmla="*/ 396 w 396"/>
                  <a:gd name="T1" fmla="*/ 83 h 94"/>
                  <a:gd name="T2" fmla="*/ 385 w 396"/>
                  <a:gd name="T3" fmla="*/ 94 h 94"/>
                  <a:gd name="T4" fmla="*/ 12 w 396"/>
                  <a:gd name="T5" fmla="*/ 94 h 94"/>
                  <a:gd name="T6" fmla="*/ 0 w 396"/>
                  <a:gd name="T7" fmla="*/ 83 h 94"/>
                  <a:gd name="T8" fmla="*/ 0 w 396"/>
                  <a:gd name="T9" fmla="*/ 12 h 94"/>
                  <a:gd name="T10" fmla="*/ 12 w 396"/>
                  <a:gd name="T11" fmla="*/ 0 h 94"/>
                  <a:gd name="T12" fmla="*/ 385 w 396"/>
                  <a:gd name="T13" fmla="*/ 0 h 94"/>
                  <a:gd name="T14" fmla="*/ 396 w 396"/>
                  <a:gd name="T15" fmla="*/ 12 h 94"/>
                  <a:gd name="T16" fmla="*/ 396 w 396"/>
                  <a:gd name="T17" fmla="*/ 83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6" h="94">
                    <a:moveTo>
                      <a:pt x="396" y="83"/>
                    </a:moveTo>
                    <a:cubicBezTo>
                      <a:pt x="396" y="89"/>
                      <a:pt x="391" y="94"/>
                      <a:pt x="385" y="94"/>
                    </a:cubicBezTo>
                    <a:cubicBezTo>
                      <a:pt x="12" y="94"/>
                      <a:pt x="12" y="94"/>
                      <a:pt x="12" y="94"/>
                    </a:cubicBezTo>
                    <a:cubicBezTo>
                      <a:pt x="6" y="94"/>
                      <a:pt x="0" y="89"/>
                      <a:pt x="0" y="83"/>
                    </a:cubicBezTo>
                    <a:cubicBezTo>
                      <a:pt x="0" y="12"/>
                      <a:pt x="0" y="12"/>
                      <a:pt x="0" y="12"/>
                    </a:cubicBezTo>
                    <a:cubicBezTo>
                      <a:pt x="0" y="5"/>
                      <a:pt x="6" y="0"/>
                      <a:pt x="12" y="0"/>
                    </a:cubicBezTo>
                    <a:cubicBezTo>
                      <a:pt x="385" y="0"/>
                      <a:pt x="385" y="0"/>
                      <a:pt x="385" y="0"/>
                    </a:cubicBezTo>
                    <a:cubicBezTo>
                      <a:pt x="391" y="0"/>
                      <a:pt x="396" y="5"/>
                      <a:pt x="396" y="12"/>
                    </a:cubicBezTo>
                    <a:lnTo>
                      <a:pt x="396" y="83"/>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050" name="Oval 1359"/>
              <p:cNvSpPr>
                <a:spLocks noChangeArrowheads="1"/>
              </p:cNvSpPr>
              <p:nvPr/>
            </p:nvSpPr>
            <p:spPr bwMode="auto">
              <a:xfrm>
                <a:off x="14562138" y="3995738"/>
                <a:ext cx="38100" cy="3651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051" name="Freeform 1360"/>
              <p:cNvSpPr>
                <a:spLocks/>
              </p:cNvSpPr>
              <p:nvPr/>
            </p:nvSpPr>
            <p:spPr bwMode="auto">
              <a:xfrm>
                <a:off x="14216063" y="4124325"/>
                <a:ext cx="485775" cy="114300"/>
              </a:xfrm>
              <a:custGeom>
                <a:avLst/>
                <a:gdLst>
                  <a:gd name="T0" fmla="*/ 396 w 396"/>
                  <a:gd name="T1" fmla="*/ 82 h 94"/>
                  <a:gd name="T2" fmla="*/ 385 w 396"/>
                  <a:gd name="T3" fmla="*/ 94 h 94"/>
                  <a:gd name="T4" fmla="*/ 12 w 396"/>
                  <a:gd name="T5" fmla="*/ 94 h 94"/>
                  <a:gd name="T6" fmla="*/ 0 w 396"/>
                  <a:gd name="T7" fmla="*/ 82 h 94"/>
                  <a:gd name="T8" fmla="*/ 0 w 396"/>
                  <a:gd name="T9" fmla="*/ 11 h 94"/>
                  <a:gd name="T10" fmla="*/ 12 w 396"/>
                  <a:gd name="T11" fmla="*/ 0 h 94"/>
                  <a:gd name="T12" fmla="*/ 385 w 396"/>
                  <a:gd name="T13" fmla="*/ 0 h 94"/>
                  <a:gd name="T14" fmla="*/ 396 w 396"/>
                  <a:gd name="T15" fmla="*/ 11 h 94"/>
                  <a:gd name="T16" fmla="*/ 396 w 396"/>
                  <a:gd name="T17" fmla="*/ 82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6" h="94">
                    <a:moveTo>
                      <a:pt x="396" y="82"/>
                    </a:moveTo>
                    <a:cubicBezTo>
                      <a:pt x="396" y="89"/>
                      <a:pt x="391" y="94"/>
                      <a:pt x="385" y="94"/>
                    </a:cubicBezTo>
                    <a:cubicBezTo>
                      <a:pt x="12" y="94"/>
                      <a:pt x="12" y="94"/>
                      <a:pt x="12" y="94"/>
                    </a:cubicBezTo>
                    <a:cubicBezTo>
                      <a:pt x="6" y="94"/>
                      <a:pt x="0" y="89"/>
                      <a:pt x="0" y="82"/>
                    </a:cubicBezTo>
                    <a:cubicBezTo>
                      <a:pt x="0" y="11"/>
                      <a:pt x="0" y="11"/>
                      <a:pt x="0" y="11"/>
                    </a:cubicBezTo>
                    <a:cubicBezTo>
                      <a:pt x="0" y="5"/>
                      <a:pt x="6" y="0"/>
                      <a:pt x="12" y="0"/>
                    </a:cubicBezTo>
                    <a:cubicBezTo>
                      <a:pt x="385" y="0"/>
                      <a:pt x="385" y="0"/>
                      <a:pt x="385" y="0"/>
                    </a:cubicBezTo>
                    <a:cubicBezTo>
                      <a:pt x="391" y="0"/>
                      <a:pt x="396" y="5"/>
                      <a:pt x="396" y="11"/>
                    </a:cubicBezTo>
                    <a:lnTo>
                      <a:pt x="396" y="82"/>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052" name="Oval 1361"/>
              <p:cNvSpPr>
                <a:spLocks noChangeArrowheads="1"/>
              </p:cNvSpPr>
              <p:nvPr/>
            </p:nvSpPr>
            <p:spPr bwMode="auto">
              <a:xfrm>
                <a:off x="14562138" y="4162425"/>
                <a:ext cx="38100" cy="3651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053" name="Freeform 1362"/>
              <p:cNvSpPr>
                <a:spLocks/>
              </p:cNvSpPr>
              <p:nvPr/>
            </p:nvSpPr>
            <p:spPr bwMode="auto">
              <a:xfrm>
                <a:off x="14216063" y="4291013"/>
                <a:ext cx="485775" cy="114300"/>
              </a:xfrm>
              <a:custGeom>
                <a:avLst/>
                <a:gdLst>
                  <a:gd name="T0" fmla="*/ 396 w 396"/>
                  <a:gd name="T1" fmla="*/ 82 h 94"/>
                  <a:gd name="T2" fmla="*/ 385 w 396"/>
                  <a:gd name="T3" fmla="*/ 94 h 94"/>
                  <a:gd name="T4" fmla="*/ 12 w 396"/>
                  <a:gd name="T5" fmla="*/ 94 h 94"/>
                  <a:gd name="T6" fmla="*/ 0 w 396"/>
                  <a:gd name="T7" fmla="*/ 82 h 94"/>
                  <a:gd name="T8" fmla="*/ 0 w 396"/>
                  <a:gd name="T9" fmla="*/ 11 h 94"/>
                  <a:gd name="T10" fmla="*/ 12 w 396"/>
                  <a:gd name="T11" fmla="*/ 0 h 94"/>
                  <a:gd name="T12" fmla="*/ 385 w 396"/>
                  <a:gd name="T13" fmla="*/ 0 h 94"/>
                  <a:gd name="T14" fmla="*/ 396 w 396"/>
                  <a:gd name="T15" fmla="*/ 11 h 94"/>
                  <a:gd name="T16" fmla="*/ 396 w 396"/>
                  <a:gd name="T17" fmla="*/ 82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6" h="94">
                    <a:moveTo>
                      <a:pt x="396" y="82"/>
                    </a:moveTo>
                    <a:cubicBezTo>
                      <a:pt x="396" y="89"/>
                      <a:pt x="391" y="94"/>
                      <a:pt x="385" y="94"/>
                    </a:cubicBezTo>
                    <a:cubicBezTo>
                      <a:pt x="12" y="94"/>
                      <a:pt x="12" y="94"/>
                      <a:pt x="12" y="94"/>
                    </a:cubicBezTo>
                    <a:cubicBezTo>
                      <a:pt x="6" y="94"/>
                      <a:pt x="0" y="89"/>
                      <a:pt x="0" y="82"/>
                    </a:cubicBezTo>
                    <a:cubicBezTo>
                      <a:pt x="0" y="11"/>
                      <a:pt x="0" y="11"/>
                      <a:pt x="0" y="11"/>
                    </a:cubicBezTo>
                    <a:cubicBezTo>
                      <a:pt x="0" y="5"/>
                      <a:pt x="6" y="0"/>
                      <a:pt x="12" y="0"/>
                    </a:cubicBezTo>
                    <a:cubicBezTo>
                      <a:pt x="385" y="0"/>
                      <a:pt x="385" y="0"/>
                      <a:pt x="385" y="0"/>
                    </a:cubicBezTo>
                    <a:cubicBezTo>
                      <a:pt x="391" y="0"/>
                      <a:pt x="396" y="5"/>
                      <a:pt x="396" y="11"/>
                    </a:cubicBezTo>
                    <a:lnTo>
                      <a:pt x="396" y="82"/>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054" name="Oval 1363"/>
              <p:cNvSpPr>
                <a:spLocks noChangeArrowheads="1"/>
              </p:cNvSpPr>
              <p:nvPr/>
            </p:nvSpPr>
            <p:spPr bwMode="auto">
              <a:xfrm>
                <a:off x="14562138" y="4329113"/>
                <a:ext cx="38100" cy="3651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055" name="Freeform 1364"/>
              <p:cNvSpPr>
                <a:spLocks/>
              </p:cNvSpPr>
              <p:nvPr/>
            </p:nvSpPr>
            <p:spPr bwMode="auto">
              <a:xfrm>
                <a:off x="14216063" y="4457700"/>
                <a:ext cx="485775" cy="114300"/>
              </a:xfrm>
              <a:custGeom>
                <a:avLst/>
                <a:gdLst>
                  <a:gd name="T0" fmla="*/ 396 w 396"/>
                  <a:gd name="T1" fmla="*/ 82 h 94"/>
                  <a:gd name="T2" fmla="*/ 385 w 396"/>
                  <a:gd name="T3" fmla="*/ 94 h 94"/>
                  <a:gd name="T4" fmla="*/ 12 w 396"/>
                  <a:gd name="T5" fmla="*/ 94 h 94"/>
                  <a:gd name="T6" fmla="*/ 0 w 396"/>
                  <a:gd name="T7" fmla="*/ 82 h 94"/>
                  <a:gd name="T8" fmla="*/ 0 w 396"/>
                  <a:gd name="T9" fmla="*/ 11 h 94"/>
                  <a:gd name="T10" fmla="*/ 12 w 396"/>
                  <a:gd name="T11" fmla="*/ 0 h 94"/>
                  <a:gd name="T12" fmla="*/ 385 w 396"/>
                  <a:gd name="T13" fmla="*/ 0 h 94"/>
                  <a:gd name="T14" fmla="*/ 396 w 396"/>
                  <a:gd name="T15" fmla="*/ 11 h 94"/>
                  <a:gd name="T16" fmla="*/ 396 w 396"/>
                  <a:gd name="T17" fmla="*/ 82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6" h="94">
                    <a:moveTo>
                      <a:pt x="396" y="82"/>
                    </a:moveTo>
                    <a:cubicBezTo>
                      <a:pt x="396" y="89"/>
                      <a:pt x="391" y="94"/>
                      <a:pt x="385" y="94"/>
                    </a:cubicBezTo>
                    <a:cubicBezTo>
                      <a:pt x="12" y="94"/>
                      <a:pt x="12" y="94"/>
                      <a:pt x="12" y="94"/>
                    </a:cubicBezTo>
                    <a:cubicBezTo>
                      <a:pt x="6" y="94"/>
                      <a:pt x="0" y="89"/>
                      <a:pt x="0" y="82"/>
                    </a:cubicBezTo>
                    <a:cubicBezTo>
                      <a:pt x="0" y="11"/>
                      <a:pt x="0" y="11"/>
                      <a:pt x="0" y="11"/>
                    </a:cubicBezTo>
                    <a:cubicBezTo>
                      <a:pt x="0" y="5"/>
                      <a:pt x="6" y="0"/>
                      <a:pt x="12" y="0"/>
                    </a:cubicBezTo>
                    <a:cubicBezTo>
                      <a:pt x="385" y="0"/>
                      <a:pt x="385" y="0"/>
                      <a:pt x="385" y="0"/>
                    </a:cubicBezTo>
                    <a:cubicBezTo>
                      <a:pt x="391" y="0"/>
                      <a:pt x="396" y="5"/>
                      <a:pt x="396" y="11"/>
                    </a:cubicBezTo>
                    <a:lnTo>
                      <a:pt x="396" y="82"/>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056" name="Oval 1365"/>
              <p:cNvSpPr>
                <a:spLocks noChangeArrowheads="1"/>
              </p:cNvSpPr>
              <p:nvPr/>
            </p:nvSpPr>
            <p:spPr bwMode="auto">
              <a:xfrm>
                <a:off x="14562138" y="4495800"/>
                <a:ext cx="38100" cy="3810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057" name="Freeform 1366"/>
              <p:cNvSpPr>
                <a:spLocks/>
              </p:cNvSpPr>
              <p:nvPr/>
            </p:nvSpPr>
            <p:spPr bwMode="auto">
              <a:xfrm>
                <a:off x="14216063" y="4624388"/>
                <a:ext cx="485775" cy="114300"/>
              </a:xfrm>
              <a:custGeom>
                <a:avLst/>
                <a:gdLst>
                  <a:gd name="T0" fmla="*/ 396 w 396"/>
                  <a:gd name="T1" fmla="*/ 82 h 94"/>
                  <a:gd name="T2" fmla="*/ 385 w 396"/>
                  <a:gd name="T3" fmla="*/ 94 h 94"/>
                  <a:gd name="T4" fmla="*/ 12 w 396"/>
                  <a:gd name="T5" fmla="*/ 94 h 94"/>
                  <a:gd name="T6" fmla="*/ 0 w 396"/>
                  <a:gd name="T7" fmla="*/ 82 h 94"/>
                  <a:gd name="T8" fmla="*/ 0 w 396"/>
                  <a:gd name="T9" fmla="*/ 11 h 94"/>
                  <a:gd name="T10" fmla="*/ 12 w 396"/>
                  <a:gd name="T11" fmla="*/ 0 h 94"/>
                  <a:gd name="T12" fmla="*/ 385 w 396"/>
                  <a:gd name="T13" fmla="*/ 0 h 94"/>
                  <a:gd name="T14" fmla="*/ 396 w 396"/>
                  <a:gd name="T15" fmla="*/ 11 h 94"/>
                  <a:gd name="T16" fmla="*/ 396 w 396"/>
                  <a:gd name="T17" fmla="*/ 82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6" h="94">
                    <a:moveTo>
                      <a:pt x="396" y="82"/>
                    </a:moveTo>
                    <a:cubicBezTo>
                      <a:pt x="396" y="89"/>
                      <a:pt x="391" y="94"/>
                      <a:pt x="385" y="94"/>
                    </a:cubicBezTo>
                    <a:cubicBezTo>
                      <a:pt x="12" y="94"/>
                      <a:pt x="12" y="94"/>
                      <a:pt x="12" y="94"/>
                    </a:cubicBezTo>
                    <a:cubicBezTo>
                      <a:pt x="6" y="94"/>
                      <a:pt x="0" y="89"/>
                      <a:pt x="0" y="82"/>
                    </a:cubicBezTo>
                    <a:cubicBezTo>
                      <a:pt x="0" y="11"/>
                      <a:pt x="0" y="11"/>
                      <a:pt x="0" y="11"/>
                    </a:cubicBezTo>
                    <a:cubicBezTo>
                      <a:pt x="0" y="5"/>
                      <a:pt x="6" y="0"/>
                      <a:pt x="12" y="0"/>
                    </a:cubicBezTo>
                    <a:cubicBezTo>
                      <a:pt x="385" y="0"/>
                      <a:pt x="385" y="0"/>
                      <a:pt x="385" y="0"/>
                    </a:cubicBezTo>
                    <a:cubicBezTo>
                      <a:pt x="391" y="0"/>
                      <a:pt x="396" y="5"/>
                      <a:pt x="396" y="11"/>
                    </a:cubicBezTo>
                    <a:lnTo>
                      <a:pt x="396" y="82"/>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058" name="Rectangle 1367"/>
              <p:cNvSpPr>
                <a:spLocks noChangeArrowheads="1"/>
              </p:cNvSpPr>
              <p:nvPr/>
            </p:nvSpPr>
            <p:spPr bwMode="auto">
              <a:xfrm>
                <a:off x="14250988" y="3479800"/>
                <a:ext cx="22225"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059" name="Rectangle 1368"/>
              <p:cNvSpPr>
                <a:spLocks noChangeArrowheads="1"/>
              </p:cNvSpPr>
              <p:nvPr/>
            </p:nvSpPr>
            <p:spPr bwMode="auto">
              <a:xfrm>
                <a:off x="14285913" y="3479800"/>
                <a:ext cx="23813"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060" name="Rectangle 1369"/>
              <p:cNvSpPr>
                <a:spLocks noChangeArrowheads="1"/>
              </p:cNvSpPr>
              <p:nvPr/>
            </p:nvSpPr>
            <p:spPr bwMode="auto">
              <a:xfrm>
                <a:off x="14320838" y="3479800"/>
                <a:ext cx="23813"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061" name="Rectangle 1370"/>
              <p:cNvSpPr>
                <a:spLocks noChangeArrowheads="1"/>
              </p:cNvSpPr>
              <p:nvPr/>
            </p:nvSpPr>
            <p:spPr bwMode="auto">
              <a:xfrm>
                <a:off x="14357351" y="3479800"/>
                <a:ext cx="22225"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062" name="Rectangle 1371"/>
              <p:cNvSpPr>
                <a:spLocks noChangeArrowheads="1"/>
              </p:cNvSpPr>
              <p:nvPr/>
            </p:nvSpPr>
            <p:spPr bwMode="auto">
              <a:xfrm>
                <a:off x="14393863" y="3479800"/>
                <a:ext cx="22225"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063" name="Rectangle 1372"/>
              <p:cNvSpPr>
                <a:spLocks noChangeArrowheads="1"/>
              </p:cNvSpPr>
              <p:nvPr/>
            </p:nvSpPr>
            <p:spPr bwMode="auto">
              <a:xfrm>
                <a:off x="14250988" y="3646488"/>
                <a:ext cx="22225" cy="68263"/>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064" name="Rectangle 1373"/>
              <p:cNvSpPr>
                <a:spLocks noChangeArrowheads="1"/>
              </p:cNvSpPr>
              <p:nvPr/>
            </p:nvSpPr>
            <p:spPr bwMode="auto">
              <a:xfrm>
                <a:off x="14285913" y="3646488"/>
                <a:ext cx="23813" cy="68263"/>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065" name="Rectangle 1374"/>
              <p:cNvSpPr>
                <a:spLocks noChangeArrowheads="1"/>
              </p:cNvSpPr>
              <p:nvPr/>
            </p:nvSpPr>
            <p:spPr bwMode="auto">
              <a:xfrm>
                <a:off x="14320838" y="3646488"/>
                <a:ext cx="23813" cy="68263"/>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066" name="Rectangle 1375"/>
              <p:cNvSpPr>
                <a:spLocks noChangeArrowheads="1"/>
              </p:cNvSpPr>
              <p:nvPr/>
            </p:nvSpPr>
            <p:spPr bwMode="auto">
              <a:xfrm>
                <a:off x="14357351" y="3646488"/>
                <a:ext cx="22225" cy="68263"/>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067" name="Rectangle 1376"/>
              <p:cNvSpPr>
                <a:spLocks noChangeArrowheads="1"/>
              </p:cNvSpPr>
              <p:nvPr/>
            </p:nvSpPr>
            <p:spPr bwMode="auto">
              <a:xfrm>
                <a:off x="14393863" y="3646488"/>
                <a:ext cx="22225" cy="68263"/>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068" name="Rectangle 1377"/>
              <p:cNvSpPr>
                <a:spLocks noChangeArrowheads="1"/>
              </p:cNvSpPr>
              <p:nvPr/>
            </p:nvSpPr>
            <p:spPr bwMode="auto">
              <a:xfrm>
                <a:off x="14250988" y="3814763"/>
                <a:ext cx="22225"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069" name="Rectangle 1378"/>
              <p:cNvSpPr>
                <a:spLocks noChangeArrowheads="1"/>
              </p:cNvSpPr>
              <p:nvPr/>
            </p:nvSpPr>
            <p:spPr bwMode="auto">
              <a:xfrm>
                <a:off x="14285913" y="3814763"/>
                <a:ext cx="23813"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070" name="Rectangle 1379"/>
              <p:cNvSpPr>
                <a:spLocks noChangeArrowheads="1"/>
              </p:cNvSpPr>
              <p:nvPr/>
            </p:nvSpPr>
            <p:spPr bwMode="auto">
              <a:xfrm>
                <a:off x="14320838" y="3814763"/>
                <a:ext cx="23813"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071" name="Rectangle 1380"/>
              <p:cNvSpPr>
                <a:spLocks noChangeArrowheads="1"/>
              </p:cNvSpPr>
              <p:nvPr/>
            </p:nvSpPr>
            <p:spPr bwMode="auto">
              <a:xfrm>
                <a:off x="14357351" y="3814763"/>
                <a:ext cx="22225"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072" name="Rectangle 1381"/>
              <p:cNvSpPr>
                <a:spLocks noChangeArrowheads="1"/>
              </p:cNvSpPr>
              <p:nvPr/>
            </p:nvSpPr>
            <p:spPr bwMode="auto">
              <a:xfrm>
                <a:off x="14393863" y="3814763"/>
                <a:ext cx="22225"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073" name="Rectangle 1382"/>
              <p:cNvSpPr>
                <a:spLocks noChangeArrowheads="1"/>
              </p:cNvSpPr>
              <p:nvPr/>
            </p:nvSpPr>
            <p:spPr bwMode="auto">
              <a:xfrm>
                <a:off x="14250988" y="3981450"/>
                <a:ext cx="22225" cy="6508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074" name="Rectangle 1383"/>
              <p:cNvSpPr>
                <a:spLocks noChangeArrowheads="1"/>
              </p:cNvSpPr>
              <p:nvPr/>
            </p:nvSpPr>
            <p:spPr bwMode="auto">
              <a:xfrm>
                <a:off x="14285913" y="3981450"/>
                <a:ext cx="23813" cy="6508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075" name="Rectangle 1384"/>
              <p:cNvSpPr>
                <a:spLocks noChangeArrowheads="1"/>
              </p:cNvSpPr>
              <p:nvPr/>
            </p:nvSpPr>
            <p:spPr bwMode="auto">
              <a:xfrm>
                <a:off x="14320838" y="3981450"/>
                <a:ext cx="23813" cy="6508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076" name="Rectangle 1385"/>
              <p:cNvSpPr>
                <a:spLocks noChangeArrowheads="1"/>
              </p:cNvSpPr>
              <p:nvPr/>
            </p:nvSpPr>
            <p:spPr bwMode="auto">
              <a:xfrm>
                <a:off x="14357351" y="3981450"/>
                <a:ext cx="22225" cy="6508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077" name="Rectangle 1386"/>
              <p:cNvSpPr>
                <a:spLocks noChangeArrowheads="1"/>
              </p:cNvSpPr>
              <p:nvPr/>
            </p:nvSpPr>
            <p:spPr bwMode="auto">
              <a:xfrm>
                <a:off x="14393863" y="3981450"/>
                <a:ext cx="22225" cy="6508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078" name="Rectangle 1387"/>
              <p:cNvSpPr>
                <a:spLocks noChangeArrowheads="1"/>
              </p:cNvSpPr>
              <p:nvPr/>
            </p:nvSpPr>
            <p:spPr bwMode="auto">
              <a:xfrm>
                <a:off x="14250988" y="4148138"/>
                <a:ext cx="22225" cy="6508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079" name="Rectangle 1388"/>
              <p:cNvSpPr>
                <a:spLocks noChangeArrowheads="1"/>
              </p:cNvSpPr>
              <p:nvPr/>
            </p:nvSpPr>
            <p:spPr bwMode="auto">
              <a:xfrm>
                <a:off x="14285913" y="4148138"/>
                <a:ext cx="23813" cy="6508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080" name="Rectangle 1389"/>
              <p:cNvSpPr>
                <a:spLocks noChangeArrowheads="1"/>
              </p:cNvSpPr>
              <p:nvPr/>
            </p:nvSpPr>
            <p:spPr bwMode="auto">
              <a:xfrm>
                <a:off x="14320838" y="4148138"/>
                <a:ext cx="23813" cy="6508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081" name="Rectangle 1390"/>
              <p:cNvSpPr>
                <a:spLocks noChangeArrowheads="1"/>
              </p:cNvSpPr>
              <p:nvPr/>
            </p:nvSpPr>
            <p:spPr bwMode="auto">
              <a:xfrm>
                <a:off x="14357351" y="4148138"/>
                <a:ext cx="22225" cy="6508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082" name="Rectangle 1391"/>
              <p:cNvSpPr>
                <a:spLocks noChangeArrowheads="1"/>
              </p:cNvSpPr>
              <p:nvPr/>
            </p:nvSpPr>
            <p:spPr bwMode="auto">
              <a:xfrm>
                <a:off x="14393863" y="4148138"/>
                <a:ext cx="22225" cy="6508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083" name="Rectangle 1392"/>
              <p:cNvSpPr>
                <a:spLocks noChangeArrowheads="1"/>
              </p:cNvSpPr>
              <p:nvPr/>
            </p:nvSpPr>
            <p:spPr bwMode="auto">
              <a:xfrm>
                <a:off x="14250988" y="4313238"/>
                <a:ext cx="22225" cy="68263"/>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084" name="Rectangle 1393"/>
              <p:cNvSpPr>
                <a:spLocks noChangeArrowheads="1"/>
              </p:cNvSpPr>
              <p:nvPr/>
            </p:nvSpPr>
            <p:spPr bwMode="auto">
              <a:xfrm>
                <a:off x="14285913" y="4313238"/>
                <a:ext cx="23813" cy="68263"/>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085" name="Rectangle 1394"/>
              <p:cNvSpPr>
                <a:spLocks noChangeArrowheads="1"/>
              </p:cNvSpPr>
              <p:nvPr/>
            </p:nvSpPr>
            <p:spPr bwMode="auto">
              <a:xfrm>
                <a:off x="14320838" y="4313238"/>
                <a:ext cx="23813" cy="68263"/>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086" name="Rectangle 1395"/>
              <p:cNvSpPr>
                <a:spLocks noChangeArrowheads="1"/>
              </p:cNvSpPr>
              <p:nvPr/>
            </p:nvSpPr>
            <p:spPr bwMode="auto">
              <a:xfrm>
                <a:off x="14357351" y="4313238"/>
                <a:ext cx="22225" cy="68263"/>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087" name="Rectangle 1396"/>
              <p:cNvSpPr>
                <a:spLocks noChangeArrowheads="1"/>
              </p:cNvSpPr>
              <p:nvPr/>
            </p:nvSpPr>
            <p:spPr bwMode="auto">
              <a:xfrm>
                <a:off x="14393863" y="4313238"/>
                <a:ext cx="22225" cy="68263"/>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088" name="Rectangle 1397"/>
              <p:cNvSpPr>
                <a:spLocks noChangeArrowheads="1"/>
              </p:cNvSpPr>
              <p:nvPr/>
            </p:nvSpPr>
            <p:spPr bwMode="auto">
              <a:xfrm>
                <a:off x="14250988" y="4481513"/>
                <a:ext cx="22225"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089" name="Rectangle 1398"/>
              <p:cNvSpPr>
                <a:spLocks noChangeArrowheads="1"/>
              </p:cNvSpPr>
              <p:nvPr/>
            </p:nvSpPr>
            <p:spPr bwMode="auto">
              <a:xfrm>
                <a:off x="14285913" y="4481513"/>
                <a:ext cx="23813"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090" name="Rectangle 1399"/>
              <p:cNvSpPr>
                <a:spLocks noChangeArrowheads="1"/>
              </p:cNvSpPr>
              <p:nvPr/>
            </p:nvSpPr>
            <p:spPr bwMode="auto">
              <a:xfrm>
                <a:off x="14320838" y="4481513"/>
                <a:ext cx="23813"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091" name="Rectangle 1400"/>
              <p:cNvSpPr>
                <a:spLocks noChangeArrowheads="1"/>
              </p:cNvSpPr>
              <p:nvPr/>
            </p:nvSpPr>
            <p:spPr bwMode="auto">
              <a:xfrm>
                <a:off x="14357351" y="4481513"/>
                <a:ext cx="22225"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092" name="Rectangle 1401"/>
              <p:cNvSpPr>
                <a:spLocks noChangeArrowheads="1"/>
              </p:cNvSpPr>
              <p:nvPr/>
            </p:nvSpPr>
            <p:spPr bwMode="auto">
              <a:xfrm>
                <a:off x="14393863" y="4481513"/>
                <a:ext cx="22225"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093" name="Rectangle 1402"/>
              <p:cNvSpPr>
                <a:spLocks noChangeArrowheads="1"/>
              </p:cNvSpPr>
              <p:nvPr/>
            </p:nvSpPr>
            <p:spPr bwMode="auto">
              <a:xfrm>
                <a:off x="14250988" y="4648200"/>
                <a:ext cx="22225"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094" name="Rectangle 1403"/>
              <p:cNvSpPr>
                <a:spLocks noChangeArrowheads="1"/>
              </p:cNvSpPr>
              <p:nvPr/>
            </p:nvSpPr>
            <p:spPr bwMode="auto">
              <a:xfrm>
                <a:off x="14285913" y="4648200"/>
                <a:ext cx="23813"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095" name="Rectangle 1404"/>
              <p:cNvSpPr>
                <a:spLocks noChangeArrowheads="1"/>
              </p:cNvSpPr>
              <p:nvPr/>
            </p:nvSpPr>
            <p:spPr bwMode="auto">
              <a:xfrm>
                <a:off x="14320838" y="4648200"/>
                <a:ext cx="23813"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096" name="Rectangle 1405"/>
              <p:cNvSpPr>
                <a:spLocks noChangeArrowheads="1"/>
              </p:cNvSpPr>
              <p:nvPr/>
            </p:nvSpPr>
            <p:spPr bwMode="auto">
              <a:xfrm>
                <a:off x="14357351" y="4648200"/>
                <a:ext cx="22225"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097" name="Rectangle 1406"/>
              <p:cNvSpPr>
                <a:spLocks noChangeArrowheads="1"/>
              </p:cNvSpPr>
              <p:nvPr/>
            </p:nvSpPr>
            <p:spPr bwMode="auto">
              <a:xfrm>
                <a:off x="14393863" y="4648200"/>
                <a:ext cx="22225"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098" name="Oval 1407"/>
              <p:cNvSpPr>
                <a:spLocks noChangeArrowheads="1"/>
              </p:cNvSpPr>
              <p:nvPr/>
            </p:nvSpPr>
            <p:spPr bwMode="auto">
              <a:xfrm>
                <a:off x="14562138" y="4664075"/>
                <a:ext cx="38100" cy="3651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099" name="Oval 1408"/>
              <p:cNvSpPr>
                <a:spLocks noChangeArrowheads="1"/>
              </p:cNvSpPr>
              <p:nvPr/>
            </p:nvSpPr>
            <p:spPr bwMode="auto">
              <a:xfrm>
                <a:off x="14630401" y="3494088"/>
                <a:ext cx="38100" cy="38100"/>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100" name="Oval 1409"/>
              <p:cNvSpPr>
                <a:spLocks noChangeArrowheads="1"/>
              </p:cNvSpPr>
              <p:nvPr/>
            </p:nvSpPr>
            <p:spPr bwMode="auto">
              <a:xfrm>
                <a:off x="14630401" y="3662363"/>
                <a:ext cx="38100" cy="36513"/>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101" name="Oval 1410"/>
              <p:cNvSpPr>
                <a:spLocks noChangeArrowheads="1"/>
              </p:cNvSpPr>
              <p:nvPr/>
            </p:nvSpPr>
            <p:spPr bwMode="auto">
              <a:xfrm>
                <a:off x="14630401" y="3829050"/>
                <a:ext cx="38100" cy="36513"/>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102" name="Oval 1411"/>
              <p:cNvSpPr>
                <a:spLocks noChangeArrowheads="1"/>
              </p:cNvSpPr>
              <p:nvPr/>
            </p:nvSpPr>
            <p:spPr bwMode="auto">
              <a:xfrm>
                <a:off x="14630401" y="3995738"/>
                <a:ext cx="38100" cy="36513"/>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103" name="Oval 1412"/>
              <p:cNvSpPr>
                <a:spLocks noChangeArrowheads="1"/>
              </p:cNvSpPr>
              <p:nvPr/>
            </p:nvSpPr>
            <p:spPr bwMode="auto">
              <a:xfrm>
                <a:off x="14630401" y="4162425"/>
                <a:ext cx="38100" cy="36513"/>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104" name="Oval 1413"/>
              <p:cNvSpPr>
                <a:spLocks noChangeArrowheads="1"/>
              </p:cNvSpPr>
              <p:nvPr/>
            </p:nvSpPr>
            <p:spPr bwMode="auto">
              <a:xfrm>
                <a:off x="14630401" y="4329113"/>
                <a:ext cx="38100" cy="36513"/>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105" name="Oval 1414"/>
              <p:cNvSpPr>
                <a:spLocks noChangeArrowheads="1"/>
              </p:cNvSpPr>
              <p:nvPr/>
            </p:nvSpPr>
            <p:spPr bwMode="auto">
              <a:xfrm>
                <a:off x="14630401" y="4495800"/>
                <a:ext cx="38100" cy="38100"/>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106" name="Oval 1415"/>
              <p:cNvSpPr>
                <a:spLocks noChangeArrowheads="1"/>
              </p:cNvSpPr>
              <p:nvPr/>
            </p:nvSpPr>
            <p:spPr bwMode="auto">
              <a:xfrm>
                <a:off x="14630401" y="4664075"/>
                <a:ext cx="38100" cy="36513"/>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grpSp>
          <p:nvGrpSpPr>
            <p:cNvPr id="1972" name="Group 1971"/>
            <p:cNvGrpSpPr/>
            <p:nvPr/>
          </p:nvGrpSpPr>
          <p:grpSpPr>
            <a:xfrm>
              <a:off x="8334705" y="3703372"/>
              <a:ext cx="1039650" cy="1882552"/>
              <a:chOff x="14160501" y="3376613"/>
              <a:chExt cx="796925" cy="1443038"/>
            </a:xfrm>
          </p:grpSpPr>
          <p:sp>
            <p:nvSpPr>
              <p:cNvPr id="1973" name="Freeform 1349"/>
              <p:cNvSpPr>
                <a:spLocks/>
              </p:cNvSpPr>
              <p:nvPr/>
            </p:nvSpPr>
            <p:spPr bwMode="auto">
              <a:xfrm>
                <a:off x="14682788" y="3376613"/>
                <a:ext cx="274638" cy="1443038"/>
              </a:xfrm>
              <a:custGeom>
                <a:avLst/>
                <a:gdLst>
                  <a:gd name="T0" fmla="*/ 184 w 224"/>
                  <a:gd name="T1" fmla="*/ 0 h 1184"/>
                  <a:gd name="T2" fmla="*/ 0 w 224"/>
                  <a:gd name="T3" fmla="*/ 0 h 1184"/>
                  <a:gd name="T4" fmla="*/ 40 w 224"/>
                  <a:gd name="T5" fmla="*/ 41 h 1184"/>
                  <a:gd name="T6" fmla="*/ 40 w 224"/>
                  <a:gd name="T7" fmla="*/ 1144 h 1184"/>
                  <a:gd name="T8" fmla="*/ 0 w 224"/>
                  <a:gd name="T9" fmla="*/ 1184 h 1184"/>
                  <a:gd name="T10" fmla="*/ 184 w 224"/>
                  <a:gd name="T11" fmla="*/ 1184 h 1184"/>
                  <a:gd name="T12" fmla="*/ 224 w 224"/>
                  <a:gd name="T13" fmla="*/ 1144 h 1184"/>
                  <a:gd name="T14" fmla="*/ 224 w 224"/>
                  <a:gd name="T15" fmla="*/ 41 h 1184"/>
                  <a:gd name="T16" fmla="*/ 184 w 224"/>
                  <a:gd name="T17" fmla="*/ 0 h 1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4" h="1184">
                    <a:moveTo>
                      <a:pt x="184" y="0"/>
                    </a:moveTo>
                    <a:cubicBezTo>
                      <a:pt x="0" y="0"/>
                      <a:pt x="0" y="0"/>
                      <a:pt x="0" y="0"/>
                    </a:cubicBezTo>
                    <a:cubicBezTo>
                      <a:pt x="22" y="0"/>
                      <a:pt x="40" y="18"/>
                      <a:pt x="40" y="41"/>
                    </a:cubicBezTo>
                    <a:cubicBezTo>
                      <a:pt x="40" y="1144"/>
                      <a:pt x="40" y="1144"/>
                      <a:pt x="40" y="1144"/>
                    </a:cubicBezTo>
                    <a:cubicBezTo>
                      <a:pt x="40" y="1166"/>
                      <a:pt x="22" y="1184"/>
                      <a:pt x="0" y="1184"/>
                    </a:cubicBezTo>
                    <a:cubicBezTo>
                      <a:pt x="184" y="1184"/>
                      <a:pt x="184" y="1184"/>
                      <a:pt x="184" y="1184"/>
                    </a:cubicBezTo>
                    <a:cubicBezTo>
                      <a:pt x="206" y="1184"/>
                      <a:pt x="224" y="1166"/>
                      <a:pt x="224" y="1144"/>
                    </a:cubicBezTo>
                    <a:cubicBezTo>
                      <a:pt x="224" y="41"/>
                      <a:pt x="224" y="41"/>
                      <a:pt x="224" y="41"/>
                    </a:cubicBezTo>
                    <a:cubicBezTo>
                      <a:pt x="224" y="18"/>
                      <a:pt x="206" y="0"/>
                      <a:pt x="184" y="0"/>
                    </a:cubicBez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974" name="Freeform 1350"/>
              <p:cNvSpPr>
                <a:spLocks/>
              </p:cNvSpPr>
              <p:nvPr/>
            </p:nvSpPr>
            <p:spPr bwMode="auto">
              <a:xfrm>
                <a:off x="14682788" y="3376613"/>
                <a:ext cx="274638" cy="1443038"/>
              </a:xfrm>
              <a:custGeom>
                <a:avLst/>
                <a:gdLst>
                  <a:gd name="T0" fmla="*/ 184 w 224"/>
                  <a:gd name="T1" fmla="*/ 0 h 1184"/>
                  <a:gd name="T2" fmla="*/ 0 w 224"/>
                  <a:gd name="T3" fmla="*/ 0 h 1184"/>
                  <a:gd name="T4" fmla="*/ 40 w 224"/>
                  <a:gd name="T5" fmla="*/ 41 h 1184"/>
                  <a:gd name="T6" fmla="*/ 40 w 224"/>
                  <a:gd name="T7" fmla="*/ 1144 h 1184"/>
                  <a:gd name="T8" fmla="*/ 0 w 224"/>
                  <a:gd name="T9" fmla="*/ 1184 h 1184"/>
                  <a:gd name="T10" fmla="*/ 184 w 224"/>
                  <a:gd name="T11" fmla="*/ 1184 h 1184"/>
                  <a:gd name="T12" fmla="*/ 224 w 224"/>
                  <a:gd name="T13" fmla="*/ 1144 h 1184"/>
                  <a:gd name="T14" fmla="*/ 224 w 224"/>
                  <a:gd name="T15" fmla="*/ 41 h 1184"/>
                  <a:gd name="T16" fmla="*/ 184 w 224"/>
                  <a:gd name="T17" fmla="*/ 0 h 1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4" h="1184">
                    <a:moveTo>
                      <a:pt x="184" y="0"/>
                    </a:moveTo>
                    <a:cubicBezTo>
                      <a:pt x="0" y="0"/>
                      <a:pt x="0" y="0"/>
                      <a:pt x="0" y="0"/>
                    </a:cubicBezTo>
                    <a:cubicBezTo>
                      <a:pt x="22" y="0"/>
                      <a:pt x="40" y="18"/>
                      <a:pt x="40" y="41"/>
                    </a:cubicBezTo>
                    <a:cubicBezTo>
                      <a:pt x="40" y="1144"/>
                      <a:pt x="40" y="1144"/>
                      <a:pt x="40" y="1144"/>
                    </a:cubicBezTo>
                    <a:cubicBezTo>
                      <a:pt x="40" y="1166"/>
                      <a:pt x="22" y="1184"/>
                      <a:pt x="0" y="1184"/>
                    </a:cubicBezTo>
                    <a:cubicBezTo>
                      <a:pt x="184" y="1184"/>
                      <a:pt x="184" y="1184"/>
                      <a:pt x="184" y="1184"/>
                    </a:cubicBezTo>
                    <a:cubicBezTo>
                      <a:pt x="206" y="1184"/>
                      <a:pt x="224" y="1166"/>
                      <a:pt x="224" y="1144"/>
                    </a:cubicBezTo>
                    <a:cubicBezTo>
                      <a:pt x="224" y="41"/>
                      <a:pt x="224" y="41"/>
                      <a:pt x="224" y="41"/>
                    </a:cubicBezTo>
                    <a:cubicBezTo>
                      <a:pt x="224" y="18"/>
                      <a:pt x="206" y="0"/>
                      <a:pt x="184" y="0"/>
                    </a:cubicBezTo>
                    <a:close/>
                  </a:path>
                </a:pathLst>
              </a:custGeom>
              <a:solidFill>
                <a:srgbClr val="003D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975" name="Freeform 1351"/>
              <p:cNvSpPr>
                <a:spLocks/>
              </p:cNvSpPr>
              <p:nvPr/>
            </p:nvSpPr>
            <p:spPr bwMode="auto">
              <a:xfrm>
                <a:off x="14160501" y="3376613"/>
                <a:ext cx="611188" cy="1443038"/>
              </a:xfrm>
              <a:custGeom>
                <a:avLst/>
                <a:gdLst>
                  <a:gd name="T0" fmla="*/ 499 w 499"/>
                  <a:gd name="T1" fmla="*/ 1144 h 1184"/>
                  <a:gd name="T2" fmla="*/ 459 w 499"/>
                  <a:gd name="T3" fmla="*/ 1184 h 1184"/>
                  <a:gd name="T4" fmla="*/ 40 w 499"/>
                  <a:gd name="T5" fmla="*/ 1184 h 1184"/>
                  <a:gd name="T6" fmla="*/ 0 w 499"/>
                  <a:gd name="T7" fmla="*/ 1144 h 1184"/>
                  <a:gd name="T8" fmla="*/ 0 w 499"/>
                  <a:gd name="T9" fmla="*/ 41 h 1184"/>
                  <a:gd name="T10" fmla="*/ 40 w 499"/>
                  <a:gd name="T11" fmla="*/ 0 h 1184"/>
                  <a:gd name="T12" fmla="*/ 459 w 499"/>
                  <a:gd name="T13" fmla="*/ 0 h 1184"/>
                  <a:gd name="T14" fmla="*/ 499 w 499"/>
                  <a:gd name="T15" fmla="*/ 41 h 1184"/>
                  <a:gd name="T16" fmla="*/ 499 w 499"/>
                  <a:gd name="T17" fmla="*/ 1144 h 1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9" h="1184">
                    <a:moveTo>
                      <a:pt x="499" y="1144"/>
                    </a:moveTo>
                    <a:cubicBezTo>
                      <a:pt x="499" y="1166"/>
                      <a:pt x="481" y="1184"/>
                      <a:pt x="459" y="1184"/>
                    </a:cubicBezTo>
                    <a:cubicBezTo>
                      <a:pt x="40" y="1184"/>
                      <a:pt x="40" y="1184"/>
                      <a:pt x="40" y="1184"/>
                    </a:cubicBezTo>
                    <a:cubicBezTo>
                      <a:pt x="18" y="1184"/>
                      <a:pt x="0" y="1166"/>
                      <a:pt x="0" y="1144"/>
                    </a:cubicBezTo>
                    <a:cubicBezTo>
                      <a:pt x="0" y="41"/>
                      <a:pt x="0" y="41"/>
                      <a:pt x="0" y="41"/>
                    </a:cubicBezTo>
                    <a:cubicBezTo>
                      <a:pt x="0" y="18"/>
                      <a:pt x="18" y="0"/>
                      <a:pt x="40" y="0"/>
                    </a:cubicBezTo>
                    <a:cubicBezTo>
                      <a:pt x="459" y="0"/>
                      <a:pt x="459" y="0"/>
                      <a:pt x="459" y="0"/>
                    </a:cubicBezTo>
                    <a:cubicBezTo>
                      <a:pt x="481" y="0"/>
                      <a:pt x="499" y="18"/>
                      <a:pt x="499" y="41"/>
                    </a:cubicBezTo>
                    <a:lnTo>
                      <a:pt x="499" y="1144"/>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976" name="Freeform 1352"/>
              <p:cNvSpPr>
                <a:spLocks/>
              </p:cNvSpPr>
              <p:nvPr/>
            </p:nvSpPr>
            <p:spPr bwMode="auto">
              <a:xfrm>
                <a:off x="14216063" y="3455988"/>
                <a:ext cx="485775" cy="114300"/>
              </a:xfrm>
              <a:custGeom>
                <a:avLst/>
                <a:gdLst>
                  <a:gd name="T0" fmla="*/ 396 w 396"/>
                  <a:gd name="T1" fmla="*/ 83 h 94"/>
                  <a:gd name="T2" fmla="*/ 385 w 396"/>
                  <a:gd name="T3" fmla="*/ 94 h 94"/>
                  <a:gd name="T4" fmla="*/ 12 w 396"/>
                  <a:gd name="T5" fmla="*/ 94 h 94"/>
                  <a:gd name="T6" fmla="*/ 0 w 396"/>
                  <a:gd name="T7" fmla="*/ 83 h 94"/>
                  <a:gd name="T8" fmla="*/ 0 w 396"/>
                  <a:gd name="T9" fmla="*/ 12 h 94"/>
                  <a:gd name="T10" fmla="*/ 12 w 396"/>
                  <a:gd name="T11" fmla="*/ 0 h 94"/>
                  <a:gd name="T12" fmla="*/ 385 w 396"/>
                  <a:gd name="T13" fmla="*/ 0 h 94"/>
                  <a:gd name="T14" fmla="*/ 396 w 396"/>
                  <a:gd name="T15" fmla="*/ 12 h 94"/>
                  <a:gd name="T16" fmla="*/ 396 w 396"/>
                  <a:gd name="T17" fmla="*/ 83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6" h="94">
                    <a:moveTo>
                      <a:pt x="396" y="83"/>
                    </a:moveTo>
                    <a:cubicBezTo>
                      <a:pt x="396" y="89"/>
                      <a:pt x="391" y="94"/>
                      <a:pt x="385" y="94"/>
                    </a:cubicBezTo>
                    <a:cubicBezTo>
                      <a:pt x="12" y="94"/>
                      <a:pt x="12" y="94"/>
                      <a:pt x="12" y="94"/>
                    </a:cubicBezTo>
                    <a:cubicBezTo>
                      <a:pt x="6" y="94"/>
                      <a:pt x="0" y="89"/>
                      <a:pt x="0" y="83"/>
                    </a:cubicBezTo>
                    <a:cubicBezTo>
                      <a:pt x="0" y="12"/>
                      <a:pt x="0" y="12"/>
                      <a:pt x="0" y="12"/>
                    </a:cubicBezTo>
                    <a:cubicBezTo>
                      <a:pt x="0" y="5"/>
                      <a:pt x="6" y="0"/>
                      <a:pt x="12" y="0"/>
                    </a:cubicBezTo>
                    <a:cubicBezTo>
                      <a:pt x="385" y="0"/>
                      <a:pt x="385" y="0"/>
                      <a:pt x="385" y="0"/>
                    </a:cubicBezTo>
                    <a:cubicBezTo>
                      <a:pt x="391" y="0"/>
                      <a:pt x="396" y="5"/>
                      <a:pt x="396" y="12"/>
                    </a:cubicBezTo>
                    <a:lnTo>
                      <a:pt x="396" y="83"/>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977" name="Oval 1353"/>
              <p:cNvSpPr>
                <a:spLocks noChangeArrowheads="1"/>
              </p:cNvSpPr>
              <p:nvPr/>
            </p:nvSpPr>
            <p:spPr bwMode="auto">
              <a:xfrm>
                <a:off x="14562138" y="3494088"/>
                <a:ext cx="38100" cy="3810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978" name="Freeform 1354"/>
              <p:cNvSpPr>
                <a:spLocks/>
              </p:cNvSpPr>
              <p:nvPr/>
            </p:nvSpPr>
            <p:spPr bwMode="auto">
              <a:xfrm>
                <a:off x="14216063" y="3622675"/>
                <a:ext cx="485775" cy="114300"/>
              </a:xfrm>
              <a:custGeom>
                <a:avLst/>
                <a:gdLst>
                  <a:gd name="T0" fmla="*/ 396 w 396"/>
                  <a:gd name="T1" fmla="*/ 83 h 94"/>
                  <a:gd name="T2" fmla="*/ 385 w 396"/>
                  <a:gd name="T3" fmla="*/ 94 h 94"/>
                  <a:gd name="T4" fmla="*/ 12 w 396"/>
                  <a:gd name="T5" fmla="*/ 94 h 94"/>
                  <a:gd name="T6" fmla="*/ 0 w 396"/>
                  <a:gd name="T7" fmla="*/ 83 h 94"/>
                  <a:gd name="T8" fmla="*/ 0 w 396"/>
                  <a:gd name="T9" fmla="*/ 12 h 94"/>
                  <a:gd name="T10" fmla="*/ 12 w 396"/>
                  <a:gd name="T11" fmla="*/ 0 h 94"/>
                  <a:gd name="T12" fmla="*/ 385 w 396"/>
                  <a:gd name="T13" fmla="*/ 0 h 94"/>
                  <a:gd name="T14" fmla="*/ 396 w 396"/>
                  <a:gd name="T15" fmla="*/ 12 h 94"/>
                  <a:gd name="T16" fmla="*/ 396 w 396"/>
                  <a:gd name="T17" fmla="*/ 83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6" h="94">
                    <a:moveTo>
                      <a:pt x="396" y="83"/>
                    </a:moveTo>
                    <a:cubicBezTo>
                      <a:pt x="396" y="89"/>
                      <a:pt x="391" y="94"/>
                      <a:pt x="385" y="94"/>
                    </a:cubicBezTo>
                    <a:cubicBezTo>
                      <a:pt x="12" y="94"/>
                      <a:pt x="12" y="94"/>
                      <a:pt x="12" y="94"/>
                    </a:cubicBezTo>
                    <a:cubicBezTo>
                      <a:pt x="6" y="94"/>
                      <a:pt x="0" y="89"/>
                      <a:pt x="0" y="83"/>
                    </a:cubicBezTo>
                    <a:cubicBezTo>
                      <a:pt x="0" y="12"/>
                      <a:pt x="0" y="12"/>
                      <a:pt x="0" y="12"/>
                    </a:cubicBezTo>
                    <a:cubicBezTo>
                      <a:pt x="0" y="5"/>
                      <a:pt x="6" y="0"/>
                      <a:pt x="12" y="0"/>
                    </a:cubicBezTo>
                    <a:cubicBezTo>
                      <a:pt x="385" y="0"/>
                      <a:pt x="385" y="0"/>
                      <a:pt x="385" y="0"/>
                    </a:cubicBezTo>
                    <a:cubicBezTo>
                      <a:pt x="391" y="0"/>
                      <a:pt x="396" y="5"/>
                      <a:pt x="396" y="12"/>
                    </a:cubicBezTo>
                    <a:lnTo>
                      <a:pt x="396" y="83"/>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979" name="Oval 1355"/>
              <p:cNvSpPr>
                <a:spLocks noChangeArrowheads="1"/>
              </p:cNvSpPr>
              <p:nvPr/>
            </p:nvSpPr>
            <p:spPr bwMode="auto">
              <a:xfrm>
                <a:off x="14562138" y="3662363"/>
                <a:ext cx="38100" cy="3651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980" name="Freeform 1356"/>
              <p:cNvSpPr>
                <a:spLocks/>
              </p:cNvSpPr>
              <p:nvPr/>
            </p:nvSpPr>
            <p:spPr bwMode="auto">
              <a:xfrm>
                <a:off x="14216063" y="3789363"/>
                <a:ext cx="485775" cy="114300"/>
              </a:xfrm>
              <a:custGeom>
                <a:avLst/>
                <a:gdLst>
                  <a:gd name="T0" fmla="*/ 396 w 396"/>
                  <a:gd name="T1" fmla="*/ 83 h 94"/>
                  <a:gd name="T2" fmla="*/ 385 w 396"/>
                  <a:gd name="T3" fmla="*/ 94 h 94"/>
                  <a:gd name="T4" fmla="*/ 12 w 396"/>
                  <a:gd name="T5" fmla="*/ 94 h 94"/>
                  <a:gd name="T6" fmla="*/ 0 w 396"/>
                  <a:gd name="T7" fmla="*/ 83 h 94"/>
                  <a:gd name="T8" fmla="*/ 0 w 396"/>
                  <a:gd name="T9" fmla="*/ 12 h 94"/>
                  <a:gd name="T10" fmla="*/ 12 w 396"/>
                  <a:gd name="T11" fmla="*/ 0 h 94"/>
                  <a:gd name="T12" fmla="*/ 385 w 396"/>
                  <a:gd name="T13" fmla="*/ 0 h 94"/>
                  <a:gd name="T14" fmla="*/ 396 w 396"/>
                  <a:gd name="T15" fmla="*/ 12 h 94"/>
                  <a:gd name="T16" fmla="*/ 396 w 396"/>
                  <a:gd name="T17" fmla="*/ 83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6" h="94">
                    <a:moveTo>
                      <a:pt x="396" y="83"/>
                    </a:moveTo>
                    <a:cubicBezTo>
                      <a:pt x="396" y="89"/>
                      <a:pt x="391" y="94"/>
                      <a:pt x="385" y="94"/>
                    </a:cubicBezTo>
                    <a:cubicBezTo>
                      <a:pt x="12" y="94"/>
                      <a:pt x="12" y="94"/>
                      <a:pt x="12" y="94"/>
                    </a:cubicBezTo>
                    <a:cubicBezTo>
                      <a:pt x="6" y="94"/>
                      <a:pt x="0" y="89"/>
                      <a:pt x="0" y="83"/>
                    </a:cubicBezTo>
                    <a:cubicBezTo>
                      <a:pt x="0" y="12"/>
                      <a:pt x="0" y="12"/>
                      <a:pt x="0" y="12"/>
                    </a:cubicBezTo>
                    <a:cubicBezTo>
                      <a:pt x="0" y="5"/>
                      <a:pt x="6" y="0"/>
                      <a:pt x="12" y="0"/>
                    </a:cubicBezTo>
                    <a:cubicBezTo>
                      <a:pt x="385" y="0"/>
                      <a:pt x="385" y="0"/>
                      <a:pt x="385" y="0"/>
                    </a:cubicBezTo>
                    <a:cubicBezTo>
                      <a:pt x="391" y="0"/>
                      <a:pt x="396" y="5"/>
                      <a:pt x="396" y="12"/>
                    </a:cubicBezTo>
                    <a:lnTo>
                      <a:pt x="396" y="83"/>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981" name="Oval 1357"/>
              <p:cNvSpPr>
                <a:spLocks noChangeArrowheads="1"/>
              </p:cNvSpPr>
              <p:nvPr/>
            </p:nvSpPr>
            <p:spPr bwMode="auto">
              <a:xfrm>
                <a:off x="14562138" y="3829050"/>
                <a:ext cx="38100" cy="3651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982" name="Freeform 1358"/>
              <p:cNvSpPr>
                <a:spLocks/>
              </p:cNvSpPr>
              <p:nvPr/>
            </p:nvSpPr>
            <p:spPr bwMode="auto">
              <a:xfrm>
                <a:off x="14216063" y="3956050"/>
                <a:ext cx="485775" cy="115888"/>
              </a:xfrm>
              <a:custGeom>
                <a:avLst/>
                <a:gdLst>
                  <a:gd name="T0" fmla="*/ 396 w 396"/>
                  <a:gd name="T1" fmla="*/ 83 h 94"/>
                  <a:gd name="T2" fmla="*/ 385 w 396"/>
                  <a:gd name="T3" fmla="*/ 94 h 94"/>
                  <a:gd name="T4" fmla="*/ 12 w 396"/>
                  <a:gd name="T5" fmla="*/ 94 h 94"/>
                  <a:gd name="T6" fmla="*/ 0 w 396"/>
                  <a:gd name="T7" fmla="*/ 83 h 94"/>
                  <a:gd name="T8" fmla="*/ 0 w 396"/>
                  <a:gd name="T9" fmla="*/ 12 h 94"/>
                  <a:gd name="T10" fmla="*/ 12 w 396"/>
                  <a:gd name="T11" fmla="*/ 0 h 94"/>
                  <a:gd name="T12" fmla="*/ 385 w 396"/>
                  <a:gd name="T13" fmla="*/ 0 h 94"/>
                  <a:gd name="T14" fmla="*/ 396 w 396"/>
                  <a:gd name="T15" fmla="*/ 12 h 94"/>
                  <a:gd name="T16" fmla="*/ 396 w 396"/>
                  <a:gd name="T17" fmla="*/ 83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6" h="94">
                    <a:moveTo>
                      <a:pt x="396" y="83"/>
                    </a:moveTo>
                    <a:cubicBezTo>
                      <a:pt x="396" y="89"/>
                      <a:pt x="391" y="94"/>
                      <a:pt x="385" y="94"/>
                    </a:cubicBezTo>
                    <a:cubicBezTo>
                      <a:pt x="12" y="94"/>
                      <a:pt x="12" y="94"/>
                      <a:pt x="12" y="94"/>
                    </a:cubicBezTo>
                    <a:cubicBezTo>
                      <a:pt x="6" y="94"/>
                      <a:pt x="0" y="89"/>
                      <a:pt x="0" y="83"/>
                    </a:cubicBezTo>
                    <a:cubicBezTo>
                      <a:pt x="0" y="12"/>
                      <a:pt x="0" y="12"/>
                      <a:pt x="0" y="12"/>
                    </a:cubicBezTo>
                    <a:cubicBezTo>
                      <a:pt x="0" y="5"/>
                      <a:pt x="6" y="0"/>
                      <a:pt x="12" y="0"/>
                    </a:cubicBezTo>
                    <a:cubicBezTo>
                      <a:pt x="385" y="0"/>
                      <a:pt x="385" y="0"/>
                      <a:pt x="385" y="0"/>
                    </a:cubicBezTo>
                    <a:cubicBezTo>
                      <a:pt x="391" y="0"/>
                      <a:pt x="396" y="5"/>
                      <a:pt x="396" y="12"/>
                    </a:cubicBezTo>
                    <a:lnTo>
                      <a:pt x="396" y="83"/>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983" name="Oval 1359"/>
              <p:cNvSpPr>
                <a:spLocks noChangeArrowheads="1"/>
              </p:cNvSpPr>
              <p:nvPr/>
            </p:nvSpPr>
            <p:spPr bwMode="auto">
              <a:xfrm>
                <a:off x="14562138" y="3995738"/>
                <a:ext cx="38100" cy="3651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984" name="Freeform 1360"/>
              <p:cNvSpPr>
                <a:spLocks/>
              </p:cNvSpPr>
              <p:nvPr/>
            </p:nvSpPr>
            <p:spPr bwMode="auto">
              <a:xfrm>
                <a:off x="14216063" y="4124325"/>
                <a:ext cx="485775" cy="114300"/>
              </a:xfrm>
              <a:custGeom>
                <a:avLst/>
                <a:gdLst>
                  <a:gd name="T0" fmla="*/ 396 w 396"/>
                  <a:gd name="T1" fmla="*/ 82 h 94"/>
                  <a:gd name="T2" fmla="*/ 385 w 396"/>
                  <a:gd name="T3" fmla="*/ 94 h 94"/>
                  <a:gd name="T4" fmla="*/ 12 w 396"/>
                  <a:gd name="T5" fmla="*/ 94 h 94"/>
                  <a:gd name="T6" fmla="*/ 0 w 396"/>
                  <a:gd name="T7" fmla="*/ 82 h 94"/>
                  <a:gd name="T8" fmla="*/ 0 w 396"/>
                  <a:gd name="T9" fmla="*/ 11 h 94"/>
                  <a:gd name="T10" fmla="*/ 12 w 396"/>
                  <a:gd name="T11" fmla="*/ 0 h 94"/>
                  <a:gd name="T12" fmla="*/ 385 w 396"/>
                  <a:gd name="T13" fmla="*/ 0 h 94"/>
                  <a:gd name="T14" fmla="*/ 396 w 396"/>
                  <a:gd name="T15" fmla="*/ 11 h 94"/>
                  <a:gd name="T16" fmla="*/ 396 w 396"/>
                  <a:gd name="T17" fmla="*/ 82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6" h="94">
                    <a:moveTo>
                      <a:pt x="396" y="82"/>
                    </a:moveTo>
                    <a:cubicBezTo>
                      <a:pt x="396" y="89"/>
                      <a:pt x="391" y="94"/>
                      <a:pt x="385" y="94"/>
                    </a:cubicBezTo>
                    <a:cubicBezTo>
                      <a:pt x="12" y="94"/>
                      <a:pt x="12" y="94"/>
                      <a:pt x="12" y="94"/>
                    </a:cubicBezTo>
                    <a:cubicBezTo>
                      <a:pt x="6" y="94"/>
                      <a:pt x="0" y="89"/>
                      <a:pt x="0" y="82"/>
                    </a:cubicBezTo>
                    <a:cubicBezTo>
                      <a:pt x="0" y="11"/>
                      <a:pt x="0" y="11"/>
                      <a:pt x="0" y="11"/>
                    </a:cubicBezTo>
                    <a:cubicBezTo>
                      <a:pt x="0" y="5"/>
                      <a:pt x="6" y="0"/>
                      <a:pt x="12" y="0"/>
                    </a:cubicBezTo>
                    <a:cubicBezTo>
                      <a:pt x="385" y="0"/>
                      <a:pt x="385" y="0"/>
                      <a:pt x="385" y="0"/>
                    </a:cubicBezTo>
                    <a:cubicBezTo>
                      <a:pt x="391" y="0"/>
                      <a:pt x="396" y="5"/>
                      <a:pt x="396" y="11"/>
                    </a:cubicBezTo>
                    <a:lnTo>
                      <a:pt x="396" y="82"/>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985" name="Oval 1361"/>
              <p:cNvSpPr>
                <a:spLocks noChangeArrowheads="1"/>
              </p:cNvSpPr>
              <p:nvPr/>
            </p:nvSpPr>
            <p:spPr bwMode="auto">
              <a:xfrm>
                <a:off x="14562138" y="4162425"/>
                <a:ext cx="38100" cy="3651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986" name="Freeform 1362"/>
              <p:cNvSpPr>
                <a:spLocks/>
              </p:cNvSpPr>
              <p:nvPr/>
            </p:nvSpPr>
            <p:spPr bwMode="auto">
              <a:xfrm>
                <a:off x="14216063" y="4291013"/>
                <a:ext cx="485775" cy="114300"/>
              </a:xfrm>
              <a:custGeom>
                <a:avLst/>
                <a:gdLst>
                  <a:gd name="T0" fmla="*/ 396 w 396"/>
                  <a:gd name="T1" fmla="*/ 82 h 94"/>
                  <a:gd name="T2" fmla="*/ 385 w 396"/>
                  <a:gd name="T3" fmla="*/ 94 h 94"/>
                  <a:gd name="T4" fmla="*/ 12 w 396"/>
                  <a:gd name="T5" fmla="*/ 94 h 94"/>
                  <a:gd name="T6" fmla="*/ 0 w 396"/>
                  <a:gd name="T7" fmla="*/ 82 h 94"/>
                  <a:gd name="T8" fmla="*/ 0 w 396"/>
                  <a:gd name="T9" fmla="*/ 11 h 94"/>
                  <a:gd name="T10" fmla="*/ 12 w 396"/>
                  <a:gd name="T11" fmla="*/ 0 h 94"/>
                  <a:gd name="T12" fmla="*/ 385 w 396"/>
                  <a:gd name="T13" fmla="*/ 0 h 94"/>
                  <a:gd name="T14" fmla="*/ 396 w 396"/>
                  <a:gd name="T15" fmla="*/ 11 h 94"/>
                  <a:gd name="T16" fmla="*/ 396 w 396"/>
                  <a:gd name="T17" fmla="*/ 82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6" h="94">
                    <a:moveTo>
                      <a:pt x="396" y="82"/>
                    </a:moveTo>
                    <a:cubicBezTo>
                      <a:pt x="396" y="89"/>
                      <a:pt x="391" y="94"/>
                      <a:pt x="385" y="94"/>
                    </a:cubicBezTo>
                    <a:cubicBezTo>
                      <a:pt x="12" y="94"/>
                      <a:pt x="12" y="94"/>
                      <a:pt x="12" y="94"/>
                    </a:cubicBezTo>
                    <a:cubicBezTo>
                      <a:pt x="6" y="94"/>
                      <a:pt x="0" y="89"/>
                      <a:pt x="0" y="82"/>
                    </a:cubicBezTo>
                    <a:cubicBezTo>
                      <a:pt x="0" y="11"/>
                      <a:pt x="0" y="11"/>
                      <a:pt x="0" y="11"/>
                    </a:cubicBezTo>
                    <a:cubicBezTo>
                      <a:pt x="0" y="5"/>
                      <a:pt x="6" y="0"/>
                      <a:pt x="12" y="0"/>
                    </a:cubicBezTo>
                    <a:cubicBezTo>
                      <a:pt x="385" y="0"/>
                      <a:pt x="385" y="0"/>
                      <a:pt x="385" y="0"/>
                    </a:cubicBezTo>
                    <a:cubicBezTo>
                      <a:pt x="391" y="0"/>
                      <a:pt x="396" y="5"/>
                      <a:pt x="396" y="11"/>
                    </a:cubicBezTo>
                    <a:lnTo>
                      <a:pt x="396" y="82"/>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987" name="Oval 1363"/>
              <p:cNvSpPr>
                <a:spLocks noChangeArrowheads="1"/>
              </p:cNvSpPr>
              <p:nvPr/>
            </p:nvSpPr>
            <p:spPr bwMode="auto">
              <a:xfrm>
                <a:off x="14562138" y="4329113"/>
                <a:ext cx="38100" cy="3651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988" name="Freeform 1364"/>
              <p:cNvSpPr>
                <a:spLocks/>
              </p:cNvSpPr>
              <p:nvPr/>
            </p:nvSpPr>
            <p:spPr bwMode="auto">
              <a:xfrm>
                <a:off x="14216063" y="4457700"/>
                <a:ext cx="485775" cy="114300"/>
              </a:xfrm>
              <a:custGeom>
                <a:avLst/>
                <a:gdLst>
                  <a:gd name="T0" fmla="*/ 396 w 396"/>
                  <a:gd name="T1" fmla="*/ 82 h 94"/>
                  <a:gd name="T2" fmla="*/ 385 w 396"/>
                  <a:gd name="T3" fmla="*/ 94 h 94"/>
                  <a:gd name="T4" fmla="*/ 12 w 396"/>
                  <a:gd name="T5" fmla="*/ 94 h 94"/>
                  <a:gd name="T6" fmla="*/ 0 w 396"/>
                  <a:gd name="T7" fmla="*/ 82 h 94"/>
                  <a:gd name="T8" fmla="*/ 0 w 396"/>
                  <a:gd name="T9" fmla="*/ 11 h 94"/>
                  <a:gd name="T10" fmla="*/ 12 w 396"/>
                  <a:gd name="T11" fmla="*/ 0 h 94"/>
                  <a:gd name="T12" fmla="*/ 385 w 396"/>
                  <a:gd name="T13" fmla="*/ 0 h 94"/>
                  <a:gd name="T14" fmla="*/ 396 w 396"/>
                  <a:gd name="T15" fmla="*/ 11 h 94"/>
                  <a:gd name="T16" fmla="*/ 396 w 396"/>
                  <a:gd name="T17" fmla="*/ 82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6" h="94">
                    <a:moveTo>
                      <a:pt x="396" y="82"/>
                    </a:moveTo>
                    <a:cubicBezTo>
                      <a:pt x="396" y="89"/>
                      <a:pt x="391" y="94"/>
                      <a:pt x="385" y="94"/>
                    </a:cubicBezTo>
                    <a:cubicBezTo>
                      <a:pt x="12" y="94"/>
                      <a:pt x="12" y="94"/>
                      <a:pt x="12" y="94"/>
                    </a:cubicBezTo>
                    <a:cubicBezTo>
                      <a:pt x="6" y="94"/>
                      <a:pt x="0" y="89"/>
                      <a:pt x="0" y="82"/>
                    </a:cubicBezTo>
                    <a:cubicBezTo>
                      <a:pt x="0" y="11"/>
                      <a:pt x="0" y="11"/>
                      <a:pt x="0" y="11"/>
                    </a:cubicBezTo>
                    <a:cubicBezTo>
                      <a:pt x="0" y="5"/>
                      <a:pt x="6" y="0"/>
                      <a:pt x="12" y="0"/>
                    </a:cubicBezTo>
                    <a:cubicBezTo>
                      <a:pt x="385" y="0"/>
                      <a:pt x="385" y="0"/>
                      <a:pt x="385" y="0"/>
                    </a:cubicBezTo>
                    <a:cubicBezTo>
                      <a:pt x="391" y="0"/>
                      <a:pt x="396" y="5"/>
                      <a:pt x="396" y="11"/>
                    </a:cubicBezTo>
                    <a:lnTo>
                      <a:pt x="396" y="82"/>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989" name="Oval 1365"/>
              <p:cNvSpPr>
                <a:spLocks noChangeArrowheads="1"/>
              </p:cNvSpPr>
              <p:nvPr/>
            </p:nvSpPr>
            <p:spPr bwMode="auto">
              <a:xfrm>
                <a:off x="14562138" y="4495800"/>
                <a:ext cx="38100" cy="3810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990" name="Freeform 1366"/>
              <p:cNvSpPr>
                <a:spLocks/>
              </p:cNvSpPr>
              <p:nvPr/>
            </p:nvSpPr>
            <p:spPr bwMode="auto">
              <a:xfrm>
                <a:off x="14216063" y="4624388"/>
                <a:ext cx="485775" cy="114300"/>
              </a:xfrm>
              <a:custGeom>
                <a:avLst/>
                <a:gdLst>
                  <a:gd name="T0" fmla="*/ 396 w 396"/>
                  <a:gd name="T1" fmla="*/ 82 h 94"/>
                  <a:gd name="T2" fmla="*/ 385 w 396"/>
                  <a:gd name="T3" fmla="*/ 94 h 94"/>
                  <a:gd name="T4" fmla="*/ 12 w 396"/>
                  <a:gd name="T5" fmla="*/ 94 h 94"/>
                  <a:gd name="T6" fmla="*/ 0 w 396"/>
                  <a:gd name="T7" fmla="*/ 82 h 94"/>
                  <a:gd name="T8" fmla="*/ 0 w 396"/>
                  <a:gd name="T9" fmla="*/ 11 h 94"/>
                  <a:gd name="T10" fmla="*/ 12 w 396"/>
                  <a:gd name="T11" fmla="*/ 0 h 94"/>
                  <a:gd name="T12" fmla="*/ 385 w 396"/>
                  <a:gd name="T13" fmla="*/ 0 h 94"/>
                  <a:gd name="T14" fmla="*/ 396 w 396"/>
                  <a:gd name="T15" fmla="*/ 11 h 94"/>
                  <a:gd name="T16" fmla="*/ 396 w 396"/>
                  <a:gd name="T17" fmla="*/ 82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6" h="94">
                    <a:moveTo>
                      <a:pt x="396" y="82"/>
                    </a:moveTo>
                    <a:cubicBezTo>
                      <a:pt x="396" y="89"/>
                      <a:pt x="391" y="94"/>
                      <a:pt x="385" y="94"/>
                    </a:cubicBezTo>
                    <a:cubicBezTo>
                      <a:pt x="12" y="94"/>
                      <a:pt x="12" y="94"/>
                      <a:pt x="12" y="94"/>
                    </a:cubicBezTo>
                    <a:cubicBezTo>
                      <a:pt x="6" y="94"/>
                      <a:pt x="0" y="89"/>
                      <a:pt x="0" y="82"/>
                    </a:cubicBezTo>
                    <a:cubicBezTo>
                      <a:pt x="0" y="11"/>
                      <a:pt x="0" y="11"/>
                      <a:pt x="0" y="11"/>
                    </a:cubicBezTo>
                    <a:cubicBezTo>
                      <a:pt x="0" y="5"/>
                      <a:pt x="6" y="0"/>
                      <a:pt x="12" y="0"/>
                    </a:cubicBezTo>
                    <a:cubicBezTo>
                      <a:pt x="385" y="0"/>
                      <a:pt x="385" y="0"/>
                      <a:pt x="385" y="0"/>
                    </a:cubicBezTo>
                    <a:cubicBezTo>
                      <a:pt x="391" y="0"/>
                      <a:pt x="396" y="5"/>
                      <a:pt x="396" y="11"/>
                    </a:cubicBezTo>
                    <a:lnTo>
                      <a:pt x="396" y="82"/>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991" name="Rectangle 1367"/>
              <p:cNvSpPr>
                <a:spLocks noChangeArrowheads="1"/>
              </p:cNvSpPr>
              <p:nvPr/>
            </p:nvSpPr>
            <p:spPr bwMode="auto">
              <a:xfrm>
                <a:off x="14250988" y="3479800"/>
                <a:ext cx="22225"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992" name="Rectangle 1368"/>
              <p:cNvSpPr>
                <a:spLocks noChangeArrowheads="1"/>
              </p:cNvSpPr>
              <p:nvPr/>
            </p:nvSpPr>
            <p:spPr bwMode="auto">
              <a:xfrm>
                <a:off x="14285913" y="3479800"/>
                <a:ext cx="23813"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993" name="Rectangle 1369"/>
              <p:cNvSpPr>
                <a:spLocks noChangeArrowheads="1"/>
              </p:cNvSpPr>
              <p:nvPr/>
            </p:nvSpPr>
            <p:spPr bwMode="auto">
              <a:xfrm>
                <a:off x="14320838" y="3479800"/>
                <a:ext cx="23813"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994" name="Rectangle 1370"/>
              <p:cNvSpPr>
                <a:spLocks noChangeArrowheads="1"/>
              </p:cNvSpPr>
              <p:nvPr/>
            </p:nvSpPr>
            <p:spPr bwMode="auto">
              <a:xfrm>
                <a:off x="14357351" y="3479800"/>
                <a:ext cx="22225"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995" name="Rectangle 1371"/>
              <p:cNvSpPr>
                <a:spLocks noChangeArrowheads="1"/>
              </p:cNvSpPr>
              <p:nvPr/>
            </p:nvSpPr>
            <p:spPr bwMode="auto">
              <a:xfrm>
                <a:off x="14393863" y="3479800"/>
                <a:ext cx="22225"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996" name="Rectangle 1372"/>
              <p:cNvSpPr>
                <a:spLocks noChangeArrowheads="1"/>
              </p:cNvSpPr>
              <p:nvPr/>
            </p:nvSpPr>
            <p:spPr bwMode="auto">
              <a:xfrm>
                <a:off x="14250988" y="3646488"/>
                <a:ext cx="22225" cy="68263"/>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997" name="Rectangle 1373"/>
              <p:cNvSpPr>
                <a:spLocks noChangeArrowheads="1"/>
              </p:cNvSpPr>
              <p:nvPr/>
            </p:nvSpPr>
            <p:spPr bwMode="auto">
              <a:xfrm>
                <a:off x="14285913" y="3646488"/>
                <a:ext cx="23813" cy="68263"/>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998" name="Rectangle 1374"/>
              <p:cNvSpPr>
                <a:spLocks noChangeArrowheads="1"/>
              </p:cNvSpPr>
              <p:nvPr/>
            </p:nvSpPr>
            <p:spPr bwMode="auto">
              <a:xfrm>
                <a:off x="14320838" y="3646488"/>
                <a:ext cx="23813" cy="68263"/>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999" name="Rectangle 1375"/>
              <p:cNvSpPr>
                <a:spLocks noChangeArrowheads="1"/>
              </p:cNvSpPr>
              <p:nvPr/>
            </p:nvSpPr>
            <p:spPr bwMode="auto">
              <a:xfrm>
                <a:off x="14357351" y="3646488"/>
                <a:ext cx="22225" cy="68263"/>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000" name="Rectangle 1376"/>
              <p:cNvSpPr>
                <a:spLocks noChangeArrowheads="1"/>
              </p:cNvSpPr>
              <p:nvPr/>
            </p:nvSpPr>
            <p:spPr bwMode="auto">
              <a:xfrm>
                <a:off x="14393863" y="3646488"/>
                <a:ext cx="22225" cy="68263"/>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001" name="Rectangle 1377"/>
              <p:cNvSpPr>
                <a:spLocks noChangeArrowheads="1"/>
              </p:cNvSpPr>
              <p:nvPr/>
            </p:nvSpPr>
            <p:spPr bwMode="auto">
              <a:xfrm>
                <a:off x="14250988" y="3814763"/>
                <a:ext cx="22225"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002" name="Rectangle 1378"/>
              <p:cNvSpPr>
                <a:spLocks noChangeArrowheads="1"/>
              </p:cNvSpPr>
              <p:nvPr/>
            </p:nvSpPr>
            <p:spPr bwMode="auto">
              <a:xfrm>
                <a:off x="14285913" y="3814763"/>
                <a:ext cx="23813"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003" name="Rectangle 1379"/>
              <p:cNvSpPr>
                <a:spLocks noChangeArrowheads="1"/>
              </p:cNvSpPr>
              <p:nvPr/>
            </p:nvSpPr>
            <p:spPr bwMode="auto">
              <a:xfrm>
                <a:off x="14320838" y="3814763"/>
                <a:ext cx="23813"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004" name="Rectangle 1380"/>
              <p:cNvSpPr>
                <a:spLocks noChangeArrowheads="1"/>
              </p:cNvSpPr>
              <p:nvPr/>
            </p:nvSpPr>
            <p:spPr bwMode="auto">
              <a:xfrm>
                <a:off x="14357351" y="3814763"/>
                <a:ext cx="22225"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005" name="Rectangle 1381"/>
              <p:cNvSpPr>
                <a:spLocks noChangeArrowheads="1"/>
              </p:cNvSpPr>
              <p:nvPr/>
            </p:nvSpPr>
            <p:spPr bwMode="auto">
              <a:xfrm>
                <a:off x="14393863" y="3814763"/>
                <a:ext cx="22225"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006" name="Rectangle 1382"/>
              <p:cNvSpPr>
                <a:spLocks noChangeArrowheads="1"/>
              </p:cNvSpPr>
              <p:nvPr/>
            </p:nvSpPr>
            <p:spPr bwMode="auto">
              <a:xfrm>
                <a:off x="14250988" y="3981450"/>
                <a:ext cx="22225" cy="6508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007" name="Rectangle 1383"/>
              <p:cNvSpPr>
                <a:spLocks noChangeArrowheads="1"/>
              </p:cNvSpPr>
              <p:nvPr/>
            </p:nvSpPr>
            <p:spPr bwMode="auto">
              <a:xfrm>
                <a:off x="14285913" y="3981450"/>
                <a:ext cx="23813" cy="6508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008" name="Rectangle 1384"/>
              <p:cNvSpPr>
                <a:spLocks noChangeArrowheads="1"/>
              </p:cNvSpPr>
              <p:nvPr/>
            </p:nvSpPr>
            <p:spPr bwMode="auto">
              <a:xfrm>
                <a:off x="14320838" y="3981450"/>
                <a:ext cx="23813" cy="6508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009" name="Rectangle 1385"/>
              <p:cNvSpPr>
                <a:spLocks noChangeArrowheads="1"/>
              </p:cNvSpPr>
              <p:nvPr/>
            </p:nvSpPr>
            <p:spPr bwMode="auto">
              <a:xfrm>
                <a:off x="14357351" y="3981450"/>
                <a:ext cx="22225" cy="6508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010" name="Rectangle 1386"/>
              <p:cNvSpPr>
                <a:spLocks noChangeArrowheads="1"/>
              </p:cNvSpPr>
              <p:nvPr/>
            </p:nvSpPr>
            <p:spPr bwMode="auto">
              <a:xfrm>
                <a:off x="14393863" y="3981450"/>
                <a:ext cx="22225" cy="6508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011" name="Rectangle 1387"/>
              <p:cNvSpPr>
                <a:spLocks noChangeArrowheads="1"/>
              </p:cNvSpPr>
              <p:nvPr/>
            </p:nvSpPr>
            <p:spPr bwMode="auto">
              <a:xfrm>
                <a:off x="14250988" y="4148138"/>
                <a:ext cx="22225" cy="6508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012" name="Rectangle 1388"/>
              <p:cNvSpPr>
                <a:spLocks noChangeArrowheads="1"/>
              </p:cNvSpPr>
              <p:nvPr/>
            </p:nvSpPr>
            <p:spPr bwMode="auto">
              <a:xfrm>
                <a:off x="14285913" y="4148138"/>
                <a:ext cx="23813" cy="6508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013" name="Rectangle 1389"/>
              <p:cNvSpPr>
                <a:spLocks noChangeArrowheads="1"/>
              </p:cNvSpPr>
              <p:nvPr/>
            </p:nvSpPr>
            <p:spPr bwMode="auto">
              <a:xfrm>
                <a:off x="14320838" y="4148138"/>
                <a:ext cx="23813" cy="6508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014" name="Rectangle 1390"/>
              <p:cNvSpPr>
                <a:spLocks noChangeArrowheads="1"/>
              </p:cNvSpPr>
              <p:nvPr/>
            </p:nvSpPr>
            <p:spPr bwMode="auto">
              <a:xfrm>
                <a:off x="14357351" y="4148138"/>
                <a:ext cx="22225" cy="6508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015" name="Rectangle 1391"/>
              <p:cNvSpPr>
                <a:spLocks noChangeArrowheads="1"/>
              </p:cNvSpPr>
              <p:nvPr/>
            </p:nvSpPr>
            <p:spPr bwMode="auto">
              <a:xfrm>
                <a:off x="14393863" y="4148138"/>
                <a:ext cx="22225" cy="6508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016" name="Rectangle 1392"/>
              <p:cNvSpPr>
                <a:spLocks noChangeArrowheads="1"/>
              </p:cNvSpPr>
              <p:nvPr/>
            </p:nvSpPr>
            <p:spPr bwMode="auto">
              <a:xfrm>
                <a:off x="14250988" y="4313238"/>
                <a:ext cx="22225" cy="68263"/>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017" name="Rectangle 1393"/>
              <p:cNvSpPr>
                <a:spLocks noChangeArrowheads="1"/>
              </p:cNvSpPr>
              <p:nvPr/>
            </p:nvSpPr>
            <p:spPr bwMode="auto">
              <a:xfrm>
                <a:off x="14285913" y="4313238"/>
                <a:ext cx="23813" cy="68263"/>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018" name="Rectangle 1394"/>
              <p:cNvSpPr>
                <a:spLocks noChangeArrowheads="1"/>
              </p:cNvSpPr>
              <p:nvPr/>
            </p:nvSpPr>
            <p:spPr bwMode="auto">
              <a:xfrm>
                <a:off x="14320838" y="4313238"/>
                <a:ext cx="23813" cy="68263"/>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019" name="Rectangle 1395"/>
              <p:cNvSpPr>
                <a:spLocks noChangeArrowheads="1"/>
              </p:cNvSpPr>
              <p:nvPr/>
            </p:nvSpPr>
            <p:spPr bwMode="auto">
              <a:xfrm>
                <a:off x="14357351" y="4313238"/>
                <a:ext cx="22225" cy="68263"/>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020" name="Rectangle 1396"/>
              <p:cNvSpPr>
                <a:spLocks noChangeArrowheads="1"/>
              </p:cNvSpPr>
              <p:nvPr/>
            </p:nvSpPr>
            <p:spPr bwMode="auto">
              <a:xfrm>
                <a:off x="14393863" y="4313238"/>
                <a:ext cx="22225" cy="68263"/>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021" name="Rectangle 1397"/>
              <p:cNvSpPr>
                <a:spLocks noChangeArrowheads="1"/>
              </p:cNvSpPr>
              <p:nvPr/>
            </p:nvSpPr>
            <p:spPr bwMode="auto">
              <a:xfrm>
                <a:off x="14250988" y="4481513"/>
                <a:ext cx="22225"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022" name="Rectangle 1398"/>
              <p:cNvSpPr>
                <a:spLocks noChangeArrowheads="1"/>
              </p:cNvSpPr>
              <p:nvPr/>
            </p:nvSpPr>
            <p:spPr bwMode="auto">
              <a:xfrm>
                <a:off x="14285913" y="4481513"/>
                <a:ext cx="23813"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023" name="Rectangle 1399"/>
              <p:cNvSpPr>
                <a:spLocks noChangeArrowheads="1"/>
              </p:cNvSpPr>
              <p:nvPr/>
            </p:nvSpPr>
            <p:spPr bwMode="auto">
              <a:xfrm>
                <a:off x="14320838" y="4481513"/>
                <a:ext cx="23813"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024" name="Rectangle 1400"/>
              <p:cNvSpPr>
                <a:spLocks noChangeArrowheads="1"/>
              </p:cNvSpPr>
              <p:nvPr/>
            </p:nvSpPr>
            <p:spPr bwMode="auto">
              <a:xfrm>
                <a:off x="14357351" y="4481513"/>
                <a:ext cx="22225"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025" name="Rectangle 1401"/>
              <p:cNvSpPr>
                <a:spLocks noChangeArrowheads="1"/>
              </p:cNvSpPr>
              <p:nvPr/>
            </p:nvSpPr>
            <p:spPr bwMode="auto">
              <a:xfrm>
                <a:off x="14393863" y="4481513"/>
                <a:ext cx="22225"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026" name="Rectangle 1402"/>
              <p:cNvSpPr>
                <a:spLocks noChangeArrowheads="1"/>
              </p:cNvSpPr>
              <p:nvPr/>
            </p:nvSpPr>
            <p:spPr bwMode="auto">
              <a:xfrm>
                <a:off x="14250988" y="4648200"/>
                <a:ext cx="22225"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027" name="Rectangle 1403"/>
              <p:cNvSpPr>
                <a:spLocks noChangeArrowheads="1"/>
              </p:cNvSpPr>
              <p:nvPr/>
            </p:nvSpPr>
            <p:spPr bwMode="auto">
              <a:xfrm>
                <a:off x="14285913" y="4648200"/>
                <a:ext cx="23813"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028" name="Rectangle 1404"/>
              <p:cNvSpPr>
                <a:spLocks noChangeArrowheads="1"/>
              </p:cNvSpPr>
              <p:nvPr/>
            </p:nvSpPr>
            <p:spPr bwMode="auto">
              <a:xfrm>
                <a:off x="14320838" y="4648200"/>
                <a:ext cx="23813"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029" name="Rectangle 1405"/>
              <p:cNvSpPr>
                <a:spLocks noChangeArrowheads="1"/>
              </p:cNvSpPr>
              <p:nvPr/>
            </p:nvSpPr>
            <p:spPr bwMode="auto">
              <a:xfrm>
                <a:off x="14357351" y="4648200"/>
                <a:ext cx="22225"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030" name="Rectangle 1406"/>
              <p:cNvSpPr>
                <a:spLocks noChangeArrowheads="1"/>
              </p:cNvSpPr>
              <p:nvPr/>
            </p:nvSpPr>
            <p:spPr bwMode="auto">
              <a:xfrm>
                <a:off x="14393863" y="4648200"/>
                <a:ext cx="22225"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031" name="Oval 1407"/>
              <p:cNvSpPr>
                <a:spLocks noChangeArrowheads="1"/>
              </p:cNvSpPr>
              <p:nvPr/>
            </p:nvSpPr>
            <p:spPr bwMode="auto">
              <a:xfrm>
                <a:off x="14562138" y="4664075"/>
                <a:ext cx="38100" cy="3651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032" name="Oval 1408"/>
              <p:cNvSpPr>
                <a:spLocks noChangeArrowheads="1"/>
              </p:cNvSpPr>
              <p:nvPr/>
            </p:nvSpPr>
            <p:spPr bwMode="auto">
              <a:xfrm>
                <a:off x="14630401" y="3494088"/>
                <a:ext cx="38100" cy="38100"/>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033" name="Oval 1409"/>
              <p:cNvSpPr>
                <a:spLocks noChangeArrowheads="1"/>
              </p:cNvSpPr>
              <p:nvPr/>
            </p:nvSpPr>
            <p:spPr bwMode="auto">
              <a:xfrm>
                <a:off x="14630401" y="3662363"/>
                <a:ext cx="38100" cy="36513"/>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034" name="Oval 1410"/>
              <p:cNvSpPr>
                <a:spLocks noChangeArrowheads="1"/>
              </p:cNvSpPr>
              <p:nvPr/>
            </p:nvSpPr>
            <p:spPr bwMode="auto">
              <a:xfrm>
                <a:off x="14630401" y="3829050"/>
                <a:ext cx="38100" cy="36513"/>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035" name="Oval 1411"/>
              <p:cNvSpPr>
                <a:spLocks noChangeArrowheads="1"/>
              </p:cNvSpPr>
              <p:nvPr/>
            </p:nvSpPr>
            <p:spPr bwMode="auto">
              <a:xfrm>
                <a:off x="14630401" y="3995738"/>
                <a:ext cx="38100" cy="36513"/>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036" name="Oval 1412"/>
              <p:cNvSpPr>
                <a:spLocks noChangeArrowheads="1"/>
              </p:cNvSpPr>
              <p:nvPr/>
            </p:nvSpPr>
            <p:spPr bwMode="auto">
              <a:xfrm>
                <a:off x="14630401" y="4162425"/>
                <a:ext cx="38100" cy="36513"/>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037" name="Oval 1413"/>
              <p:cNvSpPr>
                <a:spLocks noChangeArrowheads="1"/>
              </p:cNvSpPr>
              <p:nvPr/>
            </p:nvSpPr>
            <p:spPr bwMode="auto">
              <a:xfrm>
                <a:off x="14630401" y="4329113"/>
                <a:ext cx="38100" cy="36513"/>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038" name="Oval 1414"/>
              <p:cNvSpPr>
                <a:spLocks noChangeArrowheads="1"/>
              </p:cNvSpPr>
              <p:nvPr/>
            </p:nvSpPr>
            <p:spPr bwMode="auto">
              <a:xfrm>
                <a:off x="14630401" y="4495800"/>
                <a:ext cx="38100" cy="38100"/>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039" name="Oval 1415"/>
              <p:cNvSpPr>
                <a:spLocks noChangeArrowheads="1"/>
              </p:cNvSpPr>
              <p:nvPr/>
            </p:nvSpPr>
            <p:spPr bwMode="auto">
              <a:xfrm>
                <a:off x="14630401" y="4664075"/>
                <a:ext cx="38100" cy="36513"/>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grpSp>
      <p:grpSp>
        <p:nvGrpSpPr>
          <p:cNvPr id="1474" name="Group 1473"/>
          <p:cNvGrpSpPr/>
          <p:nvPr/>
        </p:nvGrpSpPr>
        <p:grpSpPr>
          <a:xfrm>
            <a:off x="10389209" y="4859780"/>
            <a:ext cx="1280280" cy="1313890"/>
            <a:chOff x="7886917" y="3469989"/>
            <a:chExt cx="2061809" cy="2115935"/>
          </a:xfrm>
        </p:grpSpPr>
        <p:grpSp>
          <p:nvGrpSpPr>
            <p:cNvPr id="1766" name="Group 1765"/>
            <p:cNvGrpSpPr/>
            <p:nvPr/>
          </p:nvGrpSpPr>
          <p:grpSpPr>
            <a:xfrm>
              <a:off x="7886917" y="3469989"/>
              <a:ext cx="1039650" cy="1882552"/>
              <a:chOff x="14160501" y="3376613"/>
              <a:chExt cx="796925" cy="1443038"/>
            </a:xfrm>
          </p:grpSpPr>
          <p:sp>
            <p:nvSpPr>
              <p:cNvPr id="1903" name="Freeform 1349"/>
              <p:cNvSpPr>
                <a:spLocks/>
              </p:cNvSpPr>
              <p:nvPr/>
            </p:nvSpPr>
            <p:spPr bwMode="auto">
              <a:xfrm>
                <a:off x="14682788" y="3376613"/>
                <a:ext cx="274638" cy="1443038"/>
              </a:xfrm>
              <a:custGeom>
                <a:avLst/>
                <a:gdLst>
                  <a:gd name="T0" fmla="*/ 184 w 224"/>
                  <a:gd name="T1" fmla="*/ 0 h 1184"/>
                  <a:gd name="T2" fmla="*/ 0 w 224"/>
                  <a:gd name="T3" fmla="*/ 0 h 1184"/>
                  <a:gd name="T4" fmla="*/ 40 w 224"/>
                  <a:gd name="T5" fmla="*/ 41 h 1184"/>
                  <a:gd name="T6" fmla="*/ 40 w 224"/>
                  <a:gd name="T7" fmla="*/ 1144 h 1184"/>
                  <a:gd name="T8" fmla="*/ 0 w 224"/>
                  <a:gd name="T9" fmla="*/ 1184 h 1184"/>
                  <a:gd name="T10" fmla="*/ 184 w 224"/>
                  <a:gd name="T11" fmla="*/ 1184 h 1184"/>
                  <a:gd name="T12" fmla="*/ 224 w 224"/>
                  <a:gd name="T13" fmla="*/ 1144 h 1184"/>
                  <a:gd name="T14" fmla="*/ 224 w 224"/>
                  <a:gd name="T15" fmla="*/ 41 h 1184"/>
                  <a:gd name="T16" fmla="*/ 184 w 224"/>
                  <a:gd name="T17" fmla="*/ 0 h 1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4" h="1184">
                    <a:moveTo>
                      <a:pt x="184" y="0"/>
                    </a:moveTo>
                    <a:cubicBezTo>
                      <a:pt x="0" y="0"/>
                      <a:pt x="0" y="0"/>
                      <a:pt x="0" y="0"/>
                    </a:cubicBezTo>
                    <a:cubicBezTo>
                      <a:pt x="22" y="0"/>
                      <a:pt x="40" y="18"/>
                      <a:pt x="40" y="41"/>
                    </a:cubicBezTo>
                    <a:cubicBezTo>
                      <a:pt x="40" y="1144"/>
                      <a:pt x="40" y="1144"/>
                      <a:pt x="40" y="1144"/>
                    </a:cubicBezTo>
                    <a:cubicBezTo>
                      <a:pt x="40" y="1166"/>
                      <a:pt x="22" y="1184"/>
                      <a:pt x="0" y="1184"/>
                    </a:cubicBezTo>
                    <a:cubicBezTo>
                      <a:pt x="184" y="1184"/>
                      <a:pt x="184" y="1184"/>
                      <a:pt x="184" y="1184"/>
                    </a:cubicBezTo>
                    <a:cubicBezTo>
                      <a:pt x="206" y="1184"/>
                      <a:pt x="224" y="1166"/>
                      <a:pt x="224" y="1144"/>
                    </a:cubicBezTo>
                    <a:cubicBezTo>
                      <a:pt x="224" y="41"/>
                      <a:pt x="224" y="41"/>
                      <a:pt x="224" y="41"/>
                    </a:cubicBezTo>
                    <a:cubicBezTo>
                      <a:pt x="224" y="18"/>
                      <a:pt x="206" y="0"/>
                      <a:pt x="184" y="0"/>
                    </a:cubicBez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904" name="Freeform 1350"/>
              <p:cNvSpPr>
                <a:spLocks/>
              </p:cNvSpPr>
              <p:nvPr/>
            </p:nvSpPr>
            <p:spPr bwMode="auto">
              <a:xfrm>
                <a:off x="14682788" y="3376613"/>
                <a:ext cx="274638" cy="1443038"/>
              </a:xfrm>
              <a:custGeom>
                <a:avLst/>
                <a:gdLst>
                  <a:gd name="T0" fmla="*/ 184 w 224"/>
                  <a:gd name="T1" fmla="*/ 0 h 1184"/>
                  <a:gd name="T2" fmla="*/ 0 w 224"/>
                  <a:gd name="T3" fmla="*/ 0 h 1184"/>
                  <a:gd name="T4" fmla="*/ 40 w 224"/>
                  <a:gd name="T5" fmla="*/ 41 h 1184"/>
                  <a:gd name="T6" fmla="*/ 40 w 224"/>
                  <a:gd name="T7" fmla="*/ 1144 h 1184"/>
                  <a:gd name="T8" fmla="*/ 0 w 224"/>
                  <a:gd name="T9" fmla="*/ 1184 h 1184"/>
                  <a:gd name="T10" fmla="*/ 184 w 224"/>
                  <a:gd name="T11" fmla="*/ 1184 h 1184"/>
                  <a:gd name="T12" fmla="*/ 224 w 224"/>
                  <a:gd name="T13" fmla="*/ 1144 h 1184"/>
                  <a:gd name="T14" fmla="*/ 224 w 224"/>
                  <a:gd name="T15" fmla="*/ 41 h 1184"/>
                  <a:gd name="T16" fmla="*/ 184 w 224"/>
                  <a:gd name="T17" fmla="*/ 0 h 1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4" h="1184">
                    <a:moveTo>
                      <a:pt x="184" y="0"/>
                    </a:moveTo>
                    <a:cubicBezTo>
                      <a:pt x="0" y="0"/>
                      <a:pt x="0" y="0"/>
                      <a:pt x="0" y="0"/>
                    </a:cubicBezTo>
                    <a:cubicBezTo>
                      <a:pt x="22" y="0"/>
                      <a:pt x="40" y="18"/>
                      <a:pt x="40" y="41"/>
                    </a:cubicBezTo>
                    <a:cubicBezTo>
                      <a:pt x="40" y="1144"/>
                      <a:pt x="40" y="1144"/>
                      <a:pt x="40" y="1144"/>
                    </a:cubicBezTo>
                    <a:cubicBezTo>
                      <a:pt x="40" y="1166"/>
                      <a:pt x="22" y="1184"/>
                      <a:pt x="0" y="1184"/>
                    </a:cubicBezTo>
                    <a:cubicBezTo>
                      <a:pt x="184" y="1184"/>
                      <a:pt x="184" y="1184"/>
                      <a:pt x="184" y="1184"/>
                    </a:cubicBezTo>
                    <a:cubicBezTo>
                      <a:pt x="206" y="1184"/>
                      <a:pt x="224" y="1166"/>
                      <a:pt x="224" y="1144"/>
                    </a:cubicBezTo>
                    <a:cubicBezTo>
                      <a:pt x="224" y="41"/>
                      <a:pt x="224" y="41"/>
                      <a:pt x="224" y="41"/>
                    </a:cubicBezTo>
                    <a:cubicBezTo>
                      <a:pt x="224" y="18"/>
                      <a:pt x="206" y="0"/>
                      <a:pt x="184" y="0"/>
                    </a:cubicBezTo>
                    <a:close/>
                  </a:path>
                </a:pathLst>
              </a:custGeom>
              <a:solidFill>
                <a:srgbClr val="003D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905" name="Freeform 1351"/>
              <p:cNvSpPr>
                <a:spLocks/>
              </p:cNvSpPr>
              <p:nvPr/>
            </p:nvSpPr>
            <p:spPr bwMode="auto">
              <a:xfrm>
                <a:off x="14160501" y="3376613"/>
                <a:ext cx="611188" cy="1443038"/>
              </a:xfrm>
              <a:custGeom>
                <a:avLst/>
                <a:gdLst>
                  <a:gd name="T0" fmla="*/ 499 w 499"/>
                  <a:gd name="T1" fmla="*/ 1144 h 1184"/>
                  <a:gd name="T2" fmla="*/ 459 w 499"/>
                  <a:gd name="T3" fmla="*/ 1184 h 1184"/>
                  <a:gd name="T4" fmla="*/ 40 w 499"/>
                  <a:gd name="T5" fmla="*/ 1184 h 1184"/>
                  <a:gd name="T6" fmla="*/ 0 w 499"/>
                  <a:gd name="T7" fmla="*/ 1144 h 1184"/>
                  <a:gd name="T8" fmla="*/ 0 w 499"/>
                  <a:gd name="T9" fmla="*/ 41 h 1184"/>
                  <a:gd name="T10" fmla="*/ 40 w 499"/>
                  <a:gd name="T11" fmla="*/ 0 h 1184"/>
                  <a:gd name="T12" fmla="*/ 459 w 499"/>
                  <a:gd name="T13" fmla="*/ 0 h 1184"/>
                  <a:gd name="T14" fmla="*/ 499 w 499"/>
                  <a:gd name="T15" fmla="*/ 41 h 1184"/>
                  <a:gd name="T16" fmla="*/ 499 w 499"/>
                  <a:gd name="T17" fmla="*/ 1144 h 1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9" h="1184">
                    <a:moveTo>
                      <a:pt x="499" y="1144"/>
                    </a:moveTo>
                    <a:cubicBezTo>
                      <a:pt x="499" y="1166"/>
                      <a:pt x="481" y="1184"/>
                      <a:pt x="459" y="1184"/>
                    </a:cubicBezTo>
                    <a:cubicBezTo>
                      <a:pt x="40" y="1184"/>
                      <a:pt x="40" y="1184"/>
                      <a:pt x="40" y="1184"/>
                    </a:cubicBezTo>
                    <a:cubicBezTo>
                      <a:pt x="18" y="1184"/>
                      <a:pt x="0" y="1166"/>
                      <a:pt x="0" y="1144"/>
                    </a:cubicBezTo>
                    <a:cubicBezTo>
                      <a:pt x="0" y="41"/>
                      <a:pt x="0" y="41"/>
                      <a:pt x="0" y="41"/>
                    </a:cubicBezTo>
                    <a:cubicBezTo>
                      <a:pt x="0" y="18"/>
                      <a:pt x="18" y="0"/>
                      <a:pt x="40" y="0"/>
                    </a:cubicBezTo>
                    <a:cubicBezTo>
                      <a:pt x="459" y="0"/>
                      <a:pt x="459" y="0"/>
                      <a:pt x="459" y="0"/>
                    </a:cubicBezTo>
                    <a:cubicBezTo>
                      <a:pt x="481" y="0"/>
                      <a:pt x="499" y="18"/>
                      <a:pt x="499" y="41"/>
                    </a:cubicBezTo>
                    <a:lnTo>
                      <a:pt x="499" y="1144"/>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906" name="Freeform 1352"/>
              <p:cNvSpPr>
                <a:spLocks/>
              </p:cNvSpPr>
              <p:nvPr/>
            </p:nvSpPr>
            <p:spPr bwMode="auto">
              <a:xfrm>
                <a:off x="14216063" y="3455988"/>
                <a:ext cx="485775" cy="114300"/>
              </a:xfrm>
              <a:custGeom>
                <a:avLst/>
                <a:gdLst>
                  <a:gd name="T0" fmla="*/ 396 w 396"/>
                  <a:gd name="T1" fmla="*/ 83 h 94"/>
                  <a:gd name="T2" fmla="*/ 385 w 396"/>
                  <a:gd name="T3" fmla="*/ 94 h 94"/>
                  <a:gd name="T4" fmla="*/ 12 w 396"/>
                  <a:gd name="T5" fmla="*/ 94 h 94"/>
                  <a:gd name="T6" fmla="*/ 0 w 396"/>
                  <a:gd name="T7" fmla="*/ 83 h 94"/>
                  <a:gd name="T8" fmla="*/ 0 w 396"/>
                  <a:gd name="T9" fmla="*/ 12 h 94"/>
                  <a:gd name="T10" fmla="*/ 12 w 396"/>
                  <a:gd name="T11" fmla="*/ 0 h 94"/>
                  <a:gd name="T12" fmla="*/ 385 w 396"/>
                  <a:gd name="T13" fmla="*/ 0 h 94"/>
                  <a:gd name="T14" fmla="*/ 396 w 396"/>
                  <a:gd name="T15" fmla="*/ 12 h 94"/>
                  <a:gd name="T16" fmla="*/ 396 w 396"/>
                  <a:gd name="T17" fmla="*/ 83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6" h="94">
                    <a:moveTo>
                      <a:pt x="396" y="83"/>
                    </a:moveTo>
                    <a:cubicBezTo>
                      <a:pt x="396" y="89"/>
                      <a:pt x="391" y="94"/>
                      <a:pt x="385" y="94"/>
                    </a:cubicBezTo>
                    <a:cubicBezTo>
                      <a:pt x="12" y="94"/>
                      <a:pt x="12" y="94"/>
                      <a:pt x="12" y="94"/>
                    </a:cubicBezTo>
                    <a:cubicBezTo>
                      <a:pt x="6" y="94"/>
                      <a:pt x="0" y="89"/>
                      <a:pt x="0" y="83"/>
                    </a:cubicBezTo>
                    <a:cubicBezTo>
                      <a:pt x="0" y="12"/>
                      <a:pt x="0" y="12"/>
                      <a:pt x="0" y="12"/>
                    </a:cubicBezTo>
                    <a:cubicBezTo>
                      <a:pt x="0" y="5"/>
                      <a:pt x="6" y="0"/>
                      <a:pt x="12" y="0"/>
                    </a:cubicBezTo>
                    <a:cubicBezTo>
                      <a:pt x="385" y="0"/>
                      <a:pt x="385" y="0"/>
                      <a:pt x="385" y="0"/>
                    </a:cubicBezTo>
                    <a:cubicBezTo>
                      <a:pt x="391" y="0"/>
                      <a:pt x="396" y="5"/>
                      <a:pt x="396" y="12"/>
                    </a:cubicBezTo>
                    <a:lnTo>
                      <a:pt x="396" y="83"/>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907" name="Oval 1353"/>
              <p:cNvSpPr>
                <a:spLocks noChangeArrowheads="1"/>
              </p:cNvSpPr>
              <p:nvPr/>
            </p:nvSpPr>
            <p:spPr bwMode="auto">
              <a:xfrm>
                <a:off x="14562138" y="3494088"/>
                <a:ext cx="38100" cy="3810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908" name="Freeform 1354"/>
              <p:cNvSpPr>
                <a:spLocks/>
              </p:cNvSpPr>
              <p:nvPr/>
            </p:nvSpPr>
            <p:spPr bwMode="auto">
              <a:xfrm>
                <a:off x="14216063" y="3622675"/>
                <a:ext cx="485775" cy="114300"/>
              </a:xfrm>
              <a:custGeom>
                <a:avLst/>
                <a:gdLst>
                  <a:gd name="T0" fmla="*/ 396 w 396"/>
                  <a:gd name="T1" fmla="*/ 83 h 94"/>
                  <a:gd name="T2" fmla="*/ 385 w 396"/>
                  <a:gd name="T3" fmla="*/ 94 h 94"/>
                  <a:gd name="T4" fmla="*/ 12 w 396"/>
                  <a:gd name="T5" fmla="*/ 94 h 94"/>
                  <a:gd name="T6" fmla="*/ 0 w 396"/>
                  <a:gd name="T7" fmla="*/ 83 h 94"/>
                  <a:gd name="T8" fmla="*/ 0 w 396"/>
                  <a:gd name="T9" fmla="*/ 12 h 94"/>
                  <a:gd name="T10" fmla="*/ 12 w 396"/>
                  <a:gd name="T11" fmla="*/ 0 h 94"/>
                  <a:gd name="T12" fmla="*/ 385 w 396"/>
                  <a:gd name="T13" fmla="*/ 0 h 94"/>
                  <a:gd name="T14" fmla="*/ 396 w 396"/>
                  <a:gd name="T15" fmla="*/ 12 h 94"/>
                  <a:gd name="T16" fmla="*/ 396 w 396"/>
                  <a:gd name="T17" fmla="*/ 83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6" h="94">
                    <a:moveTo>
                      <a:pt x="396" y="83"/>
                    </a:moveTo>
                    <a:cubicBezTo>
                      <a:pt x="396" y="89"/>
                      <a:pt x="391" y="94"/>
                      <a:pt x="385" y="94"/>
                    </a:cubicBezTo>
                    <a:cubicBezTo>
                      <a:pt x="12" y="94"/>
                      <a:pt x="12" y="94"/>
                      <a:pt x="12" y="94"/>
                    </a:cubicBezTo>
                    <a:cubicBezTo>
                      <a:pt x="6" y="94"/>
                      <a:pt x="0" y="89"/>
                      <a:pt x="0" y="83"/>
                    </a:cubicBezTo>
                    <a:cubicBezTo>
                      <a:pt x="0" y="12"/>
                      <a:pt x="0" y="12"/>
                      <a:pt x="0" y="12"/>
                    </a:cubicBezTo>
                    <a:cubicBezTo>
                      <a:pt x="0" y="5"/>
                      <a:pt x="6" y="0"/>
                      <a:pt x="12" y="0"/>
                    </a:cubicBezTo>
                    <a:cubicBezTo>
                      <a:pt x="385" y="0"/>
                      <a:pt x="385" y="0"/>
                      <a:pt x="385" y="0"/>
                    </a:cubicBezTo>
                    <a:cubicBezTo>
                      <a:pt x="391" y="0"/>
                      <a:pt x="396" y="5"/>
                      <a:pt x="396" y="12"/>
                    </a:cubicBezTo>
                    <a:lnTo>
                      <a:pt x="396" y="83"/>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909" name="Oval 1355"/>
              <p:cNvSpPr>
                <a:spLocks noChangeArrowheads="1"/>
              </p:cNvSpPr>
              <p:nvPr/>
            </p:nvSpPr>
            <p:spPr bwMode="auto">
              <a:xfrm>
                <a:off x="14562138" y="3662363"/>
                <a:ext cx="38100" cy="3651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910" name="Freeform 1356"/>
              <p:cNvSpPr>
                <a:spLocks/>
              </p:cNvSpPr>
              <p:nvPr/>
            </p:nvSpPr>
            <p:spPr bwMode="auto">
              <a:xfrm>
                <a:off x="14216063" y="3789363"/>
                <a:ext cx="485775" cy="114300"/>
              </a:xfrm>
              <a:custGeom>
                <a:avLst/>
                <a:gdLst>
                  <a:gd name="T0" fmla="*/ 396 w 396"/>
                  <a:gd name="T1" fmla="*/ 83 h 94"/>
                  <a:gd name="T2" fmla="*/ 385 w 396"/>
                  <a:gd name="T3" fmla="*/ 94 h 94"/>
                  <a:gd name="T4" fmla="*/ 12 w 396"/>
                  <a:gd name="T5" fmla="*/ 94 h 94"/>
                  <a:gd name="T6" fmla="*/ 0 w 396"/>
                  <a:gd name="T7" fmla="*/ 83 h 94"/>
                  <a:gd name="T8" fmla="*/ 0 w 396"/>
                  <a:gd name="T9" fmla="*/ 12 h 94"/>
                  <a:gd name="T10" fmla="*/ 12 w 396"/>
                  <a:gd name="T11" fmla="*/ 0 h 94"/>
                  <a:gd name="T12" fmla="*/ 385 w 396"/>
                  <a:gd name="T13" fmla="*/ 0 h 94"/>
                  <a:gd name="T14" fmla="*/ 396 w 396"/>
                  <a:gd name="T15" fmla="*/ 12 h 94"/>
                  <a:gd name="T16" fmla="*/ 396 w 396"/>
                  <a:gd name="T17" fmla="*/ 83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6" h="94">
                    <a:moveTo>
                      <a:pt x="396" y="83"/>
                    </a:moveTo>
                    <a:cubicBezTo>
                      <a:pt x="396" y="89"/>
                      <a:pt x="391" y="94"/>
                      <a:pt x="385" y="94"/>
                    </a:cubicBezTo>
                    <a:cubicBezTo>
                      <a:pt x="12" y="94"/>
                      <a:pt x="12" y="94"/>
                      <a:pt x="12" y="94"/>
                    </a:cubicBezTo>
                    <a:cubicBezTo>
                      <a:pt x="6" y="94"/>
                      <a:pt x="0" y="89"/>
                      <a:pt x="0" y="83"/>
                    </a:cubicBezTo>
                    <a:cubicBezTo>
                      <a:pt x="0" y="12"/>
                      <a:pt x="0" y="12"/>
                      <a:pt x="0" y="12"/>
                    </a:cubicBezTo>
                    <a:cubicBezTo>
                      <a:pt x="0" y="5"/>
                      <a:pt x="6" y="0"/>
                      <a:pt x="12" y="0"/>
                    </a:cubicBezTo>
                    <a:cubicBezTo>
                      <a:pt x="385" y="0"/>
                      <a:pt x="385" y="0"/>
                      <a:pt x="385" y="0"/>
                    </a:cubicBezTo>
                    <a:cubicBezTo>
                      <a:pt x="391" y="0"/>
                      <a:pt x="396" y="5"/>
                      <a:pt x="396" y="12"/>
                    </a:cubicBezTo>
                    <a:lnTo>
                      <a:pt x="396" y="83"/>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911" name="Oval 1357"/>
              <p:cNvSpPr>
                <a:spLocks noChangeArrowheads="1"/>
              </p:cNvSpPr>
              <p:nvPr/>
            </p:nvSpPr>
            <p:spPr bwMode="auto">
              <a:xfrm>
                <a:off x="14562138" y="3829050"/>
                <a:ext cx="38100" cy="3651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912" name="Freeform 1358"/>
              <p:cNvSpPr>
                <a:spLocks/>
              </p:cNvSpPr>
              <p:nvPr/>
            </p:nvSpPr>
            <p:spPr bwMode="auto">
              <a:xfrm>
                <a:off x="14216063" y="3956050"/>
                <a:ext cx="485775" cy="115888"/>
              </a:xfrm>
              <a:custGeom>
                <a:avLst/>
                <a:gdLst>
                  <a:gd name="T0" fmla="*/ 396 w 396"/>
                  <a:gd name="T1" fmla="*/ 83 h 94"/>
                  <a:gd name="T2" fmla="*/ 385 w 396"/>
                  <a:gd name="T3" fmla="*/ 94 h 94"/>
                  <a:gd name="T4" fmla="*/ 12 w 396"/>
                  <a:gd name="T5" fmla="*/ 94 h 94"/>
                  <a:gd name="T6" fmla="*/ 0 w 396"/>
                  <a:gd name="T7" fmla="*/ 83 h 94"/>
                  <a:gd name="T8" fmla="*/ 0 w 396"/>
                  <a:gd name="T9" fmla="*/ 12 h 94"/>
                  <a:gd name="T10" fmla="*/ 12 w 396"/>
                  <a:gd name="T11" fmla="*/ 0 h 94"/>
                  <a:gd name="T12" fmla="*/ 385 w 396"/>
                  <a:gd name="T13" fmla="*/ 0 h 94"/>
                  <a:gd name="T14" fmla="*/ 396 w 396"/>
                  <a:gd name="T15" fmla="*/ 12 h 94"/>
                  <a:gd name="T16" fmla="*/ 396 w 396"/>
                  <a:gd name="T17" fmla="*/ 83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6" h="94">
                    <a:moveTo>
                      <a:pt x="396" y="83"/>
                    </a:moveTo>
                    <a:cubicBezTo>
                      <a:pt x="396" y="89"/>
                      <a:pt x="391" y="94"/>
                      <a:pt x="385" y="94"/>
                    </a:cubicBezTo>
                    <a:cubicBezTo>
                      <a:pt x="12" y="94"/>
                      <a:pt x="12" y="94"/>
                      <a:pt x="12" y="94"/>
                    </a:cubicBezTo>
                    <a:cubicBezTo>
                      <a:pt x="6" y="94"/>
                      <a:pt x="0" y="89"/>
                      <a:pt x="0" y="83"/>
                    </a:cubicBezTo>
                    <a:cubicBezTo>
                      <a:pt x="0" y="12"/>
                      <a:pt x="0" y="12"/>
                      <a:pt x="0" y="12"/>
                    </a:cubicBezTo>
                    <a:cubicBezTo>
                      <a:pt x="0" y="5"/>
                      <a:pt x="6" y="0"/>
                      <a:pt x="12" y="0"/>
                    </a:cubicBezTo>
                    <a:cubicBezTo>
                      <a:pt x="385" y="0"/>
                      <a:pt x="385" y="0"/>
                      <a:pt x="385" y="0"/>
                    </a:cubicBezTo>
                    <a:cubicBezTo>
                      <a:pt x="391" y="0"/>
                      <a:pt x="396" y="5"/>
                      <a:pt x="396" y="12"/>
                    </a:cubicBezTo>
                    <a:lnTo>
                      <a:pt x="396" y="83"/>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913" name="Oval 1359"/>
              <p:cNvSpPr>
                <a:spLocks noChangeArrowheads="1"/>
              </p:cNvSpPr>
              <p:nvPr/>
            </p:nvSpPr>
            <p:spPr bwMode="auto">
              <a:xfrm>
                <a:off x="14562138" y="3995738"/>
                <a:ext cx="38100" cy="3651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914" name="Freeform 1360"/>
              <p:cNvSpPr>
                <a:spLocks/>
              </p:cNvSpPr>
              <p:nvPr/>
            </p:nvSpPr>
            <p:spPr bwMode="auto">
              <a:xfrm>
                <a:off x="14216063" y="4124325"/>
                <a:ext cx="485775" cy="114300"/>
              </a:xfrm>
              <a:custGeom>
                <a:avLst/>
                <a:gdLst>
                  <a:gd name="T0" fmla="*/ 396 w 396"/>
                  <a:gd name="T1" fmla="*/ 82 h 94"/>
                  <a:gd name="T2" fmla="*/ 385 w 396"/>
                  <a:gd name="T3" fmla="*/ 94 h 94"/>
                  <a:gd name="T4" fmla="*/ 12 w 396"/>
                  <a:gd name="T5" fmla="*/ 94 h 94"/>
                  <a:gd name="T6" fmla="*/ 0 w 396"/>
                  <a:gd name="T7" fmla="*/ 82 h 94"/>
                  <a:gd name="T8" fmla="*/ 0 w 396"/>
                  <a:gd name="T9" fmla="*/ 11 h 94"/>
                  <a:gd name="T10" fmla="*/ 12 w 396"/>
                  <a:gd name="T11" fmla="*/ 0 h 94"/>
                  <a:gd name="T12" fmla="*/ 385 w 396"/>
                  <a:gd name="T13" fmla="*/ 0 h 94"/>
                  <a:gd name="T14" fmla="*/ 396 w 396"/>
                  <a:gd name="T15" fmla="*/ 11 h 94"/>
                  <a:gd name="T16" fmla="*/ 396 w 396"/>
                  <a:gd name="T17" fmla="*/ 82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6" h="94">
                    <a:moveTo>
                      <a:pt x="396" y="82"/>
                    </a:moveTo>
                    <a:cubicBezTo>
                      <a:pt x="396" y="89"/>
                      <a:pt x="391" y="94"/>
                      <a:pt x="385" y="94"/>
                    </a:cubicBezTo>
                    <a:cubicBezTo>
                      <a:pt x="12" y="94"/>
                      <a:pt x="12" y="94"/>
                      <a:pt x="12" y="94"/>
                    </a:cubicBezTo>
                    <a:cubicBezTo>
                      <a:pt x="6" y="94"/>
                      <a:pt x="0" y="89"/>
                      <a:pt x="0" y="82"/>
                    </a:cubicBezTo>
                    <a:cubicBezTo>
                      <a:pt x="0" y="11"/>
                      <a:pt x="0" y="11"/>
                      <a:pt x="0" y="11"/>
                    </a:cubicBezTo>
                    <a:cubicBezTo>
                      <a:pt x="0" y="5"/>
                      <a:pt x="6" y="0"/>
                      <a:pt x="12" y="0"/>
                    </a:cubicBezTo>
                    <a:cubicBezTo>
                      <a:pt x="385" y="0"/>
                      <a:pt x="385" y="0"/>
                      <a:pt x="385" y="0"/>
                    </a:cubicBezTo>
                    <a:cubicBezTo>
                      <a:pt x="391" y="0"/>
                      <a:pt x="396" y="5"/>
                      <a:pt x="396" y="11"/>
                    </a:cubicBezTo>
                    <a:lnTo>
                      <a:pt x="396" y="82"/>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915" name="Oval 1361"/>
              <p:cNvSpPr>
                <a:spLocks noChangeArrowheads="1"/>
              </p:cNvSpPr>
              <p:nvPr/>
            </p:nvSpPr>
            <p:spPr bwMode="auto">
              <a:xfrm>
                <a:off x="14562138" y="4162425"/>
                <a:ext cx="38100" cy="3651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916" name="Freeform 1362"/>
              <p:cNvSpPr>
                <a:spLocks/>
              </p:cNvSpPr>
              <p:nvPr/>
            </p:nvSpPr>
            <p:spPr bwMode="auto">
              <a:xfrm>
                <a:off x="14216063" y="4291013"/>
                <a:ext cx="485775" cy="114300"/>
              </a:xfrm>
              <a:custGeom>
                <a:avLst/>
                <a:gdLst>
                  <a:gd name="T0" fmla="*/ 396 w 396"/>
                  <a:gd name="T1" fmla="*/ 82 h 94"/>
                  <a:gd name="T2" fmla="*/ 385 w 396"/>
                  <a:gd name="T3" fmla="*/ 94 h 94"/>
                  <a:gd name="T4" fmla="*/ 12 w 396"/>
                  <a:gd name="T5" fmla="*/ 94 h 94"/>
                  <a:gd name="T6" fmla="*/ 0 w 396"/>
                  <a:gd name="T7" fmla="*/ 82 h 94"/>
                  <a:gd name="T8" fmla="*/ 0 w 396"/>
                  <a:gd name="T9" fmla="*/ 11 h 94"/>
                  <a:gd name="T10" fmla="*/ 12 w 396"/>
                  <a:gd name="T11" fmla="*/ 0 h 94"/>
                  <a:gd name="T12" fmla="*/ 385 w 396"/>
                  <a:gd name="T13" fmla="*/ 0 h 94"/>
                  <a:gd name="T14" fmla="*/ 396 w 396"/>
                  <a:gd name="T15" fmla="*/ 11 h 94"/>
                  <a:gd name="T16" fmla="*/ 396 w 396"/>
                  <a:gd name="T17" fmla="*/ 82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6" h="94">
                    <a:moveTo>
                      <a:pt x="396" y="82"/>
                    </a:moveTo>
                    <a:cubicBezTo>
                      <a:pt x="396" y="89"/>
                      <a:pt x="391" y="94"/>
                      <a:pt x="385" y="94"/>
                    </a:cubicBezTo>
                    <a:cubicBezTo>
                      <a:pt x="12" y="94"/>
                      <a:pt x="12" y="94"/>
                      <a:pt x="12" y="94"/>
                    </a:cubicBezTo>
                    <a:cubicBezTo>
                      <a:pt x="6" y="94"/>
                      <a:pt x="0" y="89"/>
                      <a:pt x="0" y="82"/>
                    </a:cubicBezTo>
                    <a:cubicBezTo>
                      <a:pt x="0" y="11"/>
                      <a:pt x="0" y="11"/>
                      <a:pt x="0" y="11"/>
                    </a:cubicBezTo>
                    <a:cubicBezTo>
                      <a:pt x="0" y="5"/>
                      <a:pt x="6" y="0"/>
                      <a:pt x="12" y="0"/>
                    </a:cubicBezTo>
                    <a:cubicBezTo>
                      <a:pt x="385" y="0"/>
                      <a:pt x="385" y="0"/>
                      <a:pt x="385" y="0"/>
                    </a:cubicBezTo>
                    <a:cubicBezTo>
                      <a:pt x="391" y="0"/>
                      <a:pt x="396" y="5"/>
                      <a:pt x="396" y="11"/>
                    </a:cubicBezTo>
                    <a:lnTo>
                      <a:pt x="396" y="82"/>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917" name="Oval 1363"/>
              <p:cNvSpPr>
                <a:spLocks noChangeArrowheads="1"/>
              </p:cNvSpPr>
              <p:nvPr/>
            </p:nvSpPr>
            <p:spPr bwMode="auto">
              <a:xfrm>
                <a:off x="14562138" y="4329113"/>
                <a:ext cx="38100" cy="3651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918" name="Freeform 1364"/>
              <p:cNvSpPr>
                <a:spLocks/>
              </p:cNvSpPr>
              <p:nvPr/>
            </p:nvSpPr>
            <p:spPr bwMode="auto">
              <a:xfrm>
                <a:off x="14216063" y="4457700"/>
                <a:ext cx="485775" cy="114300"/>
              </a:xfrm>
              <a:custGeom>
                <a:avLst/>
                <a:gdLst>
                  <a:gd name="T0" fmla="*/ 396 w 396"/>
                  <a:gd name="T1" fmla="*/ 82 h 94"/>
                  <a:gd name="T2" fmla="*/ 385 w 396"/>
                  <a:gd name="T3" fmla="*/ 94 h 94"/>
                  <a:gd name="T4" fmla="*/ 12 w 396"/>
                  <a:gd name="T5" fmla="*/ 94 h 94"/>
                  <a:gd name="T6" fmla="*/ 0 w 396"/>
                  <a:gd name="T7" fmla="*/ 82 h 94"/>
                  <a:gd name="T8" fmla="*/ 0 w 396"/>
                  <a:gd name="T9" fmla="*/ 11 h 94"/>
                  <a:gd name="T10" fmla="*/ 12 w 396"/>
                  <a:gd name="T11" fmla="*/ 0 h 94"/>
                  <a:gd name="T12" fmla="*/ 385 w 396"/>
                  <a:gd name="T13" fmla="*/ 0 h 94"/>
                  <a:gd name="T14" fmla="*/ 396 w 396"/>
                  <a:gd name="T15" fmla="*/ 11 h 94"/>
                  <a:gd name="T16" fmla="*/ 396 w 396"/>
                  <a:gd name="T17" fmla="*/ 82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6" h="94">
                    <a:moveTo>
                      <a:pt x="396" y="82"/>
                    </a:moveTo>
                    <a:cubicBezTo>
                      <a:pt x="396" y="89"/>
                      <a:pt x="391" y="94"/>
                      <a:pt x="385" y="94"/>
                    </a:cubicBezTo>
                    <a:cubicBezTo>
                      <a:pt x="12" y="94"/>
                      <a:pt x="12" y="94"/>
                      <a:pt x="12" y="94"/>
                    </a:cubicBezTo>
                    <a:cubicBezTo>
                      <a:pt x="6" y="94"/>
                      <a:pt x="0" y="89"/>
                      <a:pt x="0" y="82"/>
                    </a:cubicBezTo>
                    <a:cubicBezTo>
                      <a:pt x="0" y="11"/>
                      <a:pt x="0" y="11"/>
                      <a:pt x="0" y="11"/>
                    </a:cubicBezTo>
                    <a:cubicBezTo>
                      <a:pt x="0" y="5"/>
                      <a:pt x="6" y="0"/>
                      <a:pt x="12" y="0"/>
                    </a:cubicBezTo>
                    <a:cubicBezTo>
                      <a:pt x="385" y="0"/>
                      <a:pt x="385" y="0"/>
                      <a:pt x="385" y="0"/>
                    </a:cubicBezTo>
                    <a:cubicBezTo>
                      <a:pt x="391" y="0"/>
                      <a:pt x="396" y="5"/>
                      <a:pt x="396" y="11"/>
                    </a:cubicBezTo>
                    <a:lnTo>
                      <a:pt x="396" y="82"/>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919" name="Oval 1365"/>
              <p:cNvSpPr>
                <a:spLocks noChangeArrowheads="1"/>
              </p:cNvSpPr>
              <p:nvPr/>
            </p:nvSpPr>
            <p:spPr bwMode="auto">
              <a:xfrm>
                <a:off x="14562138" y="4495800"/>
                <a:ext cx="38100" cy="3810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920" name="Freeform 1366"/>
              <p:cNvSpPr>
                <a:spLocks/>
              </p:cNvSpPr>
              <p:nvPr/>
            </p:nvSpPr>
            <p:spPr bwMode="auto">
              <a:xfrm>
                <a:off x="14216063" y="4624388"/>
                <a:ext cx="485775" cy="114300"/>
              </a:xfrm>
              <a:custGeom>
                <a:avLst/>
                <a:gdLst>
                  <a:gd name="T0" fmla="*/ 396 w 396"/>
                  <a:gd name="T1" fmla="*/ 82 h 94"/>
                  <a:gd name="T2" fmla="*/ 385 w 396"/>
                  <a:gd name="T3" fmla="*/ 94 h 94"/>
                  <a:gd name="T4" fmla="*/ 12 w 396"/>
                  <a:gd name="T5" fmla="*/ 94 h 94"/>
                  <a:gd name="T6" fmla="*/ 0 w 396"/>
                  <a:gd name="T7" fmla="*/ 82 h 94"/>
                  <a:gd name="T8" fmla="*/ 0 w 396"/>
                  <a:gd name="T9" fmla="*/ 11 h 94"/>
                  <a:gd name="T10" fmla="*/ 12 w 396"/>
                  <a:gd name="T11" fmla="*/ 0 h 94"/>
                  <a:gd name="T12" fmla="*/ 385 w 396"/>
                  <a:gd name="T13" fmla="*/ 0 h 94"/>
                  <a:gd name="T14" fmla="*/ 396 w 396"/>
                  <a:gd name="T15" fmla="*/ 11 h 94"/>
                  <a:gd name="T16" fmla="*/ 396 w 396"/>
                  <a:gd name="T17" fmla="*/ 82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6" h="94">
                    <a:moveTo>
                      <a:pt x="396" y="82"/>
                    </a:moveTo>
                    <a:cubicBezTo>
                      <a:pt x="396" y="89"/>
                      <a:pt x="391" y="94"/>
                      <a:pt x="385" y="94"/>
                    </a:cubicBezTo>
                    <a:cubicBezTo>
                      <a:pt x="12" y="94"/>
                      <a:pt x="12" y="94"/>
                      <a:pt x="12" y="94"/>
                    </a:cubicBezTo>
                    <a:cubicBezTo>
                      <a:pt x="6" y="94"/>
                      <a:pt x="0" y="89"/>
                      <a:pt x="0" y="82"/>
                    </a:cubicBezTo>
                    <a:cubicBezTo>
                      <a:pt x="0" y="11"/>
                      <a:pt x="0" y="11"/>
                      <a:pt x="0" y="11"/>
                    </a:cubicBezTo>
                    <a:cubicBezTo>
                      <a:pt x="0" y="5"/>
                      <a:pt x="6" y="0"/>
                      <a:pt x="12" y="0"/>
                    </a:cubicBezTo>
                    <a:cubicBezTo>
                      <a:pt x="385" y="0"/>
                      <a:pt x="385" y="0"/>
                      <a:pt x="385" y="0"/>
                    </a:cubicBezTo>
                    <a:cubicBezTo>
                      <a:pt x="391" y="0"/>
                      <a:pt x="396" y="5"/>
                      <a:pt x="396" y="11"/>
                    </a:cubicBezTo>
                    <a:lnTo>
                      <a:pt x="396" y="82"/>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921" name="Rectangle 1367"/>
              <p:cNvSpPr>
                <a:spLocks noChangeArrowheads="1"/>
              </p:cNvSpPr>
              <p:nvPr/>
            </p:nvSpPr>
            <p:spPr bwMode="auto">
              <a:xfrm>
                <a:off x="14250988" y="3479800"/>
                <a:ext cx="22225"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922" name="Rectangle 1368"/>
              <p:cNvSpPr>
                <a:spLocks noChangeArrowheads="1"/>
              </p:cNvSpPr>
              <p:nvPr/>
            </p:nvSpPr>
            <p:spPr bwMode="auto">
              <a:xfrm>
                <a:off x="14285913" y="3479800"/>
                <a:ext cx="23813"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923" name="Rectangle 1369"/>
              <p:cNvSpPr>
                <a:spLocks noChangeArrowheads="1"/>
              </p:cNvSpPr>
              <p:nvPr/>
            </p:nvSpPr>
            <p:spPr bwMode="auto">
              <a:xfrm>
                <a:off x="14320838" y="3479800"/>
                <a:ext cx="23813"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924" name="Rectangle 1370"/>
              <p:cNvSpPr>
                <a:spLocks noChangeArrowheads="1"/>
              </p:cNvSpPr>
              <p:nvPr/>
            </p:nvSpPr>
            <p:spPr bwMode="auto">
              <a:xfrm>
                <a:off x="14357351" y="3479800"/>
                <a:ext cx="22225"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925" name="Rectangle 1371"/>
              <p:cNvSpPr>
                <a:spLocks noChangeArrowheads="1"/>
              </p:cNvSpPr>
              <p:nvPr/>
            </p:nvSpPr>
            <p:spPr bwMode="auto">
              <a:xfrm>
                <a:off x="14393863" y="3479800"/>
                <a:ext cx="22225"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926" name="Rectangle 1372"/>
              <p:cNvSpPr>
                <a:spLocks noChangeArrowheads="1"/>
              </p:cNvSpPr>
              <p:nvPr/>
            </p:nvSpPr>
            <p:spPr bwMode="auto">
              <a:xfrm>
                <a:off x="14250988" y="3646488"/>
                <a:ext cx="22225" cy="68263"/>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927" name="Rectangle 1373"/>
              <p:cNvSpPr>
                <a:spLocks noChangeArrowheads="1"/>
              </p:cNvSpPr>
              <p:nvPr/>
            </p:nvSpPr>
            <p:spPr bwMode="auto">
              <a:xfrm>
                <a:off x="14285913" y="3646488"/>
                <a:ext cx="23813" cy="68263"/>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928" name="Rectangle 1374"/>
              <p:cNvSpPr>
                <a:spLocks noChangeArrowheads="1"/>
              </p:cNvSpPr>
              <p:nvPr/>
            </p:nvSpPr>
            <p:spPr bwMode="auto">
              <a:xfrm>
                <a:off x="14320838" y="3646488"/>
                <a:ext cx="23813" cy="68263"/>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929" name="Rectangle 1375"/>
              <p:cNvSpPr>
                <a:spLocks noChangeArrowheads="1"/>
              </p:cNvSpPr>
              <p:nvPr/>
            </p:nvSpPr>
            <p:spPr bwMode="auto">
              <a:xfrm>
                <a:off x="14357351" y="3646488"/>
                <a:ext cx="22225" cy="68263"/>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930" name="Rectangle 1376"/>
              <p:cNvSpPr>
                <a:spLocks noChangeArrowheads="1"/>
              </p:cNvSpPr>
              <p:nvPr/>
            </p:nvSpPr>
            <p:spPr bwMode="auto">
              <a:xfrm>
                <a:off x="14393863" y="3646488"/>
                <a:ext cx="22225" cy="68263"/>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931" name="Rectangle 1377"/>
              <p:cNvSpPr>
                <a:spLocks noChangeArrowheads="1"/>
              </p:cNvSpPr>
              <p:nvPr/>
            </p:nvSpPr>
            <p:spPr bwMode="auto">
              <a:xfrm>
                <a:off x="14250988" y="3814763"/>
                <a:ext cx="22225"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932" name="Rectangle 1378"/>
              <p:cNvSpPr>
                <a:spLocks noChangeArrowheads="1"/>
              </p:cNvSpPr>
              <p:nvPr/>
            </p:nvSpPr>
            <p:spPr bwMode="auto">
              <a:xfrm>
                <a:off x="14285913" y="3814763"/>
                <a:ext cx="23813"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933" name="Rectangle 1379"/>
              <p:cNvSpPr>
                <a:spLocks noChangeArrowheads="1"/>
              </p:cNvSpPr>
              <p:nvPr/>
            </p:nvSpPr>
            <p:spPr bwMode="auto">
              <a:xfrm>
                <a:off x="14320838" y="3814763"/>
                <a:ext cx="23813"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934" name="Rectangle 1380"/>
              <p:cNvSpPr>
                <a:spLocks noChangeArrowheads="1"/>
              </p:cNvSpPr>
              <p:nvPr/>
            </p:nvSpPr>
            <p:spPr bwMode="auto">
              <a:xfrm>
                <a:off x="14357351" y="3814763"/>
                <a:ext cx="22225"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935" name="Rectangle 1381"/>
              <p:cNvSpPr>
                <a:spLocks noChangeArrowheads="1"/>
              </p:cNvSpPr>
              <p:nvPr/>
            </p:nvSpPr>
            <p:spPr bwMode="auto">
              <a:xfrm>
                <a:off x="14393863" y="3814763"/>
                <a:ext cx="22225"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936" name="Rectangle 1382"/>
              <p:cNvSpPr>
                <a:spLocks noChangeArrowheads="1"/>
              </p:cNvSpPr>
              <p:nvPr/>
            </p:nvSpPr>
            <p:spPr bwMode="auto">
              <a:xfrm>
                <a:off x="14250988" y="3981450"/>
                <a:ext cx="22225" cy="6508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937" name="Rectangle 1383"/>
              <p:cNvSpPr>
                <a:spLocks noChangeArrowheads="1"/>
              </p:cNvSpPr>
              <p:nvPr/>
            </p:nvSpPr>
            <p:spPr bwMode="auto">
              <a:xfrm>
                <a:off x="14285913" y="3981450"/>
                <a:ext cx="23813" cy="6508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938" name="Rectangle 1384"/>
              <p:cNvSpPr>
                <a:spLocks noChangeArrowheads="1"/>
              </p:cNvSpPr>
              <p:nvPr/>
            </p:nvSpPr>
            <p:spPr bwMode="auto">
              <a:xfrm>
                <a:off x="14320838" y="3981450"/>
                <a:ext cx="23813" cy="6508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939" name="Rectangle 1385"/>
              <p:cNvSpPr>
                <a:spLocks noChangeArrowheads="1"/>
              </p:cNvSpPr>
              <p:nvPr/>
            </p:nvSpPr>
            <p:spPr bwMode="auto">
              <a:xfrm>
                <a:off x="14357351" y="3981450"/>
                <a:ext cx="22225" cy="6508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940" name="Rectangle 1386"/>
              <p:cNvSpPr>
                <a:spLocks noChangeArrowheads="1"/>
              </p:cNvSpPr>
              <p:nvPr/>
            </p:nvSpPr>
            <p:spPr bwMode="auto">
              <a:xfrm>
                <a:off x="14393863" y="3981450"/>
                <a:ext cx="22225" cy="6508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941" name="Rectangle 1387"/>
              <p:cNvSpPr>
                <a:spLocks noChangeArrowheads="1"/>
              </p:cNvSpPr>
              <p:nvPr/>
            </p:nvSpPr>
            <p:spPr bwMode="auto">
              <a:xfrm>
                <a:off x="14250988" y="4148138"/>
                <a:ext cx="22225" cy="6508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942" name="Rectangle 1388"/>
              <p:cNvSpPr>
                <a:spLocks noChangeArrowheads="1"/>
              </p:cNvSpPr>
              <p:nvPr/>
            </p:nvSpPr>
            <p:spPr bwMode="auto">
              <a:xfrm>
                <a:off x="14285913" y="4148138"/>
                <a:ext cx="23813" cy="6508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943" name="Rectangle 1389"/>
              <p:cNvSpPr>
                <a:spLocks noChangeArrowheads="1"/>
              </p:cNvSpPr>
              <p:nvPr/>
            </p:nvSpPr>
            <p:spPr bwMode="auto">
              <a:xfrm>
                <a:off x="14320838" y="4148138"/>
                <a:ext cx="23813" cy="6508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944" name="Rectangle 1390"/>
              <p:cNvSpPr>
                <a:spLocks noChangeArrowheads="1"/>
              </p:cNvSpPr>
              <p:nvPr/>
            </p:nvSpPr>
            <p:spPr bwMode="auto">
              <a:xfrm>
                <a:off x="14357351" y="4148138"/>
                <a:ext cx="22225" cy="6508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945" name="Rectangle 1391"/>
              <p:cNvSpPr>
                <a:spLocks noChangeArrowheads="1"/>
              </p:cNvSpPr>
              <p:nvPr/>
            </p:nvSpPr>
            <p:spPr bwMode="auto">
              <a:xfrm>
                <a:off x="14393863" y="4148138"/>
                <a:ext cx="22225" cy="6508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946" name="Rectangle 1392"/>
              <p:cNvSpPr>
                <a:spLocks noChangeArrowheads="1"/>
              </p:cNvSpPr>
              <p:nvPr/>
            </p:nvSpPr>
            <p:spPr bwMode="auto">
              <a:xfrm>
                <a:off x="14250988" y="4313238"/>
                <a:ext cx="22225" cy="68263"/>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947" name="Rectangle 1393"/>
              <p:cNvSpPr>
                <a:spLocks noChangeArrowheads="1"/>
              </p:cNvSpPr>
              <p:nvPr/>
            </p:nvSpPr>
            <p:spPr bwMode="auto">
              <a:xfrm>
                <a:off x="14285913" y="4313238"/>
                <a:ext cx="23813" cy="68263"/>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948" name="Rectangle 1394"/>
              <p:cNvSpPr>
                <a:spLocks noChangeArrowheads="1"/>
              </p:cNvSpPr>
              <p:nvPr/>
            </p:nvSpPr>
            <p:spPr bwMode="auto">
              <a:xfrm>
                <a:off x="14320838" y="4313238"/>
                <a:ext cx="23813" cy="68263"/>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949" name="Rectangle 1395"/>
              <p:cNvSpPr>
                <a:spLocks noChangeArrowheads="1"/>
              </p:cNvSpPr>
              <p:nvPr/>
            </p:nvSpPr>
            <p:spPr bwMode="auto">
              <a:xfrm>
                <a:off x="14357351" y="4313238"/>
                <a:ext cx="22225" cy="68263"/>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950" name="Rectangle 1396"/>
              <p:cNvSpPr>
                <a:spLocks noChangeArrowheads="1"/>
              </p:cNvSpPr>
              <p:nvPr/>
            </p:nvSpPr>
            <p:spPr bwMode="auto">
              <a:xfrm>
                <a:off x="14393863" y="4313238"/>
                <a:ext cx="22225" cy="68263"/>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951" name="Rectangle 1397"/>
              <p:cNvSpPr>
                <a:spLocks noChangeArrowheads="1"/>
              </p:cNvSpPr>
              <p:nvPr/>
            </p:nvSpPr>
            <p:spPr bwMode="auto">
              <a:xfrm>
                <a:off x="14250988" y="4481513"/>
                <a:ext cx="22225"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952" name="Rectangle 1398"/>
              <p:cNvSpPr>
                <a:spLocks noChangeArrowheads="1"/>
              </p:cNvSpPr>
              <p:nvPr/>
            </p:nvSpPr>
            <p:spPr bwMode="auto">
              <a:xfrm>
                <a:off x="14285913" y="4481513"/>
                <a:ext cx="23813"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953" name="Rectangle 1399"/>
              <p:cNvSpPr>
                <a:spLocks noChangeArrowheads="1"/>
              </p:cNvSpPr>
              <p:nvPr/>
            </p:nvSpPr>
            <p:spPr bwMode="auto">
              <a:xfrm>
                <a:off x="14320838" y="4481513"/>
                <a:ext cx="23813"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954" name="Rectangle 1400"/>
              <p:cNvSpPr>
                <a:spLocks noChangeArrowheads="1"/>
              </p:cNvSpPr>
              <p:nvPr/>
            </p:nvSpPr>
            <p:spPr bwMode="auto">
              <a:xfrm>
                <a:off x="14357351" y="4481513"/>
                <a:ext cx="22225"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955" name="Rectangle 1401"/>
              <p:cNvSpPr>
                <a:spLocks noChangeArrowheads="1"/>
              </p:cNvSpPr>
              <p:nvPr/>
            </p:nvSpPr>
            <p:spPr bwMode="auto">
              <a:xfrm>
                <a:off x="14393863" y="4481513"/>
                <a:ext cx="22225"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956" name="Rectangle 1402"/>
              <p:cNvSpPr>
                <a:spLocks noChangeArrowheads="1"/>
              </p:cNvSpPr>
              <p:nvPr/>
            </p:nvSpPr>
            <p:spPr bwMode="auto">
              <a:xfrm>
                <a:off x="14250988" y="4648200"/>
                <a:ext cx="22225"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957" name="Rectangle 1403"/>
              <p:cNvSpPr>
                <a:spLocks noChangeArrowheads="1"/>
              </p:cNvSpPr>
              <p:nvPr/>
            </p:nvSpPr>
            <p:spPr bwMode="auto">
              <a:xfrm>
                <a:off x="14285913" y="4648200"/>
                <a:ext cx="23813"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958" name="Rectangle 1404"/>
              <p:cNvSpPr>
                <a:spLocks noChangeArrowheads="1"/>
              </p:cNvSpPr>
              <p:nvPr/>
            </p:nvSpPr>
            <p:spPr bwMode="auto">
              <a:xfrm>
                <a:off x="14320838" y="4648200"/>
                <a:ext cx="23813"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959" name="Rectangle 1405"/>
              <p:cNvSpPr>
                <a:spLocks noChangeArrowheads="1"/>
              </p:cNvSpPr>
              <p:nvPr/>
            </p:nvSpPr>
            <p:spPr bwMode="auto">
              <a:xfrm>
                <a:off x="14357351" y="4648200"/>
                <a:ext cx="22225"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960" name="Rectangle 1406"/>
              <p:cNvSpPr>
                <a:spLocks noChangeArrowheads="1"/>
              </p:cNvSpPr>
              <p:nvPr/>
            </p:nvSpPr>
            <p:spPr bwMode="auto">
              <a:xfrm>
                <a:off x="14393863" y="4648200"/>
                <a:ext cx="22225"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961" name="Oval 1407"/>
              <p:cNvSpPr>
                <a:spLocks noChangeArrowheads="1"/>
              </p:cNvSpPr>
              <p:nvPr/>
            </p:nvSpPr>
            <p:spPr bwMode="auto">
              <a:xfrm>
                <a:off x="14562138" y="4664075"/>
                <a:ext cx="38100" cy="3651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962" name="Oval 1408"/>
              <p:cNvSpPr>
                <a:spLocks noChangeArrowheads="1"/>
              </p:cNvSpPr>
              <p:nvPr/>
            </p:nvSpPr>
            <p:spPr bwMode="auto">
              <a:xfrm>
                <a:off x="14630401" y="3494088"/>
                <a:ext cx="38100" cy="38100"/>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963" name="Oval 1409"/>
              <p:cNvSpPr>
                <a:spLocks noChangeArrowheads="1"/>
              </p:cNvSpPr>
              <p:nvPr/>
            </p:nvSpPr>
            <p:spPr bwMode="auto">
              <a:xfrm>
                <a:off x="14630401" y="3662363"/>
                <a:ext cx="38100" cy="36513"/>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964" name="Oval 1410"/>
              <p:cNvSpPr>
                <a:spLocks noChangeArrowheads="1"/>
              </p:cNvSpPr>
              <p:nvPr/>
            </p:nvSpPr>
            <p:spPr bwMode="auto">
              <a:xfrm>
                <a:off x="14630401" y="3829050"/>
                <a:ext cx="38100" cy="36513"/>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965" name="Oval 1411"/>
              <p:cNvSpPr>
                <a:spLocks noChangeArrowheads="1"/>
              </p:cNvSpPr>
              <p:nvPr/>
            </p:nvSpPr>
            <p:spPr bwMode="auto">
              <a:xfrm>
                <a:off x="14630401" y="3995738"/>
                <a:ext cx="38100" cy="36513"/>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966" name="Oval 1412"/>
              <p:cNvSpPr>
                <a:spLocks noChangeArrowheads="1"/>
              </p:cNvSpPr>
              <p:nvPr/>
            </p:nvSpPr>
            <p:spPr bwMode="auto">
              <a:xfrm>
                <a:off x="14630401" y="4162425"/>
                <a:ext cx="38100" cy="36513"/>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967" name="Oval 1413"/>
              <p:cNvSpPr>
                <a:spLocks noChangeArrowheads="1"/>
              </p:cNvSpPr>
              <p:nvPr/>
            </p:nvSpPr>
            <p:spPr bwMode="auto">
              <a:xfrm>
                <a:off x="14630401" y="4329113"/>
                <a:ext cx="38100" cy="36513"/>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968" name="Oval 1414"/>
              <p:cNvSpPr>
                <a:spLocks noChangeArrowheads="1"/>
              </p:cNvSpPr>
              <p:nvPr/>
            </p:nvSpPr>
            <p:spPr bwMode="auto">
              <a:xfrm>
                <a:off x="14630401" y="4495800"/>
                <a:ext cx="38100" cy="38100"/>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969" name="Oval 1415"/>
              <p:cNvSpPr>
                <a:spLocks noChangeArrowheads="1"/>
              </p:cNvSpPr>
              <p:nvPr/>
            </p:nvSpPr>
            <p:spPr bwMode="auto">
              <a:xfrm>
                <a:off x="14630401" y="4664075"/>
                <a:ext cx="38100" cy="36513"/>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grpSp>
          <p:nvGrpSpPr>
            <p:cNvPr id="1767" name="Group 1766"/>
            <p:cNvGrpSpPr/>
            <p:nvPr/>
          </p:nvGrpSpPr>
          <p:grpSpPr>
            <a:xfrm>
              <a:off x="8909076" y="3469989"/>
              <a:ext cx="1039650" cy="1882552"/>
              <a:chOff x="14160501" y="3376613"/>
              <a:chExt cx="796925" cy="1443038"/>
            </a:xfrm>
          </p:grpSpPr>
          <p:sp>
            <p:nvSpPr>
              <p:cNvPr id="1836" name="Freeform 1349"/>
              <p:cNvSpPr>
                <a:spLocks/>
              </p:cNvSpPr>
              <p:nvPr/>
            </p:nvSpPr>
            <p:spPr bwMode="auto">
              <a:xfrm>
                <a:off x="14682788" y="3376613"/>
                <a:ext cx="274638" cy="1443038"/>
              </a:xfrm>
              <a:custGeom>
                <a:avLst/>
                <a:gdLst>
                  <a:gd name="T0" fmla="*/ 184 w 224"/>
                  <a:gd name="T1" fmla="*/ 0 h 1184"/>
                  <a:gd name="T2" fmla="*/ 0 w 224"/>
                  <a:gd name="T3" fmla="*/ 0 h 1184"/>
                  <a:gd name="T4" fmla="*/ 40 w 224"/>
                  <a:gd name="T5" fmla="*/ 41 h 1184"/>
                  <a:gd name="T6" fmla="*/ 40 w 224"/>
                  <a:gd name="T7" fmla="*/ 1144 h 1184"/>
                  <a:gd name="T8" fmla="*/ 0 w 224"/>
                  <a:gd name="T9" fmla="*/ 1184 h 1184"/>
                  <a:gd name="T10" fmla="*/ 184 w 224"/>
                  <a:gd name="T11" fmla="*/ 1184 h 1184"/>
                  <a:gd name="T12" fmla="*/ 224 w 224"/>
                  <a:gd name="T13" fmla="*/ 1144 h 1184"/>
                  <a:gd name="T14" fmla="*/ 224 w 224"/>
                  <a:gd name="T15" fmla="*/ 41 h 1184"/>
                  <a:gd name="T16" fmla="*/ 184 w 224"/>
                  <a:gd name="T17" fmla="*/ 0 h 1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4" h="1184">
                    <a:moveTo>
                      <a:pt x="184" y="0"/>
                    </a:moveTo>
                    <a:cubicBezTo>
                      <a:pt x="0" y="0"/>
                      <a:pt x="0" y="0"/>
                      <a:pt x="0" y="0"/>
                    </a:cubicBezTo>
                    <a:cubicBezTo>
                      <a:pt x="22" y="0"/>
                      <a:pt x="40" y="18"/>
                      <a:pt x="40" y="41"/>
                    </a:cubicBezTo>
                    <a:cubicBezTo>
                      <a:pt x="40" y="1144"/>
                      <a:pt x="40" y="1144"/>
                      <a:pt x="40" y="1144"/>
                    </a:cubicBezTo>
                    <a:cubicBezTo>
                      <a:pt x="40" y="1166"/>
                      <a:pt x="22" y="1184"/>
                      <a:pt x="0" y="1184"/>
                    </a:cubicBezTo>
                    <a:cubicBezTo>
                      <a:pt x="184" y="1184"/>
                      <a:pt x="184" y="1184"/>
                      <a:pt x="184" y="1184"/>
                    </a:cubicBezTo>
                    <a:cubicBezTo>
                      <a:pt x="206" y="1184"/>
                      <a:pt x="224" y="1166"/>
                      <a:pt x="224" y="1144"/>
                    </a:cubicBezTo>
                    <a:cubicBezTo>
                      <a:pt x="224" y="41"/>
                      <a:pt x="224" y="41"/>
                      <a:pt x="224" y="41"/>
                    </a:cubicBezTo>
                    <a:cubicBezTo>
                      <a:pt x="224" y="18"/>
                      <a:pt x="206" y="0"/>
                      <a:pt x="184" y="0"/>
                    </a:cubicBez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837" name="Freeform 1350"/>
              <p:cNvSpPr>
                <a:spLocks/>
              </p:cNvSpPr>
              <p:nvPr/>
            </p:nvSpPr>
            <p:spPr bwMode="auto">
              <a:xfrm>
                <a:off x="14682788" y="3376613"/>
                <a:ext cx="274638" cy="1443038"/>
              </a:xfrm>
              <a:custGeom>
                <a:avLst/>
                <a:gdLst>
                  <a:gd name="T0" fmla="*/ 184 w 224"/>
                  <a:gd name="T1" fmla="*/ 0 h 1184"/>
                  <a:gd name="T2" fmla="*/ 0 w 224"/>
                  <a:gd name="T3" fmla="*/ 0 h 1184"/>
                  <a:gd name="T4" fmla="*/ 40 w 224"/>
                  <a:gd name="T5" fmla="*/ 41 h 1184"/>
                  <a:gd name="T6" fmla="*/ 40 w 224"/>
                  <a:gd name="T7" fmla="*/ 1144 h 1184"/>
                  <a:gd name="T8" fmla="*/ 0 w 224"/>
                  <a:gd name="T9" fmla="*/ 1184 h 1184"/>
                  <a:gd name="T10" fmla="*/ 184 w 224"/>
                  <a:gd name="T11" fmla="*/ 1184 h 1184"/>
                  <a:gd name="T12" fmla="*/ 224 w 224"/>
                  <a:gd name="T13" fmla="*/ 1144 h 1184"/>
                  <a:gd name="T14" fmla="*/ 224 w 224"/>
                  <a:gd name="T15" fmla="*/ 41 h 1184"/>
                  <a:gd name="T16" fmla="*/ 184 w 224"/>
                  <a:gd name="T17" fmla="*/ 0 h 1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4" h="1184">
                    <a:moveTo>
                      <a:pt x="184" y="0"/>
                    </a:moveTo>
                    <a:cubicBezTo>
                      <a:pt x="0" y="0"/>
                      <a:pt x="0" y="0"/>
                      <a:pt x="0" y="0"/>
                    </a:cubicBezTo>
                    <a:cubicBezTo>
                      <a:pt x="22" y="0"/>
                      <a:pt x="40" y="18"/>
                      <a:pt x="40" y="41"/>
                    </a:cubicBezTo>
                    <a:cubicBezTo>
                      <a:pt x="40" y="1144"/>
                      <a:pt x="40" y="1144"/>
                      <a:pt x="40" y="1144"/>
                    </a:cubicBezTo>
                    <a:cubicBezTo>
                      <a:pt x="40" y="1166"/>
                      <a:pt x="22" y="1184"/>
                      <a:pt x="0" y="1184"/>
                    </a:cubicBezTo>
                    <a:cubicBezTo>
                      <a:pt x="184" y="1184"/>
                      <a:pt x="184" y="1184"/>
                      <a:pt x="184" y="1184"/>
                    </a:cubicBezTo>
                    <a:cubicBezTo>
                      <a:pt x="206" y="1184"/>
                      <a:pt x="224" y="1166"/>
                      <a:pt x="224" y="1144"/>
                    </a:cubicBezTo>
                    <a:cubicBezTo>
                      <a:pt x="224" y="41"/>
                      <a:pt x="224" y="41"/>
                      <a:pt x="224" y="41"/>
                    </a:cubicBezTo>
                    <a:cubicBezTo>
                      <a:pt x="224" y="18"/>
                      <a:pt x="206" y="0"/>
                      <a:pt x="184" y="0"/>
                    </a:cubicBezTo>
                    <a:close/>
                  </a:path>
                </a:pathLst>
              </a:custGeom>
              <a:solidFill>
                <a:srgbClr val="003D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838" name="Freeform 1351"/>
              <p:cNvSpPr>
                <a:spLocks/>
              </p:cNvSpPr>
              <p:nvPr/>
            </p:nvSpPr>
            <p:spPr bwMode="auto">
              <a:xfrm>
                <a:off x="14160501" y="3376613"/>
                <a:ext cx="611188" cy="1443038"/>
              </a:xfrm>
              <a:custGeom>
                <a:avLst/>
                <a:gdLst>
                  <a:gd name="T0" fmla="*/ 499 w 499"/>
                  <a:gd name="T1" fmla="*/ 1144 h 1184"/>
                  <a:gd name="T2" fmla="*/ 459 w 499"/>
                  <a:gd name="T3" fmla="*/ 1184 h 1184"/>
                  <a:gd name="T4" fmla="*/ 40 w 499"/>
                  <a:gd name="T5" fmla="*/ 1184 h 1184"/>
                  <a:gd name="T6" fmla="*/ 0 w 499"/>
                  <a:gd name="T7" fmla="*/ 1144 h 1184"/>
                  <a:gd name="T8" fmla="*/ 0 w 499"/>
                  <a:gd name="T9" fmla="*/ 41 h 1184"/>
                  <a:gd name="T10" fmla="*/ 40 w 499"/>
                  <a:gd name="T11" fmla="*/ 0 h 1184"/>
                  <a:gd name="T12" fmla="*/ 459 w 499"/>
                  <a:gd name="T13" fmla="*/ 0 h 1184"/>
                  <a:gd name="T14" fmla="*/ 499 w 499"/>
                  <a:gd name="T15" fmla="*/ 41 h 1184"/>
                  <a:gd name="T16" fmla="*/ 499 w 499"/>
                  <a:gd name="T17" fmla="*/ 1144 h 1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9" h="1184">
                    <a:moveTo>
                      <a:pt x="499" y="1144"/>
                    </a:moveTo>
                    <a:cubicBezTo>
                      <a:pt x="499" y="1166"/>
                      <a:pt x="481" y="1184"/>
                      <a:pt x="459" y="1184"/>
                    </a:cubicBezTo>
                    <a:cubicBezTo>
                      <a:pt x="40" y="1184"/>
                      <a:pt x="40" y="1184"/>
                      <a:pt x="40" y="1184"/>
                    </a:cubicBezTo>
                    <a:cubicBezTo>
                      <a:pt x="18" y="1184"/>
                      <a:pt x="0" y="1166"/>
                      <a:pt x="0" y="1144"/>
                    </a:cubicBezTo>
                    <a:cubicBezTo>
                      <a:pt x="0" y="41"/>
                      <a:pt x="0" y="41"/>
                      <a:pt x="0" y="41"/>
                    </a:cubicBezTo>
                    <a:cubicBezTo>
                      <a:pt x="0" y="18"/>
                      <a:pt x="18" y="0"/>
                      <a:pt x="40" y="0"/>
                    </a:cubicBezTo>
                    <a:cubicBezTo>
                      <a:pt x="459" y="0"/>
                      <a:pt x="459" y="0"/>
                      <a:pt x="459" y="0"/>
                    </a:cubicBezTo>
                    <a:cubicBezTo>
                      <a:pt x="481" y="0"/>
                      <a:pt x="499" y="18"/>
                      <a:pt x="499" y="41"/>
                    </a:cubicBezTo>
                    <a:lnTo>
                      <a:pt x="499" y="1144"/>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839" name="Freeform 1352"/>
              <p:cNvSpPr>
                <a:spLocks/>
              </p:cNvSpPr>
              <p:nvPr/>
            </p:nvSpPr>
            <p:spPr bwMode="auto">
              <a:xfrm>
                <a:off x="14216063" y="3455988"/>
                <a:ext cx="485775" cy="114300"/>
              </a:xfrm>
              <a:custGeom>
                <a:avLst/>
                <a:gdLst>
                  <a:gd name="T0" fmla="*/ 396 w 396"/>
                  <a:gd name="T1" fmla="*/ 83 h 94"/>
                  <a:gd name="T2" fmla="*/ 385 w 396"/>
                  <a:gd name="T3" fmla="*/ 94 h 94"/>
                  <a:gd name="T4" fmla="*/ 12 w 396"/>
                  <a:gd name="T5" fmla="*/ 94 h 94"/>
                  <a:gd name="T6" fmla="*/ 0 w 396"/>
                  <a:gd name="T7" fmla="*/ 83 h 94"/>
                  <a:gd name="T8" fmla="*/ 0 w 396"/>
                  <a:gd name="T9" fmla="*/ 12 h 94"/>
                  <a:gd name="T10" fmla="*/ 12 w 396"/>
                  <a:gd name="T11" fmla="*/ 0 h 94"/>
                  <a:gd name="T12" fmla="*/ 385 w 396"/>
                  <a:gd name="T13" fmla="*/ 0 h 94"/>
                  <a:gd name="T14" fmla="*/ 396 w 396"/>
                  <a:gd name="T15" fmla="*/ 12 h 94"/>
                  <a:gd name="T16" fmla="*/ 396 w 396"/>
                  <a:gd name="T17" fmla="*/ 83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6" h="94">
                    <a:moveTo>
                      <a:pt x="396" y="83"/>
                    </a:moveTo>
                    <a:cubicBezTo>
                      <a:pt x="396" y="89"/>
                      <a:pt x="391" y="94"/>
                      <a:pt x="385" y="94"/>
                    </a:cubicBezTo>
                    <a:cubicBezTo>
                      <a:pt x="12" y="94"/>
                      <a:pt x="12" y="94"/>
                      <a:pt x="12" y="94"/>
                    </a:cubicBezTo>
                    <a:cubicBezTo>
                      <a:pt x="6" y="94"/>
                      <a:pt x="0" y="89"/>
                      <a:pt x="0" y="83"/>
                    </a:cubicBezTo>
                    <a:cubicBezTo>
                      <a:pt x="0" y="12"/>
                      <a:pt x="0" y="12"/>
                      <a:pt x="0" y="12"/>
                    </a:cubicBezTo>
                    <a:cubicBezTo>
                      <a:pt x="0" y="5"/>
                      <a:pt x="6" y="0"/>
                      <a:pt x="12" y="0"/>
                    </a:cubicBezTo>
                    <a:cubicBezTo>
                      <a:pt x="385" y="0"/>
                      <a:pt x="385" y="0"/>
                      <a:pt x="385" y="0"/>
                    </a:cubicBezTo>
                    <a:cubicBezTo>
                      <a:pt x="391" y="0"/>
                      <a:pt x="396" y="5"/>
                      <a:pt x="396" y="12"/>
                    </a:cubicBezTo>
                    <a:lnTo>
                      <a:pt x="396" y="83"/>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840" name="Oval 1353"/>
              <p:cNvSpPr>
                <a:spLocks noChangeArrowheads="1"/>
              </p:cNvSpPr>
              <p:nvPr/>
            </p:nvSpPr>
            <p:spPr bwMode="auto">
              <a:xfrm>
                <a:off x="14562138" y="3494088"/>
                <a:ext cx="38100" cy="3810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841" name="Freeform 1354"/>
              <p:cNvSpPr>
                <a:spLocks/>
              </p:cNvSpPr>
              <p:nvPr/>
            </p:nvSpPr>
            <p:spPr bwMode="auto">
              <a:xfrm>
                <a:off x="14216063" y="3622675"/>
                <a:ext cx="485775" cy="114300"/>
              </a:xfrm>
              <a:custGeom>
                <a:avLst/>
                <a:gdLst>
                  <a:gd name="T0" fmla="*/ 396 w 396"/>
                  <a:gd name="T1" fmla="*/ 83 h 94"/>
                  <a:gd name="T2" fmla="*/ 385 w 396"/>
                  <a:gd name="T3" fmla="*/ 94 h 94"/>
                  <a:gd name="T4" fmla="*/ 12 w 396"/>
                  <a:gd name="T5" fmla="*/ 94 h 94"/>
                  <a:gd name="T6" fmla="*/ 0 w 396"/>
                  <a:gd name="T7" fmla="*/ 83 h 94"/>
                  <a:gd name="T8" fmla="*/ 0 w 396"/>
                  <a:gd name="T9" fmla="*/ 12 h 94"/>
                  <a:gd name="T10" fmla="*/ 12 w 396"/>
                  <a:gd name="T11" fmla="*/ 0 h 94"/>
                  <a:gd name="T12" fmla="*/ 385 w 396"/>
                  <a:gd name="T13" fmla="*/ 0 h 94"/>
                  <a:gd name="T14" fmla="*/ 396 w 396"/>
                  <a:gd name="T15" fmla="*/ 12 h 94"/>
                  <a:gd name="T16" fmla="*/ 396 w 396"/>
                  <a:gd name="T17" fmla="*/ 83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6" h="94">
                    <a:moveTo>
                      <a:pt x="396" y="83"/>
                    </a:moveTo>
                    <a:cubicBezTo>
                      <a:pt x="396" y="89"/>
                      <a:pt x="391" y="94"/>
                      <a:pt x="385" y="94"/>
                    </a:cubicBezTo>
                    <a:cubicBezTo>
                      <a:pt x="12" y="94"/>
                      <a:pt x="12" y="94"/>
                      <a:pt x="12" y="94"/>
                    </a:cubicBezTo>
                    <a:cubicBezTo>
                      <a:pt x="6" y="94"/>
                      <a:pt x="0" y="89"/>
                      <a:pt x="0" y="83"/>
                    </a:cubicBezTo>
                    <a:cubicBezTo>
                      <a:pt x="0" y="12"/>
                      <a:pt x="0" y="12"/>
                      <a:pt x="0" y="12"/>
                    </a:cubicBezTo>
                    <a:cubicBezTo>
                      <a:pt x="0" y="5"/>
                      <a:pt x="6" y="0"/>
                      <a:pt x="12" y="0"/>
                    </a:cubicBezTo>
                    <a:cubicBezTo>
                      <a:pt x="385" y="0"/>
                      <a:pt x="385" y="0"/>
                      <a:pt x="385" y="0"/>
                    </a:cubicBezTo>
                    <a:cubicBezTo>
                      <a:pt x="391" y="0"/>
                      <a:pt x="396" y="5"/>
                      <a:pt x="396" y="12"/>
                    </a:cubicBezTo>
                    <a:lnTo>
                      <a:pt x="396" y="83"/>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842" name="Oval 1355"/>
              <p:cNvSpPr>
                <a:spLocks noChangeArrowheads="1"/>
              </p:cNvSpPr>
              <p:nvPr/>
            </p:nvSpPr>
            <p:spPr bwMode="auto">
              <a:xfrm>
                <a:off x="14562138" y="3662363"/>
                <a:ext cx="38100" cy="3651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843" name="Freeform 1356"/>
              <p:cNvSpPr>
                <a:spLocks/>
              </p:cNvSpPr>
              <p:nvPr/>
            </p:nvSpPr>
            <p:spPr bwMode="auto">
              <a:xfrm>
                <a:off x="14216063" y="3789363"/>
                <a:ext cx="485775" cy="114300"/>
              </a:xfrm>
              <a:custGeom>
                <a:avLst/>
                <a:gdLst>
                  <a:gd name="T0" fmla="*/ 396 w 396"/>
                  <a:gd name="T1" fmla="*/ 83 h 94"/>
                  <a:gd name="T2" fmla="*/ 385 w 396"/>
                  <a:gd name="T3" fmla="*/ 94 h 94"/>
                  <a:gd name="T4" fmla="*/ 12 w 396"/>
                  <a:gd name="T5" fmla="*/ 94 h 94"/>
                  <a:gd name="T6" fmla="*/ 0 w 396"/>
                  <a:gd name="T7" fmla="*/ 83 h 94"/>
                  <a:gd name="T8" fmla="*/ 0 w 396"/>
                  <a:gd name="T9" fmla="*/ 12 h 94"/>
                  <a:gd name="T10" fmla="*/ 12 w 396"/>
                  <a:gd name="T11" fmla="*/ 0 h 94"/>
                  <a:gd name="T12" fmla="*/ 385 w 396"/>
                  <a:gd name="T13" fmla="*/ 0 h 94"/>
                  <a:gd name="T14" fmla="*/ 396 w 396"/>
                  <a:gd name="T15" fmla="*/ 12 h 94"/>
                  <a:gd name="T16" fmla="*/ 396 w 396"/>
                  <a:gd name="T17" fmla="*/ 83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6" h="94">
                    <a:moveTo>
                      <a:pt x="396" y="83"/>
                    </a:moveTo>
                    <a:cubicBezTo>
                      <a:pt x="396" y="89"/>
                      <a:pt x="391" y="94"/>
                      <a:pt x="385" y="94"/>
                    </a:cubicBezTo>
                    <a:cubicBezTo>
                      <a:pt x="12" y="94"/>
                      <a:pt x="12" y="94"/>
                      <a:pt x="12" y="94"/>
                    </a:cubicBezTo>
                    <a:cubicBezTo>
                      <a:pt x="6" y="94"/>
                      <a:pt x="0" y="89"/>
                      <a:pt x="0" y="83"/>
                    </a:cubicBezTo>
                    <a:cubicBezTo>
                      <a:pt x="0" y="12"/>
                      <a:pt x="0" y="12"/>
                      <a:pt x="0" y="12"/>
                    </a:cubicBezTo>
                    <a:cubicBezTo>
                      <a:pt x="0" y="5"/>
                      <a:pt x="6" y="0"/>
                      <a:pt x="12" y="0"/>
                    </a:cubicBezTo>
                    <a:cubicBezTo>
                      <a:pt x="385" y="0"/>
                      <a:pt x="385" y="0"/>
                      <a:pt x="385" y="0"/>
                    </a:cubicBezTo>
                    <a:cubicBezTo>
                      <a:pt x="391" y="0"/>
                      <a:pt x="396" y="5"/>
                      <a:pt x="396" y="12"/>
                    </a:cubicBezTo>
                    <a:lnTo>
                      <a:pt x="396" y="83"/>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844" name="Oval 1357"/>
              <p:cNvSpPr>
                <a:spLocks noChangeArrowheads="1"/>
              </p:cNvSpPr>
              <p:nvPr/>
            </p:nvSpPr>
            <p:spPr bwMode="auto">
              <a:xfrm>
                <a:off x="14562138" y="3829050"/>
                <a:ext cx="38100" cy="3651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845" name="Freeform 1358"/>
              <p:cNvSpPr>
                <a:spLocks/>
              </p:cNvSpPr>
              <p:nvPr/>
            </p:nvSpPr>
            <p:spPr bwMode="auto">
              <a:xfrm>
                <a:off x="14216063" y="3956050"/>
                <a:ext cx="485775" cy="115888"/>
              </a:xfrm>
              <a:custGeom>
                <a:avLst/>
                <a:gdLst>
                  <a:gd name="T0" fmla="*/ 396 w 396"/>
                  <a:gd name="T1" fmla="*/ 83 h 94"/>
                  <a:gd name="T2" fmla="*/ 385 w 396"/>
                  <a:gd name="T3" fmla="*/ 94 h 94"/>
                  <a:gd name="T4" fmla="*/ 12 w 396"/>
                  <a:gd name="T5" fmla="*/ 94 h 94"/>
                  <a:gd name="T6" fmla="*/ 0 w 396"/>
                  <a:gd name="T7" fmla="*/ 83 h 94"/>
                  <a:gd name="T8" fmla="*/ 0 w 396"/>
                  <a:gd name="T9" fmla="*/ 12 h 94"/>
                  <a:gd name="T10" fmla="*/ 12 w 396"/>
                  <a:gd name="T11" fmla="*/ 0 h 94"/>
                  <a:gd name="T12" fmla="*/ 385 w 396"/>
                  <a:gd name="T13" fmla="*/ 0 h 94"/>
                  <a:gd name="T14" fmla="*/ 396 w 396"/>
                  <a:gd name="T15" fmla="*/ 12 h 94"/>
                  <a:gd name="T16" fmla="*/ 396 w 396"/>
                  <a:gd name="T17" fmla="*/ 83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6" h="94">
                    <a:moveTo>
                      <a:pt x="396" y="83"/>
                    </a:moveTo>
                    <a:cubicBezTo>
                      <a:pt x="396" y="89"/>
                      <a:pt x="391" y="94"/>
                      <a:pt x="385" y="94"/>
                    </a:cubicBezTo>
                    <a:cubicBezTo>
                      <a:pt x="12" y="94"/>
                      <a:pt x="12" y="94"/>
                      <a:pt x="12" y="94"/>
                    </a:cubicBezTo>
                    <a:cubicBezTo>
                      <a:pt x="6" y="94"/>
                      <a:pt x="0" y="89"/>
                      <a:pt x="0" y="83"/>
                    </a:cubicBezTo>
                    <a:cubicBezTo>
                      <a:pt x="0" y="12"/>
                      <a:pt x="0" y="12"/>
                      <a:pt x="0" y="12"/>
                    </a:cubicBezTo>
                    <a:cubicBezTo>
                      <a:pt x="0" y="5"/>
                      <a:pt x="6" y="0"/>
                      <a:pt x="12" y="0"/>
                    </a:cubicBezTo>
                    <a:cubicBezTo>
                      <a:pt x="385" y="0"/>
                      <a:pt x="385" y="0"/>
                      <a:pt x="385" y="0"/>
                    </a:cubicBezTo>
                    <a:cubicBezTo>
                      <a:pt x="391" y="0"/>
                      <a:pt x="396" y="5"/>
                      <a:pt x="396" y="12"/>
                    </a:cubicBezTo>
                    <a:lnTo>
                      <a:pt x="396" y="83"/>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846" name="Oval 1359"/>
              <p:cNvSpPr>
                <a:spLocks noChangeArrowheads="1"/>
              </p:cNvSpPr>
              <p:nvPr/>
            </p:nvSpPr>
            <p:spPr bwMode="auto">
              <a:xfrm>
                <a:off x="14562138" y="3995738"/>
                <a:ext cx="38100" cy="3651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847" name="Freeform 1360"/>
              <p:cNvSpPr>
                <a:spLocks/>
              </p:cNvSpPr>
              <p:nvPr/>
            </p:nvSpPr>
            <p:spPr bwMode="auto">
              <a:xfrm>
                <a:off x="14216063" y="4124325"/>
                <a:ext cx="485775" cy="114300"/>
              </a:xfrm>
              <a:custGeom>
                <a:avLst/>
                <a:gdLst>
                  <a:gd name="T0" fmla="*/ 396 w 396"/>
                  <a:gd name="T1" fmla="*/ 82 h 94"/>
                  <a:gd name="T2" fmla="*/ 385 w 396"/>
                  <a:gd name="T3" fmla="*/ 94 h 94"/>
                  <a:gd name="T4" fmla="*/ 12 w 396"/>
                  <a:gd name="T5" fmla="*/ 94 h 94"/>
                  <a:gd name="T6" fmla="*/ 0 w 396"/>
                  <a:gd name="T7" fmla="*/ 82 h 94"/>
                  <a:gd name="T8" fmla="*/ 0 w 396"/>
                  <a:gd name="T9" fmla="*/ 11 h 94"/>
                  <a:gd name="T10" fmla="*/ 12 w 396"/>
                  <a:gd name="T11" fmla="*/ 0 h 94"/>
                  <a:gd name="T12" fmla="*/ 385 w 396"/>
                  <a:gd name="T13" fmla="*/ 0 h 94"/>
                  <a:gd name="T14" fmla="*/ 396 w 396"/>
                  <a:gd name="T15" fmla="*/ 11 h 94"/>
                  <a:gd name="T16" fmla="*/ 396 w 396"/>
                  <a:gd name="T17" fmla="*/ 82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6" h="94">
                    <a:moveTo>
                      <a:pt x="396" y="82"/>
                    </a:moveTo>
                    <a:cubicBezTo>
                      <a:pt x="396" y="89"/>
                      <a:pt x="391" y="94"/>
                      <a:pt x="385" y="94"/>
                    </a:cubicBezTo>
                    <a:cubicBezTo>
                      <a:pt x="12" y="94"/>
                      <a:pt x="12" y="94"/>
                      <a:pt x="12" y="94"/>
                    </a:cubicBezTo>
                    <a:cubicBezTo>
                      <a:pt x="6" y="94"/>
                      <a:pt x="0" y="89"/>
                      <a:pt x="0" y="82"/>
                    </a:cubicBezTo>
                    <a:cubicBezTo>
                      <a:pt x="0" y="11"/>
                      <a:pt x="0" y="11"/>
                      <a:pt x="0" y="11"/>
                    </a:cubicBezTo>
                    <a:cubicBezTo>
                      <a:pt x="0" y="5"/>
                      <a:pt x="6" y="0"/>
                      <a:pt x="12" y="0"/>
                    </a:cubicBezTo>
                    <a:cubicBezTo>
                      <a:pt x="385" y="0"/>
                      <a:pt x="385" y="0"/>
                      <a:pt x="385" y="0"/>
                    </a:cubicBezTo>
                    <a:cubicBezTo>
                      <a:pt x="391" y="0"/>
                      <a:pt x="396" y="5"/>
                      <a:pt x="396" y="11"/>
                    </a:cubicBezTo>
                    <a:lnTo>
                      <a:pt x="396" y="82"/>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848" name="Oval 1361"/>
              <p:cNvSpPr>
                <a:spLocks noChangeArrowheads="1"/>
              </p:cNvSpPr>
              <p:nvPr/>
            </p:nvSpPr>
            <p:spPr bwMode="auto">
              <a:xfrm>
                <a:off x="14562138" y="4162425"/>
                <a:ext cx="38100" cy="3651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849" name="Freeform 1362"/>
              <p:cNvSpPr>
                <a:spLocks/>
              </p:cNvSpPr>
              <p:nvPr/>
            </p:nvSpPr>
            <p:spPr bwMode="auto">
              <a:xfrm>
                <a:off x="14216063" y="4291013"/>
                <a:ext cx="485775" cy="114300"/>
              </a:xfrm>
              <a:custGeom>
                <a:avLst/>
                <a:gdLst>
                  <a:gd name="T0" fmla="*/ 396 w 396"/>
                  <a:gd name="T1" fmla="*/ 82 h 94"/>
                  <a:gd name="T2" fmla="*/ 385 w 396"/>
                  <a:gd name="T3" fmla="*/ 94 h 94"/>
                  <a:gd name="T4" fmla="*/ 12 w 396"/>
                  <a:gd name="T5" fmla="*/ 94 h 94"/>
                  <a:gd name="T6" fmla="*/ 0 w 396"/>
                  <a:gd name="T7" fmla="*/ 82 h 94"/>
                  <a:gd name="T8" fmla="*/ 0 w 396"/>
                  <a:gd name="T9" fmla="*/ 11 h 94"/>
                  <a:gd name="T10" fmla="*/ 12 w 396"/>
                  <a:gd name="T11" fmla="*/ 0 h 94"/>
                  <a:gd name="T12" fmla="*/ 385 w 396"/>
                  <a:gd name="T13" fmla="*/ 0 h 94"/>
                  <a:gd name="T14" fmla="*/ 396 w 396"/>
                  <a:gd name="T15" fmla="*/ 11 h 94"/>
                  <a:gd name="T16" fmla="*/ 396 w 396"/>
                  <a:gd name="T17" fmla="*/ 82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6" h="94">
                    <a:moveTo>
                      <a:pt x="396" y="82"/>
                    </a:moveTo>
                    <a:cubicBezTo>
                      <a:pt x="396" y="89"/>
                      <a:pt x="391" y="94"/>
                      <a:pt x="385" y="94"/>
                    </a:cubicBezTo>
                    <a:cubicBezTo>
                      <a:pt x="12" y="94"/>
                      <a:pt x="12" y="94"/>
                      <a:pt x="12" y="94"/>
                    </a:cubicBezTo>
                    <a:cubicBezTo>
                      <a:pt x="6" y="94"/>
                      <a:pt x="0" y="89"/>
                      <a:pt x="0" y="82"/>
                    </a:cubicBezTo>
                    <a:cubicBezTo>
                      <a:pt x="0" y="11"/>
                      <a:pt x="0" y="11"/>
                      <a:pt x="0" y="11"/>
                    </a:cubicBezTo>
                    <a:cubicBezTo>
                      <a:pt x="0" y="5"/>
                      <a:pt x="6" y="0"/>
                      <a:pt x="12" y="0"/>
                    </a:cubicBezTo>
                    <a:cubicBezTo>
                      <a:pt x="385" y="0"/>
                      <a:pt x="385" y="0"/>
                      <a:pt x="385" y="0"/>
                    </a:cubicBezTo>
                    <a:cubicBezTo>
                      <a:pt x="391" y="0"/>
                      <a:pt x="396" y="5"/>
                      <a:pt x="396" y="11"/>
                    </a:cubicBezTo>
                    <a:lnTo>
                      <a:pt x="396" y="82"/>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850" name="Oval 1363"/>
              <p:cNvSpPr>
                <a:spLocks noChangeArrowheads="1"/>
              </p:cNvSpPr>
              <p:nvPr/>
            </p:nvSpPr>
            <p:spPr bwMode="auto">
              <a:xfrm>
                <a:off x="14562138" y="4329113"/>
                <a:ext cx="38100" cy="3651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851" name="Freeform 1364"/>
              <p:cNvSpPr>
                <a:spLocks/>
              </p:cNvSpPr>
              <p:nvPr/>
            </p:nvSpPr>
            <p:spPr bwMode="auto">
              <a:xfrm>
                <a:off x="14216063" y="4457700"/>
                <a:ext cx="485775" cy="114300"/>
              </a:xfrm>
              <a:custGeom>
                <a:avLst/>
                <a:gdLst>
                  <a:gd name="T0" fmla="*/ 396 w 396"/>
                  <a:gd name="T1" fmla="*/ 82 h 94"/>
                  <a:gd name="T2" fmla="*/ 385 w 396"/>
                  <a:gd name="T3" fmla="*/ 94 h 94"/>
                  <a:gd name="T4" fmla="*/ 12 w 396"/>
                  <a:gd name="T5" fmla="*/ 94 h 94"/>
                  <a:gd name="T6" fmla="*/ 0 w 396"/>
                  <a:gd name="T7" fmla="*/ 82 h 94"/>
                  <a:gd name="T8" fmla="*/ 0 w 396"/>
                  <a:gd name="T9" fmla="*/ 11 h 94"/>
                  <a:gd name="T10" fmla="*/ 12 w 396"/>
                  <a:gd name="T11" fmla="*/ 0 h 94"/>
                  <a:gd name="T12" fmla="*/ 385 w 396"/>
                  <a:gd name="T13" fmla="*/ 0 h 94"/>
                  <a:gd name="T14" fmla="*/ 396 w 396"/>
                  <a:gd name="T15" fmla="*/ 11 h 94"/>
                  <a:gd name="T16" fmla="*/ 396 w 396"/>
                  <a:gd name="T17" fmla="*/ 82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6" h="94">
                    <a:moveTo>
                      <a:pt x="396" y="82"/>
                    </a:moveTo>
                    <a:cubicBezTo>
                      <a:pt x="396" y="89"/>
                      <a:pt x="391" y="94"/>
                      <a:pt x="385" y="94"/>
                    </a:cubicBezTo>
                    <a:cubicBezTo>
                      <a:pt x="12" y="94"/>
                      <a:pt x="12" y="94"/>
                      <a:pt x="12" y="94"/>
                    </a:cubicBezTo>
                    <a:cubicBezTo>
                      <a:pt x="6" y="94"/>
                      <a:pt x="0" y="89"/>
                      <a:pt x="0" y="82"/>
                    </a:cubicBezTo>
                    <a:cubicBezTo>
                      <a:pt x="0" y="11"/>
                      <a:pt x="0" y="11"/>
                      <a:pt x="0" y="11"/>
                    </a:cubicBezTo>
                    <a:cubicBezTo>
                      <a:pt x="0" y="5"/>
                      <a:pt x="6" y="0"/>
                      <a:pt x="12" y="0"/>
                    </a:cubicBezTo>
                    <a:cubicBezTo>
                      <a:pt x="385" y="0"/>
                      <a:pt x="385" y="0"/>
                      <a:pt x="385" y="0"/>
                    </a:cubicBezTo>
                    <a:cubicBezTo>
                      <a:pt x="391" y="0"/>
                      <a:pt x="396" y="5"/>
                      <a:pt x="396" y="11"/>
                    </a:cubicBezTo>
                    <a:lnTo>
                      <a:pt x="396" y="82"/>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852" name="Oval 1365"/>
              <p:cNvSpPr>
                <a:spLocks noChangeArrowheads="1"/>
              </p:cNvSpPr>
              <p:nvPr/>
            </p:nvSpPr>
            <p:spPr bwMode="auto">
              <a:xfrm>
                <a:off x="14562138" y="4495800"/>
                <a:ext cx="38100" cy="3810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853" name="Freeform 1366"/>
              <p:cNvSpPr>
                <a:spLocks/>
              </p:cNvSpPr>
              <p:nvPr/>
            </p:nvSpPr>
            <p:spPr bwMode="auto">
              <a:xfrm>
                <a:off x="14216063" y="4624388"/>
                <a:ext cx="485775" cy="114300"/>
              </a:xfrm>
              <a:custGeom>
                <a:avLst/>
                <a:gdLst>
                  <a:gd name="T0" fmla="*/ 396 w 396"/>
                  <a:gd name="T1" fmla="*/ 82 h 94"/>
                  <a:gd name="T2" fmla="*/ 385 w 396"/>
                  <a:gd name="T3" fmla="*/ 94 h 94"/>
                  <a:gd name="T4" fmla="*/ 12 w 396"/>
                  <a:gd name="T5" fmla="*/ 94 h 94"/>
                  <a:gd name="T6" fmla="*/ 0 w 396"/>
                  <a:gd name="T7" fmla="*/ 82 h 94"/>
                  <a:gd name="T8" fmla="*/ 0 w 396"/>
                  <a:gd name="T9" fmla="*/ 11 h 94"/>
                  <a:gd name="T10" fmla="*/ 12 w 396"/>
                  <a:gd name="T11" fmla="*/ 0 h 94"/>
                  <a:gd name="T12" fmla="*/ 385 w 396"/>
                  <a:gd name="T13" fmla="*/ 0 h 94"/>
                  <a:gd name="T14" fmla="*/ 396 w 396"/>
                  <a:gd name="T15" fmla="*/ 11 h 94"/>
                  <a:gd name="T16" fmla="*/ 396 w 396"/>
                  <a:gd name="T17" fmla="*/ 82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6" h="94">
                    <a:moveTo>
                      <a:pt x="396" y="82"/>
                    </a:moveTo>
                    <a:cubicBezTo>
                      <a:pt x="396" y="89"/>
                      <a:pt x="391" y="94"/>
                      <a:pt x="385" y="94"/>
                    </a:cubicBezTo>
                    <a:cubicBezTo>
                      <a:pt x="12" y="94"/>
                      <a:pt x="12" y="94"/>
                      <a:pt x="12" y="94"/>
                    </a:cubicBezTo>
                    <a:cubicBezTo>
                      <a:pt x="6" y="94"/>
                      <a:pt x="0" y="89"/>
                      <a:pt x="0" y="82"/>
                    </a:cubicBezTo>
                    <a:cubicBezTo>
                      <a:pt x="0" y="11"/>
                      <a:pt x="0" y="11"/>
                      <a:pt x="0" y="11"/>
                    </a:cubicBezTo>
                    <a:cubicBezTo>
                      <a:pt x="0" y="5"/>
                      <a:pt x="6" y="0"/>
                      <a:pt x="12" y="0"/>
                    </a:cubicBezTo>
                    <a:cubicBezTo>
                      <a:pt x="385" y="0"/>
                      <a:pt x="385" y="0"/>
                      <a:pt x="385" y="0"/>
                    </a:cubicBezTo>
                    <a:cubicBezTo>
                      <a:pt x="391" y="0"/>
                      <a:pt x="396" y="5"/>
                      <a:pt x="396" y="11"/>
                    </a:cubicBezTo>
                    <a:lnTo>
                      <a:pt x="396" y="82"/>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854" name="Rectangle 1367"/>
              <p:cNvSpPr>
                <a:spLocks noChangeArrowheads="1"/>
              </p:cNvSpPr>
              <p:nvPr/>
            </p:nvSpPr>
            <p:spPr bwMode="auto">
              <a:xfrm>
                <a:off x="14250988" y="3479800"/>
                <a:ext cx="22225"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855" name="Rectangle 1368"/>
              <p:cNvSpPr>
                <a:spLocks noChangeArrowheads="1"/>
              </p:cNvSpPr>
              <p:nvPr/>
            </p:nvSpPr>
            <p:spPr bwMode="auto">
              <a:xfrm>
                <a:off x="14285913" y="3479800"/>
                <a:ext cx="23813"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856" name="Rectangle 1369"/>
              <p:cNvSpPr>
                <a:spLocks noChangeArrowheads="1"/>
              </p:cNvSpPr>
              <p:nvPr/>
            </p:nvSpPr>
            <p:spPr bwMode="auto">
              <a:xfrm>
                <a:off x="14320838" y="3479800"/>
                <a:ext cx="23813"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857" name="Rectangle 1370"/>
              <p:cNvSpPr>
                <a:spLocks noChangeArrowheads="1"/>
              </p:cNvSpPr>
              <p:nvPr/>
            </p:nvSpPr>
            <p:spPr bwMode="auto">
              <a:xfrm>
                <a:off x="14357351" y="3479800"/>
                <a:ext cx="22225"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858" name="Rectangle 1371"/>
              <p:cNvSpPr>
                <a:spLocks noChangeArrowheads="1"/>
              </p:cNvSpPr>
              <p:nvPr/>
            </p:nvSpPr>
            <p:spPr bwMode="auto">
              <a:xfrm>
                <a:off x="14393863" y="3479800"/>
                <a:ext cx="22225"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859" name="Rectangle 1372"/>
              <p:cNvSpPr>
                <a:spLocks noChangeArrowheads="1"/>
              </p:cNvSpPr>
              <p:nvPr/>
            </p:nvSpPr>
            <p:spPr bwMode="auto">
              <a:xfrm>
                <a:off x="14250988" y="3646488"/>
                <a:ext cx="22225" cy="68263"/>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860" name="Rectangle 1373"/>
              <p:cNvSpPr>
                <a:spLocks noChangeArrowheads="1"/>
              </p:cNvSpPr>
              <p:nvPr/>
            </p:nvSpPr>
            <p:spPr bwMode="auto">
              <a:xfrm>
                <a:off x="14285913" y="3646488"/>
                <a:ext cx="23813" cy="68263"/>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861" name="Rectangle 1374"/>
              <p:cNvSpPr>
                <a:spLocks noChangeArrowheads="1"/>
              </p:cNvSpPr>
              <p:nvPr/>
            </p:nvSpPr>
            <p:spPr bwMode="auto">
              <a:xfrm>
                <a:off x="14320838" y="3646488"/>
                <a:ext cx="23813" cy="68263"/>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862" name="Rectangle 1375"/>
              <p:cNvSpPr>
                <a:spLocks noChangeArrowheads="1"/>
              </p:cNvSpPr>
              <p:nvPr/>
            </p:nvSpPr>
            <p:spPr bwMode="auto">
              <a:xfrm>
                <a:off x="14357351" y="3646488"/>
                <a:ext cx="22225" cy="68263"/>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863" name="Rectangle 1376"/>
              <p:cNvSpPr>
                <a:spLocks noChangeArrowheads="1"/>
              </p:cNvSpPr>
              <p:nvPr/>
            </p:nvSpPr>
            <p:spPr bwMode="auto">
              <a:xfrm>
                <a:off x="14393863" y="3646488"/>
                <a:ext cx="22225" cy="68263"/>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864" name="Rectangle 1377"/>
              <p:cNvSpPr>
                <a:spLocks noChangeArrowheads="1"/>
              </p:cNvSpPr>
              <p:nvPr/>
            </p:nvSpPr>
            <p:spPr bwMode="auto">
              <a:xfrm>
                <a:off x="14250988" y="3814763"/>
                <a:ext cx="22225"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865" name="Rectangle 1378"/>
              <p:cNvSpPr>
                <a:spLocks noChangeArrowheads="1"/>
              </p:cNvSpPr>
              <p:nvPr/>
            </p:nvSpPr>
            <p:spPr bwMode="auto">
              <a:xfrm>
                <a:off x="14285913" y="3814763"/>
                <a:ext cx="23813"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866" name="Rectangle 1379"/>
              <p:cNvSpPr>
                <a:spLocks noChangeArrowheads="1"/>
              </p:cNvSpPr>
              <p:nvPr/>
            </p:nvSpPr>
            <p:spPr bwMode="auto">
              <a:xfrm>
                <a:off x="14320838" y="3814763"/>
                <a:ext cx="23813"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867" name="Rectangle 1380"/>
              <p:cNvSpPr>
                <a:spLocks noChangeArrowheads="1"/>
              </p:cNvSpPr>
              <p:nvPr/>
            </p:nvSpPr>
            <p:spPr bwMode="auto">
              <a:xfrm>
                <a:off x="14357351" y="3814763"/>
                <a:ext cx="22225"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868" name="Rectangle 1381"/>
              <p:cNvSpPr>
                <a:spLocks noChangeArrowheads="1"/>
              </p:cNvSpPr>
              <p:nvPr/>
            </p:nvSpPr>
            <p:spPr bwMode="auto">
              <a:xfrm>
                <a:off x="14393863" y="3814763"/>
                <a:ext cx="22225"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869" name="Rectangle 1382"/>
              <p:cNvSpPr>
                <a:spLocks noChangeArrowheads="1"/>
              </p:cNvSpPr>
              <p:nvPr/>
            </p:nvSpPr>
            <p:spPr bwMode="auto">
              <a:xfrm>
                <a:off x="14250988" y="3981450"/>
                <a:ext cx="22225" cy="6508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870" name="Rectangle 1383"/>
              <p:cNvSpPr>
                <a:spLocks noChangeArrowheads="1"/>
              </p:cNvSpPr>
              <p:nvPr/>
            </p:nvSpPr>
            <p:spPr bwMode="auto">
              <a:xfrm>
                <a:off x="14285913" y="3981450"/>
                <a:ext cx="23813" cy="6508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871" name="Rectangle 1384"/>
              <p:cNvSpPr>
                <a:spLocks noChangeArrowheads="1"/>
              </p:cNvSpPr>
              <p:nvPr/>
            </p:nvSpPr>
            <p:spPr bwMode="auto">
              <a:xfrm>
                <a:off x="14320838" y="3981450"/>
                <a:ext cx="23813" cy="6508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872" name="Rectangle 1385"/>
              <p:cNvSpPr>
                <a:spLocks noChangeArrowheads="1"/>
              </p:cNvSpPr>
              <p:nvPr/>
            </p:nvSpPr>
            <p:spPr bwMode="auto">
              <a:xfrm>
                <a:off x="14357351" y="3981450"/>
                <a:ext cx="22225" cy="6508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873" name="Rectangle 1386"/>
              <p:cNvSpPr>
                <a:spLocks noChangeArrowheads="1"/>
              </p:cNvSpPr>
              <p:nvPr/>
            </p:nvSpPr>
            <p:spPr bwMode="auto">
              <a:xfrm>
                <a:off x="14393863" y="3981450"/>
                <a:ext cx="22225" cy="6508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874" name="Rectangle 1387"/>
              <p:cNvSpPr>
                <a:spLocks noChangeArrowheads="1"/>
              </p:cNvSpPr>
              <p:nvPr/>
            </p:nvSpPr>
            <p:spPr bwMode="auto">
              <a:xfrm>
                <a:off x="14250988" y="4148138"/>
                <a:ext cx="22225" cy="6508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875" name="Rectangle 1388"/>
              <p:cNvSpPr>
                <a:spLocks noChangeArrowheads="1"/>
              </p:cNvSpPr>
              <p:nvPr/>
            </p:nvSpPr>
            <p:spPr bwMode="auto">
              <a:xfrm>
                <a:off x="14285913" y="4148138"/>
                <a:ext cx="23813" cy="6508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876" name="Rectangle 1389"/>
              <p:cNvSpPr>
                <a:spLocks noChangeArrowheads="1"/>
              </p:cNvSpPr>
              <p:nvPr/>
            </p:nvSpPr>
            <p:spPr bwMode="auto">
              <a:xfrm>
                <a:off x="14320838" y="4148138"/>
                <a:ext cx="23813" cy="6508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877" name="Rectangle 1390"/>
              <p:cNvSpPr>
                <a:spLocks noChangeArrowheads="1"/>
              </p:cNvSpPr>
              <p:nvPr/>
            </p:nvSpPr>
            <p:spPr bwMode="auto">
              <a:xfrm>
                <a:off x="14357351" y="4148138"/>
                <a:ext cx="22225" cy="6508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878" name="Rectangle 1391"/>
              <p:cNvSpPr>
                <a:spLocks noChangeArrowheads="1"/>
              </p:cNvSpPr>
              <p:nvPr/>
            </p:nvSpPr>
            <p:spPr bwMode="auto">
              <a:xfrm>
                <a:off x="14393863" y="4148138"/>
                <a:ext cx="22225" cy="6508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879" name="Rectangle 1392"/>
              <p:cNvSpPr>
                <a:spLocks noChangeArrowheads="1"/>
              </p:cNvSpPr>
              <p:nvPr/>
            </p:nvSpPr>
            <p:spPr bwMode="auto">
              <a:xfrm>
                <a:off x="14250988" y="4313238"/>
                <a:ext cx="22225" cy="68263"/>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880" name="Rectangle 1393"/>
              <p:cNvSpPr>
                <a:spLocks noChangeArrowheads="1"/>
              </p:cNvSpPr>
              <p:nvPr/>
            </p:nvSpPr>
            <p:spPr bwMode="auto">
              <a:xfrm>
                <a:off x="14285913" y="4313238"/>
                <a:ext cx="23813" cy="68263"/>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881" name="Rectangle 1394"/>
              <p:cNvSpPr>
                <a:spLocks noChangeArrowheads="1"/>
              </p:cNvSpPr>
              <p:nvPr/>
            </p:nvSpPr>
            <p:spPr bwMode="auto">
              <a:xfrm>
                <a:off x="14320838" y="4313238"/>
                <a:ext cx="23813" cy="68263"/>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882" name="Rectangle 1395"/>
              <p:cNvSpPr>
                <a:spLocks noChangeArrowheads="1"/>
              </p:cNvSpPr>
              <p:nvPr/>
            </p:nvSpPr>
            <p:spPr bwMode="auto">
              <a:xfrm>
                <a:off x="14357351" y="4313238"/>
                <a:ext cx="22225" cy="68263"/>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883" name="Rectangle 1396"/>
              <p:cNvSpPr>
                <a:spLocks noChangeArrowheads="1"/>
              </p:cNvSpPr>
              <p:nvPr/>
            </p:nvSpPr>
            <p:spPr bwMode="auto">
              <a:xfrm>
                <a:off x="14393863" y="4313238"/>
                <a:ext cx="22225" cy="68263"/>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884" name="Rectangle 1397"/>
              <p:cNvSpPr>
                <a:spLocks noChangeArrowheads="1"/>
              </p:cNvSpPr>
              <p:nvPr/>
            </p:nvSpPr>
            <p:spPr bwMode="auto">
              <a:xfrm>
                <a:off x="14250988" y="4481513"/>
                <a:ext cx="22225"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885" name="Rectangle 1398"/>
              <p:cNvSpPr>
                <a:spLocks noChangeArrowheads="1"/>
              </p:cNvSpPr>
              <p:nvPr/>
            </p:nvSpPr>
            <p:spPr bwMode="auto">
              <a:xfrm>
                <a:off x="14285913" y="4481513"/>
                <a:ext cx="23813"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886" name="Rectangle 1399"/>
              <p:cNvSpPr>
                <a:spLocks noChangeArrowheads="1"/>
              </p:cNvSpPr>
              <p:nvPr/>
            </p:nvSpPr>
            <p:spPr bwMode="auto">
              <a:xfrm>
                <a:off x="14320838" y="4481513"/>
                <a:ext cx="23813"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887" name="Rectangle 1400"/>
              <p:cNvSpPr>
                <a:spLocks noChangeArrowheads="1"/>
              </p:cNvSpPr>
              <p:nvPr/>
            </p:nvSpPr>
            <p:spPr bwMode="auto">
              <a:xfrm>
                <a:off x="14357351" y="4481513"/>
                <a:ext cx="22225"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888" name="Rectangle 1401"/>
              <p:cNvSpPr>
                <a:spLocks noChangeArrowheads="1"/>
              </p:cNvSpPr>
              <p:nvPr/>
            </p:nvSpPr>
            <p:spPr bwMode="auto">
              <a:xfrm>
                <a:off x="14393863" y="4481513"/>
                <a:ext cx="22225"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889" name="Rectangle 1402"/>
              <p:cNvSpPr>
                <a:spLocks noChangeArrowheads="1"/>
              </p:cNvSpPr>
              <p:nvPr/>
            </p:nvSpPr>
            <p:spPr bwMode="auto">
              <a:xfrm>
                <a:off x="14250988" y="4648200"/>
                <a:ext cx="22225"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890" name="Rectangle 1403"/>
              <p:cNvSpPr>
                <a:spLocks noChangeArrowheads="1"/>
              </p:cNvSpPr>
              <p:nvPr/>
            </p:nvSpPr>
            <p:spPr bwMode="auto">
              <a:xfrm>
                <a:off x="14285913" y="4648200"/>
                <a:ext cx="23813"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891" name="Rectangle 1404"/>
              <p:cNvSpPr>
                <a:spLocks noChangeArrowheads="1"/>
              </p:cNvSpPr>
              <p:nvPr/>
            </p:nvSpPr>
            <p:spPr bwMode="auto">
              <a:xfrm>
                <a:off x="14320838" y="4648200"/>
                <a:ext cx="23813"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892" name="Rectangle 1405"/>
              <p:cNvSpPr>
                <a:spLocks noChangeArrowheads="1"/>
              </p:cNvSpPr>
              <p:nvPr/>
            </p:nvSpPr>
            <p:spPr bwMode="auto">
              <a:xfrm>
                <a:off x="14357351" y="4648200"/>
                <a:ext cx="22225"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893" name="Rectangle 1406"/>
              <p:cNvSpPr>
                <a:spLocks noChangeArrowheads="1"/>
              </p:cNvSpPr>
              <p:nvPr/>
            </p:nvSpPr>
            <p:spPr bwMode="auto">
              <a:xfrm>
                <a:off x="14393863" y="4648200"/>
                <a:ext cx="22225"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894" name="Oval 1407"/>
              <p:cNvSpPr>
                <a:spLocks noChangeArrowheads="1"/>
              </p:cNvSpPr>
              <p:nvPr/>
            </p:nvSpPr>
            <p:spPr bwMode="auto">
              <a:xfrm>
                <a:off x="14562138" y="4664075"/>
                <a:ext cx="38100" cy="3651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895" name="Oval 1408"/>
              <p:cNvSpPr>
                <a:spLocks noChangeArrowheads="1"/>
              </p:cNvSpPr>
              <p:nvPr/>
            </p:nvSpPr>
            <p:spPr bwMode="auto">
              <a:xfrm>
                <a:off x="14630401" y="3494088"/>
                <a:ext cx="38100" cy="38100"/>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896" name="Oval 1409"/>
              <p:cNvSpPr>
                <a:spLocks noChangeArrowheads="1"/>
              </p:cNvSpPr>
              <p:nvPr/>
            </p:nvSpPr>
            <p:spPr bwMode="auto">
              <a:xfrm>
                <a:off x="14630401" y="3662363"/>
                <a:ext cx="38100" cy="36513"/>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897" name="Oval 1410"/>
              <p:cNvSpPr>
                <a:spLocks noChangeArrowheads="1"/>
              </p:cNvSpPr>
              <p:nvPr/>
            </p:nvSpPr>
            <p:spPr bwMode="auto">
              <a:xfrm>
                <a:off x="14630401" y="3829050"/>
                <a:ext cx="38100" cy="36513"/>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898" name="Oval 1411"/>
              <p:cNvSpPr>
                <a:spLocks noChangeArrowheads="1"/>
              </p:cNvSpPr>
              <p:nvPr/>
            </p:nvSpPr>
            <p:spPr bwMode="auto">
              <a:xfrm>
                <a:off x="14630401" y="3995738"/>
                <a:ext cx="38100" cy="36513"/>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899" name="Oval 1412"/>
              <p:cNvSpPr>
                <a:spLocks noChangeArrowheads="1"/>
              </p:cNvSpPr>
              <p:nvPr/>
            </p:nvSpPr>
            <p:spPr bwMode="auto">
              <a:xfrm>
                <a:off x="14630401" y="4162425"/>
                <a:ext cx="38100" cy="36513"/>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900" name="Oval 1413"/>
              <p:cNvSpPr>
                <a:spLocks noChangeArrowheads="1"/>
              </p:cNvSpPr>
              <p:nvPr/>
            </p:nvSpPr>
            <p:spPr bwMode="auto">
              <a:xfrm>
                <a:off x="14630401" y="4329113"/>
                <a:ext cx="38100" cy="36513"/>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901" name="Oval 1414"/>
              <p:cNvSpPr>
                <a:spLocks noChangeArrowheads="1"/>
              </p:cNvSpPr>
              <p:nvPr/>
            </p:nvSpPr>
            <p:spPr bwMode="auto">
              <a:xfrm>
                <a:off x="14630401" y="4495800"/>
                <a:ext cx="38100" cy="38100"/>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902" name="Oval 1415"/>
              <p:cNvSpPr>
                <a:spLocks noChangeArrowheads="1"/>
              </p:cNvSpPr>
              <p:nvPr/>
            </p:nvSpPr>
            <p:spPr bwMode="auto">
              <a:xfrm>
                <a:off x="14630401" y="4664075"/>
                <a:ext cx="38100" cy="36513"/>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grpSp>
          <p:nvGrpSpPr>
            <p:cNvPr id="1768" name="Group 1767"/>
            <p:cNvGrpSpPr/>
            <p:nvPr/>
          </p:nvGrpSpPr>
          <p:grpSpPr>
            <a:xfrm>
              <a:off x="8334705" y="3703372"/>
              <a:ext cx="1039650" cy="1882552"/>
              <a:chOff x="14160501" y="3376613"/>
              <a:chExt cx="796925" cy="1443038"/>
            </a:xfrm>
          </p:grpSpPr>
          <p:sp>
            <p:nvSpPr>
              <p:cNvPr id="1769" name="Freeform 1349"/>
              <p:cNvSpPr>
                <a:spLocks/>
              </p:cNvSpPr>
              <p:nvPr/>
            </p:nvSpPr>
            <p:spPr bwMode="auto">
              <a:xfrm>
                <a:off x="14682788" y="3376613"/>
                <a:ext cx="274638" cy="1443038"/>
              </a:xfrm>
              <a:custGeom>
                <a:avLst/>
                <a:gdLst>
                  <a:gd name="T0" fmla="*/ 184 w 224"/>
                  <a:gd name="T1" fmla="*/ 0 h 1184"/>
                  <a:gd name="T2" fmla="*/ 0 w 224"/>
                  <a:gd name="T3" fmla="*/ 0 h 1184"/>
                  <a:gd name="T4" fmla="*/ 40 w 224"/>
                  <a:gd name="T5" fmla="*/ 41 h 1184"/>
                  <a:gd name="T6" fmla="*/ 40 w 224"/>
                  <a:gd name="T7" fmla="*/ 1144 h 1184"/>
                  <a:gd name="T8" fmla="*/ 0 w 224"/>
                  <a:gd name="T9" fmla="*/ 1184 h 1184"/>
                  <a:gd name="T10" fmla="*/ 184 w 224"/>
                  <a:gd name="T11" fmla="*/ 1184 h 1184"/>
                  <a:gd name="T12" fmla="*/ 224 w 224"/>
                  <a:gd name="T13" fmla="*/ 1144 h 1184"/>
                  <a:gd name="T14" fmla="*/ 224 w 224"/>
                  <a:gd name="T15" fmla="*/ 41 h 1184"/>
                  <a:gd name="T16" fmla="*/ 184 w 224"/>
                  <a:gd name="T17" fmla="*/ 0 h 1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4" h="1184">
                    <a:moveTo>
                      <a:pt x="184" y="0"/>
                    </a:moveTo>
                    <a:cubicBezTo>
                      <a:pt x="0" y="0"/>
                      <a:pt x="0" y="0"/>
                      <a:pt x="0" y="0"/>
                    </a:cubicBezTo>
                    <a:cubicBezTo>
                      <a:pt x="22" y="0"/>
                      <a:pt x="40" y="18"/>
                      <a:pt x="40" y="41"/>
                    </a:cubicBezTo>
                    <a:cubicBezTo>
                      <a:pt x="40" y="1144"/>
                      <a:pt x="40" y="1144"/>
                      <a:pt x="40" y="1144"/>
                    </a:cubicBezTo>
                    <a:cubicBezTo>
                      <a:pt x="40" y="1166"/>
                      <a:pt x="22" y="1184"/>
                      <a:pt x="0" y="1184"/>
                    </a:cubicBezTo>
                    <a:cubicBezTo>
                      <a:pt x="184" y="1184"/>
                      <a:pt x="184" y="1184"/>
                      <a:pt x="184" y="1184"/>
                    </a:cubicBezTo>
                    <a:cubicBezTo>
                      <a:pt x="206" y="1184"/>
                      <a:pt x="224" y="1166"/>
                      <a:pt x="224" y="1144"/>
                    </a:cubicBezTo>
                    <a:cubicBezTo>
                      <a:pt x="224" y="41"/>
                      <a:pt x="224" y="41"/>
                      <a:pt x="224" y="41"/>
                    </a:cubicBezTo>
                    <a:cubicBezTo>
                      <a:pt x="224" y="18"/>
                      <a:pt x="206" y="0"/>
                      <a:pt x="184" y="0"/>
                    </a:cubicBez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770" name="Freeform 1350"/>
              <p:cNvSpPr>
                <a:spLocks/>
              </p:cNvSpPr>
              <p:nvPr/>
            </p:nvSpPr>
            <p:spPr bwMode="auto">
              <a:xfrm>
                <a:off x="14682788" y="3376613"/>
                <a:ext cx="274638" cy="1443038"/>
              </a:xfrm>
              <a:custGeom>
                <a:avLst/>
                <a:gdLst>
                  <a:gd name="T0" fmla="*/ 184 w 224"/>
                  <a:gd name="T1" fmla="*/ 0 h 1184"/>
                  <a:gd name="T2" fmla="*/ 0 w 224"/>
                  <a:gd name="T3" fmla="*/ 0 h 1184"/>
                  <a:gd name="T4" fmla="*/ 40 w 224"/>
                  <a:gd name="T5" fmla="*/ 41 h 1184"/>
                  <a:gd name="T6" fmla="*/ 40 w 224"/>
                  <a:gd name="T7" fmla="*/ 1144 h 1184"/>
                  <a:gd name="T8" fmla="*/ 0 w 224"/>
                  <a:gd name="T9" fmla="*/ 1184 h 1184"/>
                  <a:gd name="T10" fmla="*/ 184 w 224"/>
                  <a:gd name="T11" fmla="*/ 1184 h 1184"/>
                  <a:gd name="T12" fmla="*/ 224 w 224"/>
                  <a:gd name="T13" fmla="*/ 1144 h 1184"/>
                  <a:gd name="T14" fmla="*/ 224 w 224"/>
                  <a:gd name="T15" fmla="*/ 41 h 1184"/>
                  <a:gd name="T16" fmla="*/ 184 w 224"/>
                  <a:gd name="T17" fmla="*/ 0 h 1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4" h="1184">
                    <a:moveTo>
                      <a:pt x="184" y="0"/>
                    </a:moveTo>
                    <a:cubicBezTo>
                      <a:pt x="0" y="0"/>
                      <a:pt x="0" y="0"/>
                      <a:pt x="0" y="0"/>
                    </a:cubicBezTo>
                    <a:cubicBezTo>
                      <a:pt x="22" y="0"/>
                      <a:pt x="40" y="18"/>
                      <a:pt x="40" y="41"/>
                    </a:cubicBezTo>
                    <a:cubicBezTo>
                      <a:pt x="40" y="1144"/>
                      <a:pt x="40" y="1144"/>
                      <a:pt x="40" y="1144"/>
                    </a:cubicBezTo>
                    <a:cubicBezTo>
                      <a:pt x="40" y="1166"/>
                      <a:pt x="22" y="1184"/>
                      <a:pt x="0" y="1184"/>
                    </a:cubicBezTo>
                    <a:cubicBezTo>
                      <a:pt x="184" y="1184"/>
                      <a:pt x="184" y="1184"/>
                      <a:pt x="184" y="1184"/>
                    </a:cubicBezTo>
                    <a:cubicBezTo>
                      <a:pt x="206" y="1184"/>
                      <a:pt x="224" y="1166"/>
                      <a:pt x="224" y="1144"/>
                    </a:cubicBezTo>
                    <a:cubicBezTo>
                      <a:pt x="224" y="41"/>
                      <a:pt x="224" y="41"/>
                      <a:pt x="224" y="41"/>
                    </a:cubicBezTo>
                    <a:cubicBezTo>
                      <a:pt x="224" y="18"/>
                      <a:pt x="206" y="0"/>
                      <a:pt x="184" y="0"/>
                    </a:cubicBezTo>
                    <a:close/>
                  </a:path>
                </a:pathLst>
              </a:custGeom>
              <a:solidFill>
                <a:srgbClr val="003D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771" name="Freeform 1351"/>
              <p:cNvSpPr>
                <a:spLocks/>
              </p:cNvSpPr>
              <p:nvPr/>
            </p:nvSpPr>
            <p:spPr bwMode="auto">
              <a:xfrm>
                <a:off x="14160501" y="3376613"/>
                <a:ext cx="611188" cy="1443038"/>
              </a:xfrm>
              <a:custGeom>
                <a:avLst/>
                <a:gdLst>
                  <a:gd name="T0" fmla="*/ 499 w 499"/>
                  <a:gd name="T1" fmla="*/ 1144 h 1184"/>
                  <a:gd name="T2" fmla="*/ 459 w 499"/>
                  <a:gd name="T3" fmla="*/ 1184 h 1184"/>
                  <a:gd name="T4" fmla="*/ 40 w 499"/>
                  <a:gd name="T5" fmla="*/ 1184 h 1184"/>
                  <a:gd name="T6" fmla="*/ 0 w 499"/>
                  <a:gd name="T7" fmla="*/ 1144 h 1184"/>
                  <a:gd name="T8" fmla="*/ 0 w 499"/>
                  <a:gd name="T9" fmla="*/ 41 h 1184"/>
                  <a:gd name="T10" fmla="*/ 40 w 499"/>
                  <a:gd name="T11" fmla="*/ 0 h 1184"/>
                  <a:gd name="T12" fmla="*/ 459 w 499"/>
                  <a:gd name="T13" fmla="*/ 0 h 1184"/>
                  <a:gd name="T14" fmla="*/ 499 w 499"/>
                  <a:gd name="T15" fmla="*/ 41 h 1184"/>
                  <a:gd name="T16" fmla="*/ 499 w 499"/>
                  <a:gd name="T17" fmla="*/ 1144 h 1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9" h="1184">
                    <a:moveTo>
                      <a:pt x="499" y="1144"/>
                    </a:moveTo>
                    <a:cubicBezTo>
                      <a:pt x="499" y="1166"/>
                      <a:pt x="481" y="1184"/>
                      <a:pt x="459" y="1184"/>
                    </a:cubicBezTo>
                    <a:cubicBezTo>
                      <a:pt x="40" y="1184"/>
                      <a:pt x="40" y="1184"/>
                      <a:pt x="40" y="1184"/>
                    </a:cubicBezTo>
                    <a:cubicBezTo>
                      <a:pt x="18" y="1184"/>
                      <a:pt x="0" y="1166"/>
                      <a:pt x="0" y="1144"/>
                    </a:cubicBezTo>
                    <a:cubicBezTo>
                      <a:pt x="0" y="41"/>
                      <a:pt x="0" y="41"/>
                      <a:pt x="0" y="41"/>
                    </a:cubicBezTo>
                    <a:cubicBezTo>
                      <a:pt x="0" y="18"/>
                      <a:pt x="18" y="0"/>
                      <a:pt x="40" y="0"/>
                    </a:cubicBezTo>
                    <a:cubicBezTo>
                      <a:pt x="459" y="0"/>
                      <a:pt x="459" y="0"/>
                      <a:pt x="459" y="0"/>
                    </a:cubicBezTo>
                    <a:cubicBezTo>
                      <a:pt x="481" y="0"/>
                      <a:pt x="499" y="18"/>
                      <a:pt x="499" y="41"/>
                    </a:cubicBezTo>
                    <a:lnTo>
                      <a:pt x="499" y="1144"/>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772" name="Freeform 1352"/>
              <p:cNvSpPr>
                <a:spLocks/>
              </p:cNvSpPr>
              <p:nvPr/>
            </p:nvSpPr>
            <p:spPr bwMode="auto">
              <a:xfrm>
                <a:off x="14216063" y="3455988"/>
                <a:ext cx="485775" cy="114300"/>
              </a:xfrm>
              <a:custGeom>
                <a:avLst/>
                <a:gdLst>
                  <a:gd name="T0" fmla="*/ 396 w 396"/>
                  <a:gd name="T1" fmla="*/ 83 h 94"/>
                  <a:gd name="T2" fmla="*/ 385 w 396"/>
                  <a:gd name="T3" fmla="*/ 94 h 94"/>
                  <a:gd name="T4" fmla="*/ 12 w 396"/>
                  <a:gd name="T5" fmla="*/ 94 h 94"/>
                  <a:gd name="T6" fmla="*/ 0 w 396"/>
                  <a:gd name="T7" fmla="*/ 83 h 94"/>
                  <a:gd name="T8" fmla="*/ 0 w 396"/>
                  <a:gd name="T9" fmla="*/ 12 h 94"/>
                  <a:gd name="T10" fmla="*/ 12 w 396"/>
                  <a:gd name="T11" fmla="*/ 0 h 94"/>
                  <a:gd name="T12" fmla="*/ 385 w 396"/>
                  <a:gd name="T13" fmla="*/ 0 h 94"/>
                  <a:gd name="T14" fmla="*/ 396 w 396"/>
                  <a:gd name="T15" fmla="*/ 12 h 94"/>
                  <a:gd name="T16" fmla="*/ 396 w 396"/>
                  <a:gd name="T17" fmla="*/ 83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6" h="94">
                    <a:moveTo>
                      <a:pt x="396" y="83"/>
                    </a:moveTo>
                    <a:cubicBezTo>
                      <a:pt x="396" y="89"/>
                      <a:pt x="391" y="94"/>
                      <a:pt x="385" y="94"/>
                    </a:cubicBezTo>
                    <a:cubicBezTo>
                      <a:pt x="12" y="94"/>
                      <a:pt x="12" y="94"/>
                      <a:pt x="12" y="94"/>
                    </a:cubicBezTo>
                    <a:cubicBezTo>
                      <a:pt x="6" y="94"/>
                      <a:pt x="0" y="89"/>
                      <a:pt x="0" y="83"/>
                    </a:cubicBezTo>
                    <a:cubicBezTo>
                      <a:pt x="0" y="12"/>
                      <a:pt x="0" y="12"/>
                      <a:pt x="0" y="12"/>
                    </a:cubicBezTo>
                    <a:cubicBezTo>
                      <a:pt x="0" y="5"/>
                      <a:pt x="6" y="0"/>
                      <a:pt x="12" y="0"/>
                    </a:cubicBezTo>
                    <a:cubicBezTo>
                      <a:pt x="385" y="0"/>
                      <a:pt x="385" y="0"/>
                      <a:pt x="385" y="0"/>
                    </a:cubicBezTo>
                    <a:cubicBezTo>
                      <a:pt x="391" y="0"/>
                      <a:pt x="396" y="5"/>
                      <a:pt x="396" y="12"/>
                    </a:cubicBezTo>
                    <a:lnTo>
                      <a:pt x="396" y="83"/>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773" name="Oval 1353"/>
              <p:cNvSpPr>
                <a:spLocks noChangeArrowheads="1"/>
              </p:cNvSpPr>
              <p:nvPr/>
            </p:nvSpPr>
            <p:spPr bwMode="auto">
              <a:xfrm>
                <a:off x="14562138" y="3494088"/>
                <a:ext cx="38100" cy="3810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774" name="Freeform 1354"/>
              <p:cNvSpPr>
                <a:spLocks/>
              </p:cNvSpPr>
              <p:nvPr/>
            </p:nvSpPr>
            <p:spPr bwMode="auto">
              <a:xfrm>
                <a:off x="14216063" y="3622675"/>
                <a:ext cx="485775" cy="114300"/>
              </a:xfrm>
              <a:custGeom>
                <a:avLst/>
                <a:gdLst>
                  <a:gd name="T0" fmla="*/ 396 w 396"/>
                  <a:gd name="T1" fmla="*/ 83 h 94"/>
                  <a:gd name="T2" fmla="*/ 385 w 396"/>
                  <a:gd name="T3" fmla="*/ 94 h 94"/>
                  <a:gd name="T4" fmla="*/ 12 w 396"/>
                  <a:gd name="T5" fmla="*/ 94 h 94"/>
                  <a:gd name="T6" fmla="*/ 0 w 396"/>
                  <a:gd name="T7" fmla="*/ 83 h 94"/>
                  <a:gd name="T8" fmla="*/ 0 w 396"/>
                  <a:gd name="T9" fmla="*/ 12 h 94"/>
                  <a:gd name="T10" fmla="*/ 12 w 396"/>
                  <a:gd name="T11" fmla="*/ 0 h 94"/>
                  <a:gd name="T12" fmla="*/ 385 w 396"/>
                  <a:gd name="T13" fmla="*/ 0 h 94"/>
                  <a:gd name="T14" fmla="*/ 396 w 396"/>
                  <a:gd name="T15" fmla="*/ 12 h 94"/>
                  <a:gd name="T16" fmla="*/ 396 w 396"/>
                  <a:gd name="T17" fmla="*/ 83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6" h="94">
                    <a:moveTo>
                      <a:pt x="396" y="83"/>
                    </a:moveTo>
                    <a:cubicBezTo>
                      <a:pt x="396" y="89"/>
                      <a:pt x="391" y="94"/>
                      <a:pt x="385" y="94"/>
                    </a:cubicBezTo>
                    <a:cubicBezTo>
                      <a:pt x="12" y="94"/>
                      <a:pt x="12" y="94"/>
                      <a:pt x="12" y="94"/>
                    </a:cubicBezTo>
                    <a:cubicBezTo>
                      <a:pt x="6" y="94"/>
                      <a:pt x="0" y="89"/>
                      <a:pt x="0" y="83"/>
                    </a:cubicBezTo>
                    <a:cubicBezTo>
                      <a:pt x="0" y="12"/>
                      <a:pt x="0" y="12"/>
                      <a:pt x="0" y="12"/>
                    </a:cubicBezTo>
                    <a:cubicBezTo>
                      <a:pt x="0" y="5"/>
                      <a:pt x="6" y="0"/>
                      <a:pt x="12" y="0"/>
                    </a:cubicBezTo>
                    <a:cubicBezTo>
                      <a:pt x="385" y="0"/>
                      <a:pt x="385" y="0"/>
                      <a:pt x="385" y="0"/>
                    </a:cubicBezTo>
                    <a:cubicBezTo>
                      <a:pt x="391" y="0"/>
                      <a:pt x="396" y="5"/>
                      <a:pt x="396" y="12"/>
                    </a:cubicBezTo>
                    <a:lnTo>
                      <a:pt x="396" y="83"/>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775" name="Oval 1355"/>
              <p:cNvSpPr>
                <a:spLocks noChangeArrowheads="1"/>
              </p:cNvSpPr>
              <p:nvPr/>
            </p:nvSpPr>
            <p:spPr bwMode="auto">
              <a:xfrm>
                <a:off x="14562138" y="3662363"/>
                <a:ext cx="38100" cy="3651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776" name="Freeform 1356"/>
              <p:cNvSpPr>
                <a:spLocks/>
              </p:cNvSpPr>
              <p:nvPr/>
            </p:nvSpPr>
            <p:spPr bwMode="auto">
              <a:xfrm>
                <a:off x="14216063" y="3789363"/>
                <a:ext cx="485775" cy="114300"/>
              </a:xfrm>
              <a:custGeom>
                <a:avLst/>
                <a:gdLst>
                  <a:gd name="T0" fmla="*/ 396 w 396"/>
                  <a:gd name="T1" fmla="*/ 83 h 94"/>
                  <a:gd name="T2" fmla="*/ 385 w 396"/>
                  <a:gd name="T3" fmla="*/ 94 h 94"/>
                  <a:gd name="T4" fmla="*/ 12 w 396"/>
                  <a:gd name="T5" fmla="*/ 94 h 94"/>
                  <a:gd name="T6" fmla="*/ 0 w 396"/>
                  <a:gd name="T7" fmla="*/ 83 h 94"/>
                  <a:gd name="T8" fmla="*/ 0 w 396"/>
                  <a:gd name="T9" fmla="*/ 12 h 94"/>
                  <a:gd name="T10" fmla="*/ 12 w 396"/>
                  <a:gd name="T11" fmla="*/ 0 h 94"/>
                  <a:gd name="T12" fmla="*/ 385 w 396"/>
                  <a:gd name="T13" fmla="*/ 0 h 94"/>
                  <a:gd name="T14" fmla="*/ 396 w 396"/>
                  <a:gd name="T15" fmla="*/ 12 h 94"/>
                  <a:gd name="T16" fmla="*/ 396 w 396"/>
                  <a:gd name="T17" fmla="*/ 83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6" h="94">
                    <a:moveTo>
                      <a:pt x="396" y="83"/>
                    </a:moveTo>
                    <a:cubicBezTo>
                      <a:pt x="396" y="89"/>
                      <a:pt x="391" y="94"/>
                      <a:pt x="385" y="94"/>
                    </a:cubicBezTo>
                    <a:cubicBezTo>
                      <a:pt x="12" y="94"/>
                      <a:pt x="12" y="94"/>
                      <a:pt x="12" y="94"/>
                    </a:cubicBezTo>
                    <a:cubicBezTo>
                      <a:pt x="6" y="94"/>
                      <a:pt x="0" y="89"/>
                      <a:pt x="0" y="83"/>
                    </a:cubicBezTo>
                    <a:cubicBezTo>
                      <a:pt x="0" y="12"/>
                      <a:pt x="0" y="12"/>
                      <a:pt x="0" y="12"/>
                    </a:cubicBezTo>
                    <a:cubicBezTo>
                      <a:pt x="0" y="5"/>
                      <a:pt x="6" y="0"/>
                      <a:pt x="12" y="0"/>
                    </a:cubicBezTo>
                    <a:cubicBezTo>
                      <a:pt x="385" y="0"/>
                      <a:pt x="385" y="0"/>
                      <a:pt x="385" y="0"/>
                    </a:cubicBezTo>
                    <a:cubicBezTo>
                      <a:pt x="391" y="0"/>
                      <a:pt x="396" y="5"/>
                      <a:pt x="396" y="12"/>
                    </a:cubicBezTo>
                    <a:lnTo>
                      <a:pt x="396" y="83"/>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777" name="Oval 1357"/>
              <p:cNvSpPr>
                <a:spLocks noChangeArrowheads="1"/>
              </p:cNvSpPr>
              <p:nvPr/>
            </p:nvSpPr>
            <p:spPr bwMode="auto">
              <a:xfrm>
                <a:off x="14562138" y="3829050"/>
                <a:ext cx="38100" cy="3651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778" name="Freeform 1358"/>
              <p:cNvSpPr>
                <a:spLocks/>
              </p:cNvSpPr>
              <p:nvPr/>
            </p:nvSpPr>
            <p:spPr bwMode="auto">
              <a:xfrm>
                <a:off x="14216063" y="3956050"/>
                <a:ext cx="485775" cy="115888"/>
              </a:xfrm>
              <a:custGeom>
                <a:avLst/>
                <a:gdLst>
                  <a:gd name="T0" fmla="*/ 396 w 396"/>
                  <a:gd name="T1" fmla="*/ 83 h 94"/>
                  <a:gd name="T2" fmla="*/ 385 w 396"/>
                  <a:gd name="T3" fmla="*/ 94 h 94"/>
                  <a:gd name="T4" fmla="*/ 12 w 396"/>
                  <a:gd name="T5" fmla="*/ 94 h 94"/>
                  <a:gd name="T6" fmla="*/ 0 w 396"/>
                  <a:gd name="T7" fmla="*/ 83 h 94"/>
                  <a:gd name="T8" fmla="*/ 0 w 396"/>
                  <a:gd name="T9" fmla="*/ 12 h 94"/>
                  <a:gd name="T10" fmla="*/ 12 w 396"/>
                  <a:gd name="T11" fmla="*/ 0 h 94"/>
                  <a:gd name="T12" fmla="*/ 385 w 396"/>
                  <a:gd name="T13" fmla="*/ 0 h 94"/>
                  <a:gd name="T14" fmla="*/ 396 w 396"/>
                  <a:gd name="T15" fmla="*/ 12 h 94"/>
                  <a:gd name="T16" fmla="*/ 396 w 396"/>
                  <a:gd name="T17" fmla="*/ 83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6" h="94">
                    <a:moveTo>
                      <a:pt x="396" y="83"/>
                    </a:moveTo>
                    <a:cubicBezTo>
                      <a:pt x="396" y="89"/>
                      <a:pt x="391" y="94"/>
                      <a:pt x="385" y="94"/>
                    </a:cubicBezTo>
                    <a:cubicBezTo>
                      <a:pt x="12" y="94"/>
                      <a:pt x="12" y="94"/>
                      <a:pt x="12" y="94"/>
                    </a:cubicBezTo>
                    <a:cubicBezTo>
                      <a:pt x="6" y="94"/>
                      <a:pt x="0" y="89"/>
                      <a:pt x="0" y="83"/>
                    </a:cubicBezTo>
                    <a:cubicBezTo>
                      <a:pt x="0" y="12"/>
                      <a:pt x="0" y="12"/>
                      <a:pt x="0" y="12"/>
                    </a:cubicBezTo>
                    <a:cubicBezTo>
                      <a:pt x="0" y="5"/>
                      <a:pt x="6" y="0"/>
                      <a:pt x="12" y="0"/>
                    </a:cubicBezTo>
                    <a:cubicBezTo>
                      <a:pt x="385" y="0"/>
                      <a:pt x="385" y="0"/>
                      <a:pt x="385" y="0"/>
                    </a:cubicBezTo>
                    <a:cubicBezTo>
                      <a:pt x="391" y="0"/>
                      <a:pt x="396" y="5"/>
                      <a:pt x="396" y="12"/>
                    </a:cubicBezTo>
                    <a:lnTo>
                      <a:pt x="396" y="83"/>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779" name="Oval 1359"/>
              <p:cNvSpPr>
                <a:spLocks noChangeArrowheads="1"/>
              </p:cNvSpPr>
              <p:nvPr/>
            </p:nvSpPr>
            <p:spPr bwMode="auto">
              <a:xfrm>
                <a:off x="14562138" y="3995738"/>
                <a:ext cx="38100" cy="3651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780" name="Freeform 1360"/>
              <p:cNvSpPr>
                <a:spLocks/>
              </p:cNvSpPr>
              <p:nvPr/>
            </p:nvSpPr>
            <p:spPr bwMode="auto">
              <a:xfrm>
                <a:off x="14216063" y="4124325"/>
                <a:ext cx="485775" cy="114300"/>
              </a:xfrm>
              <a:custGeom>
                <a:avLst/>
                <a:gdLst>
                  <a:gd name="T0" fmla="*/ 396 w 396"/>
                  <a:gd name="T1" fmla="*/ 82 h 94"/>
                  <a:gd name="T2" fmla="*/ 385 w 396"/>
                  <a:gd name="T3" fmla="*/ 94 h 94"/>
                  <a:gd name="T4" fmla="*/ 12 w 396"/>
                  <a:gd name="T5" fmla="*/ 94 h 94"/>
                  <a:gd name="T6" fmla="*/ 0 w 396"/>
                  <a:gd name="T7" fmla="*/ 82 h 94"/>
                  <a:gd name="T8" fmla="*/ 0 w 396"/>
                  <a:gd name="T9" fmla="*/ 11 h 94"/>
                  <a:gd name="T10" fmla="*/ 12 w 396"/>
                  <a:gd name="T11" fmla="*/ 0 h 94"/>
                  <a:gd name="T12" fmla="*/ 385 w 396"/>
                  <a:gd name="T13" fmla="*/ 0 h 94"/>
                  <a:gd name="T14" fmla="*/ 396 w 396"/>
                  <a:gd name="T15" fmla="*/ 11 h 94"/>
                  <a:gd name="T16" fmla="*/ 396 w 396"/>
                  <a:gd name="T17" fmla="*/ 82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6" h="94">
                    <a:moveTo>
                      <a:pt x="396" y="82"/>
                    </a:moveTo>
                    <a:cubicBezTo>
                      <a:pt x="396" y="89"/>
                      <a:pt x="391" y="94"/>
                      <a:pt x="385" y="94"/>
                    </a:cubicBezTo>
                    <a:cubicBezTo>
                      <a:pt x="12" y="94"/>
                      <a:pt x="12" y="94"/>
                      <a:pt x="12" y="94"/>
                    </a:cubicBezTo>
                    <a:cubicBezTo>
                      <a:pt x="6" y="94"/>
                      <a:pt x="0" y="89"/>
                      <a:pt x="0" y="82"/>
                    </a:cubicBezTo>
                    <a:cubicBezTo>
                      <a:pt x="0" y="11"/>
                      <a:pt x="0" y="11"/>
                      <a:pt x="0" y="11"/>
                    </a:cubicBezTo>
                    <a:cubicBezTo>
                      <a:pt x="0" y="5"/>
                      <a:pt x="6" y="0"/>
                      <a:pt x="12" y="0"/>
                    </a:cubicBezTo>
                    <a:cubicBezTo>
                      <a:pt x="385" y="0"/>
                      <a:pt x="385" y="0"/>
                      <a:pt x="385" y="0"/>
                    </a:cubicBezTo>
                    <a:cubicBezTo>
                      <a:pt x="391" y="0"/>
                      <a:pt x="396" y="5"/>
                      <a:pt x="396" y="11"/>
                    </a:cubicBezTo>
                    <a:lnTo>
                      <a:pt x="396" y="82"/>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781" name="Oval 1361"/>
              <p:cNvSpPr>
                <a:spLocks noChangeArrowheads="1"/>
              </p:cNvSpPr>
              <p:nvPr/>
            </p:nvSpPr>
            <p:spPr bwMode="auto">
              <a:xfrm>
                <a:off x="14562138" y="4162425"/>
                <a:ext cx="38100" cy="3651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782" name="Freeform 1362"/>
              <p:cNvSpPr>
                <a:spLocks/>
              </p:cNvSpPr>
              <p:nvPr/>
            </p:nvSpPr>
            <p:spPr bwMode="auto">
              <a:xfrm>
                <a:off x="14216063" y="4291013"/>
                <a:ext cx="485775" cy="114300"/>
              </a:xfrm>
              <a:custGeom>
                <a:avLst/>
                <a:gdLst>
                  <a:gd name="T0" fmla="*/ 396 w 396"/>
                  <a:gd name="T1" fmla="*/ 82 h 94"/>
                  <a:gd name="T2" fmla="*/ 385 w 396"/>
                  <a:gd name="T3" fmla="*/ 94 h 94"/>
                  <a:gd name="T4" fmla="*/ 12 w 396"/>
                  <a:gd name="T5" fmla="*/ 94 h 94"/>
                  <a:gd name="T6" fmla="*/ 0 w 396"/>
                  <a:gd name="T7" fmla="*/ 82 h 94"/>
                  <a:gd name="T8" fmla="*/ 0 w 396"/>
                  <a:gd name="T9" fmla="*/ 11 h 94"/>
                  <a:gd name="T10" fmla="*/ 12 w 396"/>
                  <a:gd name="T11" fmla="*/ 0 h 94"/>
                  <a:gd name="T12" fmla="*/ 385 w 396"/>
                  <a:gd name="T13" fmla="*/ 0 h 94"/>
                  <a:gd name="T14" fmla="*/ 396 w 396"/>
                  <a:gd name="T15" fmla="*/ 11 h 94"/>
                  <a:gd name="T16" fmla="*/ 396 w 396"/>
                  <a:gd name="T17" fmla="*/ 82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6" h="94">
                    <a:moveTo>
                      <a:pt x="396" y="82"/>
                    </a:moveTo>
                    <a:cubicBezTo>
                      <a:pt x="396" y="89"/>
                      <a:pt x="391" y="94"/>
                      <a:pt x="385" y="94"/>
                    </a:cubicBezTo>
                    <a:cubicBezTo>
                      <a:pt x="12" y="94"/>
                      <a:pt x="12" y="94"/>
                      <a:pt x="12" y="94"/>
                    </a:cubicBezTo>
                    <a:cubicBezTo>
                      <a:pt x="6" y="94"/>
                      <a:pt x="0" y="89"/>
                      <a:pt x="0" y="82"/>
                    </a:cubicBezTo>
                    <a:cubicBezTo>
                      <a:pt x="0" y="11"/>
                      <a:pt x="0" y="11"/>
                      <a:pt x="0" y="11"/>
                    </a:cubicBezTo>
                    <a:cubicBezTo>
                      <a:pt x="0" y="5"/>
                      <a:pt x="6" y="0"/>
                      <a:pt x="12" y="0"/>
                    </a:cubicBezTo>
                    <a:cubicBezTo>
                      <a:pt x="385" y="0"/>
                      <a:pt x="385" y="0"/>
                      <a:pt x="385" y="0"/>
                    </a:cubicBezTo>
                    <a:cubicBezTo>
                      <a:pt x="391" y="0"/>
                      <a:pt x="396" y="5"/>
                      <a:pt x="396" y="11"/>
                    </a:cubicBezTo>
                    <a:lnTo>
                      <a:pt x="396" y="82"/>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783" name="Oval 1363"/>
              <p:cNvSpPr>
                <a:spLocks noChangeArrowheads="1"/>
              </p:cNvSpPr>
              <p:nvPr/>
            </p:nvSpPr>
            <p:spPr bwMode="auto">
              <a:xfrm>
                <a:off x="14562138" y="4329113"/>
                <a:ext cx="38100" cy="3651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784" name="Freeform 1364"/>
              <p:cNvSpPr>
                <a:spLocks/>
              </p:cNvSpPr>
              <p:nvPr/>
            </p:nvSpPr>
            <p:spPr bwMode="auto">
              <a:xfrm>
                <a:off x="14216063" y="4457700"/>
                <a:ext cx="485775" cy="114300"/>
              </a:xfrm>
              <a:custGeom>
                <a:avLst/>
                <a:gdLst>
                  <a:gd name="T0" fmla="*/ 396 w 396"/>
                  <a:gd name="T1" fmla="*/ 82 h 94"/>
                  <a:gd name="T2" fmla="*/ 385 w 396"/>
                  <a:gd name="T3" fmla="*/ 94 h 94"/>
                  <a:gd name="T4" fmla="*/ 12 w 396"/>
                  <a:gd name="T5" fmla="*/ 94 h 94"/>
                  <a:gd name="T6" fmla="*/ 0 w 396"/>
                  <a:gd name="T7" fmla="*/ 82 h 94"/>
                  <a:gd name="T8" fmla="*/ 0 w 396"/>
                  <a:gd name="T9" fmla="*/ 11 h 94"/>
                  <a:gd name="T10" fmla="*/ 12 w 396"/>
                  <a:gd name="T11" fmla="*/ 0 h 94"/>
                  <a:gd name="T12" fmla="*/ 385 w 396"/>
                  <a:gd name="T13" fmla="*/ 0 h 94"/>
                  <a:gd name="T14" fmla="*/ 396 w 396"/>
                  <a:gd name="T15" fmla="*/ 11 h 94"/>
                  <a:gd name="T16" fmla="*/ 396 w 396"/>
                  <a:gd name="T17" fmla="*/ 82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6" h="94">
                    <a:moveTo>
                      <a:pt x="396" y="82"/>
                    </a:moveTo>
                    <a:cubicBezTo>
                      <a:pt x="396" y="89"/>
                      <a:pt x="391" y="94"/>
                      <a:pt x="385" y="94"/>
                    </a:cubicBezTo>
                    <a:cubicBezTo>
                      <a:pt x="12" y="94"/>
                      <a:pt x="12" y="94"/>
                      <a:pt x="12" y="94"/>
                    </a:cubicBezTo>
                    <a:cubicBezTo>
                      <a:pt x="6" y="94"/>
                      <a:pt x="0" y="89"/>
                      <a:pt x="0" y="82"/>
                    </a:cubicBezTo>
                    <a:cubicBezTo>
                      <a:pt x="0" y="11"/>
                      <a:pt x="0" y="11"/>
                      <a:pt x="0" y="11"/>
                    </a:cubicBezTo>
                    <a:cubicBezTo>
                      <a:pt x="0" y="5"/>
                      <a:pt x="6" y="0"/>
                      <a:pt x="12" y="0"/>
                    </a:cubicBezTo>
                    <a:cubicBezTo>
                      <a:pt x="385" y="0"/>
                      <a:pt x="385" y="0"/>
                      <a:pt x="385" y="0"/>
                    </a:cubicBezTo>
                    <a:cubicBezTo>
                      <a:pt x="391" y="0"/>
                      <a:pt x="396" y="5"/>
                      <a:pt x="396" y="11"/>
                    </a:cubicBezTo>
                    <a:lnTo>
                      <a:pt x="396" y="82"/>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785" name="Oval 1365"/>
              <p:cNvSpPr>
                <a:spLocks noChangeArrowheads="1"/>
              </p:cNvSpPr>
              <p:nvPr/>
            </p:nvSpPr>
            <p:spPr bwMode="auto">
              <a:xfrm>
                <a:off x="14562138" y="4495800"/>
                <a:ext cx="38100" cy="3810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786" name="Freeform 1366"/>
              <p:cNvSpPr>
                <a:spLocks/>
              </p:cNvSpPr>
              <p:nvPr/>
            </p:nvSpPr>
            <p:spPr bwMode="auto">
              <a:xfrm>
                <a:off x="14216063" y="4624388"/>
                <a:ext cx="485775" cy="114300"/>
              </a:xfrm>
              <a:custGeom>
                <a:avLst/>
                <a:gdLst>
                  <a:gd name="T0" fmla="*/ 396 w 396"/>
                  <a:gd name="T1" fmla="*/ 82 h 94"/>
                  <a:gd name="T2" fmla="*/ 385 w 396"/>
                  <a:gd name="T3" fmla="*/ 94 h 94"/>
                  <a:gd name="T4" fmla="*/ 12 w 396"/>
                  <a:gd name="T5" fmla="*/ 94 h 94"/>
                  <a:gd name="T6" fmla="*/ 0 w 396"/>
                  <a:gd name="T7" fmla="*/ 82 h 94"/>
                  <a:gd name="T8" fmla="*/ 0 w 396"/>
                  <a:gd name="T9" fmla="*/ 11 h 94"/>
                  <a:gd name="T10" fmla="*/ 12 w 396"/>
                  <a:gd name="T11" fmla="*/ 0 h 94"/>
                  <a:gd name="T12" fmla="*/ 385 w 396"/>
                  <a:gd name="T13" fmla="*/ 0 h 94"/>
                  <a:gd name="T14" fmla="*/ 396 w 396"/>
                  <a:gd name="T15" fmla="*/ 11 h 94"/>
                  <a:gd name="T16" fmla="*/ 396 w 396"/>
                  <a:gd name="T17" fmla="*/ 82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6" h="94">
                    <a:moveTo>
                      <a:pt x="396" y="82"/>
                    </a:moveTo>
                    <a:cubicBezTo>
                      <a:pt x="396" y="89"/>
                      <a:pt x="391" y="94"/>
                      <a:pt x="385" y="94"/>
                    </a:cubicBezTo>
                    <a:cubicBezTo>
                      <a:pt x="12" y="94"/>
                      <a:pt x="12" y="94"/>
                      <a:pt x="12" y="94"/>
                    </a:cubicBezTo>
                    <a:cubicBezTo>
                      <a:pt x="6" y="94"/>
                      <a:pt x="0" y="89"/>
                      <a:pt x="0" y="82"/>
                    </a:cubicBezTo>
                    <a:cubicBezTo>
                      <a:pt x="0" y="11"/>
                      <a:pt x="0" y="11"/>
                      <a:pt x="0" y="11"/>
                    </a:cubicBezTo>
                    <a:cubicBezTo>
                      <a:pt x="0" y="5"/>
                      <a:pt x="6" y="0"/>
                      <a:pt x="12" y="0"/>
                    </a:cubicBezTo>
                    <a:cubicBezTo>
                      <a:pt x="385" y="0"/>
                      <a:pt x="385" y="0"/>
                      <a:pt x="385" y="0"/>
                    </a:cubicBezTo>
                    <a:cubicBezTo>
                      <a:pt x="391" y="0"/>
                      <a:pt x="396" y="5"/>
                      <a:pt x="396" y="11"/>
                    </a:cubicBezTo>
                    <a:lnTo>
                      <a:pt x="396" y="82"/>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787" name="Rectangle 1367"/>
              <p:cNvSpPr>
                <a:spLocks noChangeArrowheads="1"/>
              </p:cNvSpPr>
              <p:nvPr/>
            </p:nvSpPr>
            <p:spPr bwMode="auto">
              <a:xfrm>
                <a:off x="14250988" y="3479800"/>
                <a:ext cx="22225"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788" name="Rectangle 1368"/>
              <p:cNvSpPr>
                <a:spLocks noChangeArrowheads="1"/>
              </p:cNvSpPr>
              <p:nvPr/>
            </p:nvSpPr>
            <p:spPr bwMode="auto">
              <a:xfrm>
                <a:off x="14285913" y="3479800"/>
                <a:ext cx="23813"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789" name="Rectangle 1369"/>
              <p:cNvSpPr>
                <a:spLocks noChangeArrowheads="1"/>
              </p:cNvSpPr>
              <p:nvPr/>
            </p:nvSpPr>
            <p:spPr bwMode="auto">
              <a:xfrm>
                <a:off x="14320838" y="3479800"/>
                <a:ext cx="23813"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790" name="Rectangle 1370"/>
              <p:cNvSpPr>
                <a:spLocks noChangeArrowheads="1"/>
              </p:cNvSpPr>
              <p:nvPr/>
            </p:nvSpPr>
            <p:spPr bwMode="auto">
              <a:xfrm>
                <a:off x="14357351" y="3479800"/>
                <a:ext cx="22225"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791" name="Rectangle 1371"/>
              <p:cNvSpPr>
                <a:spLocks noChangeArrowheads="1"/>
              </p:cNvSpPr>
              <p:nvPr/>
            </p:nvSpPr>
            <p:spPr bwMode="auto">
              <a:xfrm>
                <a:off x="14393863" y="3479800"/>
                <a:ext cx="22225"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792" name="Rectangle 1372"/>
              <p:cNvSpPr>
                <a:spLocks noChangeArrowheads="1"/>
              </p:cNvSpPr>
              <p:nvPr/>
            </p:nvSpPr>
            <p:spPr bwMode="auto">
              <a:xfrm>
                <a:off x="14250988" y="3646488"/>
                <a:ext cx="22225" cy="68263"/>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793" name="Rectangle 1373"/>
              <p:cNvSpPr>
                <a:spLocks noChangeArrowheads="1"/>
              </p:cNvSpPr>
              <p:nvPr/>
            </p:nvSpPr>
            <p:spPr bwMode="auto">
              <a:xfrm>
                <a:off x="14285913" y="3646488"/>
                <a:ext cx="23813" cy="68263"/>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794" name="Rectangle 1374"/>
              <p:cNvSpPr>
                <a:spLocks noChangeArrowheads="1"/>
              </p:cNvSpPr>
              <p:nvPr/>
            </p:nvSpPr>
            <p:spPr bwMode="auto">
              <a:xfrm>
                <a:off x="14320838" y="3646488"/>
                <a:ext cx="23813" cy="68263"/>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795" name="Rectangle 1375"/>
              <p:cNvSpPr>
                <a:spLocks noChangeArrowheads="1"/>
              </p:cNvSpPr>
              <p:nvPr/>
            </p:nvSpPr>
            <p:spPr bwMode="auto">
              <a:xfrm>
                <a:off x="14357351" y="3646488"/>
                <a:ext cx="22225" cy="68263"/>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796" name="Rectangle 1376"/>
              <p:cNvSpPr>
                <a:spLocks noChangeArrowheads="1"/>
              </p:cNvSpPr>
              <p:nvPr/>
            </p:nvSpPr>
            <p:spPr bwMode="auto">
              <a:xfrm>
                <a:off x="14393863" y="3646488"/>
                <a:ext cx="22225" cy="68263"/>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797" name="Rectangle 1377"/>
              <p:cNvSpPr>
                <a:spLocks noChangeArrowheads="1"/>
              </p:cNvSpPr>
              <p:nvPr/>
            </p:nvSpPr>
            <p:spPr bwMode="auto">
              <a:xfrm>
                <a:off x="14250988" y="3814763"/>
                <a:ext cx="22225"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798" name="Rectangle 1378"/>
              <p:cNvSpPr>
                <a:spLocks noChangeArrowheads="1"/>
              </p:cNvSpPr>
              <p:nvPr/>
            </p:nvSpPr>
            <p:spPr bwMode="auto">
              <a:xfrm>
                <a:off x="14285913" y="3814763"/>
                <a:ext cx="23813"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799" name="Rectangle 1379"/>
              <p:cNvSpPr>
                <a:spLocks noChangeArrowheads="1"/>
              </p:cNvSpPr>
              <p:nvPr/>
            </p:nvSpPr>
            <p:spPr bwMode="auto">
              <a:xfrm>
                <a:off x="14320838" y="3814763"/>
                <a:ext cx="23813"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800" name="Rectangle 1380"/>
              <p:cNvSpPr>
                <a:spLocks noChangeArrowheads="1"/>
              </p:cNvSpPr>
              <p:nvPr/>
            </p:nvSpPr>
            <p:spPr bwMode="auto">
              <a:xfrm>
                <a:off x="14357351" y="3814763"/>
                <a:ext cx="22225"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801" name="Rectangle 1381"/>
              <p:cNvSpPr>
                <a:spLocks noChangeArrowheads="1"/>
              </p:cNvSpPr>
              <p:nvPr/>
            </p:nvSpPr>
            <p:spPr bwMode="auto">
              <a:xfrm>
                <a:off x="14393863" y="3814763"/>
                <a:ext cx="22225"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802" name="Rectangle 1382"/>
              <p:cNvSpPr>
                <a:spLocks noChangeArrowheads="1"/>
              </p:cNvSpPr>
              <p:nvPr/>
            </p:nvSpPr>
            <p:spPr bwMode="auto">
              <a:xfrm>
                <a:off x="14250988" y="3981450"/>
                <a:ext cx="22225" cy="6508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803" name="Rectangle 1383"/>
              <p:cNvSpPr>
                <a:spLocks noChangeArrowheads="1"/>
              </p:cNvSpPr>
              <p:nvPr/>
            </p:nvSpPr>
            <p:spPr bwMode="auto">
              <a:xfrm>
                <a:off x="14285913" y="3981450"/>
                <a:ext cx="23813" cy="6508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804" name="Rectangle 1384"/>
              <p:cNvSpPr>
                <a:spLocks noChangeArrowheads="1"/>
              </p:cNvSpPr>
              <p:nvPr/>
            </p:nvSpPr>
            <p:spPr bwMode="auto">
              <a:xfrm>
                <a:off x="14320838" y="3981450"/>
                <a:ext cx="23813" cy="6508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805" name="Rectangle 1385"/>
              <p:cNvSpPr>
                <a:spLocks noChangeArrowheads="1"/>
              </p:cNvSpPr>
              <p:nvPr/>
            </p:nvSpPr>
            <p:spPr bwMode="auto">
              <a:xfrm>
                <a:off x="14357351" y="3981450"/>
                <a:ext cx="22225" cy="6508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806" name="Rectangle 1386"/>
              <p:cNvSpPr>
                <a:spLocks noChangeArrowheads="1"/>
              </p:cNvSpPr>
              <p:nvPr/>
            </p:nvSpPr>
            <p:spPr bwMode="auto">
              <a:xfrm>
                <a:off x="14393863" y="3981450"/>
                <a:ext cx="22225" cy="6508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807" name="Rectangle 1387"/>
              <p:cNvSpPr>
                <a:spLocks noChangeArrowheads="1"/>
              </p:cNvSpPr>
              <p:nvPr/>
            </p:nvSpPr>
            <p:spPr bwMode="auto">
              <a:xfrm>
                <a:off x="14250988" y="4148138"/>
                <a:ext cx="22225" cy="6508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808" name="Rectangle 1388"/>
              <p:cNvSpPr>
                <a:spLocks noChangeArrowheads="1"/>
              </p:cNvSpPr>
              <p:nvPr/>
            </p:nvSpPr>
            <p:spPr bwMode="auto">
              <a:xfrm>
                <a:off x="14285913" y="4148138"/>
                <a:ext cx="23813" cy="6508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809" name="Rectangle 1389"/>
              <p:cNvSpPr>
                <a:spLocks noChangeArrowheads="1"/>
              </p:cNvSpPr>
              <p:nvPr/>
            </p:nvSpPr>
            <p:spPr bwMode="auto">
              <a:xfrm>
                <a:off x="14320838" y="4148138"/>
                <a:ext cx="23813" cy="6508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810" name="Rectangle 1390"/>
              <p:cNvSpPr>
                <a:spLocks noChangeArrowheads="1"/>
              </p:cNvSpPr>
              <p:nvPr/>
            </p:nvSpPr>
            <p:spPr bwMode="auto">
              <a:xfrm>
                <a:off x="14357351" y="4148138"/>
                <a:ext cx="22225" cy="6508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811" name="Rectangle 1391"/>
              <p:cNvSpPr>
                <a:spLocks noChangeArrowheads="1"/>
              </p:cNvSpPr>
              <p:nvPr/>
            </p:nvSpPr>
            <p:spPr bwMode="auto">
              <a:xfrm>
                <a:off x="14393863" y="4148138"/>
                <a:ext cx="22225" cy="6508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812" name="Rectangle 1392"/>
              <p:cNvSpPr>
                <a:spLocks noChangeArrowheads="1"/>
              </p:cNvSpPr>
              <p:nvPr/>
            </p:nvSpPr>
            <p:spPr bwMode="auto">
              <a:xfrm>
                <a:off x="14250988" y="4313238"/>
                <a:ext cx="22225" cy="68263"/>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813" name="Rectangle 1393"/>
              <p:cNvSpPr>
                <a:spLocks noChangeArrowheads="1"/>
              </p:cNvSpPr>
              <p:nvPr/>
            </p:nvSpPr>
            <p:spPr bwMode="auto">
              <a:xfrm>
                <a:off x="14285913" y="4313238"/>
                <a:ext cx="23813" cy="68263"/>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814" name="Rectangle 1394"/>
              <p:cNvSpPr>
                <a:spLocks noChangeArrowheads="1"/>
              </p:cNvSpPr>
              <p:nvPr/>
            </p:nvSpPr>
            <p:spPr bwMode="auto">
              <a:xfrm>
                <a:off x="14320838" y="4313238"/>
                <a:ext cx="23813" cy="68263"/>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815" name="Rectangle 1395"/>
              <p:cNvSpPr>
                <a:spLocks noChangeArrowheads="1"/>
              </p:cNvSpPr>
              <p:nvPr/>
            </p:nvSpPr>
            <p:spPr bwMode="auto">
              <a:xfrm>
                <a:off x="14357351" y="4313238"/>
                <a:ext cx="22225" cy="68263"/>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816" name="Rectangle 1396"/>
              <p:cNvSpPr>
                <a:spLocks noChangeArrowheads="1"/>
              </p:cNvSpPr>
              <p:nvPr/>
            </p:nvSpPr>
            <p:spPr bwMode="auto">
              <a:xfrm>
                <a:off x="14393863" y="4313238"/>
                <a:ext cx="22225" cy="68263"/>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817" name="Rectangle 1397"/>
              <p:cNvSpPr>
                <a:spLocks noChangeArrowheads="1"/>
              </p:cNvSpPr>
              <p:nvPr/>
            </p:nvSpPr>
            <p:spPr bwMode="auto">
              <a:xfrm>
                <a:off x="14250988" y="4481513"/>
                <a:ext cx="22225"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818" name="Rectangle 1398"/>
              <p:cNvSpPr>
                <a:spLocks noChangeArrowheads="1"/>
              </p:cNvSpPr>
              <p:nvPr/>
            </p:nvSpPr>
            <p:spPr bwMode="auto">
              <a:xfrm>
                <a:off x="14285913" y="4481513"/>
                <a:ext cx="23813"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819" name="Rectangle 1399"/>
              <p:cNvSpPr>
                <a:spLocks noChangeArrowheads="1"/>
              </p:cNvSpPr>
              <p:nvPr/>
            </p:nvSpPr>
            <p:spPr bwMode="auto">
              <a:xfrm>
                <a:off x="14320838" y="4481513"/>
                <a:ext cx="23813"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820" name="Rectangle 1400"/>
              <p:cNvSpPr>
                <a:spLocks noChangeArrowheads="1"/>
              </p:cNvSpPr>
              <p:nvPr/>
            </p:nvSpPr>
            <p:spPr bwMode="auto">
              <a:xfrm>
                <a:off x="14357351" y="4481513"/>
                <a:ext cx="22225"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821" name="Rectangle 1401"/>
              <p:cNvSpPr>
                <a:spLocks noChangeArrowheads="1"/>
              </p:cNvSpPr>
              <p:nvPr/>
            </p:nvSpPr>
            <p:spPr bwMode="auto">
              <a:xfrm>
                <a:off x="14393863" y="4481513"/>
                <a:ext cx="22225"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822" name="Rectangle 1402"/>
              <p:cNvSpPr>
                <a:spLocks noChangeArrowheads="1"/>
              </p:cNvSpPr>
              <p:nvPr/>
            </p:nvSpPr>
            <p:spPr bwMode="auto">
              <a:xfrm>
                <a:off x="14250988" y="4648200"/>
                <a:ext cx="22225"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823" name="Rectangle 1403"/>
              <p:cNvSpPr>
                <a:spLocks noChangeArrowheads="1"/>
              </p:cNvSpPr>
              <p:nvPr/>
            </p:nvSpPr>
            <p:spPr bwMode="auto">
              <a:xfrm>
                <a:off x="14285913" y="4648200"/>
                <a:ext cx="23813"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824" name="Rectangle 1404"/>
              <p:cNvSpPr>
                <a:spLocks noChangeArrowheads="1"/>
              </p:cNvSpPr>
              <p:nvPr/>
            </p:nvSpPr>
            <p:spPr bwMode="auto">
              <a:xfrm>
                <a:off x="14320838" y="4648200"/>
                <a:ext cx="23813"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825" name="Rectangle 1405"/>
              <p:cNvSpPr>
                <a:spLocks noChangeArrowheads="1"/>
              </p:cNvSpPr>
              <p:nvPr/>
            </p:nvSpPr>
            <p:spPr bwMode="auto">
              <a:xfrm>
                <a:off x="14357351" y="4648200"/>
                <a:ext cx="22225"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826" name="Rectangle 1406"/>
              <p:cNvSpPr>
                <a:spLocks noChangeArrowheads="1"/>
              </p:cNvSpPr>
              <p:nvPr/>
            </p:nvSpPr>
            <p:spPr bwMode="auto">
              <a:xfrm>
                <a:off x="14393863" y="4648200"/>
                <a:ext cx="22225"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827" name="Oval 1407"/>
              <p:cNvSpPr>
                <a:spLocks noChangeArrowheads="1"/>
              </p:cNvSpPr>
              <p:nvPr/>
            </p:nvSpPr>
            <p:spPr bwMode="auto">
              <a:xfrm>
                <a:off x="14562138" y="4664075"/>
                <a:ext cx="38100" cy="3651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828" name="Oval 1408"/>
              <p:cNvSpPr>
                <a:spLocks noChangeArrowheads="1"/>
              </p:cNvSpPr>
              <p:nvPr/>
            </p:nvSpPr>
            <p:spPr bwMode="auto">
              <a:xfrm>
                <a:off x="14630401" y="3494088"/>
                <a:ext cx="38100" cy="38100"/>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829" name="Oval 1409"/>
              <p:cNvSpPr>
                <a:spLocks noChangeArrowheads="1"/>
              </p:cNvSpPr>
              <p:nvPr/>
            </p:nvSpPr>
            <p:spPr bwMode="auto">
              <a:xfrm>
                <a:off x="14630401" y="3662363"/>
                <a:ext cx="38100" cy="36513"/>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830" name="Oval 1410"/>
              <p:cNvSpPr>
                <a:spLocks noChangeArrowheads="1"/>
              </p:cNvSpPr>
              <p:nvPr/>
            </p:nvSpPr>
            <p:spPr bwMode="auto">
              <a:xfrm>
                <a:off x="14630401" y="3829050"/>
                <a:ext cx="38100" cy="36513"/>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831" name="Oval 1411"/>
              <p:cNvSpPr>
                <a:spLocks noChangeArrowheads="1"/>
              </p:cNvSpPr>
              <p:nvPr/>
            </p:nvSpPr>
            <p:spPr bwMode="auto">
              <a:xfrm>
                <a:off x="14630401" y="3995738"/>
                <a:ext cx="38100" cy="36513"/>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832" name="Oval 1412"/>
              <p:cNvSpPr>
                <a:spLocks noChangeArrowheads="1"/>
              </p:cNvSpPr>
              <p:nvPr/>
            </p:nvSpPr>
            <p:spPr bwMode="auto">
              <a:xfrm>
                <a:off x="14630401" y="4162425"/>
                <a:ext cx="38100" cy="36513"/>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833" name="Oval 1413"/>
              <p:cNvSpPr>
                <a:spLocks noChangeArrowheads="1"/>
              </p:cNvSpPr>
              <p:nvPr/>
            </p:nvSpPr>
            <p:spPr bwMode="auto">
              <a:xfrm>
                <a:off x="14630401" y="4329113"/>
                <a:ext cx="38100" cy="36513"/>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834" name="Oval 1414"/>
              <p:cNvSpPr>
                <a:spLocks noChangeArrowheads="1"/>
              </p:cNvSpPr>
              <p:nvPr/>
            </p:nvSpPr>
            <p:spPr bwMode="auto">
              <a:xfrm>
                <a:off x="14630401" y="4495800"/>
                <a:ext cx="38100" cy="38100"/>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835" name="Oval 1415"/>
              <p:cNvSpPr>
                <a:spLocks noChangeArrowheads="1"/>
              </p:cNvSpPr>
              <p:nvPr/>
            </p:nvSpPr>
            <p:spPr bwMode="auto">
              <a:xfrm>
                <a:off x="14630401" y="4664075"/>
                <a:ext cx="38100" cy="36513"/>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grpSp>
      <p:grpSp>
        <p:nvGrpSpPr>
          <p:cNvPr id="1475" name="Group 1474"/>
          <p:cNvGrpSpPr/>
          <p:nvPr/>
        </p:nvGrpSpPr>
        <p:grpSpPr>
          <a:xfrm>
            <a:off x="7504927" y="4859780"/>
            <a:ext cx="1280280" cy="1313890"/>
            <a:chOff x="7886917" y="3469989"/>
            <a:chExt cx="2061809" cy="2115935"/>
          </a:xfrm>
        </p:grpSpPr>
        <p:grpSp>
          <p:nvGrpSpPr>
            <p:cNvPr id="1562" name="Group 1561"/>
            <p:cNvGrpSpPr/>
            <p:nvPr/>
          </p:nvGrpSpPr>
          <p:grpSpPr>
            <a:xfrm>
              <a:off x="7886917" y="3469989"/>
              <a:ext cx="1039650" cy="1882552"/>
              <a:chOff x="14160501" y="3376613"/>
              <a:chExt cx="796925" cy="1443038"/>
            </a:xfrm>
          </p:grpSpPr>
          <p:sp>
            <p:nvSpPr>
              <p:cNvPr id="1699" name="Freeform 1349"/>
              <p:cNvSpPr>
                <a:spLocks/>
              </p:cNvSpPr>
              <p:nvPr/>
            </p:nvSpPr>
            <p:spPr bwMode="auto">
              <a:xfrm>
                <a:off x="14682788" y="3376613"/>
                <a:ext cx="274638" cy="1443038"/>
              </a:xfrm>
              <a:custGeom>
                <a:avLst/>
                <a:gdLst>
                  <a:gd name="T0" fmla="*/ 184 w 224"/>
                  <a:gd name="T1" fmla="*/ 0 h 1184"/>
                  <a:gd name="T2" fmla="*/ 0 w 224"/>
                  <a:gd name="T3" fmla="*/ 0 h 1184"/>
                  <a:gd name="T4" fmla="*/ 40 w 224"/>
                  <a:gd name="T5" fmla="*/ 41 h 1184"/>
                  <a:gd name="T6" fmla="*/ 40 w 224"/>
                  <a:gd name="T7" fmla="*/ 1144 h 1184"/>
                  <a:gd name="T8" fmla="*/ 0 w 224"/>
                  <a:gd name="T9" fmla="*/ 1184 h 1184"/>
                  <a:gd name="T10" fmla="*/ 184 w 224"/>
                  <a:gd name="T11" fmla="*/ 1184 h 1184"/>
                  <a:gd name="T12" fmla="*/ 224 w 224"/>
                  <a:gd name="T13" fmla="*/ 1144 h 1184"/>
                  <a:gd name="T14" fmla="*/ 224 w 224"/>
                  <a:gd name="T15" fmla="*/ 41 h 1184"/>
                  <a:gd name="T16" fmla="*/ 184 w 224"/>
                  <a:gd name="T17" fmla="*/ 0 h 1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4" h="1184">
                    <a:moveTo>
                      <a:pt x="184" y="0"/>
                    </a:moveTo>
                    <a:cubicBezTo>
                      <a:pt x="0" y="0"/>
                      <a:pt x="0" y="0"/>
                      <a:pt x="0" y="0"/>
                    </a:cubicBezTo>
                    <a:cubicBezTo>
                      <a:pt x="22" y="0"/>
                      <a:pt x="40" y="18"/>
                      <a:pt x="40" y="41"/>
                    </a:cubicBezTo>
                    <a:cubicBezTo>
                      <a:pt x="40" y="1144"/>
                      <a:pt x="40" y="1144"/>
                      <a:pt x="40" y="1144"/>
                    </a:cubicBezTo>
                    <a:cubicBezTo>
                      <a:pt x="40" y="1166"/>
                      <a:pt x="22" y="1184"/>
                      <a:pt x="0" y="1184"/>
                    </a:cubicBezTo>
                    <a:cubicBezTo>
                      <a:pt x="184" y="1184"/>
                      <a:pt x="184" y="1184"/>
                      <a:pt x="184" y="1184"/>
                    </a:cubicBezTo>
                    <a:cubicBezTo>
                      <a:pt x="206" y="1184"/>
                      <a:pt x="224" y="1166"/>
                      <a:pt x="224" y="1144"/>
                    </a:cubicBezTo>
                    <a:cubicBezTo>
                      <a:pt x="224" y="41"/>
                      <a:pt x="224" y="41"/>
                      <a:pt x="224" y="41"/>
                    </a:cubicBezTo>
                    <a:cubicBezTo>
                      <a:pt x="224" y="18"/>
                      <a:pt x="206" y="0"/>
                      <a:pt x="184" y="0"/>
                    </a:cubicBez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700" name="Freeform 1350"/>
              <p:cNvSpPr>
                <a:spLocks/>
              </p:cNvSpPr>
              <p:nvPr/>
            </p:nvSpPr>
            <p:spPr bwMode="auto">
              <a:xfrm>
                <a:off x="14682788" y="3376613"/>
                <a:ext cx="274638" cy="1443038"/>
              </a:xfrm>
              <a:custGeom>
                <a:avLst/>
                <a:gdLst>
                  <a:gd name="T0" fmla="*/ 184 w 224"/>
                  <a:gd name="T1" fmla="*/ 0 h 1184"/>
                  <a:gd name="T2" fmla="*/ 0 w 224"/>
                  <a:gd name="T3" fmla="*/ 0 h 1184"/>
                  <a:gd name="T4" fmla="*/ 40 w 224"/>
                  <a:gd name="T5" fmla="*/ 41 h 1184"/>
                  <a:gd name="T6" fmla="*/ 40 w 224"/>
                  <a:gd name="T7" fmla="*/ 1144 h 1184"/>
                  <a:gd name="T8" fmla="*/ 0 w 224"/>
                  <a:gd name="T9" fmla="*/ 1184 h 1184"/>
                  <a:gd name="T10" fmla="*/ 184 w 224"/>
                  <a:gd name="T11" fmla="*/ 1184 h 1184"/>
                  <a:gd name="T12" fmla="*/ 224 w 224"/>
                  <a:gd name="T13" fmla="*/ 1144 h 1184"/>
                  <a:gd name="T14" fmla="*/ 224 w 224"/>
                  <a:gd name="T15" fmla="*/ 41 h 1184"/>
                  <a:gd name="T16" fmla="*/ 184 w 224"/>
                  <a:gd name="T17" fmla="*/ 0 h 1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4" h="1184">
                    <a:moveTo>
                      <a:pt x="184" y="0"/>
                    </a:moveTo>
                    <a:cubicBezTo>
                      <a:pt x="0" y="0"/>
                      <a:pt x="0" y="0"/>
                      <a:pt x="0" y="0"/>
                    </a:cubicBezTo>
                    <a:cubicBezTo>
                      <a:pt x="22" y="0"/>
                      <a:pt x="40" y="18"/>
                      <a:pt x="40" y="41"/>
                    </a:cubicBezTo>
                    <a:cubicBezTo>
                      <a:pt x="40" y="1144"/>
                      <a:pt x="40" y="1144"/>
                      <a:pt x="40" y="1144"/>
                    </a:cubicBezTo>
                    <a:cubicBezTo>
                      <a:pt x="40" y="1166"/>
                      <a:pt x="22" y="1184"/>
                      <a:pt x="0" y="1184"/>
                    </a:cubicBezTo>
                    <a:cubicBezTo>
                      <a:pt x="184" y="1184"/>
                      <a:pt x="184" y="1184"/>
                      <a:pt x="184" y="1184"/>
                    </a:cubicBezTo>
                    <a:cubicBezTo>
                      <a:pt x="206" y="1184"/>
                      <a:pt x="224" y="1166"/>
                      <a:pt x="224" y="1144"/>
                    </a:cubicBezTo>
                    <a:cubicBezTo>
                      <a:pt x="224" y="41"/>
                      <a:pt x="224" y="41"/>
                      <a:pt x="224" y="41"/>
                    </a:cubicBezTo>
                    <a:cubicBezTo>
                      <a:pt x="224" y="18"/>
                      <a:pt x="206" y="0"/>
                      <a:pt x="184" y="0"/>
                    </a:cubicBezTo>
                    <a:close/>
                  </a:path>
                </a:pathLst>
              </a:custGeom>
              <a:solidFill>
                <a:srgbClr val="003D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701" name="Freeform 1351"/>
              <p:cNvSpPr>
                <a:spLocks/>
              </p:cNvSpPr>
              <p:nvPr/>
            </p:nvSpPr>
            <p:spPr bwMode="auto">
              <a:xfrm>
                <a:off x="14160501" y="3376613"/>
                <a:ext cx="611188" cy="1443038"/>
              </a:xfrm>
              <a:custGeom>
                <a:avLst/>
                <a:gdLst>
                  <a:gd name="T0" fmla="*/ 499 w 499"/>
                  <a:gd name="T1" fmla="*/ 1144 h 1184"/>
                  <a:gd name="T2" fmla="*/ 459 w 499"/>
                  <a:gd name="T3" fmla="*/ 1184 h 1184"/>
                  <a:gd name="T4" fmla="*/ 40 w 499"/>
                  <a:gd name="T5" fmla="*/ 1184 h 1184"/>
                  <a:gd name="T6" fmla="*/ 0 w 499"/>
                  <a:gd name="T7" fmla="*/ 1144 h 1184"/>
                  <a:gd name="T8" fmla="*/ 0 w 499"/>
                  <a:gd name="T9" fmla="*/ 41 h 1184"/>
                  <a:gd name="T10" fmla="*/ 40 w 499"/>
                  <a:gd name="T11" fmla="*/ 0 h 1184"/>
                  <a:gd name="T12" fmla="*/ 459 w 499"/>
                  <a:gd name="T13" fmla="*/ 0 h 1184"/>
                  <a:gd name="T14" fmla="*/ 499 w 499"/>
                  <a:gd name="T15" fmla="*/ 41 h 1184"/>
                  <a:gd name="T16" fmla="*/ 499 w 499"/>
                  <a:gd name="T17" fmla="*/ 1144 h 1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9" h="1184">
                    <a:moveTo>
                      <a:pt x="499" y="1144"/>
                    </a:moveTo>
                    <a:cubicBezTo>
                      <a:pt x="499" y="1166"/>
                      <a:pt x="481" y="1184"/>
                      <a:pt x="459" y="1184"/>
                    </a:cubicBezTo>
                    <a:cubicBezTo>
                      <a:pt x="40" y="1184"/>
                      <a:pt x="40" y="1184"/>
                      <a:pt x="40" y="1184"/>
                    </a:cubicBezTo>
                    <a:cubicBezTo>
                      <a:pt x="18" y="1184"/>
                      <a:pt x="0" y="1166"/>
                      <a:pt x="0" y="1144"/>
                    </a:cubicBezTo>
                    <a:cubicBezTo>
                      <a:pt x="0" y="41"/>
                      <a:pt x="0" y="41"/>
                      <a:pt x="0" y="41"/>
                    </a:cubicBezTo>
                    <a:cubicBezTo>
                      <a:pt x="0" y="18"/>
                      <a:pt x="18" y="0"/>
                      <a:pt x="40" y="0"/>
                    </a:cubicBezTo>
                    <a:cubicBezTo>
                      <a:pt x="459" y="0"/>
                      <a:pt x="459" y="0"/>
                      <a:pt x="459" y="0"/>
                    </a:cubicBezTo>
                    <a:cubicBezTo>
                      <a:pt x="481" y="0"/>
                      <a:pt x="499" y="18"/>
                      <a:pt x="499" y="41"/>
                    </a:cubicBezTo>
                    <a:lnTo>
                      <a:pt x="499" y="1144"/>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702" name="Freeform 1352"/>
              <p:cNvSpPr>
                <a:spLocks/>
              </p:cNvSpPr>
              <p:nvPr/>
            </p:nvSpPr>
            <p:spPr bwMode="auto">
              <a:xfrm>
                <a:off x="14216063" y="3455988"/>
                <a:ext cx="485775" cy="114300"/>
              </a:xfrm>
              <a:custGeom>
                <a:avLst/>
                <a:gdLst>
                  <a:gd name="T0" fmla="*/ 396 w 396"/>
                  <a:gd name="T1" fmla="*/ 83 h 94"/>
                  <a:gd name="T2" fmla="*/ 385 w 396"/>
                  <a:gd name="T3" fmla="*/ 94 h 94"/>
                  <a:gd name="T4" fmla="*/ 12 w 396"/>
                  <a:gd name="T5" fmla="*/ 94 h 94"/>
                  <a:gd name="T6" fmla="*/ 0 w 396"/>
                  <a:gd name="T7" fmla="*/ 83 h 94"/>
                  <a:gd name="T8" fmla="*/ 0 w 396"/>
                  <a:gd name="T9" fmla="*/ 12 h 94"/>
                  <a:gd name="T10" fmla="*/ 12 w 396"/>
                  <a:gd name="T11" fmla="*/ 0 h 94"/>
                  <a:gd name="T12" fmla="*/ 385 w 396"/>
                  <a:gd name="T13" fmla="*/ 0 h 94"/>
                  <a:gd name="T14" fmla="*/ 396 w 396"/>
                  <a:gd name="T15" fmla="*/ 12 h 94"/>
                  <a:gd name="T16" fmla="*/ 396 w 396"/>
                  <a:gd name="T17" fmla="*/ 83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6" h="94">
                    <a:moveTo>
                      <a:pt x="396" y="83"/>
                    </a:moveTo>
                    <a:cubicBezTo>
                      <a:pt x="396" y="89"/>
                      <a:pt x="391" y="94"/>
                      <a:pt x="385" y="94"/>
                    </a:cubicBezTo>
                    <a:cubicBezTo>
                      <a:pt x="12" y="94"/>
                      <a:pt x="12" y="94"/>
                      <a:pt x="12" y="94"/>
                    </a:cubicBezTo>
                    <a:cubicBezTo>
                      <a:pt x="6" y="94"/>
                      <a:pt x="0" y="89"/>
                      <a:pt x="0" y="83"/>
                    </a:cubicBezTo>
                    <a:cubicBezTo>
                      <a:pt x="0" y="12"/>
                      <a:pt x="0" y="12"/>
                      <a:pt x="0" y="12"/>
                    </a:cubicBezTo>
                    <a:cubicBezTo>
                      <a:pt x="0" y="5"/>
                      <a:pt x="6" y="0"/>
                      <a:pt x="12" y="0"/>
                    </a:cubicBezTo>
                    <a:cubicBezTo>
                      <a:pt x="385" y="0"/>
                      <a:pt x="385" y="0"/>
                      <a:pt x="385" y="0"/>
                    </a:cubicBezTo>
                    <a:cubicBezTo>
                      <a:pt x="391" y="0"/>
                      <a:pt x="396" y="5"/>
                      <a:pt x="396" y="12"/>
                    </a:cubicBezTo>
                    <a:lnTo>
                      <a:pt x="396" y="83"/>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703" name="Oval 1353"/>
              <p:cNvSpPr>
                <a:spLocks noChangeArrowheads="1"/>
              </p:cNvSpPr>
              <p:nvPr/>
            </p:nvSpPr>
            <p:spPr bwMode="auto">
              <a:xfrm>
                <a:off x="14562138" y="3494088"/>
                <a:ext cx="38100" cy="3810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704" name="Freeform 1354"/>
              <p:cNvSpPr>
                <a:spLocks/>
              </p:cNvSpPr>
              <p:nvPr/>
            </p:nvSpPr>
            <p:spPr bwMode="auto">
              <a:xfrm>
                <a:off x="14216063" y="3622675"/>
                <a:ext cx="485775" cy="114300"/>
              </a:xfrm>
              <a:custGeom>
                <a:avLst/>
                <a:gdLst>
                  <a:gd name="T0" fmla="*/ 396 w 396"/>
                  <a:gd name="T1" fmla="*/ 83 h 94"/>
                  <a:gd name="T2" fmla="*/ 385 w 396"/>
                  <a:gd name="T3" fmla="*/ 94 h 94"/>
                  <a:gd name="T4" fmla="*/ 12 w 396"/>
                  <a:gd name="T5" fmla="*/ 94 h 94"/>
                  <a:gd name="T6" fmla="*/ 0 w 396"/>
                  <a:gd name="T7" fmla="*/ 83 h 94"/>
                  <a:gd name="T8" fmla="*/ 0 w 396"/>
                  <a:gd name="T9" fmla="*/ 12 h 94"/>
                  <a:gd name="T10" fmla="*/ 12 w 396"/>
                  <a:gd name="T11" fmla="*/ 0 h 94"/>
                  <a:gd name="T12" fmla="*/ 385 w 396"/>
                  <a:gd name="T13" fmla="*/ 0 h 94"/>
                  <a:gd name="T14" fmla="*/ 396 w 396"/>
                  <a:gd name="T15" fmla="*/ 12 h 94"/>
                  <a:gd name="T16" fmla="*/ 396 w 396"/>
                  <a:gd name="T17" fmla="*/ 83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6" h="94">
                    <a:moveTo>
                      <a:pt x="396" y="83"/>
                    </a:moveTo>
                    <a:cubicBezTo>
                      <a:pt x="396" y="89"/>
                      <a:pt x="391" y="94"/>
                      <a:pt x="385" y="94"/>
                    </a:cubicBezTo>
                    <a:cubicBezTo>
                      <a:pt x="12" y="94"/>
                      <a:pt x="12" y="94"/>
                      <a:pt x="12" y="94"/>
                    </a:cubicBezTo>
                    <a:cubicBezTo>
                      <a:pt x="6" y="94"/>
                      <a:pt x="0" y="89"/>
                      <a:pt x="0" y="83"/>
                    </a:cubicBezTo>
                    <a:cubicBezTo>
                      <a:pt x="0" y="12"/>
                      <a:pt x="0" y="12"/>
                      <a:pt x="0" y="12"/>
                    </a:cubicBezTo>
                    <a:cubicBezTo>
                      <a:pt x="0" y="5"/>
                      <a:pt x="6" y="0"/>
                      <a:pt x="12" y="0"/>
                    </a:cubicBezTo>
                    <a:cubicBezTo>
                      <a:pt x="385" y="0"/>
                      <a:pt x="385" y="0"/>
                      <a:pt x="385" y="0"/>
                    </a:cubicBezTo>
                    <a:cubicBezTo>
                      <a:pt x="391" y="0"/>
                      <a:pt x="396" y="5"/>
                      <a:pt x="396" y="12"/>
                    </a:cubicBezTo>
                    <a:lnTo>
                      <a:pt x="396" y="83"/>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705" name="Oval 1355"/>
              <p:cNvSpPr>
                <a:spLocks noChangeArrowheads="1"/>
              </p:cNvSpPr>
              <p:nvPr/>
            </p:nvSpPr>
            <p:spPr bwMode="auto">
              <a:xfrm>
                <a:off x="14562138" y="3662363"/>
                <a:ext cx="38100" cy="3651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706" name="Freeform 1356"/>
              <p:cNvSpPr>
                <a:spLocks/>
              </p:cNvSpPr>
              <p:nvPr/>
            </p:nvSpPr>
            <p:spPr bwMode="auto">
              <a:xfrm>
                <a:off x="14216063" y="3789363"/>
                <a:ext cx="485775" cy="114300"/>
              </a:xfrm>
              <a:custGeom>
                <a:avLst/>
                <a:gdLst>
                  <a:gd name="T0" fmla="*/ 396 w 396"/>
                  <a:gd name="T1" fmla="*/ 83 h 94"/>
                  <a:gd name="T2" fmla="*/ 385 w 396"/>
                  <a:gd name="T3" fmla="*/ 94 h 94"/>
                  <a:gd name="T4" fmla="*/ 12 w 396"/>
                  <a:gd name="T5" fmla="*/ 94 h 94"/>
                  <a:gd name="T6" fmla="*/ 0 w 396"/>
                  <a:gd name="T7" fmla="*/ 83 h 94"/>
                  <a:gd name="T8" fmla="*/ 0 w 396"/>
                  <a:gd name="T9" fmla="*/ 12 h 94"/>
                  <a:gd name="T10" fmla="*/ 12 w 396"/>
                  <a:gd name="T11" fmla="*/ 0 h 94"/>
                  <a:gd name="T12" fmla="*/ 385 w 396"/>
                  <a:gd name="T13" fmla="*/ 0 h 94"/>
                  <a:gd name="T14" fmla="*/ 396 w 396"/>
                  <a:gd name="T15" fmla="*/ 12 h 94"/>
                  <a:gd name="T16" fmla="*/ 396 w 396"/>
                  <a:gd name="T17" fmla="*/ 83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6" h="94">
                    <a:moveTo>
                      <a:pt x="396" y="83"/>
                    </a:moveTo>
                    <a:cubicBezTo>
                      <a:pt x="396" y="89"/>
                      <a:pt x="391" y="94"/>
                      <a:pt x="385" y="94"/>
                    </a:cubicBezTo>
                    <a:cubicBezTo>
                      <a:pt x="12" y="94"/>
                      <a:pt x="12" y="94"/>
                      <a:pt x="12" y="94"/>
                    </a:cubicBezTo>
                    <a:cubicBezTo>
                      <a:pt x="6" y="94"/>
                      <a:pt x="0" y="89"/>
                      <a:pt x="0" y="83"/>
                    </a:cubicBezTo>
                    <a:cubicBezTo>
                      <a:pt x="0" y="12"/>
                      <a:pt x="0" y="12"/>
                      <a:pt x="0" y="12"/>
                    </a:cubicBezTo>
                    <a:cubicBezTo>
                      <a:pt x="0" y="5"/>
                      <a:pt x="6" y="0"/>
                      <a:pt x="12" y="0"/>
                    </a:cubicBezTo>
                    <a:cubicBezTo>
                      <a:pt x="385" y="0"/>
                      <a:pt x="385" y="0"/>
                      <a:pt x="385" y="0"/>
                    </a:cubicBezTo>
                    <a:cubicBezTo>
                      <a:pt x="391" y="0"/>
                      <a:pt x="396" y="5"/>
                      <a:pt x="396" y="12"/>
                    </a:cubicBezTo>
                    <a:lnTo>
                      <a:pt x="396" y="83"/>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707" name="Oval 1357"/>
              <p:cNvSpPr>
                <a:spLocks noChangeArrowheads="1"/>
              </p:cNvSpPr>
              <p:nvPr/>
            </p:nvSpPr>
            <p:spPr bwMode="auto">
              <a:xfrm>
                <a:off x="14562138" y="3829050"/>
                <a:ext cx="38100" cy="3651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708" name="Freeform 1358"/>
              <p:cNvSpPr>
                <a:spLocks/>
              </p:cNvSpPr>
              <p:nvPr/>
            </p:nvSpPr>
            <p:spPr bwMode="auto">
              <a:xfrm>
                <a:off x="14216063" y="3956050"/>
                <a:ext cx="485775" cy="115888"/>
              </a:xfrm>
              <a:custGeom>
                <a:avLst/>
                <a:gdLst>
                  <a:gd name="T0" fmla="*/ 396 w 396"/>
                  <a:gd name="T1" fmla="*/ 83 h 94"/>
                  <a:gd name="T2" fmla="*/ 385 w 396"/>
                  <a:gd name="T3" fmla="*/ 94 h 94"/>
                  <a:gd name="T4" fmla="*/ 12 w 396"/>
                  <a:gd name="T5" fmla="*/ 94 h 94"/>
                  <a:gd name="T6" fmla="*/ 0 w 396"/>
                  <a:gd name="T7" fmla="*/ 83 h 94"/>
                  <a:gd name="T8" fmla="*/ 0 w 396"/>
                  <a:gd name="T9" fmla="*/ 12 h 94"/>
                  <a:gd name="T10" fmla="*/ 12 w 396"/>
                  <a:gd name="T11" fmla="*/ 0 h 94"/>
                  <a:gd name="T12" fmla="*/ 385 w 396"/>
                  <a:gd name="T13" fmla="*/ 0 h 94"/>
                  <a:gd name="T14" fmla="*/ 396 w 396"/>
                  <a:gd name="T15" fmla="*/ 12 h 94"/>
                  <a:gd name="T16" fmla="*/ 396 w 396"/>
                  <a:gd name="T17" fmla="*/ 83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6" h="94">
                    <a:moveTo>
                      <a:pt x="396" y="83"/>
                    </a:moveTo>
                    <a:cubicBezTo>
                      <a:pt x="396" y="89"/>
                      <a:pt x="391" y="94"/>
                      <a:pt x="385" y="94"/>
                    </a:cubicBezTo>
                    <a:cubicBezTo>
                      <a:pt x="12" y="94"/>
                      <a:pt x="12" y="94"/>
                      <a:pt x="12" y="94"/>
                    </a:cubicBezTo>
                    <a:cubicBezTo>
                      <a:pt x="6" y="94"/>
                      <a:pt x="0" y="89"/>
                      <a:pt x="0" y="83"/>
                    </a:cubicBezTo>
                    <a:cubicBezTo>
                      <a:pt x="0" y="12"/>
                      <a:pt x="0" y="12"/>
                      <a:pt x="0" y="12"/>
                    </a:cubicBezTo>
                    <a:cubicBezTo>
                      <a:pt x="0" y="5"/>
                      <a:pt x="6" y="0"/>
                      <a:pt x="12" y="0"/>
                    </a:cubicBezTo>
                    <a:cubicBezTo>
                      <a:pt x="385" y="0"/>
                      <a:pt x="385" y="0"/>
                      <a:pt x="385" y="0"/>
                    </a:cubicBezTo>
                    <a:cubicBezTo>
                      <a:pt x="391" y="0"/>
                      <a:pt x="396" y="5"/>
                      <a:pt x="396" y="12"/>
                    </a:cubicBezTo>
                    <a:lnTo>
                      <a:pt x="396" y="83"/>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709" name="Oval 1359"/>
              <p:cNvSpPr>
                <a:spLocks noChangeArrowheads="1"/>
              </p:cNvSpPr>
              <p:nvPr/>
            </p:nvSpPr>
            <p:spPr bwMode="auto">
              <a:xfrm>
                <a:off x="14562138" y="3995738"/>
                <a:ext cx="38100" cy="3651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710" name="Freeform 1360"/>
              <p:cNvSpPr>
                <a:spLocks/>
              </p:cNvSpPr>
              <p:nvPr/>
            </p:nvSpPr>
            <p:spPr bwMode="auto">
              <a:xfrm>
                <a:off x="14216063" y="4124325"/>
                <a:ext cx="485775" cy="114300"/>
              </a:xfrm>
              <a:custGeom>
                <a:avLst/>
                <a:gdLst>
                  <a:gd name="T0" fmla="*/ 396 w 396"/>
                  <a:gd name="T1" fmla="*/ 82 h 94"/>
                  <a:gd name="T2" fmla="*/ 385 w 396"/>
                  <a:gd name="T3" fmla="*/ 94 h 94"/>
                  <a:gd name="T4" fmla="*/ 12 w 396"/>
                  <a:gd name="T5" fmla="*/ 94 h 94"/>
                  <a:gd name="T6" fmla="*/ 0 w 396"/>
                  <a:gd name="T7" fmla="*/ 82 h 94"/>
                  <a:gd name="T8" fmla="*/ 0 w 396"/>
                  <a:gd name="T9" fmla="*/ 11 h 94"/>
                  <a:gd name="T10" fmla="*/ 12 w 396"/>
                  <a:gd name="T11" fmla="*/ 0 h 94"/>
                  <a:gd name="T12" fmla="*/ 385 w 396"/>
                  <a:gd name="T13" fmla="*/ 0 h 94"/>
                  <a:gd name="T14" fmla="*/ 396 w 396"/>
                  <a:gd name="T15" fmla="*/ 11 h 94"/>
                  <a:gd name="T16" fmla="*/ 396 w 396"/>
                  <a:gd name="T17" fmla="*/ 82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6" h="94">
                    <a:moveTo>
                      <a:pt x="396" y="82"/>
                    </a:moveTo>
                    <a:cubicBezTo>
                      <a:pt x="396" y="89"/>
                      <a:pt x="391" y="94"/>
                      <a:pt x="385" y="94"/>
                    </a:cubicBezTo>
                    <a:cubicBezTo>
                      <a:pt x="12" y="94"/>
                      <a:pt x="12" y="94"/>
                      <a:pt x="12" y="94"/>
                    </a:cubicBezTo>
                    <a:cubicBezTo>
                      <a:pt x="6" y="94"/>
                      <a:pt x="0" y="89"/>
                      <a:pt x="0" y="82"/>
                    </a:cubicBezTo>
                    <a:cubicBezTo>
                      <a:pt x="0" y="11"/>
                      <a:pt x="0" y="11"/>
                      <a:pt x="0" y="11"/>
                    </a:cubicBezTo>
                    <a:cubicBezTo>
                      <a:pt x="0" y="5"/>
                      <a:pt x="6" y="0"/>
                      <a:pt x="12" y="0"/>
                    </a:cubicBezTo>
                    <a:cubicBezTo>
                      <a:pt x="385" y="0"/>
                      <a:pt x="385" y="0"/>
                      <a:pt x="385" y="0"/>
                    </a:cubicBezTo>
                    <a:cubicBezTo>
                      <a:pt x="391" y="0"/>
                      <a:pt x="396" y="5"/>
                      <a:pt x="396" y="11"/>
                    </a:cubicBezTo>
                    <a:lnTo>
                      <a:pt x="396" y="82"/>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711" name="Oval 1361"/>
              <p:cNvSpPr>
                <a:spLocks noChangeArrowheads="1"/>
              </p:cNvSpPr>
              <p:nvPr/>
            </p:nvSpPr>
            <p:spPr bwMode="auto">
              <a:xfrm>
                <a:off x="14562138" y="4162425"/>
                <a:ext cx="38100" cy="3651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712" name="Freeform 1362"/>
              <p:cNvSpPr>
                <a:spLocks/>
              </p:cNvSpPr>
              <p:nvPr/>
            </p:nvSpPr>
            <p:spPr bwMode="auto">
              <a:xfrm>
                <a:off x="14216063" y="4291013"/>
                <a:ext cx="485775" cy="114300"/>
              </a:xfrm>
              <a:custGeom>
                <a:avLst/>
                <a:gdLst>
                  <a:gd name="T0" fmla="*/ 396 w 396"/>
                  <a:gd name="T1" fmla="*/ 82 h 94"/>
                  <a:gd name="T2" fmla="*/ 385 w 396"/>
                  <a:gd name="T3" fmla="*/ 94 h 94"/>
                  <a:gd name="T4" fmla="*/ 12 w 396"/>
                  <a:gd name="T5" fmla="*/ 94 h 94"/>
                  <a:gd name="T6" fmla="*/ 0 w 396"/>
                  <a:gd name="T7" fmla="*/ 82 h 94"/>
                  <a:gd name="T8" fmla="*/ 0 w 396"/>
                  <a:gd name="T9" fmla="*/ 11 h 94"/>
                  <a:gd name="T10" fmla="*/ 12 w 396"/>
                  <a:gd name="T11" fmla="*/ 0 h 94"/>
                  <a:gd name="T12" fmla="*/ 385 w 396"/>
                  <a:gd name="T13" fmla="*/ 0 h 94"/>
                  <a:gd name="T14" fmla="*/ 396 w 396"/>
                  <a:gd name="T15" fmla="*/ 11 h 94"/>
                  <a:gd name="T16" fmla="*/ 396 w 396"/>
                  <a:gd name="T17" fmla="*/ 82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6" h="94">
                    <a:moveTo>
                      <a:pt x="396" y="82"/>
                    </a:moveTo>
                    <a:cubicBezTo>
                      <a:pt x="396" y="89"/>
                      <a:pt x="391" y="94"/>
                      <a:pt x="385" y="94"/>
                    </a:cubicBezTo>
                    <a:cubicBezTo>
                      <a:pt x="12" y="94"/>
                      <a:pt x="12" y="94"/>
                      <a:pt x="12" y="94"/>
                    </a:cubicBezTo>
                    <a:cubicBezTo>
                      <a:pt x="6" y="94"/>
                      <a:pt x="0" y="89"/>
                      <a:pt x="0" y="82"/>
                    </a:cubicBezTo>
                    <a:cubicBezTo>
                      <a:pt x="0" y="11"/>
                      <a:pt x="0" y="11"/>
                      <a:pt x="0" y="11"/>
                    </a:cubicBezTo>
                    <a:cubicBezTo>
                      <a:pt x="0" y="5"/>
                      <a:pt x="6" y="0"/>
                      <a:pt x="12" y="0"/>
                    </a:cubicBezTo>
                    <a:cubicBezTo>
                      <a:pt x="385" y="0"/>
                      <a:pt x="385" y="0"/>
                      <a:pt x="385" y="0"/>
                    </a:cubicBezTo>
                    <a:cubicBezTo>
                      <a:pt x="391" y="0"/>
                      <a:pt x="396" y="5"/>
                      <a:pt x="396" y="11"/>
                    </a:cubicBezTo>
                    <a:lnTo>
                      <a:pt x="396" y="82"/>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713" name="Oval 1363"/>
              <p:cNvSpPr>
                <a:spLocks noChangeArrowheads="1"/>
              </p:cNvSpPr>
              <p:nvPr/>
            </p:nvSpPr>
            <p:spPr bwMode="auto">
              <a:xfrm>
                <a:off x="14562138" y="4329113"/>
                <a:ext cx="38100" cy="3651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714" name="Freeform 1364"/>
              <p:cNvSpPr>
                <a:spLocks/>
              </p:cNvSpPr>
              <p:nvPr/>
            </p:nvSpPr>
            <p:spPr bwMode="auto">
              <a:xfrm>
                <a:off x="14216063" y="4457700"/>
                <a:ext cx="485775" cy="114300"/>
              </a:xfrm>
              <a:custGeom>
                <a:avLst/>
                <a:gdLst>
                  <a:gd name="T0" fmla="*/ 396 w 396"/>
                  <a:gd name="T1" fmla="*/ 82 h 94"/>
                  <a:gd name="T2" fmla="*/ 385 w 396"/>
                  <a:gd name="T3" fmla="*/ 94 h 94"/>
                  <a:gd name="T4" fmla="*/ 12 w 396"/>
                  <a:gd name="T5" fmla="*/ 94 h 94"/>
                  <a:gd name="T6" fmla="*/ 0 w 396"/>
                  <a:gd name="T7" fmla="*/ 82 h 94"/>
                  <a:gd name="T8" fmla="*/ 0 w 396"/>
                  <a:gd name="T9" fmla="*/ 11 h 94"/>
                  <a:gd name="T10" fmla="*/ 12 w 396"/>
                  <a:gd name="T11" fmla="*/ 0 h 94"/>
                  <a:gd name="T12" fmla="*/ 385 w 396"/>
                  <a:gd name="T13" fmla="*/ 0 h 94"/>
                  <a:gd name="T14" fmla="*/ 396 w 396"/>
                  <a:gd name="T15" fmla="*/ 11 h 94"/>
                  <a:gd name="T16" fmla="*/ 396 w 396"/>
                  <a:gd name="T17" fmla="*/ 82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6" h="94">
                    <a:moveTo>
                      <a:pt x="396" y="82"/>
                    </a:moveTo>
                    <a:cubicBezTo>
                      <a:pt x="396" y="89"/>
                      <a:pt x="391" y="94"/>
                      <a:pt x="385" y="94"/>
                    </a:cubicBezTo>
                    <a:cubicBezTo>
                      <a:pt x="12" y="94"/>
                      <a:pt x="12" y="94"/>
                      <a:pt x="12" y="94"/>
                    </a:cubicBezTo>
                    <a:cubicBezTo>
                      <a:pt x="6" y="94"/>
                      <a:pt x="0" y="89"/>
                      <a:pt x="0" y="82"/>
                    </a:cubicBezTo>
                    <a:cubicBezTo>
                      <a:pt x="0" y="11"/>
                      <a:pt x="0" y="11"/>
                      <a:pt x="0" y="11"/>
                    </a:cubicBezTo>
                    <a:cubicBezTo>
                      <a:pt x="0" y="5"/>
                      <a:pt x="6" y="0"/>
                      <a:pt x="12" y="0"/>
                    </a:cubicBezTo>
                    <a:cubicBezTo>
                      <a:pt x="385" y="0"/>
                      <a:pt x="385" y="0"/>
                      <a:pt x="385" y="0"/>
                    </a:cubicBezTo>
                    <a:cubicBezTo>
                      <a:pt x="391" y="0"/>
                      <a:pt x="396" y="5"/>
                      <a:pt x="396" y="11"/>
                    </a:cubicBezTo>
                    <a:lnTo>
                      <a:pt x="396" y="82"/>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715" name="Oval 1365"/>
              <p:cNvSpPr>
                <a:spLocks noChangeArrowheads="1"/>
              </p:cNvSpPr>
              <p:nvPr/>
            </p:nvSpPr>
            <p:spPr bwMode="auto">
              <a:xfrm>
                <a:off x="14562138" y="4495800"/>
                <a:ext cx="38100" cy="3810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716" name="Freeform 1366"/>
              <p:cNvSpPr>
                <a:spLocks/>
              </p:cNvSpPr>
              <p:nvPr/>
            </p:nvSpPr>
            <p:spPr bwMode="auto">
              <a:xfrm>
                <a:off x="14216063" y="4624388"/>
                <a:ext cx="485775" cy="114300"/>
              </a:xfrm>
              <a:custGeom>
                <a:avLst/>
                <a:gdLst>
                  <a:gd name="T0" fmla="*/ 396 w 396"/>
                  <a:gd name="T1" fmla="*/ 82 h 94"/>
                  <a:gd name="T2" fmla="*/ 385 w 396"/>
                  <a:gd name="T3" fmla="*/ 94 h 94"/>
                  <a:gd name="T4" fmla="*/ 12 w 396"/>
                  <a:gd name="T5" fmla="*/ 94 h 94"/>
                  <a:gd name="T6" fmla="*/ 0 w 396"/>
                  <a:gd name="T7" fmla="*/ 82 h 94"/>
                  <a:gd name="T8" fmla="*/ 0 w 396"/>
                  <a:gd name="T9" fmla="*/ 11 h 94"/>
                  <a:gd name="T10" fmla="*/ 12 w 396"/>
                  <a:gd name="T11" fmla="*/ 0 h 94"/>
                  <a:gd name="T12" fmla="*/ 385 w 396"/>
                  <a:gd name="T13" fmla="*/ 0 h 94"/>
                  <a:gd name="T14" fmla="*/ 396 w 396"/>
                  <a:gd name="T15" fmla="*/ 11 h 94"/>
                  <a:gd name="T16" fmla="*/ 396 w 396"/>
                  <a:gd name="T17" fmla="*/ 82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6" h="94">
                    <a:moveTo>
                      <a:pt x="396" y="82"/>
                    </a:moveTo>
                    <a:cubicBezTo>
                      <a:pt x="396" y="89"/>
                      <a:pt x="391" y="94"/>
                      <a:pt x="385" y="94"/>
                    </a:cubicBezTo>
                    <a:cubicBezTo>
                      <a:pt x="12" y="94"/>
                      <a:pt x="12" y="94"/>
                      <a:pt x="12" y="94"/>
                    </a:cubicBezTo>
                    <a:cubicBezTo>
                      <a:pt x="6" y="94"/>
                      <a:pt x="0" y="89"/>
                      <a:pt x="0" y="82"/>
                    </a:cubicBezTo>
                    <a:cubicBezTo>
                      <a:pt x="0" y="11"/>
                      <a:pt x="0" y="11"/>
                      <a:pt x="0" y="11"/>
                    </a:cubicBezTo>
                    <a:cubicBezTo>
                      <a:pt x="0" y="5"/>
                      <a:pt x="6" y="0"/>
                      <a:pt x="12" y="0"/>
                    </a:cubicBezTo>
                    <a:cubicBezTo>
                      <a:pt x="385" y="0"/>
                      <a:pt x="385" y="0"/>
                      <a:pt x="385" y="0"/>
                    </a:cubicBezTo>
                    <a:cubicBezTo>
                      <a:pt x="391" y="0"/>
                      <a:pt x="396" y="5"/>
                      <a:pt x="396" y="11"/>
                    </a:cubicBezTo>
                    <a:lnTo>
                      <a:pt x="396" y="82"/>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717" name="Rectangle 1367"/>
              <p:cNvSpPr>
                <a:spLocks noChangeArrowheads="1"/>
              </p:cNvSpPr>
              <p:nvPr/>
            </p:nvSpPr>
            <p:spPr bwMode="auto">
              <a:xfrm>
                <a:off x="14250988" y="3479800"/>
                <a:ext cx="22225"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718" name="Rectangle 1368"/>
              <p:cNvSpPr>
                <a:spLocks noChangeArrowheads="1"/>
              </p:cNvSpPr>
              <p:nvPr/>
            </p:nvSpPr>
            <p:spPr bwMode="auto">
              <a:xfrm>
                <a:off x="14285913" y="3479800"/>
                <a:ext cx="23813"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719" name="Rectangle 1369"/>
              <p:cNvSpPr>
                <a:spLocks noChangeArrowheads="1"/>
              </p:cNvSpPr>
              <p:nvPr/>
            </p:nvSpPr>
            <p:spPr bwMode="auto">
              <a:xfrm>
                <a:off x="14320838" y="3479800"/>
                <a:ext cx="23813"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720" name="Rectangle 1370"/>
              <p:cNvSpPr>
                <a:spLocks noChangeArrowheads="1"/>
              </p:cNvSpPr>
              <p:nvPr/>
            </p:nvSpPr>
            <p:spPr bwMode="auto">
              <a:xfrm>
                <a:off x="14357351" y="3479800"/>
                <a:ext cx="22225"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721" name="Rectangle 1371"/>
              <p:cNvSpPr>
                <a:spLocks noChangeArrowheads="1"/>
              </p:cNvSpPr>
              <p:nvPr/>
            </p:nvSpPr>
            <p:spPr bwMode="auto">
              <a:xfrm>
                <a:off x="14393863" y="3479800"/>
                <a:ext cx="22225"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722" name="Rectangle 1372"/>
              <p:cNvSpPr>
                <a:spLocks noChangeArrowheads="1"/>
              </p:cNvSpPr>
              <p:nvPr/>
            </p:nvSpPr>
            <p:spPr bwMode="auto">
              <a:xfrm>
                <a:off x="14250988" y="3646488"/>
                <a:ext cx="22225" cy="68263"/>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723" name="Rectangle 1373"/>
              <p:cNvSpPr>
                <a:spLocks noChangeArrowheads="1"/>
              </p:cNvSpPr>
              <p:nvPr/>
            </p:nvSpPr>
            <p:spPr bwMode="auto">
              <a:xfrm>
                <a:off x="14285913" y="3646488"/>
                <a:ext cx="23813" cy="68263"/>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724" name="Rectangle 1374"/>
              <p:cNvSpPr>
                <a:spLocks noChangeArrowheads="1"/>
              </p:cNvSpPr>
              <p:nvPr/>
            </p:nvSpPr>
            <p:spPr bwMode="auto">
              <a:xfrm>
                <a:off x="14320838" y="3646488"/>
                <a:ext cx="23813" cy="68263"/>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725" name="Rectangle 1375"/>
              <p:cNvSpPr>
                <a:spLocks noChangeArrowheads="1"/>
              </p:cNvSpPr>
              <p:nvPr/>
            </p:nvSpPr>
            <p:spPr bwMode="auto">
              <a:xfrm>
                <a:off x="14357351" y="3646488"/>
                <a:ext cx="22225" cy="68263"/>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726" name="Rectangle 1376"/>
              <p:cNvSpPr>
                <a:spLocks noChangeArrowheads="1"/>
              </p:cNvSpPr>
              <p:nvPr/>
            </p:nvSpPr>
            <p:spPr bwMode="auto">
              <a:xfrm>
                <a:off x="14393863" y="3646488"/>
                <a:ext cx="22225" cy="68263"/>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727" name="Rectangle 1377"/>
              <p:cNvSpPr>
                <a:spLocks noChangeArrowheads="1"/>
              </p:cNvSpPr>
              <p:nvPr/>
            </p:nvSpPr>
            <p:spPr bwMode="auto">
              <a:xfrm>
                <a:off x="14250988" y="3814763"/>
                <a:ext cx="22225"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728" name="Rectangle 1378"/>
              <p:cNvSpPr>
                <a:spLocks noChangeArrowheads="1"/>
              </p:cNvSpPr>
              <p:nvPr/>
            </p:nvSpPr>
            <p:spPr bwMode="auto">
              <a:xfrm>
                <a:off x="14285913" y="3814763"/>
                <a:ext cx="23813"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729" name="Rectangle 1379"/>
              <p:cNvSpPr>
                <a:spLocks noChangeArrowheads="1"/>
              </p:cNvSpPr>
              <p:nvPr/>
            </p:nvSpPr>
            <p:spPr bwMode="auto">
              <a:xfrm>
                <a:off x="14320838" y="3814763"/>
                <a:ext cx="23813"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730" name="Rectangle 1380"/>
              <p:cNvSpPr>
                <a:spLocks noChangeArrowheads="1"/>
              </p:cNvSpPr>
              <p:nvPr/>
            </p:nvSpPr>
            <p:spPr bwMode="auto">
              <a:xfrm>
                <a:off x="14357351" y="3814763"/>
                <a:ext cx="22225"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731" name="Rectangle 1381"/>
              <p:cNvSpPr>
                <a:spLocks noChangeArrowheads="1"/>
              </p:cNvSpPr>
              <p:nvPr/>
            </p:nvSpPr>
            <p:spPr bwMode="auto">
              <a:xfrm>
                <a:off x="14393863" y="3814763"/>
                <a:ext cx="22225"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732" name="Rectangle 1382"/>
              <p:cNvSpPr>
                <a:spLocks noChangeArrowheads="1"/>
              </p:cNvSpPr>
              <p:nvPr/>
            </p:nvSpPr>
            <p:spPr bwMode="auto">
              <a:xfrm>
                <a:off x="14250988" y="3981450"/>
                <a:ext cx="22225" cy="6508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733" name="Rectangle 1383"/>
              <p:cNvSpPr>
                <a:spLocks noChangeArrowheads="1"/>
              </p:cNvSpPr>
              <p:nvPr/>
            </p:nvSpPr>
            <p:spPr bwMode="auto">
              <a:xfrm>
                <a:off x="14285913" y="3981450"/>
                <a:ext cx="23813" cy="6508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734" name="Rectangle 1384"/>
              <p:cNvSpPr>
                <a:spLocks noChangeArrowheads="1"/>
              </p:cNvSpPr>
              <p:nvPr/>
            </p:nvSpPr>
            <p:spPr bwMode="auto">
              <a:xfrm>
                <a:off x="14320838" y="3981450"/>
                <a:ext cx="23813" cy="6508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735" name="Rectangle 1385"/>
              <p:cNvSpPr>
                <a:spLocks noChangeArrowheads="1"/>
              </p:cNvSpPr>
              <p:nvPr/>
            </p:nvSpPr>
            <p:spPr bwMode="auto">
              <a:xfrm>
                <a:off x="14357351" y="3981450"/>
                <a:ext cx="22225" cy="6508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736" name="Rectangle 1386"/>
              <p:cNvSpPr>
                <a:spLocks noChangeArrowheads="1"/>
              </p:cNvSpPr>
              <p:nvPr/>
            </p:nvSpPr>
            <p:spPr bwMode="auto">
              <a:xfrm>
                <a:off x="14393863" y="3981450"/>
                <a:ext cx="22225" cy="6508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737" name="Rectangle 1387"/>
              <p:cNvSpPr>
                <a:spLocks noChangeArrowheads="1"/>
              </p:cNvSpPr>
              <p:nvPr/>
            </p:nvSpPr>
            <p:spPr bwMode="auto">
              <a:xfrm>
                <a:off x="14250988" y="4148138"/>
                <a:ext cx="22225" cy="6508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738" name="Rectangle 1388"/>
              <p:cNvSpPr>
                <a:spLocks noChangeArrowheads="1"/>
              </p:cNvSpPr>
              <p:nvPr/>
            </p:nvSpPr>
            <p:spPr bwMode="auto">
              <a:xfrm>
                <a:off x="14285913" y="4148138"/>
                <a:ext cx="23813" cy="6508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739" name="Rectangle 1389"/>
              <p:cNvSpPr>
                <a:spLocks noChangeArrowheads="1"/>
              </p:cNvSpPr>
              <p:nvPr/>
            </p:nvSpPr>
            <p:spPr bwMode="auto">
              <a:xfrm>
                <a:off x="14320838" y="4148138"/>
                <a:ext cx="23813" cy="6508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740" name="Rectangle 1390"/>
              <p:cNvSpPr>
                <a:spLocks noChangeArrowheads="1"/>
              </p:cNvSpPr>
              <p:nvPr/>
            </p:nvSpPr>
            <p:spPr bwMode="auto">
              <a:xfrm>
                <a:off x="14357351" y="4148138"/>
                <a:ext cx="22225" cy="6508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741" name="Rectangle 1391"/>
              <p:cNvSpPr>
                <a:spLocks noChangeArrowheads="1"/>
              </p:cNvSpPr>
              <p:nvPr/>
            </p:nvSpPr>
            <p:spPr bwMode="auto">
              <a:xfrm>
                <a:off x="14393863" y="4148138"/>
                <a:ext cx="22225" cy="6508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742" name="Rectangle 1392"/>
              <p:cNvSpPr>
                <a:spLocks noChangeArrowheads="1"/>
              </p:cNvSpPr>
              <p:nvPr/>
            </p:nvSpPr>
            <p:spPr bwMode="auto">
              <a:xfrm>
                <a:off x="14250988" y="4313238"/>
                <a:ext cx="22225" cy="68263"/>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743" name="Rectangle 1393"/>
              <p:cNvSpPr>
                <a:spLocks noChangeArrowheads="1"/>
              </p:cNvSpPr>
              <p:nvPr/>
            </p:nvSpPr>
            <p:spPr bwMode="auto">
              <a:xfrm>
                <a:off x="14285913" y="4313238"/>
                <a:ext cx="23813" cy="68263"/>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744" name="Rectangle 1394"/>
              <p:cNvSpPr>
                <a:spLocks noChangeArrowheads="1"/>
              </p:cNvSpPr>
              <p:nvPr/>
            </p:nvSpPr>
            <p:spPr bwMode="auto">
              <a:xfrm>
                <a:off x="14320838" y="4313238"/>
                <a:ext cx="23813" cy="68263"/>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745" name="Rectangle 1395"/>
              <p:cNvSpPr>
                <a:spLocks noChangeArrowheads="1"/>
              </p:cNvSpPr>
              <p:nvPr/>
            </p:nvSpPr>
            <p:spPr bwMode="auto">
              <a:xfrm>
                <a:off x="14357351" y="4313238"/>
                <a:ext cx="22225" cy="68263"/>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746" name="Rectangle 1396"/>
              <p:cNvSpPr>
                <a:spLocks noChangeArrowheads="1"/>
              </p:cNvSpPr>
              <p:nvPr/>
            </p:nvSpPr>
            <p:spPr bwMode="auto">
              <a:xfrm>
                <a:off x="14393863" y="4313238"/>
                <a:ext cx="22225" cy="68263"/>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747" name="Rectangle 1397"/>
              <p:cNvSpPr>
                <a:spLocks noChangeArrowheads="1"/>
              </p:cNvSpPr>
              <p:nvPr/>
            </p:nvSpPr>
            <p:spPr bwMode="auto">
              <a:xfrm>
                <a:off x="14250988" y="4481513"/>
                <a:ext cx="22225"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748" name="Rectangle 1398"/>
              <p:cNvSpPr>
                <a:spLocks noChangeArrowheads="1"/>
              </p:cNvSpPr>
              <p:nvPr/>
            </p:nvSpPr>
            <p:spPr bwMode="auto">
              <a:xfrm>
                <a:off x="14285913" y="4481513"/>
                <a:ext cx="23813"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749" name="Rectangle 1399"/>
              <p:cNvSpPr>
                <a:spLocks noChangeArrowheads="1"/>
              </p:cNvSpPr>
              <p:nvPr/>
            </p:nvSpPr>
            <p:spPr bwMode="auto">
              <a:xfrm>
                <a:off x="14320838" y="4481513"/>
                <a:ext cx="23813"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750" name="Rectangle 1400"/>
              <p:cNvSpPr>
                <a:spLocks noChangeArrowheads="1"/>
              </p:cNvSpPr>
              <p:nvPr/>
            </p:nvSpPr>
            <p:spPr bwMode="auto">
              <a:xfrm>
                <a:off x="14357351" y="4481513"/>
                <a:ext cx="22225"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751" name="Rectangle 1401"/>
              <p:cNvSpPr>
                <a:spLocks noChangeArrowheads="1"/>
              </p:cNvSpPr>
              <p:nvPr/>
            </p:nvSpPr>
            <p:spPr bwMode="auto">
              <a:xfrm>
                <a:off x="14393863" y="4481513"/>
                <a:ext cx="22225"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752" name="Rectangle 1402"/>
              <p:cNvSpPr>
                <a:spLocks noChangeArrowheads="1"/>
              </p:cNvSpPr>
              <p:nvPr/>
            </p:nvSpPr>
            <p:spPr bwMode="auto">
              <a:xfrm>
                <a:off x="14250988" y="4648200"/>
                <a:ext cx="22225"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753" name="Rectangle 1403"/>
              <p:cNvSpPr>
                <a:spLocks noChangeArrowheads="1"/>
              </p:cNvSpPr>
              <p:nvPr/>
            </p:nvSpPr>
            <p:spPr bwMode="auto">
              <a:xfrm>
                <a:off x="14285913" y="4648200"/>
                <a:ext cx="23813"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754" name="Rectangle 1404"/>
              <p:cNvSpPr>
                <a:spLocks noChangeArrowheads="1"/>
              </p:cNvSpPr>
              <p:nvPr/>
            </p:nvSpPr>
            <p:spPr bwMode="auto">
              <a:xfrm>
                <a:off x="14320838" y="4648200"/>
                <a:ext cx="23813"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755" name="Rectangle 1405"/>
              <p:cNvSpPr>
                <a:spLocks noChangeArrowheads="1"/>
              </p:cNvSpPr>
              <p:nvPr/>
            </p:nvSpPr>
            <p:spPr bwMode="auto">
              <a:xfrm>
                <a:off x="14357351" y="4648200"/>
                <a:ext cx="22225"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756" name="Rectangle 1406"/>
              <p:cNvSpPr>
                <a:spLocks noChangeArrowheads="1"/>
              </p:cNvSpPr>
              <p:nvPr/>
            </p:nvSpPr>
            <p:spPr bwMode="auto">
              <a:xfrm>
                <a:off x="14393863" y="4648200"/>
                <a:ext cx="22225"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757" name="Oval 1407"/>
              <p:cNvSpPr>
                <a:spLocks noChangeArrowheads="1"/>
              </p:cNvSpPr>
              <p:nvPr/>
            </p:nvSpPr>
            <p:spPr bwMode="auto">
              <a:xfrm>
                <a:off x="14562138" y="4664075"/>
                <a:ext cx="38100" cy="3651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758" name="Oval 1408"/>
              <p:cNvSpPr>
                <a:spLocks noChangeArrowheads="1"/>
              </p:cNvSpPr>
              <p:nvPr/>
            </p:nvSpPr>
            <p:spPr bwMode="auto">
              <a:xfrm>
                <a:off x="14630401" y="3494088"/>
                <a:ext cx="38100" cy="38100"/>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759" name="Oval 1409"/>
              <p:cNvSpPr>
                <a:spLocks noChangeArrowheads="1"/>
              </p:cNvSpPr>
              <p:nvPr/>
            </p:nvSpPr>
            <p:spPr bwMode="auto">
              <a:xfrm>
                <a:off x="14630401" y="3662363"/>
                <a:ext cx="38100" cy="36513"/>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760" name="Oval 1410"/>
              <p:cNvSpPr>
                <a:spLocks noChangeArrowheads="1"/>
              </p:cNvSpPr>
              <p:nvPr/>
            </p:nvSpPr>
            <p:spPr bwMode="auto">
              <a:xfrm>
                <a:off x="14630401" y="3829050"/>
                <a:ext cx="38100" cy="36513"/>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761" name="Oval 1411"/>
              <p:cNvSpPr>
                <a:spLocks noChangeArrowheads="1"/>
              </p:cNvSpPr>
              <p:nvPr/>
            </p:nvSpPr>
            <p:spPr bwMode="auto">
              <a:xfrm>
                <a:off x="14630401" y="3995738"/>
                <a:ext cx="38100" cy="36513"/>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762" name="Oval 1412"/>
              <p:cNvSpPr>
                <a:spLocks noChangeArrowheads="1"/>
              </p:cNvSpPr>
              <p:nvPr/>
            </p:nvSpPr>
            <p:spPr bwMode="auto">
              <a:xfrm>
                <a:off x="14630401" y="4162425"/>
                <a:ext cx="38100" cy="36513"/>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763" name="Oval 1413"/>
              <p:cNvSpPr>
                <a:spLocks noChangeArrowheads="1"/>
              </p:cNvSpPr>
              <p:nvPr/>
            </p:nvSpPr>
            <p:spPr bwMode="auto">
              <a:xfrm>
                <a:off x="14630401" y="4329113"/>
                <a:ext cx="38100" cy="36513"/>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764" name="Oval 1414"/>
              <p:cNvSpPr>
                <a:spLocks noChangeArrowheads="1"/>
              </p:cNvSpPr>
              <p:nvPr/>
            </p:nvSpPr>
            <p:spPr bwMode="auto">
              <a:xfrm>
                <a:off x="14630401" y="4495800"/>
                <a:ext cx="38100" cy="38100"/>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765" name="Oval 1415"/>
              <p:cNvSpPr>
                <a:spLocks noChangeArrowheads="1"/>
              </p:cNvSpPr>
              <p:nvPr/>
            </p:nvSpPr>
            <p:spPr bwMode="auto">
              <a:xfrm>
                <a:off x="14630401" y="4664075"/>
                <a:ext cx="38100" cy="36513"/>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grpSp>
          <p:nvGrpSpPr>
            <p:cNvPr id="1563" name="Group 1562"/>
            <p:cNvGrpSpPr/>
            <p:nvPr/>
          </p:nvGrpSpPr>
          <p:grpSpPr>
            <a:xfrm>
              <a:off x="8909076" y="3469989"/>
              <a:ext cx="1039650" cy="1882552"/>
              <a:chOff x="14160501" y="3376613"/>
              <a:chExt cx="796925" cy="1443038"/>
            </a:xfrm>
          </p:grpSpPr>
          <p:sp>
            <p:nvSpPr>
              <p:cNvPr id="1632" name="Freeform 1349"/>
              <p:cNvSpPr>
                <a:spLocks/>
              </p:cNvSpPr>
              <p:nvPr/>
            </p:nvSpPr>
            <p:spPr bwMode="auto">
              <a:xfrm>
                <a:off x="14682788" y="3376613"/>
                <a:ext cx="274638" cy="1443038"/>
              </a:xfrm>
              <a:custGeom>
                <a:avLst/>
                <a:gdLst>
                  <a:gd name="T0" fmla="*/ 184 w 224"/>
                  <a:gd name="T1" fmla="*/ 0 h 1184"/>
                  <a:gd name="T2" fmla="*/ 0 w 224"/>
                  <a:gd name="T3" fmla="*/ 0 h 1184"/>
                  <a:gd name="T4" fmla="*/ 40 w 224"/>
                  <a:gd name="T5" fmla="*/ 41 h 1184"/>
                  <a:gd name="T6" fmla="*/ 40 w 224"/>
                  <a:gd name="T7" fmla="*/ 1144 h 1184"/>
                  <a:gd name="T8" fmla="*/ 0 w 224"/>
                  <a:gd name="T9" fmla="*/ 1184 h 1184"/>
                  <a:gd name="T10" fmla="*/ 184 w 224"/>
                  <a:gd name="T11" fmla="*/ 1184 h 1184"/>
                  <a:gd name="T12" fmla="*/ 224 w 224"/>
                  <a:gd name="T13" fmla="*/ 1144 h 1184"/>
                  <a:gd name="T14" fmla="*/ 224 w 224"/>
                  <a:gd name="T15" fmla="*/ 41 h 1184"/>
                  <a:gd name="T16" fmla="*/ 184 w 224"/>
                  <a:gd name="T17" fmla="*/ 0 h 1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4" h="1184">
                    <a:moveTo>
                      <a:pt x="184" y="0"/>
                    </a:moveTo>
                    <a:cubicBezTo>
                      <a:pt x="0" y="0"/>
                      <a:pt x="0" y="0"/>
                      <a:pt x="0" y="0"/>
                    </a:cubicBezTo>
                    <a:cubicBezTo>
                      <a:pt x="22" y="0"/>
                      <a:pt x="40" y="18"/>
                      <a:pt x="40" y="41"/>
                    </a:cubicBezTo>
                    <a:cubicBezTo>
                      <a:pt x="40" y="1144"/>
                      <a:pt x="40" y="1144"/>
                      <a:pt x="40" y="1144"/>
                    </a:cubicBezTo>
                    <a:cubicBezTo>
                      <a:pt x="40" y="1166"/>
                      <a:pt x="22" y="1184"/>
                      <a:pt x="0" y="1184"/>
                    </a:cubicBezTo>
                    <a:cubicBezTo>
                      <a:pt x="184" y="1184"/>
                      <a:pt x="184" y="1184"/>
                      <a:pt x="184" y="1184"/>
                    </a:cubicBezTo>
                    <a:cubicBezTo>
                      <a:pt x="206" y="1184"/>
                      <a:pt x="224" y="1166"/>
                      <a:pt x="224" y="1144"/>
                    </a:cubicBezTo>
                    <a:cubicBezTo>
                      <a:pt x="224" y="41"/>
                      <a:pt x="224" y="41"/>
                      <a:pt x="224" y="41"/>
                    </a:cubicBezTo>
                    <a:cubicBezTo>
                      <a:pt x="224" y="18"/>
                      <a:pt x="206" y="0"/>
                      <a:pt x="184" y="0"/>
                    </a:cubicBez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633" name="Freeform 1350"/>
              <p:cNvSpPr>
                <a:spLocks/>
              </p:cNvSpPr>
              <p:nvPr/>
            </p:nvSpPr>
            <p:spPr bwMode="auto">
              <a:xfrm>
                <a:off x="14682788" y="3376613"/>
                <a:ext cx="274638" cy="1443038"/>
              </a:xfrm>
              <a:custGeom>
                <a:avLst/>
                <a:gdLst>
                  <a:gd name="T0" fmla="*/ 184 w 224"/>
                  <a:gd name="T1" fmla="*/ 0 h 1184"/>
                  <a:gd name="T2" fmla="*/ 0 w 224"/>
                  <a:gd name="T3" fmla="*/ 0 h 1184"/>
                  <a:gd name="T4" fmla="*/ 40 w 224"/>
                  <a:gd name="T5" fmla="*/ 41 h 1184"/>
                  <a:gd name="T6" fmla="*/ 40 w 224"/>
                  <a:gd name="T7" fmla="*/ 1144 h 1184"/>
                  <a:gd name="T8" fmla="*/ 0 w 224"/>
                  <a:gd name="T9" fmla="*/ 1184 h 1184"/>
                  <a:gd name="T10" fmla="*/ 184 w 224"/>
                  <a:gd name="T11" fmla="*/ 1184 h 1184"/>
                  <a:gd name="T12" fmla="*/ 224 w 224"/>
                  <a:gd name="T13" fmla="*/ 1144 h 1184"/>
                  <a:gd name="T14" fmla="*/ 224 w 224"/>
                  <a:gd name="T15" fmla="*/ 41 h 1184"/>
                  <a:gd name="T16" fmla="*/ 184 w 224"/>
                  <a:gd name="T17" fmla="*/ 0 h 1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4" h="1184">
                    <a:moveTo>
                      <a:pt x="184" y="0"/>
                    </a:moveTo>
                    <a:cubicBezTo>
                      <a:pt x="0" y="0"/>
                      <a:pt x="0" y="0"/>
                      <a:pt x="0" y="0"/>
                    </a:cubicBezTo>
                    <a:cubicBezTo>
                      <a:pt x="22" y="0"/>
                      <a:pt x="40" y="18"/>
                      <a:pt x="40" y="41"/>
                    </a:cubicBezTo>
                    <a:cubicBezTo>
                      <a:pt x="40" y="1144"/>
                      <a:pt x="40" y="1144"/>
                      <a:pt x="40" y="1144"/>
                    </a:cubicBezTo>
                    <a:cubicBezTo>
                      <a:pt x="40" y="1166"/>
                      <a:pt x="22" y="1184"/>
                      <a:pt x="0" y="1184"/>
                    </a:cubicBezTo>
                    <a:cubicBezTo>
                      <a:pt x="184" y="1184"/>
                      <a:pt x="184" y="1184"/>
                      <a:pt x="184" y="1184"/>
                    </a:cubicBezTo>
                    <a:cubicBezTo>
                      <a:pt x="206" y="1184"/>
                      <a:pt x="224" y="1166"/>
                      <a:pt x="224" y="1144"/>
                    </a:cubicBezTo>
                    <a:cubicBezTo>
                      <a:pt x="224" y="41"/>
                      <a:pt x="224" y="41"/>
                      <a:pt x="224" y="41"/>
                    </a:cubicBezTo>
                    <a:cubicBezTo>
                      <a:pt x="224" y="18"/>
                      <a:pt x="206" y="0"/>
                      <a:pt x="184" y="0"/>
                    </a:cubicBezTo>
                    <a:close/>
                  </a:path>
                </a:pathLst>
              </a:custGeom>
              <a:solidFill>
                <a:srgbClr val="003D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634" name="Freeform 1351"/>
              <p:cNvSpPr>
                <a:spLocks/>
              </p:cNvSpPr>
              <p:nvPr/>
            </p:nvSpPr>
            <p:spPr bwMode="auto">
              <a:xfrm>
                <a:off x="14160501" y="3376613"/>
                <a:ext cx="611188" cy="1443038"/>
              </a:xfrm>
              <a:custGeom>
                <a:avLst/>
                <a:gdLst>
                  <a:gd name="T0" fmla="*/ 499 w 499"/>
                  <a:gd name="T1" fmla="*/ 1144 h 1184"/>
                  <a:gd name="T2" fmla="*/ 459 w 499"/>
                  <a:gd name="T3" fmla="*/ 1184 h 1184"/>
                  <a:gd name="T4" fmla="*/ 40 w 499"/>
                  <a:gd name="T5" fmla="*/ 1184 h 1184"/>
                  <a:gd name="T6" fmla="*/ 0 w 499"/>
                  <a:gd name="T7" fmla="*/ 1144 h 1184"/>
                  <a:gd name="T8" fmla="*/ 0 w 499"/>
                  <a:gd name="T9" fmla="*/ 41 h 1184"/>
                  <a:gd name="T10" fmla="*/ 40 w 499"/>
                  <a:gd name="T11" fmla="*/ 0 h 1184"/>
                  <a:gd name="T12" fmla="*/ 459 w 499"/>
                  <a:gd name="T13" fmla="*/ 0 h 1184"/>
                  <a:gd name="T14" fmla="*/ 499 w 499"/>
                  <a:gd name="T15" fmla="*/ 41 h 1184"/>
                  <a:gd name="T16" fmla="*/ 499 w 499"/>
                  <a:gd name="T17" fmla="*/ 1144 h 1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9" h="1184">
                    <a:moveTo>
                      <a:pt x="499" y="1144"/>
                    </a:moveTo>
                    <a:cubicBezTo>
                      <a:pt x="499" y="1166"/>
                      <a:pt x="481" y="1184"/>
                      <a:pt x="459" y="1184"/>
                    </a:cubicBezTo>
                    <a:cubicBezTo>
                      <a:pt x="40" y="1184"/>
                      <a:pt x="40" y="1184"/>
                      <a:pt x="40" y="1184"/>
                    </a:cubicBezTo>
                    <a:cubicBezTo>
                      <a:pt x="18" y="1184"/>
                      <a:pt x="0" y="1166"/>
                      <a:pt x="0" y="1144"/>
                    </a:cubicBezTo>
                    <a:cubicBezTo>
                      <a:pt x="0" y="41"/>
                      <a:pt x="0" y="41"/>
                      <a:pt x="0" y="41"/>
                    </a:cubicBezTo>
                    <a:cubicBezTo>
                      <a:pt x="0" y="18"/>
                      <a:pt x="18" y="0"/>
                      <a:pt x="40" y="0"/>
                    </a:cubicBezTo>
                    <a:cubicBezTo>
                      <a:pt x="459" y="0"/>
                      <a:pt x="459" y="0"/>
                      <a:pt x="459" y="0"/>
                    </a:cubicBezTo>
                    <a:cubicBezTo>
                      <a:pt x="481" y="0"/>
                      <a:pt x="499" y="18"/>
                      <a:pt x="499" y="41"/>
                    </a:cubicBezTo>
                    <a:lnTo>
                      <a:pt x="499" y="1144"/>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635" name="Freeform 1352"/>
              <p:cNvSpPr>
                <a:spLocks/>
              </p:cNvSpPr>
              <p:nvPr/>
            </p:nvSpPr>
            <p:spPr bwMode="auto">
              <a:xfrm>
                <a:off x="14216063" y="3455988"/>
                <a:ext cx="485775" cy="114300"/>
              </a:xfrm>
              <a:custGeom>
                <a:avLst/>
                <a:gdLst>
                  <a:gd name="T0" fmla="*/ 396 w 396"/>
                  <a:gd name="T1" fmla="*/ 83 h 94"/>
                  <a:gd name="T2" fmla="*/ 385 w 396"/>
                  <a:gd name="T3" fmla="*/ 94 h 94"/>
                  <a:gd name="T4" fmla="*/ 12 w 396"/>
                  <a:gd name="T5" fmla="*/ 94 h 94"/>
                  <a:gd name="T6" fmla="*/ 0 w 396"/>
                  <a:gd name="T7" fmla="*/ 83 h 94"/>
                  <a:gd name="T8" fmla="*/ 0 w 396"/>
                  <a:gd name="T9" fmla="*/ 12 h 94"/>
                  <a:gd name="T10" fmla="*/ 12 w 396"/>
                  <a:gd name="T11" fmla="*/ 0 h 94"/>
                  <a:gd name="T12" fmla="*/ 385 w 396"/>
                  <a:gd name="T13" fmla="*/ 0 h 94"/>
                  <a:gd name="T14" fmla="*/ 396 w 396"/>
                  <a:gd name="T15" fmla="*/ 12 h 94"/>
                  <a:gd name="T16" fmla="*/ 396 w 396"/>
                  <a:gd name="T17" fmla="*/ 83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6" h="94">
                    <a:moveTo>
                      <a:pt x="396" y="83"/>
                    </a:moveTo>
                    <a:cubicBezTo>
                      <a:pt x="396" y="89"/>
                      <a:pt x="391" y="94"/>
                      <a:pt x="385" y="94"/>
                    </a:cubicBezTo>
                    <a:cubicBezTo>
                      <a:pt x="12" y="94"/>
                      <a:pt x="12" y="94"/>
                      <a:pt x="12" y="94"/>
                    </a:cubicBezTo>
                    <a:cubicBezTo>
                      <a:pt x="6" y="94"/>
                      <a:pt x="0" y="89"/>
                      <a:pt x="0" y="83"/>
                    </a:cubicBezTo>
                    <a:cubicBezTo>
                      <a:pt x="0" y="12"/>
                      <a:pt x="0" y="12"/>
                      <a:pt x="0" y="12"/>
                    </a:cubicBezTo>
                    <a:cubicBezTo>
                      <a:pt x="0" y="5"/>
                      <a:pt x="6" y="0"/>
                      <a:pt x="12" y="0"/>
                    </a:cubicBezTo>
                    <a:cubicBezTo>
                      <a:pt x="385" y="0"/>
                      <a:pt x="385" y="0"/>
                      <a:pt x="385" y="0"/>
                    </a:cubicBezTo>
                    <a:cubicBezTo>
                      <a:pt x="391" y="0"/>
                      <a:pt x="396" y="5"/>
                      <a:pt x="396" y="12"/>
                    </a:cubicBezTo>
                    <a:lnTo>
                      <a:pt x="396" y="83"/>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636" name="Oval 1353"/>
              <p:cNvSpPr>
                <a:spLocks noChangeArrowheads="1"/>
              </p:cNvSpPr>
              <p:nvPr/>
            </p:nvSpPr>
            <p:spPr bwMode="auto">
              <a:xfrm>
                <a:off x="14562138" y="3494088"/>
                <a:ext cx="38100" cy="3810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637" name="Freeform 1354"/>
              <p:cNvSpPr>
                <a:spLocks/>
              </p:cNvSpPr>
              <p:nvPr/>
            </p:nvSpPr>
            <p:spPr bwMode="auto">
              <a:xfrm>
                <a:off x="14216063" y="3622675"/>
                <a:ext cx="485775" cy="114300"/>
              </a:xfrm>
              <a:custGeom>
                <a:avLst/>
                <a:gdLst>
                  <a:gd name="T0" fmla="*/ 396 w 396"/>
                  <a:gd name="T1" fmla="*/ 83 h 94"/>
                  <a:gd name="T2" fmla="*/ 385 w 396"/>
                  <a:gd name="T3" fmla="*/ 94 h 94"/>
                  <a:gd name="T4" fmla="*/ 12 w 396"/>
                  <a:gd name="T5" fmla="*/ 94 h 94"/>
                  <a:gd name="T6" fmla="*/ 0 w 396"/>
                  <a:gd name="T7" fmla="*/ 83 h 94"/>
                  <a:gd name="T8" fmla="*/ 0 w 396"/>
                  <a:gd name="T9" fmla="*/ 12 h 94"/>
                  <a:gd name="T10" fmla="*/ 12 w 396"/>
                  <a:gd name="T11" fmla="*/ 0 h 94"/>
                  <a:gd name="T12" fmla="*/ 385 w 396"/>
                  <a:gd name="T13" fmla="*/ 0 h 94"/>
                  <a:gd name="T14" fmla="*/ 396 w 396"/>
                  <a:gd name="T15" fmla="*/ 12 h 94"/>
                  <a:gd name="T16" fmla="*/ 396 w 396"/>
                  <a:gd name="T17" fmla="*/ 83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6" h="94">
                    <a:moveTo>
                      <a:pt x="396" y="83"/>
                    </a:moveTo>
                    <a:cubicBezTo>
                      <a:pt x="396" y="89"/>
                      <a:pt x="391" y="94"/>
                      <a:pt x="385" y="94"/>
                    </a:cubicBezTo>
                    <a:cubicBezTo>
                      <a:pt x="12" y="94"/>
                      <a:pt x="12" y="94"/>
                      <a:pt x="12" y="94"/>
                    </a:cubicBezTo>
                    <a:cubicBezTo>
                      <a:pt x="6" y="94"/>
                      <a:pt x="0" y="89"/>
                      <a:pt x="0" y="83"/>
                    </a:cubicBezTo>
                    <a:cubicBezTo>
                      <a:pt x="0" y="12"/>
                      <a:pt x="0" y="12"/>
                      <a:pt x="0" y="12"/>
                    </a:cubicBezTo>
                    <a:cubicBezTo>
                      <a:pt x="0" y="5"/>
                      <a:pt x="6" y="0"/>
                      <a:pt x="12" y="0"/>
                    </a:cubicBezTo>
                    <a:cubicBezTo>
                      <a:pt x="385" y="0"/>
                      <a:pt x="385" y="0"/>
                      <a:pt x="385" y="0"/>
                    </a:cubicBezTo>
                    <a:cubicBezTo>
                      <a:pt x="391" y="0"/>
                      <a:pt x="396" y="5"/>
                      <a:pt x="396" y="12"/>
                    </a:cubicBezTo>
                    <a:lnTo>
                      <a:pt x="396" y="83"/>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638" name="Oval 1355"/>
              <p:cNvSpPr>
                <a:spLocks noChangeArrowheads="1"/>
              </p:cNvSpPr>
              <p:nvPr/>
            </p:nvSpPr>
            <p:spPr bwMode="auto">
              <a:xfrm>
                <a:off x="14562138" y="3662363"/>
                <a:ext cx="38100" cy="3651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639" name="Freeform 1356"/>
              <p:cNvSpPr>
                <a:spLocks/>
              </p:cNvSpPr>
              <p:nvPr/>
            </p:nvSpPr>
            <p:spPr bwMode="auto">
              <a:xfrm>
                <a:off x="14216063" y="3789363"/>
                <a:ext cx="485775" cy="114300"/>
              </a:xfrm>
              <a:custGeom>
                <a:avLst/>
                <a:gdLst>
                  <a:gd name="T0" fmla="*/ 396 w 396"/>
                  <a:gd name="T1" fmla="*/ 83 h 94"/>
                  <a:gd name="T2" fmla="*/ 385 w 396"/>
                  <a:gd name="T3" fmla="*/ 94 h 94"/>
                  <a:gd name="T4" fmla="*/ 12 w 396"/>
                  <a:gd name="T5" fmla="*/ 94 h 94"/>
                  <a:gd name="T6" fmla="*/ 0 w 396"/>
                  <a:gd name="T7" fmla="*/ 83 h 94"/>
                  <a:gd name="T8" fmla="*/ 0 w 396"/>
                  <a:gd name="T9" fmla="*/ 12 h 94"/>
                  <a:gd name="T10" fmla="*/ 12 w 396"/>
                  <a:gd name="T11" fmla="*/ 0 h 94"/>
                  <a:gd name="T12" fmla="*/ 385 w 396"/>
                  <a:gd name="T13" fmla="*/ 0 h 94"/>
                  <a:gd name="T14" fmla="*/ 396 w 396"/>
                  <a:gd name="T15" fmla="*/ 12 h 94"/>
                  <a:gd name="T16" fmla="*/ 396 w 396"/>
                  <a:gd name="T17" fmla="*/ 83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6" h="94">
                    <a:moveTo>
                      <a:pt x="396" y="83"/>
                    </a:moveTo>
                    <a:cubicBezTo>
                      <a:pt x="396" y="89"/>
                      <a:pt x="391" y="94"/>
                      <a:pt x="385" y="94"/>
                    </a:cubicBezTo>
                    <a:cubicBezTo>
                      <a:pt x="12" y="94"/>
                      <a:pt x="12" y="94"/>
                      <a:pt x="12" y="94"/>
                    </a:cubicBezTo>
                    <a:cubicBezTo>
                      <a:pt x="6" y="94"/>
                      <a:pt x="0" y="89"/>
                      <a:pt x="0" y="83"/>
                    </a:cubicBezTo>
                    <a:cubicBezTo>
                      <a:pt x="0" y="12"/>
                      <a:pt x="0" y="12"/>
                      <a:pt x="0" y="12"/>
                    </a:cubicBezTo>
                    <a:cubicBezTo>
                      <a:pt x="0" y="5"/>
                      <a:pt x="6" y="0"/>
                      <a:pt x="12" y="0"/>
                    </a:cubicBezTo>
                    <a:cubicBezTo>
                      <a:pt x="385" y="0"/>
                      <a:pt x="385" y="0"/>
                      <a:pt x="385" y="0"/>
                    </a:cubicBezTo>
                    <a:cubicBezTo>
                      <a:pt x="391" y="0"/>
                      <a:pt x="396" y="5"/>
                      <a:pt x="396" y="12"/>
                    </a:cubicBezTo>
                    <a:lnTo>
                      <a:pt x="396" y="83"/>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640" name="Oval 1357"/>
              <p:cNvSpPr>
                <a:spLocks noChangeArrowheads="1"/>
              </p:cNvSpPr>
              <p:nvPr/>
            </p:nvSpPr>
            <p:spPr bwMode="auto">
              <a:xfrm>
                <a:off x="14562138" y="3829050"/>
                <a:ext cx="38100" cy="3651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641" name="Freeform 1358"/>
              <p:cNvSpPr>
                <a:spLocks/>
              </p:cNvSpPr>
              <p:nvPr/>
            </p:nvSpPr>
            <p:spPr bwMode="auto">
              <a:xfrm>
                <a:off x="14216063" y="3956050"/>
                <a:ext cx="485775" cy="115888"/>
              </a:xfrm>
              <a:custGeom>
                <a:avLst/>
                <a:gdLst>
                  <a:gd name="T0" fmla="*/ 396 w 396"/>
                  <a:gd name="T1" fmla="*/ 83 h 94"/>
                  <a:gd name="T2" fmla="*/ 385 w 396"/>
                  <a:gd name="T3" fmla="*/ 94 h 94"/>
                  <a:gd name="T4" fmla="*/ 12 w 396"/>
                  <a:gd name="T5" fmla="*/ 94 h 94"/>
                  <a:gd name="T6" fmla="*/ 0 w 396"/>
                  <a:gd name="T7" fmla="*/ 83 h 94"/>
                  <a:gd name="T8" fmla="*/ 0 w 396"/>
                  <a:gd name="T9" fmla="*/ 12 h 94"/>
                  <a:gd name="T10" fmla="*/ 12 w 396"/>
                  <a:gd name="T11" fmla="*/ 0 h 94"/>
                  <a:gd name="T12" fmla="*/ 385 w 396"/>
                  <a:gd name="T13" fmla="*/ 0 h 94"/>
                  <a:gd name="T14" fmla="*/ 396 w 396"/>
                  <a:gd name="T15" fmla="*/ 12 h 94"/>
                  <a:gd name="T16" fmla="*/ 396 w 396"/>
                  <a:gd name="T17" fmla="*/ 83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6" h="94">
                    <a:moveTo>
                      <a:pt x="396" y="83"/>
                    </a:moveTo>
                    <a:cubicBezTo>
                      <a:pt x="396" y="89"/>
                      <a:pt x="391" y="94"/>
                      <a:pt x="385" y="94"/>
                    </a:cubicBezTo>
                    <a:cubicBezTo>
                      <a:pt x="12" y="94"/>
                      <a:pt x="12" y="94"/>
                      <a:pt x="12" y="94"/>
                    </a:cubicBezTo>
                    <a:cubicBezTo>
                      <a:pt x="6" y="94"/>
                      <a:pt x="0" y="89"/>
                      <a:pt x="0" y="83"/>
                    </a:cubicBezTo>
                    <a:cubicBezTo>
                      <a:pt x="0" y="12"/>
                      <a:pt x="0" y="12"/>
                      <a:pt x="0" y="12"/>
                    </a:cubicBezTo>
                    <a:cubicBezTo>
                      <a:pt x="0" y="5"/>
                      <a:pt x="6" y="0"/>
                      <a:pt x="12" y="0"/>
                    </a:cubicBezTo>
                    <a:cubicBezTo>
                      <a:pt x="385" y="0"/>
                      <a:pt x="385" y="0"/>
                      <a:pt x="385" y="0"/>
                    </a:cubicBezTo>
                    <a:cubicBezTo>
                      <a:pt x="391" y="0"/>
                      <a:pt x="396" y="5"/>
                      <a:pt x="396" y="12"/>
                    </a:cubicBezTo>
                    <a:lnTo>
                      <a:pt x="396" y="83"/>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642" name="Oval 1359"/>
              <p:cNvSpPr>
                <a:spLocks noChangeArrowheads="1"/>
              </p:cNvSpPr>
              <p:nvPr/>
            </p:nvSpPr>
            <p:spPr bwMode="auto">
              <a:xfrm>
                <a:off x="14562138" y="3995738"/>
                <a:ext cx="38100" cy="3651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643" name="Freeform 1360"/>
              <p:cNvSpPr>
                <a:spLocks/>
              </p:cNvSpPr>
              <p:nvPr/>
            </p:nvSpPr>
            <p:spPr bwMode="auto">
              <a:xfrm>
                <a:off x="14216063" y="4124325"/>
                <a:ext cx="485775" cy="114300"/>
              </a:xfrm>
              <a:custGeom>
                <a:avLst/>
                <a:gdLst>
                  <a:gd name="T0" fmla="*/ 396 w 396"/>
                  <a:gd name="T1" fmla="*/ 82 h 94"/>
                  <a:gd name="T2" fmla="*/ 385 w 396"/>
                  <a:gd name="T3" fmla="*/ 94 h 94"/>
                  <a:gd name="T4" fmla="*/ 12 w 396"/>
                  <a:gd name="T5" fmla="*/ 94 h 94"/>
                  <a:gd name="T6" fmla="*/ 0 w 396"/>
                  <a:gd name="T7" fmla="*/ 82 h 94"/>
                  <a:gd name="T8" fmla="*/ 0 w 396"/>
                  <a:gd name="T9" fmla="*/ 11 h 94"/>
                  <a:gd name="T10" fmla="*/ 12 w 396"/>
                  <a:gd name="T11" fmla="*/ 0 h 94"/>
                  <a:gd name="T12" fmla="*/ 385 w 396"/>
                  <a:gd name="T13" fmla="*/ 0 h 94"/>
                  <a:gd name="T14" fmla="*/ 396 w 396"/>
                  <a:gd name="T15" fmla="*/ 11 h 94"/>
                  <a:gd name="T16" fmla="*/ 396 w 396"/>
                  <a:gd name="T17" fmla="*/ 82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6" h="94">
                    <a:moveTo>
                      <a:pt x="396" y="82"/>
                    </a:moveTo>
                    <a:cubicBezTo>
                      <a:pt x="396" y="89"/>
                      <a:pt x="391" y="94"/>
                      <a:pt x="385" y="94"/>
                    </a:cubicBezTo>
                    <a:cubicBezTo>
                      <a:pt x="12" y="94"/>
                      <a:pt x="12" y="94"/>
                      <a:pt x="12" y="94"/>
                    </a:cubicBezTo>
                    <a:cubicBezTo>
                      <a:pt x="6" y="94"/>
                      <a:pt x="0" y="89"/>
                      <a:pt x="0" y="82"/>
                    </a:cubicBezTo>
                    <a:cubicBezTo>
                      <a:pt x="0" y="11"/>
                      <a:pt x="0" y="11"/>
                      <a:pt x="0" y="11"/>
                    </a:cubicBezTo>
                    <a:cubicBezTo>
                      <a:pt x="0" y="5"/>
                      <a:pt x="6" y="0"/>
                      <a:pt x="12" y="0"/>
                    </a:cubicBezTo>
                    <a:cubicBezTo>
                      <a:pt x="385" y="0"/>
                      <a:pt x="385" y="0"/>
                      <a:pt x="385" y="0"/>
                    </a:cubicBezTo>
                    <a:cubicBezTo>
                      <a:pt x="391" y="0"/>
                      <a:pt x="396" y="5"/>
                      <a:pt x="396" y="11"/>
                    </a:cubicBezTo>
                    <a:lnTo>
                      <a:pt x="396" y="82"/>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644" name="Oval 1361"/>
              <p:cNvSpPr>
                <a:spLocks noChangeArrowheads="1"/>
              </p:cNvSpPr>
              <p:nvPr/>
            </p:nvSpPr>
            <p:spPr bwMode="auto">
              <a:xfrm>
                <a:off x="14562138" y="4162425"/>
                <a:ext cx="38100" cy="3651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645" name="Freeform 1362"/>
              <p:cNvSpPr>
                <a:spLocks/>
              </p:cNvSpPr>
              <p:nvPr/>
            </p:nvSpPr>
            <p:spPr bwMode="auto">
              <a:xfrm>
                <a:off x="14216063" y="4291013"/>
                <a:ext cx="485775" cy="114300"/>
              </a:xfrm>
              <a:custGeom>
                <a:avLst/>
                <a:gdLst>
                  <a:gd name="T0" fmla="*/ 396 w 396"/>
                  <a:gd name="T1" fmla="*/ 82 h 94"/>
                  <a:gd name="T2" fmla="*/ 385 w 396"/>
                  <a:gd name="T3" fmla="*/ 94 h 94"/>
                  <a:gd name="T4" fmla="*/ 12 w 396"/>
                  <a:gd name="T5" fmla="*/ 94 h 94"/>
                  <a:gd name="T6" fmla="*/ 0 w 396"/>
                  <a:gd name="T7" fmla="*/ 82 h 94"/>
                  <a:gd name="T8" fmla="*/ 0 w 396"/>
                  <a:gd name="T9" fmla="*/ 11 h 94"/>
                  <a:gd name="T10" fmla="*/ 12 w 396"/>
                  <a:gd name="T11" fmla="*/ 0 h 94"/>
                  <a:gd name="T12" fmla="*/ 385 w 396"/>
                  <a:gd name="T13" fmla="*/ 0 h 94"/>
                  <a:gd name="T14" fmla="*/ 396 w 396"/>
                  <a:gd name="T15" fmla="*/ 11 h 94"/>
                  <a:gd name="T16" fmla="*/ 396 w 396"/>
                  <a:gd name="T17" fmla="*/ 82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6" h="94">
                    <a:moveTo>
                      <a:pt x="396" y="82"/>
                    </a:moveTo>
                    <a:cubicBezTo>
                      <a:pt x="396" y="89"/>
                      <a:pt x="391" y="94"/>
                      <a:pt x="385" y="94"/>
                    </a:cubicBezTo>
                    <a:cubicBezTo>
                      <a:pt x="12" y="94"/>
                      <a:pt x="12" y="94"/>
                      <a:pt x="12" y="94"/>
                    </a:cubicBezTo>
                    <a:cubicBezTo>
                      <a:pt x="6" y="94"/>
                      <a:pt x="0" y="89"/>
                      <a:pt x="0" y="82"/>
                    </a:cubicBezTo>
                    <a:cubicBezTo>
                      <a:pt x="0" y="11"/>
                      <a:pt x="0" y="11"/>
                      <a:pt x="0" y="11"/>
                    </a:cubicBezTo>
                    <a:cubicBezTo>
                      <a:pt x="0" y="5"/>
                      <a:pt x="6" y="0"/>
                      <a:pt x="12" y="0"/>
                    </a:cubicBezTo>
                    <a:cubicBezTo>
                      <a:pt x="385" y="0"/>
                      <a:pt x="385" y="0"/>
                      <a:pt x="385" y="0"/>
                    </a:cubicBezTo>
                    <a:cubicBezTo>
                      <a:pt x="391" y="0"/>
                      <a:pt x="396" y="5"/>
                      <a:pt x="396" y="11"/>
                    </a:cubicBezTo>
                    <a:lnTo>
                      <a:pt x="396" y="82"/>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646" name="Oval 1363"/>
              <p:cNvSpPr>
                <a:spLocks noChangeArrowheads="1"/>
              </p:cNvSpPr>
              <p:nvPr/>
            </p:nvSpPr>
            <p:spPr bwMode="auto">
              <a:xfrm>
                <a:off x="14562138" y="4329113"/>
                <a:ext cx="38100" cy="3651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647" name="Freeform 1364"/>
              <p:cNvSpPr>
                <a:spLocks/>
              </p:cNvSpPr>
              <p:nvPr/>
            </p:nvSpPr>
            <p:spPr bwMode="auto">
              <a:xfrm>
                <a:off x="14216063" y="4457700"/>
                <a:ext cx="485775" cy="114300"/>
              </a:xfrm>
              <a:custGeom>
                <a:avLst/>
                <a:gdLst>
                  <a:gd name="T0" fmla="*/ 396 w 396"/>
                  <a:gd name="T1" fmla="*/ 82 h 94"/>
                  <a:gd name="T2" fmla="*/ 385 w 396"/>
                  <a:gd name="T3" fmla="*/ 94 h 94"/>
                  <a:gd name="T4" fmla="*/ 12 w 396"/>
                  <a:gd name="T5" fmla="*/ 94 h 94"/>
                  <a:gd name="T6" fmla="*/ 0 w 396"/>
                  <a:gd name="T7" fmla="*/ 82 h 94"/>
                  <a:gd name="T8" fmla="*/ 0 w 396"/>
                  <a:gd name="T9" fmla="*/ 11 h 94"/>
                  <a:gd name="T10" fmla="*/ 12 w 396"/>
                  <a:gd name="T11" fmla="*/ 0 h 94"/>
                  <a:gd name="T12" fmla="*/ 385 w 396"/>
                  <a:gd name="T13" fmla="*/ 0 h 94"/>
                  <a:gd name="T14" fmla="*/ 396 w 396"/>
                  <a:gd name="T15" fmla="*/ 11 h 94"/>
                  <a:gd name="T16" fmla="*/ 396 w 396"/>
                  <a:gd name="T17" fmla="*/ 82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6" h="94">
                    <a:moveTo>
                      <a:pt x="396" y="82"/>
                    </a:moveTo>
                    <a:cubicBezTo>
                      <a:pt x="396" y="89"/>
                      <a:pt x="391" y="94"/>
                      <a:pt x="385" y="94"/>
                    </a:cubicBezTo>
                    <a:cubicBezTo>
                      <a:pt x="12" y="94"/>
                      <a:pt x="12" y="94"/>
                      <a:pt x="12" y="94"/>
                    </a:cubicBezTo>
                    <a:cubicBezTo>
                      <a:pt x="6" y="94"/>
                      <a:pt x="0" y="89"/>
                      <a:pt x="0" y="82"/>
                    </a:cubicBezTo>
                    <a:cubicBezTo>
                      <a:pt x="0" y="11"/>
                      <a:pt x="0" y="11"/>
                      <a:pt x="0" y="11"/>
                    </a:cubicBezTo>
                    <a:cubicBezTo>
                      <a:pt x="0" y="5"/>
                      <a:pt x="6" y="0"/>
                      <a:pt x="12" y="0"/>
                    </a:cubicBezTo>
                    <a:cubicBezTo>
                      <a:pt x="385" y="0"/>
                      <a:pt x="385" y="0"/>
                      <a:pt x="385" y="0"/>
                    </a:cubicBezTo>
                    <a:cubicBezTo>
                      <a:pt x="391" y="0"/>
                      <a:pt x="396" y="5"/>
                      <a:pt x="396" y="11"/>
                    </a:cubicBezTo>
                    <a:lnTo>
                      <a:pt x="396" y="82"/>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648" name="Oval 1365"/>
              <p:cNvSpPr>
                <a:spLocks noChangeArrowheads="1"/>
              </p:cNvSpPr>
              <p:nvPr/>
            </p:nvSpPr>
            <p:spPr bwMode="auto">
              <a:xfrm>
                <a:off x="14562138" y="4495800"/>
                <a:ext cx="38100" cy="3810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649" name="Freeform 1366"/>
              <p:cNvSpPr>
                <a:spLocks/>
              </p:cNvSpPr>
              <p:nvPr/>
            </p:nvSpPr>
            <p:spPr bwMode="auto">
              <a:xfrm>
                <a:off x="14216063" y="4624388"/>
                <a:ext cx="485775" cy="114300"/>
              </a:xfrm>
              <a:custGeom>
                <a:avLst/>
                <a:gdLst>
                  <a:gd name="T0" fmla="*/ 396 w 396"/>
                  <a:gd name="T1" fmla="*/ 82 h 94"/>
                  <a:gd name="T2" fmla="*/ 385 w 396"/>
                  <a:gd name="T3" fmla="*/ 94 h 94"/>
                  <a:gd name="T4" fmla="*/ 12 w 396"/>
                  <a:gd name="T5" fmla="*/ 94 h 94"/>
                  <a:gd name="T6" fmla="*/ 0 w 396"/>
                  <a:gd name="T7" fmla="*/ 82 h 94"/>
                  <a:gd name="T8" fmla="*/ 0 w 396"/>
                  <a:gd name="T9" fmla="*/ 11 h 94"/>
                  <a:gd name="T10" fmla="*/ 12 w 396"/>
                  <a:gd name="T11" fmla="*/ 0 h 94"/>
                  <a:gd name="T12" fmla="*/ 385 w 396"/>
                  <a:gd name="T13" fmla="*/ 0 h 94"/>
                  <a:gd name="T14" fmla="*/ 396 w 396"/>
                  <a:gd name="T15" fmla="*/ 11 h 94"/>
                  <a:gd name="T16" fmla="*/ 396 w 396"/>
                  <a:gd name="T17" fmla="*/ 82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6" h="94">
                    <a:moveTo>
                      <a:pt x="396" y="82"/>
                    </a:moveTo>
                    <a:cubicBezTo>
                      <a:pt x="396" y="89"/>
                      <a:pt x="391" y="94"/>
                      <a:pt x="385" y="94"/>
                    </a:cubicBezTo>
                    <a:cubicBezTo>
                      <a:pt x="12" y="94"/>
                      <a:pt x="12" y="94"/>
                      <a:pt x="12" y="94"/>
                    </a:cubicBezTo>
                    <a:cubicBezTo>
                      <a:pt x="6" y="94"/>
                      <a:pt x="0" y="89"/>
                      <a:pt x="0" y="82"/>
                    </a:cubicBezTo>
                    <a:cubicBezTo>
                      <a:pt x="0" y="11"/>
                      <a:pt x="0" y="11"/>
                      <a:pt x="0" y="11"/>
                    </a:cubicBezTo>
                    <a:cubicBezTo>
                      <a:pt x="0" y="5"/>
                      <a:pt x="6" y="0"/>
                      <a:pt x="12" y="0"/>
                    </a:cubicBezTo>
                    <a:cubicBezTo>
                      <a:pt x="385" y="0"/>
                      <a:pt x="385" y="0"/>
                      <a:pt x="385" y="0"/>
                    </a:cubicBezTo>
                    <a:cubicBezTo>
                      <a:pt x="391" y="0"/>
                      <a:pt x="396" y="5"/>
                      <a:pt x="396" y="11"/>
                    </a:cubicBezTo>
                    <a:lnTo>
                      <a:pt x="396" y="82"/>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650" name="Rectangle 1367"/>
              <p:cNvSpPr>
                <a:spLocks noChangeArrowheads="1"/>
              </p:cNvSpPr>
              <p:nvPr/>
            </p:nvSpPr>
            <p:spPr bwMode="auto">
              <a:xfrm>
                <a:off x="14250988" y="3479800"/>
                <a:ext cx="22225"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651" name="Rectangle 1368"/>
              <p:cNvSpPr>
                <a:spLocks noChangeArrowheads="1"/>
              </p:cNvSpPr>
              <p:nvPr/>
            </p:nvSpPr>
            <p:spPr bwMode="auto">
              <a:xfrm>
                <a:off x="14285913" y="3479800"/>
                <a:ext cx="23813"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652" name="Rectangle 1369"/>
              <p:cNvSpPr>
                <a:spLocks noChangeArrowheads="1"/>
              </p:cNvSpPr>
              <p:nvPr/>
            </p:nvSpPr>
            <p:spPr bwMode="auto">
              <a:xfrm>
                <a:off x="14320838" y="3479800"/>
                <a:ext cx="23813"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653" name="Rectangle 1370"/>
              <p:cNvSpPr>
                <a:spLocks noChangeArrowheads="1"/>
              </p:cNvSpPr>
              <p:nvPr/>
            </p:nvSpPr>
            <p:spPr bwMode="auto">
              <a:xfrm>
                <a:off x="14357351" y="3479800"/>
                <a:ext cx="22225"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654" name="Rectangle 1371"/>
              <p:cNvSpPr>
                <a:spLocks noChangeArrowheads="1"/>
              </p:cNvSpPr>
              <p:nvPr/>
            </p:nvSpPr>
            <p:spPr bwMode="auto">
              <a:xfrm>
                <a:off x="14393863" y="3479800"/>
                <a:ext cx="22225"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655" name="Rectangle 1372"/>
              <p:cNvSpPr>
                <a:spLocks noChangeArrowheads="1"/>
              </p:cNvSpPr>
              <p:nvPr/>
            </p:nvSpPr>
            <p:spPr bwMode="auto">
              <a:xfrm>
                <a:off x="14250988" y="3646488"/>
                <a:ext cx="22225" cy="68263"/>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656" name="Rectangle 1373"/>
              <p:cNvSpPr>
                <a:spLocks noChangeArrowheads="1"/>
              </p:cNvSpPr>
              <p:nvPr/>
            </p:nvSpPr>
            <p:spPr bwMode="auto">
              <a:xfrm>
                <a:off x="14285913" y="3646488"/>
                <a:ext cx="23813" cy="68263"/>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657" name="Rectangle 1374"/>
              <p:cNvSpPr>
                <a:spLocks noChangeArrowheads="1"/>
              </p:cNvSpPr>
              <p:nvPr/>
            </p:nvSpPr>
            <p:spPr bwMode="auto">
              <a:xfrm>
                <a:off x="14320838" y="3646488"/>
                <a:ext cx="23813" cy="68263"/>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658" name="Rectangle 1375"/>
              <p:cNvSpPr>
                <a:spLocks noChangeArrowheads="1"/>
              </p:cNvSpPr>
              <p:nvPr/>
            </p:nvSpPr>
            <p:spPr bwMode="auto">
              <a:xfrm>
                <a:off x="14357351" y="3646488"/>
                <a:ext cx="22225" cy="68263"/>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659" name="Rectangle 1376"/>
              <p:cNvSpPr>
                <a:spLocks noChangeArrowheads="1"/>
              </p:cNvSpPr>
              <p:nvPr/>
            </p:nvSpPr>
            <p:spPr bwMode="auto">
              <a:xfrm>
                <a:off x="14393863" y="3646488"/>
                <a:ext cx="22225" cy="68263"/>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660" name="Rectangle 1377"/>
              <p:cNvSpPr>
                <a:spLocks noChangeArrowheads="1"/>
              </p:cNvSpPr>
              <p:nvPr/>
            </p:nvSpPr>
            <p:spPr bwMode="auto">
              <a:xfrm>
                <a:off x="14250988" y="3814763"/>
                <a:ext cx="22225"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661" name="Rectangle 1378"/>
              <p:cNvSpPr>
                <a:spLocks noChangeArrowheads="1"/>
              </p:cNvSpPr>
              <p:nvPr/>
            </p:nvSpPr>
            <p:spPr bwMode="auto">
              <a:xfrm>
                <a:off x="14285913" y="3814763"/>
                <a:ext cx="23813"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662" name="Rectangle 1379"/>
              <p:cNvSpPr>
                <a:spLocks noChangeArrowheads="1"/>
              </p:cNvSpPr>
              <p:nvPr/>
            </p:nvSpPr>
            <p:spPr bwMode="auto">
              <a:xfrm>
                <a:off x="14320838" y="3814763"/>
                <a:ext cx="23813"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663" name="Rectangle 1380"/>
              <p:cNvSpPr>
                <a:spLocks noChangeArrowheads="1"/>
              </p:cNvSpPr>
              <p:nvPr/>
            </p:nvSpPr>
            <p:spPr bwMode="auto">
              <a:xfrm>
                <a:off x="14357351" y="3814763"/>
                <a:ext cx="22225"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664" name="Rectangle 1381"/>
              <p:cNvSpPr>
                <a:spLocks noChangeArrowheads="1"/>
              </p:cNvSpPr>
              <p:nvPr/>
            </p:nvSpPr>
            <p:spPr bwMode="auto">
              <a:xfrm>
                <a:off x="14393863" y="3814763"/>
                <a:ext cx="22225"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665" name="Rectangle 1382"/>
              <p:cNvSpPr>
                <a:spLocks noChangeArrowheads="1"/>
              </p:cNvSpPr>
              <p:nvPr/>
            </p:nvSpPr>
            <p:spPr bwMode="auto">
              <a:xfrm>
                <a:off x="14250988" y="3981450"/>
                <a:ext cx="22225" cy="6508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666" name="Rectangle 1383"/>
              <p:cNvSpPr>
                <a:spLocks noChangeArrowheads="1"/>
              </p:cNvSpPr>
              <p:nvPr/>
            </p:nvSpPr>
            <p:spPr bwMode="auto">
              <a:xfrm>
                <a:off x="14285913" y="3981450"/>
                <a:ext cx="23813" cy="6508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667" name="Rectangle 1384"/>
              <p:cNvSpPr>
                <a:spLocks noChangeArrowheads="1"/>
              </p:cNvSpPr>
              <p:nvPr/>
            </p:nvSpPr>
            <p:spPr bwMode="auto">
              <a:xfrm>
                <a:off x="14320838" y="3981450"/>
                <a:ext cx="23813" cy="6508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668" name="Rectangle 1385"/>
              <p:cNvSpPr>
                <a:spLocks noChangeArrowheads="1"/>
              </p:cNvSpPr>
              <p:nvPr/>
            </p:nvSpPr>
            <p:spPr bwMode="auto">
              <a:xfrm>
                <a:off x="14357351" y="3981450"/>
                <a:ext cx="22225" cy="6508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669" name="Rectangle 1386"/>
              <p:cNvSpPr>
                <a:spLocks noChangeArrowheads="1"/>
              </p:cNvSpPr>
              <p:nvPr/>
            </p:nvSpPr>
            <p:spPr bwMode="auto">
              <a:xfrm>
                <a:off x="14393863" y="3981450"/>
                <a:ext cx="22225" cy="6508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670" name="Rectangle 1387"/>
              <p:cNvSpPr>
                <a:spLocks noChangeArrowheads="1"/>
              </p:cNvSpPr>
              <p:nvPr/>
            </p:nvSpPr>
            <p:spPr bwMode="auto">
              <a:xfrm>
                <a:off x="14250988" y="4148138"/>
                <a:ext cx="22225" cy="6508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671" name="Rectangle 1388"/>
              <p:cNvSpPr>
                <a:spLocks noChangeArrowheads="1"/>
              </p:cNvSpPr>
              <p:nvPr/>
            </p:nvSpPr>
            <p:spPr bwMode="auto">
              <a:xfrm>
                <a:off x="14285913" y="4148138"/>
                <a:ext cx="23813" cy="6508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672" name="Rectangle 1389"/>
              <p:cNvSpPr>
                <a:spLocks noChangeArrowheads="1"/>
              </p:cNvSpPr>
              <p:nvPr/>
            </p:nvSpPr>
            <p:spPr bwMode="auto">
              <a:xfrm>
                <a:off x="14320838" y="4148138"/>
                <a:ext cx="23813" cy="6508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673" name="Rectangle 1390"/>
              <p:cNvSpPr>
                <a:spLocks noChangeArrowheads="1"/>
              </p:cNvSpPr>
              <p:nvPr/>
            </p:nvSpPr>
            <p:spPr bwMode="auto">
              <a:xfrm>
                <a:off x="14357351" y="4148138"/>
                <a:ext cx="22225" cy="6508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674" name="Rectangle 1391"/>
              <p:cNvSpPr>
                <a:spLocks noChangeArrowheads="1"/>
              </p:cNvSpPr>
              <p:nvPr/>
            </p:nvSpPr>
            <p:spPr bwMode="auto">
              <a:xfrm>
                <a:off x="14393863" y="4148138"/>
                <a:ext cx="22225" cy="6508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675" name="Rectangle 1392"/>
              <p:cNvSpPr>
                <a:spLocks noChangeArrowheads="1"/>
              </p:cNvSpPr>
              <p:nvPr/>
            </p:nvSpPr>
            <p:spPr bwMode="auto">
              <a:xfrm>
                <a:off x="14250988" y="4313238"/>
                <a:ext cx="22225" cy="68263"/>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676" name="Rectangle 1393"/>
              <p:cNvSpPr>
                <a:spLocks noChangeArrowheads="1"/>
              </p:cNvSpPr>
              <p:nvPr/>
            </p:nvSpPr>
            <p:spPr bwMode="auto">
              <a:xfrm>
                <a:off x="14285913" y="4313238"/>
                <a:ext cx="23813" cy="68263"/>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677" name="Rectangle 1394"/>
              <p:cNvSpPr>
                <a:spLocks noChangeArrowheads="1"/>
              </p:cNvSpPr>
              <p:nvPr/>
            </p:nvSpPr>
            <p:spPr bwMode="auto">
              <a:xfrm>
                <a:off x="14320838" y="4313238"/>
                <a:ext cx="23813" cy="68263"/>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678" name="Rectangle 1395"/>
              <p:cNvSpPr>
                <a:spLocks noChangeArrowheads="1"/>
              </p:cNvSpPr>
              <p:nvPr/>
            </p:nvSpPr>
            <p:spPr bwMode="auto">
              <a:xfrm>
                <a:off x="14357351" y="4313238"/>
                <a:ext cx="22225" cy="68263"/>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679" name="Rectangle 1396"/>
              <p:cNvSpPr>
                <a:spLocks noChangeArrowheads="1"/>
              </p:cNvSpPr>
              <p:nvPr/>
            </p:nvSpPr>
            <p:spPr bwMode="auto">
              <a:xfrm>
                <a:off x="14393863" y="4313238"/>
                <a:ext cx="22225" cy="68263"/>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680" name="Rectangle 1397"/>
              <p:cNvSpPr>
                <a:spLocks noChangeArrowheads="1"/>
              </p:cNvSpPr>
              <p:nvPr/>
            </p:nvSpPr>
            <p:spPr bwMode="auto">
              <a:xfrm>
                <a:off x="14250988" y="4481513"/>
                <a:ext cx="22225"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681" name="Rectangle 1398"/>
              <p:cNvSpPr>
                <a:spLocks noChangeArrowheads="1"/>
              </p:cNvSpPr>
              <p:nvPr/>
            </p:nvSpPr>
            <p:spPr bwMode="auto">
              <a:xfrm>
                <a:off x="14285913" y="4481513"/>
                <a:ext cx="23813"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682" name="Rectangle 1399"/>
              <p:cNvSpPr>
                <a:spLocks noChangeArrowheads="1"/>
              </p:cNvSpPr>
              <p:nvPr/>
            </p:nvSpPr>
            <p:spPr bwMode="auto">
              <a:xfrm>
                <a:off x="14320838" y="4481513"/>
                <a:ext cx="23813"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683" name="Rectangle 1400"/>
              <p:cNvSpPr>
                <a:spLocks noChangeArrowheads="1"/>
              </p:cNvSpPr>
              <p:nvPr/>
            </p:nvSpPr>
            <p:spPr bwMode="auto">
              <a:xfrm>
                <a:off x="14357351" y="4481513"/>
                <a:ext cx="22225"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684" name="Rectangle 1401"/>
              <p:cNvSpPr>
                <a:spLocks noChangeArrowheads="1"/>
              </p:cNvSpPr>
              <p:nvPr/>
            </p:nvSpPr>
            <p:spPr bwMode="auto">
              <a:xfrm>
                <a:off x="14393863" y="4481513"/>
                <a:ext cx="22225"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685" name="Rectangle 1402"/>
              <p:cNvSpPr>
                <a:spLocks noChangeArrowheads="1"/>
              </p:cNvSpPr>
              <p:nvPr/>
            </p:nvSpPr>
            <p:spPr bwMode="auto">
              <a:xfrm>
                <a:off x="14250988" y="4648200"/>
                <a:ext cx="22225"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686" name="Rectangle 1403"/>
              <p:cNvSpPr>
                <a:spLocks noChangeArrowheads="1"/>
              </p:cNvSpPr>
              <p:nvPr/>
            </p:nvSpPr>
            <p:spPr bwMode="auto">
              <a:xfrm>
                <a:off x="14285913" y="4648200"/>
                <a:ext cx="23813"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687" name="Rectangle 1404"/>
              <p:cNvSpPr>
                <a:spLocks noChangeArrowheads="1"/>
              </p:cNvSpPr>
              <p:nvPr/>
            </p:nvSpPr>
            <p:spPr bwMode="auto">
              <a:xfrm>
                <a:off x="14320838" y="4648200"/>
                <a:ext cx="23813"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688" name="Rectangle 1405"/>
              <p:cNvSpPr>
                <a:spLocks noChangeArrowheads="1"/>
              </p:cNvSpPr>
              <p:nvPr/>
            </p:nvSpPr>
            <p:spPr bwMode="auto">
              <a:xfrm>
                <a:off x="14357351" y="4648200"/>
                <a:ext cx="22225"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689" name="Rectangle 1406"/>
              <p:cNvSpPr>
                <a:spLocks noChangeArrowheads="1"/>
              </p:cNvSpPr>
              <p:nvPr/>
            </p:nvSpPr>
            <p:spPr bwMode="auto">
              <a:xfrm>
                <a:off x="14393863" y="4648200"/>
                <a:ext cx="22225"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690" name="Oval 1407"/>
              <p:cNvSpPr>
                <a:spLocks noChangeArrowheads="1"/>
              </p:cNvSpPr>
              <p:nvPr/>
            </p:nvSpPr>
            <p:spPr bwMode="auto">
              <a:xfrm>
                <a:off x="14562138" y="4664075"/>
                <a:ext cx="38100" cy="3651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691" name="Oval 1408"/>
              <p:cNvSpPr>
                <a:spLocks noChangeArrowheads="1"/>
              </p:cNvSpPr>
              <p:nvPr/>
            </p:nvSpPr>
            <p:spPr bwMode="auto">
              <a:xfrm>
                <a:off x="14630401" y="3494088"/>
                <a:ext cx="38100" cy="38100"/>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692" name="Oval 1409"/>
              <p:cNvSpPr>
                <a:spLocks noChangeArrowheads="1"/>
              </p:cNvSpPr>
              <p:nvPr/>
            </p:nvSpPr>
            <p:spPr bwMode="auto">
              <a:xfrm>
                <a:off x="14630401" y="3662363"/>
                <a:ext cx="38100" cy="36513"/>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693" name="Oval 1410"/>
              <p:cNvSpPr>
                <a:spLocks noChangeArrowheads="1"/>
              </p:cNvSpPr>
              <p:nvPr/>
            </p:nvSpPr>
            <p:spPr bwMode="auto">
              <a:xfrm>
                <a:off x="14630401" y="3829050"/>
                <a:ext cx="38100" cy="36513"/>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694" name="Oval 1411"/>
              <p:cNvSpPr>
                <a:spLocks noChangeArrowheads="1"/>
              </p:cNvSpPr>
              <p:nvPr/>
            </p:nvSpPr>
            <p:spPr bwMode="auto">
              <a:xfrm>
                <a:off x="14630401" y="3995738"/>
                <a:ext cx="38100" cy="36513"/>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695" name="Oval 1412"/>
              <p:cNvSpPr>
                <a:spLocks noChangeArrowheads="1"/>
              </p:cNvSpPr>
              <p:nvPr/>
            </p:nvSpPr>
            <p:spPr bwMode="auto">
              <a:xfrm>
                <a:off x="14630401" y="4162425"/>
                <a:ext cx="38100" cy="36513"/>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696" name="Oval 1413"/>
              <p:cNvSpPr>
                <a:spLocks noChangeArrowheads="1"/>
              </p:cNvSpPr>
              <p:nvPr/>
            </p:nvSpPr>
            <p:spPr bwMode="auto">
              <a:xfrm>
                <a:off x="14630401" y="4329113"/>
                <a:ext cx="38100" cy="36513"/>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697" name="Oval 1414"/>
              <p:cNvSpPr>
                <a:spLocks noChangeArrowheads="1"/>
              </p:cNvSpPr>
              <p:nvPr/>
            </p:nvSpPr>
            <p:spPr bwMode="auto">
              <a:xfrm>
                <a:off x="14630401" y="4495800"/>
                <a:ext cx="38100" cy="38100"/>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698" name="Oval 1415"/>
              <p:cNvSpPr>
                <a:spLocks noChangeArrowheads="1"/>
              </p:cNvSpPr>
              <p:nvPr/>
            </p:nvSpPr>
            <p:spPr bwMode="auto">
              <a:xfrm>
                <a:off x="14630401" y="4664075"/>
                <a:ext cx="38100" cy="36513"/>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grpSp>
          <p:nvGrpSpPr>
            <p:cNvPr id="1564" name="Group 1563"/>
            <p:cNvGrpSpPr/>
            <p:nvPr/>
          </p:nvGrpSpPr>
          <p:grpSpPr>
            <a:xfrm>
              <a:off x="8334705" y="3703372"/>
              <a:ext cx="1039650" cy="1882552"/>
              <a:chOff x="14160501" y="3376613"/>
              <a:chExt cx="796925" cy="1443038"/>
            </a:xfrm>
          </p:grpSpPr>
          <p:sp>
            <p:nvSpPr>
              <p:cNvPr id="1565" name="Freeform 1349"/>
              <p:cNvSpPr>
                <a:spLocks/>
              </p:cNvSpPr>
              <p:nvPr/>
            </p:nvSpPr>
            <p:spPr bwMode="auto">
              <a:xfrm>
                <a:off x="14682788" y="3376613"/>
                <a:ext cx="274638" cy="1443038"/>
              </a:xfrm>
              <a:custGeom>
                <a:avLst/>
                <a:gdLst>
                  <a:gd name="T0" fmla="*/ 184 w 224"/>
                  <a:gd name="T1" fmla="*/ 0 h 1184"/>
                  <a:gd name="T2" fmla="*/ 0 w 224"/>
                  <a:gd name="T3" fmla="*/ 0 h 1184"/>
                  <a:gd name="T4" fmla="*/ 40 w 224"/>
                  <a:gd name="T5" fmla="*/ 41 h 1184"/>
                  <a:gd name="T6" fmla="*/ 40 w 224"/>
                  <a:gd name="T7" fmla="*/ 1144 h 1184"/>
                  <a:gd name="T8" fmla="*/ 0 w 224"/>
                  <a:gd name="T9" fmla="*/ 1184 h 1184"/>
                  <a:gd name="T10" fmla="*/ 184 w 224"/>
                  <a:gd name="T11" fmla="*/ 1184 h 1184"/>
                  <a:gd name="T12" fmla="*/ 224 w 224"/>
                  <a:gd name="T13" fmla="*/ 1144 h 1184"/>
                  <a:gd name="T14" fmla="*/ 224 w 224"/>
                  <a:gd name="T15" fmla="*/ 41 h 1184"/>
                  <a:gd name="T16" fmla="*/ 184 w 224"/>
                  <a:gd name="T17" fmla="*/ 0 h 1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4" h="1184">
                    <a:moveTo>
                      <a:pt x="184" y="0"/>
                    </a:moveTo>
                    <a:cubicBezTo>
                      <a:pt x="0" y="0"/>
                      <a:pt x="0" y="0"/>
                      <a:pt x="0" y="0"/>
                    </a:cubicBezTo>
                    <a:cubicBezTo>
                      <a:pt x="22" y="0"/>
                      <a:pt x="40" y="18"/>
                      <a:pt x="40" y="41"/>
                    </a:cubicBezTo>
                    <a:cubicBezTo>
                      <a:pt x="40" y="1144"/>
                      <a:pt x="40" y="1144"/>
                      <a:pt x="40" y="1144"/>
                    </a:cubicBezTo>
                    <a:cubicBezTo>
                      <a:pt x="40" y="1166"/>
                      <a:pt x="22" y="1184"/>
                      <a:pt x="0" y="1184"/>
                    </a:cubicBezTo>
                    <a:cubicBezTo>
                      <a:pt x="184" y="1184"/>
                      <a:pt x="184" y="1184"/>
                      <a:pt x="184" y="1184"/>
                    </a:cubicBezTo>
                    <a:cubicBezTo>
                      <a:pt x="206" y="1184"/>
                      <a:pt x="224" y="1166"/>
                      <a:pt x="224" y="1144"/>
                    </a:cubicBezTo>
                    <a:cubicBezTo>
                      <a:pt x="224" y="41"/>
                      <a:pt x="224" y="41"/>
                      <a:pt x="224" y="41"/>
                    </a:cubicBezTo>
                    <a:cubicBezTo>
                      <a:pt x="224" y="18"/>
                      <a:pt x="206" y="0"/>
                      <a:pt x="184" y="0"/>
                    </a:cubicBez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566" name="Freeform 1350"/>
              <p:cNvSpPr>
                <a:spLocks/>
              </p:cNvSpPr>
              <p:nvPr/>
            </p:nvSpPr>
            <p:spPr bwMode="auto">
              <a:xfrm>
                <a:off x="14682788" y="3376613"/>
                <a:ext cx="274638" cy="1443038"/>
              </a:xfrm>
              <a:custGeom>
                <a:avLst/>
                <a:gdLst>
                  <a:gd name="T0" fmla="*/ 184 w 224"/>
                  <a:gd name="T1" fmla="*/ 0 h 1184"/>
                  <a:gd name="T2" fmla="*/ 0 w 224"/>
                  <a:gd name="T3" fmla="*/ 0 h 1184"/>
                  <a:gd name="T4" fmla="*/ 40 w 224"/>
                  <a:gd name="T5" fmla="*/ 41 h 1184"/>
                  <a:gd name="T6" fmla="*/ 40 w 224"/>
                  <a:gd name="T7" fmla="*/ 1144 h 1184"/>
                  <a:gd name="T8" fmla="*/ 0 w 224"/>
                  <a:gd name="T9" fmla="*/ 1184 h 1184"/>
                  <a:gd name="T10" fmla="*/ 184 w 224"/>
                  <a:gd name="T11" fmla="*/ 1184 h 1184"/>
                  <a:gd name="T12" fmla="*/ 224 w 224"/>
                  <a:gd name="T13" fmla="*/ 1144 h 1184"/>
                  <a:gd name="T14" fmla="*/ 224 w 224"/>
                  <a:gd name="T15" fmla="*/ 41 h 1184"/>
                  <a:gd name="T16" fmla="*/ 184 w 224"/>
                  <a:gd name="T17" fmla="*/ 0 h 1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4" h="1184">
                    <a:moveTo>
                      <a:pt x="184" y="0"/>
                    </a:moveTo>
                    <a:cubicBezTo>
                      <a:pt x="0" y="0"/>
                      <a:pt x="0" y="0"/>
                      <a:pt x="0" y="0"/>
                    </a:cubicBezTo>
                    <a:cubicBezTo>
                      <a:pt x="22" y="0"/>
                      <a:pt x="40" y="18"/>
                      <a:pt x="40" y="41"/>
                    </a:cubicBezTo>
                    <a:cubicBezTo>
                      <a:pt x="40" y="1144"/>
                      <a:pt x="40" y="1144"/>
                      <a:pt x="40" y="1144"/>
                    </a:cubicBezTo>
                    <a:cubicBezTo>
                      <a:pt x="40" y="1166"/>
                      <a:pt x="22" y="1184"/>
                      <a:pt x="0" y="1184"/>
                    </a:cubicBezTo>
                    <a:cubicBezTo>
                      <a:pt x="184" y="1184"/>
                      <a:pt x="184" y="1184"/>
                      <a:pt x="184" y="1184"/>
                    </a:cubicBezTo>
                    <a:cubicBezTo>
                      <a:pt x="206" y="1184"/>
                      <a:pt x="224" y="1166"/>
                      <a:pt x="224" y="1144"/>
                    </a:cubicBezTo>
                    <a:cubicBezTo>
                      <a:pt x="224" y="41"/>
                      <a:pt x="224" y="41"/>
                      <a:pt x="224" y="41"/>
                    </a:cubicBezTo>
                    <a:cubicBezTo>
                      <a:pt x="224" y="18"/>
                      <a:pt x="206" y="0"/>
                      <a:pt x="184" y="0"/>
                    </a:cubicBezTo>
                    <a:close/>
                  </a:path>
                </a:pathLst>
              </a:custGeom>
              <a:solidFill>
                <a:srgbClr val="003D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567" name="Freeform 1351"/>
              <p:cNvSpPr>
                <a:spLocks/>
              </p:cNvSpPr>
              <p:nvPr/>
            </p:nvSpPr>
            <p:spPr bwMode="auto">
              <a:xfrm>
                <a:off x="14160501" y="3376613"/>
                <a:ext cx="611188" cy="1443038"/>
              </a:xfrm>
              <a:custGeom>
                <a:avLst/>
                <a:gdLst>
                  <a:gd name="T0" fmla="*/ 499 w 499"/>
                  <a:gd name="T1" fmla="*/ 1144 h 1184"/>
                  <a:gd name="T2" fmla="*/ 459 w 499"/>
                  <a:gd name="T3" fmla="*/ 1184 h 1184"/>
                  <a:gd name="T4" fmla="*/ 40 w 499"/>
                  <a:gd name="T5" fmla="*/ 1184 h 1184"/>
                  <a:gd name="T6" fmla="*/ 0 w 499"/>
                  <a:gd name="T7" fmla="*/ 1144 h 1184"/>
                  <a:gd name="T8" fmla="*/ 0 w 499"/>
                  <a:gd name="T9" fmla="*/ 41 h 1184"/>
                  <a:gd name="T10" fmla="*/ 40 w 499"/>
                  <a:gd name="T11" fmla="*/ 0 h 1184"/>
                  <a:gd name="T12" fmla="*/ 459 w 499"/>
                  <a:gd name="T13" fmla="*/ 0 h 1184"/>
                  <a:gd name="T14" fmla="*/ 499 w 499"/>
                  <a:gd name="T15" fmla="*/ 41 h 1184"/>
                  <a:gd name="T16" fmla="*/ 499 w 499"/>
                  <a:gd name="T17" fmla="*/ 1144 h 1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9" h="1184">
                    <a:moveTo>
                      <a:pt x="499" y="1144"/>
                    </a:moveTo>
                    <a:cubicBezTo>
                      <a:pt x="499" y="1166"/>
                      <a:pt x="481" y="1184"/>
                      <a:pt x="459" y="1184"/>
                    </a:cubicBezTo>
                    <a:cubicBezTo>
                      <a:pt x="40" y="1184"/>
                      <a:pt x="40" y="1184"/>
                      <a:pt x="40" y="1184"/>
                    </a:cubicBezTo>
                    <a:cubicBezTo>
                      <a:pt x="18" y="1184"/>
                      <a:pt x="0" y="1166"/>
                      <a:pt x="0" y="1144"/>
                    </a:cubicBezTo>
                    <a:cubicBezTo>
                      <a:pt x="0" y="41"/>
                      <a:pt x="0" y="41"/>
                      <a:pt x="0" y="41"/>
                    </a:cubicBezTo>
                    <a:cubicBezTo>
                      <a:pt x="0" y="18"/>
                      <a:pt x="18" y="0"/>
                      <a:pt x="40" y="0"/>
                    </a:cubicBezTo>
                    <a:cubicBezTo>
                      <a:pt x="459" y="0"/>
                      <a:pt x="459" y="0"/>
                      <a:pt x="459" y="0"/>
                    </a:cubicBezTo>
                    <a:cubicBezTo>
                      <a:pt x="481" y="0"/>
                      <a:pt x="499" y="18"/>
                      <a:pt x="499" y="41"/>
                    </a:cubicBezTo>
                    <a:lnTo>
                      <a:pt x="499" y="1144"/>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568" name="Freeform 1352"/>
              <p:cNvSpPr>
                <a:spLocks/>
              </p:cNvSpPr>
              <p:nvPr/>
            </p:nvSpPr>
            <p:spPr bwMode="auto">
              <a:xfrm>
                <a:off x="14216063" y="3455988"/>
                <a:ext cx="485775" cy="114300"/>
              </a:xfrm>
              <a:custGeom>
                <a:avLst/>
                <a:gdLst>
                  <a:gd name="T0" fmla="*/ 396 w 396"/>
                  <a:gd name="T1" fmla="*/ 83 h 94"/>
                  <a:gd name="T2" fmla="*/ 385 w 396"/>
                  <a:gd name="T3" fmla="*/ 94 h 94"/>
                  <a:gd name="T4" fmla="*/ 12 w 396"/>
                  <a:gd name="T5" fmla="*/ 94 h 94"/>
                  <a:gd name="T6" fmla="*/ 0 w 396"/>
                  <a:gd name="T7" fmla="*/ 83 h 94"/>
                  <a:gd name="T8" fmla="*/ 0 w 396"/>
                  <a:gd name="T9" fmla="*/ 12 h 94"/>
                  <a:gd name="T10" fmla="*/ 12 w 396"/>
                  <a:gd name="T11" fmla="*/ 0 h 94"/>
                  <a:gd name="T12" fmla="*/ 385 w 396"/>
                  <a:gd name="T13" fmla="*/ 0 h 94"/>
                  <a:gd name="T14" fmla="*/ 396 w 396"/>
                  <a:gd name="T15" fmla="*/ 12 h 94"/>
                  <a:gd name="T16" fmla="*/ 396 w 396"/>
                  <a:gd name="T17" fmla="*/ 83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6" h="94">
                    <a:moveTo>
                      <a:pt x="396" y="83"/>
                    </a:moveTo>
                    <a:cubicBezTo>
                      <a:pt x="396" y="89"/>
                      <a:pt x="391" y="94"/>
                      <a:pt x="385" y="94"/>
                    </a:cubicBezTo>
                    <a:cubicBezTo>
                      <a:pt x="12" y="94"/>
                      <a:pt x="12" y="94"/>
                      <a:pt x="12" y="94"/>
                    </a:cubicBezTo>
                    <a:cubicBezTo>
                      <a:pt x="6" y="94"/>
                      <a:pt x="0" y="89"/>
                      <a:pt x="0" y="83"/>
                    </a:cubicBezTo>
                    <a:cubicBezTo>
                      <a:pt x="0" y="12"/>
                      <a:pt x="0" y="12"/>
                      <a:pt x="0" y="12"/>
                    </a:cubicBezTo>
                    <a:cubicBezTo>
                      <a:pt x="0" y="5"/>
                      <a:pt x="6" y="0"/>
                      <a:pt x="12" y="0"/>
                    </a:cubicBezTo>
                    <a:cubicBezTo>
                      <a:pt x="385" y="0"/>
                      <a:pt x="385" y="0"/>
                      <a:pt x="385" y="0"/>
                    </a:cubicBezTo>
                    <a:cubicBezTo>
                      <a:pt x="391" y="0"/>
                      <a:pt x="396" y="5"/>
                      <a:pt x="396" y="12"/>
                    </a:cubicBezTo>
                    <a:lnTo>
                      <a:pt x="396" y="83"/>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569" name="Oval 1353"/>
              <p:cNvSpPr>
                <a:spLocks noChangeArrowheads="1"/>
              </p:cNvSpPr>
              <p:nvPr/>
            </p:nvSpPr>
            <p:spPr bwMode="auto">
              <a:xfrm>
                <a:off x="14562138" y="3494088"/>
                <a:ext cx="38100" cy="3810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570" name="Freeform 1354"/>
              <p:cNvSpPr>
                <a:spLocks/>
              </p:cNvSpPr>
              <p:nvPr/>
            </p:nvSpPr>
            <p:spPr bwMode="auto">
              <a:xfrm>
                <a:off x="14216063" y="3622675"/>
                <a:ext cx="485775" cy="114300"/>
              </a:xfrm>
              <a:custGeom>
                <a:avLst/>
                <a:gdLst>
                  <a:gd name="T0" fmla="*/ 396 w 396"/>
                  <a:gd name="T1" fmla="*/ 83 h 94"/>
                  <a:gd name="T2" fmla="*/ 385 w 396"/>
                  <a:gd name="T3" fmla="*/ 94 h 94"/>
                  <a:gd name="T4" fmla="*/ 12 w 396"/>
                  <a:gd name="T5" fmla="*/ 94 h 94"/>
                  <a:gd name="T6" fmla="*/ 0 w 396"/>
                  <a:gd name="T7" fmla="*/ 83 h 94"/>
                  <a:gd name="T8" fmla="*/ 0 w 396"/>
                  <a:gd name="T9" fmla="*/ 12 h 94"/>
                  <a:gd name="T10" fmla="*/ 12 w 396"/>
                  <a:gd name="T11" fmla="*/ 0 h 94"/>
                  <a:gd name="T12" fmla="*/ 385 w 396"/>
                  <a:gd name="T13" fmla="*/ 0 h 94"/>
                  <a:gd name="T14" fmla="*/ 396 w 396"/>
                  <a:gd name="T15" fmla="*/ 12 h 94"/>
                  <a:gd name="T16" fmla="*/ 396 w 396"/>
                  <a:gd name="T17" fmla="*/ 83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6" h="94">
                    <a:moveTo>
                      <a:pt x="396" y="83"/>
                    </a:moveTo>
                    <a:cubicBezTo>
                      <a:pt x="396" y="89"/>
                      <a:pt x="391" y="94"/>
                      <a:pt x="385" y="94"/>
                    </a:cubicBezTo>
                    <a:cubicBezTo>
                      <a:pt x="12" y="94"/>
                      <a:pt x="12" y="94"/>
                      <a:pt x="12" y="94"/>
                    </a:cubicBezTo>
                    <a:cubicBezTo>
                      <a:pt x="6" y="94"/>
                      <a:pt x="0" y="89"/>
                      <a:pt x="0" y="83"/>
                    </a:cubicBezTo>
                    <a:cubicBezTo>
                      <a:pt x="0" y="12"/>
                      <a:pt x="0" y="12"/>
                      <a:pt x="0" y="12"/>
                    </a:cubicBezTo>
                    <a:cubicBezTo>
                      <a:pt x="0" y="5"/>
                      <a:pt x="6" y="0"/>
                      <a:pt x="12" y="0"/>
                    </a:cubicBezTo>
                    <a:cubicBezTo>
                      <a:pt x="385" y="0"/>
                      <a:pt x="385" y="0"/>
                      <a:pt x="385" y="0"/>
                    </a:cubicBezTo>
                    <a:cubicBezTo>
                      <a:pt x="391" y="0"/>
                      <a:pt x="396" y="5"/>
                      <a:pt x="396" y="12"/>
                    </a:cubicBezTo>
                    <a:lnTo>
                      <a:pt x="396" y="83"/>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571" name="Oval 1355"/>
              <p:cNvSpPr>
                <a:spLocks noChangeArrowheads="1"/>
              </p:cNvSpPr>
              <p:nvPr/>
            </p:nvSpPr>
            <p:spPr bwMode="auto">
              <a:xfrm>
                <a:off x="14562138" y="3662363"/>
                <a:ext cx="38100" cy="3651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572" name="Freeform 1356"/>
              <p:cNvSpPr>
                <a:spLocks/>
              </p:cNvSpPr>
              <p:nvPr/>
            </p:nvSpPr>
            <p:spPr bwMode="auto">
              <a:xfrm>
                <a:off x="14216063" y="3789363"/>
                <a:ext cx="485775" cy="114300"/>
              </a:xfrm>
              <a:custGeom>
                <a:avLst/>
                <a:gdLst>
                  <a:gd name="T0" fmla="*/ 396 w 396"/>
                  <a:gd name="T1" fmla="*/ 83 h 94"/>
                  <a:gd name="T2" fmla="*/ 385 w 396"/>
                  <a:gd name="T3" fmla="*/ 94 h 94"/>
                  <a:gd name="T4" fmla="*/ 12 w 396"/>
                  <a:gd name="T5" fmla="*/ 94 h 94"/>
                  <a:gd name="T6" fmla="*/ 0 w 396"/>
                  <a:gd name="T7" fmla="*/ 83 h 94"/>
                  <a:gd name="T8" fmla="*/ 0 w 396"/>
                  <a:gd name="T9" fmla="*/ 12 h 94"/>
                  <a:gd name="T10" fmla="*/ 12 w 396"/>
                  <a:gd name="T11" fmla="*/ 0 h 94"/>
                  <a:gd name="T12" fmla="*/ 385 w 396"/>
                  <a:gd name="T13" fmla="*/ 0 h 94"/>
                  <a:gd name="T14" fmla="*/ 396 w 396"/>
                  <a:gd name="T15" fmla="*/ 12 h 94"/>
                  <a:gd name="T16" fmla="*/ 396 w 396"/>
                  <a:gd name="T17" fmla="*/ 83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6" h="94">
                    <a:moveTo>
                      <a:pt x="396" y="83"/>
                    </a:moveTo>
                    <a:cubicBezTo>
                      <a:pt x="396" y="89"/>
                      <a:pt x="391" y="94"/>
                      <a:pt x="385" y="94"/>
                    </a:cubicBezTo>
                    <a:cubicBezTo>
                      <a:pt x="12" y="94"/>
                      <a:pt x="12" y="94"/>
                      <a:pt x="12" y="94"/>
                    </a:cubicBezTo>
                    <a:cubicBezTo>
                      <a:pt x="6" y="94"/>
                      <a:pt x="0" y="89"/>
                      <a:pt x="0" y="83"/>
                    </a:cubicBezTo>
                    <a:cubicBezTo>
                      <a:pt x="0" y="12"/>
                      <a:pt x="0" y="12"/>
                      <a:pt x="0" y="12"/>
                    </a:cubicBezTo>
                    <a:cubicBezTo>
                      <a:pt x="0" y="5"/>
                      <a:pt x="6" y="0"/>
                      <a:pt x="12" y="0"/>
                    </a:cubicBezTo>
                    <a:cubicBezTo>
                      <a:pt x="385" y="0"/>
                      <a:pt x="385" y="0"/>
                      <a:pt x="385" y="0"/>
                    </a:cubicBezTo>
                    <a:cubicBezTo>
                      <a:pt x="391" y="0"/>
                      <a:pt x="396" y="5"/>
                      <a:pt x="396" y="12"/>
                    </a:cubicBezTo>
                    <a:lnTo>
                      <a:pt x="396" y="83"/>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573" name="Oval 1357"/>
              <p:cNvSpPr>
                <a:spLocks noChangeArrowheads="1"/>
              </p:cNvSpPr>
              <p:nvPr/>
            </p:nvSpPr>
            <p:spPr bwMode="auto">
              <a:xfrm>
                <a:off x="14562138" y="3829050"/>
                <a:ext cx="38100" cy="3651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574" name="Freeform 1358"/>
              <p:cNvSpPr>
                <a:spLocks/>
              </p:cNvSpPr>
              <p:nvPr/>
            </p:nvSpPr>
            <p:spPr bwMode="auto">
              <a:xfrm>
                <a:off x="14216063" y="3956050"/>
                <a:ext cx="485775" cy="115888"/>
              </a:xfrm>
              <a:custGeom>
                <a:avLst/>
                <a:gdLst>
                  <a:gd name="T0" fmla="*/ 396 w 396"/>
                  <a:gd name="T1" fmla="*/ 83 h 94"/>
                  <a:gd name="T2" fmla="*/ 385 w 396"/>
                  <a:gd name="T3" fmla="*/ 94 h 94"/>
                  <a:gd name="T4" fmla="*/ 12 w 396"/>
                  <a:gd name="T5" fmla="*/ 94 h 94"/>
                  <a:gd name="T6" fmla="*/ 0 w 396"/>
                  <a:gd name="T7" fmla="*/ 83 h 94"/>
                  <a:gd name="T8" fmla="*/ 0 w 396"/>
                  <a:gd name="T9" fmla="*/ 12 h 94"/>
                  <a:gd name="T10" fmla="*/ 12 w 396"/>
                  <a:gd name="T11" fmla="*/ 0 h 94"/>
                  <a:gd name="T12" fmla="*/ 385 w 396"/>
                  <a:gd name="T13" fmla="*/ 0 h 94"/>
                  <a:gd name="T14" fmla="*/ 396 w 396"/>
                  <a:gd name="T15" fmla="*/ 12 h 94"/>
                  <a:gd name="T16" fmla="*/ 396 w 396"/>
                  <a:gd name="T17" fmla="*/ 83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6" h="94">
                    <a:moveTo>
                      <a:pt x="396" y="83"/>
                    </a:moveTo>
                    <a:cubicBezTo>
                      <a:pt x="396" y="89"/>
                      <a:pt x="391" y="94"/>
                      <a:pt x="385" y="94"/>
                    </a:cubicBezTo>
                    <a:cubicBezTo>
                      <a:pt x="12" y="94"/>
                      <a:pt x="12" y="94"/>
                      <a:pt x="12" y="94"/>
                    </a:cubicBezTo>
                    <a:cubicBezTo>
                      <a:pt x="6" y="94"/>
                      <a:pt x="0" y="89"/>
                      <a:pt x="0" y="83"/>
                    </a:cubicBezTo>
                    <a:cubicBezTo>
                      <a:pt x="0" y="12"/>
                      <a:pt x="0" y="12"/>
                      <a:pt x="0" y="12"/>
                    </a:cubicBezTo>
                    <a:cubicBezTo>
                      <a:pt x="0" y="5"/>
                      <a:pt x="6" y="0"/>
                      <a:pt x="12" y="0"/>
                    </a:cubicBezTo>
                    <a:cubicBezTo>
                      <a:pt x="385" y="0"/>
                      <a:pt x="385" y="0"/>
                      <a:pt x="385" y="0"/>
                    </a:cubicBezTo>
                    <a:cubicBezTo>
                      <a:pt x="391" y="0"/>
                      <a:pt x="396" y="5"/>
                      <a:pt x="396" y="12"/>
                    </a:cubicBezTo>
                    <a:lnTo>
                      <a:pt x="396" y="83"/>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575" name="Oval 1359"/>
              <p:cNvSpPr>
                <a:spLocks noChangeArrowheads="1"/>
              </p:cNvSpPr>
              <p:nvPr/>
            </p:nvSpPr>
            <p:spPr bwMode="auto">
              <a:xfrm>
                <a:off x="14562138" y="3995738"/>
                <a:ext cx="38100" cy="3651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576" name="Freeform 1360"/>
              <p:cNvSpPr>
                <a:spLocks/>
              </p:cNvSpPr>
              <p:nvPr/>
            </p:nvSpPr>
            <p:spPr bwMode="auto">
              <a:xfrm>
                <a:off x="14216063" y="4124325"/>
                <a:ext cx="485775" cy="114300"/>
              </a:xfrm>
              <a:custGeom>
                <a:avLst/>
                <a:gdLst>
                  <a:gd name="T0" fmla="*/ 396 w 396"/>
                  <a:gd name="T1" fmla="*/ 82 h 94"/>
                  <a:gd name="T2" fmla="*/ 385 w 396"/>
                  <a:gd name="T3" fmla="*/ 94 h 94"/>
                  <a:gd name="T4" fmla="*/ 12 w 396"/>
                  <a:gd name="T5" fmla="*/ 94 h 94"/>
                  <a:gd name="T6" fmla="*/ 0 w 396"/>
                  <a:gd name="T7" fmla="*/ 82 h 94"/>
                  <a:gd name="T8" fmla="*/ 0 w 396"/>
                  <a:gd name="T9" fmla="*/ 11 h 94"/>
                  <a:gd name="T10" fmla="*/ 12 w 396"/>
                  <a:gd name="T11" fmla="*/ 0 h 94"/>
                  <a:gd name="T12" fmla="*/ 385 w 396"/>
                  <a:gd name="T13" fmla="*/ 0 h 94"/>
                  <a:gd name="T14" fmla="*/ 396 w 396"/>
                  <a:gd name="T15" fmla="*/ 11 h 94"/>
                  <a:gd name="T16" fmla="*/ 396 w 396"/>
                  <a:gd name="T17" fmla="*/ 82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6" h="94">
                    <a:moveTo>
                      <a:pt x="396" y="82"/>
                    </a:moveTo>
                    <a:cubicBezTo>
                      <a:pt x="396" y="89"/>
                      <a:pt x="391" y="94"/>
                      <a:pt x="385" y="94"/>
                    </a:cubicBezTo>
                    <a:cubicBezTo>
                      <a:pt x="12" y="94"/>
                      <a:pt x="12" y="94"/>
                      <a:pt x="12" y="94"/>
                    </a:cubicBezTo>
                    <a:cubicBezTo>
                      <a:pt x="6" y="94"/>
                      <a:pt x="0" y="89"/>
                      <a:pt x="0" y="82"/>
                    </a:cubicBezTo>
                    <a:cubicBezTo>
                      <a:pt x="0" y="11"/>
                      <a:pt x="0" y="11"/>
                      <a:pt x="0" y="11"/>
                    </a:cubicBezTo>
                    <a:cubicBezTo>
                      <a:pt x="0" y="5"/>
                      <a:pt x="6" y="0"/>
                      <a:pt x="12" y="0"/>
                    </a:cubicBezTo>
                    <a:cubicBezTo>
                      <a:pt x="385" y="0"/>
                      <a:pt x="385" y="0"/>
                      <a:pt x="385" y="0"/>
                    </a:cubicBezTo>
                    <a:cubicBezTo>
                      <a:pt x="391" y="0"/>
                      <a:pt x="396" y="5"/>
                      <a:pt x="396" y="11"/>
                    </a:cubicBezTo>
                    <a:lnTo>
                      <a:pt x="396" y="82"/>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577" name="Oval 1361"/>
              <p:cNvSpPr>
                <a:spLocks noChangeArrowheads="1"/>
              </p:cNvSpPr>
              <p:nvPr/>
            </p:nvSpPr>
            <p:spPr bwMode="auto">
              <a:xfrm>
                <a:off x="14562138" y="4162425"/>
                <a:ext cx="38100" cy="3651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578" name="Freeform 1362"/>
              <p:cNvSpPr>
                <a:spLocks/>
              </p:cNvSpPr>
              <p:nvPr/>
            </p:nvSpPr>
            <p:spPr bwMode="auto">
              <a:xfrm>
                <a:off x="14216063" y="4291013"/>
                <a:ext cx="485775" cy="114300"/>
              </a:xfrm>
              <a:custGeom>
                <a:avLst/>
                <a:gdLst>
                  <a:gd name="T0" fmla="*/ 396 w 396"/>
                  <a:gd name="T1" fmla="*/ 82 h 94"/>
                  <a:gd name="T2" fmla="*/ 385 w 396"/>
                  <a:gd name="T3" fmla="*/ 94 h 94"/>
                  <a:gd name="T4" fmla="*/ 12 w 396"/>
                  <a:gd name="T5" fmla="*/ 94 h 94"/>
                  <a:gd name="T6" fmla="*/ 0 w 396"/>
                  <a:gd name="T7" fmla="*/ 82 h 94"/>
                  <a:gd name="T8" fmla="*/ 0 w 396"/>
                  <a:gd name="T9" fmla="*/ 11 h 94"/>
                  <a:gd name="T10" fmla="*/ 12 w 396"/>
                  <a:gd name="T11" fmla="*/ 0 h 94"/>
                  <a:gd name="T12" fmla="*/ 385 w 396"/>
                  <a:gd name="T13" fmla="*/ 0 h 94"/>
                  <a:gd name="T14" fmla="*/ 396 w 396"/>
                  <a:gd name="T15" fmla="*/ 11 h 94"/>
                  <a:gd name="T16" fmla="*/ 396 w 396"/>
                  <a:gd name="T17" fmla="*/ 82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6" h="94">
                    <a:moveTo>
                      <a:pt x="396" y="82"/>
                    </a:moveTo>
                    <a:cubicBezTo>
                      <a:pt x="396" y="89"/>
                      <a:pt x="391" y="94"/>
                      <a:pt x="385" y="94"/>
                    </a:cubicBezTo>
                    <a:cubicBezTo>
                      <a:pt x="12" y="94"/>
                      <a:pt x="12" y="94"/>
                      <a:pt x="12" y="94"/>
                    </a:cubicBezTo>
                    <a:cubicBezTo>
                      <a:pt x="6" y="94"/>
                      <a:pt x="0" y="89"/>
                      <a:pt x="0" y="82"/>
                    </a:cubicBezTo>
                    <a:cubicBezTo>
                      <a:pt x="0" y="11"/>
                      <a:pt x="0" y="11"/>
                      <a:pt x="0" y="11"/>
                    </a:cubicBezTo>
                    <a:cubicBezTo>
                      <a:pt x="0" y="5"/>
                      <a:pt x="6" y="0"/>
                      <a:pt x="12" y="0"/>
                    </a:cubicBezTo>
                    <a:cubicBezTo>
                      <a:pt x="385" y="0"/>
                      <a:pt x="385" y="0"/>
                      <a:pt x="385" y="0"/>
                    </a:cubicBezTo>
                    <a:cubicBezTo>
                      <a:pt x="391" y="0"/>
                      <a:pt x="396" y="5"/>
                      <a:pt x="396" y="11"/>
                    </a:cubicBezTo>
                    <a:lnTo>
                      <a:pt x="396" y="82"/>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579" name="Oval 1363"/>
              <p:cNvSpPr>
                <a:spLocks noChangeArrowheads="1"/>
              </p:cNvSpPr>
              <p:nvPr/>
            </p:nvSpPr>
            <p:spPr bwMode="auto">
              <a:xfrm>
                <a:off x="14562138" y="4329113"/>
                <a:ext cx="38100" cy="3651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580" name="Freeform 1364"/>
              <p:cNvSpPr>
                <a:spLocks/>
              </p:cNvSpPr>
              <p:nvPr/>
            </p:nvSpPr>
            <p:spPr bwMode="auto">
              <a:xfrm>
                <a:off x="14216063" y="4457700"/>
                <a:ext cx="485775" cy="114300"/>
              </a:xfrm>
              <a:custGeom>
                <a:avLst/>
                <a:gdLst>
                  <a:gd name="T0" fmla="*/ 396 w 396"/>
                  <a:gd name="T1" fmla="*/ 82 h 94"/>
                  <a:gd name="T2" fmla="*/ 385 w 396"/>
                  <a:gd name="T3" fmla="*/ 94 h 94"/>
                  <a:gd name="T4" fmla="*/ 12 w 396"/>
                  <a:gd name="T5" fmla="*/ 94 h 94"/>
                  <a:gd name="T6" fmla="*/ 0 w 396"/>
                  <a:gd name="T7" fmla="*/ 82 h 94"/>
                  <a:gd name="T8" fmla="*/ 0 w 396"/>
                  <a:gd name="T9" fmla="*/ 11 h 94"/>
                  <a:gd name="T10" fmla="*/ 12 w 396"/>
                  <a:gd name="T11" fmla="*/ 0 h 94"/>
                  <a:gd name="T12" fmla="*/ 385 w 396"/>
                  <a:gd name="T13" fmla="*/ 0 h 94"/>
                  <a:gd name="T14" fmla="*/ 396 w 396"/>
                  <a:gd name="T15" fmla="*/ 11 h 94"/>
                  <a:gd name="T16" fmla="*/ 396 w 396"/>
                  <a:gd name="T17" fmla="*/ 82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6" h="94">
                    <a:moveTo>
                      <a:pt x="396" y="82"/>
                    </a:moveTo>
                    <a:cubicBezTo>
                      <a:pt x="396" y="89"/>
                      <a:pt x="391" y="94"/>
                      <a:pt x="385" y="94"/>
                    </a:cubicBezTo>
                    <a:cubicBezTo>
                      <a:pt x="12" y="94"/>
                      <a:pt x="12" y="94"/>
                      <a:pt x="12" y="94"/>
                    </a:cubicBezTo>
                    <a:cubicBezTo>
                      <a:pt x="6" y="94"/>
                      <a:pt x="0" y="89"/>
                      <a:pt x="0" y="82"/>
                    </a:cubicBezTo>
                    <a:cubicBezTo>
                      <a:pt x="0" y="11"/>
                      <a:pt x="0" y="11"/>
                      <a:pt x="0" y="11"/>
                    </a:cubicBezTo>
                    <a:cubicBezTo>
                      <a:pt x="0" y="5"/>
                      <a:pt x="6" y="0"/>
                      <a:pt x="12" y="0"/>
                    </a:cubicBezTo>
                    <a:cubicBezTo>
                      <a:pt x="385" y="0"/>
                      <a:pt x="385" y="0"/>
                      <a:pt x="385" y="0"/>
                    </a:cubicBezTo>
                    <a:cubicBezTo>
                      <a:pt x="391" y="0"/>
                      <a:pt x="396" y="5"/>
                      <a:pt x="396" y="11"/>
                    </a:cubicBezTo>
                    <a:lnTo>
                      <a:pt x="396" y="82"/>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581" name="Oval 1365"/>
              <p:cNvSpPr>
                <a:spLocks noChangeArrowheads="1"/>
              </p:cNvSpPr>
              <p:nvPr/>
            </p:nvSpPr>
            <p:spPr bwMode="auto">
              <a:xfrm>
                <a:off x="14562138" y="4495800"/>
                <a:ext cx="38100" cy="3810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582" name="Freeform 1366"/>
              <p:cNvSpPr>
                <a:spLocks/>
              </p:cNvSpPr>
              <p:nvPr/>
            </p:nvSpPr>
            <p:spPr bwMode="auto">
              <a:xfrm>
                <a:off x="14216063" y="4624388"/>
                <a:ext cx="485775" cy="114300"/>
              </a:xfrm>
              <a:custGeom>
                <a:avLst/>
                <a:gdLst>
                  <a:gd name="T0" fmla="*/ 396 w 396"/>
                  <a:gd name="T1" fmla="*/ 82 h 94"/>
                  <a:gd name="T2" fmla="*/ 385 w 396"/>
                  <a:gd name="T3" fmla="*/ 94 h 94"/>
                  <a:gd name="T4" fmla="*/ 12 w 396"/>
                  <a:gd name="T5" fmla="*/ 94 h 94"/>
                  <a:gd name="T6" fmla="*/ 0 w 396"/>
                  <a:gd name="T7" fmla="*/ 82 h 94"/>
                  <a:gd name="T8" fmla="*/ 0 w 396"/>
                  <a:gd name="T9" fmla="*/ 11 h 94"/>
                  <a:gd name="T10" fmla="*/ 12 w 396"/>
                  <a:gd name="T11" fmla="*/ 0 h 94"/>
                  <a:gd name="T12" fmla="*/ 385 w 396"/>
                  <a:gd name="T13" fmla="*/ 0 h 94"/>
                  <a:gd name="T14" fmla="*/ 396 w 396"/>
                  <a:gd name="T15" fmla="*/ 11 h 94"/>
                  <a:gd name="T16" fmla="*/ 396 w 396"/>
                  <a:gd name="T17" fmla="*/ 82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6" h="94">
                    <a:moveTo>
                      <a:pt x="396" y="82"/>
                    </a:moveTo>
                    <a:cubicBezTo>
                      <a:pt x="396" y="89"/>
                      <a:pt x="391" y="94"/>
                      <a:pt x="385" y="94"/>
                    </a:cubicBezTo>
                    <a:cubicBezTo>
                      <a:pt x="12" y="94"/>
                      <a:pt x="12" y="94"/>
                      <a:pt x="12" y="94"/>
                    </a:cubicBezTo>
                    <a:cubicBezTo>
                      <a:pt x="6" y="94"/>
                      <a:pt x="0" y="89"/>
                      <a:pt x="0" y="82"/>
                    </a:cubicBezTo>
                    <a:cubicBezTo>
                      <a:pt x="0" y="11"/>
                      <a:pt x="0" y="11"/>
                      <a:pt x="0" y="11"/>
                    </a:cubicBezTo>
                    <a:cubicBezTo>
                      <a:pt x="0" y="5"/>
                      <a:pt x="6" y="0"/>
                      <a:pt x="12" y="0"/>
                    </a:cubicBezTo>
                    <a:cubicBezTo>
                      <a:pt x="385" y="0"/>
                      <a:pt x="385" y="0"/>
                      <a:pt x="385" y="0"/>
                    </a:cubicBezTo>
                    <a:cubicBezTo>
                      <a:pt x="391" y="0"/>
                      <a:pt x="396" y="5"/>
                      <a:pt x="396" y="11"/>
                    </a:cubicBezTo>
                    <a:lnTo>
                      <a:pt x="396" y="82"/>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583" name="Rectangle 1367"/>
              <p:cNvSpPr>
                <a:spLocks noChangeArrowheads="1"/>
              </p:cNvSpPr>
              <p:nvPr/>
            </p:nvSpPr>
            <p:spPr bwMode="auto">
              <a:xfrm>
                <a:off x="14250988" y="3479800"/>
                <a:ext cx="22225"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584" name="Rectangle 1368"/>
              <p:cNvSpPr>
                <a:spLocks noChangeArrowheads="1"/>
              </p:cNvSpPr>
              <p:nvPr/>
            </p:nvSpPr>
            <p:spPr bwMode="auto">
              <a:xfrm>
                <a:off x="14285913" y="3479800"/>
                <a:ext cx="23813"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585" name="Rectangle 1369"/>
              <p:cNvSpPr>
                <a:spLocks noChangeArrowheads="1"/>
              </p:cNvSpPr>
              <p:nvPr/>
            </p:nvSpPr>
            <p:spPr bwMode="auto">
              <a:xfrm>
                <a:off x="14320838" y="3479800"/>
                <a:ext cx="23813"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586" name="Rectangle 1370"/>
              <p:cNvSpPr>
                <a:spLocks noChangeArrowheads="1"/>
              </p:cNvSpPr>
              <p:nvPr/>
            </p:nvSpPr>
            <p:spPr bwMode="auto">
              <a:xfrm>
                <a:off x="14357351" y="3479800"/>
                <a:ext cx="22225"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587" name="Rectangle 1371"/>
              <p:cNvSpPr>
                <a:spLocks noChangeArrowheads="1"/>
              </p:cNvSpPr>
              <p:nvPr/>
            </p:nvSpPr>
            <p:spPr bwMode="auto">
              <a:xfrm>
                <a:off x="14393863" y="3479800"/>
                <a:ext cx="22225"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588" name="Rectangle 1372"/>
              <p:cNvSpPr>
                <a:spLocks noChangeArrowheads="1"/>
              </p:cNvSpPr>
              <p:nvPr/>
            </p:nvSpPr>
            <p:spPr bwMode="auto">
              <a:xfrm>
                <a:off x="14250988" y="3646488"/>
                <a:ext cx="22225" cy="68263"/>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589" name="Rectangle 1373"/>
              <p:cNvSpPr>
                <a:spLocks noChangeArrowheads="1"/>
              </p:cNvSpPr>
              <p:nvPr/>
            </p:nvSpPr>
            <p:spPr bwMode="auto">
              <a:xfrm>
                <a:off x="14285913" y="3646488"/>
                <a:ext cx="23813" cy="68263"/>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590" name="Rectangle 1374"/>
              <p:cNvSpPr>
                <a:spLocks noChangeArrowheads="1"/>
              </p:cNvSpPr>
              <p:nvPr/>
            </p:nvSpPr>
            <p:spPr bwMode="auto">
              <a:xfrm>
                <a:off x="14320838" y="3646488"/>
                <a:ext cx="23813" cy="68263"/>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591" name="Rectangle 1375"/>
              <p:cNvSpPr>
                <a:spLocks noChangeArrowheads="1"/>
              </p:cNvSpPr>
              <p:nvPr/>
            </p:nvSpPr>
            <p:spPr bwMode="auto">
              <a:xfrm>
                <a:off x="14357351" y="3646488"/>
                <a:ext cx="22225" cy="68263"/>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592" name="Rectangle 1376"/>
              <p:cNvSpPr>
                <a:spLocks noChangeArrowheads="1"/>
              </p:cNvSpPr>
              <p:nvPr/>
            </p:nvSpPr>
            <p:spPr bwMode="auto">
              <a:xfrm>
                <a:off x="14393863" y="3646488"/>
                <a:ext cx="22225" cy="68263"/>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593" name="Rectangle 1377"/>
              <p:cNvSpPr>
                <a:spLocks noChangeArrowheads="1"/>
              </p:cNvSpPr>
              <p:nvPr/>
            </p:nvSpPr>
            <p:spPr bwMode="auto">
              <a:xfrm>
                <a:off x="14250988" y="3814763"/>
                <a:ext cx="22225"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594" name="Rectangle 1378"/>
              <p:cNvSpPr>
                <a:spLocks noChangeArrowheads="1"/>
              </p:cNvSpPr>
              <p:nvPr/>
            </p:nvSpPr>
            <p:spPr bwMode="auto">
              <a:xfrm>
                <a:off x="14285913" y="3814763"/>
                <a:ext cx="23813"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595" name="Rectangle 1379"/>
              <p:cNvSpPr>
                <a:spLocks noChangeArrowheads="1"/>
              </p:cNvSpPr>
              <p:nvPr/>
            </p:nvSpPr>
            <p:spPr bwMode="auto">
              <a:xfrm>
                <a:off x="14320838" y="3814763"/>
                <a:ext cx="23813"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596" name="Rectangle 1380"/>
              <p:cNvSpPr>
                <a:spLocks noChangeArrowheads="1"/>
              </p:cNvSpPr>
              <p:nvPr/>
            </p:nvSpPr>
            <p:spPr bwMode="auto">
              <a:xfrm>
                <a:off x="14357351" y="3814763"/>
                <a:ext cx="22225"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597" name="Rectangle 1381"/>
              <p:cNvSpPr>
                <a:spLocks noChangeArrowheads="1"/>
              </p:cNvSpPr>
              <p:nvPr/>
            </p:nvSpPr>
            <p:spPr bwMode="auto">
              <a:xfrm>
                <a:off x="14393863" y="3814763"/>
                <a:ext cx="22225"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598" name="Rectangle 1382"/>
              <p:cNvSpPr>
                <a:spLocks noChangeArrowheads="1"/>
              </p:cNvSpPr>
              <p:nvPr/>
            </p:nvSpPr>
            <p:spPr bwMode="auto">
              <a:xfrm>
                <a:off x="14250988" y="3981450"/>
                <a:ext cx="22225" cy="6508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599" name="Rectangle 1383"/>
              <p:cNvSpPr>
                <a:spLocks noChangeArrowheads="1"/>
              </p:cNvSpPr>
              <p:nvPr/>
            </p:nvSpPr>
            <p:spPr bwMode="auto">
              <a:xfrm>
                <a:off x="14285913" y="3981450"/>
                <a:ext cx="23813" cy="6508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600" name="Rectangle 1384"/>
              <p:cNvSpPr>
                <a:spLocks noChangeArrowheads="1"/>
              </p:cNvSpPr>
              <p:nvPr/>
            </p:nvSpPr>
            <p:spPr bwMode="auto">
              <a:xfrm>
                <a:off x="14320838" y="3981450"/>
                <a:ext cx="23813" cy="6508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601" name="Rectangle 1385"/>
              <p:cNvSpPr>
                <a:spLocks noChangeArrowheads="1"/>
              </p:cNvSpPr>
              <p:nvPr/>
            </p:nvSpPr>
            <p:spPr bwMode="auto">
              <a:xfrm>
                <a:off x="14357351" y="3981450"/>
                <a:ext cx="22225" cy="6508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602" name="Rectangle 1386"/>
              <p:cNvSpPr>
                <a:spLocks noChangeArrowheads="1"/>
              </p:cNvSpPr>
              <p:nvPr/>
            </p:nvSpPr>
            <p:spPr bwMode="auto">
              <a:xfrm>
                <a:off x="14393863" y="3981450"/>
                <a:ext cx="22225" cy="6508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603" name="Rectangle 1387"/>
              <p:cNvSpPr>
                <a:spLocks noChangeArrowheads="1"/>
              </p:cNvSpPr>
              <p:nvPr/>
            </p:nvSpPr>
            <p:spPr bwMode="auto">
              <a:xfrm>
                <a:off x="14250988" y="4148138"/>
                <a:ext cx="22225" cy="6508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604" name="Rectangle 1388"/>
              <p:cNvSpPr>
                <a:spLocks noChangeArrowheads="1"/>
              </p:cNvSpPr>
              <p:nvPr/>
            </p:nvSpPr>
            <p:spPr bwMode="auto">
              <a:xfrm>
                <a:off x="14285913" y="4148138"/>
                <a:ext cx="23813" cy="6508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605" name="Rectangle 1389"/>
              <p:cNvSpPr>
                <a:spLocks noChangeArrowheads="1"/>
              </p:cNvSpPr>
              <p:nvPr/>
            </p:nvSpPr>
            <p:spPr bwMode="auto">
              <a:xfrm>
                <a:off x="14320838" y="4148138"/>
                <a:ext cx="23813" cy="6508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606" name="Rectangle 1390"/>
              <p:cNvSpPr>
                <a:spLocks noChangeArrowheads="1"/>
              </p:cNvSpPr>
              <p:nvPr/>
            </p:nvSpPr>
            <p:spPr bwMode="auto">
              <a:xfrm>
                <a:off x="14357351" y="4148138"/>
                <a:ext cx="22225" cy="6508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607" name="Rectangle 1391"/>
              <p:cNvSpPr>
                <a:spLocks noChangeArrowheads="1"/>
              </p:cNvSpPr>
              <p:nvPr/>
            </p:nvSpPr>
            <p:spPr bwMode="auto">
              <a:xfrm>
                <a:off x="14393863" y="4148138"/>
                <a:ext cx="22225" cy="6508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608" name="Rectangle 1392"/>
              <p:cNvSpPr>
                <a:spLocks noChangeArrowheads="1"/>
              </p:cNvSpPr>
              <p:nvPr/>
            </p:nvSpPr>
            <p:spPr bwMode="auto">
              <a:xfrm>
                <a:off x="14250988" y="4313238"/>
                <a:ext cx="22225" cy="68263"/>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609" name="Rectangle 1393"/>
              <p:cNvSpPr>
                <a:spLocks noChangeArrowheads="1"/>
              </p:cNvSpPr>
              <p:nvPr/>
            </p:nvSpPr>
            <p:spPr bwMode="auto">
              <a:xfrm>
                <a:off x="14285913" y="4313238"/>
                <a:ext cx="23813" cy="68263"/>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610" name="Rectangle 1394"/>
              <p:cNvSpPr>
                <a:spLocks noChangeArrowheads="1"/>
              </p:cNvSpPr>
              <p:nvPr/>
            </p:nvSpPr>
            <p:spPr bwMode="auto">
              <a:xfrm>
                <a:off x="14320838" y="4313238"/>
                <a:ext cx="23813" cy="68263"/>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611" name="Rectangle 1395"/>
              <p:cNvSpPr>
                <a:spLocks noChangeArrowheads="1"/>
              </p:cNvSpPr>
              <p:nvPr/>
            </p:nvSpPr>
            <p:spPr bwMode="auto">
              <a:xfrm>
                <a:off x="14357351" y="4313238"/>
                <a:ext cx="22225" cy="68263"/>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612" name="Rectangle 1396"/>
              <p:cNvSpPr>
                <a:spLocks noChangeArrowheads="1"/>
              </p:cNvSpPr>
              <p:nvPr/>
            </p:nvSpPr>
            <p:spPr bwMode="auto">
              <a:xfrm>
                <a:off x="14393863" y="4313238"/>
                <a:ext cx="22225" cy="68263"/>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613" name="Rectangle 1397"/>
              <p:cNvSpPr>
                <a:spLocks noChangeArrowheads="1"/>
              </p:cNvSpPr>
              <p:nvPr/>
            </p:nvSpPr>
            <p:spPr bwMode="auto">
              <a:xfrm>
                <a:off x="14250988" y="4481513"/>
                <a:ext cx="22225"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614" name="Rectangle 1398"/>
              <p:cNvSpPr>
                <a:spLocks noChangeArrowheads="1"/>
              </p:cNvSpPr>
              <p:nvPr/>
            </p:nvSpPr>
            <p:spPr bwMode="auto">
              <a:xfrm>
                <a:off x="14285913" y="4481513"/>
                <a:ext cx="23813"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615" name="Rectangle 1399"/>
              <p:cNvSpPr>
                <a:spLocks noChangeArrowheads="1"/>
              </p:cNvSpPr>
              <p:nvPr/>
            </p:nvSpPr>
            <p:spPr bwMode="auto">
              <a:xfrm>
                <a:off x="14320838" y="4481513"/>
                <a:ext cx="23813"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616" name="Rectangle 1400"/>
              <p:cNvSpPr>
                <a:spLocks noChangeArrowheads="1"/>
              </p:cNvSpPr>
              <p:nvPr/>
            </p:nvSpPr>
            <p:spPr bwMode="auto">
              <a:xfrm>
                <a:off x="14357351" y="4481513"/>
                <a:ext cx="22225"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617" name="Rectangle 1401"/>
              <p:cNvSpPr>
                <a:spLocks noChangeArrowheads="1"/>
              </p:cNvSpPr>
              <p:nvPr/>
            </p:nvSpPr>
            <p:spPr bwMode="auto">
              <a:xfrm>
                <a:off x="14393863" y="4481513"/>
                <a:ext cx="22225"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618" name="Rectangle 1402"/>
              <p:cNvSpPr>
                <a:spLocks noChangeArrowheads="1"/>
              </p:cNvSpPr>
              <p:nvPr/>
            </p:nvSpPr>
            <p:spPr bwMode="auto">
              <a:xfrm>
                <a:off x="14250988" y="4648200"/>
                <a:ext cx="22225"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619" name="Rectangle 1403"/>
              <p:cNvSpPr>
                <a:spLocks noChangeArrowheads="1"/>
              </p:cNvSpPr>
              <p:nvPr/>
            </p:nvSpPr>
            <p:spPr bwMode="auto">
              <a:xfrm>
                <a:off x="14285913" y="4648200"/>
                <a:ext cx="23813"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620" name="Rectangle 1404"/>
              <p:cNvSpPr>
                <a:spLocks noChangeArrowheads="1"/>
              </p:cNvSpPr>
              <p:nvPr/>
            </p:nvSpPr>
            <p:spPr bwMode="auto">
              <a:xfrm>
                <a:off x="14320838" y="4648200"/>
                <a:ext cx="23813"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621" name="Rectangle 1405"/>
              <p:cNvSpPr>
                <a:spLocks noChangeArrowheads="1"/>
              </p:cNvSpPr>
              <p:nvPr/>
            </p:nvSpPr>
            <p:spPr bwMode="auto">
              <a:xfrm>
                <a:off x="14357351" y="4648200"/>
                <a:ext cx="22225"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622" name="Rectangle 1406"/>
              <p:cNvSpPr>
                <a:spLocks noChangeArrowheads="1"/>
              </p:cNvSpPr>
              <p:nvPr/>
            </p:nvSpPr>
            <p:spPr bwMode="auto">
              <a:xfrm>
                <a:off x="14393863" y="4648200"/>
                <a:ext cx="22225"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623" name="Oval 1407"/>
              <p:cNvSpPr>
                <a:spLocks noChangeArrowheads="1"/>
              </p:cNvSpPr>
              <p:nvPr/>
            </p:nvSpPr>
            <p:spPr bwMode="auto">
              <a:xfrm>
                <a:off x="14562138" y="4664075"/>
                <a:ext cx="38100" cy="3651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624" name="Oval 1408"/>
              <p:cNvSpPr>
                <a:spLocks noChangeArrowheads="1"/>
              </p:cNvSpPr>
              <p:nvPr/>
            </p:nvSpPr>
            <p:spPr bwMode="auto">
              <a:xfrm>
                <a:off x="14630401" y="3494088"/>
                <a:ext cx="38100" cy="38100"/>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625" name="Oval 1409"/>
              <p:cNvSpPr>
                <a:spLocks noChangeArrowheads="1"/>
              </p:cNvSpPr>
              <p:nvPr/>
            </p:nvSpPr>
            <p:spPr bwMode="auto">
              <a:xfrm>
                <a:off x="14630401" y="3662363"/>
                <a:ext cx="38100" cy="36513"/>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626" name="Oval 1410"/>
              <p:cNvSpPr>
                <a:spLocks noChangeArrowheads="1"/>
              </p:cNvSpPr>
              <p:nvPr/>
            </p:nvSpPr>
            <p:spPr bwMode="auto">
              <a:xfrm>
                <a:off x="14630401" y="3829050"/>
                <a:ext cx="38100" cy="36513"/>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627" name="Oval 1411"/>
              <p:cNvSpPr>
                <a:spLocks noChangeArrowheads="1"/>
              </p:cNvSpPr>
              <p:nvPr/>
            </p:nvSpPr>
            <p:spPr bwMode="auto">
              <a:xfrm>
                <a:off x="14630401" y="3995738"/>
                <a:ext cx="38100" cy="36513"/>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628" name="Oval 1412"/>
              <p:cNvSpPr>
                <a:spLocks noChangeArrowheads="1"/>
              </p:cNvSpPr>
              <p:nvPr/>
            </p:nvSpPr>
            <p:spPr bwMode="auto">
              <a:xfrm>
                <a:off x="14630401" y="4162425"/>
                <a:ext cx="38100" cy="36513"/>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629" name="Oval 1413"/>
              <p:cNvSpPr>
                <a:spLocks noChangeArrowheads="1"/>
              </p:cNvSpPr>
              <p:nvPr/>
            </p:nvSpPr>
            <p:spPr bwMode="auto">
              <a:xfrm>
                <a:off x="14630401" y="4329113"/>
                <a:ext cx="38100" cy="36513"/>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630" name="Oval 1414"/>
              <p:cNvSpPr>
                <a:spLocks noChangeArrowheads="1"/>
              </p:cNvSpPr>
              <p:nvPr/>
            </p:nvSpPr>
            <p:spPr bwMode="auto">
              <a:xfrm>
                <a:off x="14630401" y="4495800"/>
                <a:ext cx="38100" cy="38100"/>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631" name="Oval 1415"/>
              <p:cNvSpPr>
                <a:spLocks noChangeArrowheads="1"/>
              </p:cNvSpPr>
              <p:nvPr/>
            </p:nvSpPr>
            <p:spPr bwMode="auto">
              <a:xfrm>
                <a:off x="14630401" y="4664075"/>
                <a:ext cx="38100" cy="36513"/>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grpSp>
      <p:sp>
        <p:nvSpPr>
          <p:cNvPr id="1476" name="Trapezoid 1475"/>
          <p:cNvSpPr/>
          <p:nvPr/>
        </p:nvSpPr>
        <p:spPr bwMode="auto">
          <a:xfrm rot="2979488">
            <a:off x="10702294" y="2308459"/>
            <a:ext cx="718457" cy="1172555"/>
          </a:xfrm>
          <a:prstGeom prst="trapezoid">
            <a:avLst>
              <a:gd name="adj" fmla="val 32751"/>
            </a:avLst>
          </a:prstGeom>
          <a:gradFill flip="none" rotWithShape="1">
            <a:gsLst>
              <a:gs pos="2000">
                <a:srgbClr val="FFB900">
                  <a:alpha val="0"/>
                </a:srgbClr>
              </a:gs>
              <a:gs pos="100000">
                <a:srgbClr val="FFB900">
                  <a:alpha val="30000"/>
                </a:srgbClr>
              </a:gs>
            </a:gsLst>
            <a:lin ang="1620000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5439">
                    <a:srgbClr val="F8F8F8"/>
                  </a:gs>
                  <a:gs pos="10000">
                    <a:srgbClr val="F8F8F8"/>
                  </a:gs>
                </a:gsLst>
                <a:lin ang="5400000" scaled="0"/>
              </a:gradFill>
              <a:effectLst/>
              <a:uLnTx/>
              <a:uFillTx/>
            </a:endParaRPr>
          </a:p>
        </p:txBody>
      </p:sp>
      <p:sp>
        <p:nvSpPr>
          <p:cNvPr id="1477" name="Trapezoid 1476"/>
          <p:cNvSpPr/>
          <p:nvPr/>
        </p:nvSpPr>
        <p:spPr bwMode="auto">
          <a:xfrm rot="18620512" flipH="1">
            <a:off x="7726693" y="2308459"/>
            <a:ext cx="718457" cy="1172555"/>
          </a:xfrm>
          <a:prstGeom prst="trapezoid">
            <a:avLst>
              <a:gd name="adj" fmla="val 32751"/>
            </a:avLst>
          </a:prstGeom>
          <a:gradFill flip="none" rotWithShape="1">
            <a:gsLst>
              <a:gs pos="2000">
                <a:srgbClr val="FFB900">
                  <a:alpha val="0"/>
                </a:srgbClr>
              </a:gs>
              <a:gs pos="100000">
                <a:srgbClr val="FFB900">
                  <a:alpha val="30000"/>
                </a:srgbClr>
              </a:gs>
            </a:gsLst>
            <a:lin ang="1620000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5439">
                    <a:srgbClr val="F8F8F8"/>
                  </a:gs>
                  <a:gs pos="10000">
                    <a:srgbClr val="F8F8F8"/>
                  </a:gs>
                </a:gsLst>
                <a:lin ang="5400000" scaled="0"/>
              </a:gradFill>
              <a:effectLst/>
              <a:uLnTx/>
              <a:uFillTx/>
            </a:endParaRPr>
          </a:p>
        </p:txBody>
      </p:sp>
      <p:grpSp>
        <p:nvGrpSpPr>
          <p:cNvPr id="1478" name="Group 1477"/>
          <p:cNvGrpSpPr/>
          <p:nvPr/>
        </p:nvGrpSpPr>
        <p:grpSpPr>
          <a:xfrm>
            <a:off x="10533273" y="1418431"/>
            <a:ext cx="1261600" cy="615951"/>
            <a:chOff x="696687" y="779463"/>
            <a:chExt cx="6244056" cy="3048534"/>
          </a:xfrm>
        </p:grpSpPr>
        <p:sp>
          <p:nvSpPr>
            <p:cNvPr id="1546" name="Freeform 1239"/>
            <p:cNvSpPr>
              <a:spLocks/>
            </p:cNvSpPr>
            <p:nvPr/>
          </p:nvSpPr>
          <p:spPr bwMode="auto">
            <a:xfrm>
              <a:off x="3554360" y="1934449"/>
              <a:ext cx="2891388" cy="1013560"/>
            </a:xfrm>
            <a:custGeom>
              <a:avLst/>
              <a:gdLst>
                <a:gd name="T0" fmla="*/ 0 w 368"/>
                <a:gd name="T1" fmla="*/ 129 h 129"/>
                <a:gd name="T2" fmla="*/ 0 w 368"/>
                <a:gd name="T3" fmla="*/ 0 h 129"/>
                <a:gd name="T4" fmla="*/ 368 w 368"/>
                <a:gd name="T5" fmla="*/ 0 h 129"/>
                <a:gd name="T6" fmla="*/ 368 w 368"/>
                <a:gd name="T7" fmla="*/ 41 h 129"/>
                <a:gd name="T8" fmla="*/ 0 w 368"/>
                <a:gd name="T9" fmla="*/ 129 h 129"/>
              </a:gdLst>
              <a:ahLst/>
              <a:cxnLst>
                <a:cxn ang="0">
                  <a:pos x="T0" y="T1"/>
                </a:cxn>
                <a:cxn ang="0">
                  <a:pos x="T2" y="T3"/>
                </a:cxn>
                <a:cxn ang="0">
                  <a:pos x="T4" y="T5"/>
                </a:cxn>
                <a:cxn ang="0">
                  <a:pos x="T6" y="T7"/>
                </a:cxn>
                <a:cxn ang="0">
                  <a:pos x="T8" y="T9"/>
                </a:cxn>
              </a:cxnLst>
              <a:rect l="0" t="0" r="r" b="b"/>
              <a:pathLst>
                <a:path w="368" h="129">
                  <a:moveTo>
                    <a:pt x="0" y="129"/>
                  </a:moveTo>
                  <a:lnTo>
                    <a:pt x="0" y="0"/>
                  </a:lnTo>
                  <a:lnTo>
                    <a:pt x="368" y="0"/>
                  </a:lnTo>
                  <a:lnTo>
                    <a:pt x="368" y="41"/>
                  </a:lnTo>
                  <a:lnTo>
                    <a:pt x="0" y="129"/>
                  </a:lnTo>
                  <a:close/>
                </a:path>
              </a:pathLst>
            </a:custGeom>
            <a:solidFill>
              <a:srgbClr val="002050"/>
            </a:solid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547" name="Oval 1240"/>
            <p:cNvSpPr>
              <a:spLocks noChangeArrowheads="1"/>
            </p:cNvSpPr>
            <p:nvPr/>
          </p:nvSpPr>
          <p:spPr bwMode="auto">
            <a:xfrm>
              <a:off x="5872187" y="1549452"/>
              <a:ext cx="1068556" cy="1076416"/>
            </a:xfrm>
            <a:prstGeom prst="ellipse">
              <a:avLst/>
            </a:prstGeom>
            <a:solidFill>
              <a:srgbClr val="00BCF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548" name="Freeform 1241"/>
            <p:cNvSpPr>
              <a:spLocks/>
            </p:cNvSpPr>
            <p:nvPr/>
          </p:nvSpPr>
          <p:spPr bwMode="auto">
            <a:xfrm>
              <a:off x="1817959" y="3443000"/>
              <a:ext cx="2671391" cy="384997"/>
            </a:xfrm>
            <a:custGeom>
              <a:avLst/>
              <a:gdLst>
                <a:gd name="T0" fmla="*/ 340 w 340"/>
                <a:gd name="T1" fmla="*/ 0 h 49"/>
                <a:gd name="T2" fmla="*/ 291 w 340"/>
                <a:gd name="T3" fmla="*/ 49 h 49"/>
                <a:gd name="T4" fmla="*/ 48 w 340"/>
                <a:gd name="T5" fmla="*/ 49 h 49"/>
                <a:gd name="T6" fmla="*/ 0 w 340"/>
                <a:gd name="T7" fmla="*/ 0 h 49"/>
              </a:gdLst>
              <a:ahLst/>
              <a:cxnLst>
                <a:cxn ang="0">
                  <a:pos x="T0" y="T1"/>
                </a:cxn>
                <a:cxn ang="0">
                  <a:pos x="T2" y="T3"/>
                </a:cxn>
                <a:cxn ang="0">
                  <a:pos x="T4" y="T5"/>
                </a:cxn>
                <a:cxn ang="0">
                  <a:pos x="T6" y="T7"/>
                </a:cxn>
              </a:cxnLst>
              <a:rect l="0" t="0" r="r" b="b"/>
              <a:pathLst>
                <a:path w="340" h="49">
                  <a:moveTo>
                    <a:pt x="340" y="0"/>
                  </a:moveTo>
                  <a:cubicBezTo>
                    <a:pt x="340" y="27"/>
                    <a:pt x="318" y="49"/>
                    <a:pt x="291" y="49"/>
                  </a:cubicBezTo>
                  <a:cubicBezTo>
                    <a:pt x="48" y="49"/>
                    <a:pt x="48" y="49"/>
                    <a:pt x="48" y="49"/>
                  </a:cubicBezTo>
                  <a:cubicBezTo>
                    <a:pt x="21" y="49"/>
                    <a:pt x="0" y="27"/>
                    <a:pt x="0" y="0"/>
                  </a:cubicBezTo>
                </a:path>
              </a:pathLst>
            </a:custGeom>
            <a:noFill/>
            <a:ln w="23813"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549" name="Freeform: Shape 1548"/>
            <p:cNvSpPr>
              <a:spLocks/>
            </p:cNvSpPr>
            <p:nvPr/>
          </p:nvSpPr>
          <p:spPr bwMode="auto">
            <a:xfrm>
              <a:off x="5872580" y="1877622"/>
              <a:ext cx="510312" cy="206108"/>
            </a:xfrm>
            <a:custGeom>
              <a:avLst/>
              <a:gdLst>
                <a:gd name="connsiteX0" fmla="*/ 41885 w 510312"/>
                <a:gd name="connsiteY0" fmla="*/ 0 h 206108"/>
                <a:gd name="connsiteX1" fmla="*/ 510312 w 510312"/>
                <a:gd name="connsiteY1" fmla="*/ 206108 h 206108"/>
                <a:gd name="connsiteX2" fmla="*/ 0 w 510312"/>
                <a:gd name="connsiteY2" fmla="*/ 206108 h 206108"/>
                <a:gd name="connsiteX3" fmla="*/ 10462 w 510312"/>
                <a:gd name="connsiteY3" fmla="*/ 101570 h 206108"/>
                <a:gd name="connsiteX4" fmla="*/ 41593 w 510312"/>
                <a:gd name="connsiteY4" fmla="*/ 543 h 206108"/>
                <a:gd name="connsiteX5" fmla="*/ 41885 w 510312"/>
                <a:gd name="connsiteY5" fmla="*/ 0 h 2061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10312" h="206108">
                  <a:moveTo>
                    <a:pt x="41885" y="0"/>
                  </a:moveTo>
                  <a:lnTo>
                    <a:pt x="510312" y="206108"/>
                  </a:lnTo>
                  <a:lnTo>
                    <a:pt x="0" y="206108"/>
                  </a:lnTo>
                  <a:lnTo>
                    <a:pt x="10462" y="101570"/>
                  </a:lnTo>
                  <a:cubicBezTo>
                    <a:pt x="17578" y="66534"/>
                    <a:pt x="28075" y="32738"/>
                    <a:pt x="41593" y="543"/>
                  </a:cubicBezTo>
                  <a:lnTo>
                    <a:pt x="41885" y="0"/>
                  </a:lnTo>
                  <a:close/>
                </a:path>
              </a:pathLst>
            </a:custGeom>
            <a:solidFill>
              <a:schemeClr val="bg1"/>
            </a:solidFill>
            <a:ln>
              <a:noFill/>
            </a:ln>
          </p:spPr>
          <p:txBody>
            <a:bodyPr vert="horz" wrap="square" lIns="91440" tIns="45720" rIns="91440" bIns="45720" numCol="1" anchor="t" anchorCtr="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550" name="Freeform: Shape 1549"/>
            <p:cNvSpPr>
              <a:spLocks/>
            </p:cNvSpPr>
            <p:nvPr/>
          </p:nvSpPr>
          <p:spPr bwMode="auto">
            <a:xfrm>
              <a:off x="6406466" y="2083732"/>
              <a:ext cx="534277" cy="278809"/>
            </a:xfrm>
            <a:custGeom>
              <a:avLst/>
              <a:gdLst>
                <a:gd name="connsiteX0" fmla="*/ 0 w 534277"/>
                <a:gd name="connsiteY0" fmla="*/ 0 h 278809"/>
                <a:gd name="connsiteX1" fmla="*/ 533884 w 534277"/>
                <a:gd name="connsiteY1" fmla="*/ 0 h 278809"/>
                <a:gd name="connsiteX2" fmla="*/ 534277 w 534277"/>
                <a:gd name="connsiteY2" fmla="*/ 3929 h 278809"/>
                <a:gd name="connsiteX3" fmla="*/ 492291 w 534277"/>
                <a:gd name="connsiteY3" fmla="*/ 213424 h 278809"/>
                <a:gd name="connsiteX4" fmla="*/ 457061 w 534277"/>
                <a:gd name="connsiteY4" fmla="*/ 278809 h 278809"/>
                <a:gd name="connsiteX5" fmla="*/ 0 w 534277"/>
                <a:gd name="connsiteY5" fmla="*/ 0 h 2788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34277" h="278809">
                  <a:moveTo>
                    <a:pt x="0" y="0"/>
                  </a:moveTo>
                  <a:lnTo>
                    <a:pt x="533884" y="0"/>
                  </a:lnTo>
                  <a:lnTo>
                    <a:pt x="534277" y="3929"/>
                  </a:lnTo>
                  <a:cubicBezTo>
                    <a:pt x="534277" y="78240"/>
                    <a:pt x="519327" y="149034"/>
                    <a:pt x="492291" y="213424"/>
                  </a:cubicBezTo>
                  <a:lnTo>
                    <a:pt x="457061" y="278809"/>
                  </a:lnTo>
                  <a:lnTo>
                    <a:pt x="0" y="0"/>
                  </a:lnTo>
                  <a:close/>
                </a:path>
              </a:pathLst>
            </a:custGeom>
            <a:solidFill>
              <a:schemeClr val="bg1"/>
            </a:solidFill>
            <a:ln>
              <a:noFill/>
            </a:ln>
          </p:spPr>
          <p:txBody>
            <a:bodyPr vert="horz" wrap="square" lIns="91440" tIns="45720" rIns="91440" bIns="45720" numCol="1" anchor="t" anchorCtr="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551" name="Freeform: Shape 1550"/>
            <p:cNvSpPr>
              <a:spLocks/>
            </p:cNvSpPr>
            <p:nvPr/>
          </p:nvSpPr>
          <p:spPr bwMode="auto">
            <a:xfrm>
              <a:off x="6375038" y="1549452"/>
              <a:ext cx="284776" cy="526424"/>
            </a:xfrm>
            <a:custGeom>
              <a:avLst/>
              <a:gdLst>
                <a:gd name="connsiteX0" fmla="*/ 31427 w 284776"/>
                <a:gd name="connsiteY0" fmla="*/ 0 h 526424"/>
                <a:gd name="connsiteX1" fmla="*/ 239392 w 284776"/>
                <a:gd name="connsiteY1" fmla="*/ 42295 h 526424"/>
                <a:gd name="connsiteX2" fmla="*/ 284776 w 284776"/>
                <a:gd name="connsiteY2" fmla="*/ 67109 h 526424"/>
                <a:gd name="connsiteX3" fmla="*/ 0 w 284776"/>
                <a:gd name="connsiteY3" fmla="*/ 526424 h 526424"/>
                <a:gd name="connsiteX4" fmla="*/ 0 w 284776"/>
                <a:gd name="connsiteY4" fmla="*/ 3191 h 526424"/>
                <a:gd name="connsiteX5" fmla="*/ 31427 w 284776"/>
                <a:gd name="connsiteY5" fmla="*/ 0 h 5264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4776" h="526424">
                  <a:moveTo>
                    <a:pt x="31427" y="0"/>
                  </a:moveTo>
                  <a:cubicBezTo>
                    <a:pt x="105196" y="0"/>
                    <a:pt x="175472" y="15060"/>
                    <a:pt x="239392" y="42295"/>
                  </a:cubicBezTo>
                  <a:lnTo>
                    <a:pt x="284776" y="67109"/>
                  </a:lnTo>
                  <a:lnTo>
                    <a:pt x="0" y="526424"/>
                  </a:lnTo>
                  <a:lnTo>
                    <a:pt x="0" y="3191"/>
                  </a:lnTo>
                  <a:lnTo>
                    <a:pt x="31427" y="0"/>
                  </a:lnTo>
                  <a:close/>
                </a:path>
              </a:pathLst>
            </a:custGeom>
            <a:solidFill>
              <a:srgbClr val="0082AF"/>
            </a:solidFill>
            <a:ln w="9525">
              <a:noFill/>
              <a:round/>
              <a:headEnd/>
              <a:tailEnd/>
            </a:ln>
          </p:spPr>
          <p:txBody>
            <a:bodyPr vert="horz" wrap="square" lIns="91440" tIns="45720" rIns="91440" bIns="45720" numCol="1" anchor="t" anchorCtr="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552" name="Freeform: Shape 1551"/>
            <p:cNvSpPr>
              <a:spLocks/>
            </p:cNvSpPr>
            <p:nvPr/>
          </p:nvSpPr>
          <p:spPr bwMode="auto">
            <a:xfrm>
              <a:off x="6173329" y="2099445"/>
              <a:ext cx="209569" cy="524030"/>
            </a:xfrm>
            <a:custGeom>
              <a:avLst/>
              <a:gdLst>
                <a:gd name="connsiteX0" fmla="*/ 209569 w 209569"/>
                <a:gd name="connsiteY0" fmla="*/ 0 h 524030"/>
                <a:gd name="connsiteX1" fmla="*/ 209569 w 209569"/>
                <a:gd name="connsiteY1" fmla="*/ 524030 h 524030"/>
                <a:gd name="connsiteX2" fmla="*/ 125461 w 209569"/>
                <a:gd name="connsiteY2" fmla="*/ 515489 h 524030"/>
                <a:gd name="connsiteX3" fmla="*/ 25172 w 209569"/>
                <a:gd name="connsiteY3" fmla="*/ 484128 h 524030"/>
                <a:gd name="connsiteX4" fmla="*/ 0 w 209569"/>
                <a:gd name="connsiteY4" fmla="*/ 470365 h 524030"/>
                <a:gd name="connsiteX5" fmla="*/ 209569 w 209569"/>
                <a:gd name="connsiteY5" fmla="*/ 0 h 5240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9569" h="524030">
                  <a:moveTo>
                    <a:pt x="209569" y="0"/>
                  </a:moveTo>
                  <a:lnTo>
                    <a:pt x="209569" y="524030"/>
                  </a:lnTo>
                  <a:lnTo>
                    <a:pt x="125461" y="515489"/>
                  </a:lnTo>
                  <a:cubicBezTo>
                    <a:pt x="90681" y="508319"/>
                    <a:pt x="57132" y="497745"/>
                    <a:pt x="25172" y="484128"/>
                  </a:cubicBezTo>
                  <a:lnTo>
                    <a:pt x="0" y="470365"/>
                  </a:lnTo>
                  <a:lnTo>
                    <a:pt x="209569" y="0"/>
                  </a:lnTo>
                  <a:close/>
                </a:path>
              </a:pathLst>
            </a:custGeom>
            <a:solidFill>
              <a:srgbClr val="0082AF"/>
            </a:solidFill>
            <a:ln w="9525">
              <a:noFill/>
              <a:round/>
              <a:headEnd/>
              <a:tailEnd/>
            </a:ln>
          </p:spPr>
          <p:txBody>
            <a:bodyPr vert="horz" wrap="square" lIns="91440" tIns="45720" rIns="91440" bIns="45720" numCol="1" anchor="t" anchorCtr="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553" name="Freeform 1246"/>
            <p:cNvSpPr>
              <a:spLocks/>
            </p:cNvSpPr>
            <p:nvPr/>
          </p:nvSpPr>
          <p:spPr bwMode="auto">
            <a:xfrm>
              <a:off x="6217897" y="1895162"/>
              <a:ext cx="384997" cy="384997"/>
            </a:xfrm>
            <a:custGeom>
              <a:avLst/>
              <a:gdLst>
                <a:gd name="T0" fmla="*/ 80 w 80"/>
                <a:gd name="T1" fmla="*/ 40 h 80"/>
                <a:gd name="T2" fmla="*/ 40 w 80"/>
                <a:gd name="T3" fmla="*/ 80 h 80"/>
                <a:gd name="T4" fmla="*/ 0 w 80"/>
                <a:gd name="T5" fmla="*/ 40 h 80"/>
                <a:gd name="T6" fmla="*/ 40 w 80"/>
                <a:gd name="T7" fmla="*/ 0 h 80"/>
                <a:gd name="T8" fmla="*/ 80 w 80"/>
                <a:gd name="T9" fmla="*/ 40 h 80"/>
              </a:gdLst>
              <a:ahLst/>
              <a:cxnLst>
                <a:cxn ang="0">
                  <a:pos x="T0" y="T1"/>
                </a:cxn>
                <a:cxn ang="0">
                  <a:pos x="T2" y="T3"/>
                </a:cxn>
                <a:cxn ang="0">
                  <a:pos x="T4" y="T5"/>
                </a:cxn>
                <a:cxn ang="0">
                  <a:pos x="T6" y="T7"/>
                </a:cxn>
                <a:cxn ang="0">
                  <a:pos x="T8" y="T9"/>
                </a:cxn>
              </a:cxnLst>
              <a:rect l="0" t="0" r="r" b="b"/>
              <a:pathLst>
                <a:path w="80" h="80">
                  <a:moveTo>
                    <a:pt x="80" y="40"/>
                  </a:moveTo>
                  <a:cubicBezTo>
                    <a:pt x="80" y="62"/>
                    <a:pt x="62" y="80"/>
                    <a:pt x="40" y="80"/>
                  </a:cubicBezTo>
                  <a:cubicBezTo>
                    <a:pt x="16" y="80"/>
                    <a:pt x="0" y="62"/>
                    <a:pt x="0" y="40"/>
                  </a:cubicBezTo>
                  <a:cubicBezTo>
                    <a:pt x="0" y="16"/>
                    <a:pt x="16" y="0"/>
                    <a:pt x="40" y="0"/>
                  </a:cubicBezTo>
                  <a:cubicBezTo>
                    <a:pt x="62" y="0"/>
                    <a:pt x="80" y="16"/>
                    <a:pt x="80" y="40"/>
                  </a:cubicBezTo>
                </a:path>
              </a:pathLst>
            </a:custGeom>
            <a:solidFill>
              <a:srgbClr val="00205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554" name="Freeform 1247"/>
            <p:cNvSpPr>
              <a:spLocks/>
            </p:cNvSpPr>
            <p:nvPr/>
          </p:nvSpPr>
          <p:spPr bwMode="auto">
            <a:xfrm>
              <a:off x="2022241" y="1282313"/>
              <a:ext cx="2144972" cy="2239257"/>
            </a:xfrm>
            <a:custGeom>
              <a:avLst/>
              <a:gdLst>
                <a:gd name="T0" fmla="*/ 213 w 448"/>
                <a:gd name="T1" fmla="*/ 0 h 467"/>
                <a:gd name="T2" fmla="*/ 0 w 448"/>
                <a:gd name="T3" fmla="*/ 134 h 467"/>
                <a:gd name="T4" fmla="*/ 117 w 448"/>
                <a:gd name="T5" fmla="*/ 134 h 467"/>
                <a:gd name="T6" fmla="*/ 117 w 448"/>
                <a:gd name="T7" fmla="*/ 291 h 467"/>
                <a:gd name="T8" fmla="*/ 248 w 448"/>
                <a:gd name="T9" fmla="*/ 291 h 467"/>
                <a:gd name="T10" fmla="*/ 248 w 448"/>
                <a:gd name="T11" fmla="*/ 467 h 467"/>
                <a:gd name="T12" fmla="*/ 448 w 448"/>
                <a:gd name="T13" fmla="*/ 235 h 467"/>
                <a:gd name="T14" fmla="*/ 213 w 448"/>
                <a:gd name="T15" fmla="*/ 0 h 46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48" h="467">
                  <a:moveTo>
                    <a:pt x="213" y="0"/>
                  </a:moveTo>
                  <a:cubicBezTo>
                    <a:pt x="120" y="0"/>
                    <a:pt x="37" y="54"/>
                    <a:pt x="0" y="134"/>
                  </a:cubicBezTo>
                  <a:cubicBezTo>
                    <a:pt x="117" y="134"/>
                    <a:pt x="117" y="134"/>
                    <a:pt x="117" y="134"/>
                  </a:cubicBezTo>
                  <a:cubicBezTo>
                    <a:pt x="117" y="291"/>
                    <a:pt x="117" y="291"/>
                    <a:pt x="117" y="291"/>
                  </a:cubicBezTo>
                  <a:cubicBezTo>
                    <a:pt x="248" y="291"/>
                    <a:pt x="248" y="291"/>
                    <a:pt x="248" y="291"/>
                  </a:cubicBezTo>
                  <a:cubicBezTo>
                    <a:pt x="248" y="467"/>
                    <a:pt x="248" y="467"/>
                    <a:pt x="248" y="467"/>
                  </a:cubicBezTo>
                  <a:cubicBezTo>
                    <a:pt x="360" y="451"/>
                    <a:pt x="448" y="352"/>
                    <a:pt x="448" y="235"/>
                  </a:cubicBezTo>
                  <a:cubicBezTo>
                    <a:pt x="448" y="104"/>
                    <a:pt x="341" y="0"/>
                    <a:pt x="213" y="0"/>
                  </a:cubicBezTo>
                </a:path>
              </a:pathLst>
            </a:custGeom>
            <a:solidFill>
              <a:srgbClr val="00205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555" name="Freeform 1248"/>
            <p:cNvSpPr>
              <a:spLocks/>
            </p:cNvSpPr>
            <p:nvPr/>
          </p:nvSpPr>
          <p:spPr bwMode="auto">
            <a:xfrm>
              <a:off x="1920098" y="1918735"/>
              <a:ext cx="1288553" cy="1618549"/>
            </a:xfrm>
            <a:custGeom>
              <a:avLst/>
              <a:gdLst>
                <a:gd name="T0" fmla="*/ 146 w 269"/>
                <a:gd name="T1" fmla="*/ 0 h 336"/>
                <a:gd name="T2" fmla="*/ 21 w 269"/>
                <a:gd name="T3" fmla="*/ 0 h 336"/>
                <a:gd name="T4" fmla="*/ 0 w 269"/>
                <a:gd name="T5" fmla="*/ 101 h 336"/>
                <a:gd name="T6" fmla="*/ 234 w 269"/>
                <a:gd name="T7" fmla="*/ 336 h 336"/>
                <a:gd name="T8" fmla="*/ 269 w 269"/>
                <a:gd name="T9" fmla="*/ 333 h 336"/>
                <a:gd name="T10" fmla="*/ 269 w 269"/>
                <a:gd name="T11" fmla="*/ 122 h 336"/>
                <a:gd name="T12" fmla="*/ 146 w 269"/>
                <a:gd name="T13" fmla="*/ 0 h 336"/>
              </a:gdLst>
              <a:ahLst/>
              <a:cxnLst>
                <a:cxn ang="0">
                  <a:pos x="T0" y="T1"/>
                </a:cxn>
                <a:cxn ang="0">
                  <a:pos x="T2" y="T3"/>
                </a:cxn>
                <a:cxn ang="0">
                  <a:pos x="T4" y="T5"/>
                </a:cxn>
                <a:cxn ang="0">
                  <a:pos x="T6" y="T7"/>
                </a:cxn>
                <a:cxn ang="0">
                  <a:pos x="T8" y="T9"/>
                </a:cxn>
                <a:cxn ang="0">
                  <a:pos x="T10" y="T11"/>
                </a:cxn>
                <a:cxn ang="0">
                  <a:pos x="T12" y="T13"/>
                </a:cxn>
              </a:cxnLst>
              <a:rect l="0" t="0" r="r" b="b"/>
              <a:pathLst>
                <a:path w="269" h="336">
                  <a:moveTo>
                    <a:pt x="146" y="0"/>
                  </a:moveTo>
                  <a:cubicBezTo>
                    <a:pt x="21" y="0"/>
                    <a:pt x="21" y="0"/>
                    <a:pt x="21" y="0"/>
                  </a:cubicBezTo>
                  <a:cubicBezTo>
                    <a:pt x="8" y="29"/>
                    <a:pt x="0" y="64"/>
                    <a:pt x="0" y="101"/>
                  </a:cubicBezTo>
                  <a:cubicBezTo>
                    <a:pt x="0" y="232"/>
                    <a:pt x="104" y="336"/>
                    <a:pt x="234" y="336"/>
                  </a:cubicBezTo>
                  <a:cubicBezTo>
                    <a:pt x="245" y="336"/>
                    <a:pt x="256" y="336"/>
                    <a:pt x="269" y="333"/>
                  </a:cubicBezTo>
                  <a:cubicBezTo>
                    <a:pt x="269" y="122"/>
                    <a:pt x="269" y="122"/>
                    <a:pt x="269" y="122"/>
                  </a:cubicBezTo>
                  <a:cubicBezTo>
                    <a:pt x="269" y="53"/>
                    <a:pt x="213" y="0"/>
                    <a:pt x="146" y="0"/>
                  </a:cubicBezTo>
                </a:path>
              </a:pathLst>
            </a:custGeom>
            <a:solidFill>
              <a:srgbClr val="6DC2E9"/>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556" name="Freeform 1249"/>
            <p:cNvSpPr>
              <a:spLocks/>
            </p:cNvSpPr>
            <p:nvPr/>
          </p:nvSpPr>
          <p:spPr bwMode="auto">
            <a:xfrm>
              <a:off x="702260" y="779463"/>
              <a:ext cx="4596367" cy="989986"/>
            </a:xfrm>
            <a:custGeom>
              <a:avLst/>
              <a:gdLst>
                <a:gd name="T0" fmla="*/ 960 w 960"/>
                <a:gd name="T1" fmla="*/ 104 h 206"/>
                <a:gd name="T2" fmla="*/ 480 w 960"/>
                <a:gd name="T3" fmla="*/ 206 h 206"/>
                <a:gd name="T4" fmla="*/ 0 w 960"/>
                <a:gd name="T5" fmla="*/ 104 h 206"/>
                <a:gd name="T6" fmla="*/ 480 w 960"/>
                <a:gd name="T7" fmla="*/ 0 h 206"/>
                <a:gd name="T8" fmla="*/ 960 w 960"/>
                <a:gd name="T9" fmla="*/ 104 h 206"/>
              </a:gdLst>
              <a:ahLst/>
              <a:cxnLst>
                <a:cxn ang="0">
                  <a:pos x="T0" y="T1"/>
                </a:cxn>
                <a:cxn ang="0">
                  <a:pos x="T2" y="T3"/>
                </a:cxn>
                <a:cxn ang="0">
                  <a:pos x="T4" y="T5"/>
                </a:cxn>
                <a:cxn ang="0">
                  <a:pos x="T6" y="T7"/>
                </a:cxn>
                <a:cxn ang="0">
                  <a:pos x="T8" y="T9"/>
                </a:cxn>
              </a:cxnLst>
              <a:rect l="0" t="0" r="r" b="b"/>
              <a:pathLst>
                <a:path w="960" h="206">
                  <a:moveTo>
                    <a:pt x="960" y="104"/>
                  </a:moveTo>
                  <a:cubicBezTo>
                    <a:pt x="960" y="160"/>
                    <a:pt x="747" y="206"/>
                    <a:pt x="480" y="206"/>
                  </a:cubicBezTo>
                  <a:cubicBezTo>
                    <a:pt x="216" y="206"/>
                    <a:pt x="0" y="160"/>
                    <a:pt x="0" y="104"/>
                  </a:cubicBezTo>
                  <a:cubicBezTo>
                    <a:pt x="0" y="48"/>
                    <a:pt x="216" y="0"/>
                    <a:pt x="480" y="0"/>
                  </a:cubicBezTo>
                  <a:cubicBezTo>
                    <a:pt x="747" y="0"/>
                    <a:pt x="960" y="48"/>
                    <a:pt x="960" y="104"/>
                  </a:cubicBezTo>
                </a:path>
              </a:pathLst>
            </a:custGeom>
            <a:solidFill>
              <a:srgbClr val="00BCF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557" name="Freeform: Shape 1556"/>
            <p:cNvSpPr>
              <a:spLocks/>
            </p:cNvSpPr>
            <p:nvPr/>
          </p:nvSpPr>
          <p:spPr bwMode="auto">
            <a:xfrm>
              <a:off x="696687" y="1085444"/>
              <a:ext cx="2221256" cy="189019"/>
            </a:xfrm>
            <a:custGeom>
              <a:avLst/>
              <a:gdLst>
                <a:gd name="connsiteX0" fmla="*/ 37290 w 448801"/>
                <a:gd name="connsiteY0" fmla="*/ 0 h 38191"/>
                <a:gd name="connsiteX1" fmla="*/ 448801 w 448801"/>
                <a:gd name="connsiteY1" fmla="*/ 38191 h 38191"/>
                <a:gd name="connsiteX2" fmla="*/ 0 w 448801"/>
                <a:gd name="connsiteY2" fmla="*/ 38191 h 38191"/>
                <a:gd name="connsiteX3" fmla="*/ 9016 w 448801"/>
                <a:gd name="connsiteY3" fmla="*/ 19211 h 38191"/>
                <a:gd name="connsiteX4" fmla="*/ 36179 w 448801"/>
                <a:gd name="connsiteY4" fmla="*/ 443 h 38191"/>
                <a:gd name="connsiteX5" fmla="*/ 37290 w 448801"/>
                <a:gd name="connsiteY5" fmla="*/ 0 h 381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48801" h="38191">
                  <a:moveTo>
                    <a:pt x="37290" y="0"/>
                  </a:moveTo>
                  <a:lnTo>
                    <a:pt x="448801" y="38191"/>
                  </a:lnTo>
                  <a:lnTo>
                    <a:pt x="0" y="38191"/>
                  </a:lnTo>
                  <a:lnTo>
                    <a:pt x="9016" y="19211"/>
                  </a:lnTo>
                  <a:cubicBezTo>
                    <a:pt x="15229" y="12733"/>
                    <a:pt x="24388" y="6451"/>
                    <a:pt x="36179" y="443"/>
                  </a:cubicBezTo>
                  <a:lnTo>
                    <a:pt x="37290"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558" name="Freeform: Shape 1557"/>
            <p:cNvSpPr>
              <a:spLocks/>
            </p:cNvSpPr>
            <p:nvPr/>
          </p:nvSpPr>
          <p:spPr bwMode="auto">
            <a:xfrm>
              <a:off x="3011104" y="1281195"/>
              <a:ext cx="2286404" cy="254702"/>
            </a:xfrm>
            <a:custGeom>
              <a:avLst/>
              <a:gdLst>
                <a:gd name="connsiteX0" fmla="*/ 0 w 461964"/>
                <a:gd name="connsiteY0" fmla="*/ 0 h 51462"/>
                <a:gd name="connsiteX1" fmla="*/ 461509 w 461964"/>
                <a:gd name="connsiteY1" fmla="*/ 0 h 51462"/>
                <a:gd name="connsiteX2" fmla="*/ 461964 w 461964"/>
                <a:gd name="connsiteY2" fmla="*/ 971 h 51462"/>
                <a:gd name="connsiteX3" fmla="*/ 425733 w 461964"/>
                <a:gd name="connsiteY3" fmla="*/ 39386 h 51462"/>
                <a:gd name="connsiteX4" fmla="*/ 395153 w 461964"/>
                <a:gd name="connsiteY4" fmla="*/ 51462 h 51462"/>
                <a:gd name="connsiteX5" fmla="*/ 0 w 461964"/>
                <a:gd name="connsiteY5" fmla="*/ 0 h 514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61964" h="51462">
                  <a:moveTo>
                    <a:pt x="0" y="0"/>
                  </a:moveTo>
                  <a:lnTo>
                    <a:pt x="461509" y="0"/>
                  </a:lnTo>
                  <a:lnTo>
                    <a:pt x="461964" y="971"/>
                  </a:lnTo>
                  <a:cubicBezTo>
                    <a:pt x="461964" y="14565"/>
                    <a:pt x="449086" y="27552"/>
                    <a:pt x="425733" y="39386"/>
                  </a:cubicBezTo>
                  <a:lnTo>
                    <a:pt x="395153" y="51462"/>
                  </a:lnTo>
                  <a:lnTo>
                    <a:pt x="0"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559" name="Freeform: Shape 1558"/>
            <p:cNvSpPr>
              <a:spLocks/>
            </p:cNvSpPr>
            <p:nvPr/>
          </p:nvSpPr>
          <p:spPr bwMode="auto">
            <a:xfrm>
              <a:off x="2878660" y="782274"/>
              <a:ext cx="1208033" cy="484325"/>
            </a:xfrm>
            <a:custGeom>
              <a:avLst/>
              <a:gdLst>
                <a:gd name="connsiteX0" fmla="*/ 26420 w 244081"/>
                <a:gd name="connsiteY0" fmla="*/ 0 h 97857"/>
                <a:gd name="connsiteX1" fmla="*/ 207941 w 244081"/>
                <a:gd name="connsiteY1" fmla="*/ 8132 h 97857"/>
                <a:gd name="connsiteX2" fmla="*/ 244081 w 244081"/>
                <a:gd name="connsiteY2" fmla="*/ 12475 h 97857"/>
                <a:gd name="connsiteX3" fmla="*/ 0 w 244081"/>
                <a:gd name="connsiteY3" fmla="*/ 97857 h 97857"/>
                <a:gd name="connsiteX4" fmla="*/ 0 w 244081"/>
                <a:gd name="connsiteY4" fmla="*/ 597 h 97857"/>
                <a:gd name="connsiteX5" fmla="*/ 26420 w 244081"/>
                <a:gd name="connsiteY5" fmla="*/ 0 h 978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4081" h="97857">
                  <a:moveTo>
                    <a:pt x="26420" y="0"/>
                  </a:moveTo>
                  <a:cubicBezTo>
                    <a:pt x="90993" y="0"/>
                    <a:pt x="152301" y="2913"/>
                    <a:pt x="207941" y="8132"/>
                  </a:cubicBezTo>
                  <a:lnTo>
                    <a:pt x="244081" y="12475"/>
                  </a:lnTo>
                  <a:lnTo>
                    <a:pt x="0" y="97857"/>
                  </a:lnTo>
                  <a:lnTo>
                    <a:pt x="0" y="597"/>
                  </a:lnTo>
                  <a:lnTo>
                    <a:pt x="26420" y="0"/>
                  </a:lnTo>
                  <a:close/>
                </a:path>
              </a:pathLst>
            </a:custGeom>
            <a:solidFill>
              <a:srgbClr val="0082AF"/>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560" name="Freeform: Shape 1559"/>
            <p:cNvSpPr>
              <a:spLocks/>
            </p:cNvSpPr>
            <p:nvPr/>
          </p:nvSpPr>
          <p:spPr bwMode="auto">
            <a:xfrm>
              <a:off x="1997688" y="1290173"/>
              <a:ext cx="920255" cy="480103"/>
            </a:xfrm>
            <a:custGeom>
              <a:avLst/>
              <a:gdLst>
                <a:gd name="connsiteX0" fmla="*/ 185936 w 185936"/>
                <a:gd name="connsiteY0" fmla="*/ 0 h 97004"/>
                <a:gd name="connsiteX1" fmla="*/ 185936 w 185936"/>
                <a:gd name="connsiteY1" fmla="*/ 97004 h 97004"/>
                <a:gd name="connsiteX2" fmla="*/ 111141 w 185936"/>
                <a:gd name="connsiteY2" fmla="*/ 95380 h 97004"/>
                <a:gd name="connsiteX3" fmla="*/ 24122 w 185936"/>
                <a:gd name="connsiteY3" fmla="*/ 89576 h 97004"/>
                <a:gd name="connsiteX4" fmla="*/ 0 w 185936"/>
                <a:gd name="connsiteY4" fmla="*/ 86771 h 97004"/>
                <a:gd name="connsiteX5" fmla="*/ 185936 w 185936"/>
                <a:gd name="connsiteY5" fmla="*/ 0 h 970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5936" h="97004">
                  <a:moveTo>
                    <a:pt x="185936" y="0"/>
                  </a:moveTo>
                  <a:lnTo>
                    <a:pt x="185936" y="97004"/>
                  </a:lnTo>
                  <a:lnTo>
                    <a:pt x="111141" y="95380"/>
                  </a:lnTo>
                  <a:cubicBezTo>
                    <a:pt x="80986" y="94052"/>
                    <a:pt x="51874" y="92095"/>
                    <a:pt x="24122" y="89576"/>
                  </a:cubicBezTo>
                  <a:lnTo>
                    <a:pt x="0" y="86771"/>
                  </a:lnTo>
                  <a:lnTo>
                    <a:pt x="185936" y="0"/>
                  </a:lnTo>
                  <a:close/>
                </a:path>
              </a:pathLst>
            </a:custGeom>
            <a:solidFill>
              <a:srgbClr val="0082AF"/>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561" name="Oval 1254"/>
            <p:cNvSpPr>
              <a:spLocks noChangeArrowheads="1"/>
            </p:cNvSpPr>
            <p:nvPr/>
          </p:nvSpPr>
          <p:spPr bwMode="auto">
            <a:xfrm>
              <a:off x="2658659" y="1203743"/>
              <a:ext cx="691419" cy="149286"/>
            </a:xfrm>
            <a:prstGeom prst="ellipse">
              <a:avLst/>
            </a:prstGeom>
            <a:solidFill>
              <a:srgbClr val="00205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sp>
        <p:nvSpPr>
          <p:cNvPr id="1479" name="Freeform 1258"/>
          <p:cNvSpPr>
            <a:spLocks/>
          </p:cNvSpPr>
          <p:nvPr/>
        </p:nvSpPr>
        <p:spPr bwMode="auto">
          <a:xfrm>
            <a:off x="7250114" y="2336801"/>
            <a:ext cx="204788" cy="1773238"/>
          </a:xfrm>
          <a:custGeom>
            <a:avLst/>
            <a:gdLst>
              <a:gd name="T0" fmla="*/ 663 w 1096"/>
              <a:gd name="T1" fmla="*/ 0 h 9504"/>
              <a:gd name="T2" fmla="*/ 1096 w 1096"/>
              <a:gd name="T3" fmla="*/ 0 h 9504"/>
              <a:gd name="T4" fmla="*/ 1096 w 1096"/>
              <a:gd name="T5" fmla="*/ 206 h 9504"/>
              <a:gd name="T6" fmla="*/ 663 w 1096"/>
              <a:gd name="T7" fmla="*/ 206 h 9504"/>
              <a:gd name="T8" fmla="*/ 207 w 1096"/>
              <a:gd name="T9" fmla="*/ 660 h 9504"/>
              <a:gd name="T10" fmla="*/ 207 w 1096"/>
              <a:gd name="T11" fmla="*/ 9504 h 9504"/>
              <a:gd name="T12" fmla="*/ 0 w 1096"/>
              <a:gd name="T13" fmla="*/ 9504 h 9504"/>
              <a:gd name="T14" fmla="*/ 0 w 1096"/>
              <a:gd name="T15" fmla="*/ 660 h 9504"/>
              <a:gd name="T16" fmla="*/ 663 w 1096"/>
              <a:gd name="T17" fmla="*/ 0 h 9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96" h="9504">
                <a:moveTo>
                  <a:pt x="663" y="0"/>
                </a:moveTo>
                <a:lnTo>
                  <a:pt x="1096" y="0"/>
                </a:lnTo>
                <a:lnTo>
                  <a:pt x="1096" y="206"/>
                </a:lnTo>
                <a:lnTo>
                  <a:pt x="663" y="206"/>
                </a:lnTo>
                <a:cubicBezTo>
                  <a:pt x="411" y="206"/>
                  <a:pt x="207" y="409"/>
                  <a:pt x="207" y="660"/>
                </a:cubicBezTo>
                <a:lnTo>
                  <a:pt x="207" y="9504"/>
                </a:lnTo>
                <a:lnTo>
                  <a:pt x="0" y="9504"/>
                </a:lnTo>
                <a:lnTo>
                  <a:pt x="0" y="660"/>
                </a:lnTo>
                <a:cubicBezTo>
                  <a:pt x="0" y="296"/>
                  <a:pt x="297" y="0"/>
                  <a:pt x="663" y="0"/>
                </a:cubicBezTo>
                <a:close/>
              </a:path>
            </a:pathLst>
          </a:custGeom>
          <a:solidFill>
            <a:srgbClr val="7F7F7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480" name="Freeform 1261"/>
          <p:cNvSpPr>
            <a:spLocks/>
          </p:cNvSpPr>
          <p:nvPr/>
        </p:nvSpPr>
        <p:spPr bwMode="auto">
          <a:xfrm>
            <a:off x="7405689" y="2322513"/>
            <a:ext cx="327025" cy="309563"/>
          </a:xfrm>
          <a:custGeom>
            <a:avLst/>
            <a:gdLst>
              <a:gd name="T0" fmla="*/ 997 w 3495"/>
              <a:gd name="T1" fmla="*/ 343 h 3307"/>
              <a:gd name="T2" fmla="*/ 588 w 3495"/>
              <a:gd name="T3" fmla="*/ 44 h 3307"/>
              <a:gd name="T4" fmla="*/ 588 w 3495"/>
              <a:gd name="T5" fmla="*/ 44 h 3307"/>
              <a:gd name="T6" fmla="*/ 215 w 3495"/>
              <a:gd name="T7" fmla="*/ 304 h 3307"/>
              <a:gd name="T8" fmla="*/ 60 w 3495"/>
              <a:gd name="T9" fmla="*/ 739 h 3307"/>
              <a:gd name="T10" fmla="*/ 468 w 3495"/>
              <a:gd name="T11" fmla="*/ 1038 h 3307"/>
              <a:gd name="T12" fmla="*/ 1482 w 3495"/>
              <a:gd name="T13" fmla="*/ 3152 h 3307"/>
              <a:gd name="T14" fmla="*/ 2762 w 3495"/>
              <a:gd name="T15" fmla="*/ 2247 h 3307"/>
              <a:gd name="T16" fmla="*/ 3296 w 3495"/>
              <a:gd name="T17" fmla="*/ 778 h 3307"/>
              <a:gd name="T18" fmla="*/ 3307 w 3495"/>
              <a:gd name="T19" fmla="*/ 768 h 3307"/>
              <a:gd name="T20" fmla="*/ 997 w 3495"/>
              <a:gd name="T21" fmla="*/ 343 h 3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495" h="3307">
                <a:moveTo>
                  <a:pt x="997" y="343"/>
                </a:moveTo>
                <a:cubicBezTo>
                  <a:pt x="588" y="44"/>
                  <a:pt x="588" y="44"/>
                  <a:pt x="588" y="44"/>
                </a:cubicBezTo>
                <a:cubicBezTo>
                  <a:pt x="588" y="44"/>
                  <a:pt x="588" y="44"/>
                  <a:pt x="588" y="44"/>
                </a:cubicBezTo>
                <a:cubicBezTo>
                  <a:pt x="528" y="0"/>
                  <a:pt x="358" y="115"/>
                  <a:pt x="215" y="304"/>
                </a:cubicBezTo>
                <a:cubicBezTo>
                  <a:pt x="72" y="492"/>
                  <a:pt x="0" y="695"/>
                  <a:pt x="60" y="739"/>
                </a:cubicBezTo>
                <a:cubicBezTo>
                  <a:pt x="468" y="1038"/>
                  <a:pt x="468" y="1038"/>
                  <a:pt x="468" y="1038"/>
                </a:cubicBezTo>
                <a:cubicBezTo>
                  <a:pt x="468" y="1038"/>
                  <a:pt x="507" y="2402"/>
                  <a:pt x="1482" y="3152"/>
                </a:cubicBezTo>
                <a:cubicBezTo>
                  <a:pt x="1701" y="3307"/>
                  <a:pt x="2257" y="2902"/>
                  <a:pt x="2762" y="2247"/>
                </a:cubicBezTo>
                <a:cubicBezTo>
                  <a:pt x="3258" y="1580"/>
                  <a:pt x="3495" y="932"/>
                  <a:pt x="3296" y="778"/>
                </a:cubicBezTo>
                <a:cubicBezTo>
                  <a:pt x="3307" y="768"/>
                  <a:pt x="3307" y="768"/>
                  <a:pt x="3307" y="768"/>
                </a:cubicBezTo>
                <a:cubicBezTo>
                  <a:pt x="2321" y="28"/>
                  <a:pt x="997" y="343"/>
                  <a:pt x="997" y="343"/>
                </a:cubicBezTo>
              </a:path>
            </a:pathLst>
          </a:custGeom>
          <a:solidFill>
            <a:srgbClr val="595959"/>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481" name="Freeform 1272"/>
          <p:cNvSpPr>
            <a:spLocks noEditPoints="1"/>
          </p:cNvSpPr>
          <p:nvPr/>
        </p:nvSpPr>
        <p:spPr bwMode="auto">
          <a:xfrm>
            <a:off x="7258051" y="5227638"/>
            <a:ext cx="1033463" cy="1166813"/>
          </a:xfrm>
          <a:custGeom>
            <a:avLst/>
            <a:gdLst>
              <a:gd name="T0" fmla="*/ 633 w 651"/>
              <a:gd name="T1" fmla="*/ 464 h 735"/>
              <a:gd name="T2" fmla="*/ 634 w 651"/>
              <a:gd name="T3" fmla="*/ 286 h 735"/>
              <a:gd name="T4" fmla="*/ 647 w 651"/>
              <a:gd name="T5" fmla="*/ 122 h 735"/>
              <a:gd name="T6" fmla="*/ 542 w 651"/>
              <a:gd name="T7" fmla="*/ 11 h 735"/>
              <a:gd name="T8" fmla="*/ 414 w 651"/>
              <a:gd name="T9" fmla="*/ 11 h 735"/>
              <a:gd name="T10" fmla="*/ 225 w 651"/>
              <a:gd name="T11" fmla="*/ 0 h 735"/>
              <a:gd name="T12" fmla="*/ 61 w 651"/>
              <a:gd name="T13" fmla="*/ 0 h 735"/>
              <a:gd name="T14" fmla="*/ 6 w 651"/>
              <a:gd name="T15" fmla="*/ 146 h 735"/>
              <a:gd name="T16" fmla="*/ 47 w 651"/>
              <a:gd name="T17" fmla="*/ 316 h 735"/>
              <a:gd name="T18" fmla="*/ 18 w 651"/>
              <a:gd name="T19" fmla="*/ 475 h 735"/>
              <a:gd name="T20" fmla="*/ 80 w 651"/>
              <a:gd name="T21" fmla="*/ 713 h 735"/>
              <a:gd name="T22" fmla="*/ 207 w 651"/>
              <a:gd name="T23" fmla="*/ 713 h 735"/>
              <a:gd name="T24" fmla="*/ 408 w 651"/>
              <a:gd name="T25" fmla="*/ 735 h 735"/>
              <a:gd name="T26" fmla="*/ 550 w 651"/>
              <a:gd name="T27" fmla="*/ 735 h 735"/>
              <a:gd name="T28" fmla="*/ 177 w 651"/>
              <a:gd name="T29" fmla="*/ 378 h 735"/>
              <a:gd name="T30" fmla="*/ 329 w 651"/>
              <a:gd name="T31" fmla="*/ 346 h 735"/>
              <a:gd name="T32" fmla="*/ 479 w 651"/>
              <a:gd name="T33" fmla="*/ 258 h 735"/>
              <a:gd name="T34" fmla="*/ 385 w 651"/>
              <a:gd name="T35" fmla="*/ 286 h 735"/>
              <a:gd name="T36" fmla="*/ 231 w 651"/>
              <a:gd name="T37" fmla="*/ 316 h 735"/>
              <a:gd name="T38" fmla="*/ 203 w 651"/>
              <a:gd name="T39" fmla="*/ 465 h 735"/>
              <a:gd name="T40" fmla="*/ 327 w 651"/>
              <a:gd name="T41" fmla="*/ 409 h 735"/>
              <a:gd name="T42" fmla="*/ 479 w 651"/>
              <a:gd name="T43" fmla="*/ 380 h 735"/>
              <a:gd name="T44" fmla="*/ 508 w 651"/>
              <a:gd name="T45" fmla="*/ 282 h 735"/>
              <a:gd name="T46" fmla="*/ 357 w 651"/>
              <a:gd name="T47" fmla="*/ 253 h 735"/>
              <a:gd name="T48" fmla="*/ 235 w 651"/>
              <a:gd name="T49" fmla="*/ 197 h 735"/>
              <a:gd name="T50" fmla="*/ 169 w 651"/>
              <a:gd name="T51" fmla="*/ 316 h 735"/>
              <a:gd name="T52" fmla="*/ 231 w 651"/>
              <a:gd name="T53" fmla="*/ 500 h 735"/>
              <a:gd name="T54" fmla="*/ 299 w 651"/>
              <a:gd name="T55" fmla="*/ 500 h 735"/>
              <a:gd name="T56" fmla="*/ 450 w 651"/>
              <a:gd name="T57" fmla="*/ 468 h 735"/>
              <a:gd name="T58" fmla="*/ 567 w 651"/>
              <a:gd name="T59" fmla="*/ 346 h 735"/>
              <a:gd name="T60" fmla="*/ 536 w 651"/>
              <a:gd name="T61" fmla="*/ 195 h 735"/>
              <a:gd name="T62" fmla="*/ 329 w 651"/>
              <a:gd name="T63" fmla="*/ 163 h 735"/>
              <a:gd name="T64" fmla="*/ 262 w 651"/>
              <a:gd name="T65" fmla="*/ 163 h 735"/>
              <a:gd name="T66" fmla="*/ 140 w 651"/>
              <a:gd name="T67" fmla="*/ 225 h 735"/>
              <a:gd name="T68" fmla="*/ 85 w 651"/>
              <a:gd name="T69" fmla="*/ 468 h 735"/>
              <a:gd name="T70" fmla="*/ 203 w 651"/>
              <a:gd name="T71" fmla="*/ 533 h 735"/>
              <a:gd name="T72" fmla="*/ 357 w 651"/>
              <a:gd name="T73" fmla="*/ 501 h 735"/>
              <a:gd name="T74" fmla="*/ 479 w 651"/>
              <a:gd name="T75" fmla="*/ 558 h 735"/>
              <a:gd name="T76" fmla="*/ 542 w 651"/>
              <a:gd name="T77" fmla="*/ 378 h 735"/>
              <a:gd name="T78" fmla="*/ 598 w 651"/>
              <a:gd name="T79" fmla="*/ 132 h 735"/>
              <a:gd name="T80" fmla="*/ 475 w 651"/>
              <a:gd name="T81" fmla="*/ 132 h 735"/>
              <a:gd name="T82" fmla="*/ 268 w 651"/>
              <a:gd name="T83" fmla="*/ 103 h 735"/>
              <a:gd name="T84" fmla="*/ 201 w 651"/>
              <a:gd name="T85" fmla="*/ 103 h 735"/>
              <a:gd name="T86" fmla="*/ 109 w 651"/>
              <a:gd name="T87" fmla="*/ 254 h 735"/>
              <a:gd name="T88" fmla="*/ 53 w 651"/>
              <a:gd name="T89" fmla="*/ 500 h 735"/>
              <a:gd name="T90" fmla="*/ 145 w 651"/>
              <a:gd name="T91" fmla="*/ 591 h 735"/>
              <a:gd name="T92" fmla="*/ 353 w 651"/>
              <a:gd name="T93" fmla="*/ 622 h 735"/>
              <a:gd name="T94" fmla="*/ 420 w 651"/>
              <a:gd name="T95" fmla="*/ 622 h 735"/>
              <a:gd name="T96" fmla="*/ 629 w 651"/>
              <a:gd name="T97" fmla="*/ 529 h 735"/>
              <a:gd name="T98" fmla="*/ 574 w 651"/>
              <a:gd name="T99" fmla="*/ 286 h 735"/>
              <a:gd name="T100" fmla="*/ 600 w 651"/>
              <a:gd name="T101" fmla="*/ 15 h 735"/>
              <a:gd name="T102" fmla="*/ 448 w 651"/>
              <a:gd name="T103" fmla="*/ 99 h 735"/>
              <a:gd name="T104" fmla="*/ 327 w 651"/>
              <a:gd name="T105" fmla="*/ 46 h 735"/>
              <a:gd name="T106" fmla="*/ 173 w 651"/>
              <a:gd name="T107" fmla="*/ 15 h 735"/>
              <a:gd name="T108" fmla="*/ 80 w 651"/>
              <a:gd name="T109" fmla="*/ 42 h 735"/>
              <a:gd name="T110" fmla="*/ 23 w 651"/>
              <a:gd name="T111" fmla="*/ 286 h 735"/>
              <a:gd name="T112" fmla="*/ 51 w 651"/>
              <a:gd name="T113" fmla="*/ 563 h 735"/>
              <a:gd name="T114" fmla="*/ 169 w 651"/>
              <a:gd name="T115" fmla="*/ 683 h 735"/>
              <a:gd name="T116" fmla="*/ 268 w 651"/>
              <a:gd name="T117" fmla="*/ 651 h 735"/>
              <a:gd name="T118" fmla="*/ 445 w 651"/>
              <a:gd name="T119" fmla="*/ 651 h 735"/>
              <a:gd name="T120" fmla="*/ 512 w 651"/>
              <a:gd name="T121" fmla="*/ 651 h 7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51" h="735">
                <a:moveTo>
                  <a:pt x="625" y="662"/>
                </a:moveTo>
                <a:lnTo>
                  <a:pt x="625" y="656"/>
                </a:lnTo>
                <a:lnTo>
                  <a:pt x="600" y="679"/>
                </a:lnTo>
                <a:lnTo>
                  <a:pt x="574" y="651"/>
                </a:lnTo>
                <a:lnTo>
                  <a:pt x="600" y="624"/>
                </a:lnTo>
                <a:lnTo>
                  <a:pt x="625" y="647"/>
                </a:lnTo>
                <a:lnTo>
                  <a:pt x="625" y="642"/>
                </a:lnTo>
                <a:lnTo>
                  <a:pt x="604" y="622"/>
                </a:lnTo>
                <a:lnTo>
                  <a:pt x="626" y="599"/>
                </a:lnTo>
                <a:lnTo>
                  <a:pt x="626" y="591"/>
                </a:lnTo>
                <a:lnTo>
                  <a:pt x="600" y="618"/>
                </a:lnTo>
                <a:lnTo>
                  <a:pt x="574" y="591"/>
                </a:lnTo>
                <a:lnTo>
                  <a:pt x="600" y="563"/>
                </a:lnTo>
                <a:lnTo>
                  <a:pt x="626" y="590"/>
                </a:lnTo>
                <a:lnTo>
                  <a:pt x="626" y="584"/>
                </a:lnTo>
                <a:lnTo>
                  <a:pt x="604" y="559"/>
                </a:lnTo>
                <a:lnTo>
                  <a:pt x="629" y="535"/>
                </a:lnTo>
                <a:lnTo>
                  <a:pt x="630" y="525"/>
                </a:lnTo>
                <a:lnTo>
                  <a:pt x="604" y="500"/>
                </a:lnTo>
                <a:lnTo>
                  <a:pt x="633" y="472"/>
                </a:lnTo>
                <a:lnTo>
                  <a:pt x="633" y="472"/>
                </a:lnTo>
                <a:lnTo>
                  <a:pt x="633" y="464"/>
                </a:lnTo>
                <a:lnTo>
                  <a:pt x="633" y="465"/>
                </a:lnTo>
                <a:lnTo>
                  <a:pt x="604" y="437"/>
                </a:lnTo>
                <a:lnTo>
                  <a:pt x="633" y="409"/>
                </a:lnTo>
                <a:lnTo>
                  <a:pt x="634" y="413"/>
                </a:lnTo>
                <a:lnTo>
                  <a:pt x="634" y="408"/>
                </a:lnTo>
                <a:lnTo>
                  <a:pt x="634" y="408"/>
                </a:lnTo>
                <a:lnTo>
                  <a:pt x="634" y="408"/>
                </a:lnTo>
                <a:lnTo>
                  <a:pt x="634" y="400"/>
                </a:lnTo>
                <a:lnTo>
                  <a:pt x="633" y="404"/>
                </a:lnTo>
                <a:lnTo>
                  <a:pt x="604" y="378"/>
                </a:lnTo>
                <a:lnTo>
                  <a:pt x="633" y="350"/>
                </a:lnTo>
                <a:lnTo>
                  <a:pt x="635" y="356"/>
                </a:lnTo>
                <a:lnTo>
                  <a:pt x="638" y="350"/>
                </a:lnTo>
                <a:lnTo>
                  <a:pt x="634" y="346"/>
                </a:lnTo>
                <a:lnTo>
                  <a:pt x="638" y="344"/>
                </a:lnTo>
                <a:lnTo>
                  <a:pt x="638" y="337"/>
                </a:lnTo>
                <a:lnTo>
                  <a:pt x="633" y="344"/>
                </a:lnTo>
                <a:lnTo>
                  <a:pt x="604" y="316"/>
                </a:lnTo>
                <a:lnTo>
                  <a:pt x="633" y="287"/>
                </a:lnTo>
                <a:lnTo>
                  <a:pt x="639" y="295"/>
                </a:lnTo>
                <a:lnTo>
                  <a:pt x="639" y="290"/>
                </a:lnTo>
                <a:lnTo>
                  <a:pt x="634" y="286"/>
                </a:lnTo>
                <a:lnTo>
                  <a:pt x="639" y="281"/>
                </a:lnTo>
                <a:lnTo>
                  <a:pt x="639" y="273"/>
                </a:lnTo>
                <a:lnTo>
                  <a:pt x="633" y="282"/>
                </a:lnTo>
                <a:lnTo>
                  <a:pt x="604" y="254"/>
                </a:lnTo>
                <a:lnTo>
                  <a:pt x="633" y="229"/>
                </a:lnTo>
                <a:lnTo>
                  <a:pt x="642" y="238"/>
                </a:lnTo>
                <a:lnTo>
                  <a:pt x="642" y="231"/>
                </a:lnTo>
                <a:lnTo>
                  <a:pt x="634" y="225"/>
                </a:lnTo>
                <a:lnTo>
                  <a:pt x="643" y="217"/>
                </a:lnTo>
                <a:lnTo>
                  <a:pt x="643" y="210"/>
                </a:lnTo>
                <a:lnTo>
                  <a:pt x="633" y="221"/>
                </a:lnTo>
                <a:lnTo>
                  <a:pt x="604" y="195"/>
                </a:lnTo>
                <a:lnTo>
                  <a:pt x="633" y="167"/>
                </a:lnTo>
                <a:lnTo>
                  <a:pt x="643" y="179"/>
                </a:lnTo>
                <a:lnTo>
                  <a:pt x="643" y="174"/>
                </a:lnTo>
                <a:lnTo>
                  <a:pt x="634" y="163"/>
                </a:lnTo>
                <a:lnTo>
                  <a:pt x="645" y="154"/>
                </a:lnTo>
                <a:lnTo>
                  <a:pt x="645" y="146"/>
                </a:lnTo>
                <a:lnTo>
                  <a:pt x="633" y="160"/>
                </a:lnTo>
                <a:lnTo>
                  <a:pt x="604" y="132"/>
                </a:lnTo>
                <a:lnTo>
                  <a:pt x="633" y="107"/>
                </a:lnTo>
                <a:lnTo>
                  <a:pt x="647" y="122"/>
                </a:lnTo>
                <a:lnTo>
                  <a:pt x="647" y="116"/>
                </a:lnTo>
                <a:lnTo>
                  <a:pt x="634" y="103"/>
                </a:lnTo>
                <a:lnTo>
                  <a:pt x="647" y="90"/>
                </a:lnTo>
                <a:lnTo>
                  <a:pt x="649" y="83"/>
                </a:lnTo>
                <a:lnTo>
                  <a:pt x="633" y="99"/>
                </a:lnTo>
                <a:lnTo>
                  <a:pt x="604" y="74"/>
                </a:lnTo>
                <a:lnTo>
                  <a:pt x="633" y="46"/>
                </a:lnTo>
                <a:lnTo>
                  <a:pt x="649" y="62"/>
                </a:lnTo>
                <a:lnTo>
                  <a:pt x="649" y="56"/>
                </a:lnTo>
                <a:lnTo>
                  <a:pt x="634" y="42"/>
                </a:lnTo>
                <a:lnTo>
                  <a:pt x="651" y="27"/>
                </a:lnTo>
                <a:lnTo>
                  <a:pt x="651" y="19"/>
                </a:lnTo>
                <a:lnTo>
                  <a:pt x="633" y="39"/>
                </a:lnTo>
                <a:lnTo>
                  <a:pt x="604" y="11"/>
                </a:lnTo>
                <a:lnTo>
                  <a:pt x="615" y="0"/>
                </a:lnTo>
                <a:lnTo>
                  <a:pt x="610" y="0"/>
                </a:lnTo>
                <a:lnTo>
                  <a:pt x="600" y="8"/>
                </a:lnTo>
                <a:lnTo>
                  <a:pt x="591" y="0"/>
                </a:lnTo>
                <a:lnTo>
                  <a:pt x="586" y="0"/>
                </a:lnTo>
                <a:lnTo>
                  <a:pt x="598" y="11"/>
                </a:lnTo>
                <a:lnTo>
                  <a:pt x="570" y="39"/>
                </a:lnTo>
                <a:lnTo>
                  <a:pt x="542" y="11"/>
                </a:lnTo>
                <a:lnTo>
                  <a:pt x="555" y="0"/>
                </a:lnTo>
                <a:lnTo>
                  <a:pt x="548" y="0"/>
                </a:lnTo>
                <a:lnTo>
                  <a:pt x="540" y="8"/>
                </a:lnTo>
                <a:lnTo>
                  <a:pt x="531" y="0"/>
                </a:lnTo>
                <a:lnTo>
                  <a:pt x="525" y="0"/>
                </a:lnTo>
                <a:lnTo>
                  <a:pt x="536" y="11"/>
                </a:lnTo>
                <a:lnTo>
                  <a:pt x="508" y="39"/>
                </a:lnTo>
                <a:lnTo>
                  <a:pt x="483" y="11"/>
                </a:lnTo>
                <a:lnTo>
                  <a:pt x="493" y="0"/>
                </a:lnTo>
                <a:lnTo>
                  <a:pt x="488" y="0"/>
                </a:lnTo>
                <a:lnTo>
                  <a:pt x="479" y="8"/>
                </a:lnTo>
                <a:lnTo>
                  <a:pt x="469" y="0"/>
                </a:lnTo>
                <a:lnTo>
                  <a:pt x="464" y="0"/>
                </a:lnTo>
                <a:lnTo>
                  <a:pt x="475" y="11"/>
                </a:lnTo>
                <a:lnTo>
                  <a:pt x="448" y="39"/>
                </a:lnTo>
                <a:lnTo>
                  <a:pt x="420" y="11"/>
                </a:lnTo>
                <a:lnTo>
                  <a:pt x="432" y="0"/>
                </a:lnTo>
                <a:lnTo>
                  <a:pt x="426" y="0"/>
                </a:lnTo>
                <a:lnTo>
                  <a:pt x="417" y="8"/>
                </a:lnTo>
                <a:lnTo>
                  <a:pt x="409" y="0"/>
                </a:lnTo>
                <a:lnTo>
                  <a:pt x="401" y="0"/>
                </a:lnTo>
                <a:lnTo>
                  <a:pt x="414" y="11"/>
                </a:lnTo>
                <a:lnTo>
                  <a:pt x="386" y="39"/>
                </a:lnTo>
                <a:lnTo>
                  <a:pt x="358" y="11"/>
                </a:lnTo>
                <a:lnTo>
                  <a:pt x="371" y="0"/>
                </a:lnTo>
                <a:lnTo>
                  <a:pt x="366" y="0"/>
                </a:lnTo>
                <a:lnTo>
                  <a:pt x="357" y="8"/>
                </a:lnTo>
                <a:lnTo>
                  <a:pt x="347" y="0"/>
                </a:lnTo>
                <a:lnTo>
                  <a:pt x="342" y="0"/>
                </a:lnTo>
                <a:lnTo>
                  <a:pt x="353" y="11"/>
                </a:lnTo>
                <a:lnTo>
                  <a:pt x="327" y="39"/>
                </a:lnTo>
                <a:lnTo>
                  <a:pt x="299" y="11"/>
                </a:lnTo>
                <a:lnTo>
                  <a:pt x="310" y="0"/>
                </a:lnTo>
                <a:lnTo>
                  <a:pt x="304" y="0"/>
                </a:lnTo>
                <a:lnTo>
                  <a:pt x="295" y="8"/>
                </a:lnTo>
                <a:lnTo>
                  <a:pt x="286" y="0"/>
                </a:lnTo>
                <a:lnTo>
                  <a:pt x="280" y="0"/>
                </a:lnTo>
                <a:lnTo>
                  <a:pt x="292" y="11"/>
                </a:lnTo>
                <a:lnTo>
                  <a:pt x="264" y="39"/>
                </a:lnTo>
                <a:lnTo>
                  <a:pt x="236" y="11"/>
                </a:lnTo>
                <a:lnTo>
                  <a:pt x="250" y="0"/>
                </a:lnTo>
                <a:lnTo>
                  <a:pt x="243" y="0"/>
                </a:lnTo>
                <a:lnTo>
                  <a:pt x="235" y="8"/>
                </a:lnTo>
                <a:lnTo>
                  <a:pt x="225" y="0"/>
                </a:lnTo>
                <a:lnTo>
                  <a:pt x="220" y="0"/>
                </a:lnTo>
                <a:lnTo>
                  <a:pt x="231" y="11"/>
                </a:lnTo>
                <a:lnTo>
                  <a:pt x="203" y="39"/>
                </a:lnTo>
                <a:lnTo>
                  <a:pt x="177" y="11"/>
                </a:lnTo>
                <a:lnTo>
                  <a:pt x="188" y="0"/>
                </a:lnTo>
                <a:lnTo>
                  <a:pt x="183" y="0"/>
                </a:lnTo>
                <a:lnTo>
                  <a:pt x="173" y="8"/>
                </a:lnTo>
                <a:lnTo>
                  <a:pt x="164" y="0"/>
                </a:lnTo>
                <a:lnTo>
                  <a:pt x="159" y="0"/>
                </a:lnTo>
                <a:lnTo>
                  <a:pt x="169" y="11"/>
                </a:lnTo>
                <a:lnTo>
                  <a:pt x="142" y="39"/>
                </a:lnTo>
                <a:lnTo>
                  <a:pt x="114" y="11"/>
                </a:lnTo>
                <a:lnTo>
                  <a:pt x="126" y="0"/>
                </a:lnTo>
                <a:lnTo>
                  <a:pt x="121" y="0"/>
                </a:lnTo>
                <a:lnTo>
                  <a:pt x="112" y="8"/>
                </a:lnTo>
                <a:lnTo>
                  <a:pt x="104" y="0"/>
                </a:lnTo>
                <a:lnTo>
                  <a:pt x="98" y="0"/>
                </a:lnTo>
                <a:lnTo>
                  <a:pt x="109" y="11"/>
                </a:lnTo>
                <a:lnTo>
                  <a:pt x="81" y="39"/>
                </a:lnTo>
                <a:lnTo>
                  <a:pt x="53" y="11"/>
                </a:lnTo>
                <a:lnTo>
                  <a:pt x="66" y="0"/>
                </a:lnTo>
                <a:lnTo>
                  <a:pt x="61" y="0"/>
                </a:lnTo>
                <a:lnTo>
                  <a:pt x="51" y="8"/>
                </a:lnTo>
                <a:lnTo>
                  <a:pt x="42" y="0"/>
                </a:lnTo>
                <a:lnTo>
                  <a:pt x="37" y="0"/>
                </a:lnTo>
                <a:lnTo>
                  <a:pt x="47" y="11"/>
                </a:lnTo>
                <a:lnTo>
                  <a:pt x="21" y="39"/>
                </a:lnTo>
                <a:lnTo>
                  <a:pt x="0" y="19"/>
                </a:lnTo>
                <a:lnTo>
                  <a:pt x="0" y="27"/>
                </a:lnTo>
                <a:lnTo>
                  <a:pt x="18" y="42"/>
                </a:lnTo>
                <a:lnTo>
                  <a:pt x="2" y="56"/>
                </a:lnTo>
                <a:lnTo>
                  <a:pt x="2" y="64"/>
                </a:lnTo>
                <a:lnTo>
                  <a:pt x="21" y="46"/>
                </a:lnTo>
                <a:lnTo>
                  <a:pt x="47" y="74"/>
                </a:lnTo>
                <a:lnTo>
                  <a:pt x="21" y="99"/>
                </a:lnTo>
                <a:lnTo>
                  <a:pt x="2" y="83"/>
                </a:lnTo>
                <a:lnTo>
                  <a:pt x="2" y="88"/>
                </a:lnTo>
                <a:lnTo>
                  <a:pt x="18" y="103"/>
                </a:lnTo>
                <a:lnTo>
                  <a:pt x="5" y="116"/>
                </a:lnTo>
                <a:lnTo>
                  <a:pt x="5" y="122"/>
                </a:lnTo>
                <a:lnTo>
                  <a:pt x="21" y="107"/>
                </a:lnTo>
                <a:lnTo>
                  <a:pt x="47" y="132"/>
                </a:lnTo>
                <a:lnTo>
                  <a:pt x="21" y="160"/>
                </a:lnTo>
                <a:lnTo>
                  <a:pt x="6" y="146"/>
                </a:lnTo>
                <a:lnTo>
                  <a:pt x="6" y="151"/>
                </a:lnTo>
                <a:lnTo>
                  <a:pt x="18" y="163"/>
                </a:lnTo>
                <a:lnTo>
                  <a:pt x="6" y="174"/>
                </a:lnTo>
                <a:lnTo>
                  <a:pt x="6" y="179"/>
                </a:lnTo>
                <a:lnTo>
                  <a:pt x="21" y="167"/>
                </a:lnTo>
                <a:lnTo>
                  <a:pt x="47" y="195"/>
                </a:lnTo>
                <a:lnTo>
                  <a:pt x="21" y="221"/>
                </a:lnTo>
                <a:lnTo>
                  <a:pt x="9" y="210"/>
                </a:lnTo>
                <a:lnTo>
                  <a:pt x="9" y="215"/>
                </a:lnTo>
                <a:lnTo>
                  <a:pt x="18" y="225"/>
                </a:lnTo>
                <a:lnTo>
                  <a:pt x="9" y="234"/>
                </a:lnTo>
                <a:lnTo>
                  <a:pt x="9" y="239"/>
                </a:lnTo>
                <a:lnTo>
                  <a:pt x="21" y="229"/>
                </a:lnTo>
                <a:lnTo>
                  <a:pt x="47" y="254"/>
                </a:lnTo>
                <a:lnTo>
                  <a:pt x="21" y="282"/>
                </a:lnTo>
                <a:lnTo>
                  <a:pt x="10" y="273"/>
                </a:lnTo>
                <a:lnTo>
                  <a:pt x="10" y="278"/>
                </a:lnTo>
                <a:lnTo>
                  <a:pt x="18" y="286"/>
                </a:lnTo>
                <a:lnTo>
                  <a:pt x="10" y="291"/>
                </a:lnTo>
                <a:lnTo>
                  <a:pt x="11" y="297"/>
                </a:lnTo>
                <a:lnTo>
                  <a:pt x="21" y="287"/>
                </a:lnTo>
                <a:lnTo>
                  <a:pt x="47" y="316"/>
                </a:lnTo>
                <a:lnTo>
                  <a:pt x="21" y="344"/>
                </a:lnTo>
                <a:lnTo>
                  <a:pt x="11" y="334"/>
                </a:lnTo>
                <a:lnTo>
                  <a:pt x="11" y="342"/>
                </a:lnTo>
                <a:lnTo>
                  <a:pt x="18" y="346"/>
                </a:lnTo>
                <a:lnTo>
                  <a:pt x="14" y="352"/>
                </a:lnTo>
                <a:lnTo>
                  <a:pt x="14" y="357"/>
                </a:lnTo>
                <a:lnTo>
                  <a:pt x="21" y="350"/>
                </a:lnTo>
                <a:lnTo>
                  <a:pt x="47" y="378"/>
                </a:lnTo>
                <a:lnTo>
                  <a:pt x="21" y="404"/>
                </a:lnTo>
                <a:lnTo>
                  <a:pt x="14" y="398"/>
                </a:lnTo>
                <a:lnTo>
                  <a:pt x="15" y="404"/>
                </a:lnTo>
                <a:lnTo>
                  <a:pt x="18" y="408"/>
                </a:lnTo>
                <a:lnTo>
                  <a:pt x="15" y="409"/>
                </a:lnTo>
                <a:lnTo>
                  <a:pt x="15" y="416"/>
                </a:lnTo>
                <a:lnTo>
                  <a:pt x="21" y="409"/>
                </a:lnTo>
                <a:lnTo>
                  <a:pt x="47" y="437"/>
                </a:lnTo>
                <a:lnTo>
                  <a:pt x="21" y="465"/>
                </a:lnTo>
                <a:lnTo>
                  <a:pt x="18" y="463"/>
                </a:lnTo>
                <a:lnTo>
                  <a:pt x="18" y="468"/>
                </a:lnTo>
                <a:lnTo>
                  <a:pt x="18" y="468"/>
                </a:lnTo>
                <a:lnTo>
                  <a:pt x="18" y="469"/>
                </a:lnTo>
                <a:lnTo>
                  <a:pt x="18" y="475"/>
                </a:lnTo>
                <a:lnTo>
                  <a:pt x="21" y="472"/>
                </a:lnTo>
                <a:lnTo>
                  <a:pt x="47" y="500"/>
                </a:lnTo>
                <a:lnTo>
                  <a:pt x="21" y="525"/>
                </a:lnTo>
                <a:lnTo>
                  <a:pt x="19" y="525"/>
                </a:lnTo>
                <a:lnTo>
                  <a:pt x="19" y="533"/>
                </a:lnTo>
                <a:lnTo>
                  <a:pt x="21" y="533"/>
                </a:lnTo>
                <a:lnTo>
                  <a:pt x="47" y="559"/>
                </a:lnTo>
                <a:lnTo>
                  <a:pt x="21" y="587"/>
                </a:lnTo>
                <a:lnTo>
                  <a:pt x="21" y="595"/>
                </a:lnTo>
                <a:lnTo>
                  <a:pt x="47" y="622"/>
                </a:lnTo>
                <a:lnTo>
                  <a:pt x="23" y="646"/>
                </a:lnTo>
                <a:lnTo>
                  <a:pt x="23" y="651"/>
                </a:lnTo>
                <a:lnTo>
                  <a:pt x="51" y="624"/>
                </a:lnTo>
                <a:lnTo>
                  <a:pt x="80" y="651"/>
                </a:lnTo>
                <a:lnTo>
                  <a:pt x="51" y="679"/>
                </a:lnTo>
                <a:lnTo>
                  <a:pt x="23" y="651"/>
                </a:lnTo>
                <a:lnTo>
                  <a:pt x="25" y="659"/>
                </a:lnTo>
                <a:lnTo>
                  <a:pt x="47" y="683"/>
                </a:lnTo>
                <a:lnTo>
                  <a:pt x="25" y="703"/>
                </a:lnTo>
                <a:lnTo>
                  <a:pt x="27" y="711"/>
                </a:lnTo>
                <a:lnTo>
                  <a:pt x="51" y="684"/>
                </a:lnTo>
                <a:lnTo>
                  <a:pt x="80" y="713"/>
                </a:lnTo>
                <a:lnTo>
                  <a:pt x="55" y="735"/>
                </a:lnTo>
                <a:lnTo>
                  <a:pt x="62" y="735"/>
                </a:lnTo>
                <a:lnTo>
                  <a:pt x="81" y="715"/>
                </a:lnTo>
                <a:lnTo>
                  <a:pt x="102" y="735"/>
                </a:lnTo>
                <a:lnTo>
                  <a:pt x="108" y="735"/>
                </a:lnTo>
                <a:lnTo>
                  <a:pt x="85" y="713"/>
                </a:lnTo>
                <a:lnTo>
                  <a:pt x="112" y="684"/>
                </a:lnTo>
                <a:lnTo>
                  <a:pt x="140" y="713"/>
                </a:lnTo>
                <a:lnTo>
                  <a:pt x="117" y="735"/>
                </a:lnTo>
                <a:lnTo>
                  <a:pt x="122" y="735"/>
                </a:lnTo>
                <a:lnTo>
                  <a:pt x="142" y="715"/>
                </a:lnTo>
                <a:lnTo>
                  <a:pt x="161" y="735"/>
                </a:lnTo>
                <a:lnTo>
                  <a:pt x="169" y="735"/>
                </a:lnTo>
                <a:lnTo>
                  <a:pt x="145" y="713"/>
                </a:lnTo>
                <a:lnTo>
                  <a:pt x="173" y="684"/>
                </a:lnTo>
                <a:lnTo>
                  <a:pt x="201" y="713"/>
                </a:lnTo>
                <a:lnTo>
                  <a:pt x="179" y="735"/>
                </a:lnTo>
                <a:lnTo>
                  <a:pt x="184" y="735"/>
                </a:lnTo>
                <a:lnTo>
                  <a:pt x="203" y="715"/>
                </a:lnTo>
                <a:lnTo>
                  <a:pt x="224" y="735"/>
                </a:lnTo>
                <a:lnTo>
                  <a:pt x="230" y="735"/>
                </a:lnTo>
                <a:lnTo>
                  <a:pt x="207" y="713"/>
                </a:lnTo>
                <a:lnTo>
                  <a:pt x="235" y="684"/>
                </a:lnTo>
                <a:lnTo>
                  <a:pt x="262" y="713"/>
                </a:lnTo>
                <a:lnTo>
                  <a:pt x="239" y="735"/>
                </a:lnTo>
                <a:lnTo>
                  <a:pt x="244" y="735"/>
                </a:lnTo>
                <a:lnTo>
                  <a:pt x="264" y="715"/>
                </a:lnTo>
                <a:lnTo>
                  <a:pt x="286" y="735"/>
                </a:lnTo>
                <a:lnTo>
                  <a:pt x="291" y="735"/>
                </a:lnTo>
                <a:lnTo>
                  <a:pt x="268" y="713"/>
                </a:lnTo>
                <a:lnTo>
                  <a:pt x="295" y="684"/>
                </a:lnTo>
                <a:lnTo>
                  <a:pt x="323" y="713"/>
                </a:lnTo>
                <a:lnTo>
                  <a:pt x="300" y="735"/>
                </a:lnTo>
                <a:lnTo>
                  <a:pt x="306" y="735"/>
                </a:lnTo>
                <a:lnTo>
                  <a:pt x="327" y="715"/>
                </a:lnTo>
                <a:lnTo>
                  <a:pt x="346" y="735"/>
                </a:lnTo>
                <a:lnTo>
                  <a:pt x="351" y="735"/>
                </a:lnTo>
                <a:lnTo>
                  <a:pt x="329" y="713"/>
                </a:lnTo>
                <a:lnTo>
                  <a:pt x="357" y="684"/>
                </a:lnTo>
                <a:lnTo>
                  <a:pt x="385" y="713"/>
                </a:lnTo>
                <a:lnTo>
                  <a:pt x="361" y="735"/>
                </a:lnTo>
                <a:lnTo>
                  <a:pt x="367" y="735"/>
                </a:lnTo>
                <a:lnTo>
                  <a:pt x="386" y="715"/>
                </a:lnTo>
                <a:lnTo>
                  <a:pt x="408" y="735"/>
                </a:lnTo>
                <a:lnTo>
                  <a:pt x="413" y="735"/>
                </a:lnTo>
                <a:lnTo>
                  <a:pt x="390" y="713"/>
                </a:lnTo>
                <a:lnTo>
                  <a:pt x="417" y="684"/>
                </a:lnTo>
                <a:lnTo>
                  <a:pt x="445" y="713"/>
                </a:lnTo>
                <a:lnTo>
                  <a:pt x="422" y="735"/>
                </a:lnTo>
                <a:lnTo>
                  <a:pt x="428" y="735"/>
                </a:lnTo>
                <a:lnTo>
                  <a:pt x="448" y="715"/>
                </a:lnTo>
                <a:lnTo>
                  <a:pt x="467" y="735"/>
                </a:lnTo>
                <a:lnTo>
                  <a:pt x="473" y="735"/>
                </a:lnTo>
                <a:lnTo>
                  <a:pt x="450" y="713"/>
                </a:lnTo>
                <a:lnTo>
                  <a:pt x="479" y="684"/>
                </a:lnTo>
                <a:lnTo>
                  <a:pt x="507" y="713"/>
                </a:lnTo>
                <a:lnTo>
                  <a:pt x="484" y="735"/>
                </a:lnTo>
                <a:lnTo>
                  <a:pt x="489" y="735"/>
                </a:lnTo>
                <a:lnTo>
                  <a:pt x="508" y="715"/>
                </a:lnTo>
                <a:lnTo>
                  <a:pt x="529" y="735"/>
                </a:lnTo>
                <a:lnTo>
                  <a:pt x="535" y="735"/>
                </a:lnTo>
                <a:lnTo>
                  <a:pt x="512" y="713"/>
                </a:lnTo>
                <a:lnTo>
                  <a:pt x="540" y="684"/>
                </a:lnTo>
                <a:lnTo>
                  <a:pt x="567" y="713"/>
                </a:lnTo>
                <a:lnTo>
                  <a:pt x="544" y="735"/>
                </a:lnTo>
                <a:lnTo>
                  <a:pt x="550" y="735"/>
                </a:lnTo>
                <a:lnTo>
                  <a:pt x="570" y="715"/>
                </a:lnTo>
                <a:lnTo>
                  <a:pt x="588" y="735"/>
                </a:lnTo>
                <a:lnTo>
                  <a:pt x="596" y="735"/>
                </a:lnTo>
                <a:lnTo>
                  <a:pt x="574" y="713"/>
                </a:lnTo>
                <a:lnTo>
                  <a:pt x="600" y="684"/>
                </a:lnTo>
                <a:lnTo>
                  <a:pt x="623" y="706"/>
                </a:lnTo>
                <a:lnTo>
                  <a:pt x="623" y="699"/>
                </a:lnTo>
                <a:lnTo>
                  <a:pt x="604" y="683"/>
                </a:lnTo>
                <a:lnTo>
                  <a:pt x="625" y="662"/>
                </a:lnTo>
                <a:close/>
                <a:moveTo>
                  <a:pt x="598" y="622"/>
                </a:moveTo>
                <a:lnTo>
                  <a:pt x="570" y="650"/>
                </a:lnTo>
                <a:lnTo>
                  <a:pt x="542" y="622"/>
                </a:lnTo>
                <a:lnTo>
                  <a:pt x="570" y="594"/>
                </a:lnTo>
                <a:lnTo>
                  <a:pt x="598" y="622"/>
                </a:lnTo>
                <a:close/>
                <a:moveTo>
                  <a:pt x="207" y="346"/>
                </a:moveTo>
                <a:lnTo>
                  <a:pt x="235" y="320"/>
                </a:lnTo>
                <a:lnTo>
                  <a:pt x="262" y="346"/>
                </a:lnTo>
                <a:lnTo>
                  <a:pt x="235" y="374"/>
                </a:lnTo>
                <a:lnTo>
                  <a:pt x="207" y="346"/>
                </a:lnTo>
                <a:close/>
                <a:moveTo>
                  <a:pt x="231" y="378"/>
                </a:moveTo>
                <a:lnTo>
                  <a:pt x="203" y="404"/>
                </a:lnTo>
                <a:lnTo>
                  <a:pt x="177" y="378"/>
                </a:lnTo>
                <a:lnTo>
                  <a:pt x="203" y="350"/>
                </a:lnTo>
                <a:lnTo>
                  <a:pt x="231" y="378"/>
                </a:lnTo>
                <a:close/>
                <a:moveTo>
                  <a:pt x="264" y="350"/>
                </a:moveTo>
                <a:lnTo>
                  <a:pt x="292" y="378"/>
                </a:lnTo>
                <a:lnTo>
                  <a:pt x="264" y="404"/>
                </a:lnTo>
                <a:lnTo>
                  <a:pt x="236" y="378"/>
                </a:lnTo>
                <a:lnTo>
                  <a:pt x="264" y="350"/>
                </a:lnTo>
                <a:close/>
                <a:moveTo>
                  <a:pt x="268" y="346"/>
                </a:moveTo>
                <a:lnTo>
                  <a:pt x="295" y="320"/>
                </a:lnTo>
                <a:lnTo>
                  <a:pt x="323" y="346"/>
                </a:lnTo>
                <a:lnTo>
                  <a:pt x="295" y="374"/>
                </a:lnTo>
                <a:lnTo>
                  <a:pt x="268" y="346"/>
                </a:lnTo>
                <a:close/>
                <a:moveTo>
                  <a:pt x="327" y="350"/>
                </a:moveTo>
                <a:lnTo>
                  <a:pt x="353" y="378"/>
                </a:lnTo>
                <a:lnTo>
                  <a:pt x="327" y="404"/>
                </a:lnTo>
                <a:lnTo>
                  <a:pt x="299" y="378"/>
                </a:lnTo>
                <a:lnTo>
                  <a:pt x="327" y="350"/>
                </a:lnTo>
                <a:close/>
                <a:moveTo>
                  <a:pt x="329" y="346"/>
                </a:moveTo>
                <a:lnTo>
                  <a:pt x="357" y="320"/>
                </a:lnTo>
                <a:lnTo>
                  <a:pt x="385" y="346"/>
                </a:lnTo>
                <a:lnTo>
                  <a:pt x="357" y="374"/>
                </a:lnTo>
                <a:lnTo>
                  <a:pt x="329" y="346"/>
                </a:lnTo>
                <a:close/>
                <a:moveTo>
                  <a:pt x="386" y="350"/>
                </a:moveTo>
                <a:lnTo>
                  <a:pt x="414" y="378"/>
                </a:lnTo>
                <a:lnTo>
                  <a:pt x="386" y="404"/>
                </a:lnTo>
                <a:lnTo>
                  <a:pt x="358" y="378"/>
                </a:lnTo>
                <a:lnTo>
                  <a:pt x="386" y="350"/>
                </a:lnTo>
                <a:close/>
                <a:moveTo>
                  <a:pt x="390" y="346"/>
                </a:moveTo>
                <a:lnTo>
                  <a:pt x="417" y="320"/>
                </a:lnTo>
                <a:lnTo>
                  <a:pt x="445" y="346"/>
                </a:lnTo>
                <a:lnTo>
                  <a:pt x="417" y="374"/>
                </a:lnTo>
                <a:lnTo>
                  <a:pt x="390" y="346"/>
                </a:lnTo>
                <a:close/>
                <a:moveTo>
                  <a:pt x="448" y="350"/>
                </a:moveTo>
                <a:lnTo>
                  <a:pt x="475" y="378"/>
                </a:lnTo>
                <a:lnTo>
                  <a:pt x="448" y="404"/>
                </a:lnTo>
                <a:lnTo>
                  <a:pt x="420" y="378"/>
                </a:lnTo>
                <a:lnTo>
                  <a:pt x="448" y="350"/>
                </a:lnTo>
                <a:close/>
                <a:moveTo>
                  <a:pt x="450" y="346"/>
                </a:moveTo>
                <a:lnTo>
                  <a:pt x="479" y="320"/>
                </a:lnTo>
                <a:lnTo>
                  <a:pt x="507" y="346"/>
                </a:lnTo>
                <a:lnTo>
                  <a:pt x="479" y="374"/>
                </a:lnTo>
                <a:lnTo>
                  <a:pt x="450" y="346"/>
                </a:lnTo>
                <a:close/>
                <a:moveTo>
                  <a:pt x="450" y="286"/>
                </a:moveTo>
                <a:lnTo>
                  <a:pt x="479" y="258"/>
                </a:lnTo>
                <a:lnTo>
                  <a:pt x="507" y="286"/>
                </a:lnTo>
                <a:lnTo>
                  <a:pt x="479" y="313"/>
                </a:lnTo>
                <a:lnTo>
                  <a:pt x="450" y="286"/>
                </a:lnTo>
                <a:close/>
                <a:moveTo>
                  <a:pt x="475" y="316"/>
                </a:moveTo>
                <a:lnTo>
                  <a:pt x="448" y="344"/>
                </a:lnTo>
                <a:lnTo>
                  <a:pt x="420" y="316"/>
                </a:lnTo>
                <a:lnTo>
                  <a:pt x="448" y="287"/>
                </a:lnTo>
                <a:lnTo>
                  <a:pt x="475" y="316"/>
                </a:lnTo>
                <a:close/>
                <a:moveTo>
                  <a:pt x="417" y="313"/>
                </a:moveTo>
                <a:lnTo>
                  <a:pt x="390" y="286"/>
                </a:lnTo>
                <a:lnTo>
                  <a:pt x="417" y="258"/>
                </a:lnTo>
                <a:lnTo>
                  <a:pt x="445" y="286"/>
                </a:lnTo>
                <a:lnTo>
                  <a:pt x="417" y="313"/>
                </a:lnTo>
                <a:close/>
                <a:moveTo>
                  <a:pt x="414" y="316"/>
                </a:moveTo>
                <a:lnTo>
                  <a:pt x="386" y="344"/>
                </a:lnTo>
                <a:lnTo>
                  <a:pt x="358" y="316"/>
                </a:lnTo>
                <a:lnTo>
                  <a:pt x="386" y="287"/>
                </a:lnTo>
                <a:lnTo>
                  <a:pt x="414" y="316"/>
                </a:lnTo>
                <a:close/>
                <a:moveTo>
                  <a:pt x="357" y="313"/>
                </a:moveTo>
                <a:lnTo>
                  <a:pt x="329" y="286"/>
                </a:lnTo>
                <a:lnTo>
                  <a:pt x="357" y="258"/>
                </a:lnTo>
                <a:lnTo>
                  <a:pt x="385" y="286"/>
                </a:lnTo>
                <a:lnTo>
                  <a:pt x="357" y="313"/>
                </a:lnTo>
                <a:close/>
                <a:moveTo>
                  <a:pt x="353" y="316"/>
                </a:moveTo>
                <a:lnTo>
                  <a:pt x="327" y="344"/>
                </a:lnTo>
                <a:lnTo>
                  <a:pt x="299" y="316"/>
                </a:lnTo>
                <a:lnTo>
                  <a:pt x="327" y="287"/>
                </a:lnTo>
                <a:lnTo>
                  <a:pt x="353" y="316"/>
                </a:lnTo>
                <a:close/>
                <a:moveTo>
                  <a:pt x="295" y="313"/>
                </a:moveTo>
                <a:lnTo>
                  <a:pt x="268" y="286"/>
                </a:lnTo>
                <a:lnTo>
                  <a:pt x="295" y="258"/>
                </a:lnTo>
                <a:lnTo>
                  <a:pt x="323" y="286"/>
                </a:lnTo>
                <a:lnTo>
                  <a:pt x="295" y="313"/>
                </a:lnTo>
                <a:close/>
                <a:moveTo>
                  <a:pt x="292" y="316"/>
                </a:moveTo>
                <a:lnTo>
                  <a:pt x="264" y="344"/>
                </a:lnTo>
                <a:lnTo>
                  <a:pt x="236" y="316"/>
                </a:lnTo>
                <a:lnTo>
                  <a:pt x="264" y="287"/>
                </a:lnTo>
                <a:lnTo>
                  <a:pt x="292" y="316"/>
                </a:lnTo>
                <a:close/>
                <a:moveTo>
                  <a:pt x="235" y="313"/>
                </a:moveTo>
                <a:lnTo>
                  <a:pt x="207" y="286"/>
                </a:lnTo>
                <a:lnTo>
                  <a:pt x="235" y="258"/>
                </a:lnTo>
                <a:lnTo>
                  <a:pt x="262" y="286"/>
                </a:lnTo>
                <a:lnTo>
                  <a:pt x="235" y="313"/>
                </a:lnTo>
                <a:close/>
                <a:moveTo>
                  <a:pt x="231" y="316"/>
                </a:moveTo>
                <a:lnTo>
                  <a:pt x="203" y="344"/>
                </a:lnTo>
                <a:lnTo>
                  <a:pt x="177" y="316"/>
                </a:lnTo>
                <a:lnTo>
                  <a:pt x="203" y="287"/>
                </a:lnTo>
                <a:lnTo>
                  <a:pt x="231" y="316"/>
                </a:lnTo>
                <a:close/>
                <a:moveTo>
                  <a:pt x="173" y="313"/>
                </a:moveTo>
                <a:lnTo>
                  <a:pt x="145" y="286"/>
                </a:lnTo>
                <a:lnTo>
                  <a:pt x="173" y="258"/>
                </a:lnTo>
                <a:lnTo>
                  <a:pt x="201" y="286"/>
                </a:lnTo>
                <a:lnTo>
                  <a:pt x="173" y="313"/>
                </a:lnTo>
                <a:close/>
                <a:moveTo>
                  <a:pt x="201" y="346"/>
                </a:moveTo>
                <a:lnTo>
                  <a:pt x="173" y="374"/>
                </a:lnTo>
                <a:lnTo>
                  <a:pt x="145" y="346"/>
                </a:lnTo>
                <a:lnTo>
                  <a:pt x="173" y="320"/>
                </a:lnTo>
                <a:lnTo>
                  <a:pt x="201" y="346"/>
                </a:lnTo>
                <a:close/>
                <a:moveTo>
                  <a:pt x="201" y="408"/>
                </a:moveTo>
                <a:lnTo>
                  <a:pt x="173" y="436"/>
                </a:lnTo>
                <a:lnTo>
                  <a:pt x="145" y="408"/>
                </a:lnTo>
                <a:lnTo>
                  <a:pt x="173" y="380"/>
                </a:lnTo>
                <a:lnTo>
                  <a:pt x="201" y="408"/>
                </a:lnTo>
                <a:close/>
                <a:moveTo>
                  <a:pt x="203" y="409"/>
                </a:moveTo>
                <a:lnTo>
                  <a:pt x="231" y="437"/>
                </a:lnTo>
                <a:lnTo>
                  <a:pt x="203" y="465"/>
                </a:lnTo>
                <a:lnTo>
                  <a:pt x="177" y="437"/>
                </a:lnTo>
                <a:lnTo>
                  <a:pt x="203" y="409"/>
                </a:lnTo>
                <a:close/>
                <a:moveTo>
                  <a:pt x="207" y="408"/>
                </a:moveTo>
                <a:lnTo>
                  <a:pt x="235" y="380"/>
                </a:lnTo>
                <a:lnTo>
                  <a:pt x="262" y="408"/>
                </a:lnTo>
                <a:lnTo>
                  <a:pt x="235" y="436"/>
                </a:lnTo>
                <a:lnTo>
                  <a:pt x="207" y="408"/>
                </a:lnTo>
                <a:close/>
                <a:moveTo>
                  <a:pt x="264" y="409"/>
                </a:moveTo>
                <a:lnTo>
                  <a:pt x="292" y="437"/>
                </a:lnTo>
                <a:lnTo>
                  <a:pt x="264" y="465"/>
                </a:lnTo>
                <a:lnTo>
                  <a:pt x="236" y="437"/>
                </a:lnTo>
                <a:lnTo>
                  <a:pt x="264" y="409"/>
                </a:lnTo>
                <a:close/>
                <a:moveTo>
                  <a:pt x="268" y="408"/>
                </a:moveTo>
                <a:lnTo>
                  <a:pt x="295" y="380"/>
                </a:lnTo>
                <a:lnTo>
                  <a:pt x="323" y="408"/>
                </a:lnTo>
                <a:lnTo>
                  <a:pt x="295" y="436"/>
                </a:lnTo>
                <a:lnTo>
                  <a:pt x="268" y="408"/>
                </a:lnTo>
                <a:close/>
                <a:moveTo>
                  <a:pt x="327" y="409"/>
                </a:moveTo>
                <a:lnTo>
                  <a:pt x="353" y="437"/>
                </a:lnTo>
                <a:lnTo>
                  <a:pt x="327" y="465"/>
                </a:lnTo>
                <a:lnTo>
                  <a:pt x="299" y="437"/>
                </a:lnTo>
                <a:lnTo>
                  <a:pt x="327" y="409"/>
                </a:lnTo>
                <a:close/>
                <a:moveTo>
                  <a:pt x="329" y="408"/>
                </a:moveTo>
                <a:lnTo>
                  <a:pt x="357" y="380"/>
                </a:lnTo>
                <a:lnTo>
                  <a:pt x="385" y="408"/>
                </a:lnTo>
                <a:lnTo>
                  <a:pt x="357" y="436"/>
                </a:lnTo>
                <a:lnTo>
                  <a:pt x="329" y="408"/>
                </a:lnTo>
                <a:close/>
                <a:moveTo>
                  <a:pt x="386" y="409"/>
                </a:moveTo>
                <a:lnTo>
                  <a:pt x="414" y="437"/>
                </a:lnTo>
                <a:lnTo>
                  <a:pt x="386" y="465"/>
                </a:lnTo>
                <a:lnTo>
                  <a:pt x="358" y="437"/>
                </a:lnTo>
                <a:lnTo>
                  <a:pt x="386" y="409"/>
                </a:lnTo>
                <a:close/>
                <a:moveTo>
                  <a:pt x="390" y="408"/>
                </a:moveTo>
                <a:lnTo>
                  <a:pt x="417" y="380"/>
                </a:lnTo>
                <a:lnTo>
                  <a:pt x="445" y="408"/>
                </a:lnTo>
                <a:lnTo>
                  <a:pt x="417" y="436"/>
                </a:lnTo>
                <a:lnTo>
                  <a:pt x="390" y="408"/>
                </a:lnTo>
                <a:close/>
                <a:moveTo>
                  <a:pt x="448" y="409"/>
                </a:moveTo>
                <a:lnTo>
                  <a:pt x="475" y="437"/>
                </a:lnTo>
                <a:lnTo>
                  <a:pt x="448" y="465"/>
                </a:lnTo>
                <a:lnTo>
                  <a:pt x="420" y="437"/>
                </a:lnTo>
                <a:lnTo>
                  <a:pt x="448" y="409"/>
                </a:lnTo>
                <a:close/>
                <a:moveTo>
                  <a:pt x="450" y="408"/>
                </a:moveTo>
                <a:lnTo>
                  <a:pt x="479" y="380"/>
                </a:lnTo>
                <a:lnTo>
                  <a:pt x="507" y="408"/>
                </a:lnTo>
                <a:lnTo>
                  <a:pt x="479" y="436"/>
                </a:lnTo>
                <a:lnTo>
                  <a:pt x="450" y="408"/>
                </a:lnTo>
                <a:close/>
                <a:moveTo>
                  <a:pt x="508" y="409"/>
                </a:moveTo>
                <a:lnTo>
                  <a:pt x="536" y="437"/>
                </a:lnTo>
                <a:lnTo>
                  <a:pt x="508" y="465"/>
                </a:lnTo>
                <a:lnTo>
                  <a:pt x="483" y="437"/>
                </a:lnTo>
                <a:lnTo>
                  <a:pt x="508" y="409"/>
                </a:lnTo>
                <a:close/>
                <a:moveTo>
                  <a:pt x="483" y="378"/>
                </a:moveTo>
                <a:lnTo>
                  <a:pt x="508" y="350"/>
                </a:lnTo>
                <a:lnTo>
                  <a:pt x="536" y="378"/>
                </a:lnTo>
                <a:lnTo>
                  <a:pt x="508" y="404"/>
                </a:lnTo>
                <a:lnTo>
                  <a:pt x="483" y="378"/>
                </a:lnTo>
                <a:close/>
                <a:moveTo>
                  <a:pt x="483" y="316"/>
                </a:moveTo>
                <a:lnTo>
                  <a:pt x="508" y="287"/>
                </a:lnTo>
                <a:lnTo>
                  <a:pt x="536" y="316"/>
                </a:lnTo>
                <a:lnTo>
                  <a:pt x="508" y="344"/>
                </a:lnTo>
                <a:lnTo>
                  <a:pt x="483" y="316"/>
                </a:lnTo>
                <a:close/>
                <a:moveTo>
                  <a:pt x="483" y="254"/>
                </a:moveTo>
                <a:lnTo>
                  <a:pt x="508" y="229"/>
                </a:lnTo>
                <a:lnTo>
                  <a:pt x="536" y="254"/>
                </a:lnTo>
                <a:lnTo>
                  <a:pt x="508" y="282"/>
                </a:lnTo>
                <a:lnTo>
                  <a:pt x="483" y="254"/>
                </a:lnTo>
                <a:close/>
                <a:moveTo>
                  <a:pt x="479" y="253"/>
                </a:moveTo>
                <a:lnTo>
                  <a:pt x="450" y="225"/>
                </a:lnTo>
                <a:lnTo>
                  <a:pt x="479" y="197"/>
                </a:lnTo>
                <a:lnTo>
                  <a:pt x="507" y="225"/>
                </a:lnTo>
                <a:lnTo>
                  <a:pt x="479" y="253"/>
                </a:lnTo>
                <a:close/>
                <a:moveTo>
                  <a:pt x="475" y="254"/>
                </a:moveTo>
                <a:lnTo>
                  <a:pt x="448" y="282"/>
                </a:lnTo>
                <a:lnTo>
                  <a:pt x="420" y="254"/>
                </a:lnTo>
                <a:lnTo>
                  <a:pt x="448" y="229"/>
                </a:lnTo>
                <a:lnTo>
                  <a:pt x="475" y="254"/>
                </a:lnTo>
                <a:close/>
                <a:moveTo>
                  <a:pt x="417" y="253"/>
                </a:moveTo>
                <a:lnTo>
                  <a:pt x="390" y="225"/>
                </a:lnTo>
                <a:lnTo>
                  <a:pt x="417" y="197"/>
                </a:lnTo>
                <a:lnTo>
                  <a:pt x="445" y="225"/>
                </a:lnTo>
                <a:lnTo>
                  <a:pt x="417" y="253"/>
                </a:lnTo>
                <a:close/>
                <a:moveTo>
                  <a:pt x="414" y="254"/>
                </a:moveTo>
                <a:lnTo>
                  <a:pt x="386" y="282"/>
                </a:lnTo>
                <a:lnTo>
                  <a:pt x="358" y="254"/>
                </a:lnTo>
                <a:lnTo>
                  <a:pt x="386" y="229"/>
                </a:lnTo>
                <a:lnTo>
                  <a:pt x="414" y="254"/>
                </a:lnTo>
                <a:close/>
                <a:moveTo>
                  <a:pt x="357" y="253"/>
                </a:moveTo>
                <a:lnTo>
                  <a:pt x="329" y="225"/>
                </a:lnTo>
                <a:lnTo>
                  <a:pt x="357" y="197"/>
                </a:lnTo>
                <a:lnTo>
                  <a:pt x="385" y="225"/>
                </a:lnTo>
                <a:lnTo>
                  <a:pt x="357" y="253"/>
                </a:lnTo>
                <a:close/>
                <a:moveTo>
                  <a:pt x="353" y="254"/>
                </a:moveTo>
                <a:lnTo>
                  <a:pt x="327" y="282"/>
                </a:lnTo>
                <a:lnTo>
                  <a:pt x="299" y="254"/>
                </a:lnTo>
                <a:lnTo>
                  <a:pt x="327" y="229"/>
                </a:lnTo>
                <a:lnTo>
                  <a:pt x="353" y="254"/>
                </a:lnTo>
                <a:close/>
                <a:moveTo>
                  <a:pt x="295" y="253"/>
                </a:moveTo>
                <a:lnTo>
                  <a:pt x="268" y="225"/>
                </a:lnTo>
                <a:lnTo>
                  <a:pt x="295" y="197"/>
                </a:lnTo>
                <a:lnTo>
                  <a:pt x="323" y="225"/>
                </a:lnTo>
                <a:lnTo>
                  <a:pt x="295" y="253"/>
                </a:lnTo>
                <a:close/>
                <a:moveTo>
                  <a:pt x="292" y="254"/>
                </a:moveTo>
                <a:lnTo>
                  <a:pt x="264" y="282"/>
                </a:lnTo>
                <a:lnTo>
                  <a:pt x="236" y="254"/>
                </a:lnTo>
                <a:lnTo>
                  <a:pt x="264" y="229"/>
                </a:lnTo>
                <a:lnTo>
                  <a:pt x="292" y="254"/>
                </a:lnTo>
                <a:close/>
                <a:moveTo>
                  <a:pt x="235" y="253"/>
                </a:moveTo>
                <a:lnTo>
                  <a:pt x="207" y="225"/>
                </a:lnTo>
                <a:lnTo>
                  <a:pt x="235" y="197"/>
                </a:lnTo>
                <a:lnTo>
                  <a:pt x="262" y="225"/>
                </a:lnTo>
                <a:lnTo>
                  <a:pt x="235" y="253"/>
                </a:lnTo>
                <a:close/>
                <a:moveTo>
                  <a:pt x="231" y="254"/>
                </a:moveTo>
                <a:lnTo>
                  <a:pt x="203" y="282"/>
                </a:lnTo>
                <a:lnTo>
                  <a:pt x="177" y="254"/>
                </a:lnTo>
                <a:lnTo>
                  <a:pt x="203" y="229"/>
                </a:lnTo>
                <a:lnTo>
                  <a:pt x="231" y="254"/>
                </a:lnTo>
                <a:close/>
                <a:moveTo>
                  <a:pt x="173" y="253"/>
                </a:moveTo>
                <a:lnTo>
                  <a:pt x="145" y="225"/>
                </a:lnTo>
                <a:lnTo>
                  <a:pt x="173" y="197"/>
                </a:lnTo>
                <a:lnTo>
                  <a:pt x="201" y="225"/>
                </a:lnTo>
                <a:lnTo>
                  <a:pt x="173" y="253"/>
                </a:lnTo>
                <a:close/>
                <a:moveTo>
                  <a:pt x="169" y="254"/>
                </a:moveTo>
                <a:lnTo>
                  <a:pt x="142" y="282"/>
                </a:lnTo>
                <a:lnTo>
                  <a:pt x="114" y="254"/>
                </a:lnTo>
                <a:lnTo>
                  <a:pt x="142" y="229"/>
                </a:lnTo>
                <a:lnTo>
                  <a:pt x="169" y="254"/>
                </a:lnTo>
                <a:close/>
                <a:moveTo>
                  <a:pt x="169" y="316"/>
                </a:moveTo>
                <a:lnTo>
                  <a:pt x="142" y="344"/>
                </a:lnTo>
                <a:lnTo>
                  <a:pt x="114" y="316"/>
                </a:lnTo>
                <a:lnTo>
                  <a:pt x="142" y="287"/>
                </a:lnTo>
                <a:lnTo>
                  <a:pt x="169" y="316"/>
                </a:lnTo>
                <a:close/>
                <a:moveTo>
                  <a:pt x="169" y="378"/>
                </a:moveTo>
                <a:lnTo>
                  <a:pt x="142" y="404"/>
                </a:lnTo>
                <a:lnTo>
                  <a:pt x="114" y="378"/>
                </a:lnTo>
                <a:lnTo>
                  <a:pt x="142" y="350"/>
                </a:lnTo>
                <a:lnTo>
                  <a:pt x="169" y="378"/>
                </a:lnTo>
                <a:close/>
                <a:moveTo>
                  <a:pt x="169" y="437"/>
                </a:moveTo>
                <a:lnTo>
                  <a:pt x="142" y="465"/>
                </a:lnTo>
                <a:lnTo>
                  <a:pt x="114" y="437"/>
                </a:lnTo>
                <a:lnTo>
                  <a:pt x="142" y="409"/>
                </a:lnTo>
                <a:lnTo>
                  <a:pt x="169" y="437"/>
                </a:lnTo>
                <a:close/>
                <a:moveTo>
                  <a:pt x="169" y="500"/>
                </a:moveTo>
                <a:lnTo>
                  <a:pt x="142" y="525"/>
                </a:lnTo>
                <a:lnTo>
                  <a:pt x="114" y="500"/>
                </a:lnTo>
                <a:lnTo>
                  <a:pt x="142" y="472"/>
                </a:lnTo>
                <a:lnTo>
                  <a:pt x="169" y="500"/>
                </a:lnTo>
                <a:close/>
                <a:moveTo>
                  <a:pt x="145" y="468"/>
                </a:moveTo>
                <a:lnTo>
                  <a:pt x="173" y="441"/>
                </a:lnTo>
                <a:lnTo>
                  <a:pt x="201" y="468"/>
                </a:lnTo>
                <a:lnTo>
                  <a:pt x="173" y="496"/>
                </a:lnTo>
                <a:lnTo>
                  <a:pt x="145" y="468"/>
                </a:lnTo>
                <a:close/>
                <a:moveTo>
                  <a:pt x="203" y="472"/>
                </a:moveTo>
                <a:lnTo>
                  <a:pt x="231" y="500"/>
                </a:lnTo>
                <a:lnTo>
                  <a:pt x="203" y="525"/>
                </a:lnTo>
                <a:lnTo>
                  <a:pt x="177" y="500"/>
                </a:lnTo>
                <a:lnTo>
                  <a:pt x="203" y="472"/>
                </a:lnTo>
                <a:close/>
                <a:moveTo>
                  <a:pt x="207" y="468"/>
                </a:moveTo>
                <a:lnTo>
                  <a:pt x="235" y="441"/>
                </a:lnTo>
                <a:lnTo>
                  <a:pt x="262" y="468"/>
                </a:lnTo>
                <a:lnTo>
                  <a:pt x="235" y="496"/>
                </a:lnTo>
                <a:lnTo>
                  <a:pt x="207" y="468"/>
                </a:lnTo>
                <a:close/>
                <a:moveTo>
                  <a:pt x="264" y="472"/>
                </a:moveTo>
                <a:lnTo>
                  <a:pt x="292" y="500"/>
                </a:lnTo>
                <a:lnTo>
                  <a:pt x="264" y="525"/>
                </a:lnTo>
                <a:lnTo>
                  <a:pt x="236" y="500"/>
                </a:lnTo>
                <a:lnTo>
                  <a:pt x="264" y="472"/>
                </a:lnTo>
                <a:close/>
                <a:moveTo>
                  <a:pt x="268" y="468"/>
                </a:moveTo>
                <a:lnTo>
                  <a:pt x="295" y="441"/>
                </a:lnTo>
                <a:lnTo>
                  <a:pt x="323" y="468"/>
                </a:lnTo>
                <a:lnTo>
                  <a:pt x="295" y="496"/>
                </a:lnTo>
                <a:lnTo>
                  <a:pt x="268" y="468"/>
                </a:lnTo>
                <a:close/>
                <a:moveTo>
                  <a:pt x="327" y="472"/>
                </a:moveTo>
                <a:lnTo>
                  <a:pt x="353" y="500"/>
                </a:lnTo>
                <a:lnTo>
                  <a:pt x="327" y="525"/>
                </a:lnTo>
                <a:lnTo>
                  <a:pt x="299" y="500"/>
                </a:lnTo>
                <a:lnTo>
                  <a:pt x="327" y="472"/>
                </a:lnTo>
                <a:close/>
                <a:moveTo>
                  <a:pt x="329" y="468"/>
                </a:moveTo>
                <a:lnTo>
                  <a:pt x="357" y="441"/>
                </a:lnTo>
                <a:lnTo>
                  <a:pt x="385" y="468"/>
                </a:lnTo>
                <a:lnTo>
                  <a:pt x="357" y="496"/>
                </a:lnTo>
                <a:lnTo>
                  <a:pt x="329" y="468"/>
                </a:lnTo>
                <a:close/>
                <a:moveTo>
                  <a:pt x="386" y="472"/>
                </a:moveTo>
                <a:lnTo>
                  <a:pt x="414" y="500"/>
                </a:lnTo>
                <a:lnTo>
                  <a:pt x="386" y="525"/>
                </a:lnTo>
                <a:lnTo>
                  <a:pt x="358" y="500"/>
                </a:lnTo>
                <a:lnTo>
                  <a:pt x="386" y="472"/>
                </a:lnTo>
                <a:close/>
                <a:moveTo>
                  <a:pt x="390" y="468"/>
                </a:moveTo>
                <a:lnTo>
                  <a:pt x="417" y="441"/>
                </a:lnTo>
                <a:lnTo>
                  <a:pt x="445" y="468"/>
                </a:lnTo>
                <a:lnTo>
                  <a:pt x="417" y="496"/>
                </a:lnTo>
                <a:lnTo>
                  <a:pt x="390" y="468"/>
                </a:lnTo>
                <a:close/>
                <a:moveTo>
                  <a:pt x="448" y="472"/>
                </a:moveTo>
                <a:lnTo>
                  <a:pt x="475" y="500"/>
                </a:lnTo>
                <a:lnTo>
                  <a:pt x="448" y="525"/>
                </a:lnTo>
                <a:lnTo>
                  <a:pt x="420" y="500"/>
                </a:lnTo>
                <a:lnTo>
                  <a:pt x="448" y="472"/>
                </a:lnTo>
                <a:close/>
                <a:moveTo>
                  <a:pt x="450" y="468"/>
                </a:moveTo>
                <a:lnTo>
                  <a:pt x="479" y="441"/>
                </a:lnTo>
                <a:lnTo>
                  <a:pt x="507" y="468"/>
                </a:lnTo>
                <a:lnTo>
                  <a:pt x="479" y="496"/>
                </a:lnTo>
                <a:lnTo>
                  <a:pt x="450" y="468"/>
                </a:lnTo>
                <a:close/>
                <a:moveTo>
                  <a:pt x="508" y="472"/>
                </a:moveTo>
                <a:lnTo>
                  <a:pt x="536" y="500"/>
                </a:lnTo>
                <a:lnTo>
                  <a:pt x="508" y="525"/>
                </a:lnTo>
                <a:lnTo>
                  <a:pt x="483" y="500"/>
                </a:lnTo>
                <a:lnTo>
                  <a:pt x="508" y="472"/>
                </a:lnTo>
                <a:close/>
                <a:moveTo>
                  <a:pt x="512" y="468"/>
                </a:moveTo>
                <a:lnTo>
                  <a:pt x="540" y="441"/>
                </a:lnTo>
                <a:lnTo>
                  <a:pt x="567" y="468"/>
                </a:lnTo>
                <a:lnTo>
                  <a:pt x="540" y="496"/>
                </a:lnTo>
                <a:lnTo>
                  <a:pt x="512" y="468"/>
                </a:lnTo>
                <a:close/>
                <a:moveTo>
                  <a:pt x="512" y="408"/>
                </a:moveTo>
                <a:lnTo>
                  <a:pt x="540" y="380"/>
                </a:lnTo>
                <a:lnTo>
                  <a:pt x="567" y="408"/>
                </a:lnTo>
                <a:lnTo>
                  <a:pt x="540" y="436"/>
                </a:lnTo>
                <a:lnTo>
                  <a:pt x="512" y="408"/>
                </a:lnTo>
                <a:close/>
                <a:moveTo>
                  <a:pt x="512" y="346"/>
                </a:moveTo>
                <a:lnTo>
                  <a:pt x="540" y="320"/>
                </a:lnTo>
                <a:lnTo>
                  <a:pt x="567" y="346"/>
                </a:lnTo>
                <a:lnTo>
                  <a:pt x="540" y="374"/>
                </a:lnTo>
                <a:lnTo>
                  <a:pt x="512" y="346"/>
                </a:lnTo>
                <a:close/>
                <a:moveTo>
                  <a:pt x="512" y="286"/>
                </a:moveTo>
                <a:lnTo>
                  <a:pt x="540" y="258"/>
                </a:lnTo>
                <a:lnTo>
                  <a:pt x="567" y="286"/>
                </a:lnTo>
                <a:lnTo>
                  <a:pt x="540" y="313"/>
                </a:lnTo>
                <a:lnTo>
                  <a:pt x="512" y="286"/>
                </a:lnTo>
                <a:close/>
                <a:moveTo>
                  <a:pt x="512" y="225"/>
                </a:moveTo>
                <a:lnTo>
                  <a:pt x="540" y="197"/>
                </a:lnTo>
                <a:lnTo>
                  <a:pt x="567" y="225"/>
                </a:lnTo>
                <a:lnTo>
                  <a:pt x="540" y="253"/>
                </a:lnTo>
                <a:lnTo>
                  <a:pt x="512" y="225"/>
                </a:lnTo>
                <a:close/>
                <a:moveTo>
                  <a:pt x="512" y="163"/>
                </a:moveTo>
                <a:lnTo>
                  <a:pt x="540" y="136"/>
                </a:lnTo>
                <a:lnTo>
                  <a:pt x="567" y="163"/>
                </a:lnTo>
                <a:lnTo>
                  <a:pt x="540" y="191"/>
                </a:lnTo>
                <a:lnTo>
                  <a:pt x="512" y="163"/>
                </a:lnTo>
                <a:close/>
                <a:moveTo>
                  <a:pt x="536" y="195"/>
                </a:moveTo>
                <a:lnTo>
                  <a:pt x="508" y="221"/>
                </a:lnTo>
                <a:lnTo>
                  <a:pt x="483" y="195"/>
                </a:lnTo>
                <a:lnTo>
                  <a:pt x="508" y="167"/>
                </a:lnTo>
                <a:lnTo>
                  <a:pt x="536" y="195"/>
                </a:lnTo>
                <a:close/>
                <a:moveTo>
                  <a:pt x="479" y="191"/>
                </a:moveTo>
                <a:lnTo>
                  <a:pt x="450" y="163"/>
                </a:lnTo>
                <a:lnTo>
                  <a:pt x="479" y="136"/>
                </a:lnTo>
                <a:lnTo>
                  <a:pt x="507" y="163"/>
                </a:lnTo>
                <a:lnTo>
                  <a:pt x="479" y="191"/>
                </a:lnTo>
                <a:close/>
                <a:moveTo>
                  <a:pt x="475" y="195"/>
                </a:moveTo>
                <a:lnTo>
                  <a:pt x="448" y="221"/>
                </a:lnTo>
                <a:lnTo>
                  <a:pt x="420" y="195"/>
                </a:lnTo>
                <a:lnTo>
                  <a:pt x="448" y="167"/>
                </a:lnTo>
                <a:lnTo>
                  <a:pt x="475" y="195"/>
                </a:lnTo>
                <a:close/>
                <a:moveTo>
                  <a:pt x="417" y="191"/>
                </a:moveTo>
                <a:lnTo>
                  <a:pt x="390" y="163"/>
                </a:lnTo>
                <a:lnTo>
                  <a:pt x="417" y="136"/>
                </a:lnTo>
                <a:lnTo>
                  <a:pt x="445" y="163"/>
                </a:lnTo>
                <a:lnTo>
                  <a:pt x="417" y="191"/>
                </a:lnTo>
                <a:close/>
                <a:moveTo>
                  <a:pt x="414" y="195"/>
                </a:moveTo>
                <a:lnTo>
                  <a:pt x="386" y="221"/>
                </a:lnTo>
                <a:lnTo>
                  <a:pt x="358" y="195"/>
                </a:lnTo>
                <a:lnTo>
                  <a:pt x="386" y="167"/>
                </a:lnTo>
                <a:lnTo>
                  <a:pt x="414" y="195"/>
                </a:lnTo>
                <a:close/>
                <a:moveTo>
                  <a:pt x="357" y="191"/>
                </a:moveTo>
                <a:lnTo>
                  <a:pt x="329" y="163"/>
                </a:lnTo>
                <a:lnTo>
                  <a:pt x="357" y="136"/>
                </a:lnTo>
                <a:lnTo>
                  <a:pt x="385" y="163"/>
                </a:lnTo>
                <a:lnTo>
                  <a:pt x="357" y="191"/>
                </a:lnTo>
                <a:close/>
                <a:moveTo>
                  <a:pt x="353" y="195"/>
                </a:moveTo>
                <a:lnTo>
                  <a:pt x="327" y="221"/>
                </a:lnTo>
                <a:lnTo>
                  <a:pt x="299" y="195"/>
                </a:lnTo>
                <a:lnTo>
                  <a:pt x="327" y="167"/>
                </a:lnTo>
                <a:lnTo>
                  <a:pt x="353" y="195"/>
                </a:lnTo>
                <a:close/>
                <a:moveTo>
                  <a:pt x="295" y="191"/>
                </a:moveTo>
                <a:lnTo>
                  <a:pt x="268" y="163"/>
                </a:lnTo>
                <a:lnTo>
                  <a:pt x="295" y="136"/>
                </a:lnTo>
                <a:lnTo>
                  <a:pt x="323" y="163"/>
                </a:lnTo>
                <a:lnTo>
                  <a:pt x="295" y="191"/>
                </a:lnTo>
                <a:close/>
                <a:moveTo>
                  <a:pt x="292" y="195"/>
                </a:moveTo>
                <a:lnTo>
                  <a:pt x="264" y="221"/>
                </a:lnTo>
                <a:lnTo>
                  <a:pt x="236" y="195"/>
                </a:lnTo>
                <a:lnTo>
                  <a:pt x="264" y="167"/>
                </a:lnTo>
                <a:lnTo>
                  <a:pt x="292" y="195"/>
                </a:lnTo>
                <a:close/>
                <a:moveTo>
                  <a:pt x="235" y="191"/>
                </a:moveTo>
                <a:lnTo>
                  <a:pt x="207" y="163"/>
                </a:lnTo>
                <a:lnTo>
                  <a:pt x="235" y="136"/>
                </a:lnTo>
                <a:lnTo>
                  <a:pt x="262" y="163"/>
                </a:lnTo>
                <a:lnTo>
                  <a:pt x="235" y="191"/>
                </a:lnTo>
                <a:close/>
                <a:moveTo>
                  <a:pt x="231" y="195"/>
                </a:moveTo>
                <a:lnTo>
                  <a:pt x="203" y="221"/>
                </a:lnTo>
                <a:lnTo>
                  <a:pt x="177" y="195"/>
                </a:lnTo>
                <a:lnTo>
                  <a:pt x="203" y="167"/>
                </a:lnTo>
                <a:lnTo>
                  <a:pt x="231" y="195"/>
                </a:lnTo>
                <a:close/>
                <a:moveTo>
                  <a:pt x="173" y="191"/>
                </a:moveTo>
                <a:lnTo>
                  <a:pt x="145" y="163"/>
                </a:lnTo>
                <a:lnTo>
                  <a:pt x="173" y="136"/>
                </a:lnTo>
                <a:lnTo>
                  <a:pt x="201" y="163"/>
                </a:lnTo>
                <a:lnTo>
                  <a:pt x="173" y="191"/>
                </a:lnTo>
                <a:close/>
                <a:moveTo>
                  <a:pt x="169" y="195"/>
                </a:moveTo>
                <a:lnTo>
                  <a:pt x="142" y="221"/>
                </a:lnTo>
                <a:lnTo>
                  <a:pt x="114" y="195"/>
                </a:lnTo>
                <a:lnTo>
                  <a:pt x="142" y="167"/>
                </a:lnTo>
                <a:lnTo>
                  <a:pt x="169" y="195"/>
                </a:lnTo>
                <a:close/>
                <a:moveTo>
                  <a:pt x="112" y="191"/>
                </a:moveTo>
                <a:lnTo>
                  <a:pt x="85" y="163"/>
                </a:lnTo>
                <a:lnTo>
                  <a:pt x="112" y="136"/>
                </a:lnTo>
                <a:lnTo>
                  <a:pt x="140" y="163"/>
                </a:lnTo>
                <a:lnTo>
                  <a:pt x="112" y="191"/>
                </a:lnTo>
                <a:close/>
                <a:moveTo>
                  <a:pt x="140" y="225"/>
                </a:moveTo>
                <a:lnTo>
                  <a:pt x="112" y="253"/>
                </a:lnTo>
                <a:lnTo>
                  <a:pt x="85" y="225"/>
                </a:lnTo>
                <a:lnTo>
                  <a:pt x="112" y="197"/>
                </a:lnTo>
                <a:lnTo>
                  <a:pt x="140" y="225"/>
                </a:lnTo>
                <a:close/>
                <a:moveTo>
                  <a:pt x="140" y="286"/>
                </a:moveTo>
                <a:lnTo>
                  <a:pt x="112" y="313"/>
                </a:lnTo>
                <a:lnTo>
                  <a:pt x="85" y="286"/>
                </a:lnTo>
                <a:lnTo>
                  <a:pt x="112" y="258"/>
                </a:lnTo>
                <a:lnTo>
                  <a:pt x="140" y="286"/>
                </a:lnTo>
                <a:close/>
                <a:moveTo>
                  <a:pt x="140" y="346"/>
                </a:moveTo>
                <a:lnTo>
                  <a:pt x="112" y="374"/>
                </a:lnTo>
                <a:lnTo>
                  <a:pt x="85" y="346"/>
                </a:lnTo>
                <a:lnTo>
                  <a:pt x="112" y="320"/>
                </a:lnTo>
                <a:lnTo>
                  <a:pt x="140" y="346"/>
                </a:lnTo>
                <a:close/>
                <a:moveTo>
                  <a:pt x="140" y="408"/>
                </a:moveTo>
                <a:lnTo>
                  <a:pt x="112" y="436"/>
                </a:lnTo>
                <a:lnTo>
                  <a:pt x="85" y="408"/>
                </a:lnTo>
                <a:lnTo>
                  <a:pt x="112" y="380"/>
                </a:lnTo>
                <a:lnTo>
                  <a:pt x="140" y="408"/>
                </a:lnTo>
                <a:close/>
                <a:moveTo>
                  <a:pt x="140" y="468"/>
                </a:moveTo>
                <a:lnTo>
                  <a:pt x="112" y="496"/>
                </a:lnTo>
                <a:lnTo>
                  <a:pt x="85" y="468"/>
                </a:lnTo>
                <a:lnTo>
                  <a:pt x="112" y="441"/>
                </a:lnTo>
                <a:lnTo>
                  <a:pt x="140" y="468"/>
                </a:lnTo>
                <a:close/>
                <a:moveTo>
                  <a:pt x="140" y="529"/>
                </a:moveTo>
                <a:lnTo>
                  <a:pt x="112" y="558"/>
                </a:lnTo>
                <a:lnTo>
                  <a:pt x="85" y="529"/>
                </a:lnTo>
                <a:lnTo>
                  <a:pt x="112" y="501"/>
                </a:lnTo>
                <a:lnTo>
                  <a:pt x="140" y="529"/>
                </a:lnTo>
                <a:close/>
                <a:moveTo>
                  <a:pt x="142" y="533"/>
                </a:moveTo>
                <a:lnTo>
                  <a:pt x="169" y="559"/>
                </a:lnTo>
                <a:lnTo>
                  <a:pt x="142" y="587"/>
                </a:lnTo>
                <a:lnTo>
                  <a:pt x="114" y="559"/>
                </a:lnTo>
                <a:lnTo>
                  <a:pt x="142" y="533"/>
                </a:lnTo>
                <a:close/>
                <a:moveTo>
                  <a:pt x="145" y="529"/>
                </a:moveTo>
                <a:lnTo>
                  <a:pt x="173" y="501"/>
                </a:lnTo>
                <a:lnTo>
                  <a:pt x="201" y="529"/>
                </a:lnTo>
                <a:lnTo>
                  <a:pt x="173" y="558"/>
                </a:lnTo>
                <a:lnTo>
                  <a:pt x="145" y="529"/>
                </a:lnTo>
                <a:close/>
                <a:moveTo>
                  <a:pt x="203" y="533"/>
                </a:moveTo>
                <a:lnTo>
                  <a:pt x="231" y="559"/>
                </a:lnTo>
                <a:lnTo>
                  <a:pt x="203" y="587"/>
                </a:lnTo>
                <a:lnTo>
                  <a:pt x="177" y="559"/>
                </a:lnTo>
                <a:lnTo>
                  <a:pt x="203" y="533"/>
                </a:lnTo>
                <a:close/>
                <a:moveTo>
                  <a:pt x="207" y="529"/>
                </a:moveTo>
                <a:lnTo>
                  <a:pt x="235" y="501"/>
                </a:lnTo>
                <a:lnTo>
                  <a:pt x="262" y="529"/>
                </a:lnTo>
                <a:lnTo>
                  <a:pt x="235" y="558"/>
                </a:lnTo>
                <a:lnTo>
                  <a:pt x="207" y="529"/>
                </a:lnTo>
                <a:close/>
                <a:moveTo>
                  <a:pt x="264" y="533"/>
                </a:moveTo>
                <a:lnTo>
                  <a:pt x="292" y="559"/>
                </a:lnTo>
                <a:lnTo>
                  <a:pt x="264" y="587"/>
                </a:lnTo>
                <a:lnTo>
                  <a:pt x="236" y="559"/>
                </a:lnTo>
                <a:lnTo>
                  <a:pt x="264" y="533"/>
                </a:lnTo>
                <a:close/>
                <a:moveTo>
                  <a:pt x="268" y="529"/>
                </a:moveTo>
                <a:lnTo>
                  <a:pt x="295" y="501"/>
                </a:lnTo>
                <a:lnTo>
                  <a:pt x="323" y="529"/>
                </a:lnTo>
                <a:lnTo>
                  <a:pt x="295" y="558"/>
                </a:lnTo>
                <a:lnTo>
                  <a:pt x="268" y="529"/>
                </a:lnTo>
                <a:close/>
                <a:moveTo>
                  <a:pt x="327" y="533"/>
                </a:moveTo>
                <a:lnTo>
                  <a:pt x="353" y="559"/>
                </a:lnTo>
                <a:lnTo>
                  <a:pt x="327" y="587"/>
                </a:lnTo>
                <a:lnTo>
                  <a:pt x="299" y="559"/>
                </a:lnTo>
                <a:lnTo>
                  <a:pt x="327" y="533"/>
                </a:lnTo>
                <a:close/>
                <a:moveTo>
                  <a:pt x="329" y="529"/>
                </a:moveTo>
                <a:lnTo>
                  <a:pt x="357" y="501"/>
                </a:lnTo>
                <a:lnTo>
                  <a:pt x="385" y="529"/>
                </a:lnTo>
                <a:lnTo>
                  <a:pt x="357" y="558"/>
                </a:lnTo>
                <a:lnTo>
                  <a:pt x="329" y="529"/>
                </a:lnTo>
                <a:close/>
                <a:moveTo>
                  <a:pt x="386" y="533"/>
                </a:moveTo>
                <a:lnTo>
                  <a:pt x="414" y="559"/>
                </a:lnTo>
                <a:lnTo>
                  <a:pt x="386" y="587"/>
                </a:lnTo>
                <a:lnTo>
                  <a:pt x="358" y="559"/>
                </a:lnTo>
                <a:lnTo>
                  <a:pt x="386" y="533"/>
                </a:lnTo>
                <a:close/>
                <a:moveTo>
                  <a:pt x="390" y="529"/>
                </a:moveTo>
                <a:lnTo>
                  <a:pt x="417" y="501"/>
                </a:lnTo>
                <a:lnTo>
                  <a:pt x="445" y="529"/>
                </a:lnTo>
                <a:lnTo>
                  <a:pt x="417" y="558"/>
                </a:lnTo>
                <a:lnTo>
                  <a:pt x="390" y="529"/>
                </a:lnTo>
                <a:close/>
                <a:moveTo>
                  <a:pt x="448" y="533"/>
                </a:moveTo>
                <a:lnTo>
                  <a:pt x="475" y="559"/>
                </a:lnTo>
                <a:lnTo>
                  <a:pt x="448" y="587"/>
                </a:lnTo>
                <a:lnTo>
                  <a:pt x="420" y="559"/>
                </a:lnTo>
                <a:lnTo>
                  <a:pt x="448" y="533"/>
                </a:lnTo>
                <a:close/>
                <a:moveTo>
                  <a:pt x="450" y="529"/>
                </a:moveTo>
                <a:lnTo>
                  <a:pt x="479" y="501"/>
                </a:lnTo>
                <a:lnTo>
                  <a:pt x="507" y="529"/>
                </a:lnTo>
                <a:lnTo>
                  <a:pt x="479" y="558"/>
                </a:lnTo>
                <a:lnTo>
                  <a:pt x="450" y="529"/>
                </a:lnTo>
                <a:close/>
                <a:moveTo>
                  <a:pt x="508" y="533"/>
                </a:moveTo>
                <a:lnTo>
                  <a:pt x="536" y="559"/>
                </a:lnTo>
                <a:lnTo>
                  <a:pt x="508" y="587"/>
                </a:lnTo>
                <a:lnTo>
                  <a:pt x="483" y="559"/>
                </a:lnTo>
                <a:lnTo>
                  <a:pt x="508" y="533"/>
                </a:lnTo>
                <a:close/>
                <a:moveTo>
                  <a:pt x="512" y="529"/>
                </a:moveTo>
                <a:lnTo>
                  <a:pt x="540" y="501"/>
                </a:lnTo>
                <a:lnTo>
                  <a:pt x="567" y="529"/>
                </a:lnTo>
                <a:lnTo>
                  <a:pt x="540" y="558"/>
                </a:lnTo>
                <a:lnTo>
                  <a:pt x="512" y="529"/>
                </a:lnTo>
                <a:close/>
                <a:moveTo>
                  <a:pt x="542" y="500"/>
                </a:moveTo>
                <a:lnTo>
                  <a:pt x="570" y="472"/>
                </a:lnTo>
                <a:lnTo>
                  <a:pt x="598" y="500"/>
                </a:lnTo>
                <a:lnTo>
                  <a:pt x="570" y="525"/>
                </a:lnTo>
                <a:lnTo>
                  <a:pt x="542" y="500"/>
                </a:lnTo>
                <a:close/>
                <a:moveTo>
                  <a:pt x="542" y="437"/>
                </a:moveTo>
                <a:lnTo>
                  <a:pt x="570" y="409"/>
                </a:lnTo>
                <a:lnTo>
                  <a:pt x="598" y="437"/>
                </a:lnTo>
                <a:lnTo>
                  <a:pt x="570" y="465"/>
                </a:lnTo>
                <a:lnTo>
                  <a:pt x="542" y="437"/>
                </a:lnTo>
                <a:close/>
                <a:moveTo>
                  <a:pt x="542" y="378"/>
                </a:moveTo>
                <a:lnTo>
                  <a:pt x="570" y="350"/>
                </a:lnTo>
                <a:lnTo>
                  <a:pt x="598" y="378"/>
                </a:lnTo>
                <a:lnTo>
                  <a:pt x="570" y="404"/>
                </a:lnTo>
                <a:lnTo>
                  <a:pt x="542" y="378"/>
                </a:lnTo>
                <a:close/>
                <a:moveTo>
                  <a:pt x="542" y="316"/>
                </a:moveTo>
                <a:lnTo>
                  <a:pt x="570" y="287"/>
                </a:lnTo>
                <a:lnTo>
                  <a:pt x="598" y="316"/>
                </a:lnTo>
                <a:lnTo>
                  <a:pt x="570" y="344"/>
                </a:lnTo>
                <a:lnTo>
                  <a:pt x="542" y="316"/>
                </a:lnTo>
                <a:close/>
                <a:moveTo>
                  <a:pt x="542" y="254"/>
                </a:moveTo>
                <a:lnTo>
                  <a:pt x="570" y="229"/>
                </a:lnTo>
                <a:lnTo>
                  <a:pt x="598" y="254"/>
                </a:lnTo>
                <a:lnTo>
                  <a:pt x="570" y="282"/>
                </a:lnTo>
                <a:lnTo>
                  <a:pt x="542" y="254"/>
                </a:lnTo>
                <a:close/>
                <a:moveTo>
                  <a:pt x="542" y="195"/>
                </a:moveTo>
                <a:lnTo>
                  <a:pt x="570" y="167"/>
                </a:lnTo>
                <a:lnTo>
                  <a:pt x="598" y="195"/>
                </a:lnTo>
                <a:lnTo>
                  <a:pt x="570" y="221"/>
                </a:lnTo>
                <a:lnTo>
                  <a:pt x="542" y="195"/>
                </a:lnTo>
                <a:close/>
                <a:moveTo>
                  <a:pt x="542" y="132"/>
                </a:moveTo>
                <a:lnTo>
                  <a:pt x="570" y="107"/>
                </a:lnTo>
                <a:lnTo>
                  <a:pt x="598" y="132"/>
                </a:lnTo>
                <a:lnTo>
                  <a:pt x="570" y="160"/>
                </a:lnTo>
                <a:lnTo>
                  <a:pt x="542" y="132"/>
                </a:lnTo>
                <a:close/>
                <a:moveTo>
                  <a:pt x="540" y="131"/>
                </a:moveTo>
                <a:lnTo>
                  <a:pt x="512" y="103"/>
                </a:lnTo>
                <a:lnTo>
                  <a:pt x="540" y="75"/>
                </a:lnTo>
                <a:lnTo>
                  <a:pt x="567" y="103"/>
                </a:lnTo>
                <a:lnTo>
                  <a:pt x="540" y="131"/>
                </a:lnTo>
                <a:close/>
                <a:moveTo>
                  <a:pt x="536" y="132"/>
                </a:moveTo>
                <a:lnTo>
                  <a:pt x="508" y="160"/>
                </a:lnTo>
                <a:lnTo>
                  <a:pt x="483" y="132"/>
                </a:lnTo>
                <a:lnTo>
                  <a:pt x="508" y="107"/>
                </a:lnTo>
                <a:lnTo>
                  <a:pt x="536" y="132"/>
                </a:lnTo>
                <a:close/>
                <a:moveTo>
                  <a:pt x="479" y="131"/>
                </a:moveTo>
                <a:lnTo>
                  <a:pt x="450" y="103"/>
                </a:lnTo>
                <a:lnTo>
                  <a:pt x="479" y="75"/>
                </a:lnTo>
                <a:lnTo>
                  <a:pt x="507" y="103"/>
                </a:lnTo>
                <a:lnTo>
                  <a:pt x="479" y="131"/>
                </a:lnTo>
                <a:close/>
                <a:moveTo>
                  <a:pt x="475" y="132"/>
                </a:moveTo>
                <a:lnTo>
                  <a:pt x="448" y="160"/>
                </a:lnTo>
                <a:lnTo>
                  <a:pt x="420" y="132"/>
                </a:lnTo>
                <a:lnTo>
                  <a:pt x="448" y="107"/>
                </a:lnTo>
                <a:lnTo>
                  <a:pt x="475" y="132"/>
                </a:lnTo>
                <a:close/>
                <a:moveTo>
                  <a:pt x="417" y="131"/>
                </a:moveTo>
                <a:lnTo>
                  <a:pt x="390" y="103"/>
                </a:lnTo>
                <a:lnTo>
                  <a:pt x="417" y="75"/>
                </a:lnTo>
                <a:lnTo>
                  <a:pt x="445" y="103"/>
                </a:lnTo>
                <a:lnTo>
                  <a:pt x="417" y="131"/>
                </a:lnTo>
                <a:close/>
                <a:moveTo>
                  <a:pt x="414" y="132"/>
                </a:moveTo>
                <a:lnTo>
                  <a:pt x="386" y="160"/>
                </a:lnTo>
                <a:lnTo>
                  <a:pt x="358" y="132"/>
                </a:lnTo>
                <a:lnTo>
                  <a:pt x="386" y="107"/>
                </a:lnTo>
                <a:lnTo>
                  <a:pt x="414" y="132"/>
                </a:lnTo>
                <a:close/>
                <a:moveTo>
                  <a:pt x="357" y="131"/>
                </a:moveTo>
                <a:lnTo>
                  <a:pt x="329" y="103"/>
                </a:lnTo>
                <a:lnTo>
                  <a:pt x="357" y="75"/>
                </a:lnTo>
                <a:lnTo>
                  <a:pt x="385" y="103"/>
                </a:lnTo>
                <a:lnTo>
                  <a:pt x="357" y="131"/>
                </a:lnTo>
                <a:close/>
                <a:moveTo>
                  <a:pt x="353" y="132"/>
                </a:moveTo>
                <a:lnTo>
                  <a:pt x="327" y="160"/>
                </a:lnTo>
                <a:lnTo>
                  <a:pt x="299" y="132"/>
                </a:lnTo>
                <a:lnTo>
                  <a:pt x="327" y="107"/>
                </a:lnTo>
                <a:lnTo>
                  <a:pt x="353" y="132"/>
                </a:lnTo>
                <a:close/>
                <a:moveTo>
                  <a:pt x="295" y="131"/>
                </a:moveTo>
                <a:lnTo>
                  <a:pt x="268" y="103"/>
                </a:lnTo>
                <a:lnTo>
                  <a:pt x="295" y="75"/>
                </a:lnTo>
                <a:lnTo>
                  <a:pt x="323" y="103"/>
                </a:lnTo>
                <a:lnTo>
                  <a:pt x="295" y="131"/>
                </a:lnTo>
                <a:close/>
                <a:moveTo>
                  <a:pt x="292" y="132"/>
                </a:moveTo>
                <a:lnTo>
                  <a:pt x="264" y="160"/>
                </a:lnTo>
                <a:lnTo>
                  <a:pt x="236" y="132"/>
                </a:lnTo>
                <a:lnTo>
                  <a:pt x="264" y="107"/>
                </a:lnTo>
                <a:lnTo>
                  <a:pt x="292" y="132"/>
                </a:lnTo>
                <a:close/>
                <a:moveTo>
                  <a:pt x="235" y="131"/>
                </a:moveTo>
                <a:lnTo>
                  <a:pt x="207" y="103"/>
                </a:lnTo>
                <a:lnTo>
                  <a:pt x="235" y="75"/>
                </a:lnTo>
                <a:lnTo>
                  <a:pt x="262" y="103"/>
                </a:lnTo>
                <a:lnTo>
                  <a:pt x="235" y="131"/>
                </a:lnTo>
                <a:close/>
                <a:moveTo>
                  <a:pt x="231" y="132"/>
                </a:moveTo>
                <a:lnTo>
                  <a:pt x="203" y="160"/>
                </a:lnTo>
                <a:lnTo>
                  <a:pt x="177" y="132"/>
                </a:lnTo>
                <a:lnTo>
                  <a:pt x="203" y="107"/>
                </a:lnTo>
                <a:lnTo>
                  <a:pt x="231" y="132"/>
                </a:lnTo>
                <a:close/>
                <a:moveTo>
                  <a:pt x="173" y="131"/>
                </a:moveTo>
                <a:lnTo>
                  <a:pt x="145" y="103"/>
                </a:lnTo>
                <a:lnTo>
                  <a:pt x="173" y="75"/>
                </a:lnTo>
                <a:lnTo>
                  <a:pt x="201" y="103"/>
                </a:lnTo>
                <a:lnTo>
                  <a:pt x="173" y="131"/>
                </a:lnTo>
                <a:close/>
                <a:moveTo>
                  <a:pt x="169" y="132"/>
                </a:moveTo>
                <a:lnTo>
                  <a:pt x="142" y="160"/>
                </a:lnTo>
                <a:lnTo>
                  <a:pt x="114" y="132"/>
                </a:lnTo>
                <a:lnTo>
                  <a:pt x="142" y="107"/>
                </a:lnTo>
                <a:lnTo>
                  <a:pt x="169" y="132"/>
                </a:lnTo>
                <a:close/>
                <a:moveTo>
                  <a:pt x="112" y="131"/>
                </a:moveTo>
                <a:lnTo>
                  <a:pt x="85" y="103"/>
                </a:lnTo>
                <a:lnTo>
                  <a:pt x="112" y="75"/>
                </a:lnTo>
                <a:lnTo>
                  <a:pt x="140" y="103"/>
                </a:lnTo>
                <a:lnTo>
                  <a:pt x="112" y="131"/>
                </a:lnTo>
                <a:close/>
                <a:moveTo>
                  <a:pt x="109" y="132"/>
                </a:moveTo>
                <a:lnTo>
                  <a:pt x="81" y="160"/>
                </a:lnTo>
                <a:lnTo>
                  <a:pt x="53" y="132"/>
                </a:lnTo>
                <a:lnTo>
                  <a:pt x="81" y="107"/>
                </a:lnTo>
                <a:lnTo>
                  <a:pt x="109" y="132"/>
                </a:lnTo>
                <a:close/>
                <a:moveTo>
                  <a:pt x="109" y="195"/>
                </a:moveTo>
                <a:lnTo>
                  <a:pt x="81" y="221"/>
                </a:lnTo>
                <a:lnTo>
                  <a:pt x="53" y="195"/>
                </a:lnTo>
                <a:lnTo>
                  <a:pt x="81" y="167"/>
                </a:lnTo>
                <a:lnTo>
                  <a:pt x="109" y="195"/>
                </a:lnTo>
                <a:close/>
                <a:moveTo>
                  <a:pt x="109" y="254"/>
                </a:moveTo>
                <a:lnTo>
                  <a:pt x="81" y="282"/>
                </a:lnTo>
                <a:lnTo>
                  <a:pt x="53" y="254"/>
                </a:lnTo>
                <a:lnTo>
                  <a:pt x="81" y="229"/>
                </a:lnTo>
                <a:lnTo>
                  <a:pt x="109" y="254"/>
                </a:lnTo>
                <a:close/>
                <a:moveTo>
                  <a:pt x="109" y="316"/>
                </a:moveTo>
                <a:lnTo>
                  <a:pt x="81" y="344"/>
                </a:lnTo>
                <a:lnTo>
                  <a:pt x="53" y="316"/>
                </a:lnTo>
                <a:lnTo>
                  <a:pt x="81" y="287"/>
                </a:lnTo>
                <a:lnTo>
                  <a:pt x="109" y="316"/>
                </a:lnTo>
                <a:close/>
                <a:moveTo>
                  <a:pt x="109" y="378"/>
                </a:moveTo>
                <a:lnTo>
                  <a:pt x="81" y="404"/>
                </a:lnTo>
                <a:lnTo>
                  <a:pt x="53" y="378"/>
                </a:lnTo>
                <a:lnTo>
                  <a:pt x="81" y="350"/>
                </a:lnTo>
                <a:lnTo>
                  <a:pt x="109" y="378"/>
                </a:lnTo>
                <a:close/>
                <a:moveTo>
                  <a:pt x="109" y="437"/>
                </a:moveTo>
                <a:lnTo>
                  <a:pt x="81" y="465"/>
                </a:lnTo>
                <a:lnTo>
                  <a:pt x="53" y="437"/>
                </a:lnTo>
                <a:lnTo>
                  <a:pt x="81" y="409"/>
                </a:lnTo>
                <a:lnTo>
                  <a:pt x="109" y="437"/>
                </a:lnTo>
                <a:close/>
                <a:moveTo>
                  <a:pt x="109" y="500"/>
                </a:moveTo>
                <a:lnTo>
                  <a:pt x="81" y="525"/>
                </a:lnTo>
                <a:lnTo>
                  <a:pt x="53" y="500"/>
                </a:lnTo>
                <a:lnTo>
                  <a:pt x="81" y="472"/>
                </a:lnTo>
                <a:lnTo>
                  <a:pt x="109" y="500"/>
                </a:lnTo>
                <a:close/>
                <a:moveTo>
                  <a:pt x="109" y="559"/>
                </a:moveTo>
                <a:lnTo>
                  <a:pt x="81" y="587"/>
                </a:lnTo>
                <a:lnTo>
                  <a:pt x="53" y="559"/>
                </a:lnTo>
                <a:lnTo>
                  <a:pt x="81" y="533"/>
                </a:lnTo>
                <a:lnTo>
                  <a:pt x="109" y="559"/>
                </a:lnTo>
                <a:close/>
                <a:moveTo>
                  <a:pt x="112" y="563"/>
                </a:moveTo>
                <a:lnTo>
                  <a:pt x="140" y="591"/>
                </a:lnTo>
                <a:lnTo>
                  <a:pt x="112" y="618"/>
                </a:lnTo>
                <a:lnTo>
                  <a:pt x="85" y="591"/>
                </a:lnTo>
                <a:lnTo>
                  <a:pt x="112" y="563"/>
                </a:lnTo>
                <a:close/>
                <a:moveTo>
                  <a:pt x="142" y="594"/>
                </a:moveTo>
                <a:lnTo>
                  <a:pt x="169" y="622"/>
                </a:lnTo>
                <a:lnTo>
                  <a:pt x="142" y="650"/>
                </a:lnTo>
                <a:lnTo>
                  <a:pt x="114" y="622"/>
                </a:lnTo>
                <a:lnTo>
                  <a:pt x="142" y="594"/>
                </a:lnTo>
                <a:close/>
                <a:moveTo>
                  <a:pt x="145" y="591"/>
                </a:moveTo>
                <a:lnTo>
                  <a:pt x="173" y="563"/>
                </a:lnTo>
                <a:lnTo>
                  <a:pt x="201" y="591"/>
                </a:lnTo>
                <a:lnTo>
                  <a:pt x="173" y="618"/>
                </a:lnTo>
                <a:lnTo>
                  <a:pt x="145" y="591"/>
                </a:lnTo>
                <a:close/>
                <a:moveTo>
                  <a:pt x="203" y="594"/>
                </a:moveTo>
                <a:lnTo>
                  <a:pt x="231" y="622"/>
                </a:lnTo>
                <a:lnTo>
                  <a:pt x="203" y="650"/>
                </a:lnTo>
                <a:lnTo>
                  <a:pt x="177" y="622"/>
                </a:lnTo>
                <a:lnTo>
                  <a:pt x="203" y="594"/>
                </a:lnTo>
                <a:close/>
                <a:moveTo>
                  <a:pt x="207" y="591"/>
                </a:moveTo>
                <a:lnTo>
                  <a:pt x="235" y="563"/>
                </a:lnTo>
                <a:lnTo>
                  <a:pt x="262" y="591"/>
                </a:lnTo>
                <a:lnTo>
                  <a:pt x="235" y="618"/>
                </a:lnTo>
                <a:lnTo>
                  <a:pt x="207" y="591"/>
                </a:lnTo>
                <a:close/>
                <a:moveTo>
                  <a:pt x="264" y="594"/>
                </a:moveTo>
                <a:lnTo>
                  <a:pt x="292" y="622"/>
                </a:lnTo>
                <a:lnTo>
                  <a:pt x="264" y="650"/>
                </a:lnTo>
                <a:lnTo>
                  <a:pt x="236" y="622"/>
                </a:lnTo>
                <a:lnTo>
                  <a:pt x="264" y="594"/>
                </a:lnTo>
                <a:close/>
                <a:moveTo>
                  <a:pt x="268" y="591"/>
                </a:moveTo>
                <a:lnTo>
                  <a:pt x="295" y="563"/>
                </a:lnTo>
                <a:lnTo>
                  <a:pt x="323" y="591"/>
                </a:lnTo>
                <a:lnTo>
                  <a:pt x="295" y="618"/>
                </a:lnTo>
                <a:lnTo>
                  <a:pt x="268" y="591"/>
                </a:lnTo>
                <a:close/>
                <a:moveTo>
                  <a:pt x="327" y="594"/>
                </a:moveTo>
                <a:lnTo>
                  <a:pt x="353" y="622"/>
                </a:lnTo>
                <a:lnTo>
                  <a:pt x="327" y="650"/>
                </a:lnTo>
                <a:lnTo>
                  <a:pt x="299" y="622"/>
                </a:lnTo>
                <a:lnTo>
                  <a:pt x="327" y="594"/>
                </a:lnTo>
                <a:close/>
                <a:moveTo>
                  <a:pt x="329" y="591"/>
                </a:moveTo>
                <a:lnTo>
                  <a:pt x="357" y="563"/>
                </a:lnTo>
                <a:lnTo>
                  <a:pt x="385" y="591"/>
                </a:lnTo>
                <a:lnTo>
                  <a:pt x="357" y="618"/>
                </a:lnTo>
                <a:lnTo>
                  <a:pt x="329" y="591"/>
                </a:lnTo>
                <a:close/>
                <a:moveTo>
                  <a:pt x="386" y="594"/>
                </a:moveTo>
                <a:lnTo>
                  <a:pt x="414" y="622"/>
                </a:lnTo>
                <a:lnTo>
                  <a:pt x="386" y="650"/>
                </a:lnTo>
                <a:lnTo>
                  <a:pt x="358" y="622"/>
                </a:lnTo>
                <a:lnTo>
                  <a:pt x="386" y="594"/>
                </a:lnTo>
                <a:close/>
                <a:moveTo>
                  <a:pt x="390" y="591"/>
                </a:moveTo>
                <a:lnTo>
                  <a:pt x="417" y="563"/>
                </a:lnTo>
                <a:lnTo>
                  <a:pt x="445" y="591"/>
                </a:lnTo>
                <a:lnTo>
                  <a:pt x="417" y="618"/>
                </a:lnTo>
                <a:lnTo>
                  <a:pt x="390" y="591"/>
                </a:lnTo>
                <a:close/>
                <a:moveTo>
                  <a:pt x="448" y="594"/>
                </a:moveTo>
                <a:lnTo>
                  <a:pt x="475" y="622"/>
                </a:lnTo>
                <a:lnTo>
                  <a:pt x="448" y="650"/>
                </a:lnTo>
                <a:lnTo>
                  <a:pt x="420" y="622"/>
                </a:lnTo>
                <a:lnTo>
                  <a:pt x="448" y="594"/>
                </a:lnTo>
                <a:close/>
                <a:moveTo>
                  <a:pt x="450" y="591"/>
                </a:moveTo>
                <a:lnTo>
                  <a:pt x="479" y="563"/>
                </a:lnTo>
                <a:lnTo>
                  <a:pt x="507" y="591"/>
                </a:lnTo>
                <a:lnTo>
                  <a:pt x="479" y="618"/>
                </a:lnTo>
                <a:lnTo>
                  <a:pt x="450" y="591"/>
                </a:lnTo>
                <a:close/>
                <a:moveTo>
                  <a:pt x="508" y="594"/>
                </a:moveTo>
                <a:lnTo>
                  <a:pt x="536" y="622"/>
                </a:lnTo>
                <a:lnTo>
                  <a:pt x="508" y="650"/>
                </a:lnTo>
                <a:lnTo>
                  <a:pt x="483" y="622"/>
                </a:lnTo>
                <a:lnTo>
                  <a:pt x="508" y="594"/>
                </a:lnTo>
                <a:close/>
                <a:moveTo>
                  <a:pt x="512" y="591"/>
                </a:moveTo>
                <a:lnTo>
                  <a:pt x="540" y="563"/>
                </a:lnTo>
                <a:lnTo>
                  <a:pt x="567" y="591"/>
                </a:lnTo>
                <a:lnTo>
                  <a:pt x="540" y="618"/>
                </a:lnTo>
                <a:lnTo>
                  <a:pt x="512" y="591"/>
                </a:lnTo>
                <a:close/>
                <a:moveTo>
                  <a:pt x="570" y="587"/>
                </a:moveTo>
                <a:lnTo>
                  <a:pt x="542" y="559"/>
                </a:lnTo>
                <a:lnTo>
                  <a:pt x="570" y="533"/>
                </a:lnTo>
                <a:lnTo>
                  <a:pt x="598" y="559"/>
                </a:lnTo>
                <a:lnTo>
                  <a:pt x="570" y="587"/>
                </a:lnTo>
                <a:close/>
                <a:moveTo>
                  <a:pt x="629" y="529"/>
                </a:moveTo>
                <a:lnTo>
                  <a:pt x="600" y="558"/>
                </a:lnTo>
                <a:lnTo>
                  <a:pt x="574" y="529"/>
                </a:lnTo>
                <a:lnTo>
                  <a:pt x="600" y="501"/>
                </a:lnTo>
                <a:lnTo>
                  <a:pt x="629" y="529"/>
                </a:lnTo>
                <a:close/>
                <a:moveTo>
                  <a:pt x="629" y="468"/>
                </a:moveTo>
                <a:lnTo>
                  <a:pt x="600" y="496"/>
                </a:lnTo>
                <a:lnTo>
                  <a:pt x="574" y="468"/>
                </a:lnTo>
                <a:lnTo>
                  <a:pt x="600" y="441"/>
                </a:lnTo>
                <a:lnTo>
                  <a:pt x="629" y="468"/>
                </a:lnTo>
                <a:close/>
                <a:moveTo>
                  <a:pt x="629" y="408"/>
                </a:moveTo>
                <a:lnTo>
                  <a:pt x="600" y="436"/>
                </a:lnTo>
                <a:lnTo>
                  <a:pt x="574" y="408"/>
                </a:lnTo>
                <a:lnTo>
                  <a:pt x="600" y="380"/>
                </a:lnTo>
                <a:lnTo>
                  <a:pt x="629" y="408"/>
                </a:lnTo>
                <a:close/>
                <a:moveTo>
                  <a:pt x="629" y="346"/>
                </a:moveTo>
                <a:lnTo>
                  <a:pt x="600" y="374"/>
                </a:lnTo>
                <a:lnTo>
                  <a:pt x="574" y="346"/>
                </a:lnTo>
                <a:lnTo>
                  <a:pt x="600" y="320"/>
                </a:lnTo>
                <a:lnTo>
                  <a:pt x="629" y="346"/>
                </a:lnTo>
                <a:close/>
                <a:moveTo>
                  <a:pt x="629" y="286"/>
                </a:moveTo>
                <a:lnTo>
                  <a:pt x="600" y="313"/>
                </a:lnTo>
                <a:lnTo>
                  <a:pt x="574" y="286"/>
                </a:lnTo>
                <a:lnTo>
                  <a:pt x="600" y="258"/>
                </a:lnTo>
                <a:lnTo>
                  <a:pt x="629" y="286"/>
                </a:lnTo>
                <a:close/>
                <a:moveTo>
                  <a:pt x="629" y="225"/>
                </a:moveTo>
                <a:lnTo>
                  <a:pt x="600" y="253"/>
                </a:lnTo>
                <a:lnTo>
                  <a:pt x="574" y="225"/>
                </a:lnTo>
                <a:lnTo>
                  <a:pt x="600" y="197"/>
                </a:lnTo>
                <a:lnTo>
                  <a:pt x="629" y="225"/>
                </a:lnTo>
                <a:close/>
                <a:moveTo>
                  <a:pt x="629" y="163"/>
                </a:moveTo>
                <a:lnTo>
                  <a:pt x="600" y="191"/>
                </a:lnTo>
                <a:lnTo>
                  <a:pt x="574" y="163"/>
                </a:lnTo>
                <a:lnTo>
                  <a:pt x="600" y="136"/>
                </a:lnTo>
                <a:lnTo>
                  <a:pt x="629" y="163"/>
                </a:lnTo>
                <a:close/>
                <a:moveTo>
                  <a:pt x="629" y="103"/>
                </a:moveTo>
                <a:lnTo>
                  <a:pt x="600" y="131"/>
                </a:lnTo>
                <a:lnTo>
                  <a:pt x="574" y="103"/>
                </a:lnTo>
                <a:lnTo>
                  <a:pt x="600" y="75"/>
                </a:lnTo>
                <a:lnTo>
                  <a:pt x="629" y="103"/>
                </a:lnTo>
                <a:close/>
                <a:moveTo>
                  <a:pt x="600" y="15"/>
                </a:moveTo>
                <a:lnTo>
                  <a:pt x="629" y="42"/>
                </a:lnTo>
                <a:lnTo>
                  <a:pt x="600" y="70"/>
                </a:lnTo>
                <a:lnTo>
                  <a:pt x="574" y="42"/>
                </a:lnTo>
                <a:lnTo>
                  <a:pt x="600" y="15"/>
                </a:lnTo>
                <a:close/>
                <a:moveTo>
                  <a:pt x="598" y="74"/>
                </a:moveTo>
                <a:lnTo>
                  <a:pt x="570" y="99"/>
                </a:lnTo>
                <a:lnTo>
                  <a:pt x="542" y="74"/>
                </a:lnTo>
                <a:lnTo>
                  <a:pt x="570" y="46"/>
                </a:lnTo>
                <a:lnTo>
                  <a:pt x="598" y="74"/>
                </a:lnTo>
                <a:close/>
                <a:moveTo>
                  <a:pt x="540" y="15"/>
                </a:moveTo>
                <a:lnTo>
                  <a:pt x="567" y="42"/>
                </a:lnTo>
                <a:lnTo>
                  <a:pt x="540" y="70"/>
                </a:lnTo>
                <a:lnTo>
                  <a:pt x="512" y="42"/>
                </a:lnTo>
                <a:lnTo>
                  <a:pt x="540" y="15"/>
                </a:lnTo>
                <a:close/>
                <a:moveTo>
                  <a:pt x="536" y="74"/>
                </a:moveTo>
                <a:lnTo>
                  <a:pt x="508" y="99"/>
                </a:lnTo>
                <a:lnTo>
                  <a:pt x="483" y="74"/>
                </a:lnTo>
                <a:lnTo>
                  <a:pt x="508" y="46"/>
                </a:lnTo>
                <a:lnTo>
                  <a:pt x="536" y="74"/>
                </a:lnTo>
                <a:close/>
                <a:moveTo>
                  <a:pt x="479" y="15"/>
                </a:moveTo>
                <a:lnTo>
                  <a:pt x="507" y="42"/>
                </a:lnTo>
                <a:lnTo>
                  <a:pt x="479" y="70"/>
                </a:lnTo>
                <a:lnTo>
                  <a:pt x="450" y="42"/>
                </a:lnTo>
                <a:lnTo>
                  <a:pt x="479" y="15"/>
                </a:lnTo>
                <a:close/>
                <a:moveTo>
                  <a:pt x="475" y="74"/>
                </a:moveTo>
                <a:lnTo>
                  <a:pt x="448" y="99"/>
                </a:lnTo>
                <a:lnTo>
                  <a:pt x="420" y="74"/>
                </a:lnTo>
                <a:lnTo>
                  <a:pt x="448" y="46"/>
                </a:lnTo>
                <a:lnTo>
                  <a:pt x="475" y="74"/>
                </a:lnTo>
                <a:close/>
                <a:moveTo>
                  <a:pt x="417" y="15"/>
                </a:moveTo>
                <a:lnTo>
                  <a:pt x="445" y="42"/>
                </a:lnTo>
                <a:lnTo>
                  <a:pt x="417" y="70"/>
                </a:lnTo>
                <a:lnTo>
                  <a:pt x="390" y="42"/>
                </a:lnTo>
                <a:lnTo>
                  <a:pt x="417" y="15"/>
                </a:lnTo>
                <a:close/>
                <a:moveTo>
                  <a:pt x="414" y="74"/>
                </a:moveTo>
                <a:lnTo>
                  <a:pt x="386" y="99"/>
                </a:lnTo>
                <a:lnTo>
                  <a:pt x="358" y="74"/>
                </a:lnTo>
                <a:lnTo>
                  <a:pt x="386" y="46"/>
                </a:lnTo>
                <a:lnTo>
                  <a:pt x="414" y="74"/>
                </a:lnTo>
                <a:close/>
                <a:moveTo>
                  <a:pt x="357" y="15"/>
                </a:moveTo>
                <a:lnTo>
                  <a:pt x="385" y="42"/>
                </a:lnTo>
                <a:lnTo>
                  <a:pt x="357" y="70"/>
                </a:lnTo>
                <a:lnTo>
                  <a:pt x="329" y="42"/>
                </a:lnTo>
                <a:lnTo>
                  <a:pt x="357" y="15"/>
                </a:lnTo>
                <a:close/>
                <a:moveTo>
                  <a:pt x="353" y="74"/>
                </a:moveTo>
                <a:lnTo>
                  <a:pt x="327" y="99"/>
                </a:lnTo>
                <a:lnTo>
                  <a:pt x="299" y="74"/>
                </a:lnTo>
                <a:lnTo>
                  <a:pt x="327" y="46"/>
                </a:lnTo>
                <a:lnTo>
                  <a:pt x="353" y="74"/>
                </a:lnTo>
                <a:close/>
                <a:moveTo>
                  <a:pt x="295" y="15"/>
                </a:moveTo>
                <a:lnTo>
                  <a:pt x="323" y="42"/>
                </a:lnTo>
                <a:lnTo>
                  <a:pt x="295" y="70"/>
                </a:lnTo>
                <a:lnTo>
                  <a:pt x="268" y="42"/>
                </a:lnTo>
                <a:lnTo>
                  <a:pt x="295" y="15"/>
                </a:lnTo>
                <a:close/>
                <a:moveTo>
                  <a:pt x="292" y="74"/>
                </a:moveTo>
                <a:lnTo>
                  <a:pt x="264" y="99"/>
                </a:lnTo>
                <a:lnTo>
                  <a:pt x="236" y="74"/>
                </a:lnTo>
                <a:lnTo>
                  <a:pt x="264" y="46"/>
                </a:lnTo>
                <a:lnTo>
                  <a:pt x="292" y="74"/>
                </a:lnTo>
                <a:close/>
                <a:moveTo>
                  <a:pt x="235" y="15"/>
                </a:moveTo>
                <a:lnTo>
                  <a:pt x="262" y="42"/>
                </a:lnTo>
                <a:lnTo>
                  <a:pt x="235" y="70"/>
                </a:lnTo>
                <a:lnTo>
                  <a:pt x="207" y="42"/>
                </a:lnTo>
                <a:lnTo>
                  <a:pt x="235" y="15"/>
                </a:lnTo>
                <a:close/>
                <a:moveTo>
                  <a:pt x="231" y="74"/>
                </a:moveTo>
                <a:lnTo>
                  <a:pt x="203" y="99"/>
                </a:lnTo>
                <a:lnTo>
                  <a:pt x="177" y="74"/>
                </a:lnTo>
                <a:lnTo>
                  <a:pt x="203" y="46"/>
                </a:lnTo>
                <a:lnTo>
                  <a:pt x="231" y="74"/>
                </a:lnTo>
                <a:close/>
                <a:moveTo>
                  <a:pt x="173" y="15"/>
                </a:moveTo>
                <a:lnTo>
                  <a:pt x="201" y="42"/>
                </a:lnTo>
                <a:lnTo>
                  <a:pt x="173" y="70"/>
                </a:lnTo>
                <a:lnTo>
                  <a:pt x="145" y="42"/>
                </a:lnTo>
                <a:lnTo>
                  <a:pt x="173" y="15"/>
                </a:lnTo>
                <a:close/>
                <a:moveTo>
                  <a:pt x="169" y="74"/>
                </a:moveTo>
                <a:lnTo>
                  <a:pt x="142" y="99"/>
                </a:lnTo>
                <a:lnTo>
                  <a:pt x="114" y="74"/>
                </a:lnTo>
                <a:lnTo>
                  <a:pt x="142" y="46"/>
                </a:lnTo>
                <a:lnTo>
                  <a:pt x="169" y="74"/>
                </a:lnTo>
                <a:close/>
                <a:moveTo>
                  <a:pt x="112" y="15"/>
                </a:moveTo>
                <a:lnTo>
                  <a:pt x="140" y="42"/>
                </a:lnTo>
                <a:lnTo>
                  <a:pt x="112" y="70"/>
                </a:lnTo>
                <a:lnTo>
                  <a:pt x="85" y="42"/>
                </a:lnTo>
                <a:lnTo>
                  <a:pt x="112" y="15"/>
                </a:lnTo>
                <a:close/>
                <a:moveTo>
                  <a:pt x="109" y="74"/>
                </a:moveTo>
                <a:lnTo>
                  <a:pt x="81" y="99"/>
                </a:lnTo>
                <a:lnTo>
                  <a:pt x="53" y="74"/>
                </a:lnTo>
                <a:lnTo>
                  <a:pt x="81" y="46"/>
                </a:lnTo>
                <a:lnTo>
                  <a:pt x="109" y="74"/>
                </a:lnTo>
                <a:close/>
                <a:moveTo>
                  <a:pt x="23" y="42"/>
                </a:moveTo>
                <a:lnTo>
                  <a:pt x="51" y="15"/>
                </a:lnTo>
                <a:lnTo>
                  <a:pt x="80" y="42"/>
                </a:lnTo>
                <a:lnTo>
                  <a:pt x="51" y="70"/>
                </a:lnTo>
                <a:lnTo>
                  <a:pt x="23" y="42"/>
                </a:lnTo>
                <a:close/>
                <a:moveTo>
                  <a:pt x="23" y="103"/>
                </a:moveTo>
                <a:lnTo>
                  <a:pt x="51" y="75"/>
                </a:lnTo>
                <a:lnTo>
                  <a:pt x="80" y="103"/>
                </a:lnTo>
                <a:lnTo>
                  <a:pt x="51" y="131"/>
                </a:lnTo>
                <a:lnTo>
                  <a:pt x="23" y="103"/>
                </a:lnTo>
                <a:close/>
                <a:moveTo>
                  <a:pt x="23" y="163"/>
                </a:moveTo>
                <a:lnTo>
                  <a:pt x="51" y="136"/>
                </a:lnTo>
                <a:lnTo>
                  <a:pt x="80" y="163"/>
                </a:lnTo>
                <a:lnTo>
                  <a:pt x="51" y="191"/>
                </a:lnTo>
                <a:lnTo>
                  <a:pt x="23" y="163"/>
                </a:lnTo>
                <a:close/>
                <a:moveTo>
                  <a:pt x="23" y="225"/>
                </a:moveTo>
                <a:lnTo>
                  <a:pt x="51" y="197"/>
                </a:lnTo>
                <a:lnTo>
                  <a:pt x="80" y="225"/>
                </a:lnTo>
                <a:lnTo>
                  <a:pt x="51" y="253"/>
                </a:lnTo>
                <a:lnTo>
                  <a:pt x="23" y="225"/>
                </a:lnTo>
                <a:close/>
                <a:moveTo>
                  <a:pt x="23" y="286"/>
                </a:moveTo>
                <a:lnTo>
                  <a:pt x="51" y="258"/>
                </a:lnTo>
                <a:lnTo>
                  <a:pt x="80" y="286"/>
                </a:lnTo>
                <a:lnTo>
                  <a:pt x="51" y="313"/>
                </a:lnTo>
                <a:lnTo>
                  <a:pt x="23" y="286"/>
                </a:lnTo>
                <a:close/>
                <a:moveTo>
                  <a:pt x="23" y="346"/>
                </a:moveTo>
                <a:lnTo>
                  <a:pt x="51" y="320"/>
                </a:lnTo>
                <a:lnTo>
                  <a:pt x="80" y="346"/>
                </a:lnTo>
                <a:lnTo>
                  <a:pt x="51" y="374"/>
                </a:lnTo>
                <a:lnTo>
                  <a:pt x="23" y="346"/>
                </a:lnTo>
                <a:close/>
                <a:moveTo>
                  <a:pt x="23" y="408"/>
                </a:moveTo>
                <a:lnTo>
                  <a:pt x="51" y="380"/>
                </a:lnTo>
                <a:lnTo>
                  <a:pt x="80" y="408"/>
                </a:lnTo>
                <a:lnTo>
                  <a:pt x="51" y="436"/>
                </a:lnTo>
                <a:lnTo>
                  <a:pt x="23" y="408"/>
                </a:lnTo>
                <a:close/>
                <a:moveTo>
                  <a:pt x="23" y="468"/>
                </a:moveTo>
                <a:lnTo>
                  <a:pt x="51" y="441"/>
                </a:lnTo>
                <a:lnTo>
                  <a:pt x="80" y="468"/>
                </a:lnTo>
                <a:lnTo>
                  <a:pt x="51" y="496"/>
                </a:lnTo>
                <a:lnTo>
                  <a:pt x="23" y="468"/>
                </a:lnTo>
                <a:close/>
                <a:moveTo>
                  <a:pt x="23" y="529"/>
                </a:moveTo>
                <a:lnTo>
                  <a:pt x="51" y="501"/>
                </a:lnTo>
                <a:lnTo>
                  <a:pt x="80" y="529"/>
                </a:lnTo>
                <a:lnTo>
                  <a:pt x="51" y="558"/>
                </a:lnTo>
                <a:lnTo>
                  <a:pt x="23" y="529"/>
                </a:lnTo>
                <a:close/>
                <a:moveTo>
                  <a:pt x="23" y="591"/>
                </a:moveTo>
                <a:lnTo>
                  <a:pt x="51" y="563"/>
                </a:lnTo>
                <a:lnTo>
                  <a:pt x="80" y="591"/>
                </a:lnTo>
                <a:lnTo>
                  <a:pt x="51" y="618"/>
                </a:lnTo>
                <a:lnTo>
                  <a:pt x="23" y="591"/>
                </a:lnTo>
                <a:close/>
                <a:moveTo>
                  <a:pt x="53" y="622"/>
                </a:moveTo>
                <a:lnTo>
                  <a:pt x="81" y="594"/>
                </a:lnTo>
                <a:lnTo>
                  <a:pt x="109" y="622"/>
                </a:lnTo>
                <a:lnTo>
                  <a:pt x="81" y="650"/>
                </a:lnTo>
                <a:lnTo>
                  <a:pt x="53" y="622"/>
                </a:lnTo>
                <a:close/>
                <a:moveTo>
                  <a:pt x="81" y="709"/>
                </a:moveTo>
                <a:lnTo>
                  <a:pt x="53" y="683"/>
                </a:lnTo>
                <a:lnTo>
                  <a:pt x="81" y="655"/>
                </a:lnTo>
                <a:lnTo>
                  <a:pt x="109" y="683"/>
                </a:lnTo>
                <a:lnTo>
                  <a:pt x="81" y="709"/>
                </a:lnTo>
                <a:close/>
                <a:moveTo>
                  <a:pt x="85" y="651"/>
                </a:moveTo>
                <a:lnTo>
                  <a:pt x="112" y="624"/>
                </a:lnTo>
                <a:lnTo>
                  <a:pt x="140" y="651"/>
                </a:lnTo>
                <a:lnTo>
                  <a:pt x="112" y="679"/>
                </a:lnTo>
                <a:lnTo>
                  <a:pt x="85" y="651"/>
                </a:lnTo>
                <a:close/>
                <a:moveTo>
                  <a:pt x="142" y="709"/>
                </a:moveTo>
                <a:lnTo>
                  <a:pt x="114" y="683"/>
                </a:lnTo>
                <a:lnTo>
                  <a:pt x="142" y="655"/>
                </a:lnTo>
                <a:lnTo>
                  <a:pt x="169" y="683"/>
                </a:lnTo>
                <a:lnTo>
                  <a:pt x="142" y="709"/>
                </a:lnTo>
                <a:close/>
                <a:moveTo>
                  <a:pt x="145" y="651"/>
                </a:moveTo>
                <a:lnTo>
                  <a:pt x="173" y="624"/>
                </a:lnTo>
                <a:lnTo>
                  <a:pt x="201" y="651"/>
                </a:lnTo>
                <a:lnTo>
                  <a:pt x="173" y="679"/>
                </a:lnTo>
                <a:lnTo>
                  <a:pt x="145" y="651"/>
                </a:lnTo>
                <a:close/>
                <a:moveTo>
                  <a:pt x="203" y="709"/>
                </a:moveTo>
                <a:lnTo>
                  <a:pt x="177" y="683"/>
                </a:lnTo>
                <a:lnTo>
                  <a:pt x="203" y="655"/>
                </a:lnTo>
                <a:lnTo>
                  <a:pt x="231" y="683"/>
                </a:lnTo>
                <a:lnTo>
                  <a:pt x="203" y="709"/>
                </a:lnTo>
                <a:close/>
                <a:moveTo>
                  <a:pt x="207" y="651"/>
                </a:moveTo>
                <a:lnTo>
                  <a:pt x="235" y="624"/>
                </a:lnTo>
                <a:lnTo>
                  <a:pt x="262" y="651"/>
                </a:lnTo>
                <a:lnTo>
                  <a:pt x="235" y="679"/>
                </a:lnTo>
                <a:lnTo>
                  <a:pt x="207" y="651"/>
                </a:lnTo>
                <a:close/>
                <a:moveTo>
                  <a:pt x="264" y="709"/>
                </a:moveTo>
                <a:lnTo>
                  <a:pt x="236" y="683"/>
                </a:lnTo>
                <a:lnTo>
                  <a:pt x="264" y="655"/>
                </a:lnTo>
                <a:lnTo>
                  <a:pt x="292" y="683"/>
                </a:lnTo>
                <a:lnTo>
                  <a:pt x="264" y="709"/>
                </a:lnTo>
                <a:close/>
                <a:moveTo>
                  <a:pt x="268" y="651"/>
                </a:moveTo>
                <a:lnTo>
                  <a:pt x="295" y="624"/>
                </a:lnTo>
                <a:lnTo>
                  <a:pt x="323" y="651"/>
                </a:lnTo>
                <a:lnTo>
                  <a:pt x="295" y="679"/>
                </a:lnTo>
                <a:lnTo>
                  <a:pt x="268" y="651"/>
                </a:lnTo>
                <a:close/>
                <a:moveTo>
                  <a:pt x="327" y="709"/>
                </a:moveTo>
                <a:lnTo>
                  <a:pt x="299" y="683"/>
                </a:lnTo>
                <a:lnTo>
                  <a:pt x="327" y="655"/>
                </a:lnTo>
                <a:lnTo>
                  <a:pt x="353" y="683"/>
                </a:lnTo>
                <a:lnTo>
                  <a:pt x="327" y="709"/>
                </a:lnTo>
                <a:close/>
                <a:moveTo>
                  <a:pt x="329" y="651"/>
                </a:moveTo>
                <a:lnTo>
                  <a:pt x="357" y="624"/>
                </a:lnTo>
                <a:lnTo>
                  <a:pt x="385" y="651"/>
                </a:lnTo>
                <a:lnTo>
                  <a:pt x="357" y="679"/>
                </a:lnTo>
                <a:lnTo>
                  <a:pt x="329" y="651"/>
                </a:lnTo>
                <a:close/>
                <a:moveTo>
                  <a:pt x="386" y="709"/>
                </a:moveTo>
                <a:lnTo>
                  <a:pt x="358" y="683"/>
                </a:lnTo>
                <a:lnTo>
                  <a:pt x="386" y="655"/>
                </a:lnTo>
                <a:lnTo>
                  <a:pt x="414" y="683"/>
                </a:lnTo>
                <a:lnTo>
                  <a:pt x="386" y="709"/>
                </a:lnTo>
                <a:close/>
                <a:moveTo>
                  <a:pt x="390" y="651"/>
                </a:moveTo>
                <a:lnTo>
                  <a:pt x="417" y="624"/>
                </a:lnTo>
                <a:lnTo>
                  <a:pt x="445" y="651"/>
                </a:lnTo>
                <a:lnTo>
                  <a:pt x="417" y="679"/>
                </a:lnTo>
                <a:lnTo>
                  <a:pt x="390" y="651"/>
                </a:lnTo>
                <a:close/>
                <a:moveTo>
                  <a:pt x="448" y="709"/>
                </a:moveTo>
                <a:lnTo>
                  <a:pt x="420" y="683"/>
                </a:lnTo>
                <a:lnTo>
                  <a:pt x="448" y="655"/>
                </a:lnTo>
                <a:lnTo>
                  <a:pt x="475" y="683"/>
                </a:lnTo>
                <a:lnTo>
                  <a:pt x="448" y="709"/>
                </a:lnTo>
                <a:close/>
                <a:moveTo>
                  <a:pt x="450" y="651"/>
                </a:moveTo>
                <a:lnTo>
                  <a:pt x="479" y="624"/>
                </a:lnTo>
                <a:lnTo>
                  <a:pt x="507" y="651"/>
                </a:lnTo>
                <a:lnTo>
                  <a:pt x="479" y="679"/>
                </a:lnTo>
                <a:lnTo>
                  <a:pt x="450" y="651"/>
                </a:lnTo>
                <a:close/>
                <a:moveTo>
                  <a:pt x="508" y="709"/>
                </a:moveTo>
                <a:lnTo>
                  <a:pt x="483" y="683"/>
                </a:lnTo>
                <a:lnTo>
                  <a:pt x="508" y="655"/>
                </a:lnTo>
                <a:lnTo>
                  <a:pt x="536" y="683"/>
                </a:lnTo>
                <a:lnTo>
                  <a:pt x="508" y="709"/>
                </a:lnTo>
                <a:close/>
                <a:moveTo>
                  <a:pt x="512" y="651"/>
                </a:moveTo>
                <a:lnTo>
                  <a:pt x="540" y="624"/>
                </a:lnTo>
                <a:lnTo>
                  <a:pt x="567" y="651"/>
                </a:lnTo>
                <a:lnTo>
                  <a:pt x="540" y="679"/>
                </a:lnTo>
                <a:lnTo>
                  <a:pt x="512" y="651"/>
                </a:lnTo>
                <a:close/>
                <a:moveTo>
                  <a:pt x="570" y="709"/>
                </a:moveTo>
                <a:lnTo>
                  <a:pt x="542" y="683"/>
                </a:lnTo>
                <a:lnTo>
                  <a:pt x="570" y="655"/>
                </a:lnTo>
                <a:lnTo>
                  <a:pt x="598" y="683"/>
                </a:lnTo>
                <a:lnTo>
                  <a:pt x="570" y="709"/>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482" name="Freeform 1273"/>
          <p:cNvSpPr>
            <a:spLocks noEditPoints="1"/>
          </p:cNvSpPr>
          <p:nvPr/>
        </p:nvSpPr>
        <p:spPr bwMode="auto">
          <a:xfrm>
            <a:off x="8131176" y="5227638"/>
            <a:ext cx="1033463" cy="1166813"/>
          </a:xfrm>
          <a:custGeom>
            <a:avLst/>
            <a:gdLst>
              <a:gd name="T0" fmla="*/ 19 w 651"/>
              <a:gd name="T1" fmla="*/ 464 h 735"/>
              <a:gd name="T2" fmla="*/ 18 w 651"/>
              <a:gd name="T3" fmla="*/ 286 h 735"/>
              <a:gd name="T4" fmla="*/ 5 w 651"/>
              <a:gd name="T5" fmla="*/ 122 h 735"/>
              <a:gd name="T6" fmla="*/ 110 w 651"/>
              <a:gd name="T7" fmla="*/ 11 h 735"/>
              <a:gd name="T8" fmla="*/ 238 w 651"/>
              <a:gd name="T9" fmla="*/ 11 h 735"/>
              <a:gd name="T10" fmla="*/ 426 w 651"/>
              <a:gd name="T11" fmla="*/ 0 h 735"/>
              <a:gd name="T12" fmla="*/ 591 w 651"/>
              <a:gd name="T13" fmla="*/ 0 h 735"/>
              <a:gd name="T14" fmla="*/ 646 w 651"/>
              <a:gd name="T15" fmla="*/ 146 h 735"/>
              <a:gd name="T16" fmla="*/ 604 w 651"/>
              <a:gd name="T17" fmla="*/ 316 h 735"/>
              <a:gd name="T18" fmla="*/ 634 w 651"/>
              <a:gd name="T19" fmla="*/ 475 h 735"/>
              <a:gd name="T20" fmla="*/ 572 w 651"/>
              <a:gd name="T21" fmla="*/ 713 h 735"/>
              <a:gd name="T22" fmla="*/ 445 w 651"/>
              <a:gd name="T23" fmla="*/ 713 h 735"/>
              <a:gd name="T24" fmla="*/ 244 w 651"/>
              <a:gd name="T25" fmla="*/ 735 h 735"/>
              <a:gd name="T26" fmla="*/ 102 w 651"/>
              <a:gd name="T27" fmla="*/ 735 h 735"/>
              <a:gd name="T28" fmla="*/ 475 w 651"/>
              <a:gd name="T29" fmla="*/ 378 h 735"/>
              <a:gd name="T30" fmla="*/ 323 w 651"/>
              <a:gd name="T31" fmla="*/ 346 h 735"/>
              <a:gd name="T32" fmla="*/ 173 w 651"/>
              <a:gd name="T33" fmla="*/ 258 h 735"/>
              <a:gd name="T34" fmla="*/ 267 w 651"/>
              <a:gd name="T35" fmla="*/ 286 h 735"/>
              <a:gd name="T36" fmla="*/ 421 w 651"/>
              <a:gd name="T37" fmla="*/ 316 h 735"/>
              <a:gd name="T38" fmla="*/ 449 w 651"/>
              <a:gd name="T39" fmla="*/ 465 h 735"/>
              <a:gd name="T40" fmla="*/ 325 w 651"/>
              <a:gd name="T41" fmla="*/ 409 h 735"/>
              <a:gd name="T42" fmla="*/ 173 w 651"/>
              <a:gd name="T43" fmla="*/ 380 h 735"/>
              <a:gd name="T44" fmla="*/ 144 w 651"/>
              <a:gd name="T45" fmla="*/ 282 h 735"/>
              <a:gd name="T46" fmla="*/ 295 w 651"/>
              <a:gd name="T47" fmla="*/ 253 h 735"/>
              <a:gd name="T48" fmla="*/ 417 w 651"/>
              <a:gd name="T49" fmla="*/ 197 h 735"/>
              <a:gd name="T50" fmla="*/ 483 w 651"/>
              <a:gd name="T51" fmla="*/ 316 h 735"/>
              <a:gd name="T52" fmla="*/ 421 w 651"/>
              <a:gd name="T53" fmla="*/ 500 h 735"/>
              <a:gd name="T54" fmla="*/ 353 w 651"/>
              <a:gd name="T55" fmla="*/ 500 h 735"/>
              <a:gd name="T56" fmla="*/ 201 w 651"/>
              <a:gd name="T57" fmla="*/ 468 h 735"/>
              <a:gd name="T58" fmla="*/ 85 w 651"/>
              <a:gd name="T59" fmla="*/ 346 h 735"/>
              <a:gd name="T60" fmla="*/ 116 w 651"/>
              <a:gd name="T61" fmla="*/ 195 h 735"/>
              <a:gd name="T62" fmla="*/ 323 w 651"/>
              <a:gd name="T63" fmla="*/ 163 h 735"/>
              <a:gd name="T64" fmla="*/ 390 w 651"/>
              <a:gd name="T65" fmla="*/ 163 h 735"/>
              <a:gd name="T66" fmla="*/ 512 w 651"/>
              <a:gd name="T67" fmla="*/ 225 h 735"/>
              <a:gd name="T68" fmla="*/ 567 w 651"/>
              <a:gd name="T69" fmla="*/ 468 h 735"/>
              <a:gd name="T70" fmla="*/ 449 w 651"/>
              <a:gd name="T71" fmla="*/ 533 h 735"/>
              <a:gd name="T72" fmla="*/ 295 w 651"/>
              <a:gd name="T73" fmla="*/ 501 h 735"/>
              <a:gd name="T74" fmla="*/ 173 w 651"/>
              <a:gd name="T75" fmla="*/ 558 h 735"/>
              <a:gd name="T76" fmla="*/ 110 w 651"/>
              <a:gd name="T77" fmla="*/ 378 h 735"/>
              <a:gd name="T78" fmla="*/ 54 w 651"/>
              <a:gd name="T79" fmla="*/ 132 h 735"/>
              <a:gd name="T80" fmla="*/ 177 w 651"/>
              <a:gd name="T81" fmla="*/ 132 h 735"/>
              <a:gd name="T82" fmla="*/ 384 w 651"/>
              <a:gd name="T83" fmla="*/ 103 h 735"/>
              <a:gd name="T84" fmla="*/ 450 w 651"/>
              <a:gd name="T85" fmla="*/ 103 h 735"/>
              <a:gd name="T86" fmla="*/ 543 w 651"/>
              <a:gd name="T87" fmla="*/ 254 h 735"/>
              <a:gd name="T88" fmla="*/ 599 w 651"/>
              <a:gd name="T89" fmla="*/ 500 h 735"/>
              <a:gd name="T90" fmla="*/ 507 w 651"/>
              <a:gd name="T91" fmla="*/ 591 h 735"/>
              <a:gd name="T92" fmla="*/ 299 w 651"/>
              <a:gd name="T93" fmla="*/ 622 h 735"/>
              <a:gd name="T94" fmla="*/ 232 w 651"/>
              <a:gd name="T95" fmla="*/ 622 h 735"/>
              <a:gd name="T96" fmla="*/ 23 w 651"/>
              <a:gd name="T97" fmla="*/ 529 h 735"/>
              <a:gd name="T98" fmla="*/ 78 w 651"/>
              <a:gd name="T99" fmla="*/ 286 h 735"/>
              <a:gd name="T100" fmla="*/ 51 w 651"/>
              <a:gd name="T101" fmla="*/ 15 h 735"/>
              <a:gd name="T102" fmla="*/ 204 w 651"/>
              <a:gd name="T103" fmla="*/ 99 h 735"/>
              <a:gd name="T104" fmla="*/ 325 w 651"/>
              <a:gd name="T105" fmla="*/ 46 h 735"/>
              <a:gd name="T106" fmla="*/ 479 w 651"/>
              <a:gd name="T107" fmla="*/ 15 h 735"/>
              <a:gd name="T108" fmla="*/ 572 w 651"/>
              <a:gd name="T109" fmla="*/ 42 h 735"/>
              <a:gd name="T110" fmla="*/ 629 w 651"/>
              <a:gd name="T111" fmla="*/ 286 h 735"/>
              <a:gd name="T112" fmla="*/ 600 w 651"/>
              <a:gd name="T113" fmla="*/ 563 h 735"/>
              <a:gd name="T114" fmla="*/ 483 w 651"/>
              <a:gd name="T115" fmla="*/ 683 h 735"/>
              <a:gd name="T116" fmla="*/ 384 w 651"/>
              <a:gd name="T117" fmla="*/ 651 h 735"/>
              <a:gd name="T118" fmla="*/ 207 w 651"/>
              <a:gd name="T119" fmla="*/ 651 h 735"/>
              <a:gd name="T120" fmla="*/ 140 w 651"/>
              <a:gd name="T121" fmla="*/ 651 h 7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51" h="735">
                <a:moveTo>
                  <a:pt x="27" y="662"/>
                </a:moveTo>
                <a:lnTo>
                  <a:pt x="27" y="656"/>
                </a:lnTo>
                <a:lnTo>
                  <a:pt x="51" y="679"/>
                </a:lnTo>
                <a:lnTo>
                  <a:pt x="78" y="651"/>
                </a:lnTo>
                <a:lnTo>
                  <a:pt x="51" y="624"/>
                </a:lnTo>
                <a:lnTo>
                  <a:pt x="27" y="647"/>
                </a:lnTo>
                <a:lnTo>
                  <a:pt x="27" y="642"/>
                </a:lnTo>
                <a:lnTo>
                  <a:pt x="47" y="622"/>
                </a:lnTo>
                <a:lnTo>
                  <a:pt x="26" y="599"/>
                </a:lnTo>
                <a:lnTo>
                  <a:pt x="26" y="591"/>
                </a:lnTo>
                <a:lnTo>
                  <a:pt x="51" y="618"/>
                </a:lnTo>
                <a:lnTo>
                  <a:pt x="78" y="591"/>
                </a:lnTo>
                <a:lnTo>
                  <a:pt x="51" y="563"/>
                </a:lnTo>
                <a:lnTo>
                  <a:pt x="26" y="590"/>
                </a:lnTo>
                <a:lnTo>
                  <a:pt x="26" y="584"/>
                </a:lnTo>
                <a:lnTo>
                  <a:pt x="47" y="559"/>
                </a:lnTo>
                <a:lnTo>
                  <a:pt x="23" y="535"/>
                </a:lnTo>
                <a:lnTo>
                  <a:pt x="22" y="525"/>
                </a:lnTo>
                <a:lnTo>
                  <a:pt x="47" y="500"/>
                </a:lnTo>
                <a:lnTo>
                  <a:pt x="19" y="472"/>
                </a:lnTo>
                <a:lnTo>
                  <a:pt x="19" y="472"/>
                </a:lnTo>
                <a:lnTo>
                  <a:pt x="19" y="464"/>
                </a:lnTo>
                <a:lnTo>
                  <a:pt x="19" y="465"/>
                </a:lnTo>
                <a:lnTo>
                  <a:pt x="47" y="437"/>
                </a:lnTo>
                <a:lnTo>
                  <a:pt x="19" y="409"/>
                </a:lnTo>
                <a:lnTo>
                  <a:pt x="18" y="413"/>
                </a:lnTo>
                <a:lnTo>
                  <a:pt x="18" y="408"/>
                </a:lnTo>
                <a:lnTo>
                  <a:pt x="18" y="408"/>
                </a:lnTo>
                <a:lnTo>
                  <a:pt x="18" y="408"/>
                </a:lnTo>
                <a:lnTo>
                  <a:pt x="18" y="400"/>
                </a:lnTo>
                <a:lnTo>
                  <a:pt x="19" y="404"/>
                </a:lnTo>
                <a:lnTo>
                  <a:pt x="47" y="378"/>
                </a:lnTo>
                <a:lnTo>
                  <a:pt x="19" y="350"/>
                </a:lnTo>
                <a:lnTo>
                  <a:pt x="17" y="356"/>
                </a:lnTo>
                <a:lnTo>
                  <a:pt x="14" y="350"/>
                </a:lnTo>
                <a:lnTo>
                  <a:pt x="18" y="346"/>
                </a:lnTo>
                <a:lnTo>
                  <a:pt x="14" y="344"/>
                </a:lnTo>
                <a:lnTo>
                  <a:pt x="14" y="337"/>
                </a:lnTo>
                <a:lnTo>
                  <a:pt x="19" y="344"/>
                </a:lnTo>
                <a:lnTo>
                  <a:pt x="47" y="316"/>
                </a:lnTo>
                <a:lnTo>
                  <a:pt x="19" y="287"/>
                </a:lnTo>
                <a:lnTo>
                  <a:pt x="13" y="295"/>
                </a:lnTo>
                <a:lnTo>
                  <a:pt x="13" y="290"/>
                </a:lnTo>
                <a:lnTo>
                  <a:pt x="18" y="286"/>
                </a:lnTo>
                <a:lnTo>
                  <a:pt x="13" y="281"/>
                </a:lnTo>
                <a:lnTo>
                  <a:pt x="13" y="273"/>
                </a:lnTo>
                <a:lnTo>
                  <a:pt x="19" y="282"/>
                </a:lnTo>
                <a:lnTo>
                  <a:pt x="47" y="254"/>
                </a:lnTo>
                <a:lnTo>
                  <a:pt x="19" y="229"/>
                </a:lnTo>
                <a:lnTo>
                  <a:pt x="10" y="238"/>
                </a:lnTo>
                <a:lnTo>
                  <a:pt x="10" y="231"/>
                </a:lnTo>
                <a:lnTo>
                  <a:pt x="18" y="225"/>
                </a:lnTo>
                <a:lnTo>
                  <a:pt x="9" y="217"/>
                </a:lnTo>
                <a:lnTo>
                  <a:pt x="9" y="210"/>
                </a:lnTo>
                <a:lnTo>
                  <a:pt x="19" y="221"/>
                </a:lnTo>
                <a:lnTo>
                  <a:pt x="47" y="195"/>
                </a:lnTo>
                <a:lnTo>
                  <a:pt x="19" y="167"/>
                </a:lnTo>
                <a:lnTo>
                  <a:pt x="9" y="179"/>
                </a:lnTo>
                <a:lnTo>
                  <a:pt x="9" y="174"/>
                </a:lnTo>
                <a:lnTo>
                  <a:pt x="18" y="163"/>
                </a:lnTo>
                <a:lnTo>
                  <a:pt x="7" y="154"/>
                </a:lnTo>
                <a:lnTo>
                  <a:pt x="7" y="146"/>
                </a:lnTo>
                <a:lnTo>
                  <a:pt x="19" y="160"/>
                </a:lnTo>
                <a:lnTo>
                  <a:pt x="47" y="132"/>
                </a:lnTo>
                <a:lnTo>
                  <a:pt x="19" y="107"/>
                </a:lnTo>
                <a:lnTo>
                  <a:pt x="5" y="122"/>
                </a:lnTo>
                <a:lnTo>
                  <a:pt x="5" y="116"/>
                </a:lnTo>
                <a:lnTo>
                  <a:pt x="18" y="103"/>
                </a:lnTo>
                <a:lnTo>
                  <a:pt x="5" y="90"/>
                </a:lnTo>
                <a:lnTo>
                  <a:pt x="3" y="83"/>
                </a:lnTo>
                <a:lnTo>
                  <a:pt x="19" y="99"/>
                </a:lnTo>
                <a:lnTo>
                  <a:pt x="47" y="74"/>
                </a:lnTo>
                <a:lnTo>
                  <a:pt x="19" y="46"/>
                </a:lnTo>
                <a:lnTo>
                  <a:pt x="3" y="62"/>
                </a:lnTo>
                <a:lnTo>
                  <a:pt x="3" y="56"/>
                </a:lnTo>
                <a:lnTo>
                  <a:pt x="18" y="42"/>
                </a:lnTo>
                <a:lnTo>
                  <a:pt x="0" y="27"/>
                </a:lnTo>
                <a:lnTo>
                  <a:pt x="0" y="19"/>
                </a:lnTo>
                <a:lnTo>
                  <a:pt x="19" y="39"/>
                </a:lnTo>
                <a:lnTo>
                  <a:pt x="47" y="11"/>
                </a:lnTo>
                <a:lnTo>
                  <a:pt x="37" y="0"/>
                </a:lnTo>
                <a:lnTo>
                  <a:pt x="42" y="0"/>
                </a:lnTo>
                <a:lnTo>
                  <a:pt x="51" y="8"/>
                </a:lnTo>
                <a:lnTo>
                  <a:pt x="61" y="0"/>
                </a:lnTo>
                <a:lnTo>
                  <a:pt x="66" y="0"/>
                </a:lnTo>
                <a:lnTo>
                  <a:pt x="54" y="11"/>
                </a:lnTo>
                <a:lnTo>
                  <a:pt x="82" y="39"/>
                </a:lnTo>
                <a:lnTo>
                  <a:pt x="110" y="11"/>
                </a:lnTo>
                <a:lnTo>
                  <a:pt x="97" y="0"/>
                </a:lnTo>
                <a:lnTo>
                  <a:pt x="104" y="0"/>
                </a:lnTo>
                <a:lnTo>
                  <a:pt x="112" y="8"/>
                </a:lnTo>
                <a:lnTo>
                  <a:pt x="121" y="0"/>
                </a:lnTo>
                <a:lnTo>
                  <a:pt x="126" y="0"/>
                </a:lnTo>
                <a:lnTo>
                  <a:pt x="116" y="11"/>
                </a:lnTo>
                <a:lnTo>
                  <a:pt x="144" y="39"/>
                </a:lnTo>
                <a:lnTo>
                  <a:pt x="169" y="11"/>
                </a:lnTo>
                <a:lnTo>
                  <a:pt x="159" y="0"/>
                </a:lnTo>
                <a:lnTo>
                  <a:pt x="164" y="0"/>
                </a:lnTo>
                <a:lnTo>
                  <a:pt x="173" y="8"/>
                </a:lnTo>
                <a:lnTo>
                  <a:pt x="183" y="0"/>
                </a:lnTo>
                <a:lnTo>
                  <a:pt x="188" y="0"/>
                </a:lnTo>
                <a:lnTo>
                  <a:pt x="177" y="11"/>
                </a:lnTo>
                <a:lnTo>
                  <a:pt x="204" y="39"/>
                </a:lnTo>
                <a:lnTo>
                  <a:pt x="232" y="11"/>
                </a:lnTo>
                <a:lnTo>
                  <a:pt x="220" y="0"/>
                </a:lnTo>
                <a:lnTo>
                  <a:pt x="225" y="0"/>
                </a:lnTo>
                <a:lnTo>
                  <a:pt x="235" y="8"/>
                </a:lnTo>
                <a:lnTo>
                  <a:pt x="243" y="0"/>
                </a:lnTo>
                <a:lnTo>
                  <a:pt x="251" y="0"/>
                </a:lnTo>
                <a:lnTo>
                  <a:pt x="238" y="11"/>
                </a:lnTo>
                <a:lnTo>
                  <a:pt x="266" y="39"/>
                </a:lnTo>
                <a:lnTo>
                  <a:pt x="294" y="11"/>
                </a:lnTo>
                <a:lnTo>
                  <a:pt x="280" y="0"/>
                </a:lnTo>
                <a:lnTo>
                  <a:pt x="286" y="0"/>
                </a:lnTo>
                <a:lnTo>
                  <a:pt x="295" y="8"/>
                </a:lnTo>
                <a:lnTo>
                  <a:pt x="304" y="0"/>
                </a:lnTo>
                <a:lnTo>
                  <a:pt x="310" y="0"/>
                </a:lnTo>
                <a:lnTo>
                  <a:pt x="299" y="11"/>
                </a:lnTo>
                <a:lnTo>
                  <a:pt x="325" y="39"/>
                </a:lnTo>
                <a:lnTo>
                  <a:pt x="353" y="11"/>
                </a:lnTo>
                <a:lnTo>
                  <a:pt x="342" y="0"/>
                </a:lnTo>
                <a:lnTo>
                  <a:pt x="347" y="0"/>
                </a:lnTo>
                <a:lnTo>
                  <a:pt x="357" y="8"/>
                </a:lnTo>
                <a:lnTo>
                  <a:pt x="366" y="0"/>
                </a:lnTo>
                <a:lnTo>
                  <a:pt x="371" y="0"/>
                </a:lnTo>
                <a:lnTo>
                  <a:pt x="359" y="11"/>
                </a:lnTo>
                <a:lnTo>
                  <a:pt x="388" y="39"/>
                </a:lnTo>
                <a:lnTo>
                  <a:pt x="416" y="11"/>
                </a:lnTo>
                <a:lnTo>
                  <a:pt x="402" y="0"/>
                </a:lnTo>
                <a:lnTo>
                  <a:pt x="409" y="0"/>
                </a:lnTo>
                <a:lnTo>
                  <a:pt x="417" y="8"/>
                </a:lnTo>
                <a:lnTo>
                  <a:pt x="426" y="0"/>
                </a:lnTo>
                <a:lnTo>
                  <a:pt x="432" y="0"/>
                </a:lnTo>
                <a:lnTo>
                  <a:pt x="421" y="11"/>
                </a:lnTo>
                <a:lnTo>
                  <a:pt x="449" y="39"/>
                </a:lnTo>
                <a:lnTo>
                  <a:pt x="475" y="11"/>
                </a:lnTo>
                <a:lnTo>
                  <a:pt x="464" y="0"/>
                </a:lnTo>
                <a:lnTo>
                  <a:pt x="469" y="0"/>
                </a:lnTo>
                <a:lnTo>
                  <a:pt x="479" y="8"/>
                </a:lnTo>
                <a:lnTo>
                  <a:pt x="488" y="0"/>
                </a:lnTo>
                <a:lnTo>
                  <a:pt x="493" y="0"/>
                </a:lnTo>
                <a:lnTo>
                  <a:pt x="483" y="11"/>
                </a:lnTo>
                <a:lnTo>
                  <a:pt x="509" y="39"/>
                </a:lnTo>
                <a:lnTo>
                  <a:pt x="538" y="11"/>
                </a:lnTo>
                <a:lnTo>
                  <a:pt x="525" y="0"/>
                </a:lnTo>
                <a:lnTo>
                  <a:pt x="531" y="0"/>
                </a:lnTo>
                <a:lnTo>
                  <a:pt x="540" y="8"/>
                </a:lnTo>
                <a:lnTo>
                  <a:pt x="548" y="0"/>
                </a:lnTo>
                <a:lnTo>
                  <a:pt x="554" y="0"/>
                </a:lnTo>
                <a:lnTo>
                  <a:pt x="543" y="11"/>
                </a:lnTo>
                <a:lnTo>
                  <a:pt x="571" y="39"/>
                </a:lnTo>
                <a:lnTo>
                  <a:pt x="599" y="11"/>
                </a:lnTo>
                <a:lnTo>
                  <a:pt x="586" y="0"/>
                </a:lnTo>
                <a:lnTo>
                  <a:pt x="591" y="0"/>
                </a:lnTo>
                <a:lnTo>
                  <a:pt x="600" y="8"/>
                </a:lnTo>
                <a:lnTo>
                  <a:pt x="610" y="0"/>
                </a:lnTo>
                <a:lnTo>
                  <a:pt x="615" y="0"/>
                </a:lnTo>
                <a:lnTo>
                  <a:pt x="604" y="11"/>
                </a:lnTo>
                <a:lnTo>
                  <a:pt x="631" y="39"/>
                </a:lnTo>
                <a:lnTo>
                  <a:pt x="651" y="19"/>
                </a:lnTo>
                <a:lnTo>
                  <a:pt x="651" y="27"/>
                </a:lnTo>
                <a:lnTo>
                  <a:pt x="634" y="42"/>
                </a:lnTo>
                <a:lnTo>
                  <a:pt x="650" y="56"/>
                </a:lnTo>
                <a:lnTo>
                  <a:pt x="650" y="64"/>
                </a:lnTo>
                <a:lnTo>
                  <a:pt x="631" y="46"/>
                </a:lnTo>
                <a:lnTo>
                  <a:pt x="604" y="74"/>
                </a:lnTo>
                <a:lnTo>
                  <a:pt x="631" y="99"/>
                </a:lnTo>
                <a:lnTo>
                  <a:pt x="650" y="83"/>
                </a:lnTo>
                <a:lnTo>
                  <a:pt x="650" y="88"/>
                </a:lnTo>
                <a:lnTo>
                  <a:pt x="634" y="103"/>
                </a:lnTo>
                <a:lnTo>
                  <a:pt x="647" y="116"/>
                </a:lnTo>
                <a:lnTo>
                  <a:pt x="647" y="122"/>
                </a:lnTo>
                <a:lnTo>
                  <a:pt x="631" y="107"/>
                </a:lnTo>
                <a:lnTo>
                  <a:pt x="604" y="132"/>
                </a:lnTo>
                <a:lnTo>
                  <a:pt x="631" y="160"/>
                </a:lnTo>
                <a:lnTo>
                  <a:pt x="646" y="146"/>
                </a:lnTo>
                <a:lnTo>
                  <a:pt x="646" y="151"/>
                </a:lnTo>
                <a:lnTo>
                  <a:pt x="634" y="163"/>
                </a:lnTo>
                <a:lnTo>
                  <a:pt x="646" y="174"/>
                </a:lnTo>
                <a:lnTo>
                  <a:pt x="646" y="179"/>
                </a:lnTo>
                <a:lnTo>
                  <a:pt x="631" y="167"/>
                </a:lnTo>
                <a:lnTo>
                  <a:pt x="604" y="195"/>
                </a:lnTo>
                <a:lnTo>
                  <a:pt x="631" y="221"/>
                </a:lnTo>
                <a:lnTo>
                  <a:pt x="643" y="210"/>
                </a:lnTo>
                <a:lnTo>
                  <a:pt x="643" y="215"/>
                </a:lnTo>
                <a:lnTo>
                  <a:pt x="634" y="225"/>
                </a:lnTo>
                <a:lnTo>
                  <a:pt x="643" y="234"/>
                </a:lnTo>
                <a:lnTo>
                  <a:pt x="643" y="239"/>
                </a:lnTo>
                <a:lnTo>
                  <a:pt x="631" y="229"/>
                </a:lnTo>
                <a:lnTo>
                  <a:pt x="604" y="254"/>
                </a:lnTo>
                <a:lnTo>
                  <a:pt x="631" y="282"/>
                </a:lnTo>
                <a:lnTo>
                  <a:pt x="642" y="273"/>
                </a:lnTo>
                <a:lnTo>
                  <a:pt x="642" y="278"/>
                </a:lnTo>
                <a:lnTo>
                  <a:pt x="634" y="286"/>
                </a:lnTo>
                <a:lnTo>
                  <a:pt x="642" y="291"/>
                </a:lnTo>
                <a:lnTo>
                  <a:pt x="641" y="297"/>
                </a:lnTo>
                <a:lnTo>
                  <a:pt x="631" y="287"/>
                </a:lnTo>
                <a:lnTo>
                  <a:pt x="604" y="316"/>
                </a:lnTo>
                <a:lnTo>
                  <a:pt x="631" y="344"/>
                </a:lnTo>
                <a:lnTo>
                  <a:pt x="641" y="334"/>
                </a:lnTo>
                <a:lnTo>
                  <a:pt x="641" y="342"/>
                </a:lnTo>
                <a:lnTo>
                  <a:pt x="634" y="346"/>
                </a:lnTo>
                <a:lnTo>
                  <a:pt x="638" y="352"/>
                </a:lnTo>
                <a:lnTo>
                  <a:pt x="638" y="357"/>
                </a:lnTo>
                <a:lnTo>
                  <a:pt x="631" y="350"/>
                </a:lnTo>
                <a:lnTo>
                  <a:pt x="604" y="378"/>
                </a:lnTo>
                <a:lnTo>
                  <a:pt x="631" y="404"/>
                </a:lnTo>
                <a:lnTo>
                  <a:pt x="638" y="398"/>
                </a:lnTo>
                <a:lnTo>
                  <a:pt x="637" y="404"/>
                </a:lnTo>
                <a:lnTo>
                  <a:pt x="634" y="408"/>
                </a:lnTo>
                <a:lnTo>
                  <a:pt x="637" y="409"/>
                </a:lnTo>
                <a:lnTo>
                  <a:pt x="637" y="416"/>
                </a:lnTo>
                <a:lnTo>
                  <a:pt x="631" y="409"/>
                </a:lnTo>
                <a:lnTo>
                  <a:pt x="604" y="437"/>
                </a:lnTo>
                <a:lnTo>
                  <a:pt x="631" y="465"/>
                </a:lnTo>
                <a:lnTo>
                  <a:pt x="634" y="463"/>
                </a:lnTo>
                <a:lnTo>
                  <a:pt x="634" y="468"/>
                </a:lnTo>
                <a:lnTo>
                  <a:pt x="634" y="468"/>
                </a:lnTo>
                <a:lnTo>
                  <a:pt x="634" y="469"/>
                </a:lnTo>
                <a:lnTo>
                  <a:pt x="634" y="475"/>
                </a:lnTo>
                <a:lnTo>
                  <a:pt x="631" y="472"/>
                </a:lnTo>
                <a:lnTo>
                  <a:pt x="604" y="500"/>
                </a:lnTo>
                <a:lnTo>
                  <a:pt x="631" y="525"/>
                </a:lnTo>
                <a:lnTo>
                  <a:pt x="633" y="525"/>
                </a:lnTo>
                <a:lnTo>
                  <a:pt x="633" y="533"/>
                </a:lnTo>
                <a:lnTo>
                  <a:pt x="631" y="533"/>
                </a:lnTo>
                <a:lnTo>
                  <a:pt x="604" y="559"/>
                </a:lnTo>
                <a:lnTo>
                  <a:pt x="631" y="587"/>
                </a:lnTo>
                <a:lnTo>
                  <a:pt x="631" y="595"/>
                </a:lnTo>
                <a:lnTo>
                  <a:pt x="604" y="622"/>
                </a:lnTo>
                <a:lnTo>
                  <a:pt x="629" y="646"/>
                </a:lnTo>
                <a:lnTo>
                  <a:pt x="629" y="651"/>
                </a:lnTo>
                <a:lnTo>
                  <a:pt x="600" y="624"/>
                </a:lnTo>
                <a:lnTo>
                  <a:pt x="572" y="651"/>
                </a:lnTo>
                <a:lnTo>
                  <a:pt x="600" y="679"/>
                </a:lnTo>
                <a:lnTo>
                  <a:pt x="629" y="651"/>
                </a:lnTo>
                <a:lnTo>
                  <a:pt x="627" y="659"/>
                </a:lnTo>
                <a:lnTo>
                  <a:pt x="604" y="683"/>
                </a:lnTo>
                <a:lnTo>
                  <a:pt x="627" y="703"/>
                </a:lnTo>
                <a:lnTo>
                  <a:pt x="625" y="711"/>
                </a:lnTo>
                <a:lnTo>
                  <a:pt x="600" y="684"/>
                </a:lnTo>
                <a:lnTo>
                  <a:pt x="572" y="713"/>
                </a:lnTo>
                <a:lnTo>
                  <a:pt x="596" y="735"/>
                </a:lnTo>
                <a:lnTo>
                  <a:pt x="590" y="735"/>
                </a:lnTo>
                <a:lnTo>
                  <a:pt x="571" y="715"/>
                </a:lnTo>
                <a:lnTo>
                  <a:pt x="550" y="735"/>
                </a:lnTo>
                <a:lnTo>
                  <a:pt x="544" y="735"/>
                </a:lnTo>
                <a:lnTo>
                  <a:pt x="567" y="713"/>
                </a:lnTo>
                <a:lnTo>
                  <a:pt x="540" y="684"/>
                </a:lnTo>
                <a:lnTo>
                  <a:pt x="512" y="713"/>
                </a:lnTo>
                <a:lnTo>
                  <a:pt x="535" y="735"/>
                </a:lnTo>
                <a:lnTo>
                  <a:pt x="529" y="735"/>
                </a:lnTo>
                <a:lnTo>
                  <a:pt x="509" y="715"/>
                </a:lnTo>
                <a:lnTo>
                  <a:pt x="491" y="735"/>
                </a:lnTo>
                <a:lnTo>
                  <a:pt x="483" y="735"/>
                </a:lnTo>
                <a:lnTo>
                  <a:pt x="507" y="713"/>
                </a:lnTo>
                <a:lnTo>
                  <a:pt x="479" y="684"/>
                </a:lnTo>
                <a:lnTo>
                  <a:pt x="450" y="713"/>
                </a:lnTo>
                <a:lnTo>
                  <a:pt x="473" y="735"/>
                </a:lnTo>
                <a:lnTo>
                  <a:pt x="468" y="735"/>
                </a:lnTo>
                <a:lnTo>
                  <a:pt x="449" y="715"/>
                </a:lnTo>
                <a:lnTo>
                  <a:pt x="428" y="735"/>
                </a:lnTo>
                <a:lnTo>
                  <a:pt x="422" y="735"/>
                </a:lnTo>
                <a:lnTo>
                  <a:pt x="445" y="713"/>
                </a:lnTo>
                <a:lnTo>
                  <a:pt x="417" y="684"/>
                </a:lnTo>
                <a:lnTo>
                  <a:pt x="390" y="713"/>
                </a:lnTo>
                <a:lnTo>
                  <a:pt x="413" y="735"/>
                </a:lnTo>
                <a:lnTo>
                  <a:pt x="408" y="735"/>
                </a:lnTo>
                <a:lnTo>
                  <a:pt x="388" y="715"/>
                </a:lnTo>
                <a:lnTo>
                  <a:pt x="366" y="735"/>
                </a:lnTo>
                <a:lnTo>
                  <a:pt x="361" y="735"/>
                </a:lnTo>
                <a:lnTo>
                  <a:pt x="384" y="713"/>
                </a:lnTo>
                <a:lnTo>
                  <a:pt x="357" y="684"/>
                </a:lnTo>
                <a:lnTo>
                  <a:pt x="329" y="713"/>
                </a:lnTo>
                <a:lnTo>
                  <a:pt x="351" y="735"/>
                </a:lnTo>
                <a:lnTo>
                  <a:pt x="346" y="735"/>
                </a:lnTo>
                <a:lnTo>
                  <a:pt x="325" y="715"/>
                </a:lnTo>
                <a:lnTo>
                  <a:pt x="306" y="735"/>
                </a:lnTo>
                <a:lnTo>
                  <a:pt x="300" y="735"/>
                </a:lnTo>
                <a:lnTo>
                  <a:pt x="323" y="713"/>
                </a:lnTo>
                <a:lnTo>
                  <a:pt x="295" y="684"/>
                </a:lnTo>
                <a:lnTo>
                  <a:pt x="267" y="713"/>
                </a:lnTo>
                <a:lnTo>
                  <a:pt x="291" y="735"/>
                </a:lnTo>
                <a:lnTo>
                  <a:pt x="284" y="735"/>
                </a:lnTo>
                <a:lnTo>
                  <a:pt x="266" y="715"/>
                </a:lnTo>
                <a:lnTo>
                  <a:pt x="244" y="735"/>
                </a:lnTo>
                <a:lnTo>
                  <a:pt x="239" y="735"/>
                </a:lnTo>
                <a:lnTo>
                  <a:pt x="262" y="713"/>
                </a:lnTo>
                <a:lnTo>
                  <a:pt x="235" y="684"/>
                </a:lnTo>
                <a:lnTo>
                  <a:pt x="207" y="713"/>
                </a:lnTo>
                <a:lnTo>
                  <a:pt x="230" y="735"/>
                </a:lnTo>
                <a:lnTo>
                  <a:pt x="224" y="735"/>
                </a:lnTo>
                <a:lnTo>
                  <a:pt x="204" y="715"/>
                </a:lnTo>
                <a:lnTo>
                  <a:pt x="185" y="735"/>
                </a:lnTo>
                <a:lnTo>
                  <a:pt x="179" y="735"/>
                </a:lnTo>
                <a:lnTo>
                  <a:pt x="201" y="713"/>
                </a:lnTo>
                <a:lnTo>
                  <a:pt x="173" y="684"/>
                </a:lnTo>
                <a:lnTo>
                  <a:pt x="145" y="713"/>
                </a:lnTo>
                <a:lnTo>
                  <a:pt x="168" y="735"/>
                </a:lnTo>
                <a:lnTo>
                  <a:pt x="163" y="735"/>
                </a:lnTo>
                <a:lnTo>
                  <a:pt x="144" y="715"/>
                </a:lnTo>
                <a:lnTo>
                  <a:pt x="122" y="735"/>
                </a:lnTo>
                <a:lnTo>
                  <a:pt x="117" y="735"/>
                </a:lnTo>
                <a:lnTo>
                  <a:pt x="140" y="713"/>
                </a:lnTo>
                <a:lnTo>
                  <a:pt x="112" y="684"/>
                </a:lnTo>
                <a:lnTo>
                  <a:pt x="85" y="713"/>
                </a:lnTo>
                <a:lnTo>
                  <a:pt x="108" y="735"/>
                </a:lnTo>
                <a:lnTo>
                  <a:pt x="102" y="735"/>
                </a:lnTo>
                <a:lnTo>
                  <a:pt x="82" y="715"/>
                </a:lnTo>
                <a:lnTo>
                  <a:pt x="63" y="735"/>
                </a:lnTo>
                <a:lnTo>
                  <a:pt x="55" y="735"/>
                </a:lnTo>
                <a:lnTo>
                  <a:pt x="78" y="713"/>
                </a:lnTo>
                <a:lnTo>
                  <a:pt x="51" y="684"/>
                </a:lnTo>
                <a:lnTo>
                  <a:pt x="29" y="706"/>
                </a:lnTo>
                <a:lnTo>
                  <a:pt x="29" y="699"/>
                </a:lnTo>
                <a:lnTo>
                  <a:pt x="47" y="683"/>
                </a:lnTo>
                <a:lnTo>
                  <a:pt x="27" y="662"/>
                </a:lnTo>
                <a:close/>
                <a:moveTo>
                  <a:pt x="54" y="622"/>
                </a:moveTo>
                <a:lnTo>
                  <a:pt x="82" y="650"/>
                </a:lnTo>
                <a:lnTo>
                  <a:pt x="110" y="622"/>
                </a:lnTo>
                <a:lnTo>
                  <a:pt x="82" y="594"/>
                </a:lnTo>
                <a:lnTo>
                  <a:pt x="54" y="622"/>
                </a:lnTo>
                <a:close/>
                <a:moveTo>
                  <a:pt x="445" y="346"/>
                </a:moveTo>
                <a:lnTo>
                  <a:pt x="417" y="320"/>
                </a:lnTo>
                <a:lnTo>
                  <a:pt x="390" y="346"/>
                </a:lnTo>
                <a:lnTo>
                  <a:pt x="417" y="374"/>
                </a:lnTo>
                <a:lnTo>
                  <a:pt x="445" y="346"/>
                </a:lnTo>
                <a:close/>
                <a:moveTo>
                  <a:pt x="421" y="378"/>
                </a:moveTo>
                <a:lnTo>
                  <a:pt x="449" y="404"/>
                </a:lnTo>
                <a:lnTo>
                  <a:pt x="475" y="378"/>
                </a:lnTo>
                <a:lnTo>
                  <a:pt x="449" y="350"/>
                </a:lnTo>
                <a:lnTo>
                  <a:pt x="421" y="378"/>
                </a:lnTo>
                <a:close/>
                <a:moveTo>
                  <a:pt x="388" y="350"/>
                </a:moveTo>
                <a:lnTo>
                  <a:pt x="359" y="378"/>
                </a:lnTo>
                <a:lnTo>
                  <a:pt x="388" y="404"/>
                </a:lnTo>
                <a:lnTo>
                  <a:pt x="416" y="378"/>
                </a:lnTo>
                <a:lnTo>
                  <a:pt x="388" y="350"/>
                </a:lnTo>
                <a:close/>
                <a:moveTo>
                  <a:pt x="384" y="346"/>
                </a:moveTo>
                <a:lnTo>
                  <a:pt x="357" y="320"/>
                </a:lnTo>
                <a:lnTo>
                  <a:pt x="329" y="346"/>
                </a:lnTo>
                <a:lnTo>
                  <a:pt x="357" y="374"/>
                </a:lnTo>
                <a:lnTo>
                  <a:pt x="384" y="346"/>
                </a:lnTo>
                <a:close/>
                <a:moveTo>
                  <a:pt x="325" y="350"/>
                </a:moveTo>
                <a:lnTo>
                  <a:pt x="299" y="378"/>
                </a:lnTo>
                <a:lnTo>
                  <a:pt x="325" y="404"/>
                </a:lnTo>
                <a:lnTo>
                  <a:pt x="353" y="378"/>
                </a:lnTo>
                <a:lnTo>
                  <a:pt x="325" y="350"/>
                </a:lnTo>
                <a:close/>
                <a:moveTo>
                  <a:pt x="323" y="346"/>
                </a:moveTo>
                <a:lnTo>
                  <a:pt x="295" y="320"/>
                </a:lnTo>
                <a:lnTo>
                  <a:pt x="267" y="346"/>
                </a:lnTo>
                <a:lnTo>
                  <a:pt x="295" y="374"/>
                </a:lnTo>
                <a:lnTo>
                  <a:pt x="323" y="346"/>
                </a:lnTo>
                <a:close/>
                <a:moveTo>
                  <a:pt x="266" y="350"/>
                </a:moveTo>
                <a:lnTo>
                  <a:pt x="238" y="378"/>
                </a:lnTo>
                <a:lnTo>
                  <a:pt x="266" y="404"/>
                </a:lnTo>
                <a:lnTo>
                  <a:pt x="294" y="378"/>
                </a:lnTo>
                <a:lnTo>
                  <a:pt x="266" y="350"/>
                </a:lnTo>
                <a:close/>
                <a:moveTo>
                  <a:pt x="262" y="346"/>
                </a:moveTo>
                <a:lnTo>
                  <a:pt x="235" y="320"/>
                </a:lnTo>
                <a:lnTo>
                  <a:pt x="207" y="346"/>
                </a:lnTo>
                <a:lnTo>
                  <a:pt x="235" y="374"/>
                </a:lnTo>
                <a:lnTo>
                  <a:pt x="262" y="346"/>
                </a:lnTo>
                <a:close/>
                <a:moveTo>
                  <a:pt x="204" y="350"/>
                </a:moveTo>
                <a:lnTo>
                  <a:pt x="177" y="378"/>
                </a:lnTo>
                <a:lnTo>
                  <a:pt x="204" y="404"/>
                </a:lnTo>
                <a:lnTo>
                  <a:pt x="232" y="378"/>
                </a:lnTo>
                <a:lnTo>
                  <a:pt x="204" y="350"/>
                </a:lnTo>
                <a:close/>
                <a:moveTo>
                  <a:pt x="201" y="346"/>
                </a:moveTo>
                <a:lnTo>
                  <a:pt x="173" y="320"/>
                </a:lnTo>
                <a:lnTo>
                  <a:pt x="145" y="346"/>
                </a:lnTo>
                <a:lnTo>
                  <a:pt x="173" y="374"/>
                </a:lnTo>
                <a:lnTo>
                  <a:pt x="201" y="346"/>
                </a:lnTo>
                <a:close/>
                <a:moveTo>
                  <a:pt x="201" y="286"/>
                </a:moveTo>
                <a:lnTo>
                  <a:pt x="173" y="258"/>
                </a:lnTo>
                <a:lnTo>
                  <a:pt x="145" y="286"/>
                </a:lnTo>
                <a:lnTo>
                  <a:pt x="173" y="313"/>
                </a:lnTo>
                <a:lnTo>
                  <a:pt x="201" y="286"/>
                </a:lnTo>
                <a:close/>
                <a:moveTo>
                  <a:pt x="177" y="316"/>
                </a:moveTo>
                <a:lnTo>
                  <a:pt x="204" y="344"/>
                </a:lnTo>
                <a:lnTo>
                  <a:pt x="232" y="316"/>
                </a:lnTo>
                <a:lnTo>
                  <a:pt x="204" y="287"/>
                </a:lnTo>
                <a:lnTo>
                  <a:pt x="177" y="316"/>
                </a:lnTo>
                <a:close/>
                <a:moveTo>
                  <a:pt x="235" y="313"/>
                </a:moveTo>
                <a:lnTo>
                  <a:pt x="262" y="286"/>
                </a:lnTo>
                <a:lnTo>
                  <a:pt x="235" y="258"/>
                </a:lnTo>
                <a:lnTo>
                  <a:pt x="207" y="286"/>
                </a:lnTo>
                <a:lnTo>
                  <a:pt x="235" y="313"/>
                </a:lnTo>
                <a:close/>
                <a:moveTo>
                  <a:pt x="238" y="316"/>
                </a:moveTo>
                <a:lnTo>
                  <a:pt x="266" y="344"/>
                </a:lnTo>
                <a:lnTo>
                  <a:pt x="294" y="316"/>
                </a:lnTo>
                <a:lnTo>
                  <a:pt x="266" y="287"/>
                </a:lnTo>
                <a:lnTo>
                  <a:pt x="238" y="316"/>
                </a:lnTo>
                <a:close/>
                <a:moveTo>
                  <a:pt x="295" y="313"/>
                </a:moveTo>
                <a:lnTo>
                  <a:pt x="323" y="286"/>
                </a:lnTo>
                <a:lnTo>
                  <a:pt x="295" y="258"/>
                </a:lnTo>
                <a:lnTo>
                  <a:pt x="267" y="286"/>
                </a:lnTo>
                <a:lnTo>
                  <a:pt x="295" y="313"/>
                </a:lnTo>
                <a:close/>
                <a:moveTo>
                  <a:pt x="299" y="316"/>
                </a:moveTo>
                <a:lnTo>
                  <a:pt x="325" y="344"/>
                </a:lnTo>
                <a:lnTo>
                  <a:pt x="353" y="316"/>
                </a:lnTo>
                <a:lnTo>
                  <a:pt x="325" y="287"/>
                </a:lnTo>
                <a:lnTo>
                  <a:pt x="299" y="316"/>
                </a:lnTo>
                <a:close/>
                <a:moveTo>
                  <a:pt x="357" y="313"/>
                </a:moveTo>
                <a:lnTo>
                  <a:pt x="384" y="286"/>
                </a:lnTo>
                <a:lnTo>
                  <a:pt x="357" y="258"/>
                </a:lnTo>
                <a:lnTo>
                  <a:pt x="329" y="286"/>
                </a:lnTo>
                <a:lnTo>
                  <a:pt x="357" y="313"/>
                </a:lnTo>
                <a:close/>
                <a:moveTo>
                  <a:pt x="359" y="316"/>
                </a:moveTo>
                <a:lnTo>
                  <a:pt x="388" y="344"/>
                </a:lnTo>
                <a:lnTo>
                  <a:pt x="416" y="316"/>
                </a:lnTo>
                <a:lnTo>
                  <a:pt x="388" y="287"/>
                </a:lnTo>
                <a:lnTo>
                  <a:pt x="359" y="316"/>
                </a:lnTo>
                <a:close/>
                <a:moveTo>
                  <a:pt x="417" y="313"/>
                </a:moveTo>
                <a:lnTo>
                  <a:pt x="445" y="286"/>
                </a:lnTo>
                <a:lnTo>
                  <a:pt x="417" y="258"/>
                </a:lnTo>
                <a:lnTo>
                  <a:pt x="390" y="286"/>
                </a:lnTo>
                <a:lnTo>
                  <a:pt x="417" y="313"/>
                </a:lnTo>
                <a:close/>
                <a:moveTo>
                  <a:pt x="421" y="316"/>
                </a:moveTo>
                <a:lnTo>
                  <a:pt x="449" y="344"/>
                </a:lnTo>
                <a:lnTo>
                  <a:pt x="475" y="316"/>
                </a:lnTo>
                <a:lnTo>
                  <a:pt x="449" y="287"/>
                </a:lnTo>
                <a:lnTo>
                  <a:pt x="421" y="316"/>
                </a:lnTo>
                <a:close/>
                <a:moveTo>
                  <a:pt x="479" y="313"/>
                </a:moveTo>
                <a:lnTo>
                  <a:pt x="507" y="286"/>
                </a:lnTo>
                <a:lnTo>
                  <a:pt x="479" y="258"/>
                </a:lnTo>
                <a:lnTo>
                  <a:pt x="450" y="286"/>
                </a:lnTo>
                <a:lnTo>
                  <a:pt x="479" y="313"/>
                </a:lnTo>
                <a:close/>
                <a:moveTo>
                  <a:pt x="450" y="346"/>
                </a:moveTo>
                <a:lnTo>
                  <a:pt x="479" y="374"/>
                </a:lnTo>
                <a:lnTo>
                  <a:pt x="507" y="346"/>
                </a:lnTo>
                <a:lnTo>
                  <a:pt x="479" y="320"/>
                </a:lnTo>
                <a:lnTo>
                  <a:pt x="450" y="346"/>
                </a:lnTo>
                <a:close/>
                <a:moveTo>
                  <a:pt x="450" y="408"/>
                </a:moveTo>
                <a:lnTo>
                  <a:pt x="479" y="436"/>
                </a:lnTo>
                <a:lnTo>
                  <a:pt x="507" y="408"/>
                </a:lnTo>
                <a:lnTo>
                  <a:pt x="479" y="380"/>
                </a:lnTo>
                <a:lnTo>
                  <a:pt x="450" y="408"/>
                </a:lnTo>
                <a:close/>
                <a:moveTo>
                  <a:pt x="449" y="409"/>
                </a:moveTo>
                <a:lnTo>
                  <a:pt x="421" y="437"/>
                </a:lnTo>
                <a:lnTo>
                  <a:pt x="449" y="465"/>
                </a:lnTo>
                <a:lnTo>
                  <a:pt x="475" y="437"/>
                </a:lnTo>
                <a:lnTo>
                  <a:pt x="449" y="409"/>
                </a:lnTo>
                <a:close/>
                <a:moveTo>
                  <a:pt x="445" y="408"/>
                </a:moveTo>
                <a:lnTo>
                  <a:pt x="417" y="380"/>
                </a:lnTo>
                <a:lnTo>
                  <a:pt x="390" y="408"/>
                </a:lnTo>
                <a:lnTo>
                  <a:pt x="417" y="436"/>
                </a:lnTo>
                <a:lnTo>
                  <a:pt x="445" y="408"/>
                </a:lnTo>
                <a:close/>
                <a:moveTo>
                  <a:pt x="388" y="409"/>
                </a:moveTo>
                <a:lnTo>
                  <a:pt x="359" y="437"/>
                </a:lnTo>
                <a:lnTo>
                  <a:pt x="388" y="465"/>
                </a:lnTo>
                <a:lnTo>
                  <a:pt x="416" y="437"/>
                </a:lnTo>
                <a:lnTo>
                  <a:pt x="388" y="409"/>
                </a:lnTo>
                <a:close/>
                <a:moveTo>
                  <a:pt x="384" y="408"/>
                </a:moveTo>
                <a:lnTo>
                  <a:pt x="357" y="380"/>
                </a:lnTo>
                <a:lnTo>
                  <a:pt x="329" y="408"/>
                </a:lnTo>
                <a:lnTo>
                  <a:pt x="357" y="436"/>
                </a:lnTo>
                <a:lnTo>
                  <a:pt x="384" y="408"/>
                </a:lnTo>
                <a:close/>
                <a:moveTo>
                  <a:pt x="325" y="409"/>
                </a:moveTo>
                <a:lnTo>
                  <a:pt x="299" y="437"/>
                </a:lnTo>
                <a:lnTo>
                  <a:pt x="325" y="465"/>
                </a:lnTo>
                <a:lnTo>
                  <a:pt x="353" y="437"/>
                </a:lnTo>
                <a:lnTo>
                  <a:pt x="325" y="409"/>
                </a:lnTo>
                <a:close/>
                <a:moveTo>
                  <a:pt x="323" y="408"/>
                </a:moveTo>
                <a:lnTo>
                  <a:pt x="295" y="380"/>
                </a:lnTo>
                <a:lnTo>
                  <a:pt x="267" y="408"/>
                </a:lnTo>
                <a:lnTo>
                  <a:pt x="295" y="436"/>
                </a:lnTo>
                <a:lnTo>
                  <a:pt x="323" y="408"/>
                </a:lnTo>
                <a:close/>
                <a:moveTo>
                  <a:pt x="266" y="409"/>
                </a:moveTo>
                <a:lnTo>
                  <a:pt x="238" y="437"/>
                </a:lnTo>
                <a:lnTo>
                  <a:pt x="266" y="465"/>
                </a:lnTo>
                <a:lnTo>
                  <a:pt x="294" y="437"/>
                </a:lnTo>
                <a:lnTo>
                  <a:pt x="266" y="409"/>
                </a:lnTo>
                <a:close/>
                <a:moveTo>
                  <a:pt x="262" y="408"/>
                </a:moveTo>
                <a:lnTo>
                  <a:pt x="235" y="380"/>
                </a:lnTo>
                <a:lnTo>
                  <a:pt x="207" y="408"/>
                </a:lnTo>
                <a:lnTo>
                  <a:pt x="235" y="436"/>
                </a:lnTo>
                <a:lnTo>
                  <a:pt x="262" y="408"/>
                </a:lnTo>
                <a:close/>
                <a:moveTo>
                  <a:pt x="204" y="409"/>
                </a:moveTo>
                <a:lnTo>
                  <a:pt x="177" y="437"/>
                </a:lnTo>
                <a:lnTo>
                  <a:pt x="204" y="465"/>
                </a:lnTo>
                <a:lnTo>
                  <a:pt x="232" y="437"/>
                </a:lnTo>
                <a:lnTo>
                  <a:pt x="204" y="409"/>
                </a:lnTo>
                <a:close/>
                <a:moveTo>
                  <a:pt x="201" y="408"/>
                </a:moveTo>
                <a:lnTo>
                  <a:pt x="173" y="380"/>
                </a:lnTo>
                <a:lnTo>
                  <a:pt x="145" y="408"/>
                </a:lnTo>
                <a:lnTo>
                  <a:pt x="173" y="436"/>
                </a:lnTo>
                <a:lnTo>
                  <a:pt x="201" y="408"/>
                </a:lnTo>
                <a:close/>
                <a:moveTo>
                  <a:pt x="144" y="409"/>
                </a:moveTo>
                <a:lnTo>
                  <a:pt x="116" y="437"/>
                </a:lnTo>
                <a:lnTo>
                  <a:pt x="144" y="465"/>
                </a:lnTo>
                <a:lnTo>
                  <a:pt x="169" y="437"/>
                </a:lnTo>
                <a:lnTo>
                  <a:pt x="144" y="409"/>
                </a:lnTo>
                <a:close/>
                <a:moveTo>
                  <a:pt x="169" y="378"/>
                </a:moveTo>
                <a:lnTo>
                  <a:pt x="144" y="350"/>
                </a:lnTo>
                <a:lnTo>
                  <a:pt x="116" y="378"/>
                </a:lnTo>
                <a:lnTo>
                  <a:pt x="144" y="404"/>
                </a:lnTo>
                <a:lnTo>
                  <a:pt x="169" y="378"/>
                </a:lnTo>
                <a:close/>
                <a:moveTo>
                  <a:pt x="169" y="316"/>
                </a:moveTo>
                <a:lnTo>
                  <a:pt x="144" y="287"/>
                </a:lnTo>
                <a:lnTo>
                  <a:pt x="116" y="316"/>
                </a:lnTo>
                <a:lnTo>
                  <a:pt x="144" y="344"/>
                </a:lnTo>
                <a:lnTo>
                  <a:pt x="169" y="316"/>
                </a:lnTo>
                <a:close/>
                <a:moveTo>
                  <a:pt x="169" y="254"/>
                </a:moveTo>
                <a:lnTo>
                  <a:pt x="144" y="229"/>
                </a:lnTo>
                <a:lnTo>
                  <a:pt x="116" y="254"/>
                </a:lnTo>
                <a:lnTo>
                  <a:pt x="144" y="282"/>
                </a:lnTo>
                <a:lnTo>
                  <a:pt x="169" y="254"/>
                </a:lnTo>
                <a:close/>
                <a:moveTo>
                  <a:pt x="173" y="253"/>
                </a:moveTo>
                <a:lnTo>
                  <a:pt x="201" y="225"/>
                </a:lnTo>
                <a:lnTo>
                  <a:pt x="173" y="197"/>
                </a:lnTo>
                <a:lnTo>
                  <a:pt x="145" y="225"/>
                </a:lnTo>
                <a:lnTo>
                  <a:pt x="173" y="253"/>
                </a:lnTo>
                <a:close/>
                <a:moveTo>
                  <a:pt x="177" y="254"/>
                </a:moveTo>
                <a:lnTo>
                  <a:pt x="204" y="282"/>
                </a:lnTo>
                <a:lnTo>
                  <a:pt x="232" y="254"/>
                </a:lnTo>
                <a:lnTo>
                  <a:pt x="204" y="229"/>
                </a:lnTo>
                <a:lnTo>
                  <a:pt x="177" y="254"/>
                </a:lnTo>
                <a:close/>
                <a:moveTo>
                  <a:pt x="235" y="253"/>
                </a:moveTo>
                <a:lnTo>
                  <a:pt x="262" y="225"/>
                </a:lnTo>
                <a:lnTo>
                  <a:pt x="235" y="197"/>
                </a:lnTo>
                <a:lnTo>
                  <a:pt x="207" y="225"/>
                </a:lnTo>
                <a:lnTo>
                  <a:pt x="235" y="253"/>
                </a:lnTo>
                <a:close/>
                <a:moveTo>
                  <a:pt x="238" y="254"/>
                </a:moveTo>
                <a:lnTo>
                  <a:pt x="266" y="282"/>
                </a:lnTo>
                <a:lnTo>
                  <a:pt x="294" y="254"/>
                </a:lnTo>
                <a:lnTo>
                  <a:pt x="266" y="229"/>
                </a:lnTo>
                <a:lnTo>
                  <a:pt x="238" y="254"/>
                </a:lnTo>
                <a:close/>
                <a:moveTo>
                  <a:pt x="295" y="253"/>
                </a:moveTo>
                <a:lnTo>
                  <a:pt x="323" y="225"/>
                </a:lnTo>
                <a:lnTo>
                  <a:pt x="295" y="197"/>
                </a:lnTo>
                <a:lnTo>
                  <a:pt x="267" y="225"/>
                </a:lnTo>
                <a:lnTo>
                  <a:pt x="295" y="253"/>
                </a:lnTo>
                <a:close/>
                <a:moveTo>
                  <a:pt x="299" y="254"/>
                </a:moveTo>
                <a:lnTo>
                  <a:pt x="325" y="282"/>
                </a:lnTo>
                <a:lnTo>
                  <a:pt x="353" y="254"/>
                </a:lnTo>
                <a:lnTo>
                  <a:pt x="325" y="229"/>
                </a:lnTo>
                <a:lnTo>
                  <a:pt x="299" y="254"/>
                </a:lnTo>
                <a:close/>
                <a:moveTo>
                  <a:pt x="357" y="253"/>
                </a:moveTo>
                <a:lnTo>
                  <a:pt x="384" y="225"/>
                </a:lnTo>
                <a:lnTo>
                  <a:pt x="357" y="197"/>
                </a:lnTo>
                <a:lnTo>
                  <a:pt x="329" y="225"/>
                </a:lnTo>
                <a:lnTo>
                  <a:pt x="357" y="253"/>
                </a:lnTo>
                <a:close/>
                <a:moveTo>
                  <a:pt x="359" y="254"/>
                </a:moveTo>
                <a:lnTo>
                  <a:pt x="388" y="282"/>
                </a:lnTo>
                <a:lnTo>
                  <a:pt x="416" y="254"/>
                </a:lnTo>
                <a:lnTo>
                  <a:pt x="388" y="229"/>
                </a:lnTo>
                <a:lnTo>
                  <a:pt x="359" y="254"/>
                </a:lnTo>
                <a:close/>
                <a:moveTo>
                  <a:pt x="417" y="253"/>
                </a:moveTo>
                <a:lnTo>
                  <a:pt x="445" y="225"/>
                </a:lnTo>
                <a:lnTo>
                  <a:pt x="417" y="197"/>
                </a:lnTo>
                <a:lnTo>
                  <a:pt x="390" y="225"/>
                </a:lnTo>
                <a:lnTo>
                  <a:pt x="417" y="253"/>
                </a:lnTo>
                <a:close/>
                <a:moveTo>
                  <a:pt x="421" y="254"/>
                </a:moveTo>
                <a:lnTo>
                  <a:pt x="449" y="282"/>
                </a:lnTo>
                <a:lnTo>
                  <a:pt x="475" y="254"/>
                </a:lnTo>
                <a:lnTo>
                  <a:pt x="449" y="229"/>
                </a:lnTo>
                <a:lnTo>
                  <a:pt x="421" y="254"/>
                </a:lnTo>
                <a:close/>
                <a:moveTo>
                  <a:pt x="479" y="253"/>
                </a:moveTo>
                <a:lnTo>
                  <a:pt x="507" y="225"/>
                </a:lnTo>
                <a:lnTo>
                  <a:pt x="479" y="197"/>
                </a:lnTo>
                <a:lnTo>
                  <a:pt x="450" y="225"/>
                </a:lnTo>
                <a:lnTo>
                  <a:pt x="479" y="253"/>
                </a:lnTo>
                <a:close/>
                <a:moveTo>
                  <a:pt x="483" y="254"/>
                </a:moveTo>
                <a:lnTo>
                  <a:pt x="509" y="282"/>
                </a:lnTo>
                <a:lnTo>
                  <a:pt x="538" y="254"/>
                </a:lnTo>
                <a:lnTo>
                  <a:pt x="509" y="229"/>
                </a:lnTo>
                <a:lnTo>
                  <a:pt x="483" y="254"/>
                </a:lnTo>
                <a:close/>
                <a:moveTo>
                  <a:pt x="483" y="316"/>
                </a:moveTo>
                <a:lnTo>
                  <a:pt x="509" y="344"/>
                </a:lnTo>
                <a:lnTo>
                  <a:pt x="538" y="316"/>
                </a:lnTo>
                <a:lnTo>
                  <a:pt x="509" y="287"/>
                </a:lnTo>
                <a:lnTo>
                  <a:pt x="483" y="316"/>
                </a:lnTo>
                <a:close/>
                <a:moveTo>
                  <a:pt x="483" y="378"/>
                </a:moveTo>
                <a:lnTo>
                  <a:pt x="509" y="404"/>
                </a:lnTo>
                <a:lnTo>
                  <a:pt x="538" y="378"/>
                </a:lnTo>
                <a:lnTo>
                  <a:pt x="509" y="350"/>
                </a:lnTo>
                <a:lnTo>
                  <a:pt x="483" y="378"/>
                </a:lnTo>
                <a:close/>
                <a:moveTo>
                  <a:pt x="483" y="437"/>
                </a:moveTo>
                <a:lnTo>
                  <a:pt x="509" y="465"/>
                </a:lnTo>
                <a:lnTo>
                  <a:pt x="538" y="437"/>
                </a:lnTo>
                <a:lnTo>
                  <a:pt x="509" y="409"/>
                </a:lnTo>
                <a:lnTo>
                  <a:pt x="483" y="437"/>
                </a:lnTo>
                <a:close/>
                <a:moveTo>
                  <a:pt x="483" y="500"/>
                </a:moveTo>
                <a:lnTo>
                  <a:pt x="509" y="525"/>
                </a:lnTo>
                <a:lnTo>
                  <a:pt x="538" y="500"/>
                </a:lnTo>
                <a:lnTo>
                  <a:pt x="509" y="472"/>
                </a:lnTo>
                <a:lnTo>
                  <a:pt x="483" y="500"/>
                </a:lnTo>
                <a:close/>
                <a:moveTo>
                  <a:pt x="507" y="468"/>
                </a:moveTo>
                <a:lnTo>
                  <a:pt x="479" y="441"/>
                </a:lnTo>
                <a:lnTo>
                  <a:pt x="450" y="468"/>
                </a:lnTo>
                <a:lnTo>
                  <a:pt x="479" y="496"/>
                </a:lnTo>
                <a:lnTo>
                  <a:pt x="507" y="468"/>
                </a:lnTo>
                <a:close/>
                <a:moveTo>
                  <a:pt x="449" y="472"/>
                </a:moveTo>
                <a:lnTo>
                  <a:pt x="421" y="500"/>
                </a:lnTo>
                <a:lnTo>
                  <a:pt x="449" y="525"/>
                </a:lnTo>
                <a:lnTo>
                  <a:pt x="475" y="500"/>
                </a:lnTo>
                <a:lnTo>
                  <a:pt x="449" y="472"/>
                </a:lnTo>
                <a:close/>
                <a:moveTo>
                  <a:pt x="445" y="468"/>
                </a:moveTo>
                <a:lnTo>
                  <a:pt x="417" y="441"/>
                </a:lnTo>
                <a:lnTo>
                  <a:pt x="390" y="468"/>
                </a:lnTo>
                <a:lnTo>
                  <a:pt x="417" y="496"/>
                </a:lnTo>
                <a:lnTo>
                  <a:pt x="445" y="468"/>
                </a:lnTo>
                <a:close/>
                <a:moveTo>
                  <a:pt x="388" y="472"/>
                </a:moveTo>
                <a:lnTo>
                  <a:pt x="359" y="500"/>
                </a:lnTo>
                <a:lnTo>
                  <a:pt x="388" y="525"/>
                </a:lnTo>
                <a:lnTo>
                  <a:pt x="416" y="500"/>
                </a:lnTo>
                <a:lnTo>
                  <a:pt x="388" y="472"/>
                </a:lnTo>
                <a:close/>
                <a:moveTo>
                  <a:pt x="384" y="468"/>
                </a:moveTo>
                <a:lnTo>
                  <a:pt x="357" y="441"/>
                </a:lnTo>
                <a:lnTo>
                  <a:pt x="329" y="468"/>
                </a:lnTo>
                <a:lnTo>
                  <a:pt x="357" y="496"/>
                </a:lnTo>
                <a:lnTo>
                  <a:pt x="384" y="468"/>
                </a:lnTo>
                <a:close/>
                <a:moveTo>
                  <a:pt x="325" y="472"/>
                </a:moveTo>
                <a:lnTo>
                  <a:pt x="299" y="500"/>
                </a:lnTo>
                <a:lnTo>
                  <a:pt x="325" y="525"/>
                </a:lnTo>
                <a:lnTo>
                  <a:pt x="353" y="500"/>
                </a:lnTo>
                <a:lnTo>
                  <a:pt x="325" y="472"/>
                </a:lnTo>
                <a:close/>
                <a:moveTo>
                  <a:pt x="323" y="468"/>
                </a:moveTo>
                <a:lnTo>
                  <a:pt x="295" y="441"/>
                </a:lnTo>
                <a:lnTo>
                  <a:pt x="267" y="468"/>
                </a:lnTo>
                <a:lnTo>
                  <a:pt x="295" y="496"/>
                </a:lnTo>
                <a:lnTo>
                  <a:pt x="323" y="468"/>
                </a:lnTo>
                <a:close/>
                <a:moveTo>
                  <a:pt x="266" y="472"/>
                </a:moveTo>
                <a:lnTo>
                  <a:pt x="238" y="500"/>
                </a:lnTo>
                <a:lnTo>
                  <a:pt x="266" y="525"/>
                </a:lnTo>
                <a:lnTo>
                  <a:pt x="294" y="500"/>
                </a:lnTo>
                <a:lnTo>
                  <a:pt x="266" y="472"/>
                </a:lnTo>
                <a:close/>
                <a:moveTo>
                  <a:pt x="262" y="468"/>
                </a:moveTo>
                <a:lnTo>
                  <a:pt x="235" y="441"/>
                </a:lnTo>
                <a:lnTo>
                  <a:pt x="207" y="468"/>
                </a:lnTo>
                <a:lnTo>
                  <a:pt x="235" y="496"/>
                </a:lnTo>
                <a:lnTo>
                  <a:pt x="262" y="468"/>
                </a:lnTo>
                <a:close/>
                <a:moveTo>
                  <a:pt x="204" y="472"/>
                </a:moveTo>
                <a:lnTo>
                  <a:pt x="177" y="500"/>
                </a:lnTo>
                <a:lnTo>
                  <a:pt x="204" y="525"/>
                </a:lnTo>
                <a:lnTo>
                  <a:pt x="232" y="500"/>
                </a:lnTo>
                <a:lnTo>
                  <a:pt x="204" y="472"/>
                </a:lnTo>
                <a:close/>
                <a:moveTo>
                  <a:pt x="201" y="468"/>
                </a:moveTo>
                <a:lnTo>
                  <a:pt x="173" y="441"/>
                </a:lnTo>
                <a:lnTo>
                  <a:pt x="145" y="468"/>
                </a:lnTo>
                <a:lnTo>
                  <a:pt x="173" y="496"/>
                </a:lnTo>
                <a:lnTo>
                  <a:pt x="201" y="468"/>
                </a:lnTo>
                <a:close/>
                <a:moveTo>
                  <a:pt x="144" y="472"/>
                </a:moveTo>
                <a:lnTo>
                  <a:pt x="116" y="500"/>
                </a:lnTo>
                <a:lnTo>
                  <a:pt x="144" y="525"/>
                </a:lnTo>
                <a:lnTo>
                  <a:pt x="169" y="500"/>
                </a:lnTo>
                <a:lnTo>
                  <a:pt x="144" y="472"/>
                </a:lnTo>
                <a:close/>
                <a:moveTo>
                  <a:pt x="140" y="468"/>
                </a:moveTo>
                <a:lnTo>
                  <a:pt x="112" y="441"/>
                </a:lnTo>
                <a:lnTo>
                  <a:pt x="85" y="468"/>
                </a:lnTo>
                <a:lnTo>
                  <a:pt x="112" y="496"/>
                </a:lnTo>
                <a:lnTo>
                  <a:pt x="140" y="468"/>
                </a:lnTo>
                <a:close/>
                <a:moveTo>
                  <a:pt x="140" y="408"/>
                </a:moveTo>
                <a:lnTo>
                  <a:pt x="112" y="380"/>
                </a:lnTo>
                <a:lnTo>
                  <a:pt x="85" y="408"/>
                </a:lnTo>
                <a:lnTo>
                  <a:pt x="112" y="436"/>
                </a:lnTo>
                <a:lnTo>
                  <a:pt x="140" y="408"/>
                </a:lnTo>
                <a:close/>
                <a:moveTo>
                  <a:pt x="140" y="346"/>
                </a:moveTo>
                <a:lnTo>
                  <a:pt x="112" y="320"/>
                </a:lnTo>
                <a:lnTo>
                  <a:pt x="85" y="346"/>
                </a:lnTo>
                <a:lnTo>
                  <a:pt x="112" y="374"/>
                </a:lnTo>
                <a:lnTo>
                  <a:pt x="140" y="346"/>
                </a:lnTo>
                <a:close/>
                <a:moveTo>
                  <a:pt x="140" y="286"/>
                </a:moveTo>
                <a:lnTo>
                  <a:pt x="112" y="258"/>
                </a:lnTo>
                <a:lnTo>
                  <a:pt x="85" y="286"/>
                </a:lnTo>
                <a:lnTo>
                  <a:pt x="112" y="313"/>
                </a:lnTo>
                <a:lnTo>
                  <a:pt x="140" y="286"/>
                </a:lnTo>
                <a:close/>
                <a:moveTo>
                  <a:pt x="140" y="225"/>
                </a:moveTo>
                <a:lnTo>
                  <a:pt x="112" y="197"/>
                </a:lnTo>
                <a:lnTo>
                  <a:pt x="85" y="225"/>
                </a:lnTo>
                <a:lnTo>
                  <a:pt x="112" y="253"/>
                </a:lnTo>
                <a:lnTo>
                  <a:pt x="140" y="225"/>
                </a:lnTo>
                <a:close/>
                <a:moveTo>
                  <a:pt x="140" y="163"/>
                </a:moveTo>
                <a:lnTo>
                  <a:pt x="112" y="136"/>
                </a:lnTo>
                <a:lnTo>
                  <a:pt x="85" y="163"/>
                </a:lnTo>
                <a:lnTo>
                  <a:pt x="112" y="191"/>
                </a:lnTo>
                <a:lnTo>
                  <a:pt x="140" y="163"/>
                </a:lnTo>
                <a:close/>
                <a:moveTo>
                  <a:pt x="116" y="195"/>
                </a:moveTo>
                <a:lnTo>
                  <a:pt x="144" y="221"/>
                </a:lnTo>
                <a:lnTo>
                  <a:pt x="169" y="195"/>
                </a:lnTo>
                <a:lnTo>
                  <a:pt x="144" y="167"/>
                </a:lnTo>
                <a:lnTo>
                  <a:pt x="116" y="195"/>
                </a:lnTo>
                <a:close/>
                <a:moveTo>
                  <a:pt x="173" y="191"/>
                </a:moveTo>
                <a:lnTo>
                  <a:pt x="201" y="163"/>
                </a:lnTo>
                <a:lnTo>
                  <a:pt x="173" y="136"/>
                </a:lnTo>
                <a:lnTo>
                  <a:pt x="145" y="163"/>
                </a:lnTo>
                <a:lnTo>
                  <a:pt x="173" y="191"/>
                </a:lnTo>
                <a:close/>
                <a:moveTo>
                  <a:pt x="177" y="195"/>
                </a:moveTo>
                <a:lnTo>
                  <a:pt x="204" y="221"/>
                </a:lnTo>
                <a:lnTo>
                  <a:pt x="232" y="195"/>
                </a:lnTo>
                <a:lnTo>
                  <a:pt x="204" y="167"/>
                </a:lnTo>
                <a:lnTo>
                  <a:pt x="177" y="195"/>
                </a:lnTo>
                <a:close/>
                <a:moveTo>
                  <a:pt x="235" y="191"/>
                </a:moveTo>
                <a:lnTo>
                  <a:pt x="262" y="163"/>
                </a:lnTo>
                <a:lnTo>
                  <a:pt x="235" y="136"/>
                </a:lnTo>
                <a:lnTo>
                  <a:pt x="207" y="163"/>
                </a:lnTo>
                <a:lnTo>
                  <a:pt x="235" y="191"/>
                </a:lnTo>
                <a:close/>
                <a:moveTo>
                  <a:pt x="238" y="195"/>
                </a:moveTo>
                <a:lnTo>
                  <a:pt x="266" y="221"/>
                </a:lnTo>
                <a:lnTo>
                  <a:pt x="294" y="195"/>
                </a:lnTo>
                <a:lnTo>
                  <a:pt x="266" y="167"/>
                </a:lnTo>
                <a:lnTo>
                  <a:pt x="238" y="195"/>
                </a:lnTo>
                <a:close/>
                <a:moveTo>
                  <a:pt x="295" y="191"/>
                </a:moveTo>
                <a:lnTo>
                  <a:pt x="323" y="163"/>
                </a:lnTo>
                <a:lnTo>
                  <a:pt x="295" y="136"/>
                </a:lnTo>
                <a:lnTo>
                  <a:pt x="267" y="163"/>
                </a:lnTo>
                <a:lnTo>
                  <a:pt x="295" y="191"/>
                </a:lnTo>
                <a:close/>
                <a:moveTo>
                  <a:pt x="299" y="195"/>
                </a:moveTo>
                <a:lnTo>
                  <a:pt x="325" y="221"/>
                </a:lnTo>
                <a:lnTo>
                  <a:pt x="353" y="195"/>
                </a:lnTo>
                <a:lnTo>
                  <a:pt x="325" y="167"/>
                </a:lnTo>
                <a:lnTo>
                  <a:pt x="299" y="195"/>
                </a:lnTo>
                <a:close/>
                <a:moveTo>
                  <a:pt x="357" y="191"/>
                </a:moveTo>
                <a:lnTo>
                  <a:pt x="384" y="163"/>
                </a:lnTo>
                <a:lnTo>
                  <a:pt x="357" y="136"/>
                </a:lnTo>
                <a:lnTo>
                  <a:pt x="329" y="163"/>
                </a:lnTo>
                <a:lnTo>
                  <a:pt x="357" y="191"/>
                </a:lnTo>
                <a:close/>
                <a:moveTo>
                  <a:pt x="359" y="195"/>
                </a:moveTo>
                <a:lnTo>
                  <a:pt x="388" y="221"/>
                </a:lnTo>
                <a:lnTo>
                  <a:pt x="416" y="195"/>
                </a:lnTo>
                <a:lnTo>
                  <a:pt x="388" y="167"/>
                </a:lnTo>
                <a:lnTo>
                  <a:pt x="359" y="195"/>
                </a:lnTo>
                <a:close/>
                <a:moveTo>
                  <a:pt x="417" y="191"/>
                </a:moveTo>
                <a:lnTo>
                  <a:pt x="445" y="163"/>
                </a:lnTo>
                <a:lnTo>
                  <a:pt x="417" y="136"/>
                </a:lnTo>
                <a:lnTo>
                  <a:pt x="390" y="163"/>
                </a:lnTo>
                <a:lnTo>
                  <a:pt x="417" y="191"/>
                </a:lnTo>
                <a:close/>
                <a:moveTo>
                  <a:pt x="421" y="195"/>
                </a:moveTo>
                <a:lnTo>
                  <a:pt x="449" y="221"/>
                </a:lnTo>
                <a:lnTo>
                  <a:pt x="475" y="195"/>
                </a:lnTo>
                <a:lnTo>
                  <a:pt x="449" y="167"/>
                </a:lnTo>
                <a:lnTo>
                  <a:pt x="421" y="195"/>
                </a:lnTo>
                <a:close/>
                <a:moveTo>
                  <a:pt x="479" y="191"/>
                </a:moveTo>
                <a:lnTo>
                  <a:pt x="507" y="163"/>
                </a:lnTo>
                <a:lnTo>
                  <a:pt x="479" y="136"/>
                </a:lnTo>
                <a:lnTo>
                  <a:pt x="450" y="163"/>
                </a:lnTo>
                <a:lnTo>
                  <a:pt x="479" y="191"/>
                </a:lnTo>
                <a:close/>
                <a:moveTo>
                  <a:pt x="483" y="195"/>
                </a:moveTo>
                <a:lnTo>
                  <a:pt x="509" y="221"/>
                </a:lnTo>
                <a:lnTo>
                  <a:pt x="538" y="195"/>
                </a:lnTo>
                <a:lnTo>
                  <a:pt x="509" y="167"/>
                </a:lnTo>
                <a:lnTo>
                  <a:pt x="483" y="195"/>
                </a:lnTo>
                <a:close/>
                <a:moveTo>
                  <a:pt x="540" y="191"/>
                </a:moveTo>
                <a:lnTo>
                  <a:pt x="567" y="163"/>
                </a:lnTo>
                <a:lnTo>
                  <a:pt x="540" y="136"/>
                </a:lnTo>
                <a:lnTo>
                  <a:pt x="512" y="163"/>
                </a:lnTo>
                <a:lnTo>
                  <a:pt x="540" y="191"/>
                </a:lnTo>
                <a:close/>
                <a:moveTo>
                  <a:pt x="512" y="225"/>
                </a:moveTo>
                <a:lnTo>
                  <a:pt x="540" y="253"/>
                </a:lnTo>
                <a:lnTo>
                  <a:pt x="567" y="225"/>
                </a:lnTo>
                <a:lnTo>
                  <a:pt x="540" y="197"/>
                </a:lnTo>
                <a:lnTo>
                  <a:pt x="512" y="225"/>
                </a:lnTo>
                <a:close/>
                <a:moveTo>
                  <a:pt x="512" y="286"/>
                </a:moveTo>
                <a:lnTo>
                  <a:pt x="540" y="313"/>
                </a:lnTo>
                <a:lnTo>
                  <a:pt x="567" y="286"/>
                </a:lnTo>
                <a:lnTo>
                  <a:pt x="540" y="258"/>
                </a:lnTo>
                <a:lnTo>
                  <a:pt x="512" y="286"/>
                </a:lnTo>
                <a:close/>
                <a:moveTo>
                  <a:pt x="512" y="346"/>
                </a:moveTo>
                <a:lnTo>
                  <a:pt x="540" y="374"/>
                </a:lnTo>
                <a:lnTo>
                  <a:pt x="567" y="346"/>
                </a:lnTo>
                <a:lnTo>
                  <a:pt x="540" y="320"/>
                </a:lnTo>
                <a:lnTo>
                  <a:pt x="512" y="346"/>
                </a:lnTo>
                <a:close/>
                <a:moveTo>
                  <a:pt x="512" y="408"/>
                </a:moveTo>
                <a:lnTo>
                  <a:pt x="540" y="436"/>
                </a:lnTo>
                <a:lnTo>
                  <a:pt x="567" y="408"/>
                </a:lnTo>
                <a:lnTo>
                  <a:pt x="540" y="380"/>
                </a:lnTo>
                <a:lnTo>
                  <a:pt x="512" y="408"/>
                </a:lnTo>
                <a:close/>
                <a:moveTo>
                  <a:pt x="512" y="468"/>
                </a:moveTo>
                <a:lnTo>
                  <a:pt x="540" y="496"/>
                </a:lnTo>
                <a:lnTo>
                  <a:pt x="567" y="468"/>
                </a:lnTo>
                <a:lnTo>
                  <a:pt x="540" y="441"/>
                </a:lnTo>
                <a:lnTo>
                  <a:pt x="512" y="468"/>
                </a:lnTo>
                <a:close/>
                <a:moveTo>
                  <a:pt x="512" y="529"/>
                </a:moveTo>
                <a:lnTo>
                  <a:pt x="540" y="558"/>
                </a:lnTo>
                <a:lnTo>
                  <a:pt x="567" y="529"/>
                </a:lnTo>
                <a:lnTo>
                  <a:pt x="540" y="501"/>
                </a:lnTo>
                <a:lnTo>
                  <a:pt x="512" y="529"/>
                </a:lnTo>
                <a:close/>
                <a:moveTo>
                  <a:pt x="509" y="533"/>
                </a:moveTo>
                <a:lnTo>
                  <a:pt x="483" y="559"/>
                </a:lnTo>
                <a:lnTo>
                  <a:pt x="509" y="587"/>
                </a:lnTo>
                <a:lnTo>
                  <a:pt x="538" y="559"/>
                </a:lnTo>
                <a:lnTo>
                  <a:pt x="509" y="533"/>
                </a:lnTo>
                <a:close/>
                <a:moveTo>
                  <a:pt x="507" y="529"/>
                </a:moveTo>
                <a:lnTo>
                  <a:pt x="479" y="501"/>
                </a:lnTo>
                <a:lnTo>
                  <a:pt x="450" y="529"/>
                </a:lnTo>
                <a:lnTo>
                  <a:pt x="479" y="558"/>
                </a:lnTo>
                <a:lnTo>
                  <a:pt x="507" y="529"/>
                </a:lnTo>
                <a:close/>
                <a:moveTo>
                  <a:pt x="449" y="533"/>
                </a:moveTo>
                <a:lnTo>
                  <a:pt x="421" y="559"/>
                </a:lnTo>
                <a:lnTo>
                  <a:pt x="449" y="587"/>
                </a:lnTo>
                <a:lnTo>
                  <a:pt x="475" y="559"/>
                </a:lnTo>
                <a:lnTo>
                  <a:pt x="449" y="533"/>
                </a:lnTo>
                <a:close/>
                <a:moveTo>
                  <a:pt x="445" y="529"/>
                </a:moveTo>
                <a:lnTo>
                  <a:pt x="417" y="501"/>
                </a:lnTo>
                <a:lnTo>
                  <a:pt x="390" y="529"/>
                </a:lnTo>
                <a:lnTo>
                  <a:pt x="417" y="558"/>
                </a:lnTo>
                <a:lnTo>
                  <a:pt x="445" y="529"/>
                </a:lnTo>
                <a:close/>
                <a:moveTo>
                  <a:pt x="388" y="533"/>
                </a:moveTo>
                <a:lnTo>
                  <a:pt x="359" y="559"/>
                </a:lnTo>
                <a:lnTo>
                  <a:pt x="388" y="587"/>
                </a:lnTo>
                <a:lnTo>
                  <a:pt x="416" y="559"/>
                </a:lnTo>
                <a:lnTo>
                  <a:pt x="388" y="533"/>
                </a:lnTo>
                <a:close/>
                <a:moveTo>
                  <a:pt x="384" y="529"/>
                </a:moveTo>
                <a:lnTo>
                  <a:pt x="357" y="501"/>
                </a:lnTo>
                <a:lnTo>
                  <a:pt x="329" y="529"/>
                </a:lnTo>
                <a:lnTo>
                  <a:pt x="357" y="558"/>
                </a:lnTo>
                <a:lnTo>
                  <a:pt x="384" y="529"/>
                </a:lnTo>
                <a:close/>
                <a:moveTo>
                  <a:pt x="325" y="533"/>
                </a:moveTo>
                <a:lnTo>
                  <a:pt x="299" y="559"/>
                </a:lnTo>
                <a:lnTo>
                  <a:pt x="325" y="587"/>
                </a:lnTo>
                <a:lnTo>
                  <a:pt x="353" y="559"/>
                </a:lnTo>
                <a:lnTo>
                  <a:pt x="325" y="533"/>
                </a:lnTo>
                <a:close/>
                <a:moveTo>
                  <a:pt x="323" y="529"/>
                </a:moveTo>
                <a:lnTo>
                  <a:pt x="295" y="501"/>
                </a:lnTo>
                <a:lnTo>
                  <a:pt x="267" y="529"/>
                </a:lnTo>
                <a:lnTo>
                  <a:pt x="295" y="558"/>
                </a:lnTo>
                <a:lnTo>
                  <a:pt x="323" y="529"/>
                </a:lnTo>
                <a:close/>
                <a:moveTo>
                  <a:pt x="266" y="533"/>
                </a:moveTo>
                <a:lnTo>
                  <a:pt x="238" y="559"/>
                </a:lnTo>
                <a:lnTo>
                  <a:pt x="266" y="587"/>
                </a:lnTo>
                <a:lnTo>
                  <a:pt x="294" y="559"/>
                </a:lnTo>
                <a:lnTo>
                  <a:pt x="266" y="533"/>
                </a:lnTo>
                <a:close/>
                <a:moveTo>
                  <a:pt x="262" y="529"/>
                </a:moveTo>
                <a:lnTo>
                  <a:pt x="235" y="501"/>
                </a:lnTo>
                <a:lnTo>
                  <a:pt x="207" y="529"/>
                </a:lnTo>
                <a:lnTo>
                  <a:pt x="235" y="558"/>
                </a:lnTo>
                <a:lnTo>
                  <a:pt x="262" y="529"/>
                </a:lnTo>
                <a:close/>
                <a:moveTo>
                  <a:pt x="204" y="533"/>
                </a:moveTo>
                <a:lnTo>
                  <a:pt x="177" y="559"/>
                </a:lnTo>
                <a:lnTo>
                  <a:pt x="204" y="587"/>
                </a:lnTo>
                <a:lnTo>
                  <a:pt x="232" y="559"/>
                </a:lnTo>
                <a:lnTo>
                  <a:pt x="204" y="533"/>
                </a:lnTo>
                <a:close/>
                <a:moveTo>
                  <a:pt x="201" y="529"/>
                </a:moveTo>
                <a:lnTo>
                  <a:pt x="173" y="501"/>
                </a:lnTo>
                <a:lnTo>
                  <a:pt x="145" y="529"/>
                </a:lnTo>
                <a:lnTo>
                  <a:pt x="173" y="558"/>
                </a:lnTo>
                <a:lnTo>
                  <a:pt x="201" y="529"/>
                </a:lnTo>
                <a:close/>
                <a:moveTo>
                  <a:pt x="144" y="533"/>
                </a:moveTo>
                <a:lnTo>
                  <a:pt x="116" y="559"/>
                </a:lnTo>
                <a:lnTo>
                  <a:pt x="144" y="587"/>
                </a:lnTo>
                <a:lnTo>
                  <a:pt x="169" y="559"/>
                </a:lnTo>
                <a:lnTo>
                  <a:pt x="144" y="533"/>
                </a:lnTo>
                <a:close/>
                <a:moveTo>
                  <a:pt x="140" y="529"/>
                </a:moveTo>
                <a:lnTo>
                  <a:pt x="112" y="501"/>
                </a:lnTo>
                <a:lnTo>
                  <a:pt x="85" y="529"/>
                </a:lnTo>
                <a:lnTo>
                  <a:pt x="112" y="558"/>
                </a:lnTo>
                <a:lnTo>
                  <a:pt x="140" y="529"/>
                </a:lnTo>
                <a:close/>
                <a:moveTo>
                  <a:pt x="110" y="500"/>
                </a:moveTo>
                <a:lnTo>
                  <a:pt x="82" y="472"/>
                </a:lnTo>
                <a:lnTo>
                  <a:pt x="54" y="500"/>
                </a:lnTo>
                <a:lnTo>
                  <a:pt x="82" y="525"/>
                </a:lnTo>
                <a:lnTo>
                  <a:pt x="110" y="500"/>
                </a:lnTo>
                <a:close/>
                <a:moveTo>
                  <a:pt x="110" y="437"/>
                </a:moveTo>
                <a:lnTo>
                  <a:pt x="82" y="409"/>
                </a:lnTo>
                <a:lnTo>
                  <a:pt x="54" y="437"/>
                </a:lnTo>
                <a:lnTo>
                  <a:pt x="82" y="465"/>
                </a:lnTo>
                <a:lnTo>
                  <a:pt x="110" y="437"/>
                </a:lnTo>
                <a:close/>
                <a:moveTo>
                  <a:pt x="110" y="378"/>
                </a:moveTo>
                <a:lnTo>
                  <a:pt x="82" y="350"/>
                </a:lnTo>
                <a:lnTo>
                  <a:pt x="54" y="378"/>
                </a:lnTo>
                <a:lnTo>
                  <a:pt x="82" y="404"/>
                </a:lnTo>
                <a:lnTo>
                  <a:pt x="110" y="378"/>
                </a:lnTo>
                <a:close/>
                <a:moveTo>
                  <a:pt x="110" y="316"/>
                </a:moveTo>
                <a:lnTo>
                  <a:pt x="82" y="287"/>
                </a:lnTo>
                <a:lnTo>
                  <a:pt x="54" y="316"/>
                </a:lnTo>
                <a:lnTo>
                  <a:pt x="82" y="344"/>
                </a:lnTo>
                <a:lnTo>
                  <a:pt x="110" y="316"/>
                </a:lnTo>
                <a:close/>
                <a:moveTo>
                  <a:pt x="110" y="254"/>
                </a:moveTo>
                <a:lnTo>
                  <a:pt x="82" y="229"/>
                </a:lnTo>
                <a:lnTo>
                  <a:pt x="54" y="254"/>
                </a:lnTo>
                <a:lnTo>
                  <a:pt x="82" y="282"/>
                </a:lnTo>
                <a:lnTo>
                  <a:pt x="110" y="254"/>
                </a:lnTo>
                <a:close/>
                <a:moveTo>
                  <a:pt x="110" y="195"/>
                </a:moveTo>
                <a:lnTo>
                  <a:pt x="82" y="167"/>
                </a:lnTo>
                <a:lnTo>
                  <a:pt x="54" y="195"/>
                </a:lnTo>
                <a:lnTo>
                  <a:pt x="82" y="221"/>
                </a:lnTo>
                <a:lnTo>
                  <a:pt x="110" y="195"/>
                </a:lnTo>
                <a:close/>
                <a:moveTo>
                  <a:pt x="110" y="132"/>
                </a:moveTo>
                <a:lnTo>
                  <a:pt x="82" y="107"/>
                </a:lnTo>
                <a:lnTo>
                  <a:pt x="54" y="132"/>
                </a:lnTo>
                <a:lnTo>
                  <a:pt x="82" y="160"/>
                </a:lnTo>
                <a:lnTo>
                  <a:pt x="110" y="132"/>
                </a:lnTo>
                <a:close/>
                <a:moveTo>
                  <a:pt x="112" y="131"/>
                </a:moveTo>
                <a:lnTo>
                  <a:pt x="140" y="103"/>
                </a:lnTo>
                <a:lnTo>
                  <a:pt x="112" y="75"/>
                </a:lnTo>
                <a:lnTo>
                  <a:pt x="85" y="103"/>
                </a:lnTo>
                <a:lnTo>
                  <a:pt x="112" y="131"/>
                </a:lnTo>
                <a:close/>
                <a:moveTo>
                  <a:pt x="116" y="132"/>
                </a:moveTo>
                <a:lnTo>
                  <a:pt x="144" y="160"/>
                </a:lnTo>
                <a:lnTo>
                  <a:pt x="169" y="132"/>
                </a:lnTo>
                <a:lnTo>
                  <a:pt x="144" y="107"/>
                </a:lnTo>
                <a:lnTo>
                  <a:pt x="116" y="132"/>
                </a:lnTo>
                <a:close/>
                <a:moveTo>
                  <a:pt x="173" y="131"/>
                </a:moveTo>
                <a:lnTo>
                  <a:pt x="201" y="103"/>
                </a:lnTo>
                <a:lnTo>
                  <a:pt x="173" y="75"/>
                </a:lnTo>
                <a:lnTo>
                  <a:pt x="145" y="103"/>
                </a:lnTo>
                <a:lnTo>
                  <a:pt x="173" y="131"/>
                </a:lnTo>
                <a:close/>
                <a:moveTo>
                  <a:pt x="177" y="132"/>
                </a:moveTo>
                <a:lnTo>
                  <a:pt x="204" y="160"/>
                </a:lnTo>
                <a:lnTo>
                  <a:pt x="232" y="132"/>
                </a:lnTo>
                <a:lnTo>
                  <a:pt x="204" y="107"/>
                </a:lnTo>
                <a:lnTo>
                  <a:pt x="177" y="132"/>
                </a:lnTo>
                <a:close/>
                <a:moveTo>
                  <a:pt x="235" y="131"/>
                </a:moveTo>
                <a:lnTo>
                  <a:pt x="262" y="103"/>
                </a:lnTo>
                <a:lnTo>
                  <a:pt x="235" y="75"/>
                </a:lnTo>
                <a:lnTo>
                  <a:pt x="207" y="103"/>
                </a:lnTo>
                <a:lnTo>
                  <a:pt x="235" y="131"/>
                </a:lnTo>
                <a:close/>
                <a:moveTo>
                  <a:pt x="238" y="132"/>
                </a:moveTo>
                <a:lnTo>
                  <a:pt x="266" y="160"/>
                </a:lnTo>
                <a:lnTo>
                  <a:pt x="294" y="132"/>
                </a:lnTo>
                <a:lnTo>
                  <a:pt x="266" y="107"/>
                </a:lnTo>
                <a:lnTo>
                  <a:pt x="238" y="132"/>
                </a:lnTo>
                <a:close/>
                <a:moveTo>
                  <a:pt x="295" y="131"/>
                </a:moveTo>
                <a:lnTo>
                  <a:pt x="323" y="103"/>
                </a:lnTo>
                <a:lnTo>
                  <a:pt x="295" y="75"/>
                </a:lnTo>
                <a:lnTo>
                  <a:pt x="267" y="103"/>
                </a:lnTo>
                <a:lnTo>
                  <a:pt x="295" y="131"/>
                </a:lnTo>
                <a:close/>
                <a:moveTo>
                  <a:pt x="299" y="132"/>
                </a:moveTo>
                <a:lnTo>
                  <a:pt x="325" y="160"/>
                </a:lnTo>
                <a:lnTo>
                  <a:pt x="353" y="132"/>
                </a:lnTo>
                <a:lnTo>
                  <a:pt x="325" y="107"/>
                </a:lnTo>
                <a:lnTo>
                  <a:pt x="299" y="132"/>
                </a:lnTo>
                <a:close/>
                <a:moveTo>
                  <a:pt x="357" y="131"/>
                </a:moveTo>
                <a:lnTo>
                  <a:pt x="384" y="103"/>
                </a:lnTo>
                <a:lnTo>
                  <a:pt x="357" y="75"/>
                </a:lnTo>
                <a:lnTo>
                  <a:pt x="329" y="103"/>
                </a:lnTo>
                <a:lnTo>
                  <a:pt x="357" y="131"/>
                </a:lnTo>
                <a:close/>
                <a:moveTo>
                  <a:pt x="359" y="132"/>
                </a:moveTo>
                <a:lnTo>
                  <a:pt x="388" y="160"/>
                </a:lnTo>
                <a:lnTo>
                  <a:pt x="416" y="132"/>
                </a:lnTo>
                <a:lnTo>
                  <a:pt x="388" y="107"/>
                </a:lnTo>
                <a:lnTo>
                  <a:pt x="359" y="132"/>
                </a:lnTo>
                <a:close/>
                <a:moveTo>
                  <a:pt x="417" y="131"/>
                </a:moveTo>
                <a:lnTo>
                  <a:pt x="445" y="103"/>
                </a:lnTo>
                <a:lnTo>
                  <a:pt x="417" y="75"/>
                </a:lnTo>
                <a:lnTo>
                  <a:pt x="390" y="103"/>
                </a:lnTo>
                <a:lnTo>
                  <a:pt x="417" y="131"/>
                </a:lnTo>
                <a:close/>
                <a:moveTo>
                  <a:pt x="421" y="132"/>
                </a:moveTo>
                <a:lnTo>
                  <a:pt x="449" y="160"/>
                </a:lnTo>
                <a:lnTo>
                  <a:pt x="475" y="132"/>
                </a:lnTo>
                <a:lnTo>
                  <a:pt x="449" y="107"/>
                </a:lnTo>
                <a:lnTo>
                  <a:pt x="421" y="132"/>
                </a:lnTo>
                <a:close/>
                <a:moveTo>
                  <a:pt x="479" y="131"/>
                </a:moveTo>
                <a:lnTo>
                  <a:pt x="507" y="103"/>
                </a:lnTo>
                <a:lnTo>
                  <a:pt x="479" y="75"/>
                </a:lnTo>
                <a:lnTo>
                  <a:pt x="450" y="103"/>
                </a:lnTo>
                <a:lnTo>
                  <a:pt x="479" y="131"/>
                </a:lnTo>
                <a:close/>
                <a:moveTo>
                  <a:pt x="483" y="132"/>
                </a:moveTo>
                <a:lnTo>
                  <a:pt x="509" y="160"/>
                </a:lnTo>
                <a:lnTo>
                  <a:pt x="538" y="132"/>
                </a:lnTo>
                <a:lnTo>
                  <a:pt x="509" y="107"/>
                </a:lnTo>
                <a:lnTo>
                  <a:pt x="483" y="132"/>
                </a:lnTo>
                <a:close/>
                <a:moveTo>
                  <a:pt x="540" y="131"/>
                </a:moveTo>
                <a:lnTo>
                  <a:pt x="567" y="103"/>
                </a:lnTo>
                <a:lnTo>
                  <a:pt x="540" y="75"/>
                </a:lnTo>
                <a:lnTo>
                  <a:pt x="512" y="103"/>
                </a:lnTo>
                <a:lnTo>
                  <a:pt x="540" y="131"/>
                </a:lnTo>
                <a:close/>
                <a:moveTo>
                  <a:pt x="543" y="132"/>
                </a:moveTo>
                <a:lnTo>
                  <a:pt x="571" y="160"/>
                </a:lnTo>
                <a:lnTo>
                  <a:pt x="599" y="132"/>
                </a:lnTo>
                <a:lnTo>
                  <a:pt x="571" y="107"/>
                </a:lnTo>
                <a:lnTo>
                  <a:pt x="543" y="132"/>
                </a:lnTo>
                <a:close/>
                <a:moveTo>
                  <a:pt x="543" y="195"/>
                </a:moveTo>
                <a:lnTo>
                  <a:pt x="571" y="221"/>
                </a:lnTo>
                <a:lnTo>
                  <a:pt x="599" y="195"/>
                </a:lnTo>
                <a:lnTo>
                  <a:pt x="571" y="167"/>
                </a:lnTo>
                <a:lnTo>
                  <a:pt x="543" y="195"/>
                </a:lnTo>
                <a:close/>
                <a:moveTo>
                  <a:pt x="543" y="254"/>
                </a:moveTo>
                <a:lnTo>
                  <a:pt x="571" y="282"/>
                </a:lnTo>
                <a:lnTo>
                  <a:pt x="599" y="254"/>
                </a:lnTo>
                <a:lnTo>
                  <a:pt x="571" y="229"/>
                </a:lnTo>
                <a:lnTo>
                  <a:pt x="543" y="254"/>
                </a:lnTo>
                <a:close/>
                <a:moveTo>
                  <a:pt x="543" y="316"/>
                </a:moveTo>
                <a:lnTo>
                  <a:pt x="571" y="344"/>
                </a:lnTo>
                <a:lnTo>
                  <a:pt x="599" y="316"/>
                </a:lnTo>
                <a:lnTo>
                  <a:pt x="571" y="287"/>
                </a:lnTo>
                <a:lnTo>
                  <a:pt x="543" y="316"/>
                </a:lnTo>
                <a:close/>
                <a:moveTo>
                  <a:pt x="543" y="378"/>
                </a:moveTo>
                <a:lnTo>
                  <a:pt x="571" y="404"/>
                </a:lnTo>
                <a:lnTo>
                  <a:pt x="599" y="378"/>
                </a:lnTo>
                <a:lnTo>
                  <a:pt x="571" y="350"/>
                </a:lnTo>
                <a:lnTo>
                  <a:pt x="543" y="378"/>
                </a:lnTo>
                <a:close/>
                <a:moveTo>
                  <a:pt x="543" y="437"/>
                </a:moveTo>
                <a:lnTo>
                  <a:pt x="571" y="465"/>
                </a:lnTo>
                <a:lnTo>
                  <a:pt x="599" y="437"/>
                </a:lnTo>
                <a:lnTo>
                  <a:pt x="571" y="409"/>
                </a:lnTo>
                <a:lnTo>
                  <a:pt x="543" y="437"/>
                </a:lnTo>
                <a:close/>
                <a:moveTo>
                  <a:pt x="543" y="500"/>
                </a:moveTo>
                <a:lnTo>
                  <a:pt x="571" y="525"/>
                </a:lnTo>
                <a:lnTo>
                  <a:pt x="599" y="500"/>
                </a:lnTo>
                <a:lnTo>
                  <a:pt x="571" y="472"/>
                </a:lnTo>
                <a:lnTo>
                  <a:pt x="543" y="500"/>
                </a:lnTo>
                <a:close/>
                <a:moveTo>
                  <a:pt x="543" y="559"/>
                </a:moveTo>
                <a:lnTo>
                  <a:pt x="571" y="587"/>
                </a:lnTo>
                <a:lnTo>
                  <a:pt x="599" y="559"/>
                </a:lnTo>
                <a:lnTo>
                  <a:pt x="571" y="533"/>
                </a:lnTo>
                <a:lnTo>
                  <a:pt x="543" y="559"/>
                </a:lnTo>
                <a:close/>
                <a:moveTo>
                  <a:pt x="540" y="563"/>
                </a:moveTo>
                <a:lnTo>
                  <a:pt x="512" y="591"/>
                </a:lnTo>
                <a:lnTo>
                  <a:pt x="540" y="618"/>
                </a:lnTo>
                <a:lnTo>
                  <a:pt x="567" y="591"/>
                </a:lnTo>
                <a:lnTo>
                  <a:pt x="540" y="563"/>
                </a:lnTo>
                <a:close/>
                <a:moveTo>
                  <a:pt x="509" y="594"/>
                </a:moveTo>
                <a:lnTo>
                  <a:pt x="483" y="622"/>
                </a:lnTo>
                <a:lnTo>
                  <a:pt x="509" y="650"/>
                </a:lnTo>
                <a:lnTo>
                  <a:pt x="538" y="622"/>
                </a:lnTo>
                <a:lnTo>
                  <a:pt x="509" y="594"/>
                </a:lnTo>
                <a:close/>
                <a:moveTo>
                  <a:pt x="507" y="591"/>
                </a:moveTo>
                <a:lnTo>
                  <a:pt x="479" y="563"/>
                </a:lnTo>
                <a:lnTo>
                  <a:pt x="450" y="591"/>
                </a:lnTo>
                <a:lnTo>
                  <a:pt x="479" y="618"/>
                </a:lnTo>
                <a:lnTo>
                  <a:pt x="507" y="591"/>
                </a:lnTo>
                <a:close/>
                <a:moveTo>
                  <a:pt x="449" y="594"/>
                </a:moveTo>
                <a:lnTo>
                  <a:pt x="421" y="622"/>
                </a:lnTo>
                <a:lnTo>
                  <a:pt x="449" y="650"/>
                </a:lnTo>
                <a:lnTo>
                  <a:pt x="475" y="622"/>
                </a:lnTo>
                <a:lnTo>
                  <a:pt x="449" y="594"/>
                </a:lnTo>
                <a:close/>
                <a:moveTo>
                  <a:pt x="445" y="591"/>
                </a:moveTo>
                <a:lnTo>
                  <a:pt x="417" y="563"/>
                </a:lnTo>
                <a:lnTo>
                  <a:pt x="390" y="591"/>
                </a:lnTo>
                <a:lnTo>
                  <a:pt x="417" y="618"/>
                </a:lnTo>
                <a:lnTo>
                  <a:pt x="445" y="591"/>
                </a:lnTo>
                <a:close/>
                <a:moveTo>
                  <a:pt x="388" y="594"/>
                </a:moveTo>
                <a:lnTo>
                  <a:pt x="359" y="622"/>
                </a:lnTo>
                <a:lnTo>
                  <a:pt x="388" y="650"/>
                </a:lnTo>
                <a:lnTo>
                  <a:pt x="416" y="622"/>
                </a:lnTo>
                <a:lnTo>
                  <a:pt x="388" y="594"/>
                </a:lnTo>
                <a:close/>
                <a:moveTo>
                  <a:pt x="384" y="591"/>
                </a:moveTo>
                <a:lnTo>
                  <a:pt x="357" y="563"/>
                </a:lnTo>
                <a:lnTo>
                  <a:pt x="329" y="591"/>
                </a:lnTo>
                <a:lnTo>
                  <a:pt x="357" y="618"/>
                </a:lnTo>
                <a:lnTo>
                  <a:pt x="384" y="591"/>
                </a:lnTo>
                <a:close/>
                <a:moveTo>
                  <a:pt x="325" y="594"/>
                </a:moveTo>
                <a:lnTo>
                  <a:pt x="299" y="622"/>
                </a:lnTo>
                <a:lnTo>
                  <a:pt x="325" y="650"/>
                </a:lnTo>
                <a:lnTo>
                  <a:pt x="353" y="622"/>
                </a:lnTo>
                <a:lnTo>
                  <a:pt x="325" y="594"/>
                </a:lnTo>
                <a:close/>
                <a:moveTo>
                  <a:pt x="323" y="591"/>
                </a:moveTo>
                <a:lnTo>
                  <a:pt x="295" y="563"/>
                </a:lnTo>
                <a:lnTo>
                  <a:pt x="267" y="591"/>
                </a:lnTo>
                <a:lnTo>
                  <a:pt x="295" y="618"/>
                </a:lnTo>
                <a:lnTo>
                  <a:pt x="323" y="591"/>
                </a:lnTo>
                <a:close/>
                <a:moveTo>
                  <a:pt x="266" y="594"/>
                </a:moveTo>
                <a:lnTo>
                  <a:pt x="238" y="622"/>
                </a:lnTo>
                <a:lnTo>
                  <a:pt x="266" y="650"/>
                </a:lnTo>
                <a:lnTo>
                  <a:pt x="294" y="622"/>
                </a:lnTo>
                <a:lnTo>
                  <a:pt x="266" y="594"/>
                </a:lnTo>
                <a:close/>
                <a:moveTo>
                  <a:pt x="262" y="591"/>
                </a:moveTo>
                <a:lnTo>
                  <a:pt x="235" y="563"/>
                </a:lnTo>
                <a:lnTo>
                  <a:pt x="207" y="591"/>
                </a:lnTo>
                <a:lnTo>
                  <a:pt x="235" y="618"/>
                </a:lnTo>
                <a:lnTo>
                  <a:pt x="262" y="591"/>
                </a:lnTo>
                <a:close/>
                <a:moveTo>
                  <a:pt x="204" y="594"/>
                </a:moveTo>
                <a:lnTo>
                  <a:pt x="177" y="622"/>
                </a:lnTo>
                <a:lnTo>
                  <a:pt x="204" y="650"/>
                </a:lnTo>
                <a:lnTo>
                  <a:pt x="232" y="622"/>
                </a:lnTo>
                <a:lnTo>
                  <a:pt x="204" y="594"/>
                </a:lnTo>
                <a:close/>
                <a:moveTo>
                  <a:pt x="201" y="591"/>
                </a:moveTo>
                <a:lnTo>
                  <a:pt x="173" y="563"/>
                </a:lnTo>
                <a:lnTo>
                  <a:pt x="145" y="591"/>
                </a:lnTo>
                <a:lnTo>
                  <a:pt x="173" y="618"/>
                </a:lnTo>
                <a:lnTo>
                  <a:pt x="201" y="591"/>
                </a:lnTo>
                <a:close/>
                <a:moveTo>
                  <a:pt x="144" y="594"/>
                </a:moveTo>
                <a:lnTo>
                  <a:pt x="116" y="622"/>
                </a:lnTo>
                <a:lnTo>
                  <a:pt x="144" y="650"/>
                </a:lnTo>
                <a:lnTo>
                  <a:pt x="169" y="622"/>
                </a:lnTo>
                <a:lnTo>
                  <a:pt x="144" y="594"/>
                </a:lnTo>
                <a:close/>
                <a:moveTo>
                  <a:pt x="140" y="591"/>
                </a:moveTo>
                <a:lnTo>
                  <a:pt x="112" y="563"/>
                </a:lnTo>
                <a:lnTo>
                  <a:pt x="85" y="591"/>
                </a:lnTo>
                <a:lnTo>
                  <a:pt x="112" y="618"/>
                </a:lnTo>
                <a:lnTo>
                  <a:pt x="140" y="591"/>
                </a:lnTo>
                <a:close/>
                <a:moveTo>
                  <a:pt x="82" y="587"/>
                </a:moveTo>
                <a:lnTo>
                  <a:pt x="110" y="559"/>
                </a:lnTo>
                <a:lnTo>
                  <a:pt x="82" y="533"/>
                </a:lnTo>
                <a:lnTo>
                  <a:pt x="54" y="559"/>
                </a:lnTo>
                <a:lnTo>
                  <a:pt x="82" y="587"/>
                </a:lnTo>
                <a:close/>
                <a:moveTo>
                  <a:pt x="23" y="529"/>
                </a:moveTo>
                <a:lnTo>
                  <a:pt x="51" y="558"/>
                </a:lnTo>
                <a:lnTo>
                  <a:pt x="78" y="529"/>
                </a:lnTo>
                <a:lnTo>
                  <a:pt x="51" y="501"/>
                </a:lnTo>
                <a:lnTo>
                  <a:pt x="23" y="529"/>
                </a:lnTo>
                <a:close/>
                <a:moveTo>
                  <a:pt x="23" y="468"/>
                </a:moveTo>
                <a:lnTo>
                  <a:pt x="51" y="496"/>
                </a:lnTo>
                <a:lnTo>
                  <a:pt x="78" y="468"/>
                </a:lnTo>
                <a:lnTo>
                  <a:pt x="51" y="441"/>
                </a:lnTo>
                <a:lnTo>
                  <a:pt x="23" y="468"/>
                </a:lnTo>
                <a:close/>
                <a:moveTo>
                  <a:pt x="23" y="408"/>
                </a:moveTo>
                <a:lnTo>
                  <a:pt x="51" y="436"/>
                </a:lnTo>
                <a:lnTo>
                  <a:pt x="78" y="408"/>
                </a:lnTo>
                <a:lnTo>
                  <a:pt x="51" y="380"/>
                </a:lnTo>
                <a:lnTo>
                  <a:pt x="23" y="408"/>
                </a:lnTo>
                <a:close/>
                <a:moveTo>
                  <a:pt x="23" y="346"/>
                </a:moveTo>
                <a:lnTo>
                  <a:pt x="51" y="374"/>
                </a:lnTo>
                <a:lnTo>
                  <a:pt x="78" y="346"/>
                </a:lnTo>
                <a:lnTo>
                  <a:pt x="51" y="320"/>
                </a:lnTo>
                <a:lnTo>
                  <a:pt x="23" y="346"/>
                </a:lnTo>
                <a:close/>
                <a:moveTo>
                  <a:pt x="23" y="286"/>
                </a:moveTo>
                <a:lnTo>
                  <a:pt x="51" y="313"/>
                </a:lnTo>
                <a:lnTo>
                  <a:pt x="78" y="286"/>
                </a:lnTo>
                <a:lnTo>
                  <a:pt x="51" y="258"/>
                </a:lnTo>
                <a:lnTo>
                  <a:pt x="23" y="286"/>
                </a:lnTo>
                <a:close/>
                <a:moveTo>
                  <a:pt x="23" y="225"/>
                </a:moveTo>
                <a:lnTo>
                  <a:pt x="51" y="253"/>
                </a:lnTo>
                <a:lnTo>
                  <a:pt x="78" y="225"/>
                </a:lnTo>
                <a:lnTo>
                  <a:pt x="51" y="197"/>
                </a:lnTo>
                <a:lnTo>
                  <a:pt x="23" y="225"/>
                </a:lnTo>
                <a:close/>
                <a:moveTo>
                  <a:pt x="23" y="163"/>
                </a:moveTo>
                <a:lnTo>
                  <a:pt x="51" y="191"/>
                </a:lnTo>
                <a:lnTo>
                  <a:pt x="78" y="163"/>
                </a:lnTo>
                <a:lnTo>
                  <a:pt x="51" y="136"/>
                </a:lnTo>
                <a:lnTo>
                  <a:pt x="23" y="163"/>
                </a:lnTo>
                <a:close/>
                <a:moveTo>
                  <a:pt x="23" y="103"/>
                </a:moveTo>
                <a:lnTo>
                  <a:pt x="51" y="131"/>
                </a:lnTo>
                <a:lnTo>
                  <a:pt x="78" y="103"/>
                </a:lnTo>
                <a:lnTo>
                  <a:pt x="51" y="75"/>
                </a:lnTo>
                <a:lnTo>
                  <a:pt x="23" y="103"/>
                </a:lnTo>
                <a:close/>
                <a:moveTo>
                  <a:pt x="51" y="15"/>
                </a:moveTo>
                <a:lnTo>
                  <a:pt x="23" y="42"/>
                </a:lnTo>
                <a:lnTo>
                  <a:pt x="51" y="70"/>
                </a:lnTo>
                <a:lnTo>
                  <a:pt x="78" y="42"/>
                </a:lnTo>
                <a:lnTo>
                  <a:pt x="51" y="15"/>
                </a:lnTo>
                <a:close/>
                <a:moveTo>
                  <a:pt x="54" y="74"/>
                </a:moveTo>
                <a:lnTo>
                  <a:pt x="82" y="99"/>
                </a:lnTo>
                <a:lnTo>
                  <a:pt x="110" y="74"/>
                </a:lnTo>
                <a:lnTo>
                  <a:pt x="82" y="46"/>
                </a:lnTo>
                <a:lnTo>
                  <a:pt x="54" y="74"/>
                </a:lnTo>
                <a:close/>
                <a:moveTo>
                  <a:pt x="112" y="15"/>
                </a:moveTo>
                <a:lnTo>
                  <a:pt x="85" y="42"/>
                </a:lnTo>
                <a:lnTo>
                  <a:pt x="112" y="70"/>
                </a:lnTo>
                <a:lnTo>
                  <a:pt x="140" y="42"/>
                </a:lnTo>
                <a:lnTo>
                  <a:pt x="112" y="15"/>
                </a:lnTo>
                <a:close/>
                <a:moveTo>
                  <a:pt x="116" y="74"/>
                </a:moveTo>
                <a:lnTo>
                  <a:pt x="144" y="99"/>
                </a:lnTo>
                <a:lnTo>
                  <a:pt x="169" y="74"/>
                </a:lnTo>
                <a:lnTo>
                  <a:pt x="144" y="46"/>
                </a:lnTo>
                <a:lnTo>
                  <a:pt x="116" y="74"/>
                </a:lnTo>
                <a:close/>
                <a:moveTo>
                  <a:pt x="173" y="15"/>
                </a:moveTo>
                <a:lnTo>
                  <a:pt x="145" y="42"/>
                </a:lnTo>
                <a:lnTo>
                  <a:pt x="173" y="70"/>
                </a:lnTo>
                <a:lnTo>
                  <a:pt x="201" y="42"/>
                </a:lnTo>
                <a:lnTo>
                  <a:pt x="173" y="15"/>
                </a:lnTo>
                <a:close/>
                <a:moveTo>
                  <a:pt x="177" y="74"/>
                </a:moveTo>
                <a:lnTo>
                  <a:pt x="204" y="99"/>
                </a:lnTo>
                <a:lnTo>
                  <a:pt x="232" y="74"/>
                </a:lnTo>
                <a:lnTo>
                  <a:pt x="204" y="46"/>
                </a:lnTo>
                <a:lnTo>
                  <a:pt x="177" y="74"/>
                </a:lnTo>
                <a:close/>
                <a:moveTo>
                  <a:pt x="235" y="15"/>
                </a:moveTo>
                <a:lnTo>
                  <a:pt x="207" y="42"/>
                </a:lnTo>
                <a:lnTo>
                  <a:pt x="235" y="70"/>
                </a:lnTo>
                <a:lnTo>
                  <a:pt x="262" y="42"/>
                </a:lnTo>
                <a:lnTo>
                  <a:pt x="235" y="15"/>
                </a:lnTo>
                <a:close/>
                <a:moveTo>
                  <a:pt x="238" y="74"/>
                </a:moveTo>
                <a:lnTo>
                  <a:pt x="266" y="99"/>
                </a:lnTo>
                <a:lnTo>
                  <a:pt x="294" y="74"/>
                </a:lnTo>
                <a:lnTo>
                  <a:pt x="266" y="46"/>
                </a:lnTo>
                <a:lnTo>
                  <a:pt x="238" y="74"/>
                </a:lnTo>
                <a:close/>
                <a:moveTo>
                  <a:pt x="295" y="15"/>
                </a:moveTo>
                <a:lnTo>
                  <a:pt x="267" y="42"/>
                </a:lnTo>
                <a:lnTo>
                  <a:pt x="295" y="70"/>
                </a:lnTo>
                <a:lnTo>
                  <a:pt x="323" y="42"/>
                </a:lnTo>
                <a:lnTo>
                  <a:pt x="295" y="15"/>
                </a:lnTo>
                <a:close/>
                <a:moveTo>
                  <a:pt x="299" y="74"/>
                </a:moveTo>
                <a:lnTo>
                  <a:pt x="325" y="99"/>
                </a:lnTo>
                <a:lnTo>
                  <a:pt x="353" y="74"/>
                </a:lnTo>
                <a:lnTo>
                  <a:pt x="325" y="46"/>
                </a:lnTo>
                <a:lnTo>
                  <a:pt x="299" y="74"/>
                </a:lnTo>
                <a:close/>
                <a:moveTo>
                  <a:pt x="357" y="15"/>
                </a:moveTo>
                <a:lnTo>
                  <a:pt x="329" y="42"/>
                </a:lnTo>
                <a:lnTo>
                  <a:pt x="357" y="70"/>
                </a:lnTo>
                <a:lnTo>
                  <a:pt x="384" y="42"/>
                </a:lnTo>
                <a:lnTo>
                  <a:pt x="357" y="15"/>
                </a:lnTo>
                <a:close/>
                <a:moveTo>
                  <a:pt x="359" y="74"/>
                </a:moveTo>
                <a:lnTo>
                  <a:pt x="388" y="99"/>
                </a:lnTo>
                <a:lnTo>
                  <a:pt x="416" y="74"/>
                </a:lnTo>
                <a:lnTo>
                  <a:pt x="388" y="46"/>
                </a:lnTo>
                <a:lnTo>
                  <a:pt x="359" y="74"/>
                </a:lnTo>
                <a:close/>
                <a:moveTo>
                  <a:pt x="417" y="15"/>
                </a:moveTo>
                <a:lnTo>
                  <a:pt x="390" y="42"/>
                </a:lnTo>
                <a:lnTo>
                  <a:pt x="417" y="70"/>
                </a:lnTo>
                <a:lnTo>
                  <a:pt x="445" y="42"/>
                </a:lnTo>
                <a:lnTo>
                  <a:pt x="417" y="15"/>
                </a:lnTo>
                <a:close/>
                <a:moveTo>
                  <a:pt x="421" y="74"/>
                </a:moveTo>
                <a:lnTo>
                  <a:pt x="449" y="99"/>
                </a:lnTo>
                <a:lnTo>
                  <a:pt x="475" y="74"/>
                </a:lnTo>
                <a:lnTo>
                  <a:pt x="449" y="46"/>
                </a:lnTo>
                <a:lnTo>
                  <a:pt x="421" y="74"/>
                </a:lnTo>
                <a:close/>
                <a:moveTo>
                  <a:pt x="479" y="15"/>
                </a:moveTo>
                <a:lnTo>
                  <a:pt x="450" y="42"/>
                </a:lnTo>
                <a:lnTo>
                  <a:pt x="479" y="70"/>
                </a:lnTo>
                <a:lnTo>
                  <a:pt x="507" y="42"/>
                </a:lnTo>
                <a:lnTo>
                  <a:pt x="479" y="15"/>
                </a:lnTo>
                <a:close/>
                <a:moveTo>
                  <a:pt x="483" y="74"/>
                </a:moveTo>
                <a:lnTo>
                  <a:pt x="509" y="99"/>
                </a:lnTo>
                <a:lnTo>
                  <a:pt x="538" y="74"/>
                </a:lnTo>
                <a:lnTo>
                  <a:pt x="509" y="46"/>
                </a:lnTo>
                <a:lnTo>
                  <a:pt x="483" y="74"/>
                </a:lnTo>
                <a:close/>
                <a:moveTo>
                  <a:pt x="540" y="15"/>
                </a:moveTo>
                <a:lnTo>
                  <a:pt x="512" y="42"/>
                </a:lnTo>
                <a:lnTo>
                  <a:pt x="540" y="70"/>
                </a:lnTo>
                <a:lnTo>
                  <a:pt x="567" y="42"/>
                </a:lnTo>
                <a:lnTo>
                  <a:pt x="540" y="15"/>
                </a:lnTo>
                <a:close/>
                <a:moveTo>
                  <a:pt x="543" y="74"/>
                </a:moveTo>
                <a:lnTo>
                  <a:pt x="571" y="99"/>
                </a:lnTo>
                <a:lnTo>
                  <a:pt x="599" y="74"/>
                </a:lnTo>
                <a:lnTo>
                  <a:pt x="571" y="46"/>
                </a:lnTo>
                <a:lnTo>
                  <a:pt x="543" y="74"/>
                </a:lnTo>
                <a:close/>
                <a:moveTo>
                  <a:pt x="629" y="42"/>
                </a:moveTo>
                <a:lnTo>
                  <a:pt x="600" y="15"/>
                </a:lnTo>
                <a:lnTo>
                  <a:pt x="572" y="42"/>
                </a:lnTo>
                <a:lnTo>
                  <a:pt x="600" y="70"/>
                </a:lnTo>
                <a:lnTo>
                  <a:pt x="629" y="42"/>
                </a:lnTo>
                <a:close/>
                <a:moveTo>
                  <a:pt x="629" y="103"/>
                </a:moveTo>
                <a:lnTo>
                  <a:pt x="600" y="75"/>
                </a:lnTo>
                <a:lnTo>
                  <a:pt x="572" y="103"/>
                </a:lnTo>
                <a:lnTo>
                  <a:pt x="600" y="131"/>
                </a:lnTo>
                <a:lnTo>
                  <a:pt x="629" y="103"/>
                </a:lnTo>
                <a:close/>
                <a:moveTo>
                  <a:pt x="629" y="163"/>
                </a:moveTo>
                <a:lnTo>
                  <a:pt x="600" y="136"/>
                </a:lnTo>
                <a:lnTo>
                  <a:pt x="572" y="163"/>
                </a:lnTo>
                <a:lnTo>
                  <a:pt x="600" y="191"/>
                </a:lnTo>
                <a:lnTo>
                  <a:pt x="629" y="163"/>
                </a:lnTo>
                <a:close/>
                <a:moveTo>
                  <a:pt x="629" y="225"/>
                </a:moveTo>
                <a:lnTo>
                  <a:pt x="600" y="197"/>
                </a:lnTo>
                <a:lnTo>
                  <a:pt x="572" y="225"/>
                </a:lnTo>
                <a:lnTo>
                  <a:pt x="600" y="253"/>
                </a:lnTo>
                <a:lnTo>
                  <a:pt x="629" y="225"/>
                </a:lnTo>
                <a:close/>
                <a:moveTo>
                  <a:pt x="629" y="286"/>
                </a:moveTo>
                <a:lnTo>
                  <a:pt x="600" y="258"/>
                </a:lnTo>
                <a:lnTo>
                  <a:pt x="572" y="286"/>
                </a:lnTo>
                <a:lnTo>
                  <a:pt x="600" y="313"/>
                </a:lnTo>
                <a:lnTo>
                  <a:pt x="629" y="286"/>
                </a:lnTo>
                <a:close/>
                <a:moveTo>
                  <a:pt x="629" y="346"/>
                </a:moveTo>
                <a:lnTo>
                  <a:pt x="600" y="320"/>
                </a:lnTo>
                <a:lnTo>
                  <a:pt x="572" y="346"/>
                </a:lnTo>
                <a:lnTo>
                  <a:pt x="600" y="374"/>
                </a:lnTo>
                <a:lnTo>
                  <a:pt x="629" y="346"/>
                </a:lnTo>
                <a:close/>
                <a:moveTo>
                  <a:pt x="629" y="408"/>
                </a:moveTo>
                <a:lnTo>
                  <a:pt x="600" y="380"/>
                </a:lnTo>
                <a:lnTo>
                  <a:pt x="572" y="408"/>
                </a:lnTo>
                <a:lnTo>
                  <a:pt x="600" y="436"/>
                </a:lnTo>
                <a:lnTo>
                  <a:pt x="629" y="408"/>
                </a:lnTo>
                <a:close/>
                <a:moveTo>
                  <a:pt x="629" y="468"/>
                </a:moveTo>
                <a:lnTo>
                  <a:pt x="600" y="441"/>
                </a:lnTo>
                <a:lnTo>
                  <a:pt x="572" y="468"/>
                </a:lnTo>
                <a:lnTo>
                  <a:pt x="600" y="496"/>
                </a:lnTo>
                <a:lnTo>
                  <a:pt x="629" y="468"/>
                </a:lnTo>
                <a:close/>
                <a:moveTo>
                  <a:pt x="629" y="529"/>
                </a:moveTo>
                <a:lnTo>
                  <a:pt x="600" y="501"/>
                </a:lnTo>
                <a:lnTo>
                  <a:pt x="572" y="529"/>
                </a:lnTo>
                <a:lnTo>
                  <a:pt x="600" y="558"/>
                </a:lnTo>
                <a:lnTo>
                  <a:pt x="629" y="529"/>
                </a:lnTo>
                <a:close/>
                <a:moveTo>
                  <a:pt x="629" y="591"/>
                </a:moveTo>
                <a:lnTo>
                  <a:pt x="600" y="563"/>
                </a:lnTo>
                <a:lnTo>
                  <a:pt x="572" y="591"/>
                </a:lnTo>
                <a:lnTo>
                  <a:pt x="600" y="618"/>
                </a:lnTo>
                <a:lnTo>
                  <a:pt x="629" y="591"/>
                </a:lnTo>
                <a:close/>
                <a:moveTo>
                  <a:pt x="599" y="622"/>
                </a:moveTo>
                <a:lnTo>
                  <a:pt x="571" y="594"/>
                </a:lnTo>
                <a:lnTo>
                  <a:pt x="543" y="622"/>
                </a:lnTo>
                <a:lnTo>
                  <a:pt x="571" y="650"/>
                </a:lnTo>
                <a:lnTo>
                  <a:pt x="599" y="622"/>
                </a:lnTo>
                <a:close/>
                <a:moveTo>
                  <a:pt x="571" y="709"/>
                </a:moveTo>
                <a:lnTo>
                  <a:pt x="599" y="683"/>
                </a:lnTo>
                <a:lnTo>
                  <a:pt x="571" y="655"/>
                </a:lnTo>
                <a:lnTo>
                  <a:pt x="543" y="683"/>
                </a:lnTo>
                <a:lnTo>
                  <a:pt x="571" y="709"/>
                </a:lnTo>
                <a:close/>
                <a:moveTo>
                  <a:pt x="567" y="651"/>
                </a:moveTo>
                <a:lnTo>
                  <a:pt x="540" y="624"/>
                </a:lnTo>
                <a:lnTo>
                  <a:pt x="512" y="651"/>
                </a:lnTo>
                <a:lnTo>
                  <a:pt x="540" y="679"/>
                </a:lnTo>
                <a:lnTo>
                  <a:pt x="567" y="651"/>
                </a:lnTo>
                <a:close/>
                <a:moveTo>
                  <a:pt x="509" y="709"/>
                </a:moveTo>
                <a:lnTo>
                  <a:pt x="538" y="683"/>
                </a:lnTo>
                <a:lnTo>
                  <a:pt x="509" y="655"/>
                </a:lnTo>
                <a:lnTo>
                  <a:pt x="483" y="683"/>
                </a:lnTo>
                <a:lnTo>
                  <a:pt x="509" y="709"/>
                </a:lnTo>
                <a:close/>
                <a:moveTo>
                  <a:pt x="507" y="651"/>
                </a:moveTo>
                <a:lnTo>
                  <a:pt x="479" y="624"/>
                </a:lnTo>
                <a:lnTo>
                  <a:pt x="450" y="651"/>
                </a:lnTo>
                <a:lnTo>
                  <a:pt x="479" y="679"/>
                </a:lnTo>
                <a:lnTo>
                  <a:pt x="507" y="651"/>
                </a:lnTo>
                <a:close/>
                <a:moveTo>
                  <a:pt x="449" y="709"/>
                </a:moveTo>
                <a:lnTo>
                  <a:pt x="475" y="683"/>
                </a:lnTo>
                <a:lnTo>
                  <a:pt x="449" y="655"/>
                </a:lnTo>
                <a:lnTo>
                  <a:pt x="421" y="683"/>
                </a:lnTo>
                <a:lnTo>
                  <a:pt x="449" y="709"/>
                </a:lnTo>
                <a:close/>
                <a:moveTo>
                  <a:pt x="445" y="651"/>
                </a:moveTo>
                <a:lnTo>
                  <a:pt x="417" y="624"/>
                </a:lnTo>
                <a:lnTo>
                  <a:pt x="390" y="651"/>
                </a:lnTo>
                <a:lnTo>
                  <a:pt x="417" y="679"/>
                </a:lnTo>
                <a:lnTo>
                  <a:pt x="445" y="651"/>
                </a:lnTo>
                <a:close/>
                <a:moveTo>
                  <a:pt x="388" y="709"/>
                </a:moveTo>
                <a:lnTo>
                  <a:pt x="416" y="683"/>
                </a:lnTo>
                <a:lnTo>
                  <a:pt x="388" y="655"/>
                </a:lnTo>
                <a:lnTo>
                  <a:pt x="359" y="683"/>
                </a:lnTo>
                <a:lnTo>
                  <a:pt x="388" y="709"/>
                </a:lnTo>
                <a:close/>
                <a:moveTo>
                  <a:pt x="384" y="651"/>
                </a:moveTo>
                <a:lnTo>
                  <a:pt x="357" y="624"/>
                </a:lnTo>
                <a:lnTo>
                  <a:pt x="329" y="651"/>
                </a:lnTo>
                <a:lnTo>
                  <a:pt x="357" y="679"/>
                </a:lnTo>
                <a:lnTo>
                  <a:pt x="384" y="651"/>
                </a:lnTo>
                <a:close/>
                <a:moveTo>
                  <a:pt x="325" y="709"/>
                </a:moveTo>
                <a:lnTo>
                  <a:pt x="353" y="683"/>
                </a:lnTo>
                <a:lnTo>
                  <a:pt x="325" y="655"/>
                </a:lnTo>
                <a:lnTo>
                  <a:pt x="299" y="683"/>
                </a:lnTo>
                <a:lnTo>
                  <a:pt x="325" y="709"/>
                </a:lnTo>
                <a:close/>
                <a:moveTo>
                  <a:pt x="323" y="651"/>
                </a:moveTo>
                <a:lnTo>
                  <a:pt x="295" y="624"/>
                </a:lnTo>
                <a:lnTo>
                  <a:pt x="267" y="651"/>
                </a:lnTo>
                <a:lnTo>
                  <a:pt x="295" y="679"/>
                </a:lnTo>
                <a:lnTo>
                  <a:pt x="323" y="651"/>
                </a:lnTo>
                <a:close/>
                <a:moveTo>
                  <a:pt x="266" y="709"/>
                </a:moveTo>
                <a:lnTo>
                  <a:pt x="294" y="683"/>
                </a:lnTo>
                <a:lnTo>
                  <a:pt x="266" y="655"/>
                </a:lnTo>
                <a:lnTo>
                  <a:pt x="238" y="683"/>
                </a:lnTo>
                <a:lnTo>
                  <a:pt x="266" y="709"/>
                </a:lnTo>
                <a:close/>
                <a:moveTo>
                  <a:pt x="262" y="651"/>
                </a:moveTo>
                <a:lnTo>
                  <a:pt x="235" y="624"/>
                </a:lnTo>
                <a:lnTo>
                  <a:pt x="207" y="651"/>
                </a:lnTo>
                <a:lnTo>
                  <a:pt x="235" y="679"/>
                </a:lnTo>
                <a:lnTo>
                  <a:pt x="262" y="651"/>
                </a:lnTo>
                <a:close/>
                <a:moveTo>
                  <a:pt x="204" y="709"/>
                </a:moveTo>
                <a:lnTo>
                  <a:pt x="232" y="683"/>
                </a:lnTo>
                <a:lnTo>
                  <a:pt x="204" y="655"/>
                </a:lnTo>
                <a:lnTo>
                  <a:pt x="177" y="683"/>
                </a:lnTo>
                <a:lnTo>
                  <a:pt x="204" y="709"/>
                </a:lnTo>
                <a:close/>
                <a:moveTo>
                  <a:pt x="201" y="651"/>
                </a:moveTo>
                <a:lnTo>
                  <a:pt x="173" y="624"/>
                </a:lnTo>
                <a:lnTo>
                  <a:pt x="145" y="651"/>
                </a:lnTo>
                <a:lnTo>
                  <a:pt x="173" y="679"/>
                </a:lnTo>
                <a:lnTo>
                  <a:pt x="201" y="651"/>
                </a:lnTo>
                <a:close/>
                <a:moveTo>
                  <a:pt x="144" y="709"/>
                </a:moveTo>
                <a:lnTo>
                  <a:pt x="169" y="683"/>
                </a:lnTo>
                <a:lnTo>
                  <a:pt x="144" y="655"/>
                </a:lnTo>
                <a:lnTo>
                  <a:pt x="116" y="683"/>
                </a:lnTo>
                <a:lnTo>
                  <a:pt x="144" y="709"/>
                </a:lnTo>
                <a:close/>
                <a:moveTo>
                  <a:pt x="140" y="651"/>
                </a:moveTo>
                <a:lnTo>
                  <a:pt x="112" y="624"/>
                </a:lnTo>
                <a:lnTo>
                  <a:pt x="85" y="651"/>
                </a:lnTo>
                <a:lnTo>
                  <a:pt x="112" y="679"/>
                </a:lnTo>
                <a:lnTo>
                  <a:pt x="140" y="651"/>
                </a:lnTo>
                <a:close/>
                <a:moveTo>
                  <a:pt x="82" y="709"/>
                </a:moveTo>
                <a:lnTo>
                  <a:pt x="110" y="683"/>
                </a:lnTo>
                <a:lnTo>
                  <a:pt x="82" y="655"/>
                </a:lnTo>
                <a:lnTo>
                  <a:pt x="54" y="683"/>
                </a:lnTo>
                <a:lnTo>
                  <a:pt x="82" y="709"/>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483" name="Freeform 1275"/>
          <p:cNvSpPr>
            <a:spLocks noEditPoints="1"/>
          </p:cNvSpPr>
          <p:nvPr/>
        </p:nvSpPr>
        <p:spPr bwMode="auto">
          <a:xfrm>
            <a:off x="9103320" y="5227638"/>
            <a:ext cx="1033463" cy="1166813"/>
          </a:xfrm>
          <a:custGeom>
            <a:avLst/>
            <a:gdLst>
              <a:gd name="T0" fmla="*/ 633 w 651"/>
              <a:gd name="T1" fmla="*/ 464 h 735"/>
              <a:gd name="T2" fmla="*/ 634 w 651"/>
              <a:gd name="T3" fmla="*/ 286 h 735"/>
              <a:gd name="T4" fmla="*/ 647 w 651"/>
              <a:gd name="T5" fmla="*/ 122 h 735"/>
              <a:gd name="T6" fmla="*/ 541 w 651"/>
              <a:gd name="T7" fmla="*/ 11 h 735"/>
              <a:gd name="T8" fmla="*/ 414 w 651"/>
              <a:gd name="T9" fmla="*/ 11 h 735"/>
              <a:gd name="T10" fmla="*/ 225 w 651"/>
              <a:gd name="T11" fmla="*/ 0 h 735"/>
              <a:gd name="T12" fmla="*/ 60 w 651"/>
              <a:gd name="T13" fmla="*/ 0 h 735"/>
              <a:gd name="T14" fmla="*/ 5 w 651"/>
              <a:gd name="T15" fmla="*/ 146 h 735"/>
              <a:gd name="T16" fmla="*/ 47 w 651"/>
              <a:gd name="T17" fmla="*/ 316 h 735"/>
              <a:gd name="T18" fmla="*/ 17 w 651"/>
              <a:gd name="T19" fmla="*/ 475 h 735"/>
              <a:gd name="T20" fmla="*/ 79 w 651"/>
              <a:gd name="T21" fmla="*/ 713 h 735"/>
              <a:gd name="T22" fmla="*/ 206 w 651"/>
              <a:gd name="T23" fmla="*/ 713 h 735"/>
              <a:gd name="T24" fmla="*/ 407 w 651"/>
              <a:gd name="T25" fmla="*/ 735 h 735"/>
              <a:gd name="T26" fmla="*/ 549 w 651"/>
              <a:gd name="T27" fmla="*/ 735 h 735"/>
              <a:gd name="T28" fmla="*/ 177 w 651"/>
              <a:gd name="T29" fmla="*/ 378 h 735"/>
              <a:gd name="T30" fmla="*/ 328 w 651"/>
              <a:gd name="T31" fmla="*/ 346 h 735"/>
              <a:gd name="T32" fmla="*/ 478 w 651"/>
              <a:gd name="T33" fmla="*/ 258 h 735"/>
              <a:gd name="T34" fmla="*/ 385 w 651"/>
              <a:gd name="T35" fmla="*/ 286 h 735"/>
              <a:gd name="T36" fmla="*/ 230 w 651"/>
              <a:gd name="T37" fmla="*/ 316 h 735"/>
              <a:gd name="T38" fmla="*/ 202 w 651"/>
              <a:gd name="T39" fmla="*/ 465 h 735"/>
              <a:gd name="T40" fmla="*/ 327 w 651"/>
              <a:gd name="T41" fmla="*/ 409 h 735"/>
              <a:gd name="T42" fmla="*/ 478 w 651"/>
              <a:gd name="T43" fmla="*/ 380 h 735"/>
              <a:gd name="T44" fmla="*/ 508 w 651"/>
              <a:gd name="T45" fmla="*/ 282 h 735"/>
              <a:gd name="T46" fmla="*/ 356 w 651"/>
              <a:gd name="T47" fmla="*/ 253 h 735"/>
              <a:gd name="T48" fmla="*/ 234 w 651"/>
              <a:gd name="T49" fmla="*/ 197 h 735"/>
              <a:gd name="T50" fmla="*/ 169 w 651"/>
              <a:gd name="T51" fmla="*/ 316 h 735"/>
              <a:gd name="T52" fmla="*/ 230 w 651"/>
              <a:gd name="T53" fmla="*/ 500 h 735"/>
              <a:gd name="T54" fmla="*/ 299 w 651"/>
              <a:gd name="T55" fmla="*/ 500 h 735"/>
              <a:gd name="T56" fmla="*/ 450 w 651"/>
              <a:gd name="T57" fmla="*/ 468 h 735"/>
              <a:gd name="T58" fmla="*/ 567 w 651"/>
              <a:gd name="T59" fmla="*/ 346 h 735"/>
              <a:gd name="T60" fmla="*/ 536 w 651"/>
              <a:gd name="T61" fmla="*/ 195 h 735"/>
              <a:gd name="T62" fmla="*/ 328 w 651"/>
              <a:gd name="T63" fmla="*/ 163 h 735"/>
              <a:gd name="T64" fmla="*/ 261 w 651"/>
              <a:gd name="T65" fmla="*/ 163 h 735"/>
              <a:gd name="T66" fmla="*/ 139 w 651"/>
              <a:gd name="T67" fmla="*/ 225 h 735"/>
              <a:gd name="T68" fmla="*/ 84 w 651"/>
              <a:gd name="T69" fmla="*/ 468 h 735"/>
              <a:gd name="T70" fmla="*/ 202 w 651"/>
              <a:gd name="T71" fmla="*/ 533 h 735"/>
              <a:gd name="T72" fmla="*/ 356 w 651"/>
              <a:gd name="T73" fmla="*/ 501 h 735"/>
              <a:gd name="T74" fmla="*/ 478 w 651"/>
              <a:gd name="T75" fmla="*/ 558 h 735"/>
              <a:gd name="T76" fmla="*/ 541 w 651"/>
              <a:gd name="T77" fmla="*/ 378 h 735"/>
              <a:gd name="T78" fmla="*/ 598 w 651"/>
              <a:gd name="T79" fmla="*/ 132 h 735"/>
              <a:gd name="T80" fmla="*/ 474 w 651"/>
              <a:gd name="T81" fmla="*/ 132 h 735"/>
              <a:gd name="T82" fmla="*/ 268 w 651"/>
              <a:gd name="T83" fmla="*/ 103 h 735"/>
              <a:gd name="T84" fmla="*/ 201 w 651"/>
              <a:gd name="T85" fmla="*/ 103 h 735"/>
              <a:gd name="T86" fmla="*/ 108 w 651"/>
              <a:gd name="T87" fmla="*/ 254 h 735"/>
              <a:gd name="T88" fmla="*/ 52 w 651"/>
              <a:gd name="T89" fmla="*/ 500 h 735"/>
              <a:gd name="T90" fmla="*/ 144 w 651"/>
              <a:gd name="T91" fmla="*/ 591 h 735"/>
              <a:gd name="T92" fmla="*/ 352 w 651"/>
              <a:gd name="T93" fmla="*/ 622 h 735"/>
              <a:gd name="T94" fmla="*/ 419 w 651"/>
              <a:gd name="T95" fmla="*/ 622 h 735"/>
              <a:gd name="T96" fmla="*/ 629 w 651"/>
              <a:gd name="T97" fmla="*/ 529 h 735"/>
              <a:gd name="T98" fmla="*/ 574 w 651"/>
              <a:gd name="T99" fmla="*/ 286 h 735"/>
              <a:gd name="T100" fmla="*/ 600 w 651"/>
              <a:gd name="T101" fmla="*/ 15 h 735"/>
              <a:gd name="T102" fmla="*/ 447 w 651"/>
              <a:gd name="T103" fmla="*/ 99 h 735"/>
              <a:gd name="T104" fmla="*/ 327 w 651"/>
              <a:gd name="T105" fmla="*/ 46 h 735"/>
              <a:gd name="T106" fmla="*/ 173 w 651"/>
              <a:gd name="T107" fmla="*/ 15 h 735"/>
              <a:gd name="T108" fmla="*/ 79 w 651"/>
              <a:gd name="T109" fmla="*/ 42 h 735"/>
              <a:gd name="T110" fmla="*/ 22 w 651"/>
              <a:gd name="T111" fmla="*/ 286 h 735"/>
              <a:gd name="T112" fmla="*/ 51 w 651"/>
              <a:gd name="T113" fmla="*/ 563 h 735"/>
              <a:gd name="T114" fmla="*/ 169 w 651"/>
              <a:gd name="T115" fmla="*/ 683 h 735"/>
              <a:gd name="T116" fmla="*/ 268 w 651"/>
              <a:gd name="T117" fmla="*/ 651 h 735"/>
              <a:gd name="T118" fmla="*/ 445 w 651"/>
              <a:gd name="T119" fmla="*/ 651 h 735"/>
              <a:gd name="T120" fmla="*/ 512 w 651"/>
              <a:gd name="T121" fmla="*/ 651 h 7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51" h="735">
                <a:moveTo>
                  <a:pt x="625" y="662"/>
                </a:moveTo>
                <a:lnTo>
                  <a:pt x="625" y="656"/>
                </a:lnTo>
                <a:lnTo>
                  <a:pt x="600" y="679"/>
                </a:lnTo>
                <a:lnTo>
                  <a:pt x="574" y="651"/>
                </a:lnTo>
                <a:lnTo>
                  <a:pt x="600" y="624"/>
                </a:lnTo>
                <a:lnTo>
                  <a:pt x="625" y="647"/>
                </a:lnTo>
                <a:lnTo>
                  <a:pt x="625" y="642"/>
                </a:lnTo>
                <a:lnTo>
                  <a:pt x="604" y="622"/>
                </a:lnTo>
                <a:lnTo>
                  <a:pt x="626" y="599"/>
                </a:lnTo>
                <a:lnTo>
                  <a:pt x="626" y="591"/>
                </a:lnTo>
                <a:lnTo>
                  <a:pt x="600" y="618"/>
                </a:lnTo>
                <a:lnTo>
                  <a:pt x="574" y="591"/>
                </a:lnTo>
                <a:lnTo>
                  <a:pt x="600" y="563"/>
                </a:lnTo>
                <a:lnTo>
                  <a:pt x="626" y="590"/>
                </a:lnTo>
                <a:lnTo>
                  <a:pt x="626" y="584"/>
                </a:lnTo>
                <a:lnTo>
                  <a:pt x="604" y="559"/>
                </a:lnTo>
                <a:lnTo>
                  <a:pt x="629" y="535"/>
                </a:lnTo>
                <a:lnTo>
                  <a:pt x="630" y="525"/>
                </a:lnTo>
                <a:lnTo>
                  <a:pt x="604" y="500"/>
                </a:lnTo>
                <a:lnTo>
                  <a:pt x="633" y="472"/>
                </a:lnTo>
                <a:lnTo>
                  <a:pt x="633" y="472"/>
                </a:lnTo>
                <a:lnTo>
                  <a:pt x="633" y="464"/>
                </a:lnTo>
                <a:lnTo>
                  <a:pt x="633" y="465"/>
                </a:lnTo>
                <a:lnTo>
                  <a:pt x="604" y="437"/>
                </a:lnTo>
                <a:lnTo>
                  <a:pt x="633" y="409"/>
                </a:lnTo>
                <a:lnTo>
                  <a:pt x="634" y="413"/>
                </a:lnTo>
                <a:lnTo>
                  <a:pt x="634" y="408"/>
                </a:lnTo>
                <a:lnTo>
                  <a:pt x="634" y="408"/>
                </a:lnTo>
                <a:lnTo>
                  <a:pt x="634" y="408"/>
                </a:lnTo>
                <a:lnTo>
                  <a:pt x="634" y="400"/>
                </a:lnTo>
                <a:lnTo>
                  <a:pt x="633" y="404"/>
                </a:lnTo>
                <a:lnTo>
                  <a:pt x="604" y="378"/>
                </a:lnTo>
                <a:lnTo>
                  <a:pt x="633" y="350"/>
                </a:lnTo>
                <a:lnTo>
                  <a:pt x="635" y="356"/>
                </a:lnTo>
                <a:lnTo>
                  <a:pt x="638" y="350"/>
                </a:lnTo>
                <a:lnTo>
                  <a:pt x="634" y="346"/>
                </a:lnTo>
                <a:lnTo>
                  <a:pt x="638" y="344"/>
                </a:lnTo>
                <a:lnTo>
                  <a:pt x="638" y="337"/>
                </a:lnTo>
                <a:lnTo>
                  <a:pt x="633" y="344"/>
                </a:lnTo>
                <a:lnTo>
                  <a:pt x="604" y="316"/>
                </a:lnTo>
                <a:lnTo>
                  <a:pt x="633" y="287"/>
                </a:lnTo>
                <a:lnTo>
                  <a:pt x="639" y="295"/>
                </a:lnTo>
                <a:lnTo>
                  <a:pt x="639" y="290"/>
                </a:lnTo>
                <a:lnTo>
                  <a:pt x="634" y="286"/>
                </a:lnTo>
                <a:lnTo>
                  <a:pt x="639" y="281"/>
                </a:lnTo>
                <a:lnTo>
                  <a:pt x="639" y="273"/>
                </a:lnTo>
                <a:lnTo>
                  <a:pt x="633" y="282"/>
                </a:lnTo>
                <a:lnTo>
                  <a:pt x="604" y="254"/>
                </a:lnTo>
                <a:lnTo>
                  <a:pt x="633" y="229"/>
                </a:lnTo>
                <a:lnTo>
                  <a:pt x="642" y="238"/>
                </a:lnTo>
                <a:lnTo>
                  <a:pt x="642" y="231"/>
                </a:lnTo>
                <a:lnTo>
                  <a:pt x="634" y="225"/>
                </a:lnTo>
                <a:lnTo>
                  <a:pt x="643" y="217"/>
                </a:lnTo>
                <a:lnTo>
                  <a:pt x="643" y="210"/>
                </a:lnTo>
                <a:lnTo>
                  <a:pt x="633" y="221"/>
                </a:lnTo>
                <a:lnTo>
                  <a:pt x="604" y="195"/>
                </a:lnTo>
                <a:lnTo>
                  <a:pt x="633" y="167"/>
                </a:lnTo>
                <a:lnTo>
                  <a:pt x="643" y="179"/>
                </a:lnTo>
                <a:lnTo>
                  <a:pt x="643" y="174"/>
                </a:lnTo>
                <a:lnTo>
                  <a:pt x="634" y="163"/>
                </a:lnTo>
                <a:lnTo>
                  <a:pt x="645" y="154"/>
                </a:lnTo>
                <a:lnTo>
                  <a:pt x="645" y="146"/>
                </a:lnTo>
                <a:lnTo>
                  <a:pt x="633" y="160"/>
                </a:lnTo>
                <a:lnTo>
                  <a:pt x="604" y="132"/>
                </a:lnTo>
                <a:lnTo>
                  <a:pt x="633" y="107"/>
                </a:lnTo>
                <a:lnTo>
                  <a:pt x="647" y="122"/>
                </a:lnTo>
                <a:lnTo>
                  <a:pt x="647" y="116"/>
                </a:lnTo>
                <a:lnTo>
                  <a:pt x="634" y="103"/>
                </a:lnTo>
                <a:lnTo>
                  <a:pt x="647" y="90"/>
                </a:lnTo>
                <a:lnTo>
                  <a:pt x="649" y="83"/>
                </a:lnTo>
                <a:lnTo>
                  <a:pt x="633" y="99"/>
                </a:lnTo>
                <a:lnTo>
                  <a:pt x="604" y="74"/>
                </a:lnTo>
                <a:lnTo>
                  <a:pt x="633" y="46"/>
                </a:lnTo>
                <a:lnTo>
                  <a:pt x="649" y="62"/>
                </a:lnTo>
                <a:lnTo>
                  <a:pt x="649" y="56"/>
                </a:lnTo>
                <a:lnTo>
                  <a:pt x="634" y="42"/>
                </a:lnTo>
                <a:lnTo>
                  <a:pt x="651" y="27"/>
                </a:lnTo>
                <a:lnTo>
                  <a:pt x="651" y="19"/>
                </a:lnTo>
                <a:lnTo>
                  <a:pt x="633" y="39"/>
                </a:lnTo>
                <a:lnTo>
                  <a:pt x="604" y="11"/>
                </a:lnTo>
                <a:lnTo>
                  <a:pt x="615" y="0"/>
                </a:lnTo>
                <a:lnTo>
                  <a:pt x="610" y="0"/>
                </a:lnTo>
                <a:lnTo>
                  <a:pt x="600" y="8"/>
                </a:lnTo>
                <a:lnTo>
                  <a:pt x="591" y="0"/>
                </a:lnTo>
                <a:lnTo>
                  <a:pt x="586" y="0"/>
                </a:lnTo>
                <a:lnTo>
                  <a:pt x="598" y="11"/>
                </a:lnTo>
                <a:lnTo>
                  <a:pt x="570" y="39"/>
                </a:lnTo>
                <a:lnTo>
                  <a:pt x="541" y="11"/>
                </a:lnTo>
                <a:lnTo>
                  <a:pt x="555" y="0"/>
                </a:lnTo>
                <a:lnTo>
                  <a:pt x="548" y="0"/>
                </a:lnTo>
                <a:lnTo>
                  <a:pt x="540" y="8"/>
                </a:lnTo>
                <a:lnTo>
                  <a:pt x="531" y="0"/>
                </a:lnTo>
                <a:lnTo>
                  <a:pt x="525" y="0"/>
                </a:lnTo>
                <a:lnTo>
                  <a:pt x="536" y="11"/>
                </a:lnTo>
                <a:lnTo>
                  <a:pt x="508" y="39"/>
                </a:lnTo>
                <a:lnTo>
                  <a:pt x="482" y="11"/>
                </a:lnTo>
                <a:lnTo>
                  <a:pt x="493" y="0"/>
                </a:lnTo>
                <a:lnTo>
                  <a:pt x="488" y="0"/>
                </a:lnTo>
                <a:lnTo>
                  <a:pt x="478" y="8"/>
                </a:lnTo>
                <a:lnTo>
                  <a:pt x="469" y="0"/>
                </a:lnTo>
                <a:lnTo>
                  <a:pt x="464" y="0"/>
                </a:lnTo>
                <a:lnTo>
                  <a:pt x="474" y="11"/>
                </a:lnTo>
                <a:lnTo>
                  <a:pt x="447" y="39"/>
                </a:lnTo>
                <a:lnTo>
                  <a:pt x="419" y="11"/>
                </a:lnTo>
                <a:lnTo>
                  <a:pt x="431" y="0"/>
                </a:lnTo>
                <a:lnTo>
                  <a:pt x="426" y="0"/>
                </a:lnTo>
                <a:lnTo>
                  <a:pt x="417" y="8"/>
                </a:lnTo>
                <a:lnTo>
                  <a:pt x="409" y="0"/>
                </a:lnTo>
                <a:lnTo>
                  <a:pt x="401" y="0"/>
                </a:lnTo>
                <a:lnTo>
                  <a:pt x="414" y="11"/>
                </a:lnTo>
                <a:lnTo>
                  <a:pt x="386" y="39"/>
                </a:lnTo>
                <a:lnTo>
                  <a:pt x="358" y="11"/>
                </a:lnTo>
                <a:lnTo>
                  <a:pt x="371" y="0"/>
                </a:lnTo>
                <a:lnTo>
                  <a:pt x="366" y="0"/>
                </a:lnTo>
                <a:lnTo>
                  <a:pt x="356" y="8"/>
                </a:lnTo>
                <a:lnTo>
                  <a:pt x="347" y="0"/>
                </a:lnTo>
                <a:lnTo>
                  <a:pt x="342" y="0"/>
                </a:lnTo>
                <a:lnTo>
                  <a:pt x="352" y="11"/>
                </a:lnTo>
                <a:lnTo>
                  <a:pt x="327" y="39"/>
                </a:lnTo>
                <a:lnTo>
                  <a:pt x="299" y="11"/>
                </a:lnTo>
                <a:lnTo>
                  <a:pt x="309" y="0"/>
                </a:lnTo>
                <a:lnTo>
                  <a:pt x="304" y="0"/>
                </a:lnTo>
                <a:lnTo>
                  <a:pt x="295" y="8"/>
                </a:lnTo>
                <a:lnTo>
                  <a:pt x="285" y="0"/>
                </a:lnTo>
                <a:lnTo>
                  <a:pt x="280" y="0"/>
                </a:lnTo>
                <a:lnTo>
                  <a:pt x="292" y="11"/>
                </a:lnTo>
                <a:lnTo>
                  <a:pt x="264" y="39"/>
                </a:lnTo>
                <a:lnTo>
                  <a:pt x="236" y="11"/>
                </a:lnTo>
                <a:lnTo>
                  <a:pt x="249" y="0"/>
                </a:lnTo>
                <a:lnTo>
                  <a:pt x="242" y="0"/>
                </a:lnTo>
                <a:lnTo>
                  <a:pt x="234" y="8"/>
                </a:lnTo>
                <a:lnTo>
                  <a:pt x="225" y="0"/>
                </a:lnTo>
                <a:lnTo>
                  <a:pt x="220" y="0"/>
                </a:lnTo>
                <a:lnTo>
                  <a:pt x="230" y="11"/>
                </a:lnTo>
                <a:lnTo>
                  <a:pt x="202" y="39"/>
                </a:lnTo>
                <a:lnTo>
                  <a:pt x="177" y="11"/>
                </a:lnTo>
                <a:lnTo>
                  <a:pt x="187" y="0"/>
                </a:lnTo>
                <a:lnTo>
                  <a:pt x="182" y="0"/>
                </a:lnTo>
                <a:lnTo>
                  <a:pt x="173" y="8"/>
                </a:lnTo>
                <a:lnTo>
                  <a:pt x="163" y="0"/>
                </a:lnTo>
                <a:lnTo>
                  <a:pt x="158" y="0"/>
                </a:lnTo>
                <a:lnTo>
                  <a:pt x="169" y="11"/>
                </a:lnTo>
                <a:lnTo>
                  <a:pt x="142" y="39"/>
                </a:lnTo>
                <a:lnTo>
                  <a:pt x="114" y="11"/>
                </a:lnTo>
                <a:lnTo>
                  <a:pt x="126" y="0"/>
                </a:lnTo>
                <a:lnTo>
                  <a:pt x="120" y="0"/>
                </a:lnTo>
                <a:lnTo>
                  <a:pt x="111" y="8"/>
                </a:lnTo>
                <a:lnTo>
                  <a:pt x="103" y="0"/>
                </a:lnTo>
                <a:lnTo>
                  <a:pt x="97" y="0"/>
                </a:lnTo>
                <a:lnTo>
                  <a:pt x="108" y="11"/>
                </a:lnTo>
                <a:lnTo>
                  <a:pt x="80" y="39"/>
                </a:lnTo>
                <a:lnTo>
                  <a:pt x="52" y="11"/>
                </a:lnTo>
                <a:lnTo>
                  <a:pt x="65" y="0"/>
                </a:lnTo>
                <a:lnTo>
                  <a:pt x="60" y="0"/>
                </a:lnTo>
                <a:lnTo>
                  <a:pt x="51" y="8"/>
                </a:lnTo>
                <a:lnTo>
                  <a:pt x="41" y="0"/>
                </a:lnTo>
                <a:lnTo>
                  <a:pt x="36" y="0"/>
                </a:lnTo>
                <a:lnTo>
                  <a:pt x="47" y="11"/>
                </a:lnTo>
                <a:lnTo>
                  <a:pt x="20" y="39"/>
                </a:lnTo>
                <a:lnTo>
                  <a:pt x="0" y="19"/>
                </a:lnTo>
                <a:lnTo>
                  <a:pt x="0" y="27"/>
                </a:lnTo>
                <a:lnTo>
                  <a:pt x="17" y="42"/>
                </a:lnTo>
                <a:lnTo>
                  <a:pt x="1" y="56"/>
                </a:lnTo>
                <a:lnTo>
                  <a:pt x="1" y="64"/>
                </a:lnTo>
                <a:lnTo>
                  <a:pt x="20" y="46"/>
                </a:lnTo>
                <a:lnTo>
                  <a:pt x="47" y="74"/>
                </a:lnTo>
                <a:lnTo>
                  <a:pt x="20" y="99"/>
                </a:lnTo>
                <a:lnTo>
                  <a:pt x="1" y="83"/>
                </a:lnTo>
                <a:lnTo>
                  <a:pt x="1" y="88"/>
                </a:lnTo>
                <a:lnTo>
                  <a:pt x="17" y="103"/>
                </a:lnTo>
                <a:lnTo>
                  <a:pt x="4" y="116"/>
                </a:lnTo>
                <a:lnTo>
                  <a:pt x="4" y="122"/>
                </a:lnTo>
                <a:lnTo>
                  <a:pt x="20" y="107"/>
                </a:lnTo>
                <a:lnTo>
                  <a:pt x="47" y="132"/>
                </a:lnTo>
                <a:lnTo>
                  <a:pt x="20" y="160"/>
                </a:lnTo>
                <a:lnTo>
                  <a:pt x="5" y="146"/>
                </a:lnTo>
                <a:lnTo>
                  <a:pt x="5" y="151"/>
                </a:lnTo>
                <a:lnTo>
                  <a:pt x="17" y="163"/>
                </a:lnTo>
                <a:lnTo>
                  <a:pt x="5" y="174"/>
                </a:lnTo>
                <a:lnTo>
                  <a:pt x="5" y="179"/>
                </a:lnTo>
                <a:lnTo>
                  <a:pt x="20" y="167"/>
                </a:lnTo>
                <a:lnTo>
                  <a:pt x="47" y="195"/>
                </a:lnTo>
                <a:lnTo>
                  <a:pt x="20" y="221"/>
                </a:lnTo>
                <a:lnTo>
                  <a:pt x="8" y="210"/>
                </a:lnTo>
                <a:lnTo>
                  <a:pt x="8" y="215"/>
                </a:lnTo>
                <a:lnTo>
                  <a:pt x="17" y="225"/>
                </a:lnTo>
                <a:lnTo>
                  <a:pt x="8" y="234"/>
                </a:lnTo>
                <a:lnTo>
                  <a:pt x="8" y="239"/>
                </a:lnTo>
                <a:lnTo>
                  <a:pt x="20" y="229"/>
                </a:lnTo>
                <a:lnTo>
                  <a:pt x="47" y="254"/>
                </a:lnTo>
                <a:lnTo>
                  <a:pt x="20" y="282"/>
                </a:lnTo>
                <a:lnTo>
                  <a:pt x="9" y="273"/>
                </a:lnTo>
                <a:lnTo>
                  <a:pt x="9" y="278"/>
                </a:lnTo>
                <a:lnTo>
                  <a:pt x="17" y="286"/>
                </a:lnTo>
                <a:lnTo>
                  <a:pt x="9" y="291"/>
                </a:lnTo>
                <a:lnTo>
                  <a:pt x="10" y="297"/>
                </a:lnTo>
                <a:lnTo>
                  <a:pt x="20" y="287"/>
                </a:lnTo>
                <a:lnTo>
                  <a:pt x="47" y="316"/>
                </a:lnTo>
                <a:lnTo>
                  <a:pt x="20" y="344"/>
                </a:lnTo>
                <a:lnTo>
                  <a:pt x="10" y="334"/>
                </a:lnTo>
                <a:lnTo>
                  <a:pt x="10" y="342"/>
                </a:lnTo>
                <a:lnTo>
                  <a:pt x="17" y="346"/>
                </a:lnTo>
                <a:lnTo>
                  <a:pt x="13" y="352"/>
                </a:lnTo>
                <a:lnTo>
                  <a:pt x="13" y="357"/>
                </a:lnTo>
                <a:lnTo>
                  <a:pt x="20" y="350"/>
                </a:lnTo>
                <a:lnTo>
                  <a:pt x="47" y="378"/>
                </a:lnTo>
                <a:lnTo>
                  <a:pt x="20" y="404"/>
                </a:lnTo>
                <a:lnTo>
                  <a:pt x="13" y="398"/>
                </a:lnTo>
                <a:lnTo>
                  <a:pt x="14" y="404"/>
                </a:lnTo>
                <a:lnTo>
                  <a:pt x="17" y="408"/>
                </a:lnTo>
                <a:lnTo>
                  <a:pt x="14" y="409"/>
                </a:lnTo>
                <a:lnTo>
                  <a:pt x="14" y="416"/>
                </a:lnTo>
                <a:lnTo>
                  <a:pt x="20" y="409"/>
                </a:lnTo>
                <a:lnTo>
                  <a:pt x="47" y="437"/>
                </a:lnTo>
                <a:lnTo>
                  <a:pt x="20" y="465"/>
                </a:lnTo>
                <a:lnTo>
                  <a:pt x="17" y="463"/>
                </a:lnTo>
                <a:lnTo>
                  <a:pt x="17" y="468"/>
                </a:lnTo>
                <a:lnTo>
                  <a:pt x="17" y="468"/>
                </a:lnTo>
                <a:lnTo>
                  <a:pt x="17" y="469"/>
                </a:lnTo>
                <a:lnTo>
                  <a:pt x="17" y="475"/>
                </a:lnTo>
                <a:lnTo>
                  <a:pt x="20" y="472"/>
                </a:lnTo>
                <a:lnTo>
                  <a:pt x="47" y="500"/>
                </a:lnTo>
                <a:lnTo>
                  <a:pt x="20" y="525"/>
                </a:lnTo>
                <a:lnTo>
                  <a:pt x="18" y="525"/>
                </a:lnTo>
                <a:lnTo>
                  <a:pt x="18" y="533"/>
                </a:lnTo>
                <a:lnTo>
                  <a:pt x="20" y="533"/>
                </a:lnTo>
                <a:lnTo>
                  <a:pt x="47" y="559"/>
                </a:lnTo>
                <a:lnTo>
                  <a:pt x="20" y="587"/>
                </a:lnTo>
                <a:lnTo>
                  <a:pt x="20" y="595"/>
                </a:lnTo>
                <a:lnTo>
                  <a:pt x="47" y="622"/>
                </a:lnTo>
                <a:lnTo>
                  <a:pt x="22" y="646"/>
                </a:lnTo>
                <a:lnTo>
                  <a:pt x="22" y="651"/>
                </a:lnTo>
                <a:lnTo>
                  <a:pt x="51" y="624"/>
                </a:lnTo>
                <a:lnTo>
                  <a:pt x="79" y="651"/>
                </a:lnTo>
                <a:lnTo>
                  <a:pt x="51" y="679"/>
                </a:lnTo>
                <a:lnTo>
                  <a:pt x="22" y="651"/>
                </a:lnTo>
                <a:lnTo>
                  <a:pt x="24" y="659"/>
                </a:lnTo>
                <a:lnTo>
                  <a:pt x="47" y="683"/>
                </a:lnTo>
                <a:lnTo>
                  <a:pt x="24" y="703"/>
                </a:lnTo>
                <a:lnTo>
                  <a:pt x="26" y="711"/>
                </a:lnTo>
                <a:lnTo>
                  <a:pt x="51" y="684"/>
                </a:lnTo>
                <a:lnTo>
                  <a:pt x="79" y="713"/>
                </a:lnTo>
                <a:lnTo>
                  <a:pt x="55" y="735"/>
                </a:lnTo>
                <a:lnTo>
                  <a:pt x="61" y="735"/>
                </a:lnTo>
                <a:lnTo>
                  <a:pt x="80" y="715"/>
                </a:lnTo>
                <a:lnTo>
                  <a:pt x="101" y="735"/>
                </a:lnTo>
                <a:lnTo>
                  <a:pt x="107" y="735"/>
                </a:lnTo>
                <a:lnTo>
                  <a:pt x="84" y="713"/>
                </a:lnTo>
                <a:lnTo>
                  <a:pt x="111" y="684"/>
                </a:lnTo>
                <a:lnTo>
                  <a:pt x="139" y="713"/>
                </a:lnTo>
                <a:lnTo>
                  <a:pt x="116" y="735"/>
                </a:lnTo>
                <a:lnTo>
                  <a:pt x="122" y="735"/>
                </a:lnTo>
                <a:lnTo>
                  <a:pt x="142" y="715"/>
                </a:lnTo>
                <a:lnTo>
                  <a:pt x="160" y="735"/>
                </a:lnTo>
                <a:lnTo>
                  <a:pt x="169" y="735"/>
                </a:lnTo>
                <a:lnTo>
                  <a:pt x="144" y="713"/>
                </a:lnTo>
                <a:lnTo>
                  <a:pt x="173" y="684"/>
                </a:lnTo>
                <a:lnTo>
                  <a:pt x="201" y="713"/>
                </a:lnTo>
                <a:lnTo>
                  <a:pt x="178" y="735"/>
                </a:lnTo>
                <a:lnTo>
                  <a:pt x="183" y="735"/>
                </a:lnTo>
                <a:lnTo>
                  <a:pt x="202" y="715"/>
                </a:lnTo>
                <a:lnTo>
                  <a:pt x="224" y="735"/>
                </a:lnTo>
                <a:lnTo>
                  <a:pt x="229" y="735"/>
                </a:lnTo>
                <a:lnTo>
                  <a:pt x="206" y="713"/>
                </a:lnTo>
                <a:lnTo>
                  <a:pt x="234" y="684"/>
                </a:lnTo>
                <a:lnTo>
                  <a:pt x="261" y="713"/>
                </a:lnTo>
                <a:lnTo>
                  <a:pt x="238" y="735"/>
                </a:lnTo>
                <a:lnTo>
                  <a:pt x="244" y="735"/>
                </a:lnTo>
                <a:lnTo>
                  <a:pt x="264" y="715"/>
                </a:lnTo>
                <a:lnTo>
                  <a:pt x="285" y="735"/>
                </a:lnTo>
                <a:lnTo>
                  <a:pt x="291" y="735"/>
                </a:lnTo>
                <a:lnTo>
                  <a:pt x="268" y="713"/>
                </a:lnTo>
                <a:lnTo>
                  <a:pt x="295" y="684"/>
                </a:lnTo>
                <a:lnTo>
                  <a:pt x="323" y="713"/>
                </a:lnTo>
                <a:lnTo>
                  <a:pt x="300" y="735"/>
                </a:lnTo>
                <a:lnTo>
                  <a:pt x="305" y="735"/>
                </a:lnTo>
                <a:lnTo>
                  <a:pt x="327" y="715"/>
                </a:lnTo>
                <a:lnTo>
                  <a:pt x="346" y="735"/>
                </a:lnTo>
                <a:lnTo>
                  <a:pt x="351" y="735"/>
                </a:lnTo>
                <a:lnTo>
                  <a:pt x="328" y="713"/>
                </a:lnTo>
                <a:lnTo>
                  <a:pt x="356" y="684"/>
                </a:lnTo>
                <a:lnTo>
                  <a:pt x="385" y="713"/>
                </a:lnTo>
                <a:lnTo>
                  <a:pt x="360" y="735"/>
                </a:lnTo>
                <a:lnTo>
                  <a:pt x="367" y="735"/>
                </a:lnTo>
                <a:lnTo>
                  <a:pt x="386" y="715"/>
                </a:lnTo>
                <a:lnTo>
                  <a:pt x="407" y="735"/>
                </a:lnTo>
                <a:lnTo>
                  <a:pt x="413" y="735"/>
                </a:lnTo>
                <a:lnTo>
                  <a:pt x="390" y="713"/>
                </a:lnTo>
                <a:lnTo>
                  <a:pt x="417" y="684"/>
                </a:lnTo>
                <a:lnTo>
                  <a:pt x="445" y="713"/>
                </a:lnTo>
                <a:lnTo>
                  <a:pt x="422" y="735"/>
                </a:lnTo>
                <a:lnTo>
                  <a:pt x="427" y="735"/>
                </a:lnTo>
                <a:lnTo>
                  <a:pt x="447" y="715"/>
                </a:lnTo>
                <a:lnTo>
                  <a:pt x="466" y="735"/>
                </a:lnTo>
                <a:lnTo>
                  <a:pt x="473" y="735"/>
                </a:lnTo>
                <a:lnTo>
                  <a:pt x="450" y="713"/>
                </a:lnTo>
                <a:lnTo>
                  <a:pt x="478" y="684"/>
                </a:lnTo>
                <a:lnTo>
                  <a:pt x="506" y="713"/>
                </a:lnTo>
                <a:lnTo>
                  <a:pt x="484" y="735"/>
                </a:lnTo>
                <a:lnTo>
                  <a:pt x="489" y="735"/>
                </a:lnTo>
                <a:lnTo>
                  <a:pt x="508" y="715"/>
                </a:lnTo>
                <a:lnTo>
                  <a:pt x="529" y="735"/>
                </a:lnTo>
                <a:lnTo>
                  <a:pt x="535" y="735"/>
                </a:lnTo>
                <a:lnTo>
                  <a:pt x="512" y="713"/>
                </a:lnTo>
                <a:lnTo>
                  <a:pt x="540" y="684"/>
                </a:lnTo>
                <a:lnTo>
                  <a:pt x="567" y="713"/>
                </a:lnTo>
                <a:lnTo>
                  <a:pt x="544" y="735"/>
                </a:lnTo>
                <a:lnTo>
                  <a:pt x="549" y="735"/>
                </a:lnTo>
                <a:lnTo>
                  <a:pt x="570" y="715"/>
                </a:lnTo>
                <a:lnTo>
                  <a:pt x="588" y="735"/>
                </a:lnTo>
                <a:lnTo>
                  <a:pt x="596" y="735"/>
                </a:lnTo>
                <a:lnTo>
                  <a:pt x="574" y="713"/>
                </a:lnTo>
                <a:lnTo>
                  <a:pt x="600" y="684"/>
                </a:lnTo>
                <a:lnTo>
                  <a:pt x="623" y="706"/>
                </a:lnTo>
                <a:lnTo>
                  <a:pt x="623" y="699"/>
                </a:lnTo>
                <a:lnTo>
                  <a:pt x="604" y="683"/>
                </a:lnTo>
                <a:lnTo>
                  <a:pt x="625" y="662"/>
                </a:lnTo>
                <a:close/>
                <a:moveTo>
                  <a:pt x="598" y="622"/>
                </a:moveTo>
                <a:lnTo>
                  <a:pt x="570" y="650"/>
                </a:lnTo>
                <a:lnTo>
                  <a:pt x="541" y="622"/>
                </a:lnTo>
                <a:lnTo>
                  <a:pt x="570" y="594"/>
                </a:lnTo>
                <a:lnTo>
                  <a:pt x="598" y="622"/>
                </a:lnTo>
                <a:close/>
                <a:moveTo>
                  <a:pt x="206" y="346"/>
                </a:moveTo>
                <a:lnTo>
                  <a:pt x="234" y="320"/>
                </a:lnTo>
                <a:lnTo>
                  <a:pt x="261" y="346"/>
                </a:lnTo>
                <a:lnTo>
                  <a:pt x="234" y="374"/>
                </a:lnTo>
                <a:lnTo>
                  <a:pt x="206" y="346"/>
                </a:lnTo>
                <a:close/>
                <a:moveTo>
                  <a:pt x="230" y="378"/>
                </a:moveTo>
                <a:lnTo>
                  <a:pt x="202" y="404"/>
                </a:lnTo>
                <a:lnTo>
                  <a:pt x="177" y="378"/>
                </a:lnTo>
                <a:lnTo>
                  <a:pt x="202" y="350"/>
                </a:lnTo>
                <a:lnTo>
                  <a:pt x="230" y="378"/>
                </a:lnTo>
                <a:close/>
                <a:moveTo>
                  <a:pt x="264" y="350"/>
                </a:moveTo>
                <a:lnTo>
                  <a:pt x="292" y="378"/>
                </a:lnTo>
                <a:lnTo>
                  <a:pt x="264" y="404"/>
                </a:lnTo>
                <a:lnTo>
                  <a:pt x="236" y="378"/>
                </a:lnTo>
                <a:lnTo>
                  <a:pt x="264" y="350"/>
                </a:lnTo>
                <a:close/>
                <a:moveTo>
                  <a:pt x="268" y="346"/>
                </a:moveTo>
                <a:lnTo>
                  <a:pt x="295" y="320"/>
                </a:lnTo>
                <a:lnTo>
                  <a:pt x="323" y="346"/>
                </a:lnTo>
                <a:lnTo>
                  <a:pt x="295" y="374"/>
                </a:lnTo>
                <a:lnTo>
                  <a:pt x="268" y="346"/>
                </a:lnTo>
                <a:close/>
                <a:moveTo>
                  <a:pt x="327" y="350"/>
                </a:moveTo>
                <a:lnTo>
                  <a:pt x="352" y="378"/>
                </a:lnTo>
                <a:lnTo>
                  <a:pt x="327" y="404"/>
                </a:lnTo>
                <a:lnTo>
                  <a:pt x="299" y="378"/>
                </a:lnTo>
                <a:lnTo>
                  <a:pt x="327" y="350"/>
                </a:lnTo>
                <a:close/>
                <a:moveTo>
                  <a:pt x="328" y="346"/>
                </a:moveTo>
                <a:lnTo>
                  <a:pt x="356" y="320"/>
                </a:lnTo>
                <a:lnTo>
                  <a:pt x="385" y="346"/>
                </a:lnTo>
                <a:lnTo>
                  <a:pt x="356" y="374"/>
                </a:lnTo>
                <a:lnTo>
                  <a:pt x="328" y="346"/>
                </a:lnTo>
                <a:close/>
                <a:moveTo>
                  <a:pt x="386" y="350"/>
                </a:moveTo>
                <a:lnTo>
                  <a:pt x="414" y="378"/>
                </a:lnTo>
                <a:lnTo>
                  <a:pt x="386" y="404"/>
                </a:lnTo>
                <a:lnTo>
                  <a:pt x="358" y="378"/>
                </a:lnTo>
                <a:lnTo>
                  <a:pt x="386" y="350"/>
                </a:lnTo>
                <a:close/>
                <a:moveTo>
                  <a:pt x="390" y="346"/>
                </a:moveTo>
                <a:lnTo>
                  <a:pt x="417" y="320"/>
                </a:lnTo>
                <a:lnTo>
                  <a:pt x="445" y="346"/>
                </a:lnTo>
                <a:lnTo>
                  <a:pt x="417" y="374"/>
                </a:lnTo>
                <a:lnTo>
                  <a:pt x="390" y="346"/>
                </a:lnTo>
                <a:close/>
                <a:moveTo>
                  <a:pt x="447" y="350"/>
                </a:moveTo>
                <a:lnTo>
                  <a:pt x="474" y="378"/>
                </a:lnTo>
                <a:lnTo>
                  <a:pt x="447" y="404"/>
                </a:lnTo>
                <a:lnTo>
                  <a:pt x="419" y="378"/>
                </a:lnTo>
                <a:lnTo>
                  <a:pt x="447" y="350"/>
                </a:lnTo>
                <a:close/>
                <a:moveTo>
                  <a:pt x="450" y="346"/>
                </a:moveTo>
                <a:lnTo>
                  <a:pt x="478" y="320"/>
                </a:lnTo>
                <a:lnTo>
                  <a:pt x="506" y="346"/>
                </a:lnTo>
                <a:lnTo>
                  <a:pt x="478" y="374"/>
                </a:lnTo>
                <a:lnTo>
                  <a:pt x="450" y="346"/>
                </a:lnTo>
                <a:close/>
                <a:moveTo>
                  <a:pt x="450" y="286"/>
                </a:moveTo>
                <a:lnTo>
                  <a:pt x="478" y="258"/>
                </a:lnTo>
                <a:lnTo>
                  <a:pt x="506" y="286"/>
                </a:lnTo>
                <a:lnTo>
                  <a:pt x="478" y="313"/>
                </a:lnTo>
                <a:lnTo>
                  <a:pt x="450" y="286"/>
                </a:lnTo>
                <a:close/>
                <a:moveTo>
                  <a:pt x="474" y="316"/>
                </a:moveTo>
                <a:lnTo>
                  <a:pt x="447" y="344"/>
                </a:lnTo>
                <a:lnTo>
                  <a:pt x="419" y="316"/>
                </a:lnTo>
                <a:lnTo>
                  <a:pt x="447" y="287"/>
                </a:lnTo>
                <a:lnTo>
                  <a:pt x="474" y="316"/>
                </a:lnTo>
                <a:close/>
                <a:moveTo>
                  <a:pt x="417" y="313"/>
                </a:moveTo>
                <a:lnTo>
                  <a:pt x="390" y="286"/>
                </a:lnTo>
                <a:lnTo>
                  <a:pt x="417" y="258"/>
                </a:lnTo>
                <a:lnTo>
                  <a:pt x="445" y="286"/>
                </a:lnTo>
                <a:lnTo>
                  <a:pt x="417" y="313"/>
                </a:lnTo>
                <a:close/>
                <a:moveTo>
                  <a:pt x="414" y="316"/>
                </a:moveTo>
                <a:lnTo>
                  <a:pt x="386" y="344"/>
                </a:lnTo>
                <a:lnTo>
                  <a:pt x="358" y="316"/>
                </a:lnTo>
                <a:lnTo>
                  <a:pt x="386" y="287"/>
                </a:lnTo>
                <a:lnTo>
                  <a:pt x="414" y="316"/>
                </a:lnTo>
                <a:close/>
                <a:moveTo>
                  <a:pt x="356" y="313"/>
                </a:moveTo>
                <a:lnTo>
                  <a:pt x="328" y="286"/>
                </a:lnTo>
                <a:lnTo>
                  <a:pt x="356" y="258"/>
                </a:lnTo>
                <a:lnTo>
                  <a:pt x="385" y="286"/>
                </a:lnTo>
                <a:lnTo>
                  <a:pt x="356" y="313"/>
                </a:lnTo>
                <a:close/>
                <a:moveTo>
                  <a:pt x="352" y="316"/>
                </a:moveTo>
                <a:lnTo>
                  <a:pt x="327" y="344"/>
                </a:lnTo>
                <a:lnTo>
                  <a:pt x="299" y="316"/>
                </a:lnTo>
                <a:lnTo>
                  <a:pt x="327" y="287"/>
                </a:lnTo>
                <a:lnTo>
                  <a:pt x="352" y="316"/>
                </a:lnTo>
                <a:close/>
                <a:moveTo>
                  <a:pt x="295" y="313"/>
                </a:moveTo>
                <a:lnTo>
                  <a:pt x="268" y="286"/>
                </a:lnTo>
                <a:lnTo>
                  <a:pt x="295" y="258"/>
                </a:lnTo>
                <a:lnTo>
                  <a:pt x="323" y="286"/>
                </a:lnTo>
                <a:lnTo>
                  <a:pt x="295" y="313"/>
                </a:lnTo>
                <a:close/>
                <a:moveTo>
                  <a:pt x="292" y="316"/>
                </a:moveTo>
                <a:lnTo>
                  <a:pt x="264" y="344"/>
                </a:lnTo>
                <a:lnTo>
                  <a:pt x="236" y="316"/>
                </a:lnTo>
                <a:lnTo>
                  <a:pt x="264" y="287"/>
                </a:lnTo>
                <a:lnTo>
                  <a:pt x="292" y="316"/>
                </a:lnTo>
                <a:close/>
                <a:moveTo>
                  <a:pt x="234" y="313"/>
                </a:moveTo>
                <a:lnTo>
                  <a:pt x="206" y="286"/>
                </a:lnTo>
                <a:lnTo>
                  <a:pt x="234" y="258"/>
                </a:lnTo>
                <a:lnTo>
                  <a:pt x="261" y="286"/>
                </a:lnTo>
                <a:lnTo>
                  <a:pt x="234" y="313"/>
                </a:lnTo>
                <a:close/>
                <a:moveTo>
                  <a:pt x="230" y="316"/>
                </a:moveTo>
                <a:lnTo>
                  <a:pt x="202" y="344"/>
                </a:lnTo>
                <a:lnTo>
                  <a:pt x="177" y="316"/>
                </a:lnTo>
                <a:lnTo>
                  <a:pt x="202" y="287"/>
                </a:lnTo>
                <a:lnTo>
                  <a:pt x="230" y="316"/>
                </a:lnTo>
                <a:close/>
                <a:moveTo>
                  <a:pt x="173" y="313"/>
                </a:moveTo>
                <a:lnTo>
                  <a:pt x="144" y="286"/>
                </a:lnTo>
                <a:lnTo>
                  <a:pt x="173" y="258"/>
                </a:lnTo>
                <a:lnTo>
                  <a:pt x="201" y="286"/>
                </a:lnTo>
                <a:lnTo>
                  <a:pt x="173" y="313"/>
                </a:lnTo>
                <a:close/>
                <a:moveTo>
                  <a:pt x="201" y="346"/>
                </a:moveTo>
                <a:lnTo>
                  <a:pt x="173" y="374"/>
                </a:lnTo>
                <a:lnTo>
                  <a:pt x="144" y="346"/>
                </a:lnTo>
                <a:lnTo>
                  <a:pt x="173" y="320"/>
                </a:lnTo>
                <a:lnTo>
                  <a:pt x="201" y="346"/>
                </a:lnTo>
                <a:close/>
                <a:moveTo>
                  <a:pt x="201" y="408"/>
                </a:moveTo>
                <a:lnTo>
                  <a:pt x="173" y="436"/>
                </a:lnTo>
                <a:lnTo>
                  <a:pt x="144" y="408"/>
                </a:lnTo>
                <a:lnTo>
                  <a:pt x="173" y="380"/>
                </a:lnTo>
                <a:lnTo>
                  <a:pt x="201" y="408"/>
                </a:lnTo>
                <a:close/>
                <a:moveTo>
                  <a:pt x="202" y="409"/>
                </a:moveTo>
                <a:lnTo>
                  <a:pt x="230" y="437"/>
                </a:lnTo>
                <a:lnTo>
                  <a:pt x="202" y="465"/>
                </a:lnTo>
                <a:lnTo>
                  <a:pt x="177" y="437"/>
                </a:lnTo>
                <a:lnTo>
                  <a:pt x="202" y="409"/>
                </a:lnTo>
                <a:close/>
                <a:moveTo>
                  <a:pt x="206" y="408"/>
                </a:moveTo>
                <a:lnTo>
                  <a:pt x="234" y="380"/>
                </a:lnTo>
                <a:lnTo>
                  <a:pt x="261" y="408"/>
                </a:lnTo>
                <a:lnTo>
                  <a:pt x="234" y="436"/>
                </a:lnTo>
                <a:lnTo>
                  <a:pt x="206" y="408"/>
                </a:lnTo>
                <a:close/>
                <a:moveTo>
                  <a:pt x="264" y="409"/>
                </a:moveTo>
                <a:lnTo>
                  <a:pt x="292" y="437"/>
                </a:lnTo>
                <a:lnTo>
                  <a:pt x="264" y="465"/>
                </a:lnTo>
                <a:lnTo>
                  <a:pt x="236" y="437"/>
                </a:lnTo>
                <a:lnTo>
                  <a:pt x="264" y="409"/>
                </a:lnTo>
                <a:close/>
                <a:moveTo>
                  <a:pt x="268" y="408"/>
                </a:moveTo>
                <a:lnTo>
                  <a:pt x="295" y="380"/>
                </a:lnTo>
                <a:lnTo>
                  <a:pt x="323" y="408"/>
                </a:lnTo>
                <a:lnTo>
                  <a:pt x="295" y="436"/>
                </a:lnTo>
                <a:lnTo>
                  <a:pt x="268" y="408"/>
                </a:lnTo>
                <a:close/>
                <a:moveTo>
                  <a:pt x="327" y="409"/>
                </a:moveTo>
                <a:lnTo>
                  <a:pt x="352" y="437"/>
                </a:lnTo>
                <a:lnTo>
                  <a:pt x="327" y="465"/>
                </a:lnTo>
                <a:lnTo>
                  <a:pt x="299" y="437"/>
                </a:lnTo>
                <a:lnTo>
                  <a:pt x="327" y="409"/>
                </a:lnTo>
                <a:close/>
                <a:moveTo>
                  <a:pt x="328" y="408"/>
                </a:moveTo>
                <a:lnTo>
                  <a:pt x="356" y="380"/>
                </a:lnTo>
                <a:lnTo>
                  <a:pt x="385" y="408"/>
                </a:lnTo>
                <a:lnTo>
                  <a:pt x="356" y="436"/>
                </a:lnTo>
                <a:lnTo>
                  <a:pt x="328" y="408"/>
                </a:lnTo>
                <a:close/>
                <a:moveTo>
                  <a:pt x="386" y="409"/>
                </a:moveTo>
                <a:lnTo>
                  <a:pt x="414" y="437"/>
                </a:lnTo>
                <a:lnTo>
                  <a:pt x="386" y="465"/>
                </a:lnTo>
                <a:lnTo>
                  <a:pt x="358" y="437"/>
                </a:lnTo>
                <a:lnTo>
                  <a:pt x="386" y="409"/>
                </a:lnTo>
                <a:close/>
                <a:moveTo>
                  <a:pt x="390" y="408"/>
                </a:moveTo>
                <a:lnTo>
                  <a:pt x="417" y="380"/>
                </a:lnTo>
                <a:lnTo>
                  <a:pt x="445" y="408"/>
                </a:lnTo>
                <a:lnTo>
                  <a:pt x="417" y="436"/>
                </a:lnTo>
                <a:lnTo>
                  <a:pt x="390" y="408"/>
                </a:lnTo>
                <a:close/>
                <a:moveTo>
                  <a:pt x="447" y="409"/>
                </a:moveTo>
                <a:lnTo>
                  <a:pt x="474" y="437"/>
                </a:lnTo>
                <a:lnTo>
                  <a:pt x="447" y="465"/>
                </a:lnTo>
                <a:lnTo>
                  <a:pt x="419" y="437"/>
                </a:lnTo>
                <a:lnTo>
                  <a:pt x="447" y="409"/>
                </a:lnTo>
                <a:close/>
                <a:moveTo>
                  <a:pt x="450" y="408"/>
                </a:moveTo>
                <a:lnTo>
                  <a:pt x="478" y="380"/>
                </a:lnTo>
                <a:lnTo>
                  <a:pt x="506" y="408"/>
                </a:lnTo>
                <a:lnTo>
                  <a:pt x="478" y="436"/>
                </a:lnTo>
                <a:lnTo>
                  <a:pt x="450" y="408"/>
                </a:lnTo>
                <a:close/>
                <a:moveTo>
                  <a:pt x="508" y="409"/>
                </a:moveTo>
                <a:lnTo>
                  <a:pt x="536" y="437"/>
                </a:lnTo>
                <a:lnTo>
                  <a:pt x="508" y="465"/>
                </a:lnTo>
                <a:lnTo>
                  <a:pt x="482" y="437"/>
                </a:lnTo>
                <a:lnTo>
                  <a:pt x="508" y="409"/>
                </a:lnTo>
                <a:close/>
                <a:moveTo>
                  <a:pt x="482" y="378"/>
                </a:moveTo>
                <a:lnTo>
                  <a:pt x="508" y="350"/>
                </a:lnTo>
                <a:lnTo>
                  <a:pt x="536" y="378"/>
                </a:lnTo>
                <a:lnTo>
                  <a:pt x="508" y="404"/>
                </a:lnTo>
                <a:lnTo>
                  <a:pt x="482" y="378"/>
                </a:lnTo>
                <a:close/>
                <a:moveTo>
                  <a:pt x="482" y="316"/>
                </a:moveTo>
                <a:lnTo>
                  <a:pt x="508" y="287"/>
                </a:lnTo>
                <a:lnTo>
                  <a:pt x="536" y="316"/>
                </a:lnTo>
                <a:lnTo>
                  <a:pt x="508" y="344"/>
                </a:lnTo>
                <a:lnTo>
                  <a:pt x="482" y="316"/>
                </a:lnTo>
                <a:close/>
                <a:moveTo>
                  <a:pt x="482" y="254"/>
                </a:moveTo>
                <a:lnTo>
                  <a:pt x="508" y="229"/>
                </a:lnTo>
                <a:lnTo>
                  <a:pt x="536" y="254"/>
                </a:lnTo>
                <a:lnTo>
                  <a:pt x="508" y="282"/>
                </a:lnTo>
                <a:lnTo>
                  <a:pt x="482" y="254"/>
                </a:lnTo>
                <a:close/>
                <a:moveTo>
                  <a:pt x="478" y="253"/>
                </a:moveTo>
                <a:lnTo>
                  <a:pt x="450" y="225"/>
                </a:lnTo>
                <a:lnTo>
                  <a:pt x="478" y="197"/>
                </a:lnTo>
                <a:lnTo>
                  <a:pt x="506" y="225"/>
                </a:lnTo>
                <a:lnTo>
                  <a:pt x="478" y="253"/>
                </a:lnTo>
                <a:close/>
                <a:moveTo>
                  <a:pt x="474" y="254"/>
                </a:moveTo>
                <a:lnTo>
                  <a:pt x="447" y="282"/>
                </a:lnTo>
                <a:lnTo>
                  <a:pt x="419" y="254"/>
                </a:lnTo>
                <a:lnTo>
                  <a:pt x="447" y="229"/>
                </a:lnTo>
                <a:lnTo>
                  <a:pt x="474" y="254"/>
                </a:lnTo>
                <a:close/>
                <a:moveTo>
                  <a:pt x="417" y="253"/>
                </a:moveTo>
                <a:lnTo>
                  <a:pt x="390" y="225"/>
                </a:lnTo>
                <a:lnTo>
                  <a:pt x="417" y="197"/>
                </a:lnTo>
                <a:lnTo>
                  <a:pt x="445" y="225"/>
                </a:lnTo>
                <a:lnTo>
                  <a:pt x="417" y="253"/>
                </a:lnTo>
                <a:close/>
                <a:moveTo>
                  <a:pt x="414" y="254"/>
                </a:moveTo>
                <a:lnTo>
                  <a:pt x="386" y="282"/>
                </a:lnTo>
                <a:lnTo>
                  <a:pt x="358" y="254"/>
                </a:lnTo>
                <a:lnTo>
                  <a:pt x="386" y="229"/>
                </a:lnTo>
                <a:lnTo>
                  <a:pt x="414" y="254"/>
                </a:lnTo>
                <a:close/>
                <a:moveTo>
                  <a:pt x="356" y="253"/>
                </a:moveTo>
                <a:lnTo>
                  <a:pt x="328" y="225"/>
                </a:lnTo>
                <a:lnTo>
                  <a:pt x="356" y="197"/>
                </a:lnTo>
                <a:lnTo>
                  <a:pt x="385" y="225"/>
                </a:lnTo>
                <a:lnTo>
                  <a:pt x="356" y="253"/>
                </a:lnTo>
                <a:close/>
                <a:moveTo>
                  <a:pt x="352" y="254"/>
                </a:moveTo>
                <a:lnTo>
                  <a:pt x="327" y="282"/>
                </a:lnTo>
                <a:lnTo>
                  <a:pt x="299" y="254"/>
                </a:lnTo>
                <a:lnTo>
                  <a:pt x="327" y="229"/>
                </a:lnTo>
                <a:lnTo>
                  <a:pt x="352" y="254"/>
                </a:lnTo>
                <a:close/>
                <a:moveTo>
                  <a:pt x="295" y="253"/>
                </a:moveTo>
                <a:lnTo>
                  <a:pt x="268" y="225"/>
                </a:lnTo>
                <a:lnTo>
                  <a:pt x="295" y="197"/>
                </a:lnTo>
                <a:lnTo>
                  <a:pt x="323" y="225"/>
                </a:lnTo>
                <a:lnTo>
                  <a:pt x="295" y="253"/>
                </a:lnTo>
                <a:close/>
                <a:moveTo>
                  <a:pt x="292" y="254"/>
                </a:moveTo>
                <a:lnTo>
                  <a:pt x="264" y="282"/>
                </a:lnTo>
                <a:lnTo>
                  <a:pt x="236" y="254"/>
                </a:lnTo>
                <a:lnTo>
                  <a:pt x="264" y="229"/>
                </a:lnTo>
                <a:lnTo>
                  <a:pt x="292" y="254"/>
                </a:lnTo>
                <a:close/>
                <a:moveTo>
                  <a:pt x="234" y="253"/>
                </a:moveTo>
                <a:lnTo>
                  <a:pt x="206" y="225"/>
                </a:lnTo>
                <a:lnTo>
                  <a:pt x="234" y="197"/>
                </a:lnTo>
                <a:lnTo>
                  <a:pt x="261" y="225"/>
                </a:lnTo>
                <a:lnTo>
                  <a:pt x="234" y="253"/>
                </a:lnTo>
                <a:close/>
                <a:moveTo>
                  <a:pt x="230" y="254"/>
                </a:moveTo>
                <a:lnTo>
                  <a:pt x="202" y="282"/>
                </a:lnTo>
                <a:lnTo>
                  <a:pt x="177" y="254"/>
                </a:lnTo>
                <a:lnTo>
                  <a:pt x="202" y="229"/>
                </a:lnTo>
                <a:lnTo>
                  <a:pt x="230" y="254"/>
                </a:lnTo>
                <a:close/>
                <a:moveTo>
                  <a:pt x="173" y="253"/>
                </a:moveTo>
                <a:lnTo>
                  <a:pt x="144" y="225"/>
                </a:lnTo>
                <a:lnTo>
                  <a:pt x="173" y="197"/>
                </a:lnTo>
                <a:lnTo>
                  <a:pt x="201" y="225"/>
                </a:lnTo>
                <a:lnTo>
                  <a:pt x="173" y="253"/>
                </a:lnTo>
                <a:close/>
                <a:moveTo>
                  <a:pt x="169" y="254"/>
                </a:moveTo>
                <a:lnTo>
                  <a:pt x="142" y="282"/>
                </a:lnTo>
                <a:lnTo>
                  <a:pt x="114" y="254"/>
                </a:lnTo>
                <a:lnTo>
                  <a:pt x="142" y="229"/>
                </a:lnTo>
                <a:lnTo>
                  <a:pt x="169" y="254"/>
                </a:lnTo>
                <a:close/>
                <a:moveTo>
                  <a:pt x="169" y="316"/>
                </a:moveTo>
                <a:lnTo>
                  <a:pt x="142" y="344"/>
                </a:lnTo>
                <a:lnTo>
                  <a:pt x="114" y="316"/>
                </a:lnTo>
                <a:lnTo>
                  <a:pt x="142" y="287"/>
                </a:lnTo>
                <a:lnTo>
                  <a:pt x="169" y="316"/>
                </a:lnTo>
                <a:close/>
                <a:moveTo>
                  <a:pt x="169" y="378"/>
                </a:moveTo>
                <a:lnTo>
                  <a:pt x="142" y="404"/>
                </a:lnTo>
                <a:lnTo>
                  <a:pt x="114" y="378"/>
                </a:lnTo>
                <a:lnTo>
                  <a:pt x="142" y="350"/>
                </a:lnTo>
                <a:lnTo>
                  <a:pt x="169" y="378"/>
                </a:lnTo>
                <a:close/>
                <a:moveTo>
                  <a:pt x="169" y="437"/>
                </a:moveTo>
                <a:lnTo>
                  <a:pt x="142" y="465"/>
                </a:lnTo>
                <a:lnTo>
                  <a:pt x="114" y="437"/>
                </a:lnTo>
                <a:lnTo>
                  <a:pt x="142" y="409"/>
                </a:lnTo>
                <a:lnTo>
                  <a:pt x="169" y="437"/>
                </a:lnTo>
                <a:close/>
                <a:moveTo>
                  <a:pt x="169" y="500"/>
                </a:moveTo>
                <a:lnTo>
                  <a:pt x="142" y="525"/>
                </a:lnTo>
                <a:lnTo>
                  <a:pt x="114" y="500"/>
                </a:lnTo>
                <a:lnTo>
                  <a:pt x="142" y="472"/>
                </a:lnTo>
                <a:lnTo>
                  <a:pt x="169" y="500"/>
                </a:lnTo>
                <a:close/>
                <a:moveTo>
                  <a:pt x="144" y="468"/>
                </a:moveTo>
                <a:lnTo>
                  <a:pt x="173" y="441"/>
                </a:lnTo>
                <a:lnTo>
                  <a:pt x="201" y="468"/>
                </a:lnTo>
                <a:lnTo>
                  <a:pt x="173" y="496"/>
                </a:lnTo>
                <a:lnTo>
                  <a:pt x="144" y="468"/>
                </a:lnTo>
                <a:close/>
                <a:moveTo>
                  <a:pt x="202" y="472"/>
                </a:moveTo>
                <a:lnTo>
                  <a:pt x="230" y="500"/>
                </a:lnTo>
                <a:lnTo>
                  <a:pt x="202" y="525"/>
                </a:lnTo>
                <a:lnTo>
                  <a:pt x="177" y="500"/>
                </a:lnTo>
                <a:lnTo>
                  <a:pt x="202" y="472"/>
                </a:lnTo>
                <a:close/>
                <a:moveTo>
                  <a:pt x="206" y="468"/>
                </a:moveTo>
                <a:lnTo>
                  <a:pt x="234" y="441"/>
                </a:lnTo>
                <a:lnTo>
                  <a:pt x="261" y="468"/>
                </a:lnTo>
                <a:lnTo>
                  <a:pt x="234" y="496"/>
                </a:lnTo>
                <a:lnTo>
                  <a:pt x="206" y="468"/>
                </a:lnTo>
                <a:close/>
                <a:moveTo>
                  <a:pt x="264" y="472"/>
                </a:moveTo>
                <a:lnTo>
                  <a:pt x="292" y="500"/>
                </a:lnTo>
                <a:lnTo>
                  <a:pt x="264" y="525"/>
                </a:lnTo>
                <a:lnTo>
                  <a:pt x="236" y="500"/>
                </a:lnTo>
                <a:lnTo>
                  <a:pt x="264" y="472"/>
                </a:lnTo>
                <a:close/>
                <a:moveTo>
                  <a:pt x="268" y="468"/>
                </a:moveTo>
                <a:lnTo>
                  <a:pt x="295" y="441"/>
                </a:lnTo>
                <a:lnTo>
                  <a:pt x="323" y="468"/>
                </a:lnTo>
                <a:lnTo>
                  <a:pt x="295" y="496"/>
                </a:lnTo>
                <a:lnTo>
                  <a:pt x="268" y="468"/>
                </a:lnTo>
                <a:close/>
                <a:moveTo>
                  <a:pt x="327" y="472"/>
                </a:moveTo>
                <a:lnTo>
                  <a:pt x="352" y="500"/>
                </a:lnTo>
                <a:lnTo>
                  <a:pt x="327" y="525"/>
                </a:lnTo>
                <a:lnTo>
                  <a:pt x="299" y="500"/>
                </a:lnTo>
                <a:lnTo>
                  <a:pt x="327" y="472"/>
                </a:lnTo>
                <a:close/>
                <a:moveTo>
                  <a:pt x="328" y="468"/>
                </a:moveTo>
                <a:lnTo>
                  <a:pt x="356" y="441"/>
                </a:lnTo>
                <a:lnTo>
                  <a:pt x="385" y="468"/>
                </a:lnTo>
                <a:lnTo>
                  <a:pt x="356" y="496"/>
                </a:lnTo>
                <a:lnTo>
                  <a:pt x="328" y="468"/>
                </a:lnTo>
                <a:close/>
                <a:moveTo>
                  <a:pt x="386" y="472"/>
                </a:moveTo>
                <a:lnTo>
                  <a:pt x="414" y="500"/>
                </a:lnTo>
                <a:lnTo>
                  <a:pt x="386" y="525"/>
                </a:lnTo>
                <a:lnTo>
                  <a:pt x="358" y="500"/>
                </a:lnTo>
                <a:lnTo>
                  <a:pt x="386" y="472"/>
                </a:lnTo>
                <a:close/>
                <a:moveTo>
                  <a:pt x="390" y="468"/>
                </a:moveTo>
                <a:lnTo>
                  <a:pt x="417" y="441"/>
                </a:lnTo>
                <a:lnTo>
                  <a:pt x="445" y="468"/>
                </a:lnTo>
                <a:lnTo>
                  <a:pt x="417" y="496"/>
                </a:lnTo>
                <a:lnTo>
                  <a:pt x="390" y="468"/>
                </a:lnTo>
                <a:close/>
                <a:moveTo>
                  <a:pt x="447" y="472"/>
                </a:moveTo>
                <a:lnTo>
                  <a:pt x="474" y="500"/>
                </a:lnTo>
                <a:lnTo>
                  <a:pt x="447" y="525"/>
                </a:lnTo>
                <a:lnTo>
                  <a:pt x="419" y="500"/>
                </a:lnTo>
                <a:lnTo>
                  <a:pt x="447" y="472"/>
                </a:lnTo>
                <a:close/>
                <a:moveTo>
                  <a:pt x="450" y="468"/>
                </a:moveTo>
                <a:lnTo>
                  <a:pt x="478" y="441"/>
                </a:lnTo>
                <a:lnTo>
                  <a:pt x="506" y="468"/>
                </a:lnTo>
                <a:lnTo>
                  <a:pt x="478" y="496"/>
                </a:lnTo>
                <a:lnTo>
                  <a:pt x="450" y="468"/>
                </a:lnTo>
                <a:close/>
                <a:moveTo>
                  <a:pt x="508" y="472"/>
                </a:moveTo>
                <a:lnTo>
                  <a:pt x="536" y="500"/>
                </a:lnTo>
                <a:lnTo>
                  <a:pt x="508" y="525"/>
                </a:lnTo>
                <a:lnTo>
                  <a:pt x="482" y="500"/>
                </a:lnTo>
                <a:lnTo>
                  <a:pt x="508" y="472"/>
                </a:lnTo>
                <a:close/>
                <a:moveTo>
                  <a:pt x="512" y="468"/>
                </a:moveTo>
                <a:lnTo>
                  <a:pt x="540" y="441"/>
                </a:lnTo>
                <a:lnTo>
                  <a:pt x="567" y="468"/>
                </a:lnTo>
                <a:lnTo>
                  <a:pt x="540" y="496"/>
                </a:lnTo>
                <a:lnTo>
                  <a:pt x="512" y="468"/>
                </a:lnTo>
                <a:close/>
                <a:moveTo>
                  <a:pt x="512" y="408"/>
                </a:moveTo>
                <a:lnTo>
                  <a:pt x="540" y="380"/>
                </a:lnTo>
                <a:lnTo>
                  <a:pt x="567" y="408"/>
                </a:lnTo>
                <a:lnTo>
                  <a:pt x="540" y="436"/>
                </a:lnTo>
                <a:lnTo>
                  <a:pt x="512" y="408"/>
                </a:lnTo>
                <a:close/>
                <a:moveTo>
                  <a:pt x="512" y="346"/>
                </a:moveTo>
                <a:lnTo>
                  <a:pt x="540" y="320"/>
                </a:lnTo>
                <a:lnTo>
                  <a:pt x="567" y="346"/>
                </a:lnTo>
                <a:lnTo>
                  <a:pt x="540" y="374"/>
                </a:lnTo>
                <a:lnTo>
                  <a:pt x="512" y="346"/>
                </a:lnTo>
                <a:close/>
                <a:moveTo>
                  <a:pt x="512" y="286"/>
                </a:moveTo>
                <a:lnTo>
                  <a:pt x="540" y="258"/>
                </a:lnTo>
                <a:lnTo>
                  <a:pt x="567" y="286"/>
                </a:lnTo>
                <a:lnTo>
                  <a:pt x="540" y="313"/>
                </a:lnTo>
                <a:lnTo>
                  <a:pt x="512" y="286"/>
                </a:lnTo>
                <a:close/>
                <a:moveTo>
                  <a:pt x="512" y="225"/>
                </a:moveTo>
                <a:lnTo>
                  <a:pt x="540" y="197"/>
                </a:lnTo>
                <a:lnTo>
                  <a:pt x="567" y="225"/>
                </a:lnTo>
                <a:lnTo>
                  <a:pt x="540" y="253"/>
                </a:lnTo>
                <a:lnTo>
                  <a:pt x="512" y="225"/>
                </a:lnTo>
                <a:close/>
                <a:moveTo>
                  <a:pt x="512" y="163"/>
                </a:moveTo>
                <a:lnTo>
                  <a:pt x="540" y="136"/>
                </a:lnTo>
                <a:lnTo>
                  <a:pt x="567" y="163"/>
                </a:lnTo>
                <a:lnTo>
                  <a:pt x="540" y="191"/>
                </a:lnTo>
                <a:lnTo>
                  <a:pt x="512" y="163"/>
                </a:lnTo>
                <a:close/>
                <a:moveTo>
                  <a:pt x="536" y="195"/>
                </a:moveTo>
                <a:lnTo>
                  <a:pt x="508" y="221"/>
                </a:lnTo>
                <a:lnTo>
                  <a:pt x="482" y="195"/>
                </a:lnTo>
                <a:lnTo>
                  <a:pt x="508" y="167"/>
                </a:lnTo>
                <a:lnTo>
                  <a:pt x="536" y="195"/>
                </a:lnTo>
                <a:close/>
                <a:moveTo>
                  <a:pt x="478" y="191"/>
                </a:moveTo>
                <a:lnTo>
                  <a:pt x="450" y="163"/>
                </a:lnTo>
                <a:lnTo>
                  <a:pt x="478" y="136"/>
                </a:lnTo>
                <a:lnTo>
                  <a:pt x="506" y="163"/>
                </a:lnTo>
                <a:lnTo>
                  <a:pt x="478" y="191"/>
                </a:lnTo>
                <a:close/>
                <a:moveTo>
                  <a:pt x="474" y="195"/>
                </a:moveTo>
                <a:lnTo>
                  <a:pt x="447" y="221"/>
                </a:lnTo>
                <a:lnTo>
                  <a:pt x="419" y="195"/>
                </a:lnTo>
                <a:lnTo>
                  <a:pt x="447" y="167"/>
                </a:lnTo>
                <a:lnTo>
                  <a:pt x="474" y="195"/>
                </a:lnTo>
                <a:close/>
                <a:moveTo>
                  <a:pt x="417" y="191"/>
                </a:moveTo>
                <a:lnTo>
                  <a:pt x="390" y="163"/>
                </a:lnTo>
                <a:lnTo>
                  <a:pt x="417" y="136"/>
                </a:lnTo>
                <a:lnTo>
                  <a:pt x="445" y="163"/>
                </a:lnTo>
                <a:lnTo>
                  <a:pt x="417" y="191"/>
                </a:lnTo>
                <a:close/>
                <a:moveTo>
                  <a:pt x="414" y="195"/>
                </a:moveTo>
                <a:lnTo>
                  <a:pt x="386" y="221"/>
                </a:lnTo>
                <a:lnTo>
                  <a:pt x="358" y="195"/>
                </a:lnTo>
                <a:lnTo>
                  <a:pt x="386" y="167"/>
                </a:lnTo>
                <a:lnTo>
                  <a:pt x="414" y="195"/>
                </a:lnTo>
                <a:close/>
                <a:moveTo>
                  <a:pt x="356" y="191"/>
                </a:moveTo>
                <a:lnTo>
                  <a:pt x="328" y="163"/>
                </a:lnTo>
                <a:lnTo>
                  <a:pt x="356" y="136"/>
                </a:lnTo>
                <a:lnTo>
                  <a:pt x="385" y="163"/>
                </a:lnTo>
                <a:lnTo>
                  <a:pt x="356" y="191"/>
                </a:lnTo>
                <a:close/>
                <a:moveTo>
                  <a:pt x="352" y="195"/>
                </a:moveTo>
                <a:lnTo>
                  <a:pt x="327" y="221"/>
                </a:lnTo>
                <a:lnTo>
                  <a:pt x="299" y="195"/>
                </a:lnTo>
                <a:lnTo>
                  <a:pt x="327" y="167"/>
                </a:lnTo>
                <a:lnTo>
                  <a:pt x="352" y="195"/>
                </a:lnTo>
                <a:close/>
                <a:moveTo>
                  <a:pt x="295" y="191"/>
                </a:moveTo>
                <a:lnTo>
                  <a:pt x="268" y="163"/>
                </a:lnTo>
                <a:lnTo>
                  <a:pt x="295" y="136"/>
                </a:lnTo>
                <a:lnTo>
                  <a:pt x="323" y="163"/>
                </a:lnTo>
                <a:lnTo>
                  <a:pt x="295" y="191"/>
                </a:lnTo>
                <a:close/>
                <a:moveTo>
                  <a:pt x="292" y="195"/>
                </a:moveTo>
                <a:lnTo>
                  <a:pt x="264" y="221"/>
                </a:lnTo>
                <a:lnTo>
                  <a:pt x="236" y="195"/>
                </a:lnTo>
                <a:lnTo>
                  <a:pt x="264" y="167"/>
                </a:lnTo>
                <a:lnTo>
                  <a:pt x="292" y="195"/>
                </a:lnTo>
                <a:close/>
                <a:moveTo>
                  <a:pt x="234" y="191"/>
                </a:moveTo>
                <a:lnTo>
                  <a:pt x="206" y="163"/>
                </a:lnTo>
                <a:lnTo>
                  <a:pt x="234" y="136"/>
                </a:lnTo>
                <a:lnTo>
                  <a:pt x="261" y="163"/>
                </a:lnTo>
                <a:lnTo>
                  <a:pt x="234" y="191"/>
                </a:lnTo>
                <a:close/>
                <a:moveTo>
                  <a:pt x="230" y="195"/>
                </a:moveTo>
                <a:lnTo>
                  <a:pt x="202" y="221"/>
                </a:lnTo>
                <a:lnTo>
                  <a:pt x="177" y="195"/>
                </a:lnTo>
                <a:lnTo>
                  <a:pt x="202" y="167"/>
                </a:lnTo>
                <a:lnTo>
                  <a:pt x="230" y="195"/>
                </a:lnTo>
                <a:close/>
                <a:moveTo>
                  <a:pt x="173" y="191"/>
                </a:moveTo>
                <a:lnTo>
                  <a:pt x="144" y="163"/>
                </a:lnTo>
                <a:lnTo>
                  <a:pt x="173" y="136"/>
                </a:lnTo>
                <a:lnTo>
                  <a:pt x="201" y="163"/>
                </a:lnTo>
                <a:lnTo>
                  <a:pt x="173" y="191"/>
                </a:lnTo>
                <a:close/>
                <a:moveTo>
                  <a:pt x="169" y="195"/>
                </a:moveTo>
                <a:lnTo>
                  <a:pt x="142" y="221"/>
                </a:lnTo>
                <a:lnTo>
                  <a:pt x="114" y="195"/>
                </a:lnTo>
                <a:lnTo>
                  <a:pt x="142" y="167"/>
                </a:lnTo>
                <a:lnTo>
                  <a:pt x="169" y="195"/>
                </a:lnTo>
                <a:close/>
                <a:moveTo>
                  <a:pt x="111" y="191"/>
                </a:moveTo>
                <a:lnTo>
                  <a:pt x="84" y="163"/>
                </a:lnTo>
                <a:lnTo>
                  <a:pt x="111" y="136"/>
                </a:lnTo>
                <a:lnTo>
                  <a:pt x="139" y="163"/>
                </a:lnTo>
                <a:lnTo>
                  <a:pt x="111" y="191"/>
                </a:lnTo>
                <a:close/>
                <a:moveTo>
                  <a:pt x="139" y="225"/>
                </a:moveTo>
                <a:lnTo>
                  <a:pt x="111" y="253"/>
                </a:lnTo>
                <a:lnTo>
                  <a:pt x="84" y="225"/>
                </a:lnTo>
                <a:lnTo>
                  <a:pt x="111" y="197"/>
                </a:lnTo>
                <a:lnTo>
                  <a:pt x="139" y="225"/>
                </a:lnTo>
                <a:close/>
                <a:moveTo>
                  <a:pt x="139" y="286"/>
                </a:moveTo>
                <a:lnTo>
                  <a:pt x="111" y="313"/>
                </a:lnTo>
                <a:lnTo>
                  <a:pt x="84" y="286"/>
                </a:lnTo>
                <a:lnTo>
                  <a:pt x="111" y="258"/>
                </a:lnTo>
                <a:lnTo>
                  <a:pt x="139" y="286"/>
                </a:lnTo>
                <a:close/>
                <a:moveTo>
                  <a:pt x="139" y="346"/>
                </a:moveTo>
                <a:lnTo>
                  <a:pt x="111" y="374"/>
                </a:lnTo>
                <a:lnTo>
                  <a:pt x="84" y="346"/>
                </a:lnTo>
                <a:lnTo>
                  <a:pt x="111" y="320"/>
                </a:lnTo>
                <a:lnTo>
                  <a:pt x="139" y="346"/>
                </a:lnTo>
                <a:close/>
                <a:moveTo>
                  <a:pt x="139" y="408"/>
                </a:moveTo>
                <a:lnTo>
                  <a:pt x="111" y="436"/>
                </a:lnTo>
                <a:lnTo>
                  <a:pt x="84" y="408"/>
                </a:lnTo>
                <a:lnTo>
                  <a:pt x="111" y="380"/>
                </a:lnTo>
                <a:lnTo>
                  <a:pt x="139" y="408"/>
                </a:lnTo>
                <a:close/>
                <a:moveTo>
                  <a:pt x="139" y="468"/>
                </a:moveTo>
                <a:lnTo>
                  <a:pt x="111" y="496"/>
                </a:lnTo>
                <a:lnTo>
                  <a:pt x="84" y="468"/>
                </a:lnTo>
                <a:lnTo>
                  <a:pt x="111" y="441"/>
                </a:lnTo>
                <a:lnTo>
                  <a:pt x="139" y="468"/>
                </a:lnTo>
                <a:close/>
                <a:moveTo>
                  <a:pt x="139" y="529"/>
                </a:moveTo>
                <a:lnTo>
                  <a:pt x="111" y="558"/>
                </a:lnTo>
                <a:lnTo>
                  <a:pt x="84" y="529"/>
                </a:lnTo>
                <a:lnTo>
                  <a:pt x="111" y="501"/>
                </a:lnTo>
                <a:lnTo>
                  <a:pt x="139" y="529"/>
                </a:lnTo>
                <a:close/>
                <a:moveTo>
                  <a:pt x="142" y="533"/>
                </a:moveTo>
                <a:lnTo>
                  <a:pt x="169" y="559"/>
                </a:lnTo>
                <a:lnTo>
                  <a:pt x="142" y="587"/>
                </a:lnTo>
                <a:lnTo>
                  <a:pt x="114" y="559"/>
                </a:lnTo>
                <a:lnTo>
                  <a:pt x="142" y="533"/>
                </a:lnTo>
                <a:close/>
                <a:moveTo>
                  <a:pt x="144" y="529"/>
                </a:moveTo>
                <a:lnTo>
                  <a:pt x="173" y="501"/>
                </a:lnTo>
                <a:lnTo>
                  <a:pt x="201" y="529"/>
                </a:lnTo>
                <a:lnTo>
                  <a:pt x="173" y="558"/>
                </a:lnTo>
                <a:lnTo>
                  <a:pt x="144" y="529"/>
                </a:lnTo>
                <a:close/>
                <a:moveTo>
                  <a:pt x="202" y="533"/>
                </a:moveTo>
                <a:lnTo>
                  <a:pt x="230" y="559"/>
                </a:lnTo>
                <a:lnTo>
                  <a:pt x="202" y="587"/>
                </a:lnTo>
                <a:lnTo>
                  <a:pt x="177" y="559"/>
                </a:lnTo>
                <a:lnTo>
                  <a:pt x="202" y="533"/>
                </a:lnTo>
                <a:close/>
                <a:moveTo>
                  <a:pt x="206" y="529"/>
                </a:moveTo>
                <a:lnTo>
                  <a:pt x="234" y="501"/>
                </a:lnTo>
                <a:lnTo>
                  <a:pt x="261" y="529"/>
                </a:lnTo>
                <a:lnTo>
                  <a:pt x="234" y="558"/>
                </a:lnTo>
                <a:lnTo>
                  <a:pt x="206" y="529"/>
                </a:lnTo>
                <a:close/>
                <a:moveTo>
                  <a:pt x="264" y="533"/>
                </a:moveTo>
                <a:lnTo>
                  <a:pt x="292" y="559"/>
                </a:lnTo>
                <a:lnTo>
                  <a:pt x="264" y="587"/>
                </a:lnTo>
                <a:lnTo>
                  <a:pt x="236" y="559"/>
                </a:lnTo>
                <a:lnTo>
                  <a:pt x="264" y="533"/>
                </a:lnTo>
                <a:close/>
                <a:moveTo>
                  <a:pt x="268" y="529"/>
                </a:moveTo>
                <a:lnTo>
                  <a:pt x="295" y="501"/>
                </a:lnTo>
                <a:lnTo>
                  <a:pt x="323" y="529"/>
                </a:lnTo>
                <a:lnTo>
                  <a:pt x="295" y="558"/>
                </a:lnTo>
                <a:lnTo>
                  <a:pt x="268" y="529"/>
                </a:lnTo>
                <a:close/>
                <a:moveTo>
                  <a:pt x="327" y="533"/>
                </a:moveTo>
                <a:lnTo>
                  <a:pt x="352" y="559"/>
                </a:lnTo>
                <a:lnTo>
                  <a:pt x="327" y="587"/>
                </a:lnTo>
                <a:lnTo>
                  <a:pt x="299" y="559"/>
                </a:lnTo>
                <a:lnTo>
                  <a:pt x="327" y="533"/>
                </a:lnTo>
                <a:close/>
                <a:moveTo>
                  <a:pt x="328" y="529"/>
                </a:moveTo>
                <a:lnTo>
                  <a:pt x="356" y="501"/>
                </a:lnTo>
                <a:lnTo>
                  <a:pt x="385" y="529"/>
                </a:lnTo>
                <a:lnTo>
                  <a:pt x="356" y="558"/>
                </a:lnTo>
                <a:lnTo>
                  <a:pt x="328" y="529"/>
                </a:lnTo>
                <a:close/>
                <a:moveTo>
                  <a:pt x="386" y="533"/>
                </a:moveTo>
                <a:lnTo>
                  <a:pt x="414" y="559"/>
                </a:lnTo>
                <a:lnTo>
                  <a:pt x="386" y="587"/>
                </a:lnTo>
                <a:lnTo>
                  <a:pt x="358" y="559"/>
                </a:lnTo>
                <a:lnTo>
                  <a:pt x="386" y="533"/>
                </a:lnTo>
                <a:close/>
                <a:moveTo>
                  <a:pt x="390" y="529"/>
                </a:moveTo>
                <a:lnTo>
                  <a:pt x="417" y="501"/>
                </a:lnTo>
                <a:lnTo>
                  <a:pt x="445" y="529"/>
                </a:lnTo>
                <a:lnTo>
                  <a:pt x="417" y="558"/>
                </a:lnTo>
                <a:lnTo>
                  <a:pt x="390" y="529"/>
                </a:lnTo>
                <a:close/>
                <a:moveTo>
                  <a:pt x="447" y="533"/>
                </a:moveTo>
                <a:lnTo>
                  <a:pt x="474" y="559"/>
                </a:lnTo>
                <a:lnTo>
                  <a:pt x="447" y="587"/>
                </a:lnTo>
                <a:lnTo>
                  <a:pt x="419" y="559"/>
                </a:lnTo>
                <a:lnTo>
                  <a:pt x="447" y="533"/>
                </a:lnTo>
                <a:close/>
                <a:moveTo>
                  <a:pt x="450" y="529"/>
                </a:moveTo>
                <a:lnTo>
                  <a:pt x="478" y="501"/>
                </a:lnTo>
                <a:lnTo>
                  <a:pt x="506" y="529"/>
                </a:lnTo>
                <a:lnTo>
                  <a:pt x="478" y="558"/>
                </a:lnTo>
                <a:lnTo>
                  <a:pt x="450" y="529"/>
                </a:lnTo>
                <a:close/>
                <a:moveTo>
                  <a:pt x="508" y="533"/>
                </a:moveTo>
                <a:lnTo>
                  <a:pt x="536" y="559"/>
                </a:lnTo>
                <a:lnTo>
                  <a:pt x="508" y="587"/>
                </a:lnTo>
                <a:lnTo>
                  <a:pt x="482" y="559"/>
                </a:lnTo>
                <a:lnTo>
                  <a:pt x="508" y="533"/>
                </a:lnTo>
                <a:close/>
                <a:moveTo>
                  <a:pt x="512" y="529"/>
                </a:moveTo>
                <a:lnTo>
                  <a:pt x="540" y="501"/>
                </a:lnTo>
                <a:lnTo>
                  <a:pt x="567" y="529"/>
                </a:lnTo>
                <a:lnTo>
                  <a:pt x="540" y="558"/>
                </a:lnTo>
                <a:lnTo>
                  <a:pt x="512" y="529"/>
                </a:lnTo>
                <a:close/>
                <a:moveTo>
                  <a:pt x="541" y="500"/>
                </a:moveTo>
                <a:lnTo>
                  <a:pt x="570" y="472"/>
                </a:lnTo>
                <a:lnTo>
                  <a:pt x="598" y="500"/>
                </a:lnTo>
                <a:lnTo>
                  <a:pt x="570" y="525"/>
                </a:lnTo>
                <a:lnTo>
                  <a:pt x="541" y="500"/>
                </a:lnTo>
                <a:close/>
                <a:moveTo>
                  <a:pt x="541" y="437"/>
                </a:moveTo>
                <a:lnTo>
                  <a:pt x="570" y="409"/>
                </a:lnTo>
                <a:lnTo>
                  <a:pt x="598" y="437"/>
                </a:lnTo>
                <a:lnTo>
                  <a:pt x="570" y="465"/>
                </a:lnTo>
                <a:lnTo>
                  <a:pt x="541" y="437"/>
                </a:lnTo>
                <a:close/>
                <a:moveTo>
                  <a:pt x="541" y="378"/>
                </a:moveTo>
                <a:lnTo>
                  <a:pt x="570" y="350"/>
                </a:lnTo>
                <a:lnTo>
                  <a:pt x="598" y="378"/>
                </a:lnTo>
                <a:lnTo>
                  <a:pt x="570" y="404"/>
                </a:lnTo>
                <a:lnTo>
                  <a:pt x="541" y="378"/>
                </a:lnTo>
                <a:close/>
                <a:moveTo>
                  <a:pt x="541" y="316"/>
                </a:moveTo>
                <a:lnTo>
                  <a:pt x="570" y="287"/>
                </a:lnTo>
                <a:lnTo>
                  <a:pt x="598" y="316"/>
                </a:lnTo>
                <a:lnTo>
                  <a:pt x="570" y="344"/>
                </a:lnTo>
                <a:lnTo>
                  <a:pt x="541" y="316"/>
                </a:lnTo>
                <a:close/>
                <a:moveTo>
                  <a:pt x="541" y="254"/>
                </a:moveTo>
                <a:lnTo>
                  <a:pt x="570" y="229"/>
                </a:lnTo>
                <a:lnTo>
                  <a:pt x="598" y="254"/>
                </a:lnTo>
                <a:lnTo>
                  <a:pt x="570" y="282"/>
                </a:lnTo>
                <a:lnTo>
                  <a:pt x="541" y="254"/>
                </a:lnTo>
                <a:close/>
                <a:moveTo>
                  <a:pt x="541" y="195"/>
                </a:moveTo>
                <a:lnTo>
                  <a:pt x="570" y="167"/>
                </a:lnTo>
                <a:lnTo>
                  <a:pt x="598" y="195"/>
                </a:lnTo>
                <a:lnTo>
                  <a:pt x="570" y="221"/>
                </a:lnTo>
                <a:lnTo>
                  <a:pt x="541" y="195"/>
                </a:lnTo>
                <a:close/>
                <a:moveTo>
                  <a:pt x="541" y="132"/>
                </a:moveTo>
                <a:lnTo>
                  <a:pt x="570" y="107"/>
                </a:lnTo>
                <a:lnTo>
                  <a:pt x="598" y="132"/>
                </a:lnTo>
                <a:lnTo>
                  <a:pt x="570" y="160"/>
                </a:lnTo>
                <a:lnTo>
                  <a:pt x="541" y="132"/>
                </a:lnTo>
                <a:close/>
                <a:moveTo>
                  <a:pt x="540" y="131"/>
                </a:moveTo>
                <a:lnTo>
                  <a:pt x="512" y="103"/>
                </a:lnTo>
                <a:lnTo>
                  <a:pt x="540" y="75"/>
                </a:lnTo>
                <a:lnTo>
                  <a:pt x="567" y="103"/>
                </a:lnTo>
                <a:lnTo>
                  <a:pt x="540" y="131"/>
                </a:lnTo>
                <a:close/>
                <a:moveTo>
                  <a:pt x="536" y="132"/>
                </a:moveTo>
                <a:lnTo>
                  <a:pt x="508" y="160"/>
                </a:lnTo>
                <a:lnTo>
                  <a:pt x="482" y="132"/>
                </a:lnTo>
                <a:lnTo>
                  <a:pt x="508" y="107"/>
                </a:lnTo>
                <a:lnTo>
                  <a:pt x="536" y="132"/>
                </a:lnTo>
                <a:close/>
                <a:moveTo>
                  <a:pt x="478" y="131"/>
                </a:moveTo>
                <a:lnTo>
                  <a:pt x="450" y="103"/>
                </a:lnTo>
                <a:lnTo>
                  <a:pt x="478" y="75"/>
                </a:lnTo>
                <a:lnTo>
                  <a:pt x="506" y="103"/>
                </a:lnTo>
                <a:lnTo>
                  <a:pt x="478" y="131"/>
                </a:lnTo>
                <a:close/>
                <a:moveTo>
                  <a:pt x="474" y="132"/>
                </a:moveTo>
                <a:lnTo>
                  <a:pt x="447" y="160"/>
                </a:lnTo>
                <a:lnTo>
                  <a:pt x="419" y="132"/>
                </a:lnTo>
                <a:lnTo>
                  <a:pt x="447" y="107"/>
                </a:lnTo>
                <a:lnTo>
                  <a:pt x="474" y="132"/>
                </a:lnTo>
                <a:close/>
                <a:moveTo>
                  <a:pt x="417" y="131"/>
                </a:moveTo>
                <a:lnTo>
                  <a:pt x="390" y="103"/>
                </a:lnTo>
                <a:lnTo>
                  <a:pt x="417" y="75"/>
                </a:lnTo>
                <a:lnTo>
                  <a:pt x="445" y="103"/>
                </a:lnTo>
                <a:lnTo>
                  <a:pt x="417" y="131"/>
                </a:lnTo>
                <a:close/>
                <a:moveTo>
                  <a:pt x="414" y="132"/>
                </a:moveTo>
                <a:lnTo>
                  <a:pt x="386" y="160"/>
                </a:lnTo>
                <a:lnTo>
                  <a:pt x="358" y="132"/>
                </a:lnTo>
                <a:lnTo>
                  <a:pt x="386" y="107"/>
                </a:lnTo>
                <a:lnTo>
                  <a:pt x="414" y="132"/>
                </a:lnTo>
                <a:close/>
                <a:moveTo>
                  <a:pt x="356" y="131"/>
                </a:moveTo>
                <a:lnTo>
                  <a:pt x="328" y="103"/>
                </a:lnTo>
                <a:lnTo>
                  <a:pt x="356" y="75"/>
                </a:lnTo>
                <a:lnTo>
                  <a:pt x="385" y="103"/>
                </a:lnTo>
                <a:lnTo>
                  <a:pt x="356" y="131"/>
                </a:lnTo>
                <a:close/>
                <a:moveTo>
                  <a:pt x="352" y="132"/>
                </a:moveTo>
                <a:lnTo>
                  <a:pt x="327" y="160"/>
                </a:lnTo>
                <a:lnTo>
                  <a:pt x="299" y="132"/>
                </a:lnTo>
                <a:lnTo>
                  <a:pt x="327" y="107"/>
                </a:lnTo>
                <a:lnTo>
                  <a:pt x="352" y="132"/>
                </a:lnTo>
                <a:close/>
                <a:moveTo>
                  <a:pt x="295" y="131"/>
                </a:moveTo>
                <a:lnTo>
                  <a:pt x="268" y="103"/>
                </a:lnTo>
                <a:lnTo>
                  <a:pt x="295" y="75"/>
                </a:lnTo>
                <a:lnTo>
                  <a:pt x="323" y="103"/>
                </a:lnTo>
                <a:lnTo>
                  <a:pt x="295" y="131"/>
                </a:lnTo>
                <a:close/>
                <a:moveTo>
                  <a:pt x="292" y="132"/>
                </a:moveTo>
                <a:lnTo>
                  <a:pt x="264" y="160"/>
                </a:lnTo>
                <a:lnTo>
                  <a:pt x="236" y="132"/>
                </a:lnTo>
                <a:lnTo>
                  <a:pt x="264" y="107"/>
                </a:lnTo>
                <a:lnTo>
                  <a:pt x="292" y="132"/>
                </a:lnTo>
                <a:close/>
                <a:moveTo>
                  <a:pt x="234" y="131"/>
                </a:moveTo>
                <a:lnTo>
                  <a:pt x="206" y="103"/>
                </a:lnTo>
                <a:lnTo>
                  <a:pt x="234" y="75"/>
                </a:lnTo>
                <a:lnTo>
                  <a:pt x="261" y="103"/>
                </a:lnTo>
                <a:lnTo>
                  <a:pt x="234" y="131"/>
                </a:lnTo>
                <a:close/>
                <a:moveTo>
                  <a:pt x="230" y="132"/>
                </a:moveTo>
                <a:lnTo>
                  <a:pt x="202" y="160"/>
                </a:lnTo>
                <a:lnTo>
                  <a:pt x="177" y="132"/>
                </a:lnTo>
                <a:lnTo>
                  <a:pt x="202" y="107"/>
                </a:lnTo>
                <a:lnTo>
                  <a:pt x="230" y="132"/>
                </a:lnTo>
                <a:close/>
                <a:moveTo>
                  <a:pt x="173" y="131"/>
                </a:moveTo>
                <a:lnTo>
                  <a:pt x="144" y="103"/>
                </a:lnTo>
                <a:lnTo>
                  <a:pt x="173" y="75"/>
                </a:lnTo>
                <a:lnTo>
                  <a:pt x="201" y="103"/>
                </a:lnTo>
                <a:lnTo>
                  <a:pt x="173" y="131"/>
                </a:lnTo>
                <a:close/>
                <a:moveTo>
                  <a:pt x="169" y="132"/>
                </a:moveTo>
                <a:lnTo>
                  <a:pt x="142" y="160"/>
                </a:lnTo>
                <a:lnTo>
                  <a:pt x="114" y="132"/>
                </a:lnTo>
                <a:lnTo>
                  <a:pt x="142" y="107"/>
                </a:lnTo>
                <a:lnTo>
                  <a:pt x="169" y="132"/>
                </a:lnTo>
                <a:close/>
                <a:moveTo>
                  <a:pt x="111" y="131"/>
                </a:moveTo>
                <a:lnTo>
                  <a:pt x="84" y="103"/>
                </a:lnTo>
                <a:lnTo>
                  <a:pt x="111" y="75"/>
                </a:lnTo>
                <a:lnTo>
                  <a:pt x="139" y="103"/>
                </a:lnTo>
                <a:lnTo>
                  <a:pt x="111" y="131"/>
                </a:lnTo>
                <a:close/>
                <a:moveTo>
                  <a:pt x="108" y="132"/>
                </a:moveTo>
                <a:lnTo>
                  <a:pt x="80" y="160"/>
                </a:lnTo>
                <a:lnTo>
                  <a:pt x="52" y="132"/>
                </a:lnTo>
                <a:lnTo>
                  <a:pt x="80" y="107"/>
                </a:lnTo>
                <a:lnTo>
                  <a:pt x="108" y="132"/>
                </a:lnTo>
                <a:close/>
                <a:moveTo>
                  <a:pt x="108" y="195"/>
                </a:moveTo>
                <a:lnTo>
                  <a:pt x="80" y="221"/>
                </a:lnTo>
                <a:lnTo>
                  <a:pt x="52" y="195"/>
                </a:lnTo>
                <a:lnTo>
                  <a:pt x="80" y="167"/>
                </a:lnTo>
                <a:lnTo>
                  <a:pt x="108" y="195"/>
                </a:lnTo>
                <a:close/>
                <a:moveTo>
                  <a:pt x="108" y="254"/>
                </a:moveTo>
                <a:lnTo>
                  <a:pt x="80" y="282"/>
                </a:lnTo>
                <a:lnTo>
                  <a:pt x="52" y="254"/>
                </a:lnTo>
                <a:lnTo>
                  <a:pt x="80" y="229"/>
                </a:lnTo>
                <a:lnTo>
                  <a:pt x="108" y="254"/>
                </a:lnTo>
                <a:close/>
                <a:moveTo>
                  <a:pt x="108" y="316"/>
                </a:moveTo>
                <a:lnTo>
                  <a:pt x="80" y="344"/>
                </a:lnTo>
                <a:lnTo>
                  <a:pt x="52" y="316"/>
                </a:lnTo>
                <a:lnTo>
                  <a:pt x="80" y="287"/>
                </a:lnTo>
                <a:lnTo>
                  <a:pt x="108" y="316"/>
                </a:lnTo>
                <a:close/>
                <a:moveTo>
                  <a:pt x="108" y="378"/>
                </a:moveTo>
                <a:lnTo>
                  <a:pt x="80" y="404"/>
                </a:lnTo>
                <a:lnTo>
                  <a:pt x="52" y="378"/>
                </a:lnTo>
                <a:lnTo>
                  <a:pt x="80" y="350"/>
                </a:lnTo>
                <a:lnTo>
                  <a:pt x="108" y="378"/>
                </a:lnTo>
                <a:close/>
                <a:moveTo>
                  <a:pt x="108" y="437"/>
                </a:moveTo>
                <a:lnTo>
                  <a:pt x="80" y="465"/>
                </a:lnTo>
                <a:lnTo>
                  <a:pt x="52" y="437"/>
                </a:lnTo>
                <a:lnTo>
                  <a:pt x="80" y="409"/>
                </a:lnTo>
                <a:lnTo>
                  <a:pt x="108" y="437"/>
                </a:lnTo>
                <a:close/>
                <a:moveTo>
                  <a:pt x="108" y="500"/>
                </a:moveTo>
                <a:lnTo>
                  <a:pt x="80" y="525"/>
                </a:lnTo>
                <a:lnTo>
                  <a:pt x="52" y="500"/>
                </a:lnTo>
                <a:lnTo>
                  <a:pt x="80" y="472"/>
                </a:lnTo>
                <a:lnTo>
                  <a:pt x="108" y="500"/>
                </a:lnTo>
                <a:close/>
                <a:moveTo>
                  <a:pt x="108" y="559"/>
                </a:moveTo>
                <a:lnTo>
                  <a:pt x="80" y="587"/>
                </a:lnTo>
                <a:lnTo>
                  <a:pt x="52" y="559"/>
                </a:lnTo>
                <a:lnTo>
                  <a:pt x="80" y="533"/>
                </a:lnTo>
                <a:lnTo>
                  <a:pt x="108" y="559"/>
                </a:lnTo>
                <a:close/>
                <a:moveTo>
                  <a:pt x="111" y="563"/>
                </a:moveTo>
                <a:lnTo>
                  <a:pt x="139" y="591"/>
                </a:lnTo>
                <a:lnTo>
                  <a:pt x="111" y="618"/>
                </a:lnTo>
                <a:lnTo>
                  <a:pt x="84" y="591"/>
                </a:lnTo>
                <a:lnTo>
                  <a:pt x="111" y="563"/>
                </a:lnTo>
                <a:close/>
                <a:moveTo>
                  <a:pt x="142" y="594"/>
                </a:moveTo>
                <a:lnTo>
                  <a:pt x="169" y="622"/>
                </a:lnTo>
                <a:lnTo>
                  <a:pt x="142" y="650"/>
                </a:lnTo>
                <a:lnTo>
                  <a:pt x="114" y="622"/>
                </a:lnTo>
                <a:lnTo>
                  <a:pt x="142" y="594"/>
                </a:lnTo>
                <a:close/>
                <a:moveTo>
                  <a:pt x="144" y="591"/>
                </a:moveTo>
                <a:lnTo>
                  <a:pt x="173" y="563"/>
                </a:lnTo>
                <a:lnTo>
                  <a:pt x="201" y="591"/>
                </a:lnTo>
                <a:lnTo>
                  <a:pt x="173" y="618"/>
                </a:lnTo>
                <a:lnTo>
                  <a:pt x="144" y="591"/>
                </a:lnTo>
                <a:close/>
                <a:moveTo>
                  <a:pt x="202" y="594"/>
                </a:moveTo>
                <a:lnTo>
                  <a:pt x="230" y="622"/>
                </a:lnTo>
                <a:lnTo>
                  <a:pt x="202" y="650"/>
                </a:lnTo>
                <a:lnTo>
                  <a:pt x="177" y="622"/>
                </a:lnTo>
                <a:lnTo>
                  <a:pt x="202" y="594"/>
                </a:lnTo>
                <a:close/>
                <a:moveTo>
                  <a:pt x="206" y="591"/>
                </a:moveTo>
                <a:lnTo>
                  <a:pt x="234" y="563"/>
                </a:lnTo>
                <a:lnTo>
                  <a:pt x="261" y="591"/>
                </a:lnTo>
                <a:lnTo>
                  <a:pt x="234" y="618"/>
                </a:lnTo>
                <a:lnTo>
                  <a:pt x="206" y="591"/>
                </a:lnTo>
                <a:close/>
                <a:moveTo>
                  <a:pt x="264" y="594"/>
                </a:moveTo>
                <a:lnTo>
                  <a:pt x="292" y="622"/>
                </a:lnTo>
                <a:lnTo>
                  <a:pt x="264" y="650"/>
                </a:lnTo>
                <a:lnTo>
                  <a:pt x="236" y="622"/>
                </a:lnTo>
                <a:lnTo>
                  <a:pt x="264" y="594"/>
                </a:lnTo>
                <a:close/>
                <a:moveTo>
                  <a:pt x="268" y="591"/>
                </a:moveTo>
                <a:lnTo>
                  <a:pt x="295" y="563"/>
                </a:lnTo>
                <a:lnTo>
                  <a:pt x="323" y="591"/>
                </a:lnTo>
                <a:lnTo>
                  <a:pt x="295" y="618"/>
                </a:lnTo>
                <a:lnTo>
                  <a:pt x="268" y="591"/>
                </a:lnTo>
                <a:close/>
                <a:moveTo>
                  <a:pt x="327" y="594"/>
                </a:moveTo>
                <a:lnTo>
                  <a:pt x="352" y="622"/>
                </a:lnTo>
                <a:lnTo>
                  <a:pt x="327" y="650"/>
                </a:lnTo>
                <a:lnTo>
                  <a:pt x="299" y="622"/>
                </a:lnTo>
                <a:lnTo>
                  <a:pt x="327" y="594"/>
                </a:lnTo>
                <a:close/>
                <a:moveTo>
                  <a:pt x="328" y="591"/>
                </a:moveTo>
                <a:lnTo>
                  <a:pt x="356" y="563"/>
                </a:lnTo>
                <a:lnTo>
                  <a:pt x="385" y="591"/>
                </a:lnTo>
                <a:lnTo>
                  <a:pt x="356" y="618"/>
                </a:lnTo>
                <a:lnTo>
                  <a:pt x="328" y="591"/>
                </a:lnTo>
                <a:close/>
                <a:moveTo>
                  <a:pt x="386" y="594"/>
                </a:moveTo>
                <a:lnTo>
                  <a:pt x="414" y="622"/>
                </a:lnTo>
                <a:lnTo>
                  <a:pt x="386" y="650"/>
                </a:lnTo>
                <a:lnTo>
                  <a:pt x="358" y="622"/>
                </a:lnTo>
                <a:lnTo>
                  <a:pt x="386" y="594"/>
                </a:lnTo>
                <a:close/>
                <a:moveTo>
                  <a:pt x="390" y="591"/>
                </a:moveTo>
                <a:lnTo>
                  <a:pt x="417" y="563"/>
                </a:lnTo>
                <a:lnTo>
                  <a:pt x="445" y="591"/>
                </a:lnTo>
                <a:lnTo>
                  <a:pt x="417" y="618"/>
                </a:lnTo>
                <a:lnTo>
                  <a:pt x="390" y="591"/>
                </a:lnTo>
                <a:close/>
                <a:moveTo>
                  <a:pt x="447" y="594"/>
                </a:moveTo>
                <a:lnTo>
                  <a:pt x="474" y="622"/>
                </a:lnTo>
                <a:lnTo>
                  <a:pt x="447" y="650"/>
                </a:lnTo>
                <a:lnTo>
                  <a:pt x="419" y="622"/>
                </a:lnTo>
                <a:lnTo>
                  <a:pt x="447" y="594"/>
                </a:lnTo>
                <a:close/>
                <a:moveTo>
                  <a:pt x="450" y="591"/>
                </a:moveTo>
                <a:lnTo>
                  <a:pt x="478" y="563"/>
                </a:lnTo>
                <a:lnTo>
                  <a:pt x="506" y="591"/>
                </a:lnTo>
                <a:lnTo>
                  <a:pt x="478" y="618"/>
                </a:lnTo>
                <a:lnTo>
                  <a:pt x="450" y="591"/>
                </a:lnTo>
                <a:close/>
                <a:moveTo>
                  <a:pt x="508" y="594"/>
                </a:moveTo>
                <a:lnTo>
                  <a:pt x="536" y="622"/>
                </a:lnTo>
                <a:lnTo>
                  <a:pt x="508" y="650"/>
                </a:lnTo>
                <a:lnTo>
                  <a:pt x="482" y="622"/>
                </a:lnTo>
                <a:lnTo>
                  <a:pt x="508" y="594"/>
                </a:lnTo>
                <a:close/>
                <a:moveTo>
                  <a:pt x="512" y="591"/>
                </a:moveTo>
                <a:lnTo>
                  <a:pt x="540" y="563"/>
                </a:lnTo>
                <a:lnTo>
                  <a:pt x="567" y="591"/>
                </a:lnTo>
                <a:lnTo>
                  <a:pt x="540" y="618"/>
                </a:lnTo>
                <a:lnTo>
                  <a:pt x="512" y="591"/>
                </a:lnTo>
                <a:close/>
                <a:moveTo>
                  <a:pt x="570" y="587"/>
                </a:moveTo>
                <a:lnTo>
                  <a:pt x="541" y="559"/>
                </a:lnTo>
                <a:lnTo>
                  <a:pt x="570" y="533"/>
                </a:lnTo>
                <a:lnTo>
                  <a:pt x="598" y="559"/>
                </a:lnTo>
                <a:lnTo>
                  <a:pt x="570" y="587"/>
                </a:lnTo>
                <a:close/>
                <a:moveTo>
                  <a:pt x="629" y="529"/>
                </a:moveTo>
                <a:lnTo>
                  <a:pt x="600" y="558"/>
                </a:lnTo>
                <a:lnTo>
                  <a:pt x="574" y="529"/>
                </a:lnTo>
                <a:lnTo>
                  <a:pt x="600" y="501"/>
                </a:lnTo>
                <a:lnTo>
                  <a:pt x="629" y="529"/>
                </a:lnTo>
                <a:close/>
                <a:moveTo>
                  <a:pt x="629" y="468"/>
                </a:moveTo>
                <a:lnTo>
                  <a:pt x="600" y="496"/>
                </a:lnTo>
                <a:lnTo>
                  <a:pt x="574" y="468"/>
                </a:lnTo>
                <a:lnTo>
                  <a:pt x="600" y="441"/>
                </a:lnTo>
                <a:lnTo>
                  <a:pt x="629" y="468"/>
                </a:lnTo>
                <a:close/>
                <a:moveTo>
                  <a:pt x="629" y="408"/>
                </a:moveTo>
                <a:lnTo>
                  <a:pt x="600" y="436"/>
                </a:lnTo>
                <a:lnTo>
                  <a:pt x="574" y="408"/>
                </a:lnTo>
                <a:lnTo>
                  <a:pt x="600" y="380"/>
                </a:lnTo>
                <a:lnTo>
                  <a:pt x="629" y="408"/>
                </a:lnTo>
                <a:close/>
                <a:moveTo>
                  <a:pt x="629" y="346"/>
                </a:moveTo>
                <a:lnTo>
                  <a:pt x="600" y="374"/>
                </a:lnTo>
                <a:lnTo>
                  <a:pt x="574" y="346"/>
                </a:lnTo>
                <a:lnTo>
                  <a:pt x="600" y="320"/>
                </a:lnTo>
                <a:lnTo>
                  <a:pt x="629" y="346"/>
                </a:lnTo>
                <a:close/>
                <a:moveTo>
                  <a:pt x="629" y="286"/>
                </a:moveTo>
                <a:lnTo>
                  <a:pt x="600" y="313"/>
                </a:lnTo>
                <a:lnTo>
                  <a:pt x="574" y="286"/>
                </a:lnTo>
                <a:lnTo>
                  <a:pt x="600" y="258"/>
                </a:lnTo>
                <a:lnTo>
                  <a:pt x="629" y="286"/>
                </a:lnTo>
                <a:close/>
                <a:moveTo>
                  <a:pt x="629" y="225"/>
                </a:moveTo>
                <a:lnTo>
                  <a:pt x="600" y="253"/>
                </a:lnTo>
                <a:lnTo>
                  <a:pt x="574" y="225"/>
                </a:lnTo>
                <a:lnTo>
                  <a:pt x="600" y="197"/>
                </a:lnTo>
                <a:lnTo>
                  <a:pt x="629" y="225"/>
                </a:lnTo>
                <a:close/>
                <a:moveTo>
                  <a:pt x="629" y="163"/>
                </a:moveTo>
                <a:lnTo>
                  <a:pt x="600" y="191"/>
                </a:lnTo>
                <a:lnTo>
                  <a:pt x="574" y="163"/>
                </a:lnTo>
                <a:lnTo>
                  <a:pt x="600" y="136"/>
                </a:lnTo>
                <a:lnTo>
                  <a:pt x="629" y="163"/>
                </a:lnTo>
                <a:close/>
                <a:moveTo>
                  <a:pt x="629" y="103"/>
                </a:moveTo>
                <a:lnTo>
                  <a:pt x="600" y="131"/>
                </a:lnTo>
                <a:lnTo>
                  <a:pt x="574" y="103"/>
                </a:lnTo>
                <a:lnTo>
                  <a:pt x="600" y="75"/>
                </a:lnTo>
                <a:lnTo>
                  <a:pt x="629" y="103"/>
                </a:lnTo>
                <a:close/>
                <a:moveTo>
                  <a:pt x="600" y="15"/>
                </a:moveTo>
                <a:lnTo>
                  <a:pt x="629" y="42"/>
                </a:lnTo>
                <a:lnTo>
                  <a:pt x="600" y="70"/>
                </a:lnTo>
                <a:lnTo>
                  <a:pt x="574" y="42"/>
                </a:lnTo>
                <a:lnTo>
                  <a:pt x="600" y="15"/>
                </a:lnTo>
                <a:close/>
                <a:moveTo>
                  <a:pt x="598" y="74"/>
                </a:moveTo>
                <a:lnTo>
                  <a:pt x="570" y="99"/>
                </a:lnTo>
                <a:lnTo>
                  <a:pt x="541" y="74"/>
                </a:lnTo>
                <a:lnTo>
                  <a:pt x="570" y="46"/>
                </a:lnTo>
                <a:lnTo>
                  <a:pt x="598" y="74"/>
                </a:lnTo>
                <a:close/>
                <a:moveTo>
                  <a:pt x="540" y="15"/>
                </a:moveTo>
                <a:lnTo>
                  <a:pt x="567" y="42"/>
                </a:lnTo>
                <a:lnTo>
                  <a:pt x="540" y="70"/>
                </a:lnTo>
                <a:lnTo>
                  <a:pt x="512" y="42"/>
                </a:lnTo>
                <a:lnTo>
                  <a:pt x="540" y="15"/>
                </a:lnTo>
                <a:close/>
                <a:moveTo>
                  <a:pt x="536" y="74"/>
                </a:moveTo>
                <a:lnTo>
                  <a:pt x="508" y="99"/>
                </a:lnTo>
                <a:lnTo>
                  <a:pt x="482" y="74"/>
                </a:lnTo>
                <a:lnTo>
                  <a:pt x="508" y="46"/>
                </a:lnTo>
                <a:lnTo>
                  <a:pt x="536" y="74"/>
                </a:lnTo>
                <a:close/>
                <a:moveTo>
                  <a:pt x="478" y="15"/>
                </a:moveTo>
                <a:lnTo>
                  <a:pt x="506" y="42"/>
                </a:lnTo>
                <a:lnTo>
                  <a:pt x="478" y="70"/>
                </a:lnTo>
                <a:lnTo>
                  <a:pt x="450" y="42"/>
                </a:lnTo>
                <a:lnTo>
                  <a:pt x="478" y="15"/>
                </a:lnTo>
                <a:close/>
                <a:moveTo>
                  <a:pt x="474" y="74"/>
                </a:moveTo>
                <a:lnTo>
                  <a:pt x="447" y="99"/>
                </a:lnTo>
                <a:lnTo>
                  <a:pt x="419" y="74"/>
                </a:lnTo>
                <a:lnTo>
                  <a:pt x="447" y="46"/>
                </a:lnTo>
                <a:lnTo>
                  <a:pt x="474" y="74"/>
                </a:lnTo>
                <a:close/>
                <a:moveTo>
                  <a:pt x="417" y="15"/>
                </a:moveTo>
                <a:lnTo>
                  <a:pt x="445" y="42"/>
                </a:lnTo>
                <a:lnTo>
                  <a:pt x="417" y="70"/>
                </a:lnTo>
                <a:lnTo>
                  <a:pt x="390" y="42"/>
                </a:lnTo>
                <a:lnTo>
                  <a:pt x="417" y="15"/>
                </a:lnTo>
                <a:close/>
                <a:moveTo>
                  <a:pt x="414" y="74"/>
                </a:moveTo>
                <a:lnTo>
                  <a:pt x="386" y="99"/>
                </a:lnTo>
                <a:lnTo>
                  <a:pt x="358" y="74"/>
                </a:lnTo>
                <a:lnTo>
                  <a:pt x="386" y="46"/>
                </a:lnTo>
                <a:lnTo>
                  <a:pt x="414" y="74"/>
                </a:lnTo>
                <a:close/>
                <a:moveTo>
                  <a:pt x="356" y="15"/>
                </a:moveTo>
                <a:lnTo>
                  <a:pt x="385" y="42"/>
                </a:lnTo>
                <a:lnTo>
                  <a:pt x="356" y="70"/>
                </a:lnTo>
                <a:lnTo>
                  <a:pt x="328" y="42"/>
                </a:lnTo>
                <a:lnTo>
                  <a:pt x="356" y="15"/>
                </a:lnTo>
                <a:close/>
                <a:moveTo>
                  <a:pt x="352" y="74"/>
                </a:moveTo>
                <a:lnTo>
                  <a:pt x="327" y="99"/>
                </a:lnTo>
                <a:lnTo>
                  <a:pt x="299" y="74"/>
                </a:lnTo>
                <a:lnTo>
                  <a:pt x="327" y="46"/>
                </a:lnTo>
                <a:lnTo>
                  <a:pt x="352" y="74"/>
                </a:lnTo>
                <a:close/>
                <a:moveTo>
                  <a:pt x="295" y="15"/>
                </a:moveTo>
                <a:lnTo>
                  <a:pt x="323" y="42"/>
                </a:lnTo>
                <a:lnTo>
                  <a:pt x="295" y="70"/>
                </a:lnTo>
                <a:lnTo>
                  <a:pt x="268" y="42"/>
                </a:lnTo>
                <a:lnTo>
                  <a:pt x="295" y="15"/>
                </a:lnTo>
                <a:close/>
                <a:moveTo>
                  <a:pt x="292" y="74"/>
                </a:moveTo>
                <a:lnTo>
                  <a:pt x="264" y="99"/>
                </a:lnTo>
                <a:lnTo>
                  <a:pt x="236" y="74"/>
                </a:lnTo>
                <a:lnTo>
                  <a:pt x="264" y="46"/>
                </a:lnTo>
                <a:lnTo>
                  <a:pt x="292" y="74"/>
                </a:lnTo>
                <a:close/>
                <a:moveTo>
                  <a:pt x="234" y="15"/>
                </a:moveTo>
                <a:lnTo>
                  <a:pt x="261" y="42"/>
                </a:lnTo>
                <a:lnTo>
                  <a:pt x="234" y="70"/>
                </a:lnTo>
                <a:lnTo>
                  <a:pt x="206" y="42"/>
                </a:lnTo>
                <a:lnTo>
                  <a:pt x="234" y="15"/>
                </a:lnTo>
                <a:close/>
                <a:moveTo>
                  <a:pt x="230" y="74"/>
                </a:moveTo>
                <a:lnTo>
                  <a:pt x="202" y="99"/>
                </a:lnTo>
                <a:lnTo>
                  <a:pt x="177" y="74"/>
                </a:lnTo>
                <a:lnTo>
                  <a:pt x="202" y="46"/>
                </a:lnTo>
                <a:lnTo>
                  <a:pt x="230" y="74"/>
                </a:lnTo>
                <a:close/>
                <a:moveTo>
                  <a:pt x="173" y="15"/>
                </a:moveTo>
                <a:lnTo>
                  <a:pt x="201" y="42"/>
                </a:lnTo>
                <a:lnTo>
                  <a:pt x="173" y="70"/>
                </a:lnTo>
                <a:lnTo>
                  <a:pt x="144" y="42"/>
                </a:lnTo>
                <a:lnTo>
                  <a:pt x="173" y="15"/>
                </a:lnTo>
                <a:close/>
                <a:moveTo>
                  <a:pt x="169" y="74"/>
                </a:moveTo>
                <a:lnTo>
                  <a:pt x="142" y="99"/>
                </a:lnTo>
                <a:lnTo>
                  <a:pt x="114" y="74"/>
                </a:lnTo>
                <a:lnTo>
                  <a:pt x="142" y="46"/>
                </a:lnTo>
                <a:lnTo>
                  <a:pt x="169" y="74"/>
                </a:lnTo>
                <a:close/>
                <a:moveTo>
                  <a:pt x="111" y="15"/>
                </a:moveTo>
                <a:lnTo>
                  <a:pt x="139" y="42"/>
                </a:lnTo>
                <a:lnTo>
                  <a:pt x="111" y="70"/>
                </a:lnTo>
                <a:lnTo>
                  <a:pt x="84" y="42"/>
                </a:lnTo>
                <a:lnTo>
                  <a:pt x="111" y="15"/>
                </a:lnTo>
                <a:close/>
                <a:moveTo>
                  <a:pt x="108" y="74"/>
                </a:moveTo>
                <a:lnTo>
                  <a:pt x="80" y="99"/>
                </a:lnTo>
                <a:lnTo>
                  <a:pt x="52" y="74"/>
                </a:lnTo>
                <a:lnTo>
                  <a:pt x="80" y="46"/>
                </a:lnTo>
                <a:lnTo>
                  <a:pt x="108" y="74"/>
                </a:lnTo>
                <a:close/>
                <a:moveTo>
                  <a:pt x="22" y="42"/>
                </a:moveTo>
                <a:lnTo>
                  <a:pt x="51" y="15"/>
                </a:lnTo>
                <a:lnTo>
                  <a:pt x="79" y="42"/>
                </a:lnTo>
                <a:lnTo>
                  <a:pt x="51" y="70"/>
                </a:lnTo>
                <a:lnTo>
                  <a:pt x="22" y="42"/>
                </a:lnTo>
                <a:close/>
                <a:moveTo>
                  <a:pt x="22" y="103"/>
                </a:moveTo>
                <a:lnTo>
                  <a:pt x="51" y="75"/>
                </a:lnTo>
                <a:lnTo>
                  <a:pt x="79" y="103"/>
                </a:lnTo>
                <a:lnTo>
                  <a:pt x="51" y="131"/>
                </a:lnTo>
                <a:lnTo>
                  <a:pt x="22" y="103"/>
                </a:lnTo>
                <a:close/>
                <a:moveTo>
                  <a:pt x="22" y="163"/>
                </a:moveTo>
                <a:lnTo>
                  <a:pt x="51" y="136"/>
                </a:lnTo>
                <a:lnTo>
                  <a:pt x="79" y="163"/>
                </a:lnTo>
                <a:lnTo>
                  <a:pt x="51" y="191"/>
                </a:lnTo>
                <a:lnTo>
                  <a:pt x="22" y="163"/>
                </a:lnTo>
                <a:close/>
                <a:moveTo>
                  <a:pt x="22" y="225"/>
                </a:moveTo>
                <a:lnTo>
                  <a:pt x="51" y="197"/>
                </a:lnTo>
                <a:lnTo>
                  <a:pt x="79" y="225"/>
                </a:lnTo>
                <a:lnTo>
                  <a:pt x="51" y="253"/>
                </a:lnTo>
                <a:lnTo>
                  <a:pt x="22" y="225"/>
                </a:lnTo>
                <a:close/>
                <a:moveTo>
                  <a:pt x="22" y="286"/>
                </a:moveTo>
                <a:lnTo>
                  <a:pt x="51" y="258"/>
                </a:lnTo>
                <a:lnTo>
                  <a:pt x="79" y="286"/>
                </a:lnTo>
                <a:lnTo>
                  <a:pt x="51" y="313"/>
                </a:lnTo>
                <a:lnTo>
                  <a:pt x="22" y="286"/>
                </a:lnTo>
                <a:close/>
                <a:moveTo>
                  <a:pt x="22" y="346"/>
                </a:moveTo>
                <a:lnTo>
                  <a:pt x="51" y="320"/>
                </a:lnTo>
                <a:lnTo>
                  <a:pt x="79" y="346"/>
                </a:lnTo>
                <a:lnTo>
                  <a:pt x="51" y="374"/>
                </a:lnTo>
                <a:lnTo>
                  <a:pt x="22" y="346"/>
                </a:lnTo>
                <a:close/>
                <a:moveTo>
                  <a:pt x="22" y="408"/>
                </a:moveTo>
                <a:lnTo>
                  <a:pt x="51" y="380"/>
                </a:lnTo>
                <a:lnTo>
                  <a:pt x="79" y="408"/>
                </a:lnTo>
                <a:lnTo>
                  <a:pt x="51" y="436"/>
                </a:lnTo>
                <a:lnTo>
                  <a:pt x="22" y="408"/>
                </a:lnTo>
                <a:close/>
                <a:moveTo>
                  <a:pt x="22" y="468"/>
                </a:moveTo>
                <a:lnTo>
                  <a:pt x="51" y="441"/>
                </a:lnTo>
                <a:lnTo>
                  <a:pt x="79" y="468"/>
                </a:lnTo>
                <a:lnTo>
                  <a:pt x="51" y="496"/>
                </a:lnTo>
                <a:lnTo>
                  <a:pt x="22" y="468"/>
                </a:lnTo>
                <a:close/>
                <a:moveTo>
                  <a:pt x="22" y="529"/>
                </a:moveTo>
                <a:lnTo>
                  <a:pt x="51" y="501"/>
                </a:lnTo>
                <a:lnTo>
                  <a:pt x="79" y="529"/>
                </a:lnTo>
                <a:lnTo>
                  <a:pt x="51" y="558"/>
                </a:lnTo>
                <a:lnTo>
                  <a:pt x="22" y="529"/>
                </a:lnTo>
                <a:close/>
                <a:moveTo>
                  <a:pt x="22" y="591"/>
                </a:moveTo>
                <a:lnTo>
                  <a:pt x="51" y="563"/>
                </a:lnTo>
                <a:lnTo>
                  <a:pt x="79" y="591"/>
                </a:lnTo>
                <a:lnTo>
                  <a:pt x="51" y="618"/>
                </a:lnTo>
                <a:lnTo>
                  <a:pt x="22" y="591"/>
                </a:lnTo>
                <a:close/>
                <a:moveTo>
                  <a:pt x="52" y="622"/>
                </a:moveTo>
                <a:lnTo>
                  <a:pt x="80" y="594"/>
                </a:lnTo>
                <a:lnTo>
                  <a:pt x="108" y="622"/>
                </a:lnTo>
                <a:lnTo>
                  <a:pt x="80" y="650"/>
                </a:lnTo>
                <a:lnTo>
                  <a:pt x="52" y="622"/>
                </a:lnTo>
                <a:close/>
                <a:moveTo>
                  <a:pt x="80" y="709"/>
                </a:moveTo>
                <a:lnTo>
                  <a:pt x="52" y="683"/>
                </a:lnTo>
                <a:lnTo>
                  <a:pt x="80" y="655"/>
                </a:lnTo>
                <a:lnTo>
                  <a:pt x="108" y="683"/>
                </a:lnTo>
                <a:lnTo>
                  <a:pt x="80" y="709"/>
                </a:lnTo>
                <a:close/>
                <a:moveTo>
                  <a:pt x="84" y="651"/>
                </a:moveTo>
                <a:lnTo>
                  <a:pt x="111" y="624"/>
                </a:lnTo>
                <a:lnTo>
                  <a:pt x="139" y="651"/>
                </a:lnTo>
                <a:lnTo>
                  <a:pt x="111" y="679"/>
                </a:lnTo>
                <a:lnTo>
                  <a:pt x="84" y="651"/>
                </a:lnTo>
                <a:close/>
                <a:moveTo>
                  <a:pt x="142" y="709"/>
                </a:moveTo>
                <a:lnTo>
                  <a:pt x="114" y="683"/>
                </a:lnTo>
                <a:lnTo>
                  <a:pt x="142" y="655"/>
                </a:lnTo>
                <a:lnTo>
                  <a:pt x="169" y="683"/>
                </a:lnTo>
                <a:lnTo>
                  <a:pt x="142" y="709"/>
                </a:lnTo>
                <a:close/>
                <a:moveTo>
                  <a:pt x="144" y="651"/>
                </a:moveTo>
                <a:lnTo>
                  <a:pt x="173" y="624"/>
                </a:lnTo>
                <a:lnTo>
                  <a:pt x="201" y="651"/>
                </a:lnTo>
                <a:lnTo>
                  <a:pt x="173" y="679"/>
                </a:lnTo>
                <a:lnTo>
                  <a:pt x="144" y="651"/>
                </a:lnTo>
                <a:close/>
                <a:moveTo>
                  <a:pt x="202" y="709"/>
                </a:moveTo>
                <a:lnTo>
                  <a:pt x="177" y="683"/>
                </a:lnTo>
                <a:lnTo>
                  <a:pt x="202" y="655"/>
                </a:lnTo>
                <a:lnTo>
                  <a:pt x="230" y="683"/>
                </a:lnTo>
                <a:lnTo>
                  <a:pt x="202" y="709"/>
                </a:lnTo>
                <a:close/>
                <a:moveTo>
                  <a:pt x="206" y="651"/>
                </a:moveTo>
                <a:lnTo>
                  <a:pt x="234" y="624"/>
                </a:lnTo>
                <a:lnTo>
                  <a:pt x="261" y="651"/>
                </a:lnTo>
                <a:lnTo>
                  <a:pt x="234" y="679"/>
                </a:lnTo>
                <a:lnTo>
                  <a:pt x="206" y="651"/>
                </a:lnTo>
                <a:close/>
                <a:moveTo>
                  <a:pt x="264" y="709"/>
                </a:moveTo>
                <a:lnTo>
                  <a:pt x="236" y="683"/>
                </a:lnTo>
                <a:lnTo>
                  <a:pt x="264" y="655"/>
                </a:lnTo>
                <a:lnTo>
                  <a:pt x="292" y="683"/>
                </a:lnTo>
                <a:lnTo>
                  <a:pt x="264" y="709"/>
                </a:lnTo>
                <a:close/>
                <a:moveTo>
                  <a:pt x="268" y="651"/>
                </a:moveTo>
                <a:lnTo>
                  <a:pt x="295" y="624"/>
                </a:lnTo>
                <a:lnTo>
                  <a:pt x="323" y="651"/>
                </a:lnTo>
                <a:lnTo>
                  <a:pt x="295" y="679"/>
                </a:lnTo>
                <a:lnTo>
                  <a:pt x="268" y="651"/>
                </a:lnTo>
                <a:close/>
                <a:moveTo>
                  <a:pt x="327" y="709"/>
                </a:moveTo>
                <a:lnTo>
                  <a:pt x="299" y="683"/>
                </a:lnTo>
                <a:lnTo>
                  <a:pt x="327" y="655"/>
                </a:lnTo>
                <a:lnTo>
                  <a:pt x="352" y="683"/>
                </a:lnTo>
                <a:lnTo>
                  <a:pt x="327" y="709"/>
                </a:lnTo>
                <a:close/>
                <a:moveTo>
                  <a:pt x="328" y="651"/>
                </a:moveTo>
                <a:lnTo>
                  <a:pt x="356" y="624"/>
                </a:lnTo>
                <a:lnTo>
                  <a:pt x="385" y="651"/>
                </a:lnTo>
                <a:lnTo>
                  <a:pt x="356" y="679"/>
                </a:lnTo>
                <a:lnTo>
                  <a:pt x="328" y="651"/>
                </a:lnTo>
                <a:close/>
                <a:moveTo>
                  <a:pt x="386" y="709"/>
                </a:moveTo>
                <a:lnTo>
                  <a:pt x="358" y="683"/>
                </a:lnTo>
                <a:lnTo>
                  <a:pt x="386" y="655"/>
                </a:lnTo>
                <a:lnTo>
                  <a:pt x="414" y="683"/>
                </a:lnTo>
                <a:lnTo>
                  <a:pt x="386" y="709"/>
                </a:lnTo>
                <a:close/>
                <a:moveTo>
                  <a:pt x="390" y="651"/>
                </a:moveTo>
                <a:lnTo>
                  <a:pt x="417" y="624"/>
                </a:lnTo>
                <a:lnTo>
                  <a:pt x="445" y="651"/>
                </a:lnTo>
                <a:lnTo>
                  <a:pt x="417" y="679"/>
                </a:lnTo>
                <a:lnTo>
                  <a:pt x="390" y="651"/>
                </a:lnTo>
                <a:close/>
                <a:moveTo>
                  <a:pt x="447" y="709"/>
                </a:moveTo>
                <a:lnTo>
                  <a:pt x="419" y="683"/>
                </a:lnTo>
                <a:lnTo>
                  <a:pt x="447" y="655"/>
                </a:lnTo>
                <a:lnTo>
                  <a:pt x="474" y="683"/>
                </a:lnTo>
                <a:lnTo>
                  <a:pt x="447" y="709"/>
                </a:lnTo>
                <a:close/>
                <a:moveTo>
                  <a:pt x="450" y="651"/>
                </a:moveTo>
                <a:lnTo>
                  <a:pt x="478" y="624"/>
                </a:lnTo>
                <a:lnTo>
                  <a:pt x="506" y="651"/>
                </a:lnTo>
                <a:lnTo>
                  <a:pt x="478" y="679"/>
                </a:lnTo>
                <a:lnTo>
                  <a:pt x="450" y="651"/>
                </a:lnTo>
                <a:close/>
                <a:moveTo>
                  <a:pt x="508" y="709"/>
                </a:moveTo>
                <a:lnTo>
                  <a:pt x="482" y="683"/>
                </a:lnTo>
                <a:lnTo>
                  <a:pt x="508" y="655"/>
                </a:lnTo>
                <a:lnTo>
                  <a:pt x="536" y="683"/>
                </a:lnTo>
                <a:lnTo>
                  <a:pt x="508" y="709"/>
                </a:lnTo>
                <a:close/>
                <a:moveTo>
                  <a:pt x="512" y="651"/>
                </a:moveTo>
                <a:lnTo>
                  <a:pt x="540" y="624"/>
                </a:lnTo>
                <a:lnTo>
                  <a:pt x="567" y="651"/>
                </a:lnTo>
                <a:lnTo>
                  <a:pt x="540" y="679"/>
                </a:lnTo>
                <a:lnTo>
                  <a:pt x="512" y="651"/>
                </a:lnTo>
                <a:close/>
                <a:moveTo>
                  <a:pt x="570" y="709"/>
                </a:moveTo>
                <a:lnTo>
                  <a:pt x="541" y="683"/>
                </a:lnTo>
                <a:lnTo>
                  <a:pt x="570" y="655"/>
                </a:lnTo>
                <a:lnTo>
                  <a:pt x="598" y="683"/>
                </a:lnTo>
                <a:lnTo>
                  <a:pt x="570" y="709"/>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484" name="Freeform 1276"/>
          <p:cNvSpPr>
            <a:spLocks noEditPoints="1"/>
          </p:cNvSpPr>
          <p:nvPr/>
        </p:nvSpPr>
        <p:spPr bwMode="auto">
          <a:xfrm>
            <a:off x="9976445" y="5227638"/>
            <a:ext cx="1031875" cy="1166813"/>
          </a:xfrm>
          <a:custGeom>
            <a:avLst/>
            <a:gdLst>
              <a:gd name="T0" fmla="*/ 18 w 650"/>
              <a:gd name="T1" fmla="*/ 464 h 735"/>
              <a:gd name="T2" fmla="*/ 17 w 650"/>
              <a:gd name="T3" fmla="*/ 286 h 735"/>
              <a:gd name="T4" fmla="*/ 4 w 650"/>
              <a:gd name="T5" fmla="*/ 122 h 735"/>
              <a:gd name="T6" fmla="*/ 109 w 650"/>
              <a:gd name="T7" fmla="*/ 11 h 735"/>
              <a:gd name="T8" fmla="*/ 237 w 650"/>
              <a:gd name="T9" fmla="*/ 11 h 735"/>
              <a:gd name="T10" fmla="*/ 425 w 650"/>
              <a:gd name="T11" fmla="*/ 0 h 735"/>
              <a:gd name="T12" fmla="*/ 590 w 650"/>
              <a:gd name="T13" fmla="*/ 0 h 735"/>
              <a:gd name="T14" fmla="*/ 645 w 650"/>
              <a:gd name="T15" fmla="*/ 146 h 735"/>
              <a:gd name="T16" fmla="*/ 603 w 650"/>
              <a:gd name="T17" fmla="*/ 316 h 735"/>
              <a:gd name="T18" fmla="*/ 633 w 650"/>
              <a:gd name="T19" fmla="*/ 475 h 735"/>
              <a:gd name="T20" fmla="*/ 571 w 650"/>
              <a:gd name="T21" fmla="*/ 713 h 735"/>
              <a:gd name="T22" fmla="*/ 444 w 650"/>
              <a:gd name="T23" fmla="*/ 713 h 735"/>
              <a:gd name="T24" fmla="*/ 243 w 650"/>
              <a:gd name="T25" fmla="*/ 735 h 735"/>
              <a:gd name="T26" fmla="*/ 101 w 650"/>
              <a:gd name="T27" fmla="*/ 735 h 735"/>
              <a:gd name="T28" fmla="*/ 474 w 650"/>
              <a:gd name="T29" fmla="*/ 378 h 735"/>
              <a:gd name="T30" fmla="*/ 322 w 650"/>
              <a:gd name="T31" fmla="*/ 346 h 735"/>
              <a:gd name="T32" fmla="*/ 172 w 650"/>
              <a:gd name="T33" fmla="*/ 258 h 735"/>
              <a:gd name="T34" fmla="*/ 266 w 650"/>
              <a:gd name="T35" fmla="*/ 286 h 735"/>
              <a:gd name="T36" fmla="*/ 420 w 650"/>
              <a:gd name="T37" fmla="*/ 316 h 735"/>
              <a:gd name="T38" fmla="*/ 448 w 650"/>
              <a:gd name="T39" fmla="*/ 465 h 735"/>
              <a:gd name="T40" fmla="*/ 324 w 650"/>
              <a:gd name="T41" fmla="*/ 409 h 735"/>
              <a:gd name="T42" fmla="*/ 172 w 650"/>
              <a:gd name="T43" fmla="*/ 380 h 735"/>
              <a:gd name="T44" fmla="*/ 143 w 650"/>
              <a:gd name="T45" fmla="*/ 282 h 735"/>
              <a:gd name="T46" fmla="*/ 294 w 650"/>
              <a:gd name="T47" fmla="*/ 253 h 735"/>
              <a:gd name="T48" fmla="*/ 416 w 650"/>
              <a:gd name="T49" fmla="*/ 197 h 735"/>
              <a:gd name="T50" fmla="*/ 482 w 650"/>
              <a:gd name="T51" fmla="*/ 316 h 735"/>
              <a:gd name="T52" fmla="*/ 420 w 650"/>
              <a:gd name="T53" fmla="*/ 500 h 735"/>
              <a:gd name="T54" fmla="*/ 352 w 650"/>
              <a:gd name="T55" fmla="*/ 500 h 735"/>
              <a:gd name="T56" fmla="*/ 201 w 650"/>
              <a:gd name="T57" fmla="*/ 468 h 735"/>
              <a:gd name="T58" fmla="*/ 84 w 650"/>
              <a:gd name="T59" fmla="*/ 346 h 735"/>
              <a:gd name="T60" fmla="*/ 115 w 650"/>
              <a:gd name="T61" fmla="*/ 195 h 735"/>
              <a:gd name="T62" fmla="*/ 322 w 650"/>
              <a:gd name="T63" fmla="*/ 163 h 735"/>
              <a:gd name="T64" fmla="*/ 389 w 650"/>
              <a:gd name="T65" fmla="*/ 163 h 735"/>
              <a:gd name="T66" fmla="*/ 511 w 650"/>
              <a:gd name="T67" fmla="*/ 225 h 735"/>
              <a:gd name="T68" fmla="*/ 566 w 650"/>
              <a:gd name="T69" fmla="*/ 468 h 735"/>
              <a:gd name="T70" fmla="*/ 448 w 650"/>
              <a:gd name="T71" fmla="*/ 533 h 735"/>
              <a:gd name="T72" fmla="*/ 294 w 650"/>
              <a:gd name="T73" fmla="*/ 501 h 735"/>
              <a:gd name="T74" fmla="*/ 172 w 650"/>
              <a:gd name="T75" fmla="*/ 558 h 735"/>
              <a:gd name="T76" fmla="*/ 109 w 650"/>
              <a:gd name="T77" fmla="*/ 378 h 735"/>
              <a:gd name="T78" fmla="*/ 53 w 650"/>
              <a:gd name="T79" fmla="*/ 132 h 735"/>
              <a:gd name="T80" fmla="*/ 176 w 650"/>
              <a:gd name="T81" fmla="*/ 132 h 735"/>
              <a:gd name="T82" fmla="*/ 383 w 650"/>
              <a:gd name="T83" fmla="*/ 103 h 735"/>
              <a:gd name="T84" fmla="*/ 450 w 650"/>
              <a:gd name="T85" fmla="*/ 103 h 735"/>
              <a:gd name="T86" fmla="*/ 542 w 650"/>
              <a:gd name="T87" fmla="*/ 254 h 735"/>
              <a:gd name="T88" fmla="*/ 598 w 650"/>
              <a:gd name="T89" fmla="*/ 500 h 735"/>
              <a:gd name="T90" fmla="*/ 506 w 650"/>
              <a:gd name="T91" fmla="*/ 591 h 735"/>
              <a:gd name="T92" fmla="*/ 298 w 650"/>
              <a:gd name="T93" fmla="*/ 622 h 735"/>
              <a:gd name="T94" fmla="*/ 231 w 650"/>
              <a:gd name="T95" fmla="*/ 622 h 735"/>
              <a:gd name="T96" fmla="*/ 22 w 650"/>
              <a:gd name="T97" fmla="*/ 529 h 735"/>
              <a:gd name="T98" fmla="*/ 77 w 650"/>
              <a:gd name="T99" fmla="*/ 286 h 735"/>
              <a:gd name="T100" fmla="*/ 51 w 650"/>
              <a:gd name="T101" fmla="*/ 15 h 735"/>
              <a:gd name="T102" fmla="*/ 203 w 650"/>
              <a:gd name="T103" fmla="*/ 99 h 735"/>
              <a:gd name="T104" fmla="*/ 324 w 650"/>
              <a:gd name="T105" fmla="*/ 46 h 735"/>
              <a:gd name="T106" fmla="*/ 478 w 650"/>
              <a:gd name="T107" fmla="*/ 15 h 735"/>
              <a:gd name="T108" fmla="*/ 571 w 650"/>
              <a:gd name="T109" fmla="*/ 42 h 735"/>
              <a:gd name="T110" fmla="*/ 628 w 650"/>
              <a:gd name="T111" fmla="*/ 286 h 735"/>
              <a:gd name="T112" fmla="*/ 599 w 650"/>
              <a:gd name="T113" fmla="*/ 563 h 735"/>
              <a:gd name="T114" fmla="*/ 482 w 650"/>
              <a:gd name="T115" fmla="*/ 683 h 735"/>
              <a:gd name="T116" fmla="*/ 383 w 650"/>
              <a:gd name="T117" fmla="*/ 651 h 735"/>
              <a:gd name="T118" fmla="*/ 206 w 650"/>
              <a:gd name="T119" fmla="*/ 651 h 735"/>
              <a:gd name="T120" fmla="*/ 139 w 650"/>
              <a:gd name="T121" fmla="*/ 651 h 7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50" h="735">
                <a:moveTo>
                  <a:pt x="26" y="662"/>
                </a:moveTo>
                <a:lnTo>
                  <a:pt x="26" y="656"/>
                </a:lnTo>
                <a:lnTo>
                  <a:pt x="51" y="679"/>
                </a:lnTo>
                <a:lnTo>
                  <a:pt x="77" y="651"/>
                </a:lnTo>
                <a:lnTo>
                  <a:pt x="51" y="624"/>
                </a:lnTo>
                <a:lnTo>
                  <a:pt x="26" y="647"/>
                </a:lnTo>
                <a:lnTo>
                  <a:pt x="26" y="642"/>
                </a:lnTo>
                <a:lnTo>
                  <a:pt x="47" y="622"/>
                </a:lnTo>
                <a:lnTo>
                  <a:pt x="25" y="599"/>
                </a:lnTo>
                <a:lnTo>
                  <a:pt x="25" y="591"/>
                </a:lnTo>
                <a:lnTo>
                  <a:pt x="51" y="618"/>
                </a:lnTo>
                <a:lnTo>
                  <a:pt x="77" y="591"/>
                </a:lnTo>
                <a:lnTo>
                  <a:pt x="51" y="563"/>
                </a:lnTo>
                <a:lnTo>
                  <a:pt x="25" y="590"/>
                </a:lnTo>
                <a:lnTo>
                  <a:pt x="25" y="584"/>
                </a:lnTo>
                <a:lnTo>
                  <a:pt x="47" y="559"/>
                </a:lnTo>
                <a:lnTo>
                  <a:pt x="22" y="535"/>
                </a:lnTo>
                <a:lnTo>
                  <a:pt x="21" y="525"/>
                </a:lnTo>
                <a:lnTo>
                  <a:pt x="47" y="500"/>
                </a:lnTo>
                <a:lnTo>
                  <a:pt x="18" y="472"/>
                </a:lnTo>
                <a:lnTo>
                  <a:pt x="18" y="472"/>
                </a:lnTo>
                <a:lnTo>
                  <a:pt x="18" y="464"/>
                </a:lnTo>
                <a:lnTo>
                  <a:pt x="18" y="465"/>
                </a:lnTo>
                <a:lnTo>
                  <a:pt x="47" y="437"/>
                </a:lnTo>
                <a:lnTo>
                  <a:pt x="18" y="409"/>
                </a:lnTo>
                <a:lnTo>
                  <a:pt x="17" y="413"/>
                </a:lnTo>
                <a:lnTo>
                  <a:pt x="17" y="408"/>
                </a:lnTo>
                <a:lnTo>
                  <a:pt x="17" y="408"/>
                </a:lnTo>
                <a:lnTo>
                  <a:pt x="17" y="408"/>
                </a:lnTo>
                <a:lnTo>
                  <a:pt x="17" y="400"/>
                </a:lnTo>
                <a:lnTo>
                  <a:pt x="18" y="404"/>
                </a:lnTo>
                <a:lnTo>
                  <a:pt x="47" y="378"/>
                </a:lnTo>
                <a:lnTo>
                  <a:pt x="18" y="350"/>
                </a:lnTo>
                <a:lnTo>
                  <a:pt x="16" y="356"/>
                </a:lnTo>
                <a:lnTo>
                  <a:pt x="13" y="350"/>
                </a:lnTo>
                <a:lnTo>
                  <a:pt x="17" y="346"/>
                </a:lnTo>
                <a:lnTo>
                  <a:pt x="13" y="344"/>
                </a:lnTo>
                <a:lnTo>
                  <a:pt x="13" y="337"/>
                </a:lnTo>
                <a:lnTo>
                  <a:pt x="18" y="344"/>
                </a:lnTo>
                <a:lnTo>
                  <a:pt x="47" y="316"/>
                </a:lnTo>
                <a:lnTo>
                  <a:pt x="18" y="287"/>
                </a:lnTo>
                <a:lnTo>
                  <a:pt x="12" y="295"/>
                </a:lnTo>
                <a:lnTo>
                  <a:pt x="12" y="290"/>
                </a:lnTo>
                <a:lnTo>
                  <a:pt x="17" y="286"/>
                </a:lnTo>
                <a:lnTo>
                  <a:pt x="12" y="281"/>
                </a:lnTo>
                <a:lnTo>
                  <a:pt x="12" y="273"/>
                </a:lnTo>
                <a:lnTo>
                  <a:pt x="18" y="282"/>
                </a:lnTo>
                <a:lnTo>
                  <a:pt x="47" y="254"/>
                </a:lnTo>
                <a:lnTo>
                  <a:pt x="18" y="229"/>
                </a:lnTo>
                <a:lnTo>
                  <a:pt x="9" y="238"/>
                </a:lnTo>
                <a:lnTo>
                  <a:pt x="9" y="231"/>
                </a:lnTo>
                <a:lnTo>
                  <a:pt x="17" y="225"/>
                </a:lnTo>
                <a:lnTo>
                  <a:pt x="8" y="217"/>
                </a:lnTo>
                <a:lnTo>
                  <a:pt x="8" y="210"/>
                </a:lnTo>
                <a:lnTo>
                  <a:pt x="18" y="221"/>
                </a:lnTo>
                <a:lnTo>
                  <a:pt x="47" y="195"/>
                </a:lnTo>
                <a:lnTo>
                  <a:pt x="18" y="167"/>
                </a:lnTo>
                <a:lnTo>
                  <a:pt x="8" y="179"/>
                </a:lnTo>
                <a:lnTo>
                  <a:pt x="8" y="174"/>
                </a:lnTo>
                <a:lnTo>
                  <a:pt x="17" y="163"/>
                </a:lnTo>
                <a:lnTo>
                  <a:pt x="6" y="154"/>
                </a:lnTo>
                <a:lnTo>
                  <a:pt x="6" y="146"/>
                </a:lnTo>
                <a:lnTo>
                  <a:pt x="18" y="160"/>
                </a:lnTo>
                <a:lnTo>
                  <a:pt x="47" y="132"/>
                </a:lnTo>
                <a:lnTo>
                  <a:pt x="18" y="107"/>
                </a:lnTo>
                <a:lnTo>
                  <a:pt x="4" y="122"/>
                </a:lnTo>
                <a:lnTo>
                  <a:pt x="4" y="116"/>
                </a:lnTo>
                <a:lnTo>
                  <a:pt x="17" y="103"/>
                </a:lnTo>
                <a:lnTo>
                  <a:pt x="4" y="90"/>
                </a:lnTo>
                <a:lnTo>
                  <a:pt x="2" y="83"/>
                </a:lnTo>
                <a:lnTo>
                  <a:pt x="18" y="99"/>
                </a:lnTo>
                <a:lnTo>
                  <a:pt x="47" y="74"/>
                </a:lnTo>
                <a:lnTo>
                  <a:pt x="18" y="46"/>
                </a:lnTo>
                <a:lnTo>
                  <a:pt x="2" y="62"/>
                </a:lnTo>
                <a:lnTo>
                  <a:pt x="2" y="56"/>
                </a:lnTo>
                <a:lnTo>
                  <a:pt x="17" y="42"/>
                </a:lnTo>
                <a:lnTo>
                  <a:pt x="0" y="27"/>
                </a:lnTo>
                <a:lnTo>
                  <a:pt x="0" y="19"/>
                </a:lnTo>
                <a:lnTo>
                  <a:pt x="18" y="39"/>
                </a:lnTo>
                <a:lnTo>
                  <a:pt x="47" y="11"/>
                </a:lnTo>
                <a:lnTo>
                  <a:pt x="36" y="0"/>
                </a:lnTo>
                <a:lnTo>
                  <a:pt x="41" y="0"/>
                </a:lnTo>
                <a:lnTo>
                  <a:pt x="51" y="8"/>
                </a:lnTo>
                <a:lnTo>
                  <a:pt x="60" y="0"/>
                </a:lnTo>
                <a:lnTo>
                  <a:pt x="65" y="0"/>
                </a:lnTo>
                <a:lnTo>
                  <a:pt x="53" y="11"/>
                </a:lnTo>
                <a:lnTo>
                  <a:pt x="81" y="39"/>
                </a:lnTo>
                <a:lnTo>
                  <a:pt x="109" y="11"/>
                </a:lnTo>
                <a:lnTo>
                  <a:pt x="96" y="0"/>
                </a:lnTo>
                <a:lnTo>
                  <a:pt x="103" y="0"/>
                </a:lnTo>
                <a:lnTo>
                  <a:pt x="111" y="8"/>
                </a:lnTo>
                <a:lnTo>
                  <a:pt x="120" y="0"/>
                </a:lnTo>
                <a:lnTo>
                  <a:pt x="126" y="0"/>
                </a:lnTo>
                <a:lnTo>
                  <a:pt x="115" y="11"/>
                </a:lnTo>
                <a:lnTo>
                  <a:pt x="143" y="39"/>
                </a:lnTo>
                <a:lnTo>
                  <a:pt x="168" y="11"/>
                </a:lnTo>
                <a:lnTo>
                  <a:pt x="158" y="0"/>
                </a:lnTo>
                <a:lnTo>
                  <a:pt x="163" y="0"/>
                </a:lnTo>
                <a:lnTo>
                  <a:pt x="172" y="8"/>
                </a:lnTo>
                <a:lnTo>
                  <a:pt x="182" y="0"/>
                </a:lnTo>
                <a:lnTo>
                  <a:pt x="187" y="0"/>
                </a:lnTo>
                <a:lnTo>
                  <a:pt x="176" y="11"/>
                </a:lnTo>
                <a:lnTo>
                  <a:pt x="203" y="39"/>
                </a:lnTo>
                <a:lnTo>
                  <a:pt x="231" y="11"/>
                </a:lnTo>
                <a:lnTo>
                  <a:pt x="219" y="0"/>
                </a:lnTo>
                <a:lnTo>
                  <a:pt x="225" y="0"/>
                </a:lnTo>
                <a:lnTo>
                  <a:pt x="234" y="8"/>
                </a:lnTo>
                <a:lnTo>
                  <a:pt x="242" y="0"/>
                </a:lnTo>
                <a:lnTo>
                  <a:pt x="250" y="0"/>
                </a:lnTo>
                <a:lnTo>
                  <a:pt x="237" y="11"/>
                </a:lnTo>
                <a:lnTo>
                  <a:pt x="265" y="39"/>
                </a:lnTo>
                <a:lnTo>
                  <a:pt x="293" y="11"/>
                </a:lnTo>
                <a:lnTo>
                  <a:pt x="280" y="0"/>
                </a:lnTo>
                <a:lnTo>
                  <a:pt x="285" y="0"/>
                </a:lnTo>
                <a:lnTo>
                  <a:pt x="294" y="8"/>
                </a:lnTo>
                <a:lnTo>
                  <a:pt x="304" y="0"/>
                </a:lnTo>
                <a:lnTo>
                  <a:pt x="309" y="0"/>
                </a:lnTo>
                <a:lnTo>
                  <a:pt x="298" y="11"/>
                </a:lnTo>
                <a:lnTo>
                  <a:pt x="324" y="39"/>
                </a:lnTo>
                <a:lnTo>
                  <a:pt x="352" y="11"/>
                </a:lnTo>
                <a:lnTo>
                  <a:pt x="341" y="0"/>
                </a:lnTo>
                <a:lnTo>
                  <a:pt x="346" y="0"/>
                </a:lnTo>
                <a:lnTo>
                  <a:pt x="356" y="8"/>
                </a:lnTo>
                <a:lnTo>
                  <a:pt x="365" y="0"/>
                </a:lnTo>
                <a:lnTo>
                  <a:pt x="371" y="0"/>
                </a:lnTo>
                <a:lnTo>
                  <a:pt x="359" y="11"/>
                </a:lnTo>
                <a:lnTo>
                  <a:pt x="387" y="39"/>
                </a:lnTo>
                <a:lnTo>
                  <a:pt x="415" y="11"/>
                </a:lnTo>
                <a:lnTo>
                  <a:pt x="401" y="0"/>
                </a:lnTo>
                <a:lnTo>
                  <a:pt x="408" y="0"/>
                </a:lnTo>
                <a:lnTo>
                  <a:pt x="416" y="8"/>
                </a:lnTo>
                <a:lnTo>
                  <a:pt x="425" y="0"/>
                </a:lnTo>
                <a:lnTo>
                  <a:pt x="431" y="0"/>
                </a:lnTo>
                <a:lnTo>
                  <a:pt x="420" y="11"/>
                </a:lnTo>
                <a:lnTo>
                  <a:pt x="448" y="39"/>
                </a:lnTo>
                <a:lnTo>
                  <a:pt x="474" y="11"/>
                </a:lnTo>
                <a:lnTo>
                  <a:pt x="463" y="0"/>
                </a:lnTo>
                <a:lnTo>
                  <a:pt x="468" y="0"/>
                </a:lnTo>
                <a:lnTo>
                  <a:pt x="478" y="8"/>
                </a:lnTo>
                <a:lnTo>
                  <a:pt x="487" y="0"/>
                </a:lnTo>
                <a:lnTo>
                  <a:pt x="492" y="0"/>
                </a:lnTo>
                <a:lnTo>
                  <a:pt x="482" y="11"/>
                </a:lnTo>
                <a:lnTo>
                  <a:pt x="508" y="39"/>
                </a:lnTo>
                <a:lnTo>
                  <a:pt x="537" y="11"/>
                </a:lnTo>
                <a:lnTo>
                  <a:pt x="525" y="0"/>
                </a:lnTo>
                <a:lnTo>
                  <a:pt x="530" y="0"/>
                </a:lnTo>
                <a:lnTo>
                  <a:pt x="539" y="8"/>
                </a:lnTo>
                <a:lnTo>
                  <a:pt x="547" y="0"/>
                </a:lnTo>
                <a:lnTo>
                  <a:pt x="553" y="0"/>
                </a:lnTo>
                <a:lnTo>
                  <a:pt x="542" y="11"/>
                </a:lnTo>
                <a:lnTo>
                  <a:pt x="570" y="39"/>
                </a:lnTo>
                <a:lnTo>
                  <a:pt x="598" y="11"/>
                </a:lnTo>
                <a:lnTo>
                  <a:pt x="585" y="0"/>
                </a:lnTo>
                <a:lnTo>
                  <a:pt x="590" y="0"/>
                </a:lnTo>
                <a:lnTo>
                  <a:pt x="599" y="8"/>
                </a:lnTo>
                <a:lnTo>
                  <a:pt x="609" y="0"/>
                </a:lnTo>
                <a:lnTo>
                  <a:pt x="614" y="0"/>
                </a:lnTo>
                <a:lnTo>
                  <a:pt x="603" y="11"/>
                </a:lnTo>
                <a:lnTo>
                  <a:pt x="630" y="39"/>
                </a:lnTo>
                <a:lnTo>
                  <a:pt x="650" y="19"/>
                </a:lnTo>
                <a:lnTo>
                  <a:pt x="650" y="27"/>
                </a:lnTo>
                <a:lnTo>
                  <a:pt x="633" y="42"/>
                </a:lnTo>
                <a:lnTo>
                  <a:pt x="649" y="56"/>
                </a:lnTo>
                <a:lnTo>
                  <a:pt x="649" y="64"/>
                </a:lnTo>
                <a:lnTo>
                  <a:pt x="630" y="46"/>
                </a:lnTo>
                <a:lnTo>
                  <a:pt x="603" y="74"/>
                </a:lnTo>
                <a:lnTo>
                  <a:pt x="630" y="99"/>
                </a:lnTo>
                <a:lnTo>
                  <a:pt x="649" y="83"/>
                </a:lnTo>
                <a:lnTo>
                  <a:pt x="649" y="88"/>
                </a:lnTo>
                <a:lnTo>
                  <a:pt x="633" y="103"/>
                </a:lnTo>
                <a:lnTo>
                  <a:pt x="646" y="116"/>
                </a:lnTo>
                <a:lnTo>
                  <a:pt x="646" y="122"/>
                </a:lnTo>
                <a:lnTo>
                  <a:pt x="630" y="107"/>
                </a:lnTo>
                <a:lnTo>
                  <a:pt x="603" y="132"/>
                </a:lnTo>
                <a:lnTo>
                  <a:pt x="630" y="160"/>
                </a:lnTo>
                <a:lnTo>
                  <a:pt x="645" y="146"/>
                </a:lnTo>
                <a:lnTo>
                  <a:pt x="645" y="151"/>
                </a:lnTo>
                <a:lnTo>
                  <a:pt x="633" y="163"/>
                </a:lnTo>
                <a:lnTo>
                  <a:pt x="645" y="174"/>
                </a:lnTo>
                <a:lnTo>
                  <a:pt x="645" y="179"/>
                </a:lnTo>
                <a:lnTo>
                  <a:pt x="630" y="167"/>
                </a:lnTo>
                <a:lnTo>
                  <a:pt x="603" y="195"/>
                </a:lnTo>
                <a:lnTo>
                  <a:pt x="630" y="221"/>
                </a:lnTo>
                <a:lnTo>
                  <a:pt x="642" y="210"/>
                </a:lnTo>
                <a:lnTo>
                  <a:pt x="642" y="215"/>
                </a:lnTo>
                <a:lnTo>
                  <a:pt x="633" y="225"/>
                </a:lnTo>
                <a:lnTo>
                  <a:pt x="642" y="234"/>
                </a:lnTo>
                <a:lnTo>
                  <a:pt x="642" y="239"/>
                </a:lnTo>
                <a:lnTo>
                  <a:pt x="630" y="229"/>
                </a:lnTo>
                <a:lnTo>
                  <a:pt x="603" y="254"/>
                </a:lnTo>
                <a:lnTo>
                  <a:pt x="630" y="282"/>
                </a:lnTo>
                <a:lnTo>
                  <a:pt x="641" y="273"/>
                </a:lnTo>
                <a:lnTo>
                  <a:pt x="641" y="278"/>
                </a:lnTo>
                <a:lnTo>
                  <a:pt x="633" y="286"/>
                </a:lnTo>
                <a:lnTo>
                  <a:pt x="641" y="291"/>
                </a:lnTo>
                <a:lnTo>
                  <a:pt x="640" y="297"/>
                </a:lnTo>
                <a:lnTo>
                  <a:pt x="630" y="287"/>
                </a:lnTo>
                <a:lnTo>
                  <a:pt x="603" y="316"/>
                </a:lnTo>
                <a:lnTo>
                  <a:pt x="630" y="344"/>
                </a:lnTo>
                <a:lnTo>
                  <a:pt x="640" y="334"/>
                </a:lnTo>
                <a:lnTo>
                  <a:pt x="640" y="342"/>
                </a:lnTo>
                <a:lnTo>
                  <a:pt x="633" y="346"/>
                </a:lnTo>
                <a:lnTo>
                  <a:pt x="637" y="352"/>
                </a:lnTo>
                <a:lnTo>
                  <a:pt x="637" y="357"/>
                </a:lnTo>
                <a:lnTo>
                  <a:pt x="630" y="350"/>
                </a:lnTo>
                <a:lnTo>
                  <a:pt x="603" y="378"/>
                </a:lnTo>
                <a:lnTo>
                  <a:pt x="630" y="404"/>
                </a:lnTo>
                <a:lnTo>
                  <a:pt x="637" y="398"/>
                </a:lnTo>
                <a:lnTo>
                  <a:pt x="636" y="404"/>
                </a:lnTo>
                <a:lnTo>
                  <a:pt x="633" y="408"/>
                </a:lnTo>
                <a:lnTo>
                  <a:pt x="636" y="409"/>
                </a:lnTo>
                <a:lnTo>
                  <a:pt x="636" y="416"/>
                </a:lnTo>
                <a:lnTo>
                  <a:pt x="630" y="409"/>
                </a:lnTo>
                <a:lnTo>
                  <a:pt x="603" y="437"/>
                </a:lnTo>
                <a:lnTo>
                  <a:pt x="630" y="465"/>
                </a:lnTo>
                <a:lnTo>
                  <a:pt x="633" y="463"/>
                </a:lnTo>
                <a:lnTo>
                  <a:pt x="633" y="468"/>
                </a:lnTo>
                <a:lnTo>
                  <a:pt x="633" y="468"/>
                </a:lnTo>
                <a:lnTo>
                  <a:pt x="633" y="469"/>
                </a:lnTo>
                <a:lnTo>
                  <a:pt x="633" y="475"/>
                </a:lnTo>
                <a:lnTo>
                  <a:pt x="630" y="472"/>
                </a:lnTo>
                <a:lnTo>
                  <a:pt x="603" y="500"/>
                </a:lnTo>
                <a:lnTo>
                  <a:pt x="630" y="525"/>
                </a:lnTo>
                <a:lnTo>
                  <a:pt x="632" y="525"/>
                </a:lnTo>
                <a:lnTo>
                  <a:pt x="632" y="533"/>
                </a:lnTo>
                <a:lnTo>
                  <a:pt x="630" y="533"/>
                </a:lnTo>
                <a:lnTo>
                  <a:pt x="603" y="559"/>
                </a:lnTo>
                <a:lnTo>
                  <a:pt x="630" y="587"/>
                </a:lnTo>
                <a:lnTo>
                  <a:pt x="630" y="595"/>
                </a:lnTo>
                <a:lnTo>
                  <a:pt x="603" y="622"/>
                </a:lnTo>
                <a:lnTo>
                  <a:pt x="628" y="646"/>
                </a:lnTo>
                <a:lnTo>
                  <a:pt x="628" y="651"/>
                </a:lnTo>
                <a:lnTo>
                  <a:pt x="599" y="624"/>
                </a:lnTo>
                <a:lnTo>
                  <a:pt x="571" y="651"/>
                </a:lnTo>
                <a:lnTo>
                  <a:pt x="599" y="679"/>
                </a:lnTo>
                <a:lnTo>
                  <a:pt x="628" y="651"/>
                </a:lnTo>
                <a:lnTo>
                  <a:pt x="626" y="659"/>
                </a:lnTo>
                <a:lnTo>
                  <a:pt x="603" y="683"/>
                </a:lnTo>
                <a:lnTo>
                  <a:pt x="626" y="703"/>
                </a:lnTo>
                <a:lnTo>
                  <a:pt x="624" y="711"/>
                </a:lnTo>
                <a:lnTo>
                  <a:pt x="599" y="684"/>
                </a:lnTo>
                <a:lnTo>
                  <a:pt x="571" y="713"/>
                </a:lnTo>
                <a:lnTo>
                  <a:pt x="595" y="735"/>
                </a:lnTo>
                <a:lnTo>
                  <a:pt x="589" y="735"/>
                </a:lnTo>
                <a:lnTo>
                  <a:pt x="570" y="715"/>
                </a:lnTo>
                <a:lnTo>
                  <a:pt x="549" y="735"/>
                </a:lnTo>
                <a:lnTo>
                  <a:pt x="543" y="735"/>
                </a:lnTo>
                <a:lnTo>
                  <a:pt x="566" y="713"/>
                </a:lnTo>
                <a:lnTo>
                  <a:pt x="539" y="684"/>
                </a:lnTo>
                <a:lnTo>
                  <a:pt x="511" y="713"/>
                </a:lnTo>
                <a:lnTo>
                  <a:pt x="534" y="735"/>
                </a:lnTo>
                <a:lnTo>
                  <a:pt x="529" y="735"/>
                </a:lnTo>
                <a:lnTo>
                  <a:pt x="508" y="715"/>
                </a:lnTo>
                <a:lnTo>
                  <a:pt x="490" y="735"/>
                </a:lnTo>
                <a:lnTo>
                  <a:pt x="482" y="735"/>
                </a:lnTo>
                <a:lnTo>
                  <a:pt x="506" y="713"/>
                </a:lnTo>
                <a:lnTo>
                  <a:pt x="478" y="684"/>
                </a:lnTo>
                <a:lnTo>
                  <a:pt x="450" y="713"/>
                </a:lnTo>
                <a:lnTo>
                  <a:pt x="472" y="735"/>
                </a:lnTo>
                <a:lnTo>
                  <a:pt x="467" y="735"/>
                </a:lnTo>
                <a:lnTo>
                  <a:pt x="448" y="715"/>
                </a:lnTo>
                <a:lnTo>
                  <a:pt x="427" y="735"/>
                </a:lnTo>
                <a:lnTo>
                  <a:pt x="421" y="735"/>
                </a:lnTo>
                <a:lnTo>
                  <a:pt x="444" y="713"/>
                </a:lnTo>
                <a:lnTo>
                  <a:pt x="416" y="684"/>
                </a:lnTo>
                <a:lnTo>
                  <a:pt x="389" y="713"/>
                </a:lnTo>
                <a:lnTo>
                  <a:pt x="412" y="735"/>
                </a:lnTo>
                <a:lnTo>
                  <a:pt x="407" y="735"/>
                </a:lnTo>
                <a:lnTo>
                  <a:pt x="387" y="715"/>
                </a:lnTo>
                <a:lnTo>
                  <a:pt x="365" y="735"/>
                </a:lnTo>
                <a:lnTo>
                  <a:pt x="360" y="735"/>
                </a:lnTo>
                <a:lnTo>
                  <a:pt x="383" y="713"/>
                </a:lnTo>
                <a:lnTo>
                  <a:pt x="356" y="684"/>
                </a:lnTo>
                <a:lnTo>
                  <a:pt x="328" y="713"/>
                </a:lnTo>
                <a:lnTo>
                  <a:pt x="351" y="735"/>
                </a:lnTo>
                <a:lnTo>
                  <a:pt x="345" y="735"/>
                </a:lnTo>
                <a:lnTo>
                  <a:pt x="324" y="715"/>
                </a:lnTo>
                <a:lnTo>
                  <a:pt x="305" y="735"/>
                </a:lnTo>
                <a:lnTo>
                  <a:pt x="300" y="735"/>
                </a:lnTo>
                <a:lnTo>
                  <a:pt x="322" y="713"/>
                </a:lnTo>
                <a:lnTo>
                  <a:pt x="294" y="684"/>
                </a:lnTo>
                <a:lnTo>
                  <a:pt x="266" y="713"/>
                </a:lnTo>
                <a:lnTo>
                  <a:pt x="290" y="735"/>
                </a:lnTo>
                <a:lnTo>
                  <a:pt x="284" y="735"/>
                </a:lnTo>
                <a:lnTo>
                  <a:pt x="265" y="715"/>
                </a:lnTo>
                <a:lnTo>
                  <a:pt x="243" y="735"/>
                </a:lnTo>
                <a:lnTo>
                  <a:pt x="238" y="735"/>
                </a:lnTo>
                <a:lnTo>
                  <a:pt x="261" y="713"/>
                </a:lnTo>
                <a:lnTo>
                  <a:pt x="234" y="684"/>
                </a:lnTo>
                <a:lnTo>
                  <a:pt x="206" y="713"/>
                </a:lnTo>
                <a:lnTo>
                  <a:pt x="229" y="735"/>
                </a:lnTo>
                <a:lnTo>
                  <a:pt x="223" y="735"/>
                </a:lnTo>
                <a:lnTo>
                  <a:pt x="203" y="715"/>
                </a:lnTo>
                <a:lnTo>
                  <a:pt x="184" y="735"/>
                </a:lnTo>
                <a:lnTo>
                  <a:pt x="178" y="735"/>
                </a:lnTo>
                <a:lnTo>
                  <a:pt x="201" y="713"/>
                </a:lnTo>
                <a:lnTo>
                  <a:pt x="172" y="684"/>
                </a:lnTo>
                <a:lnTo>
                  <a:pt x="144" y="713"/>
                </a:lnTo>
                <a:lnTo>
                  <a:pt x="167" y="735"/>
                </a:lnTo>
                <a:lnTo>
                  <a:pt x="162" y="735"/>
                </a:lnTo>
                <a:lnTo>
                  <a:pt x="143" y="715"/>
                </a:lnTo>
                <a:lnTo>
                  <a:pt x="122" y="735"/>
                </a:lnTo>
                <a:lnTo>
                  <a:pt x="116" y="735"/>
                </a:lnTo>
                <a:lnTo>
                  <a:pt x="139" y="713"/>
                </a:lnTo>
                <a:lnTo>
                  <a:pt x="111" y="684"/>
                </a:lnTo>
                <a:lnTo>
                  <a:pt x="84" y="713"/>
                </a:lnTo>
                <a:lnTo>
                  <a:pt x="107" y="735"/>
                </a:lnTo>
                <a:lnTo>
                  <a:pt x="101" y="735"/>
                </a:lnTo>
                <a:lnTo>
                  <a:pt x="81" y="715"/>
                </a:lnTo>
                <a:lnTo>
                  <a:pt x="63" y="735"/>
                </a:lnTo>
                <a:lnTo>
                  <a:pt x="55" y="735"/>
                </a:lnTo>
                <a:lnTo>
                  <a:pt x="77" y="713"/>
                </a:lnTo>
                <a:lnTo>
                  <a:pt x="51" y="684"/>
                </a:lnTo>
                <a:lnTo>
                  <a:pt x="28" y="706"/>
                </a:lnTo>
                <a:lnTo>
                  <a:pt x="28" y="699"/>
                </a:lnTo>
                <a:lnTo>
                  <a:pt x="47" y="683"/>
                </a:lnTo>
                <a:lnTo>
                  <a:pt x="26" y="662"/>
                </a:lnTo>
                <a:close/>
                <a:moveTo>
                  <a:pt x="53" y="622"/>
                </a:moveTo>
                <a:lnTo>
                  <a:pt x="81" y="650"/>
                </a:lnTo>
                <a:lnTo>
                  <a:pt x="109" y="622"/>
                </a:lnTo>
                <a:lnTo>
                  <a:pt x="81" y="594"/>
                </a:lnTo>
                <a:lnTo>
                  <a:pt x="53" y="622"/>
                </a:lnTo>
                <a:close/>
                <a:moveTo>
                  <a:pt x="444" y="346"/>
                </a:moveTo>
                <a:lnTo>
                  <a:pt x="416" y="320"/>
                </a:lnTo>
                <a:lnTo>
                  <a:pt x="389" y="346"/>
                </a:lnTo>
                <a:lnTo>
                  <a:pt x="416" y="374"/>
                </a:lnTo>
                <a:lnTo>
                  <a:pt x="444" y="346"/>
                </a:lnTo>
                <a:close/>
                <a:moveTo>
                  <a:pt x="420" y="378"/>
                </a:moveTo>
                <a:lnTo>
                  <a:pt x="448" y="404"/>
                </a:lnTo>
                <a:lnTo>
                  <a:pt x="474" y="378"/>
                </a:lnTo>
                <a:lnTo>
                  <a:pt x="448" y="350"/>
                </a:lnTo>
                <a:lnTo>
                  <a:pt x="420" y="378"/>
                </a:lnTo>
                <a:close/>
                <a:moveTo>
                  <a:pt x="387" y="350"/>
                </a:moveTo>
                <a:lnTo>
                  <a:pt x="359" y="378"/>
                </a:lnTo>
                <a:lnTo>
                  <a:pt x="387" y="404"/>
                </a:lnTo>
                <a:lnTo>
                  <a:pt x="415" y="378"/>
                </a:lnTo>
                <a:lnTo>
                  <a:pt x="387" y="350"/>
                </a:lnTo>
                <a:close/>
                <a:moveTo>
                  <a:pt x="383" y="346"/>
                </a:moveTo>
                <a:lnTo>
                  <a:pt x="356" y="320"/>
                </a:lnTo>
                <a:lnTo>
                  <a:pt x="328" y="346"/>
                </a:lnTo>
                <a:lnTo>
                  <a:pt x="356" y="374"/>
                </a:lnTo>
                <a:lnTo>
                  <a:pt x="383" y="346"/>
                </a:lnTo>
                <a:close/>
                <a:moveTo>
                  <a:pt x="324" y="350"/>
                </a:moveTo>
                <a:lnTo>
                  <a:pt x="298" y="378"/>
                </a:lnTo>
                <a:lnTo>
                  <a:pt x="324" y="404"/>
                </a:lnTo>
                <a:lnTo>
                  <a:pt x="352" y="378"/>
                </a:lnTo>
                <a:lnTo>
                  <a:pt x="324" y="350"/>
                </a:lnTo>
                <a:close/>
                <a:moveTo>
                  <a:pt x="322" y="346"/>
                </a:moveTo>
                <a:lnTo>
                  <a:pt x="294" y="320"/>
                </a:lnTo>
                <a:lnTo>
                  <a:pt x="266" y="346"/>
                </a:lnTo>
                <a:lnTo>
                  <a:pt x="294" y="374"/>
                </a:lnTo>
                <a:lnTo>
                  <a:pt x="322" y="346"/>
                </a:lnTo>
                <a:close/>
                <a:moveTo>
                  <a:pt x="265" y="350"/>
                </a:moveTo>
                <a:lnTo>
                  <a:pt x="237" y="378"/>
                </a:lnTo>
                <a:lnTo>
                  <a:pt x="265" y="404"/>
                </a:lnTo>
                <a:lnTo>
                  <a:pt x="293" y="378"/>
                </a:lnTo>
                <a:lnTo>
                  <a:pt x="265" y="350"/>
                </a:lnTo>
                <a:close/>
                <a:moveTo>
                  <a:pt x="261" y="346"/>
                </a:moveTo>
                <a:lnTo>
                  <a:pt x="234" y="320"/>
                </a:lnTo>
                <a:lnTo>
                  <a:pt x="206" y="346"/>
                </a:lnTo>
                <a:lnTo>
                  <a:pt x="234" y="374"/>
                </a:lnTo>
                <a:lnTo>
                  <a:pt x="261" y="346"/>
                </a:lnTo>
                <a:close/>
                <a:moveTo>
                  <a:pt x="203" y="350"/>
                </a:moveTo>
                <a:lnTo>
                  <a:pt x="176" y="378"/>
                </a:lnTo>
                <a:lnTo>
                  <a:pt x="203" y="404"/>
                </a:lnTo>
                <a:lnTo>
                  <a:pt x="231" y="378"/>
                </a:lnTo>
                <a:lnTo>
                  <a:pt x="203" y="350"/>
                </a:lnTo>
                <a:close/>
                <a:moveTo>
                  <a:pt x="201" y="346"/>
                </a:moveTo>
                <a:lnTo>
                  <a:pt x="172" y="320"/>
                </a:lnTo>
                <a:lnTo>
                  <a:pt x="144" y="346"/>
                </a:lnTo>
                <a:lnTo>
                  <a:pt x="172" y="374"/>
                </a:lnTo>
                <a:lnTo>
                  <a:pt x="201" y="346"/>
                </a:lnTo>
                <a:close/>
                <a:moveTo>
                  <a:pt x="201" y="286"/>
                </a:moveTo>
                <a:lnTo>
                  <a:pt x="172" y="258"/>
                </a:lnTo>
                <a:lnTo>
                  <a:pt x="144" y="286"/>
                </a:lnTo>
                <a:lnTo>
                  <a:pt x="172" y="313"/>
                </a:lnTo>
                <a:lnTo>
                  <a:pt x="201" y="286"/>
                </a:lnTo>
                <a:close/>
                <a:moveTo>
                  <a:pt x="176" y="316"/>
                </a:moveTo>
                <a:lnTo>
                  <a:pt x="203" y="344"/>
                </a:lnTo>
                <a:lnTo>
                  <a:pt x="231" y="316"/>
                </a:lnTo>
                <a:lnTo>
                  <a:pt x="203" y="287"/>
                </a:lnTo>
                <a:lnTo>
                  <a:pt x="176" y="316"/>
                </a:lnTo>
                <a:close/>
                <a:moveTo>
                  <a:pt x="234" y="313"/>
                </a:moveTo>
                <a:lnTo>
                  <a:pt x="261" y="286"/>
                </a:lnTo>
                <a:lnTo>
                  <a:pt x="234" y="258"/>
                </a:lnTo>
                <a:lnTo>
                  <a:pt x="206" y="286"/>
                </a:lnTo>
                <a:lnTo>
                  <a:pt x="234" y="313"/>
                </a:lnTo>
                <a:close/>
                <a:moveTo>
                  <a:pt x="237" y="316"/>
                </a:moveTo>
                <a:lnTo>
                  <a:pt x="265" y="344"/>
                </a:lnTo>
                <a:lnTo>
                  <a:pt x="293" y="316"/>
                </a:lnTo>
                <a:lnTo>
                  <a:pt x="265" y="287"/>
                </a:lnTo>
                <a:lnTo>
                  <a:pt x="237" y="316"/>
                </a:lnTo>
                <a:close/>
                <a:moveTo>
                  <a:pt x="294" y="313"/>
                </a:moveTo>
                <a:lnTo>
                  <a:pt x="322" y="286"/>
                </a:lnTo>
                <a:lnTo>
                  <a:pt x="294" y="258"/>
                </a:lnTo>
                <a:lnTo>
                  <a:pt x="266" y="286"/>
                </a:lnTo>
                <a:lnTo>
                  <a:pt x="294" y="313"/>
                </a:lnTo>
                <a:close/>
                <a:moveTo>
                  <a:pt x="298" y="316"/>
                </a:moveTo>
                <a:lnTo>
                  <a:pt x="324" y="344"/>
                </a:lnTo>
                <a:lnTo>
                  <a:pt x="352" y="316"/>
                </a:lnTo>
                <a:lnTo>
                  <a:pt x="324" y="287"/>
                </a:lnTo>
                <a:lnTo>
                  <a:pt x="298" y="316"/>
                </a:lnTo>
                <a:close/>
                <a:moveTo>
                  <a:pt x="356" y="313"/>
                </a:moveTo>
                <a:lnTo>
                  <a:pt x="383" y="286"/>
                </a:lnTo>
                <a:lnTo>
                  <a:pt x="356" y="258"/>
                </a:lnTo>
                <a:lnTo>
                  <a:pt x="328" y="286"/>
                </a:lnTo>
                <a:lnTo>
                  <a:pt x="356" y="313"/>
                </a:lnTo>
                <a:close/>
                <a:moveTo>
                  <a:pt x="359" y="316"/>
                </a:moveTo>
                <a:lnTo>
                  <a:pt x="387" y="344"/>
                </a:lnTo>
                <a:lnTo>
                  <a:pt x="415" y="316"/>
                </a:lnTo>
                <a:lnTo>
                  <a:pt x="387" y="287"/>
                </a:lnTo>
                <a:lnTo>
                  <a:pt x="359" y="316"/>
                </a:lnTo>
                <a:close/>
                <a:moveTo>
                  <a:pt x="416" y="313"/>
                </a:moveTo>
                <a:lnTo>
                  <a:pt x="444" y="286"/>
                </a:lnTo>
                <a:lnTo>
                  <a:pt x="416" y="258"/>
                </a:lnTo>
                <a:lnTo>
                  <a:pt x="389" y="286"/>
                </a:lnTo>
                <a:lnTo>
                  <a:pt x="416" y="313"/>
                </a:lnTo>
                <a:close/>
                <a:moveTo>
                  <a:pt x="420" y="316"/>
                </a:moveTo>
                <a:lnTo>
                  <a:pt x="448" y="344"/>
                </a:lnTo>
                <a:lnTo>
                  <a:pt x="474" y="316"/>
                </a:lnTo>
                <a:lnTo>
                  <a:pt x="448" y="287"/>
                </a:lnTo>
                <a:lnTo>
                  <a:pt x="420" y="316"/>
                </a:lnTo>
                <a:close/>
                <a:moveTo>
                  <a:pt x="478" y="313"/>
                </a:moveTo>
                <a:lnTo>
                  <a:pt x="506" y="286"/>
                </a:lnTo>
                <a:lnTo>
                  <a:pt x="478" y="258"/>
                </a:lnTo>
                <a:lnTo>
                  <a:pt x="450" y="286"/>
                </a:lnTo>
                <a:lnTo>
                  <a:pt x="478" y="313"/>
                </a:lnTo>
                <a:close/>
                <a:moveTo>
                  <a:pt x="450" y="346"/>
                </a:moveTo>
                <a:lnTo>
                  <a:pt x="478" y="374"/>
                </a:lnTo>
                <a:lnTo>
                  <a:pt x="506" y="346"/>
                </a:lnTo>
                <a:lnTo>
                  <a:pt x="478" y="320"/>
                </a:lnTo>
                <a:lnTo>
                  <a:pt x="450" y="346"/>
                </a:lnTo>
                <a:close/>
                <a:moveTo>
                  <a:pt x="450" y="408"/>
                </a:moveTo>
                <a:lnTo>
                  <a:pt x="478" y="436"/>
                </a:lnTo>
                <a:lnTo>
                  <a:pt x="506" y="408"/>
                </a:lnTo>
                <a:lnTo>
                  <a:pt x="478" y="380"/>
                </a:lnTo>
                <a:lnTo>
                  <a:pt x="450" y="408"/>
                </a:lnTo>
                <a:close/>
                <a:moveTo>
                  <a:pt x="448" y="409"/>
                </a:moveTo>
                <a:lnTo>
                  <a:pt x="420" y="437"/>
                </a:lnTo>
                <a:lnTo>
                  <a:pt x="448" y="465"/>
                </a:lnTo>
                <a:lnTo>
                  <a:pt x="474" y="437"/>
                </a:lnTo>
                <a:lnTo>
                  <a:pt x="448" y="409"/>
                </a:lnTo>
                <a:close/>
                <a:moveTo>
                  <a:pt x="444" y="408"/>
                </a:moveTo>
                <a:lnTo>
                  <a:pt x="416" y="380"/>
                </a:lnTo>
                <a:lnTo>
                  <a:pt x="389" y="408"/>
                </a:lnTo>
                <a:lnTo>
                  <a:pt x="416" y="436"/>
                </a:lnTo>
                <a:lnTo>
                  <a:pt x="444" y="408"/>
                </a:lnTo>
                <a:close/>
                <a:moveTo>
                  <a:pt x="387" y="409"/>
                </a:moveTo>
                <a:lnTo>
                  <a:pt x="359" y="437"/>
                </a:lnTo>
                <a:lnTo>
                  <a:pt x="387" y="465"/>
                </a:lnTo>
                <a:lnTo>
                  <a:pt x="415" y="437"/>
                </a:lnTo>
                <a:lnTo>
                  <a:pt x="387" y="409"/>
                </a:lnTo>
                <a:close/>
                <a:moveTo>
                  <a:pt x="383" y="408"/>
                </a:moveTo>
                <a:lnTo>
                  <a:pt x="356" y="380"/>
                </a:lnTo>
                <a:lnTo>
                  <a:pt x="328" y="408"/>
                </a:lnTo>
                <a:lnTo>
                  <a:pt x="356" y="436"/>
                </a:lnTo>
                <a:lnTo>
                  <a:pt x="383" y="408"/>
                </a:lnTo>
                <a:close/>
                <a:moveTo>
                  <a:pt x="324" y="409"/>
                </a:moveTo>
                <a:lnTo>
                  <a:pt x="298" y="437"/>
                </a:lnTo>
                <a:lnTo>
                  <a:pt x="324" y="465"/>
                </a:lnTo>
                <a:lnTo>
                  <a:pt x="352" y="437"/>
                </a:lnTo>
                <a:lnTo>
                  <a:pt x="324" y="409"/>
                </a:lnTo>
                <a:close/>
                <a:moveTo>
                  <a:pt x="322" y="408"/>
                </a:moveTo>
                <a:lnTo>
                  <a:pt x="294" y="380"/>
                </a:lnTo>
                <a:lnTo>
                  <a:pt x="266" y="408"/>
                </a:lnTo>
                <a:lnTo>
                  <a:pt x="294" y="436"/>
                </a:lnTo>
                <a:lnTo>
                  <a:pt x="322" y="408"/>
                </a:lnTo>
                <a:close/>
                <a:moveTo>
                  <a:pt x="265" y="409"/>
                </a:moveTo>
                <a:lnTo>
                  <a:pt x="237" y="437"/>
                </a:lnTo>
                <a:lnTo>
                  <a:pt x="265" y="465"/>
                </a:lnTo>
                <a:lnTo>
                  <a:pt x="293" y="437"/>
                </a:lnTo>
                <a:lnTo>
                  <a:pt x="265" y="409"/>
                </a:lnTo>
                <a:close/>
                <a:moveTo>
                  <a:pt x="261" y="408"/>
                </a:moveTo>
                <a:lnTo>
                  <a:pt x="234" y="380"/>
                </a:lnTo>
                <a:lnTo>
                  <a:pt x="206" y="408"/>
                </a:lnTo>
                <a:lnTo>
                  <a:pt x="234" y="436"/>
                </a:lnTo>
                <a:lnTo>
                  <a:pt x="261" y="408"/>
                </a:lnTo>
                <a:close/>
                <a:moveTo>
                  <a:pt x="203" y="409"/>
                </a:moveTo>
                <a:lnTo>
                  <a:pt x="176" y="437"/>
                </a:lnTo>
                <a:lnTo>
                  <a:pt x="203" y="465"/>
                </a:lnTo>
                <a:lnTo>
                  <a:pt x="231" y="437"/>
                </a:lnTo>
                <a:lnTo>
                  <a:pt x="203" y="409"/>
                </a:lnTo>
                <a:close/>
                <a:moveTo>
                  <a:pt x="201" y="408"/>
                </a:moveTo>
                <a:lnTo>
                  <a:pt x="172" y="380"/>
                </a:lnTo>
                <a:lnTo>
                  <a:pt x="144" y="408"/>
                </a:lnTo>
                <a:lnTo>
                  <a:pt x="172" y="436"/>
                </a:lnTo>
                <a:lnTo>
                  <a:pt x="201" y="408"/>
                </a:lnTo>
                <a:close/>
                <a:moveTo>
                  <a:pt x="143" y="409"/>
                </a:moveTo>
                <a:lnTo>
                  <a:pt x="115" y="437"/>
                </a:lnTo>
                <a:lnTo>
                  <a:pt x="143" y="465"/>
                </a:lnTo>
                <a:lnTo>
                  <a:pt x="168" y="437"/>
                </a:lnTo>
                <a:lnTo>
                  <a:pt x="143" y="409"/>
                </a:lnTo>
                <a:close/>
                <a:moveTo>
                  <a:pt x="168" y="378"/>
                </a:moveTo>
                <a:lnTo>
                  <a:pt x="143" y="350"/>
                </a:lnTo>
                <a:lnTo>
                  <a:pt x="115" y="378"/>
                </a:lnTo>
                <a:lnTo>
                  <a:pt x="143" y="404"/>
                </a:lnTo>
                <a:lnTo>
                  <a:pt x="168" y="378"/>
                </a:lnTo>
                <a:close/>
                <a:moveTo>
                  <a:pt x="168" y="316"/>
                </a:moveTo>
                <a:lnTo>
                  <a:pt x="143" y="287"/>
                </a:lnTo>
                <a:lnTo>
                  <a:pt x="115" y="316"/>
                </a:lnTo>
                <a:lnTo>
                  <a:pt x="143" y="344"/>
                </a:lnTo>
                <a:lnTo>
                  <a:pt x="168" y="316"/>
                </a:lnTo>
                <a:close/>
                <a:moveTo>
                  <a:pt x="168" y="254"/>
                </a:moveTo>
                <a:lnTo>
                  <a:pt x="143" y="229"/>
                </a:lnTo>
                <a:lnTo>
                  <a:pt x="115" y="254"/>
                </a:lnTo>
                <a:lnTo>
                  <a:pt x="143" y="282"/>
                </a:lnTo>
                <a:lnTo>
                  <a:pt x="168" y="254"/>
                </a:lnTo>
                <a:close/>
                <a:moveTo>
                  <a:pt x="172" y="253"/>
                </a:moveTo>
                <a:lnTo>
                  <a:pt x="201" y="225"/>
                </a:lnTo>
                <a:lnTo>
                  <a:pt x="172" y="197"/>
                </a:lnTo>
                <a:lnTo>
                  <a:pt x="144" y="225"/>
                </a:lnTo>
                <a:lnTo>
                  <a:pt x="172" y="253"/>
                </a:lnTo>
                <a:close/>
                <a:moveTo>
                  <a:pt x="176" y="254"/>
                </a:moveTo>
                <a:lnTo>
                  <a:pt x="203" y="282"/>
                </a:lnTo>
                <a:lnTo>
                  <a:pt x="231" y="254"/>
                </a:lnTo>
                <a:lnTo>
                  <a:pt x="203" y="229"/>
                </a:lnTo>
                <a:lnTo>
                  <a:pt x="176" y="254"/>
                </a:lnTo>
                <a:close/>
                <a:moveTo>
                  <a:pt x="234" y="253"/>
                </a:moveTo>
                <a:lnTo>
                  <a:pt x="261" y="225"/>
                </a:lnTo>
                <a:lnTo>
                  <a:pt x="234" y="197"/>
                </a:lnTo>
                <a:lnTo>
                  <a:pt x="206" y="225"/>
                </a:lnTo>
                <a:lnTo>
                  <a:pt x="234" y="253"/>
                </a:lnTo>
                <a:close/>
                <a:moveTo>
                  <a:pt x="237" y="254"/>
                </a:moveTo>
                <a:lnTo>
                  <a:pt x="265" y="282"/>
                </a:lnTo>
                <a:lnTo>
                  <a:pt x="293" y="254"/>
                </a:lnTo>
                <a:lnTo>
                  <a:pt x="265" y="229"/>
                </a:lnTo>
                <a:lnTo>
                  <a:pt x="237" y="254"/>
                </a:lnTo>
                <a:close/>
                <a:moveTo>
                  <a:pt x="294" y="253"/>
                </a:moveTo>
                <a:lnTo>
                  <a:pt x="322" y="225"/>
                </a:lnTo>
                <a:lnTo>
                  <a:pt x="294" y="197"/>
                </a:lnTo>
                <a:lnTo>
                  <a:pt x="266" y="225"/>
                </a:lnTo>
                <a:lnTo>
                  <a:pt x="294" y="253"/>
                </a:lnTo>
                <a:close/>
                <a:moveTo>
                  <a:pt x="298" y="254"/>
                </a:moveTo>
                <a:lnTo>
                  <a:pt x="324" y="282"/>
                </a:lnTo>
                <a:lnTo>
                  <a:pt x="352" y="254"/>
                </a:lnTo>
                <a:lnTo>
                  <a:pt x="324" y="229"/>
                </a:lnTo>
                <a:lnTo>
                  <a:pt x="298" y="254"/>
                </a:lnTo>
                <a:close/>
                <a:moveTo>
                  <a:pt x="356" y="253"/>
                </a:moveTo>
                <a:lnTo>
                  <a:pt x="383" y="225"/>
                </a:lnTo>
                <a:lnTo>
                  <a:pt x="356" y="197"/>
                </a:lnTo>
                <a:lnTo>
                  <a:pt x="328" y="225"/>
                </a:lnTo>
                <a:lnTo>
                  <a:pt x="356" y="253"/>
                </a:lnTo>
                <a:close/>
                <a:moveTo>
                  <a:pt x="359" y="254"/>
                </a:moveTo>
                <a:lnTo>
                  <a:pt x="387" y="282"/>
                </a:lnTo>
                <a:lnTo>
                  <a:pt x="415" y="254"/>
                </a:lnTo>
                <a:lnTo>
                  <a:pt x="387" y="229"/>
                </a:lnTo>
                <a:lnTo>
                  <a:pt x="359" y="254"/>
                </a:lnTo>
                <a:close/>
                <a:moveTo>
                  <a:pt x="416" y="253"/>
                </a:moveTo>
                <a:lnTo>
                  <a:pt x="444" y="225"/>
                </a:lnTo>
                <a:lnTo>
                  <a:pt x="416" y="197"/>
                </a:lnTo>
                <a:lnTo>
                  <a:pt x="389" y="225"/>
                </a:lnTo>
                <a:lnTo>
                  <a:pt x="416" y="253"/>
                </a:lnTo>
                <a:close/>
                <a:moveTo>
                  <a:pt x="420" y="254"/>
                </a:moveTo>
                <a:lnTo>
                  <a:pt x="448" y="282"/>
                </a:lnTo>
                <a:lnTo>
                  <a:pt x="474" y="254"/>
                </a:lnTo>
                <a:lnTo>
                  <a:pt x="448" y="229"/>
                </a:lnTo>
                <a:lnTo>
                  <a:pt x="420" y="254"/>
                </a:lnTo>
                <a:close/>
                <a:moveTo>
                  <a:pt x="478" y="253"/>
                </a:moveTo>
                <a:lnTo>
                  <a:pt x="506" y="225"/>
                </a:lnTo>
                <a:lnTo>
                  <a:pt x="478" y="197"/>
                </a:lnTo>
                <a:lnTo>
                  <a:pt x="450" y="225"/>
                </a:lnTo>
                <a:lnTo>
                  <a:pt x="478" y="253"/>
                </a:lnTo>
                <a:close/>
                <a:moveTo>
                  <a:pt x="482" y="254"/>
                </a:moveTo>
                <a:lnTo>
                  <a:pt x="508" y="282"/>
                </a:lnTo>
                <a:lnTo>
                  <a:pt x="537" y="254"/>
                </a:lnTo>
                <a:lnTo>
                  <a:pt x="508" y="229"/>
                </a:lnTo>
                <a:lnTo>
                  <a:pt x="482" y="254"/>
                </a:lnTo>
                <a:close/>
                <a:moveTo>
                  <a:pt x="482" y="316"/>
                </a:moveTo>
                <a:lnTo>
                  <a:pt x="508" y="344"/>
                </a:lnTo>
                <a:lnTo>
                  <a:pt x="537" y="316"/>
                </a:lnTo>
                <a:lnTo>
                  <a:pt x="508" y="287"/>
                </a:lnTo>
                <a:lnTo>
                  <a:pt x="482" y="316"/>
                </a:lnTo>
                <a:close/>
                <a:moveTo>
                  <a:pt x="482" y="378"/>
                </a:moveTo>
                <a:lnTo>
                  <a:pt x="508" y="404"/>
                </a:lnTo>
                <a:lnTo>
                  <a:pt x="537" y="378"/>
                </a:lnTo>
                <a:lnTo>
                  <a:pt x="508" y="350"/>
                </a:lnTo>
                <a:lnTo>
                  <a:pt x="482" y="378"/>
                </a:lnTo>
                <a:close/>
                <a:moveTo>
                  <a:pt x="482" y="437"/>
                </a:moveTo>
                <a:lnTo>
                  <a:pt x="508" y="465"/>
                </a:lnTo>
                <a:lnTo>
                  <a:pt x="537" y="437"/>
                </a:lnTo>
                <a:lnTo>
                  <a:pt x="508" y="409"/>
                </a:lnTo>
                <a:lnTo>
                  <a:pt x="482" y="437"/>
                </a:lnTo>
                <a:close/>
                <a:moveTo>
                  <a:pt x="482" y="500"/>
                </a:moveTo>
                <a:lnTo>
                  <a:pt x="508" y="525"/>
                </a:lnTo>
                <a:lnTo>
                  <a:pt x="537" y="500"/>
                </a:lnTo>
                <a:lnTo>
                  <a:pt x="508" y="472"/>
                </a:lnTo>
                <a:lnTo>
                  <a:pt x="482" y="500"/>
                </a:lnTo>
                <a:close/>
                <a:moveTo>
                  <a:pt x="506" y="468"/>
                </a:moveTo>
                <a:lnTo>
                  <a:pt x="478" y="441"/>
                </a:lnTo>
                <a:lnTo>
                  <a:pt x="450" y="468"/>
                </a:lnTo>
                <a:lnTo>
                  <a:pt x="478" y="496"/>
                </a:lnTo>
                <a:lnTo>
                  <a:pt x="506" y="468"/>
                </a:lnTo>
                <a:close/>
                <a:moveTo>
                  <a:pt x="448" y="472"/>
                </a:moveTo>
                <a:lnTo>
                  <a:pt x="420" y="500"/>
                </a:lnTo>
                <a:lnTo>
                  <a:pt x="448" y="525"/>
                </a:lnTo>
                <a:lnTo>
                  <a:pt x="474" y="500"/>
                </a:lnTo>
                <a:lnTo>
                  <a:pt x="448" y="472"/>
                </a:lnTo>
                <a:close/>
                <a:moveTo>
                  <a:pt x="444" y="468"/>
                </a:moveTo>
                <a:lnTo>
                  <a:pt x="416" y="441"/>
                </a:lnTo>
                <a:lnTo>
                  <a:pt x="389" y="468"/>
                </a:lnTo>
                <a:lnTo>
                  <a:pt x="416" y="496"/>
                </a:lnTo>
                <a:lnTo>
                  <a:pt x="444" y="468"/>
                </a:lnTo>
                <a:close/>
                <a:moveTo>
                  <a:pt x="387" y="472"/>
                </a:moveTo>
                <a:lnTo>
                  <a:pt x="359" y="500"/>
                </a:lnTo>
                <a:lnTo>
                  <a:pt x="387" y="525"/>
                </a:lnTo>
                <a:lnTo>
                  <a:pt x="415" y="500"/>
                </a:lnTo>
                <a:lnTo>
                  <a:pt x="387" y="472"/>
                </a:lnTo>
                <a:close/>
                <a:moveTo>
                  <a:pt x="383" y="468"/>
                </a:moveTo>
                <a:lnTo>
                  <a:pt x="356" y="441"/>
                </a:lnTo>
                <a:lnTo>
                  <a:pt x="328" y="468"/>
                </a:lnTo>
                <a:lnTo>
                  <a:pt x="356" y="496"/>
                </a:lnTo>
                <a:lnTo>
                  <a:pt x="383" y="468"/>
                </a:lnTo>
                <a:close/>
                <a:moveTo>
                  <a:pt x="324" y="472"/>
                </a:moveTo>
                <a:lnTo>
                  <a:pt x="298" y="500"/>
                </a:lnTo>
                <a:lnTo>
                  <a:pt x="324" y="525"/>
                </a:lnTo>
                <a:lnTo>
                  <a:pt x="352" y="500"/>
                </a:lnTo>
                <a:lnTo>
                  <a:pt x="324" y="472"/>
                </a:lnTo>
                <a:close/>
                <a:moveTo>
                  <a:pt x="322" y="468"/>
                </a:moveTo>
                <a:lnTo>
                  <a:pt x="294" y="441"/>
                </a:lnTo>
                <a:lnTo>
                  <a:pt x="266" y="468"/>
                </a:lnTo>
                <a:lnTo>
                  <a:pt x="294" y="496"/>
                </a:lnTo>
                <a:lnTo>
                  <a:pt x="322" y="468"/>
                </a:lnTo>
                <a:close/>
                <a:moveTo>
                  <a:pt x="265" y="472"/>
                </a:moveTo>
                <a:lnTo>
                  <a:pt x="237" y="500"/>
                </a:lnTo>
                <a:lnTo>
                  <a:pt x="265" y="525"/>
                </a:lnTo>
                <a:lnTo>
                  <a:pt x="293" y="500"/>
                </a:lnTo>
                <a:lnTo>
                  <a:pt x="265" y="472"/>
                </a:lnTo>
                <a:close/>
                <a:moveTo>
                  <a:pt x="261" y="468"/>
                </a:moveTo>
                <a:lnTo>
                  <a:pt x="234" y="441"/>
                </a:lnTo>
                <a:lnTo>
                  <a:pt x="206" y="468"/>
                </a:lnTo>
                <a:lnTo>
                  <a:pt x="234" y="496"/>
                </a:lnTo>
                <a:lnTo>
                  <a:pt x="261" y="468"/>
                </a:lnTo>
                <a:close/>
                <a:moveTo>
                  <a:pt x="203" y="472"/>
                </a:moveTo>
                <a:lnTo>
                  <a:pt x="176" y="500"/>
                </a:lnTo>
                <a:lnTo>
                  <a:pt x="203" y="525"/>
                </a:lnTo>
                <a:lnTo>
                  <a:pt x="231" y="500"/>
                </a:lnTo>
                <a:lnTo>
                  <a:pt x="203" y="472"/>
                </a:lnTo>
                <a:close/>
                <a:moveTo>
                  <a:pt x="201" y="468"/>
                </a:moveTo>
                <a:lnTo>
                  <a:pt x="172" y="441"/>
                </a:lnTo>
                <a:lnTo>
                  <a:pt x="144" y="468"/>
                </a:lnTo>
                <a:lnTo>
                  <a:pt x="172" y="496"/>
                </a:lnTo>
                <a:lnTo>
                  <a:pt x="201" y="468"/>
                </a:lnTo>
                <a:close/>
                <a:moveTo>
                  <a:pt x="143" y="472"/>
                </a:moveTo>
                <a:lnTo>
                  <a:pt x="115" y="500"/>
                </a:lnTo>
                <a:lnTo>
                  <a:pt x="143" y="525"/>
                </a:lnTo>
                <a:lnTo>
                  <a:pt x="168" y="500"/>
                </a:lnTo>
                <a:lnTo>
                  <a:pt x="143" y="472"/>
                </a:lnTo>
                <a:close/>
                <a:moveTo>
                  <a:pt x="139" y="468"/>
                </a:moveTo>
                <a:lnTo>
                  <a:pt x="111" y="441"/>
                </a:lnTo>
                <a:lnTo>
                  <a:pt x="84" y="468"/>
                </a:lnTo>
                <a:lnTo>
                  <a:pt x="111" y="496"/>
                </a:lnTo>
                <a:lnTo>
                  <a:pt x="139" y="468"/>
                </a:lnTo>
                <a:close/>
                <a:moveTo>
                  <a:pt x="139" y="408"/>
                </a:moveTo>
                <a:lnTo>
                  <a:pt x="111" y="380"/>
                </a:lnTo>
                <a:lnTo>
                  <a:pt x="84" y="408"/>
                </a:lnTo>
                <a:lnTo>
                  <a:pt x="111" y="436"/>
                </a:lnTo>
                <a:lnTo>
                  <a:pt x="139" y="408"/>
                </a:lnTo>
                <a:close/>
                <a:moveTo>
                  <a:pt x="139" y="346"/>
                </a:moveTo>
                <a:lnTo>
                  <a:pt x="111" y="320"/>
                </a:lnTo>
                <a:lnTo>
                  <a:pt x="84" y="346"/>
                </a:lnTo>
                <a:lnTo>
                  <a:pt x="111" y="374"/>
                </a:lnTo>
                <a:lnTo>
                  <a:pt x="139" y="346"/>
                </a:lnTo>
                <a:close/>
                <a:moveTo>
                  <a:pt x="139" y="286"/>
                </a:moveTo>
                <a:lnTo>
                  <a:pt x="111" y="258"/>
                </a:lnTo>
                <a:lnTo>
                  <a:pt x="84" y="286"/>
                </a:lnTo>
                <a:lnTo>
                  <a:pt x="111" y="313"/>
                </a:lnTo>
                <a:lnTo>
                  <a:pt x="139" y="286"/>
                </a:lnTo>
                <a:close/>
                <a:moveTo>
                  <a:pt x="139" y="225"/>
                </a:moveTo>
                <a:lnTo>
                  <a:pt x="111" y="197"/>
                </a:lnTo>
                <a:lnTo>
                  <a:pt x="84" y="225"/>
                </a:lnTo>
                <a:lnTo>
                  <a:pt x="111" y="253"/>
                </a:lnTo>
                <a:lnTo>
                  <a:pt x="139" y="225"/>
                </a:lnTo>
                <a:close/>
                <a:moveTo>
                  <a:pt x="139" y="163"/>
                </a:moveTo>
                <a:lnTo>
                  <a:pt x="111" y="136"/>
                </a:lnTo>
                <a:lnTo>
                  <a:pt x="84" y="163"/>
                </a:lnTo>
                <a:lnTo>
                  <a:pt x="111" y="191"/>
                </a:lnTo>
                <a:lnTo>
                  <a:pt x="139" y="163"/>
                </a:lnTo>
                <a:close/>
                <a:moveTo>
                  <a:pt x="115" y="195"/>
                </a:moveTo>
                <a:lnTo>
                  <a:pt x="143" y="221"/>
                </a:lnTo>
                <a:lnTo>
                  <a:pt x="168" y="195"/>
                </a:lnTo>
                <a:lnTo>
                  <a:pt x="143" y="167"/>
                </a:lnTo>
                <a:lnTo>
                  <a:pt x="115" y="195"/>
                </a:lnTo>
                <a:close/>
                <a:moveTo>
                  <a:pt x="172" y="191"/>
                </a:moveTo>
                <a:lnTo>
                  <a:pt x="201" y="163"/>
                </a:lnTo>
                <a:lnTo>
                  <a:pt x="172" y="136"/>
                </a:lnTo>
                <a:lnTo>
                  <a:pt x="144" y="163"/>
                </a:lnTo>
                <a:lnTo>
                  <a:pt x="172" y="191"/>
                </a:lnTo>
                <a:close/>
                <a:moveTo>
                  <a:pt x="176" y="195"/>
                </a:moveTo>
                <a:lnTo>
                  <a:pt x="203" y="221"/>
                </a:lnTo>
                <a:lnTo>
                  <a:pt x="231" y="195"/>
                </a:lnTo>
                <a:lnTo>
                  <a:pt x="203" y="167"/>
                </a:lnTo>
                <a:lnTo>
                  <a:pt x="176" y="195"/>
                </a:lnTo>
                <a:close/>
                <a:moveTo>
                  <a:pt x="234" y="191"/>
                </a:moveTo>
                <a:lnTo>
                  <a:pt x="261" y="163"/>
                </a:lnTo>
                <a:lnTo>
                  <a:pt x="234" y="136"/>
                </a:lnTo>
                <a:lnTo>
                  <a:pt x="206" y="163"/>
                </a:lnTo>
                <a:lnTo>
                  <a:pt x="234" y="191"/>
                </a:lnTo>
                <a:close/>
                <a:moveTo>
                  <a:pt x="237" y="195"/>
                </a:moveTo>
                <a:lnTo>
                  <a:pt x="265" y="221"/>
                </a:lnTo>
                <a:lnTo>
                  <a:pt x="293" y="195"/>
                </a:lnTo>
                <a:lnTo>
                  <a:pt x="265" y="167"/>
                </a:lnTo>
                <a:lnTo>
                  <a:pt x="237" y="195"/>
                </a:lnTo>
                <a:close/>
                <a:moveTo>
                  <a:pt x="294" y="191"/>
                </a:moveTo>
                <a:lnTo>
                  <a:pt x="322" y="163"/>
                </a:lnTo>
                <a:lnTo>
                  <a:pt x="294" y="136"/>
                </a:lnTo>
                <a:lnTo>
                  <a:pt x="266" y="163"/>
                </a:lnTo>
                <a:lnTo>
                  <a:pt x="294" y="191"/>
                </a:lnTo>
                <a:close/>
                <a:moveTo>
                  <a:pt x="298" y="195"/>
                </a:moveTo>
                <a:lnTo>
                  <a:pt x="324" y="221"/>
                </a:lnTo>
                <a:lnTo>
                  <a:pt x="352" y="195"/>
                </a:lnTo>
                <a:lnTo>
                  <a:pt x="324" y="167"/>
                </a:lnTo>
                <a:lnTo>
                  <a:pt x="298" y="195"/>
                </a:lnTo>
                <a:close/>
                <a:moveTo>
                  <a:pt x="356" y="191"/>
                </a:moveTo>
                <a:lnTo>
                  <a:pt x="383" y="163"/>
                </a:lnTo>
                <a:lnTo>
                  <a:pt x="356" y="136"/>
                </a:lnTo>
                <a:lnTo>
                  <a:pt x="328" y="163"/>
                </a:lnTo>
                <a:lnTo>
                  <a:pt x="356" y="191"/>
                </a:lnTo>
                <a:close/>
                <a:moveTo>
                  <a:pt x="359" y="195"/>
                </a:moveTo>
                <a:lnTo>
                  <a:pt x="387" y="221"/>
                </a:lnTo>
                <a:lnTo>
                  <a:pt x="415" y="195"/>
                </a:lnTo>
                <a:lnTo>
                  <a:pt x="387" y="167"/>
                </a:lnTo>
                <a:lnTo>
                  <a:pt x="359" y="195"/>
                </a:lnTo>
                <a:close/>
                <a:moveTo>
                  <a:pt x="416" y="191"/>
                </a:moveTo>
                <a:lnTo>
                  <a:pt x="444" y="163"/>
                </a:lnTo>
                <a:lnTo>
                  <a:pt x="416" y="136"/>
                </a:lnTo>
                <a:lnTo>
                  <a:pt x="389" y="163"/>
                </a:lnTo>
                <a:lnTo>
                  <a:pt x="416" y="191"/>
                </a:lnTo>
                <a:close/>
                <a:moveTo>
                  <a:pt x="420" y="195"/>
                </a:moveTo>
                <a:lnTo>
                  <a:pt x="448" y="221"/>
                </a:lnTo>
                <a:lnTo>
                  <a:pt x="474" y="195"/>
                </a:lnTo>
                <a:lnTo>
                  <a:pt x="448" y="167"/>
                </a:lnTo>
                <a:lnTo>
                  <a:pt x="420" y="195"/>
                </a:lnTo>
                <a:close/>
                <a:moveTo>
                  <a:pt x="478" y="191"/>
                </a:moveTo>
                <a:lnTo>
                  <a:pt x="506" y="163"/>
                </a:lnTo>
                <a:lnTo>
                  <a:pt x="478" y="136"/>
                </a:lnTo>
                <a:lnTo>
                  <a:pt x="450" y="163"/>
                </a:lnTo>
                <a:lnTo>
                  <a:pt x="478" y="191"/>
                </a:lnTo>
                <a:close/>
                <a:moveTo>
                  <a:pt x="482" y="195"/>
                </a:moveTo>
                <a:lnTo>
                  <a:pt x="508" y="221"/>
                </a:lnTo>
                <a:lnTo>
                  <a:pt x="537" y="195"/>
                </a:lnTo>
                <a:lnTo>
                  <a:pt x="508" y="167"/>
                </a:lnTo>
                <a:lnTo>
                  <a:pt x="482" y="195"/>
                </a:lnTo>
                <a:close/>
                <a:moveTo>
                  <a:pt x="539" y="191"/>
                </a:moveTo>
                <a:lnTo>
                  <a:pt x="566" y="163"/>
                </a:lnTo>
                <a:lnTo>
                  <a:pt x="539" y="136"/>
                </a:lnTo>
                <a:lnTo>
                  <a:pt x="511" y="163"/>
                </a:lnTo>
                <a:lnTo>
                  <a:pt x="539" y="191"/>
                </a:lnTo>
                <a:close/>
                <a:moveTo>
                  <a:pt x="511" y="225"/>
                </a:moveTo>
                <a:lnTo>
                  <a:pt x="539" y="253"/>
                </a:lnTo>
                <a:lnTo>
                  <a:pt x="566" y="225"/>
                </a:lnTo>
                <a:lnTo>
                  <a:pt x="539" y="197"/>
                </a:lnTo>
                <a:lnTo>
                  <a:pt x="511" y="225"/>
                </a:lnTo>
                <a:close/>
                <a:moveTo>
                  <a:pt x="511" y="286"/>
                </a:moveTo>
                <a:lnTo>
                  <a:pt x="539" y="313"/>
                </a:lnTo>
                <a:lnTo>
                  <a:pt x="566" y="286"/>
                </a:lnTo>
                <a:lnTo>
                  <a:pt x="539" y="258"/>
                </a:lnTo>
                <a:lnTo>
                  <a:pt x="511" y="286"/>
                </a:lnTo>
                <a:close/>
                <a:moveTo>
                  <a:pt x="511" y="346"/>
                </a:moveTo>
                <a:lnTo>
                  <a:pt x="539" y="374"/>
                </a:lnTo>
                <a:lnTo>
                  <a:pt x="566" y="346"/>
                </a:lnTo>
                <a:lnTo>
                  <a:pt x="539" y="320"/>
                </a:lnTo>
                <a:lnTo>
                  <a:pt x="511" y="346"/>
                </a:lnTo>
                <a:close/>
                <a:moveTo>
                  <a:pt x="511" y="408"/>
                </a:moveTo>
                <a:lnTo>
                  <a:pt x="539" y="436"/>
                </a:lnTo>
                <a:lnTo>
                  <a:pt x="566" y="408"/>
                </a:lnTo>
                <a:lnTo>
                  <a:pt x="539" y="380"/>
                </a:lnTo>
                <a:lnTo>
                  <a:pt x="511" y="408"/>
                </a:lnTo>
                <a:close/>
                <a:moveTo>
                  <a:pt x="511" y="468"/>
                </a:moveTo>
                <a:lnTo>
                  <a:pt x="539" y="496"/>
                </a:lnTo>
                <a:lnTo>
                  <a:pt x="566" y="468"/>
                </a:lnTo>
                <a:lnTo>
                  <a:pt x="539" y="441"/>
                </a:lnTo>
                <a:lnTo>
                  <a:pt x="511" y="468"/>
                </a:lnTo>
                <a:close/>
                <a:moveTo>
                  <a:pt x="511" y="529"/>
                </a:moveTo>
                <a:lnTo>
                  <a:pt x="539" y="558"/>
                </a:lnTo>
                <a:lnTo>
                  <a:pt x="566" y="529"/>
                </a:lnTo>
                <a:lnTo>
                  <a:pt x="539" y="501"/>
                </a:lnTo>
                <a:lnTo>
                  <a:pt x="511" y="529"/>
                </a:lnTo>
                <a:close/>
                <a:moveTo>
                  <a:pt x="508" y="533"/>
                </a:moveTo>
                <a:lnTo>
                  <a:pt x="482" y="559"/>
                </a:lnTo>
                <a:lnTo>
                  <a:pt x="508" y="587"/>
                </a:lnTo>
                <a:lnTo>
                  <a:pt x="537" y="559"/>
                </a:lnTo>
                <a:lnTo>
                  <a:pt x="508" y="533"/>
                </a:lnTo>
                <a:close/>
                <a:moveTo>
                  <a:pt x="506" y="529"/>
                </a:moveTo>
                <a:lnTo>
                  <a:pt x="478" y="501"/>
                </a:lnTo>
                <a:lnTo>
                  <a:pt x="450" y="529"/>
                </a:lnTo>
                <a:lnTo>
                  <a:pt x="478" y="558"/>
                </a:lnTo>
                <a:lnTo>
                  <a:pt x="506" y="529"/>
                </a:lnTo>
                <a:close/>
                <a:moveTo>
                  <a:pt x="448" y="533"/>
                </a:moveTo>
                <a:lnTo>
                  <a:pt x="420" y="559"/>
                </a:lnTo>
                <a:lnTo>
                  <a:pt x="448" y="587"/>
                </a:lnTo>
                <a:lnTo>
                  <a:pt x="474" y="559"/>
                </a:lnTo>
                <a:lnTo>
                  <a:pt x="448" y="533"/>
                </a:lnTo>
                <a:close/>
                <a:moveTo>
                  <a:pt x="444" y="529"/>
                </a:moveTo>
                <a:lnTo>
                  <a:pt x="416" y="501"/>
                </a:lnTo>
                <a:lnTo>
                  <a:pt x="389" y="529"/>
                </a:lnTo>
                <a:lnTo>
                  <a:pt x="416" y="558"/>
                </a:lnTo>
                <a:lnTo>
                  <a:pt x="444" y="529"/>
                </a:lnTo>
                <a:close/>
                <a:moveTo>
                  <a:pt x="387" y="533"/>
                </a:moveTo>
                <a:lnTo>
                  <a:pt x="359" y="559"/>
                </a:lnTo>
                <a:lnTo>
                  <a:pt x="387" y="587"/>
                </a:lnTo>
                <a:lnTo>
                  <a:pt x="415" y="559"/>
                </a:lnTo>
                <a:lnTo>
                  <a:pt x="387" y="533"/>
                </a:lnTo>
                <a:close/>
                <a:moveTo>
                  <a:pt x="383" y="529"/>
                </a:moveTo>
                <a:lnTo>
                  <a:pt x="356" y="501"/>
                </a:lnTo>
                <a:lnTo>
                  <a:pt x="328" y="529"/>
                </a:lnTo>
                <a:lnTo>
                  <a:pt x="356" y="558"/>
                </a:lnTo>
                <a:lnTo>
                  <a:pt x="383" y="529"/>
                </a:lnTo>
                <a:close/>
                <a:moveTo>
                  <a:pt x="324" y="533"/>
                </a:moveTo>
                <a:lnTo>
                  <a:pt x="298" y="559"/>
                </a:lnTo>
                <a:lnTo>
                  <a:pt x="324" y="587"/>
                </a:lnTo>
                <a:lnTo>
                  <a:pt x="352" y="559"/>
                </a:lnTo>
                <a:lnTo>
                  <a:pt x="324" y="533"/>
                </a:lnTo>
                <a:close/>
                <a:moveTo>
                  <a:pt x="322" y="529"/>
                </a:moveTo>
                <a:lnTo>
                  <a:pt x="294" y="501"/>
                </a:lnTo>
                <a:lnTo>
                  <a:pt x="266" y="529"/>
                </a:lnTo>
                <a:lnTo>
                  <a:pt x="294" y="558"/>
                </a:lnTo>
                <a:lnTo>
                  <a:pt x="322" y="529"/>
                </a:lnTo>
                <a:close/>
                <a:moveTo>
                  <a:pt x="265" y="533"/>
                </a:moveTo>
                <a:lnTo>
                  <a:pt x="237" y="559"/>
                </a:lnTo>
                <a:lnTo>
                  <a:pt x="265" y="587"/>
                </a:lnTo>
                <a:lnTo>
                  <a:pt x="293" y="559"/>
                </a:lnTo>
                <a:lnTo>
                  <a:pt x="265" y="533"/>
                </a:lnTo>
                <a:close/>
                <a:moveTo>
                  <a:pt x="261" y="529"/>
                </a:moveTo>
                <a:lnTo>
                  <a:pt x="234" y="501"/>
                </a:lnTo>
                <a:lnTo>
                  <a:pt x="206" y="529"/>
                </a:lnTo>
                <a:lnTo>
                  <a:pt x="234" y="558"/>
                </a:lnTo>
                <a:lnTo>
                  <a:pt x="261" y="529"/>
                </a:lnTo>
                <a:close/>
                <a:moveTo>
                  <a:pt x="203" y="533"/>
                </a:moveTo>
                <a:lnTo>
                  <a:pt x="176" y="559"/>
                </a:lnTo>
                <a:lnTo>
                  <a:pt x="203" y="587"/>
                </a:lnTo>
                <a:lnTo>
                  <a:pt x="231" y="559"/>
                </a:lnTo>
                <a:lnTo>
                  <a:pt x="203" y="533"/>
                </a:lnTo>
                <a:close/>
                <a:moveTo>
                  <a:pt x="201" y="529"/>
                </a:moveTo>
                <a:lnTo>
                  <a:pt x="172" y="501"/>
                </a:lnTo>
                <a:lnTo>
                  <a:pt x="144" y="529"/>
                </a:lnTo>
                <a:lnTo>
                  <a:pt x="172" y="558"/>
                </a:lnTo>
                <a:lnTo>
                  <a:pt x="201" y="529"/>
                </a:lnTo>
                <a:close/>
                <a:moveTo>
                  <a:pt x="143" y="533"/>
                </a:moveTo>
                <a:lnTo>
                  <a:pt x="115" y="559"/>
                </a:lnTo>
                <a:lnTo>
                  <a:pt x="143" y="587"/>
                </a:lnTo>
                <a:lnTo>
                  <a:pt x="168" y="559"/>
                </a:lnTo>
                <a:lnTo>
                  <a:pt x="143" y="533"/>
                </a:lnTo>
                <a:close/>
                <a:moveTo>
                  <a:pt x="139" y="529"/>
                </a:moveTo>
                <a:lnTo>
                  <a:pt x="111" y="501"/>
                </a:lnTo>
                <a:lnTo>
                  <a:pt x="84" y="529"/>
                </a:lnTo>
                <a:lnTo>
                  <a:pt x="111" y="558"/>
                </a:lnTo>
                <a:lnTo>
                  <a:pt x="139" y="529"/>
                </a:lnTo>
                <a:close/>
                <a:moveTo>
                  <a:pt x="109" y="500"/>
                </a:moveTo>
                <a:lnTo>
                  <a:pt x="81" y="472"/>
                </a:lnTo>
                <a:lnTo>
                  <a:pt x="53" y="500"/>
                </a:lnTo>
                <a:lnTo>
                  <a:pt x="81" y="525"/>
                </a:lnTo>
                <a:lnTo>
                  <a:pt x="109" y="500"/>
                </a:lnTo>
                <a:close/>
                <a:moveTo>
                  <a:pt x="109" y="437"/>
                </a:moveTo>
                <a:lnTo>
                  <a:pt x="81" y="409"/>
                </a:lnTo>
                <a:lnTo>
                  <a:pt x="53" y="437"/>
                </a:lnTo>
                <a:lnTo>
                  <a:pt x="81" y="465"/>
                </a:lnTo>
                <a:lnTo>
                  <a:pt x="109" y="437"/>
                </a:lnTo>
                <a:close/>
                <a:moveTo>
                  <a:pt x="109" y="378"/>
                </a:moveTo>
                <a:lnTo>
                  <a:pt x="81" y="350"/>
                </a:lnTo>
                <a:lnTo>
                  <a:pt x="53" y="378"/>
                </a:lnTo>
                <a:lnTo>
                  <a:pt x="81" y="404"/>
                </a:lnTo>
                <a:lnTo>
                  <a:pt x="109" y="378"/>
                </a:lnTo>
                <a:close/>
                <a:moveTo>
                  <a:pt x="109" y="316"/>
                </a:moveTo>
                <a:lnTo>
                  <a:pt x="81" y="287"/>
                </a:lnTo>
                <a:lnTo>
                  <a:pt x="53" y="316"/>
                </a:lnTo>
                <a:lnTo>
                  <a:pt x="81" y="344"/>
                </a:lnTo>
                <a:lnTo>
                  <a:pt x="109" y="316"/>
                </a:lnTo>
                <a:close/>
                <a:moveTo>
                  <a:pt x="109" y="254"/>
                </a:moveTo>
                <a:lnTo>
                  <a:pt x="81" y="229"/>
                </a:lnTo>
                <a:lnTo>
                  <a:pt x="53" y="254"/>
                </a:lnTo>
                <a:lnTo>
                  <a:pt x="81" y="282"/>
                </a:lnTo>
                <a:lnTo>
                  <a:pt x="109" y="254"/>
                </a:lnTo>
                <a:close/>
                <a:moveTo>
                  <a:pt x="109" y="195"/>
                </a:moveTo>
                <a:lnTo>
                  <a:pt x="81" y="167"/>
                </a:lnTo>
                <a:lnTo>
                  <a:pt x="53" y="195"/>
                </a:lnTo>
                <a:lnTo>
                  <a:pt x="81" y="221"/>
                </a:lnTo>
                <a:lnTo>
                  <a:pt x="109" y="195"/>
                </a:lnTo>
                <a:close/>
                <a:moveTo>
                  <a:pt x="109" y="132"/>
                </a:moveTo>
                <a:lnTo>
                  <a:pt x="81" y="107"/>
                </a:lnTo>
                <a:lnTo>
                  <a:pt x="53" y="132"/>
                </a:lnTo>
                <a:lnTo>
                  <a:pt x="81" y="160"/>
                </a:lnTo>
                <a:lnTo>
                  <a:pt x="109" y="132"/>
                </a:lnTo>
                <a:close/>
                <a:moveTo>
                  <a:pt x="111" y="131"/>
                </a:moveTo>
                <a:lnTo>
                  <a:pt x="139" y="103"/>
                </a:lnTo>
                <a:lnTo>
                  <a:pt x="111" y="75"/>
                </a:lnTo>
                <a:lnTo>
                  <a:pt x="84" y="103"/>
                </a:lnTo>
                <a:lnTo>
                  <a:pt x="111" y="131"/>
                </a:lnTo>
                <a:close/>
                <a:moveTo>
                  <a:pt x="115" y="132"/>
                </a:moveTo>
                <a:lnTo>
                  <a:pt x="143" y="160"/>
                </a:lnTo>
                <a:lnTo>
                  <a:pt x="168" y="132"/>
                </a:lnTo>
                <a:lnTo>
                  <a:pt x="143" y="107"/>
                </a:lnTo>
                <a:lnTo>
                  <a:pt x="115" y="132"/>
                </a:lnTo>
                <a:close/>
                <a:moveTo>
                  <a:pt x="172" y="131"/>
                </a:moveTo>
                <a:lnTo>
                  <a:pt x="201" y="103"/>
                </a:lnTo>
                <a:lnTo>
                  <a:pt x="172" y="75"/>
                </a:lnTo>
                <a:lnTo>
                  <a:pt x="144" y="103"/>
                </a:lnTo>
                <a:lnTo>
                  <a:pt x="172" y="131"/>
                </a:lnTo>
                <a:close/>
                <a:moveTo>
                  <a:pt x="176" y="132"/>
                </a:moveTo>
                <a:lnTo>
                  <a:pt x="203" y="160"/>
                </a:lnTo>
                <a:lnTo>
                  <a:pt x="231" y="132"/>
                </a:lnTo>
                <a:lnTo>
                  <a:pt x="203" y="107"/>
                </a:lnTo>
                <a:lnTo>
                  <a:pt x="176" y="132"/>
                </a:lnTo>
                <a:close/>
                <a:moveTo>
                  <a:pt x="234" y="131"/>
                </a:moveTo>
                <a:lnTo>
                  <a:pt x="261" y="103"/>
                </a:lnTo>
                <a:lnTo>
                  <a:pt x="234" y="75"/>
                </a:lnTo>
                <a:lnTo>
                  <a:pt x="206" y="103"/>
                </a:lnTo>
                <a:lnTo>
                  <a:pt x="234" y="131"/>
                </a:lnTo>
                <a:close/>
                <a:moveTo>
                  <a:pt x="237" y="132"/>
                </a:moveTo>
                <a:lnTo>
                  <a:pt x="265" y="160"/>
                </a:lnTo>
                <a:lnTo>
                  <a:pt x="293" y="132"/>
                </a:lnTo>
                <a:lnTo>
                  <a:pt x="265" y="107"/>
                </a:lnTo>
                <a:lnTo>
                  <a:pt x="237" y="132"/>
                </a:lnTo>
                <a:close/>
                <a:moveTo>
                  <a:pt x="294" y="131"/>
                </a:moveTo>
                <a:lnTo>
                  <a:pt x="322" y="103"/>
                </a:lnTo>
                <a:lnTo>
                  <a:pt x="294" y="75"/>
                </a:lnTo>
                <a:lnTo>
                  <a:pt x="266" y="103"/>
                </a:lnTo>
                <a:lnTo>
                  <a:pt x="294" y="131"/>
                </a:lnTo>
                <a:close/>
                <a:moveTo>
                  <a:pt x="298" y="132"/>
                </a:moveTo>
                <a:lnTo>
                  <a:pt x="324" y="160"/>
                </a:lnTo>
                <a:lnTo>
                  <a:pt x="352" y="132"/>
                </a:lnTo>
                <a:lnTo>
                  <a:pt x="324" y="107"/>
                </a:lnTo>
                <a:lnTo>
                  <a:pt x="298" y="132"/>
                </a:lnTo>
                <a:close/>
                <a:moveTo>
                  <a:pt x="356" y="131"/>
                </a:moveTo>
                <a:lnTo>
                  <a:pt x="383" y="103"/>
                </a:lnTo>
                <a:lnTo>
                  <a:pt x="356" y="75"/>
                </a:lnTo>
                <a:lnTo>
                  <a:pt x="328" y="103"/>
                </a:lnTo>
                <a:lnTo>
                  <a:pt x="356" y="131"/>
                </a:lnTo>
                <a:close/>
                <a:moveTo>
                  <a:pt x="359" y="132"/>
                </a:moveTo>
                <a:lnTo>
                  <a:pt x="387" y="160"/>
                </a:lnTo>
                <a:lnTo>
                  <a:pt x="415" y="132"/>
                </a:lnTo>
                <a:lnTo>
                  <a:pt x="387" y="107"/>
                </a:lnTo>
                <a:lnTo>
                  <a:pt x="359" y="132"/>
                </a:lnTo>
                <a:close/>
                <a:moveTo>
                  <a:pt x="416" y="131"/>
                </a:moveTo>
                <a:lnTo>
                  <a:pt x="444" y="103"/>
                </a:lnTo>
                <a:lnTo>
                  <a:pt x="416" y="75"/>
                </a:lnTo>
                <a:lnTo>
                  <a:pt x="389" y="103"/>
                </a:lnTo>
                <a:lnTo>
                  <a:pt x="416" y="131"/>
                </a:lnTo>
                <a:close/>
                <a:moveTo>
                  <a:pt x="420" y="132"/>
                </a:moveTo>
                <a:lnTo>
                  <a:pt x="448" y="160"/>
                </a:lnTo>
                <a:lnTo>
                  <a:pt x="474" y="132"/>
                </a:lnTo>
                <a:lnTo>
                  <a:pt x="448" y="107"/>
                </a:lnTo>
                <a:lnTo>
                  <a:pt x="420" y="132"/>
                </a:lnTo>
                <a:close/>
                <a:moveTo>
                  <a:pt x="478" y="131"/>
                </a:moveTo>
                <a:lnTo>
                  <a:pt x="506" y="103"/>
                </a:lnTo>
                <a:lnTo>
                  <a:pt x="478" y="75"/>
                </a:lnTo>
                <a:lnTo>
                  <a:pt x="450" y="103"/>
                </a:lnTo>
                <a:lnTo>
                  <a:pt x="478" y="131"/>
                </a:lnTo>
                <a:close/>
                <a:moveTo>
                  <a:pt x="482" y="132"/>
                </a:moveTo>
                <a:lnTo>
                  <a:pt x="508" y="160"/>
                </a:lnTo>
                <a:lnTo>
                  <a:pt x="537" y="132"/>
                </a:lnTo>
                <a:lnTo>
                  <a:pt x="508" y="107"/>
                </a:lnTo>
                <a:lnTo>
                  <a:pt x="482" y="132"/>
                </a:lnTo>
                <a:close/>
                <a:moveTo>
                  <a:pt x="539" y="131"/>
                </a:moveTo>
                <a:lnTo>
                  <a:pt x="566" y="103"/>
                </a:lnTo>
                <a:lnTo>
                  <a:pt x="539" y="75"/>
                </a:lnTo>
                <a:lnTo>
                  <a:pt x="511" y="103"/>
                </a:lnTo>
                <a:lnTo>
                  <a:pt x="539" y="131"/>
                </a:lnTo>
                <a:close/>
                <a:moveTo>
                  <a:pt x="542" y="132"/>
                </a:moveTo>
                <a:lnTo>
                  <a:pt x="570" y="160"/>
                </a:lnTo>
                <a:lnTo>
                  <a:pt x="598" y="132"/>
                </a:lnTo>
                <a:lnTo>
                  <a:pt x="570" y="107"/>
                </a:lnTo>
                <a:lnTo>
                  <a:pt x="542" y="132"/>
                </a:lnTo>
                <a:close/>
                <a:moveTo>
                  <a:pt x="542" y="195"/>
                </a:moveTo>
                <a:lnTo>
                  <a:pt x="570" y="221"/>
                </a:lnTo>
                <a:lnTo>
                  <a:pt x="598" y="195"/>
                </a:lnTo>
                <a:lnTo>
                  <a:pt x="570" y="167"/>
                </a:lnTo>
                <a:lnTo>
                  <a:pt x="542" y="195"/>
                </a:lnTo>
                <a:close/>
                <a:moveTo>
                  <a:pt x="542" y="254"/>
                </a:moveTo>
                <a:lnTo>
                  <a:pt x="570" y="282"/>
                </a:lnTo>
                <a:lnTo>
                  <a:pt x="598" y="254"/>
                </a:lnTo>
                <a:lnTo>
                  <a:pt x="570" y="229"/>
                </a:lnTo>
                <a:lnTo>
                  <a:pt x="542" y="254"/>
                </a:lnTo>
                <a:close/>
                <a:moveTo>
                  <a:pt x="542" y="316"/>
                </a:moveTo>
                <a:lnTo>
                  <a:pt x="570" y="344"/>
                </a:lnTo>
                <a:lnTo>
                  <a:pt x="598" y="316"/>
                </a:lnTo>
                <a:lnTo>
                  <a:pt x="570" y="287"/>
                </a:lnTo>
                <a:lnTo>
                  <a:pt x="542" y="316"/>
                </a:lnTo>
                <a:close/>
                <a:moveTo>
                  <a:pt x="542" y="378"/>
                </a:moveTo>
                <a:lnTo>
                  <a:pt x="570" y="404"/>
                </a:lnTo>
                <a:lnTo>
                  <a:pt x="598" y="378"/>
                </a:lnTo>
                <a:lnTo>
                  <a:pt x="570" y="350"/>
                </a:lnTo>
                <a:lnTo>
                  <a:pt x="542" y="378"/>
                </a:lnTo>
                <a:close/>
                <a:moveTo>
                  <a:pt x="542" y="437"/>
                </a:moveTo>
                <a:lnTo>
                  <a:pt x="570" y="465"/>
                </a:lnTo>
                <a:lnTo>
                  <a:pt x="598" y="437"/>
                </a:lnTo>
                <a:lnTo>
                  <a:pt x="570" y="409"/>
                </a:lnTo>
                <a:lnTo>
                  <a:pt x="542" y="437"/>
                </a:lnTo>
                <a:close/>
                <a:moveTo>
                  <a:pt x="542" y="500"/>
                </a:moveTo>
                <a:lnTo>
                  <a:pt x="570" y="525"/>
                </a:lnTo>
                <a:lnTo>
                  <a:pt x="598" y="500"/>
                </a:lnTo>
                <a:lnTo>
                  <a:pt x="570" y="472"/>
                </a:lnTo>
                <a:lnTo>
                  <a:pt x="542" y="500"/>
                </a:lnTo>
                <a:close/>
                <a:moveTo>
                  <a:pt x="542" y="559"/>
                </a:moveTo>
                <a:lnTo>
                  <a:pt x="570" y="587"/>
                </a:lnTo>
                <a:lnTo>
                  <a:pt x="598" y="559"/>
                </a:lnTo>
                <a:lnTo>
                  <a:pt x="570" y="533"/>
                </a:lnTo>
                <a:lnTo>
                  <a:pt x="542" y="559"/>
                </a:lnTo>
                <a:close/>
                <a:moveTo>
                  <a:pt x="539" y="563"/>
                </a:moveTo>
                <a:lnTo>
                  <a:pt x="511" y="591"/>
                </a:lnTo>
                <a:lnTo>
                  <a:pt x="539" y="618"/>
                </a:lnTo>
                <a:lnTo>
                  <a:pt x="566" y="591"/>
                </a:lnTo>
                <a:lnTo>
                  <a:pt x="539" y="563"/>
                </a:lnTo>
                <a:close/>
                <a:moveTo>
                  <a:pt x="508" y="594"/>
                </a:moveTo>
                <a:lnTo>
                  <a:pt x="482" y="622"/>
                </a:lnTo>
                <a:lnTo>
                  <a:pt x="508" y="650"/>
                </a:lnTo>
                <a:lnTo>
                  <a:pt x="537" y="622"/>
                </a:lnTo>
                <a:lnTo>
                  <a:pt x="508" y="594"/>
                </a:lnTo>
                <a:close/>
                <a:moveTo>
                  <a:pt x="506" y="591"/>
                </a:moveTo>
                <a:lnTo>
                  <a:pt x="478" y="563"/>
                </a:lnTo>
                <a:lnTo>
                  <a:pt x="450" y="591"/>
                </a:lnTo>
                <a:lnTo>
                  <a:pt x="478" y="618"/>
                </a:lnTo>
                <a:lnTo>
                  <a:pt x="506" y="591"/>
                </a:lnTo>
                <a:close/>
                <a:moveTo>
                  <a:pt x="448" y="594"/>
                </a:moveTo>
                <a:lnTo>
                  <a:pt x="420" y="622"/>
                </a:lnTo>
                <a:lnTo>
                  <a:pt x="448" y="650"/>
                </a:lnTo>
                <a:lnTo>
                  <a:pt x="474" y="622"/>
                </a:lnTo>
                <a:lnTo>
                  <a:pt x="448" y="594"/>
                </a:lnTo>
                <a:close/>
                <a:moveTo>
                  <a:pt x="444" y="591"/>
                </a:moveTo>
                <a:lnTo>
                  <a:pt x="416" y="563"/>
                </a:lnTo>
                <a:lnTo>
                  <a:pt x="389" y="591"/>
                </a:lnTo>
                <a:lnTo>
                  <a:pt x="416" y="618"/>
                </a:lnTo>
                <a:lnTo>
                  <a:pt x="444" y="591"/>
                </a:lnTo>
                <a:close/>
                <a:moveTo>
                  <a:pt x="387" y="594"/>
                </a:moveTo>
                <a:lnTo>
                  <a:pt x="359" y="622"/>
                </a:lnTo>
                <a:lnTo>
                  <a:pt x="387" y="650"/>
                </a:lnTo>
                <a:lnTo>
                  <a:pt x="415" y="622"/>
                </a:lnTo>
                <a:lnTo>
                  <a:pt x="387" y="594"/>
                </a:lnTo>
                <a:close/>
                <a:moveTo>
                  <a:pt x="383" y="591"/>
                </a:moveTo>
                <a:lnTo>
                  <a:pt x="356" y="563"/>
                </a:lnTo>
                <a:lnTo>
                  <a:pt x="328" y="591"/>
                </a:lnTo>
                <a:lnTo>
                  <a:pt x="356" y="618"/>
                </a:lnTo>
                <a:lnTo>
                  <a:pt x="383" y="591"/>
                </a:lnTo>
                <a:close/>
                <a:moveTo>
                  <a:pt x="324" y="594"/>
                </a:moveTo>
                <a:lnTo>
                  <a:pt x="298" y="622"/>
                </a:lnTo>
                <a:lnTo>
                  <a:pt x="324" y="650"/>
                </a:lnTo>
                <a:lnTo>
                  <a:pt x="352" y="622"/>
                </a:lnTo>
                <a:lnTo>
                  <a:pt x="324" y="594"/>
                </a:lnTo>
                <a:close/>
                <a:moveTo>
                  <a:pt x="322" y="591"/>
                </a:moveTo>
                <a:lnTo>
                  <a:pt x="294" y="563"/>
                </a:lnTo>
                <a:lnTo>
                  <a:pt x="266" y="591"/>
                </a:lnTo>
                <a:lnTo>
                  <a:pt x="294" y="618"/>
                </a:lnTo>
                <a:lnTo>
                  <a:pt x="322" y="591"/>
                </a:lnTo>
                <a:close/>
                <a:moveTo>
                  <a:pt x="265" y="594"/>
                </a:moveTo>
                <a:lnTo>
                  <a:pt x="237" y="622"/>
                </a:lnTo>
                <a:lnTo>
                  <a:pt x="265" y="650"/>
                </a:lnTo>
                <a:lnTo>
                  <a:pt x="293" y="622"/>
                </a:lnTo>
                <a:lnTo>
                  <a:pt x="265" y="594"/>
                </a:lnTo>
                <a:close/>
                <a:moveTo>
                  <a:pt x="261" y="591"/>
                </a:moveTo>
                <a:lnTo>
                  <a:pt x="234" y="563"/>
                </a:lnTo>
                <a:lnTo>
                  <a:pt x="206" y="591"/>
                </a:lnTo>
                <a:lnTo>
                  <a:pt x="234" y="618"/>
                </a:lnTo>
                <a:lnTo>
                  <a:pt x="261" y="591"/>
                </a:lnTo>
                <a:close/>
                <a:moveTo>
                  <a:pt x="203" y="594"/>
                </a:moveTo>
                <a:lnTo>
                  <a:pt x="176" y="622"/>
                </a:lnTo>
                <a:lnTo>
                  <a:pt x="203" y="650"/>
                </a:lnTo>
                <a:lnTo>
                  <a:pt x="231" y="622"/>
                </a:lnTo>
                <a:lnTo>
                  <a:pt x="203" y="594"/>
                </a:lnTo>
                <a:close/>
                <a:moveTo>
                  <a:pt x="201" y="591"/>
                </a:moveTo>
                <a:lnTo>
                  <a:pt x="172" y="563"/>
                </a:lnTo>
                <a:lnTo>
                  <a:pt x="144" y="591"/>
                </a:lnTo>
                <a:lnTo>
                  <a:pt x="172" y="618"/>
                </a:lnTo>
                <a:lnTo>
                  <a:pt x="201" y="591"/>
                </a:lnTo>
                <a:close/>
                <a:moveTo>
                  <a:pt x="143" y="594"/>
                </a:moveTo>
                <a:lnTo>
                  <a:pt x="115" y="622"/>
                </a:lnTo>
                <a:lnTo>
                  <a:pt x="143" y="650"/>
                </a:lnTo>
                <a:lnTo>
                  <a:pt x="168" y="622"/>
                </a:lnTo>
                <a:lnTo>
                  <a:pt x="143" y="594"/>
                </a:lnTo>
                <a:close/>
                <a:moveTo>
                  <a:pt x="139" y="591"/>
                </a:moveTo>
                <a:lnTo>
                  <a:pt x="111" y="563"/>
                </a:lnTo>
                <a:lnTo>
                  <a:pt x="84" y="591"/>
                </a:lnTo>
                <a:lnTo>
                  <a:pt x="111" y="618"/>
                </a:lnTo>
                <a:lnTo>
                  <a:pt x="139" y="591"/>
                </a:lnTo>
                <a:close/>
                <a:moveTo>
                  <a:pt x="81" y="587"/>
                </a:moveTo>
                <a:lnTo>
                  <a:pt x="109" y="559"/>
                </a:lnTo>
                <a:lnTo>
                  <a:pt x="81" y="533"/>
                </a:lnTo>
                <a:lnTo>
                  <a:pt x="53" y="559"/>
                </a:lnTo>
                <a:lnTo>
                  <a:pt x="81" y="587"/>
                </a:lnTo>
                <a:close/>
                <a:moveTo>
                  <a:pt x="22" y="529"/>
                </a:moveTo>
                <a:lnTo>
                  <a:pt x="51" y="558"/>
                </a:lnTo>
                <a:lnTo>
                  <a:pt x="77" y="529"/>
                </a:lnTo>
                <a:lnTo>
                  <a:pt x="51" y="501"/>
                </a:lnTo>
                <a:lnTo>
                  <a:pt x="22" y="529"/>
                </a:lnTo>
                <a:close/>
                <a:moveTo>
                  <a:pt x="22" y="468"/>
                </a:moveTo>
                <a:lnTo>
                  <a:pt x="51" y="496"/>
                </a:lnTo>
                <a:lnTo>
                  <a:pt x="77" y="468"/>
                </a:lnTo>
                <a:lnTo>
                  <a:pt x="51" y="441"/>
                </a:lnTo>
                <a:lnTo>
                  <a:pt x="22" y="468"/>
                </a:lnTo>
                <a:close/>
                <a:moveTo>
                  <a:pt x="22" y="408"/>
                </a:moveTo>
                <a:lnTo>
                  <a:pt x="51" y="436"/>
                </a:lnTo>
                <a:lnTo>
                  <a:pt x="77" y="408"/>
                </a:lnTo>
                <a:lnTo>
                  <a:pt x="51" y="380"/>
                </a:lnTo>
                <a:lnTo>
                  <a:pt x="22" y="408"/>
                </a:lnTo>
                <a:close/>
                <a:moveTo>
                  <a:pt x="22" y="346"/>
                </a:moveTo>
                <a:lnTo>
                  <a:pt x="51" y="374"/>
                </a:lnTo>
                <a:lnTo>
                  <a:pt x="77" y="346"/>
                </a:lnTo>
                <a:lnTo>
                  <a:pt x="51" y="320"/>
                </a:lnTo>
                <a:lnTo>
                  <a:pt x="22" y="346"/>
                </a:lnTo>
                <a:close/>
                <a:moveTo>
                  <a:pt x="22" y="286"/>
                </a:moveTo>
                <a:lnTo>
                  <a:pt x="51" y="313"/>
                </a:lnTo>
                <a:lnTo>
                  <a:pt x="77" y="286"/>
                </a:lnTo>
                <a:lnTo>
                  <a:pt x="51" y="258"/>
                </a:lnTo>
                <a:lnTo>
                  <a:pt x="22" y="286"/>
                </a:lnTo>
                <a:close/>
                <a:moveTo>
                  <a:pt x="22" y="225"/>
                </a:moveTo>
                <a:lnTo>
                  <a:pt x="51" y="253"/>
                </a:lnTo>
                <a:lnTo>
                  <a:pt x="77" y="225"/>
                </a:lnTo>
                <a:lnTo>
                  <a:pt x="51" y="197"/>
                </a:lnTo>
                <a:lnTo>
                  <a:pt x="22" y="225"/>
                </a:lnTo>
                <a:close/>
                <a:moveTo>
                  <a:pt x="22" y="163"/>
                </a:moveTo>
                <a:lnTo>
                  <a:pt x="51" y="191"/>
                </a:lnTo>
                <a:lnTo>
                  <a:pt x="77" y="163"/>
                </a:lnTo>
                <a:lnTo>
                  <a:pt x="51" y="136"/>
                </a:lnTo>
                <a:lnTo>
                  <a:pt x="22" y="163"/>
                </a:lnTo>
                <a:close/>
                <a:moveTo>
                  <a:pt x="22" y="103"/>
                </a:moveTo>
                <a:lnTo>
                  <a:pt x="51" y="131"/>
                </a:lnTo>
                <a:lnTo>
                  <a:pt x="77" y="103"/>
                </a:lnTo>
                <a:lnTo>
                  <a:pt x="51" y="75"/>
                </a:lnTo>
                <a:lnTo>
                  <a:pt x="22" y="103"/>
                </a:lnTo>
                <a:close/>
                <a:moveTo>
                  <a:pt x="51" y="15"/>
                </a:moveTo>
                <a:lnTo>
                  <a:pt x="22" y="42"/>
                </a:lnTo>
                <a:lnTo>
                  <a:pt x="51" y="70"/>
                </a:lnTo>
                <a:lnTo>
                  <a:pt x="77" y="42"/>
                </a:lnTo>
                <a:lnTo>
                  <a:pt x="51" y="15"/>
                </a:lnTo>
                <a:close/>
                <a:moveTo>
                  <a:pt x="53" y="74"/>
                </a:moveTo>
                <a:lnTo>
                  <a:pt x="81" y="99"/>
                </a:lnTo>
                <a:lnTo>
                  <a:pt x="109" y="74"/>
                </a:lnTo>
                <a:lnTo>
                  <a:pt x="81" y="46"/>
                </a:lnTo>
                <a:lnTo>
                  <a:pt x="53" y="74"/>
                </a:lnTo>
                <a:close/>
                <a:moveTo>
                  <a:pt x="111" y="15"/>
                </a:moveTo>
                <a:lnTo>
                  <a:pt x="84" y="42"/>
                </a:lnTo>
                <a:lnTo>
                  <a:pt x="111" y="70"/>
                </a:lnTo>
                <a:lnTo>
                  <a:pt x="139" y="42"/>
                </a:lnTo>
                <a:lnTo>
                  <a:pt x="111" y="15"/>
                </a:lnTo>
                <a:close/>
                <a:moveTo>
                  <a:pt x="115" y="74"/>
                </a:moveTo>
                <a:lnTo>
                  <a:pt x="143" y="99"/>
                </a:lnTo>
                <a:lnTo>
                  <a:pt x="168" y="74"/>
                </a:lnTo>
                <a:lnTo>
                  <a:pt x="143" y="46"/>
                </a:lnTo>
                <a:lnTo>
                  <a:pt x="115" y="74"/>
                </a:lnTo>
                <a:close/>
                <a:moveTo>
                  <a:pt x="172" y="15"/>
                </a:moveTo>
                <a:lnTo>
                  <a:pt x="144" y="42"/>
                </a:lnTo>
                <a:lnTo>
                  <a:pt x="172" y="70"/>
                </a:lnTo>
                <a:lnTo>
                  <a:pt x="201" y="42"/>
                </a:lnTo>
                <a:lnTo>
                  <a:pt x="172" y="15"/>
                </a:lnTo>
                <a:close/>
                <a:moveTo>
                  <a:pt x="176" y="74"/>
                </a:moveTo>
                <a:lnTo>
                  <a:pt x="203" y="99"/>
                </a:lnTo>
                <a:lnTo>
                  <a:pt x="231" y="74"/>
                </a:lnTo>
                <a:lnTo>
                  <a:pt x="203" y="46"/>
                </a:lnTo>
                <a:lnTo>
                  <a:pt x="176" y="74"/>
                </a:lnTo>
                <a:close/>
                <a:moveTo>
                  <a:pt x="234" y="15"/>
                </a:moveTo>
                <a:lnTo>
                  <a:pt x="206" y="42"/>
                </a:lnTo>
                <a:lnTo>
                  <a:pt x="234" y="70"/>
                </a:lnTo>
                <a:lnTo>
                  <a:pt x="261" y="42"/>
                </a:lnTo>
                <a:lnTo>
                  <a:pt x="234" y="15"/>
                </a:lnTo>
                <a:close/>
                <a:moveTo>
                  <a:pt x="237" y="74"/>
                </a:moveTo>
                <a:lnTo>
                  <a:pt x="265" y="99"/>
                </a:lnTo>
                <a:lnTo>
                  <a:pt x="293" y="74"/>
                </a:lnTo>
                <a:lnTo>
                  <a:pt x="265" y="46"/>
                </a:lnTo>
                <a:lnTo>
                  <a:pt x="237" y="74"/>
                </a:lnTo>
                <a:close/>
                <a:moveTo>
                  <a:pt x="294" y="15"/>
                </a:moveTo>
                <a:lnTo>
                  <a:pt x="266" y="42"/>
                </a:lnTo>
                <a:lnTo>
                  <a:pt x="294" y="70"/>
                </a:lnTo>
                <a:lnTo>
                  <a:pt x="322" y="42"/>
                </a:lnTo>
                <a:lnTo>
                  <a:pt x="294" y="15"/>
                </a:lnTo>
                <a:close/>
                <a:moveTo>
                  <a:pt x="298" y="74"/>
                </a:moveTo>
                <a:lnTo>
                  <a:pt x="324" y="99"/>
                </a:lnTo>
                <a:lnTo>
                  <a:pt x="352" y="74"/>
                </a:lnTo>
                <a:lnTo>
                  <a:pt x="324" y="46"/>
                </a:lnTo>
                <a:lnTo>
                  <a:pt x="298" y="74"/>
                </a:lnTo>
                <a:close/>
                <a:moveTo>
                  <a:pt x="356" y="15"/>
                </a:moveTo>
                <a:lnTo>
                  <a:pt x="328" y="42"/>
                </a:lnTo>
                <a:lnTo>
                  <a:pt x="356" y="70"/>
                </a:lnTo>
                <a:lnTo>
                  <a:pt x="383" y="42"/>
                </a:lnTo>
                <a:lnTo>
                  <a:pt x="356" y="15"/>
                </a:lnTo>
                <a:close/>
                <a:moveTo>
                  <a:pt x="359" y="74"/>
                </a:moveTo>
                <a:lnTo>
                  <a:pt x="387" y="99"/>
                </a:lnTo>
                <a:lnTo>
                  <a:pt x="415" y="74"/>
                </a:lnTo>
                <a:lnTo>
                  <a:pt x="387" y="46"/>
                </a:lnTo>
                <a:lnTo>
                  <a:pt x="359" y="74"/>
                </a:lnTo>
                <a:close/>
                <a:moveTo>
                  <a:pt x="416" y="15"/>
                </a:moveTo>
                <a:lnTo>
                  <a:pt x="389" y="42"/>
                </a:lnTo>
                <a:lnTo>
                  <a:pt x="416" y="70"/>
                </a:lnTo>
                <a:lnTo>
                  <a:pt x="444" y="42"/>
                </a:lnTo>
                <a:lnTo>
                  <a:pt x="416" y="15"/>
                </a:lnTo>
                <a:close/>
                <a:moveTo>
                  <a:pt x="420" y="74"/>
                </a:moveTo>
                <a:lnTo>
                  <a:pt x="448" y="99"/>
                </a:lnTo>
                <a:lnTo>
                  <a:pt x="474" y="74"/>
                </a:lnTo>
                <a:lnTo>
                  <a:pt x="448" y="46"/>
                </a:lnTo>
                <a:lnTo>
                  <a:pt x="420" y="74"/>
                </a:lnTo>
                <a:close/>
                <a:moveTo>
                  <a:pt x="478" y="15"/>
                </a:moveTo>
                <a:lnTo>
                  <a:pt x="450" y="42"/>
                </a:lnTo>
                <a:lnTo>
                  <a:pt x="478" y="70"/>
                </a:lnTo>
                <a:lnTo>
                  <a:pt x="506" y="42"/>
                </a:lnTo>
                <a:lnTo>
                  <a:pt x="478" y="15"/>
                </a:lnTo>
                <a:close/>
                <a:moveTo>
                  <a:pt x="482" y="74"/>
                </a:moveTo>
                <a:lnTo>
                  <a:pt x="508" y="99"/>
                </a:lnTo>
                <a:lnTo>
                  <a:pt x="537" y="74"/>
                </a:lnTo>
                <a:lnTo>
                  <a:pt x="508" y="46"/>
                </a:lnTo>
                <a:lnTo>
                  <a:pt x="482" y="74"/>
                </a:lnTo>
                <a:close/>
                <a:moveTo>
                  <a:pt x="539" y="15"/>
                </a:moveTo>
                <a:lnTo>
                  <a:pt x="511" y="42"/>
                </a:lnTo>
                <a:lnTo>
                  <a:pt x="539" y="70"/>
                </a:lnTo>
                <a:lnTo>
                  <a:pt x="566" y="42"/>
                </a:lnTo>
                <a:lnTo>
                  <a:pt x="539" y="15"/>
                </a:lnTo>
                <a:close/>
                <a:moveTo>
                  <a:pt x="542" y="74"/>
                </a:moveTo>
                <a:lnTo>
                  <a:pt x="570" y="99"/>
                </a:lnTo>
                <a:lnTo>
                  <a:pt x="598" y="74"/>
                </a:lnTo>
                <a:lnTo>
                  <a:pt x="570" y="46"/>
                </a:lnTo>
                <a:lnTo>
                  <a:pt x="542" y="74"/>
                </a:lnTo>
                <a:close/>
                <a:moveTo>
                  <a:pt x="628" y="42"/>
                </a:moveTo>
                <a:lnTo>
                  <a:pt x="599" y="15"/>
                </a:lnTo>
                <a:lnTo>
                  <a:pt x="571" y="42"/>
                </a:lnTo>
                <a:lnTo>
                  <a:pt x="599" y="70"/>
                </a:lnTo>
                <a:lnTo>
                  <a:pt x="628" y="42"/>
                </a:lnTo>
                <a:close/>
                <a:moveTo>
                  <a:pt x="628" y="103"/>
                </a:moveTo>
                <a:lnTo>
                  <a:pt x="599" y="75"/>
                </a:lnTo>
                <a:lnTo>
                  <a:pt x="571" y="103"/>
                </a:lnTo>
                <a:lnTo>
                  <a:pt x="599" y="131"/>
                </a:lnTo>
                <a:lnTo>
                  <a:pt x="628" y="103"/>
                </a:lnTo>
                <a:close/>
                <a:moveTo>
                  <a:pt x="628" y="163"/>
                </a:moveTo>
                <a:lnTo>
                  <a:pt x="599" y="136"/>
                </a:lnTo>
                <a:lnTo>
                  <a:pt x="571" y="163"/>
                </a:lnTo>
                <a:lnTo>
                  <a:pt x="599" y="191"/>
                </a:lnTo>
                <a:lnTo>
                  <a:pt x="628" y="163"/>
                </a:lnTo>
                <a:close/>
                <a:moveTo>
                  <a:pt x="628" y="225"/>
                </a:moveTo>
                <a:lnTo>
                  <a:pt x="599" y="197"/>
                </a:lnTo>
                <a:lnTo>
                  <a:pt x="571" y="225"/>
                </a:lnTo>
                <a:lnTo>
                  <a:pt x="599" y="253"/>
                </a:lnTo>
                <a:lnTo>
                  <a:pt x="628" y="225"/>
                </a:lnTo>
                <a:close/>
                <a:moveTo>
                  <a:pt x="628" y="286"/>
                </a:moveTo>
                <a:lnTo>
                  <a:pt x="599" y="258"/>
                </a:lnTo>
                <a:lnTo>
                  <a:pt x="571" y="286"/>
                </a:lnTo>
                <a:lnTo>
                  <a:pt x="599" y="313"/>
                </a:lnTo>
                <a:lnTo>
                  <a:pt x="628" y="286"/>
                </a:lnTo>
                <a:close/>
                <a:moveTo>
                  <a:pt x="628" y="346"/>
                </a:moveTo>
                <a:lnTo>
                  <a:pt x="599" y="320"/>
                </a:lnTo>
                <a:lnTo>
                  <a:pt x="571" y="346"/>
                </a:lnTo>
                <a:lnTo>
                  <a:pt x="599" y="374"/>
                </a:lnTo>
                <a:lnTo>
                  <a:pt x="628" y="346"/>
                </a:lnTo>
                <a:close/>
                <a:moveTo>
                  <a:pt x="628" y="408"/>
                </a:moveTo>
                <a:lnTo>
                  <a:pt x="599" y="380"/>
                </a:lnTo>
                <a:lnTo>
                  <a:pt x="571" y="408"/>
                </a:lnTo>
                <a:lnTo>
                  <a:pt x="599" y="436"/>
                </a:lnTo>
                <a:lnTo>
                  <a:pt x="628" y="408"/>
                </a:lnTo>
                <a:close/>
                <a:moveTo>
                  <a:pt x="628" y="468"/>
                </a:moveTo>
                <a:lnTo>
                  <a:pt x="599" y="441"/>
                </a:lnTo>
                <a:lnTo>
                  <a:pt x="571" y="468"/>
                </a:lnTo>
                <a:lnTo>
                  <a:pt x="599" y="496"/>
                </a:lnTo>
                <a:lnTo>
                  <a:pt x="628" y="468"/>
                </a:lnTo>
                <a:close/>
                <a:moveTo>
                  <a:pt x="628" y="529"/>
                </a:moveTo>
                <a:lnTo>
                  <a:pt x="599" y="501"/>
                </a:lnTo>
                <a:lnTo>
                  <a:pt x="571" y="529"/>
                </a:lnTo>
                <a:lnTo>
                  <a:pt x="599" y="558"/>
                </a:lnTo>
                <a:lnTo>
                  <a:pt x="628" y="529"/>
                </a:lnTo>
                <a:close/>
                <a:moveTo>
                  <a:pt x="628" y="591"/>
                </a:moveTo>
                <a:lnTo>
                  <a:pt x="599" y="563"/>
                </a:lnTo>
                <a:lnTo>
                  <a:pt x="571" y="591"/>
                </a:lnTo>
                <a:lnTo>
                  <a:pt x="599" y="618"/>
                </a:lnTo>
                <a:lnTo>
                  <a:pt x="628" y="591"/>
                </a:lnTo>
                <a:close/>
                <a:moveTo>
                  <a:pt x="598" y="622"/>
                </a:moveTo>
                <a:lnTo>
                  <a:pt x="570" y="594"/>
                </a:lnTo>
                <a:lnTo>
                  <a:pt x="542" y="622"/>
                </a:lnTo>
                <a:lnTo>
                  <a:pt x="570" y="650"/>
                </a:lnTo>
                <a:lnTo>
                  <a:pt x="598" y="622"/>
                </a:lnTo>
                <a:close/>
                <a:moveTo>
                  <a:pt x="570" y="709"/>
                </a:moveTo>
                <a:lnTo>
                  <a:pt x="598" y="683"/>
                </a:lnTo>
                <a:lnTo>
                  <a:pt x="570" y="655"/>
                </a:lnTo>
                <a:lnTo>
                  <a:pt x="542" y="683"/>
                </a:lnTo>
                <a:lnTo>
                  <a:pt x="570" y="709"/>
                </a:lnTo>
                <a:close/>
                <a:moveTo>
                  <a:pt x="566" y="651"/>
                </a:moveTo>
                <a:lnTo>
                  <a:pt x="539" y="624"/>
                </a:lnTo>
                <a:lnTo>
                  <a:pt x="511" y="651"/>
                </a:lnTo>
                <a:lnTo>
                  <a:pt x="539" y="679"/>
                </a:lnTo>
                <a:lnTo>
                  <a:pt x="566" y="651"/>
                </a:lnTo>
                <a:close/>
                <a:moveTo>
                  <a:pt x="508" y="709"/>
                </a:moveTo>
                <a:lnTo>
                  <a:pt x="537" y="683"/>
                </a:lnTo>
                <a:lnTo>
                  <a:pt x="508" y="655"/>
                </a:lnTo>
                <a:lnTo>
                  <a:pt x="482" y="683"/>
                </a:lnTo>
                <a:lnTo>
                  <a:pt x="508" y="709"/>
                </a:lnTo>
                <a:close/>
                <a:moveTo>
                  <a:pt x="506" y="651"/>
                </a:moveTo>
                <a:lnTo>
                  <a:pt x="478" y="624"/>
                </a:lnTo>
                <a:lnTo>
                  <a:pt x="450" y="651"/>
                </a:lnTo>
                <a:lnTo>
                  <a:pt x="478" y="679"/>
                </a:lnTo>
                <a:lnTo>
                  <a:pt x="506" y="651"/>
                </a:lnTo>
                <a:close/>
                <a:moveTo>
                  <a:pt x="448" y="709"/>
                </a:moveTo>
                <a:lnTo>
                  <a:pt x="474" y="683"/>
                </a:lnTo>
                <a:lnTo>
                  <a:pt x="448" y="655"/>
                </a:lnTo>
                <a:lnTo>
                  <a:pt x="420" y="683"/>
                </a:lnTo>
                <a:lnTo>
                  <a:pt x="448" y="709"/>
                </a:lnTo>
                <a:close/>
                <a:moveTo>
                  <a:pt x="444" y="651"/>
                </a:moveTo>
                <a:lnTo>
                  <a:pt x="416" y="624"/>
                </a:lnTo>
                <a:lnTo>
                  <a:pt x="389" y="651"/>
                </a:lnTo>
                <a:lnTo>
                  <a:pt x="416" y="679"/>
                </a:lnTo>
                <a:lnTo>
                  <a:pt x="444" y="651"/>
                </a:lnTo>
                <a:close/>
                <a:moveTo>
                  <a:pt x="387" y="709"/>
                </a:moveTo>
                <a:lnTo>
                  <a:pt x="415" y="683"/>
                </a:lnTo>
                <a:lnTo>
                  <a:pt x="387" y="655"/>
                </a:lnTo>
                <a:lnTo>
                  <a:pt x="359" y="683"/>
                </a:lnTo>
                <a:lnTo>
                  <a:pt x="387" y="709"/>
                </a:lnTo>
                <a:close/>
                <a:moveTo>
                  <a:pt x="383" y="651"/>
                </a:moveTo>
                <a:lnTo>
                  <a:pt x="356" y="624"/>
                </a:lnTo>
                <a:lnTo>
                  <a:pt x="328" y="651"/>
                </a:lnTo>
                <a:lnTo>
                  <a:pt x="356" y="679"/>
                </a:lnTo>
                <a:lnTo>
                  <a:pt x="383" y="651"/>
                </a:lnTo>
                <a:close/>
                <a:moveTo>
                  <a:pt x="324" y="709"/>
                </a:moveTo>
                <a:lnTo>
                  <a:pt x="352" y="683"/>
                </a:lnTo>
                <a:lnTo>
                  <a:pt x="324" y="655"/>
                </a:lnTo>
                <a:lnTo>
                  <a:pt x="298" y="683"/>
                </a:lnTo>
                <a:lnTo>
                  <a:pt x="324" y="709"/>
                </a:lnTo>
                <a:close/>
                <a:moveTo>
                  <a:pt x="322" y="651"/>
                </a:moveTo>
                <a:lnTo>
                  <a:pt x="294" y="624"/>
                </a:lnTo>
                <a:lnTo>
                  <a:pt x="266" y="651"/>
                </a:lnTo>
                <a:lnTo>
                  <a:pt x="294" y="679"/>
                </a:lnTo>
                <a:lnTo>
                  <a:pt x="322" y="651"/>
                </a:lnTo>
                <a:close/>
                <a:moveTo>
                  <a:pt x="265" y="709"/>
                </a:moveTo>
                <a:lnTo>
                  <a:pt x="293" y="683"/>
                </a:lnTo>
                <a:lnTo>
                  <a:pt x="265" y="655"/>
                </a:lnTo>
                <a:lnTo>
                  <a:pt x="237" y="683"/>
                </a:lnTo>
                <a:lnTo>
                  <a:pt x="265" y="709"/>
                </a:lnTo>
                <a:close/>
                <a:moveTo>
                  <a:pt x="261" y="651"/>
                </a:moveTo>
                <a:lnTo>
                  <a:pt x="234" y="624"/>
                </a:lnTo>
                <a:lnTo>
                  <a:pt x="206" y="651"/>
                </a:lnTo>
                <a:lnTo>
                  <a:pt x="234" y="679"/>
                </a:lnTo>
                <a:lnTo>
                  <a:pt x="261" y="651"/>
                </a:lnTo>
                <a:close/>
                <a:moveTo>
                  <a:pt x="203" y="709"/>
                </a:moveTo>
                <a:lnTo>
                  <a:pt x="231" y="683"/>
                </a:lnTo>
                <a:lnTo>
                  <a:pt x="203" y="655"/>
                </a:lnTo>
                <a:lnTo>
                  <a:pt x="176" y="683"/>
                </a:lnTo>
                <a:lnTo>
                  <a:pt x="203" y="709"/>
                </a:lnTo>
                <a:close/>
                <a:moveTo>
                  <a:pt x="201" y="651"/>
                </a:moveTo>
                <a:lnTo>
                  <a:pt x="172" y="624"/>
                </a:lnTo>
                <a:lnTo>
                  <a:pt x="144" y="651"/>
                </a:lnTo>
                <a:lnTo>
                  <a:pt x="172" y="679"/>
                </a:lnTo>
                <a:lnTo>
                  <a:pt x="201" y="651"/>
                </a:lnTo>
                <a:close/>
                <a:moveTo>
                  <a:pt x="143" y="709"/>
                </a:moveTo>
                <a:lnTo>
                  <a:pt x="168" y="683"/>
                </a:lnTo>
                <a:lnTo>
                  <a:pt x="143" y="655"/>
                </a:lnTo>
                <a:lnTo>
                  <a:pt x="115" y="683"/>
                </a:lnTo>
                <a:lnTo>
                  <a:pt x="143" y="709"/>
                </a:lnTo>
                <a:close/>
                <a:moveTo>
                  <a:pt x="139" y="651"/>
                </a:moveTo>
                <a:lnTo>
                  <a:pt x="111" y="624"/>
                </a:lnTo>
                <a:lnTo>
                  <a:pt x="84" y="651"/>
                </a:lnTo>
                <a:lnTo>
                  <a:pt x="111" y="679"/>
                </a:lnTo>
                <a:lnTo>
                  <a:pt x="139" y="651"/>
                </a:lnTo>
                <a:close/>
                <a:moveTo>
                  <a:pt x="81" y="709"/>
                </a:moveTo>
                <a:lnTo>
                  <a:pt x="109" y="683"/>
                </a:lnTo>
                <a:lnTo>
                  <a:pt x="81" y="655"/>
                </a:lnTo>
                <a:lnTo>
                  <a:pt x="53" y="683"/>
                </a:lnTo>
                <a:lnTo>
                  <a:pt x="81" y="709"/>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485" name="Freeform 1277"/>
          <p:cNvSpPr>
            <a:spLocks noEditPoints="1"/>
          </p:cNvSpPr>
          <p:nvPr/>
        </p:nvSpPr>
        <p:spPr bwMode="auto">
          <a:xfrm>
            <a:off x="10849570" y="5227638"/>
            <a:ext cx="1033463" cy="1166813"/>
          </a:xfrm>
          <a:custGeom>
            <a:avLst/>
            <a:gdLst>
              <a:gd name="T0" fmla="*/ 18 w 651"/>
              <a:gd name="T1" fmla="*/ 464 h 735"/>
              <a:gd name="T2" fmla="*/ 17 w 651"/>
              <a:gd name="T3" fmla="*/ 286 h 735"/>
              <a:gd name="T4" fmla="*/ 4 w 651"/>
              <a:gd name="T5" fmla="*/ 122 h 735"/>
              <a:gd name="T6" fmla="*/ 110 w 651"/>
              <a:gd name="T7" fmla="*/ 11 h 735"/>
              <a:gd name="T8" fmla="*/ 237 w 651"/>
              <a:gd name="T9" fmla="*/ 11 h 735"/>
              <a:gd name="T10" fmla="*/ 426 w 651"/>
              <a:gd name="T11" fmla="*/ 0 h 735"/>
              <a:gd name="T12" fmla="*/ 591 w 651"/>
              <a:gd name="T13" fmla="*/ 0 h 735"/>
              <a:gd name="T14" fmla="*/ 646 w 651"/>
              <a:gd name="T15" fmla="*/ 146 h 735"/>
              <a:gd name="T16" fmla="*/ 604 w 651"/>
              <a:gd name="T17" fmla="*/ 316 h 735"/>
              <a:gd name="T18" fmla="*/ 634 w 651"/>
              <a:gd name="T19" fmla="*/ 475 h 735"/>
              <a:gd name="T20" fmla="*/ 572 w 651"/>
              <a:gd name="T21" fmla="*/ 713 h 735"/>
              <a:gd name="T22" fmla="*/ 445 w 651"/>
              <a:gd name="T23" fmla="*/ 713 h 735"/>
              <a:gd name="T24" fmla="*/ 244 w 651"/>
              <a:gd name="T25" fmla="*/ 735 h 735"/>
              <a:gd name="T26" fmla="*/ 102 w 651"/>
              <a:gd name="T27" fmla="*/ 735 h 735"/>
              <a:gd name="T28" fmla="*/ 474 w 651"/>
              <a:gd name="T29" fmla="*/ 378 h 735"/>
              <a:gd name="T30" fmla="*/ 323 w 651"/>
              <a:gd name="T31" fmla="*/ 346 h 735"/>
              <a:gd name="T32" fmla="*/ 173 w 651"/>
              <a:gd name="T33" fmla="*/ 258 h 735"/>
              <a:gd name="T34" fmla="*/ 266 w 651"/>
              <a:gd name="T35" fmla="*/ 286 h 735"/>
              <a:gd name="T36" fmla="*/ 421 w 651"/>
              <a:gd name="T37" fmla="*/ 316 h 735"/>
              <a:gd name="T38" fmla="*/ 449 w 651"/>
              <a:gd name="T39" fmla="*/ 465 h 735"/>
              <a:gd name="T40" fmla="*/ 324 w 651"/>
              <a:gd name="T41" fmla="*/ 409 h 735"/>
              <a:gd name="T42" fmla="*/ 173 w 651"/>
              <a:gd name="T43" fmla="*/ 380 h 735"/>
              <a:gd name="T44" fmla="*/ 143 w 651"/>
              <a:gd name="T45" fmla="*/ 282 h 735"/>
              <a:gd name="T46" fmla="*/ 295 w 651"/>
              <a:gd name="T47" fmla="*/ 253 h 735"/>
              <a:gd name="T48" fmla="*/ 417 w 651"/>
              <a:gd name="T49" fmla="*/ 197 h 735"/>
              <a:gd name="T50" fmla="*/ 482 w 651"/>
              <a:gd name="T51" fmla="*/ 316 h 735"/>
              <a:gd name="T52" fmla="*/ 421 w 651"/>
              <a:gd name="T53" fmla="*/ 500 h 735"/>
              <a:gd name="T54" fmla="*/ 352 w 651"/>
              <a:gd name="T55" fmla="*/ 500 h 735"/>
              <a:gd name="T56" fmla="*/ 201 w 651"/>
              <a:gd name="T57" fmla="*/ 468 h 735"/>
              <a:gd name="T58" fmla="*/ 84 w 651"/>
              <a:gd name="T59" fmla="*/ 346 h 735"/>
              <a:gd name="T60" fmla="*/ 115 w 651"/>
              <a:gd name="T61" fmla="*/ 195 h 735"/>
              <a:gd name="T62" fmla="*/ 323 w 651"/>
              <a:gd name="T63" fmla="*/ 163 h 735"/>
              <a:gd name="T64" fmla="*/ 390 w 651"/>
              <a:gd name="T65" fmla="*/ 163 h 735"/>
              <a:gd name="T66" fmla="*/ 512 w 651"/>
              <a:gd name="T67" fmla="*/ 225 h 735"/>
              <a:gd name="T68" fmla="*/ 567 w 651"/>
              <a:gd name="T69" fmla="*/ 468 h 735"/>
              <a:gd name="T70" fmla="*/ 449 w 651"/>
              <a:gd name="T71" fmla="*/ 533 h 735"/>
              <a:gd name="T72" fmla="*/ 295 w 651"/>
              <a:gd name="T73" fmla="*/ 501 h 735"/>
              <a:gd name="T74" fmla="*/ 173 w 651"/>
              <a:gd name="T75" fmla="*/ 558 h 735"/>
              <a:gd name="T76" fmla="*/ 110 w 651"/>
              <a:gd name="T77" fmla="*/ 378 h 735"/>
              <a:gd name="T78" fmla="*/ 53 w 651"/>
              <a:gd name="T79" fmla="*/ 132 h 735"/>
              <a:gd name="T80" fmla="*/ 177 w 651"/>
              <a:gd name="T81" fmla="*/ 132 h 735"/>
              <a:gd name="T82" fmla="*/ 383 w 651"/>
              <a:gd name="T83" fmla="*/ 103 h 735"/>
              <a:gd name="T84" fmla="*/ 450 w 651"/>
              <a:gd name="T85" fmla="*/ 103 h 735"/>
              <a:gd name="T86" fmla="*/ 543 w 651"/>
              <a:gd name="T87" fmla="*/ 254 h 735"/>
              <a:gd name="T88" fmla="*/ 599 w 651"/>
              <a:gd name="T89" fmla="*/ 500 h 735"/>
              <a:gd name="T90" fmla="*/ 507 w 651"/>
              <a:gd name="T91" fmla="*/ 591 h 735"/>
              <a:gd name="T92" fmla="*/ 299 w 651"/>
              <a:gd name="T93" fmla="*/ 622 h 735"/>
              <a:gd name="T94" fmla="*/ 232 w 651"/>
              <a:gd name="T95" fmla="*/ 622 h 735"/>
              <a:gd name="T96" fmla="*/ 22 w 651"/>
              <a:gd name="T97" fmla="*/ 529 h 735"/>
              <a:gd name="T98" fmla="*/ 77 w 651"/>
              <a:gd name="T99" fmla="*/ 286 h 735"/>
              <a:gd name="T100" fmla="*/ 51 w 651"/>
              <a:gd name="T101" fmla="*/ 15 h 735"/>
              <a:gd name="T102" fmla="*/ 203 w 651"/>
              <a:gd name="T103" fmla="*/ 99 h 735"/>
              <a:gd name="T104" fmla="*/ 324 w 651"/>
              <a:gd name="T105" fmla="*/ 46 h 735"/>
              <a:gd name="T106" fmla="*/ 478 w 651"/>
              <a:gd name="T107" fmla="*/ 15 h 735"/>
              <a:gd name="T108" fmla="*/ 572 w 651"/>
              <a:gd name="T109" fmla="*/ 42 h 735"/>
              <a:gd name="T110" fmla="*/ 629 w 651"/>
              <a:gd name="T111" fmla="*/ 286 h 735"/>
              <a:gd name="T112" fmla="*/ 600 w 651"/>
              <a:gd name="T113" fmla="*/ 563 h 735"/>
              <a:gd name="T114" fmla="*/ 482 w 651"/>
              <a:gd name="T115" fmla="*/ 683 h 735"/>
              <a:gd name="T116" fmla="*/ 383 w 651"/>
              <a:gd name="T117" fmla="*/ 651 h 735"/>
              <a:gd name="T118" fmla="*/ 206 w 651"/>
              <a:gd name="T119" fmla="*/ 651 h 735"/>
              <a:gd name="T120" fmla="*/ 139 w 651"/>
              <a:gd name="T121" fmla="*/ 651 h 7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51" h="735">
                <a:moveTo>
                  <a:pt x="26" y="662"/>
                </a:moveTo>
                <a:lnTo>
                  <a:pt x="26" y="656"/>
                </a:lnTo>
                <a:lnTo>
                  <a:pt x="51" y="679"/>
                </a:lnTo>
                <a:lnTo>
                  <a:pt x="77" y="651"/>
                </a:lnTo>
                <a:lnTo>
                  <a:pt x="51" y="624"/>
                </a:lnTo>
                <a:lnTo>
                  <a:pt x="26" y="647"/>
                </a:lnTo>
                <a:lnTo>
                  <a:pt x="26" y="642"/>
                </a:lnTo>
                <a:lnTo>
                  <a:pt x="47" y="622"/>
                </a:lnTo>
                <a:lnTo>
                  <a:pt x="25" y="599"/>
                </a:lnTo>
                <a:lnTo>
                  <a:pt x="25" y="591"/>
                </a:lnTo>
                <a:lnTo>
                  <a:pt x="51" y="618"/>
                </a:lnTo>
                <a:lnTo>
                  <a:pt x="77" y="591"/>
                </a:lnTo>
                <a:lnTo>
                  <a:pt x="51" y="563"/>
                </a:lnTo>
                <a:lnTo>
                  <a:pt x="25" y="590"/>
                </a:lnTo>
                <a:lnTo>
                  <a:pt x="25" y="584"/>
                </a:lnTo>
                <a:lnTo>
                  <a:pt x="47" y="559"/>
                </a:lnTo>
                <a:lnTo>
                  <a:pt x="22" y="535"/>
                </a:lnTo>
                <a:lnTo>
                  <a:pt x="21" y="525"/>
                </a:lnTo>
                <a:lnTo>
                  <a:pt x="47" y="500"/>
                </a:lnTo>
                <a:lnTo>
                  <a:pt x="18" y="472"/>
                </a:lnTo>
                <a:lnTo>
                  <a:pt x="18" y="472"/>
                </a:lnTo>
                <a:lnTo>
                  <a:pt x="18" y="464"/>
                </a:lnTo>
                <a:lnTo>
                  <a:pt x="18" y="465"/>
                </a:lnTo>
                <a:lnTo>
                  <a:pt x="47" y="437"/>
                </a:lnTo>
                <a:lnTo>
                  <a:pt x="18" y="409"/>
                </a:lnTo>
                <a:lnTo>
                  <a:pt x="17" y="413"/>
                </a:lnTo>
                <a:lnTo>
                  <a:pt x="17" y="408"/>
                </a:lnTo>
                <a:lnTo>
                  <a:pt x="17" y="408"/>
                </a:lnTo>
                <a:lnTo>
                  <a:pt x="17" y="408"/>
                </a:lnTo>
                <a:lnTo>
                  <a:pt x="17" y="400"/>
                </a:lnTo>
                <a:lnTo>
                  <a:pt x="18" y="404"/>
                </a:lnTo>
                <a:lnTo>
                  <a:pt x="47" y="378"/>
                </a:lnTo>
                <a:lnTo>
                  <a:pt x="18" y="350"/>
                </a:lnTo>
                <a:lnTo>
                  <a:pt x="16" y="356"/>
                </a:lnTo>
                <a:lnTo>
                  <a:pt x="13" y="350"/>
                </a:lnTo>
                <a:lnTo>
                  <a:pt x="17" y="346"/>
                </a:lnTo>
                <a:lnTo>
                  <a:pt x="13" y="344"/>
                </a:lnTo>
                <a:lnTo>
                  <a:pt x="13" y="337"/>
                </a:lnTo>
                <a:lnTo>
                  <a:pt x="18" y="344"/>
                </a:lnTo>
                <a:lnTo>
                  <a:pt x="47" y="316"/>
                </a:lnTo>
                <a:lnTo>
                  <a:pt x="18" y="287"/>
                </a:lnTo>
                <a:lnTo>
                  <a:pt x="12" y="295"/>
                </a:lnTo>
                <a:lnTo>
                  <a:pt x="12" y="290"/>
                </a:lnTo>
                <a:lnTo>
                  <a:pt x="17" y="286"/>
                </a:lnTo>
                <a:lnTo>
                  <a:pt x="12" y="281"/>
                </a:lnTo>
                <a:lnTo>
                  <a:pt x="12" y="273"/>
                </a:lnTo>
                <a:lnTo>
                  <a:pt x="18" y="282"/>
                </a:lnTo>
                <a:lnTo>
                  <a:pt x="47" y="254"/>
                </a:lnTo>
                <a:lnTo>
                  <a:pt x="18" y="229"/>
                </a:lnTo>
                <a:lnTo>
                  <a:pt x="9" y="238"/>
                </a:lnTo>
                <a:lnTo>
                  <a:pt x="9" y="231"/>
                </a:lnTo>
                <a:lnTo>
                  <a:pt x="17" y="225"/>
                </a:lnTo>
                <a:lnTo>
                  <a:pt x="8" y="217"/>
                </a:lnTo>
                <a:lnTo>
                  <a:pt x="8" y="210"/>
                </a:lnTo>
                <a:lnTo>
                  <a:pt x="18" y="221"/>
                </a:lnTo>
                <a:lnTo>
                  <a:pt x="47" y="195"/>
                </a:lnTo>
                <a:lnTo>
                  <a:pt x="18" y="167"/>
                </a:lnTo>
                <a:lnTo>
                  <a:pt x="8" y="179"/>
                </a:lnTo>
                <a:lnTo>
                  <a:pt x="8" y="174"/>
                </a:lnTo>
                <a:lnTo>
                  <a:pt x="17" y="163"/>
                </a:lnTo>
                <a:lnTo>
                  <a:pt x="6" y="154"/>
                </a:lnTo>
                <a:lnTo>
                  <a:pt x="6" y="146"/>
                </a:lnTo>
                <a:lnTo>
                  <a:pt x="18" y="160"/>
                </a:lnTo>
                <a:lnTo>
                  <a:pt x="47" y="132"/>
                </a:lnTo>
                <a:lnTo>
                  <a:pt x="18" y="107"/>
                </a:lnTo>
                <a:lnTo>
                  <a:pt x="4" y="122"/>
                </a:lnTo>
                <a:lnTo>
                  <a:pt x="4" y="116"/>
                </a:lnTo>
                <a:lnTo>
                  <a:pt x="17" y="103"/>
                </a:lnTo>
                <a:lnTo>
                  <a:pt x="4" y="90"/>
                </a:lnTo>
                <a:lnTo>
                  <a:pt x="2" y="83"/>
                </a:lnTo>
                <a:lnTo>
                  <a:pt x="18" y="99"/>
                </a:lnTo>
                <a:lnTo>
                  <a:pt x="47" y="74"/>
                </a:lnTo>
                <a:lnTo>
                  <a:pt x="18" y="46"/>
                </a:lnTo>
                <a:lnTo>
                  <a:pt x="2" y="62"/>
                </a:lnTo>
                <a:lnTo>
                  <a:pt x="2" y="56"/>
                </a:lnTo>
                <a:lnTo>
                  <a:pt x="17" y="42"/>
                </a:lnTo>
                <a:lnTo>
                  <a:pt x="0" y="27"/>
                </a:lnTo>
                <a:lnTo>
                  <a:pt x="0" y="19"/>
                </a:lnTo>
                <a:lnTo>
                  <a:pt x="18" y="39"/>
                </a:lnTo>
                <a:lnTo>
                  <a:pt x="47" y="11"/>
                </a:lnTo>
                <a:lnTo>
                  <a:pt x="36" y="0"/>
                </a:lnTo>
                <a:lnTo>
                  <a:pt x="41" y="0"/>
                </a:lnTo>
                <a:lnTo>
                  <a:pt x="51" y="8"/>
                </a:lnTo>
                <a:lnTo>
                  <a:pt x="60" y="0"/>
                </a:lnTo>
                <a:lnTo>
                  <a:pt x="65" y="0"/>
                </a:lnTo>
                <a:lnTo>
                  <a:pt x="53" y="11"/>
                </a:lnTo>
                <a:lnTo>
                  <a:pt x="81" y="39"/>
                </a:lnTo>
                <a:lnTo>
                  <a:pt x="110" y="11"/>
                </a:lnTo>
                <a:lnTo>
                  <a:pt x="96" y="0"/>
                </a:lnTo>
                <a:lnTo>
                  <a:pt x="103" y="0"/>
                </a:lnTo>
                <a:lnTo>
                  <a:pt x="111" y="8"/>
                </a:lnTo>
                <a:lnTo>
                  <a:pt x="120" y="0"/>
                </a:lnTo>
                <a:lnTo>
                  <a:pt x="126" y="0"/>
                </a:lnTo>
                <a:lnTo>
                  <a:pt x="115" y="11"/>
                </a:lnTo>
                <a:lnTo>
                  <a:pt x="143" y="39"/>
                </a:lnTo>
                <a:lnTo>
                  <a:pt x="169" y="11"/>
                </a:lnTo>
                <a:lnTo>
                  <a:pt x="158" y="0"/>
                </a:lnTo>
                <a:lnTo>
                  <a:pt x="163" y="0"/>
                </a:lnTo>
                <a:lnTo>
                  <a:pt x="173" y="8"/>
                </a:lnTo>
                <a:lnTo>
                  <a:pt x="182" y="0"/>
                </a:lnTo>
                <a:lnTo>
                  <a:pt x="187" y="0"/>
                </a:lnTo>
                <a:lnTo>
                  <a:pt x="177" y="11"/>
                </a:lnTo>
                <a:lnTo>
                  <a:pt x="203" y="39"/>
                </a:lnTo>
                <a:lnTo>
                  <a:pt x="232" y="11"/>
                </a:lnTo>
                <a:lnTo>
                  <a:pt x="220" y="0"/>
                </a:lnTo>
                <a:lnTo>
                  <a:pt x="225" y="0"/>
                </a:lnTo>
                <a:lnTo>
                  <a:pt x="234" y="8"/>
                </a:lnTo>
                <a:lnTo>
                  <a:pt x="242" y="0"/>
                </a:lnTo>
                <a:lnTo>
                  <a:pt x="250" y="0"/>
                </a:lnTo>
                <a:lnTo>
                  <a:pt x="237" y="11"/>
                </a:lnTo>
                <a:lnTo>
                  <a:pt x="265" y="39"/>
                </a:lnTo>
                <a:lnTo>
                  <a:pt x="293" y="11"/>
                </a:lnTo>
                <a:lnTo>
                  <a:pt x="280" y="0"/>
                </a:lnTo>
                <a:lnTo>
                  <a:pt x="285" y="0"/>
                </a:lnTo>
                <a:lnTo>
                  <a:pt x="295" y="8"/>
                </a:lnTo>
                <a:lnTo>
                  <a:pt x="304" y="0"/>
                </a:lnTo>
                <a:lnTo>
                  <a:pt x="309" y="0"/>
                </a:lnTo>
                <a:lnTo>
                  <a:pt x="299" y="11"/>
                </a:lnTo>
                <a:lnTo>
                  <a:pt x="324" y="39"/>
                </a:lnTo>
                <a:lnTo>
                  <a:pt x="352" y="11"/>
                </a:lnTo>
                <a:lnTo>
                  <a:pt x="342" y="0"/>
                </a:lnTo>
                <a:lnTo>
                  <a:pt x="347" y="0"/>
                </a:lnTo>
                <a:lnTo>
                  <a:pt x="356" y="8"/>
                </a:lnTo>
                <a:lnTo>
                  <a:pt x="366" y="0"/>
                </a:lnTo>
                <a:lnTo>
                  <a:pt x="371" y="0"/>
                </a:lnTo>
                <a:lnTo>
                  <a:pt x="359" y="11"/>
                </a:lnTo>
                <a:lnTo>
                  <a:pt x="387" y="39"/>
                </a:lnTo>
                <a:lnTo>
                  <a:pt x="415" y="11"/>
                </a:lnTo>
                <a:lnTo>
                  <a:pt x="402" y="0"/>
                </a:lnTo>
                <a:lnTo>
                  <a:pt x="409" y="0"/>
                </a:lnTo>
                <a:lnTo>
                  <a:pt x="417" y="8"/>
                </a:lnTo>
                <a:lnTo>
                  <a:pt x="426" y="0"/>
                </a:lnTo>
                <a:lnTo>
                  <a:pt x="431" y="0"/>
                </a:lnTo>
                <a:lnTo>
                  <a:pt x="421" y="11"/>
                </a:lnTo>
                <a:lnTo>
                  <a:pt x="449" y="39"/>
                </a:lnTo>
                <a:lnTo>
                  <a:pt x="474" y="11"/>
                </a:lnTo>
                <a:lnTo>
                  <a:pt x="464" y="0"/>
                </a:lnTo>
                <a:lnTo>
                  <a:pt x="469" y="0"/>
                </a:lnTo>
                <a:lnTo>
                  <a:pt x="478" y="8"/>
                </a:lnTo>
                <a:lnTo>
                  <a:pt x="488" y="0"/>
                </a:lnTo>
                <a:lnTo>
                  <a:pt x="493" y="0"/>
                </a:lnTo>
                <a:lnTo>
                  <a:pt x="482" y="11"/>
                </a:lnTo>
                <a:lnTo>
                  <a:pt x="509" y="39"/>
                </a:lnTo>
                <a:lnTo>
                  <a:pt x="537" y="11"/>
                </a:lnTo>
                <a:lnTo>
                  <a:pt x="525" y="0"/>
                </a:lnTo>
                <a:lnTo>
                  <a:pt x="531" y="0"/>
                </a:lnTo>
                <a:lnTo>
                  <a:pt x="540" y="8"/>
                </a:lnTo>
                <a:lnTo>
                  <a:pt x="548" y="0"/>
                </a:lnTo>
                <a:lnTo>
                  <a:pt x="553" y="0"/>
                </a:lnTo>
                <a:lnTo>
                  <a:pt x="543" y="11"/>
                </a:lnTo>
                <a:lnTo>
                  <a:pt x="571" y="39"/>
                </a:lnTo>
                <a:lnTo>
                  <a:pt x="599" y="11"/>
                </a:lnTo>
                <a:lnTo>
                  <a:pt x="586" y="0"/>
                </a:lnTo>
                <a:lnTo>
                  <a:pt x="591" y="0"/>
                </a:lnTo>
                <a:lnTo>
                  <a:pt x="600" y="8"/>
                </a:lnTo>
                <a:lnTo>
                  <a:pt x="610" y="0"/>
                </a:lnTo>
                <a:lnTo>
                  <a:pt x="615" y="0"/>
                </a:lnTo>
                <a:lnTo>
                  <a:pt x="604" y="11"/>
                </a:lnTo>
                <a:lnTo>
                  <a:pt x="631" y="39"/>
                </a:lnTo>
                <a:lnTo>
                  <a:pt x="651" y="19"/>
                </a:lnTo>
                <a:lnTo>
                  <a:pt x="651" y="27"/>
                </a:lnTo>
                <a:lnTo>
                  <a:pt x="634" y="42"/>
                </a:lnTo>
                <a:lnTo>
                  <a:pt x="650" y="56"/>
                </a:lnTo>
                <a:lnTo>
                  <a:pt x="650" y="64"/>
                </a:lnTo>
                <a:lnTo>
                  <a:pt x="631" y="46"/>
                </a:lnTo>
                <a:lnTo>
                  <a:pt x="604" y="74"/>
                </a:lnTo>
                <a:lnTo>
                  <a:pt x="631" y="99"/>
                </a:lnTo>
                <a:lnTo>
                  <a:pt x="650" y="83"/>
                </a:lnTo>
                <a:lnTo>
                  <a:pt x="650" y="88"/>
                </a:lnTo>
                <a:lnTo>
                  <a:pt x="634" y="103"/>
                </a:lnTo>
                <a:lnTo>
                  <a:pt x="647" y="116"/>
                </a:lnTo>
                <a:lnTo>
                  <a:pt x="647" y="122"/>
                </a:lnTo>
                <a:lnTo>
                  <a:pt x="631" y="107"/>
                </a:lnTo>
                <a:lnTo>
                  <a:pt x="604" y="132"/>
                </a:lnTo>
                <a:lnTo>
                  <a:pt x="631" y="160"/>
                </a:lnTo>
                <a:lnTo>
                  <a:pt x="646" y="146"/>
                </a:lnTo>
                <a:lnTo>
                  <a:pt x="646" y="151"/>
                </a:lnTo>
                <a:lnTo>
                  <a:pt x="634" y="163"/>
                </a:lnTo>
                <a:lnTo>
                  <a:pt x="646" y="174"/>
                </a:lnTo>
                <a:lnTo>
                  <a:pt x="646" y="179"/>
                </a:lnTo>
                <a:lnTo>
                  <a:pt x="631" y="167"/>
                </a:lnTo>
                <a:lnTo>
                  <a:pt x="604" y="195"/>
                </a:lnTo>
                <a:lnTo>
                  <a:pt x="631" y="221"/>
                </a:lnTo>
                <a:lnTo>
                  <a:pt x="643" y="210"/>
                </a:lnTo>
                <a:lnTo>
                  <a:pt x="643" y="215"/>
                </a:lnTo>
                <a:lnTo>
                  <a:pt x="634" y="225"/>
                </a:lnTo>
                <a:lnTo>
                  <a:pt x="643" y="234"/>
                </a:lnTo>
                <a:lnTo>
                  <a:pt x="643" y="239"/>
                </a:lnTo>
                <a:lnTo>
                  <a:pt x="631" y="229"/>
                </a:lnTo>
                <a:lnTo>
                  <a:pt x="604" y="254"/>
                </a:lnTo>
                <a:lnTo>
                  <a:pt x="631" y="282"/>
                </a:lnTo>
                <a:lnTo>
                  <a:pt x="642" y="273"/>
                </a:lnTo>
                <a:lnTo>
                  <a:pt x="642" y="278"/>
                </a:lnTo>
                <a:lnTo>
                  <a:pt x="634" y="286"/>
                </a:lnTo>
                <a:lnTo>
                  <a:pt x="642" y="291"/>
                </a:lnTo>
                <a:lnTo>
                  <a:pt x="641" y="297"/>
                </a:lnTo>
                <a:lnTo>
                  <a:pt x="631" y="287"/>
                </a:lnTo>
                <a:lnTo>
                  <a:pt x="604" y="316"/>
                </a:lnTo>
                <a:lnTo>
                  <a:pt x="631" y="344"/>
                </a:lnTo>
                <a:lnTo>
                  <a:pt x="641" y="334"/>
                </a:lnTo>
                <a:lnTo>
                  <a:pt x="641" y="342"/>
                </a:lnTo>
                <a:lnTo>
                  <a:pt x="634" y="346"/>
                </a:lnTo>
                <a:lnTo>
                  <a:pt x="638" y="352"/>
                </a:lnTo>
                <a:lnTo>
                  <a:pt x="638" y="357"/>
                </a:lnTo>
                <a:lnTo>
                  <a:pt x="631" y="350"/>
                </a:lnTo>
                <a:lnTo>
                  <a:pt x="604" y="378"/>
                </a:lnTo>
                <a:lnTo>
                  <a:pt x="631" y="404"/>
                </a:lnTo>
                <a:lnTo>
                  <a:pt x="638" y="398"/>
                </a:lnTo>
                <a:lnTo>
                  <a:pt x="637" y="404"/>
                </a:lnTo>
                <a:lnTo>
                  <a:pt x="634" y="408"/>
                </a:lnTo>
                <a:lnTo>
                  <a:pt x="637" y="409"/>
                </a:lnTo>
                <a:lnTo>
                  <a:pt x="637" y="416"/>
                </a:lnTo>
                <a:lnTo>
                  <a:pt x="631" y="409"/>
                </a:lnTo>
                <a:lnTo>
                  <a:pt x="604" y="437"/>
                </a:lnTo>
                <a:lnTo>
                  <a:pt x="631" y="465"/>
                </a:lnTo>
                <a:lnTo>
                  <a:pt x="634" y="463"/>
                </a:lnTo>
                <a:lnTo>
                  <a:pt x="634" y="468"/>
                </a:lnTo>
                <a:lnTo>
                  <a:pt x="634" y="468"/>
                </a:lnTo>
                <a:lnTo>
                  <a:pt x="634" y="469"/>
                </a:lnTo>
                <a:lnTo>
                  <a:pt x="634" y="475"/>
                </a:lnTo>
                <a:lnTo>
                  <a:pt x="631" y="472"/>
                </a:lnTo>
                <a:lnTo>
                  <a:pt x="604" y="500"/>
                </a:lnTo>
                <a:lnTo>
                  <a:pt x="631" y="525"/>
                </a:lnTo>
                <a:lnTo>
                  <a:pt x="633" y="525"/>
                </a:lnTo>
                <a:lnTo>
                  <a:pt x="633" y="533"/>
                </a:lnTo>
                <a:lnTo>
                  <a:pt x="631" y="533"/>
                </a:lnTo>
                <a:lnTo>
                  <a:pt x="604" y="559"/>
                </a:lnTo>
                <a:lnTo>
                  <a:pt x="631" y="587"/>
                </a:lnTo>
                <a:lnTo>
                  <a:pt x="631" y="595"/>
                </a:lnTo>
                <a:lnTo>
                  <a:pt x="604" y="622"/>
                </a:lnTo>
                <a:lnTo>
                  <a:pt x="629" y="646"/>
                </a:lnTo>
                <a:lnTo>
                  <a:pt x="629" y="651"/>
                </a:lnTo>
                <a:lnTo>
                  <a:pt x="600" y="624"/>
                </a:lnTo>
                <a:lnTo>
                  <a:pt x="572" y="651"/>
                </a:lnTo>
                <a:lnTo>
                  <a:pt x="600" y="679"/>
                </a:lnTo>
                <a:lnTo>
                  <a:pt x="629" y="651"/>
                </a:lnTo>
                <a:lnTo>
                  <a:pt x="627" y="659"/>
                </a:lnTo>
                <a:lnTo>
                  <a:pt x="604" y="683"/>
                </a:lnTo>
                <a:lnTo>
                  <a:pt x="627" y="703"/>
                </a:lnTo>
                <a:lnTo>
                  <a:pt x="625" y="711"/>
                </a:lnTo>
                <a:lnTo>
                  <a:pt x="600" y="684"/>
                </a:lnTo>
                <a:lnTo>
                  <a:pt x="572" y="713"/>
                </a:lnTo>
                <a:lnTo>
                  <a:pt x="596" y="735"/>
                </a:lnTo>
                <a:lnTo>
                  <a:pt x="590" y="735"/>
                </a:lnTo>
                <a:lnTo>
                  <a:pt x="571" y="715"/>
                </a:lnTo>
                <a:lnTo>
                  <a:pt x="549" y="735"/>
                </a:lnTo>
                <a:lnTo>
                  <a:pt x="544" y="735"/>
                </a:lnTo>
                <a:lnTo>
                  <a:pt x="567" y="713"/>
                </a:lnTo>
                <a:lnTo>
                  <a:pt x="540" y="684"/>
                </a:lnTo>
                <a:lnTo>
                  <a:pt x="512" y="713"/>
                </a:lnTo>
                <a:lnTo>
                  <a:pt x="535" y="735"/>
                </a:lnTo>
                <a:lnTo>
                  <a:pt x="529" y="735"/>
                </a:lnTo>
                <a:lnTo>
                  <a:pt x="509" y="715"/>
                </a:lnTo>
                <a:lnTo>
                  <a:pt x="491" y="735"/>
                </a:lnTo>
                <a:lnTo>
                  <a:pt x="482" y="735"/>
                </a:lnTo>
                <a:lnTo>
                  <a:pt x="507" y="713"/>
                </a:lnTo>
                <a:lnTo>
                  <a:pt x="478" y="684"/>
                </a:lnTo>
                <a:lnTo>
                  <a:pt x="450" y="713"/>
                </a:lnTo>
                <a:lnTo>
                  <a:pt x="473" y="735"/>
                </a:lnTo>
                <a:lnTo>
                  <a:pt x="468" y="735"/>
                </a:lnTo>
                <a:lnTo>
                  <a:pt x="449" y="715"/>
                </a:lnTo>
                <a:lnTo>
                  <a:pt x="427" y="735"/>
                </a:lnTo>
                <a:lnTo>
                  <a:pt x="422" y="735"/>
                </a:lnTo>
                <a:lnTo>
                  <a:pt x="445" y="713"/>
                </a:lnTo>
                <a:lnTo>
                  <a:pt x="417" y="684"/>
                </a:lnTo>
                <a:lnTo>
                  <a:pt x="390" y="713"/>
                </a:lnTo>
                <a:lnTo>
                  <a:pt x="413" y="735"/>
                </a:lnTo>
                <a:lnTo>
                  <a:pt x="407" y="735"/>
                </a:lnTo>
                <a:lnTo>
                  <a:pt x="387" y="715"/>
                </a:lnTo>
                <a:lnTo>
                  <a:pt x="366" y="735"/>
                </a:lnTo>
                <a:lnTo>
                  <a:pt x="360" y="735"/>
                </a:lnTo>
                <a:lnTo>
                  <a:pt x="383" y="713"/>
                </a:lnTo>
                <a:lnTo>
                  <a:pt x="356" y="684"/>
                </a:lnTo>
                <a:lnTo>
                  <a:pt x="328" y="713"/>
                </a:lnTo>
                <a:lnTo>
                  <a:pt x="351" y="735"/>
                </a:lnTo>
                <a:lnTo>
                  <a:pt x="346" y="735"/>
                </a:lnTo>
                <a:lnTo>
                  <a:pt x="324" y="715"/>
                </a:lnTo>
                <a:lnTo>
                  <a:pt x="305" y="735"/>
                </a:lnTo>
                <a:lnTo>
                  <a:pt x="300" y="735"/>
                </a:lnTo>
                <a:lnTo>
                  <a:pt x="323" y="713"/>
                </a:lnTo>
                <a:lnTo>
                  <a:pt x="295" y="684"/>
                </a:lnTo>
                <a:lnTo>
                  <a:pt x="266" y="713"/>
                </a:lnTo>
                <a:lnTo>
                  <a:pt x="291" y="735"/>
                </a:lnTo>
                <a:lnTo>
                  <a:pt x="284" y="735"/>
                </a:lnTo>
                <a:lnTo>
                  <a:pt x="265" y="715"/>
                </a:lnTo>
                <a:lnTo>
                  <a:pt x="244" y="735"/>
                </a:lnTo>
                <a:lnTo>
                  <a:pt x="238" y="735"/>
                </a:lnTo>
                <a:lnTo>
                  <a:pt x="261" y="713"/>
                </a:lnTo>
                <a:lnTo>
                  <a:pt x="234" y="684"/>
                </a:lnTo>
                <a:lnTo>
                  <a:pt x="206" y="713"/>
                </a:lnTo>
                <a:lnTo>
                  <a:pt x="229" y="735"/>
                </a:lnTo>
                <a:lnTo>
                  <a:pt x="224" y="735"/>
                </a:lnTo>
                <a:lnTo>
                  <a:pt x="203" y="715"/>
                </a:lnTo>
                <a:lnTo>
                  <a:pt x="185" y="735"/>
                </a:lnTo>
                <a:lnTo>
                  <a:pt x="178" y="735"/>
                </a:lnTo>
                <a:lnTo>
                  <a:pt x="201" y="713"/>
                </a:lnTo>
                <a:lnTo>
                  <a:pt x="173" y="684"/>
                </a:lnTo>
                <a:lnTo>
                  <a:pt x="145" y="713"/>
                </a:lnTo>
                <a:lnTo>
                  <a:pt x="167" y="735"/>
                </a:lnTo>
                <a:lnTo>
                  <a:pt x="162" y="735"/>
                </a:lnTo>
                <a:lnTo>
                  <a:pt x="143" y="715"/>
                </a:lnTo>
                <a:lnTo>
                  <a:pt x="122" y="735"/>
                </a:lnTo>
                <a:lnTo>
                  <a:pt x="116" y="735"/>
                </a:lnTo>
                <a:lnTo>
                  <a:pt x="139" y="713"/>
                </a:lnTo>
                <a:lnTo>
                  <a:pt x="111" y="684"/>
                </a:lnTo>
                <a:lnTo>
                  <a:pt x="84" y="713"/>
                </a:lnTo>
                <a:lnTo>
                  <a:pt x="107" y="735"/>
                </a:lnTo>
                <a:lnTo>
                  <a:pt x="102" y="735"/>
                </a:lnTo>
                <a:lnTo>
                  <a:pt x="81" y="715"/>
                </a:lnTo>
                <a:lnTo>
                  <a:pt x="63" y="735"/>
                </a:lnTo>
                <a:lnTo>
                  <a:pt x="55" y="735"/>
                </a:lnTo>
                <a:lnTo>
                  <a:pt x="77" y="713"/>
                </a:lnTo>
                <a:lnTo>
                  <a:pt x="51" y="684"/>
                </a:lnTo>
                <a:lnTo>
                  <a:pt x="28" y="706"/>
                </a:lnTo>
                <a:lnTo>
                  <a:pt x="28" y="699"/>
                </a:lnTo>
                <a:lnTo>
                  <a:pt x="47" y="683"/>
                </a:lnTo>
                <a:lnTo>
                  <a:pt x="26" y="662"/>
                </a:lnTo>
                <a:close/>
                <a:moveTo>
                  <a:pt x="53" y="622"/>
                </a:moveTo>
                <a:lnTo>
                  <a:pt x="81" y="650"/>
                </a:lnTo>
                <a:lnTo>
                  <a:pt x="110" y="622"/>
                </a:lnTo>
                <a:lnTo>
                  <a:pt x="81" y="594"/>
                </a:lnTo>
                <a:lnTo>
                  <a:pt x="53" y="622"/>
                </a:lnTo>
                <a:close/>
                <a:moveTo>
                  <a:pt x="445" y="346"/>
                </a:moveTo>
                <a:lnTo>
                  <a:pt x="417" y="320"/>
                </a:lnTo>
                <a:lnTo>
                  <a:pt x="390" y="346"/>
                </a:lnTo>
                <a:lnTo>
                  <a:pt x="417" y="374"/>
                </a:lnTo>
                <a:lnTo>
                  <a:pt x="445" y="346"/>
                </a:lnTo>
                <a:close/>
                <a:moveTo>
                  <a:pt x="421" y="378"/>
                </a:moveTo>
                <a:lnTo>
                  <a:pt x="449" y="404"/>
                </a:lnTo>
                <a:lnTo>
                  <a:pt x="474" y="378"/>
                </a:lnTo>
                <a:lnTo>
                  <a:pt x="449" y="350"/>
                </a:lnTo>
                <a:lnTo>
                  <a:pt x="421" y="378"/>
                </a:lnTo>
                <a:close/>
                <a:moveTo>
                  <a:pt x="387" y="350"/>
                </a:moveTo>
                <a:lnTo>
                  <a:pt x="359" y="378"/>
                </a:lnTo>
                <a:lnTo>
                  <a:pt x="387" y="404"/>
                </a:lnTo>
                <a:lnTo>
                  <a:pt x="415" y="378"/>
                </a:lnTo>
                <a:lnTo>
                  <a:pt x="387" y="350"/>
                </a:lnTo>
                <a:close/>
                <a:moveTo>
                  <a:pt x="383" y="346"/>
                </a:moveTo>
                <a:lnTo>
                  <a:pt x="356" y="320"/>
                </a:lnTo>
                <a:lnTo>
                  <a:pt x="328" y="346"/>
                </a:lnTo>
                <a:lnTo>
                  <a:pt x="356" y="374"/>
                </a:lnTo>
                <a:lnTo>
                  <a:pt x="383" y="346"/>
                </a:lnTo>
                <a:close/>
                <a:moveTo>
                  <a:pt x="324" y="350"/>
                </a:moveTo>
                <a:lnTo>
                  <a:pt x="299" y="378"/>
                </a:lnTo>
                <a:lnTo>
                  <a:pt x="324" y="404"/>
                </a:lnTo>
                <a:lnTo>
                  <a:pt x="352" y="378"/>
                </a:lnTo>
                <a:lnTo>
                  <a:pt x="324" y="350"/>
                </a:lnTo>
                <a:close/>
                <a:moveTo>
                  <a:pt x="323" y="346"/>
                </a:moveTo>
                <a:lnTo>
                  <a:pt x="295" y="320"/>
                </a:lnTo>
                <a:lnTo>
                  <a:pt x="266" y="346"/>
                </a:lnTo>
                <a:lnTo>
                  <a:pt x="295" y="374"/>
                </a:lnTo>
                <a:lnTo>
                  <a:pt x="323" y="346"/>
                </a:lnTo>
                <a:close/>
                <a:moveTo>
                  <a:pt x="265" y="350"/>
                </a:moveTo>
                <a:lnTo>
                  <a:pt x="237" y="378"/>
                </a:lnTo>
                <a:lnTo>
                  <a:pt x="265" y="404"/>
                </a:lnTo>
                <a:lnTo>
                  <a:pt x="293" y="378"/>
                </a:lnTo>
                <a:lnTo>
                  <a:pt x="265" y="350"/>
                </a:lnTo>
                <a:close/>
                <a:moveTo>
                  <a:pt x="261" y="346"/>
                </a:moveTo>
                <a:lnTo>
                  <a:pt x="234" y="320"/>
                </a:lnTo>
                <a:lnTo>
                  <a:pt x="206" y="346"/>
                </a:lnTo>
                <a:lnTo>
                  <a:pt x="234" y="374"/>
                </a:lnTo>
                <a:lnTo>
                  <a:pt x="261" y="346"/>
                </a:lnTo>
                <a:close/>
                <a:moveTo>
                  <a:pt x="203" y="350"/>
                </a:moveTo>
                <a:lnTo>
                  <a:pt x="177" y="378"/>
                </a:lnTo>
                <a:lnTo>
                  <a:pt x="203" y="404"/>
                </a:lnTo>
                <a:lnTo>
                  <a:pt x="232" y="378"/>
                </a:lnTo>
                <a:lnTo>
                  <a:pt x="203" y="350"/>
                </a:lnTo>
                <a:close/>
                <a:moveTo>
                  <a:pt x="201" y="346"/>
                </a:moveTo>
                <a:lnTo>
                  <a:pt x="173" y="320"/>
                </a:lnTo>
                <a:lnTo>
                  <a:pt x="145" y="346"/>
                </a:lnTo>
                <a:lnTo>
                  <a:pt x="173" y="374"/>
                </a:lnTo>
                <a:lnTo>
                  <a:pt x="201" y="346"/>
                </a:lnTo>
                <a:close/>
                <a:moveTo>
                  <a:pt x="201" y="286"/>
                </a:moveTo>
                <a:lnTo>
                  <a:pt x="173" y="258"/>
                </a:lnTo>
                <a:lnTo>
                  <a:pt x="145" y="286"/>
                </a:lnTo>
                <a:lnTo>
                  <a:pt x="173" y="313"/>
                </a:lnTo>
                <a:lnTo>
                  <a:pt x="201" y="286"/>
                </a:lnTo>
                <a:close/>
                <a:moveTo>
                  <a:pt x="177" y="316"/>
                </a:moveTo>
                <a:lnTo>
                  <a:pt x="203" y="344"/>
                </a:lnTo>
                <a:lnTo>
                  <a:pt x="232" y="316"/>
                </a:lnTo>
                <a:lnTo>
                  <a:pt x="203" y="287"/>
                </a:lnTo>
                <a:lnTo>
                  <a:pt x="177" y="316"/>
                </a:lnTo>
                <a:close/>
                <a:moveTo>
                  <a:pt x="234" y="313"/>
                </a:moveTo>
                <a:lnTo>
                  <a:pt x="261" y="286"/>
                </a:lnTo>
                <a:lnTo>
                  <a:pt x="234" y="258"/>
                </a:lnTo>
                <a:lnTo>
                  <a:pt x="206" y="286"/>
                </a:lnTo>
                <a:lnTo>
                  <a:pt x="234" y="313"/>
                </a:lnTo>
                <a:close/>
                <a:moveTo>
                  <a:pt x="237" y="316"/>
                </a:moveTo>
                <a:lnTo>
                  <a:pt x="265" y="344"/>
                </a:lnTo>
                <a:lnTo>
                  <a:pt x="293" y="316"/>
                </a:lnTo>
                <a:lnTo>
                  <a:pt x="265" y="287"/>
                </a:lnTo>
                <a:lnTo>
                  <a:pt x="237" y="316"/>
                </a:lnTo>
                <a:close/>
                <a:moveTo>
                  <a:pt x="295" y="313"/>
                </a:moveTo>
                <a:lnTo>
                  <a:pt x="323" y="286"/>
                </a:lnTo>
                <a:lnTo>
                  <a:pt x="295" y="258"/>
                </a:lnTo>
                <a:lnTo>
                  <a:pt x="266" y="286"/>
                </a:lnTo>
                <a:lnTo>
                  <a:pt x="295" y="313"/>
                </a:lnTo>
                <a:close/>
                <a:moveTo>
                  <a:pt x="299" y="316"/>
                </a:moveTo>
                <a:lnTo>
                  <a:pt x="324" y="344"/>
                </a:lnTo>
                <a:lnTo>
                  <a:pt x="352" y="316"/>
                </a:lnTo>
                <a:lnTo>
                  <a:pt x="324" y="287"/>
                </a:lnTo>
                <a:lnTo>
                  <a:pt x="299" y="316"/>
                </a:lnTo>
                <a:close/>
                <a:moveTo>
                  <a:pt x="356" y="313"/>
                </a:moveTo>
                <a:lnTo>
                  <a:pt x="383" y="286"/>
                </a:lnTo>
                <a:lnTo>
                  <a:pt x="356" y="258"/>
                </a:lnTo>
                <a:lnTo>
                  <a:pt x="328" y="286"/>
                </a:lnTo>
                <a:lnTo>
                  <a:pt x="356" y="313"/>
                </a:lnTo>
                <a:close/>
                <a:moveTo>
                  <a:pt x="359" y="316"/>
                </a:moveTo>
                <a:lnTo>
                  <a:pt x="387" y="344"/>
                </a:lnTo>
                <a:lnTo>
                  <a:pt x="415" y="316"/>
                </a:lnTo>
                <a:lnTo>
                  <a:pt x="387" y="287"/>
                </a:lnTo>
                <a:lnTo>
                  <a:pt x="359" y="316"/>
                </a:lnTo>
                <a:close/>
                <a:moveTo>
                  <a:pt x="417" y="313"/>
                </a:moveTo>
                <a:lnTo>
                  <a:pt x="445" y="286"/>
                </a:lnTo>
                <a:lnTo>
                  <a:pt x="417" y="258"/>
                </a:lnTo>
                <a:lnTo>
                  <a:pt x="390" y="286"/>
                </a:lnTo>
                <a:lnTo>
                  <a:pt x="417" y="313"/>
                </a:lnTo>
                <a:close/>
                <a:moveTo>
                  <a:pt x="421" y="316"/>
                </a:moveTo>
                <a:lnTo>
                  <a:pt x="449" y="344"/>
                </a:lnTo>
                <a:lnTo>
                  <a:pt x="474" y="316"/>
                </a:lnTo>
                <a:lnTo>
                  <a:pt x="449" y="287"/>
                </a:lnTo>
                <a:lnTo>
                  <a:pt x="421" y="316"/>
                </a:lnTo>
                <a:close/>
                <a:moveTo>
                  <a:pt x="478" y="313"/>
                </a:moveTo>
                <a:lnTo>
                  <a:pt x="507" y="286"/>
                </a:lnTo>
                <a:lnTo>
                  <a:pt x="478" y="258"/>
                </a:lnTo>
                <a:lnTo>
                  <a:pt x="450" y="286"/>
                </a:lnTo>
                <a:lnTo>
                  <a:pt x="478" y="313"/>
                </a:lnTo>
                <a:close/>
                <a:moveTo>
                  <a:pt x="450" y="346"/>
                </a:moveTo>
                <a:lnTo>
                  <a:pt x="478" y="374"/>
                </a:lnTo>
                <a:lnTo>
                  <a:pt x="507" y="346"/>
                </a:lnTo>
                <a:lnTo>
                  <a:pt x="478" y="320"/>
                </a:lnTo>
                <a:lnTo>
                  <a:pt x="450" y="346"/>
                </a:lnTo>
                <a:close/>
                <a:moveTo>
                  <a:pt x="450" y="408"/>
                </a:moveTo>
                <a:lnTo>
                  <a:pt x="478" y="436"/>
                </a:lnTo>
                <a:lnTo>
                  <a:pt x="507" y="408"/>
                </a:lnTo>
                <a:lnTo>
                  <a:pt x="478" y="380"/>
                </a:lnTo>
                <a:lnTo>
                  <a:pt x="450" y="408"/>
                </a:lnTo>
                <a:close/>
                <a:moveTo>
                  <a:pt x="449" y="409"/>
                </a:moveTo>
                <a:lnTo>
                  <a:pt x="421" y="437"/>
                </a:lnTo>
                <a:lnTo>
                  <a:pt x="449" y="465"/>
                </a:lnTo>
                <a:lnTo>
                  <a:pt x="474" y="437"/>
                </a:lnTo>
                <a:lnTo>
                  <a:pt x="449" y="409"/>
                </a:lnTo>
                <a:close/>
                <a:moveTo>
                  <a:pt x="445" y="408"/>
                </a:moveTo>
                <a:lnTo>
                  <a:pt x="417" y="380"/>
                </a:lnTo>
                <a:lnTo>
                  <a:pt x="390" y="408"/>
                </a:lnTo>
                <a:lnTo>
                  <a:pt x="417" y="436"/>
                </a:lnTo>
                <a:lnTo>
                  <a:pt x="445" y="408"/>
                </a:lnTo>
                <a:close/>
                <a:moveTo>
                  <a:pt x="387" y="409"/>
                </a:moveTo>
                <a:lnTo>
                  <a:pt x="359" y="437"/>
                </a:lnTo>
                <a:lnTo>
                  <a:pt x="387" y="465"/>
                </a:lnTo>
                <a:lnTo>
                  <a:pt x="415" y="437"/>
                </a:lnTo>
                <a:lnTo>
                  <a:pt x="387" y="409"/>
                </a:lnTo>
                <a:close/>
                <a:moveTo>
                  <a:pt x="383" y="408"/>
                </a:moveTo>
                <a:lnTo>
                  <a:pt x="356" y="380"/>
                </a:lnTo>
                <a:lnTo>
                  <a:pt x="328" y="408"/>
                </a:lnTo>
                <a:lnTo>
                  <a:pt x="356" y="436"/>
                </a:lnTo>
                <a:lnTo>
                  <a:pt x="383" y="408"/>
                </a:lnTo>
                <a:close/>
                <a:moveTo>
                  <a:pt x="324" y="409"/>
                </a:moveTo>
                <a:lnTo>
                  <a:pt x="299" y="437"/>
                </a:lnTo>
                <a:lnTo>
                  <a:pt x="324" y="465"/>
                </a:lnTo>
                <a:lnTo>
                  <a:pt x="352" y="437"/>
                </a:lnTo>
                <a:lnTo>
                  <a:pt x="324" y="409"/>
                </a:lnTo>
                <a:close/>
                <a:moveTo>
                  <a:pt x="323" y="408"/>
                </a:moveTo>
                <a:lnTo>
                  <a:pt x="295" y="380"/>
                </a:lnTo>
                <a:lnTo>
                  <a:pt x="266" y="408"/>
                </a:lnTo>
                <a:lnTo>
                  <a:pt x="295" y="436"/>
                </a:lnTo>
                <a:lnTo>
                  <a:pt x="323" y="408"/>
                </a:lnTo>
                <a:close/>
                <a:moveTo>
                  <a:pt x="265" y="409"/>
                </a:moveTo>
                <a:lnTo>
                  <a:pt x="237" y="437"/>
                </a:lnTo>
                <a:lnTo>
                  <a:pt x="265" y="465"/>
                </a:lnTo>
                <a:lnTo>
                  <a:pt x="293" y="437"/>
                </a:lnTo>
                <a:lnTo>
                  <a:pt x="265" y="409"/>
                </a:lnTo>
                <a:close/>
                <a:moveTo>
                  <a:pt x="261" y="408"/>
                </a:moveTo>
                <a:lnTo>
                  <a:pt x="234" y="380"/>
                </a:lnTo>
                <a:lnTo>
                  <a:pt x="206" y="408"/>
                </a:lnTo>
                <a:lnTo>
                  <a:pt x="234" y="436"/>
                </a:lnTo>
                <a:lnTo>
                  <a:pt x="261" y="408"/>
                </a:lnTo>
                <a:close/>
                <a:moveTo>
                  <a:pt x="203" y="409"/>
                </a:moveTo>
                <a:lnTo>
                  <a:pt x="177" y="437"/>
                </a:lnTo>
                <a:lnTo>
                  <a:pt x="203" y="465"/>
                </a:lnTo>
                <a:lnTo>
                  <a:pt x="232" y="437"/>
                </a:lnTo>
                <a:lnTo>
                  <a:pt x="203" y="409"/>
                </a:lnTo>
                <a:close/>
                <a:moveTo>
                  <a:pt x="201" y="408"/>
                </a:moveTo>
                <a:lnTo>
                  <a:pt x="173" y="380"/>
                </a:lnTo>
                <a:lnTo>
                  <a:pt x="145" y="408"/>
                </a:lnTo>
                <a:lnTo>
                  <a:pt x="173" y="436"/>
                </a:lnTo>
                <a:lnTo>
                  <a:pt x="201" y="408"/>
                </a:lnTo>
                <a:close/>
                <a:moveTo>
                  <a:pt x="143" y="409"/>
                </a:moveTo>
                <a:lnTo>
                  <a:pt x="115" y="437"/>
                </a:lnTo>
                <a:lnTo>
                  <a:pt x="143" y="465"/>
                </a:lnTo>
                <a:lnTo>
                  <a:pt x="169" y="437"/>
                </a:lnTo>
                <a:lnTo>
                  <a:pt x="143" y="409"/>
                </a:lnTo>
                <a:close/>
                <a:moveTo>
                  <a:pt x="169" y="378"/>
                </a:moveTo>
                <a:lnTo>
                  <a:pt x="143" y="350"/>
                </a:lnTo>
                <a:lnTo>
                  <a:pt x="115" y="378"/>
                </a:lnTo>
                <a:lnTo>
                  <a:pt x="143" y="404"/>
                </a:lnTo>
                <a:lnTo>
                  <a:pt x="169" y="378"/>
                </a:lnTo>
                <a:close/>
                <a:moveTo>
                  <a:pt x="169" y="316"/>
                </a:moveTo>
                <a:lnTo>
                  <a:pt x="143" y="287"/>
                </a:lnTo>
                <a:lnTo>
                  <a:pt x="115" y="316"/>
                </a:lnTo>
                <a:lnTo>
                  <a:pt x="143" y="344"/>
                </a:lnTo>
                <a:lnTo>
                  <a:pt x="169" y="316"/>
                </a:lnTo>
                <a:close/>
                <a:moveTo>
                  <a:pt x="169" y="254"/>
                </a:moveTo>
                <a:lnTo>
                  <a:pt x="143" y="229"/>
                </a:lnTo>
                <a:lnTo>
                  <a:pt x="115" y="254"/>
                </a:lnTo>
                <a:lnTo>
                  <a:pt x="143" y="282"/>
                </a:lnTo>
                <a:lnTo>
                  <a:pt x="169" y="254"/>
                </a:lnTo>
                <a:close/>
                <a:moveTo>
                  <a:pt x="173" y="253"/>
                </a:moveTo>
                <a:lnTo>
                  <a:pt x="201" y="225"/>
                </a:lnTo>
                <a:lnTo>
                  <a:pt x="173" y="197"/>
                </a:lnTo>
                <a:lnTo>
                  <a:pt x="145" y="225"/>
                </a:lnTo>
                <a:lnTo>
                  <a:pt x="173" y="253"/>
                </a:lnTo>
                <a:close/>
                <a:moveTo>
                  <a:pt x="177" y="254"/>
                </a:moveTo>
                <a:lnTo>
                  <a:pt x="203" y="282"/>
                </a:lnTo>
                <a:lnTo>
                  <a:pt x="232" y="254"/>
                </a:lnTo>
                <a:lnTo>
                  <a:pt x="203" y="229"/>
                </a:lnTo>
                <a:lnTo>
                  <a:pt x="177" y="254"/>
                </a:lnTo>
                <a:close/>
                <a:moveTo>
                  <a:pt x="234" y="253"/>
                </a:moveTo>
                <a:lnTo>
                  <a:pt x="261" y="225"/>
                </a:lnTo>
                <a:lnTo>
                  <a:pt x="234" y="197"/>
                </a:lnTo>
                <a:lnTo>
                  <a:pt x="206" y="225"/>
                </a:lnTo>
                <a:lnTo>
                  <a:pt x="234" y="253"/>
                </a:lnTo>
                <a:close/>
                <a:moveTo>
                  <a:pt x="237" y="254"/>
                </a:moveTo>
                <a:lnTo>
                  <a:pt x="265" y="282"/>
                </a:lnTo>
                <a:lnTo>
                  <a:pt x="293" y="254"/>
                </a:lnTo>
                <a:lnTo>
                  <a:pt x="265" y="229"/>
                </a:lnTo>
                <a:lnTo>
                  <a:pt x="237" y="254"/>
                </a:lnTo>
                <a:close/>
                <a:moveTo>
                  <a:pt x="295" y="253"/>
                </a:moveTo>
                <a:lnTo>
                  <a:pt x="323" y="225"/>
                </a:lnTo>
                <a:lnTo>
                  <a:pt x="295" y="197"/>
                </a:lnTo>
                <a:lnTo>
                  <a:pt x="266" y="225"/>
                </a:lnTo>
                <a:lnTo>
                  <a:pt x="295" y="253"/>
                </a:lnTo>
                <a:close/>
                <a:moveTo>
                  <a:pt x="299" y="254"/>
                </a:moveTo>
                <a:lnTo>
                  <a:pt x="324" y="282"/>
                </a:lnTo>
                <a:lnTo>
                  <a:pt x="352" y="254"/>
                </a:lnTo>
                <a:lnTo>
                  <a:pt x="324" y="229"/>
                </a:lnTo>
                <a:lnTo>
                  <a:pt x="299" y="254"/>
                </a:lnTo>
                <a:close/>
                <a:moveTo>
                  <a:pt x="356" y="253"/>
                </a:moveTo>
                <a:lnTo>
                  <a:pt x="383" y="225"/>
                </a:lnTo>
                <a:lnTo>
                  <a:pt x="356" y="197"/>
                </a:lnTo>
                <a:lnTo>
                  <a:pt x="328" y="225"/>
                </a:lnTo>
                <a:lnTo>
                  <a:pt x="356" y="253"/>
                </a:lnTo>
                <a:close/>
                <a:moveTo>
                  <a:pt x="359" y="254"/>
                </a:moveTo>
                <a:lnTo>
                  <a:pt x="387" y="282"/>
                </a:lnTo>
                <a:lnTo>
                  <a:pt x="415" y="254"/>
                </a:lnTo>
                <a:lnTo>
                  <a:pt x="387" y="229"/>
                </a:lnTo>
                <a:lnTo>
                  <a:pt x="359" y="254"/>
                </a:lnTo>
                <a:close/>
                <a:moveTo>
                  <a:pt x="417" y="253"/>
                </a:moveTo>
                <a:lnTo>
                  <a:pt x="445" y="225"/>
                </a:lnTo>
                <a:lnTo>
                  <a:pt x="417" y="197"/>
                </a:lnTo>
                <a:lnTo>
                  <a:pt x="390" y="225"/>
                </a:lnTo>
                <a:lnTo>
                  <a:pt x="417" y="253"/>
                </a:lnTo>
                <a:close/>
                <a:moveTo>
                  <a:pt x="421" y="254"/>
                </a:moveTo>
                <a:lnTo>
                  <a:pt x="449" y="282"/>
                </a:lnTo>
                <a:lnTo>
                  <a:pt x="474" y="254"/>
                </a:lnTo>
                <a:lnTo>
                  <a:pt x="449" y="229"/>
                </a:lnTo>
                <a:lnTo>
                  <a:pt x="421" y="254"/>
                </a:lnTo>
                <a:close/>
                <a:moveTo>
                  <a:pt x="478" y="253"/>
                </a:moveTo>
                <a:lnTo>
                  <a:pt x="507" y="225"/>
                </a:lnTo>
                <a:lnTo>
                  <a:pt x="478" y="197"/>
                </a:lnTo>
                <a:lnTo>
                  <a:pt x="450" y="225"/>
                </a:lnTo>
                <a:lnTo>
                  <a:pt x="478" y="253"/>
                </a:lnTo>
                <a:close/>
                <a:moveTo>
                  <a:pt x="482" y="254"/>
                </a:moveTo>
                <a:lnTo>
                  <a:pt x="509" y="282"/>
                </a:lnTo>
                <a:lnTo>
                  <a:pt x="537" y="254"/>
                </a:lnTo>
                <a:lnTo>
                  <a:pt x="509" y="229"/>
                </a:lnTo>
                <a:lnTo>
                  <a:pt x="482" y="254"/>
                </a:lnTo>
                <a:close/>
                <a:moveTo>
                  <a:pt x="482" y="316"/>
                </a:moveTo>
                <a:lnTo>
                  <a:pt x="509" y="344"/>
                </a:lnTo>
                <a:lnTo>
                  <a:pt x="537" y="316"/>
                </a:lnTo>
                <a:lnTo>
                  <a:pt x="509" y="287"/>
                </a:lnTo>
                <a:lnTo>
                  <a:pt x="482" y="316"/>
                </a:lnTo>
                <a:close/>
                <a:moveTo>
                  <a:pt x="482" y="378"/>
                </a:moveTo>
                <a:lnTo>
                  <a:pt x="509" y="404"/>
                </a:lnTo>
                <a:lnTo>
                  <a:pt x="537" y="378"/>
                </a:lnTo>
                <a:lnTo>
                  <a:pt x="509" y="350"/>
                </a:lnTo>
                <a:lnTo>
                  <a:pt x="482" y="378"/>
                </a:lnTo>
                <a:close/>
                <a:moveTo>
                  <a:pt x="482" y="437"/>
                </a:moveTo>
                <a:lnTo>
                  <a:pt x="509" y="465"/>
                </a:lnTo>
                <a:lnTo>
                  <a:pt x="537" y="437"/>
                </a:lnTo>
                <a:lnTo>
                  <a:pt x="509" y="409"/>
                </a:lnTo>
                <a:lnTo>
                  <a:pt x="482" y="437"/>
                </a:lnTo>
                <a:close/>
                <a:moveTo>
                  <a:pt x="482" y="500"/>
                </a:moveTo>
                <a:lnTo>
                  <a:pt x="509" y="525"/>
                </a:lnTo>
                <a:lnTo>
                  <a:pt x="537" y="500"/>
                </a:lnTo>
                <a:lnTo>
                  <a:pt x="509" y="472"/>
                </a:lnTo>
                <a:lnTo>
                  <a:pt x="482" y="500"/>
                </a:lnTo>
                <a:close/>
                <a:moveTo>
                  <a:pt x="507" y="468"/>
                </a:moveTo>
                <a:lnTo>
                  <a:pt x="478" y="441"/>
                </a:lnTo>
                <a:lnTo>
                  <a:pt x="450" y="468"/>
                </a:lnTo>
                <a:lnTo>
                  <a:pt x="478" y="496"/>
                </a:lnTo>
                <a:lnTo>
                  <a:pt x="507" y="468"/>
                </a:lnTo>
                <a:close/>
                <a:moveTo>
                  <a:pt x="449" y="472"/>
                </a:moveTo>
                <a:lnTo>
                  <a:pt x="421" y="500"/>
                </a:lnTo>
                <a:lnTo>
                  <a:pt x="449" y="525"/>
                </a:lnTo>
                <a:lnTo>
                  <a:pt x="474" y="500"/>
                </a:lnTo>
                <a:lnTo>
                  <a:pt x="449" y="472"/>
                </a:lnTo>
                <a:close/>
                <a:moveTo>
                  <a:pt x="445" y="468"/>
                </a:moveTo>
                <a:lnTo>
                  <a:pt x="417" y="441"/>
                </a:lnTo>
                <a:lnTo>
                  <a:pt x="390" y="468"/>
                </a:lnTo>
                <a:lnTo>
                  <a:pt x="417" y="496"/>
                </a:lnTo>
                <a:lnTo>
                  <a:pt x="445" y="468"/>
                </a:lnTo>
                <a:close/>
                <a:moveTo>
                  <a:pt x="387" y="472"/>
                </a:moveTo>
                <a:lnTo>
                  <a:pt x="359" y="500"/>
                </a:lnTo>
                <a:lnTo>
                  <a:pt x="387" y="525"/>
                </a:lnTo>
                <a:lnTo>
                  <a:pt x="415" y="500"/>
                </a:lnTo>
                <a:lnTo>
                  <a:pt x="387" y="472"/>
                </a:lnTo>
                <a:close/>
                <a:moveTo>
                  <a:pt x="383" y="468"/>
                </a:moveTo>
                <a:lnTo>
                  <a:pt x="356" y="441"/>
                </a:lnTo>
                <a:lnTo>
                  <a:pt x="328" y="468"/>
                </a:lnTo>
                <a:lnTo>
                  <a:pt x="356" y="496"/>
                </a:lnTo>
                <a:lnTo>
                  <a:pt x="383" y="468"/>
                </a:lnTo>
                <a:close/>
                <a:moveTo>
                  <a:pt x="324" y="472"/>
                </a:moveTo>
                <a:lnTo>
                  <a:pt x="299" y="500"/>
                </a:lnTo>
                <a:lnTo>
                  <a:pt x="324" y="525"/>
                </a:lnTo>
                <a:lnTo>
                  <a:pt x="352" y="500"/>
                </a:lnTo>
                <a:lnTo>
                  <a:pt x="324" y="472"/>
                </a:lnTo>
                <a:close/>
                <a:moveTo>
                  <a:pt x="323" y="468"/>
                </a:moveTo>
                <a:lnTo>
                  <a:pt x="295" y="441"/>
                </a:lnTo>
                <a:lnTo>
                  <a:pt x="266" y="468"/>
                </a:lnTo>
                <a:lnTo>
                  <a:pt x="295" y="496"/>
                </a:lnTo>
                <a:lnTo>
                  <a:pt x="323" y="468"/>
                </a:lnTo>
                <a:close/>
                <a:moveTo>
                  <a:pt x="265" y="472"/>
                </a:moveTo>
                <a:lnTo>
                  <a:pt x="237" y="500"/>
                </a:lnTo>
                <a:lnTo>
                  <a:pt x="265" y="525"/>
                </a:lnTo>
                <a:lnTo>
                  <a:pt x="293" y="500"/>
                </a:lnTo>
                <a:lnTo>
                  <a:pt x="265" y="472"/>
                </a:lnTo>
                <a:close/>
                <a:moveTo>
                  <a:pt x="261" y="468"/>
                </a:moveTo>
                <a:lnTo>
                  <a:pt x="234" y="441"/>
                </a:lnTo>
                <a:lnTo>
                  <a:pt x="206" y="468"/>
                </a:lnTo>
                <a:lnTo>
                  <a:pt x="234" y="496"/>
                </a:lnTo>
                <a:lnTo>
                  <a:pt x="261" y="468"/>
                </a:lnTo>
                <a:close/>
                <a:moveTo>
                  <a:pt x="203" y="472"/>
                </a:moveTo>
                <a:lnTo>
                  <a:pt x="177" y="500"/>
                </a:lnTo>
                <a:lnTo>
                  <a:pt x="203" y="525"/>
                </a:lnTo>
                <a:lnTo>
                  <a:pt x="232" y="500"/>
                </a:lnTo>
                <a:lnTo>
                  <a:pt x="203" y="472"/>
                </a:lnTo>
                <a:close/>
                <a:moveTo>
                  <a:pt x="201" y="468"/>
                </a:moveTo>
                <a:lnTo>
                  <a:pt x="173" y="441"/>
                </a:lnTo>
                <a:lnTo>
                  <a:pt x="145" y="468"/>
                </a:lnTo>
                <a:lnTo>
                  <a:pt x="173" y="496"/>
                </a:lnTo>
                <a:lnTo>
                  <a:pt x="201" y="468"/>
                </a:lnTo>
                <a:close/>
                <a:moveTo>
                  <a:pt x="143" y="472"/>
                </a:moveTo>
                <a:lnTo>
                  <a:pt x="115" y="500"/>
                </a:lnTo>
                <a:lnTo>
                  <a:pt x="143" y="525"/>
                </a:lnTo>
                <a:lnTo>
                  <a:pt x="169" y="500"/>
                </a:lnTo>
                <a:lnTo>
                  <a:pt x="143" y="472"/>
                </a:lnTo>
                <a:close/>
                <a:moveTo>
                  <a:pt x="139" y="468"/>
                </a:moveTo>
                <a:lnTo>
                  <a:pt x="111" y="441"/>
                </a:lnTo>
                <a:lnTo>
                  <a:pt x="84" y="468"/>
                </a:lnTo>
                <a:lnTo>
                  <a:pt x="111" y="496"/>
                </a:lnTo>
                <a:lnTo>
                  <a:pt x="139" y="468"/>
                </a:lnTo>
                <a:close/>
                <a:moveTo>
                  <a:pt x="139" y="408"/>
                </a:moveTo>
                <a:lnTo>
                  <a:pt x="111" y="380"/>
                </a:lnTo>
                <a:lnTo>
                  <a:pt x="84" y="408"/>
                </a:lnTo>
                <a:lnTo>
                  <a:pt x="111" y="436"/>
                </a:lnTo>
                <a:lnTo>
                  <a:pt x="139" y="408"/>
                </a:lnTo>
                <a:close/>
                <a:moveTo>
                  <a:pt x="139" y="346"/>
                </a:moveTo>
                <a:lnTo>
                  <a:pt x="111" y="320"/>
                </a:lnTo>
                <a:lnTo>
                  <a:pt x="84" y="346"/>
                </a:lnTo>
                <a:lnTo>
                  <a:pt x="111" y="374"/>
                </a:lnTo>
                <a:lnTo>
                  <a:pt x="139" y="346"/>
                </a:lnTo>
                <a:close/>
                <a:moveTo>
                  <a:pt x="139" y="286"/>
                </a:moveTo>
                <a:lnTo>
                  <a:pt x="111" y="258"/>
                </a:lnTo>
                <a:lnTo>
                  <a:pt x="84" y="286"/>
                </a:lnTo>
                <a:lnTo>
                  <a:pt x="111" y="313"/>
                </a:lnTo>
                <a:lnTo>
                  <a:pt x="139" y="286"/>
                </a:lnTo>
                <a:close/>
                <a:moveTo>
                  <a:pt x="139" y="225"/>
                </a:moveTo>
                <a:lnTo>
                  <a:pt x="111" y="197"/>
                </a:lnTo>
                <a:lnTo>
                  <a:pt x="84" y="225"/>
                </a:lnTo>
                <a:lnTo>
                  <a:pt x="111" y="253"/>
                </a:lnTo>
                <a:lnTo>
                  <a:pt x="139" y="225"/>
                </a:lnTo>
                <a:close/>
                <a:moveTo>
                  <a:pt x="139" y="163"/>
                </a:moveTo>
                <a:lnTo>
                  <a:pt x="111" y="136"/>
                </a:lnTo>
                <a:lnTo>
                  <a:pt x="84" y="163"/>
                </a:lnTo>
                <a:lnTo>
                  <a:pt x="111" y="191"/>
                </a:lnTo>
                <a:lnTo>
                  <a:pt x="139" y="163"/>
                </a:lnTo>
                <a:close/>
                <a:moveTo>
                  <a:pt x="115" y="195"/>
                </a:moveTo>
                <a:lnTo>
                  <a:pt x="143" y="221"/>
                </a:lnTo>
                <a:lnTo>
                  <a:pt x="169" y="195"/>
                </a:lnTo>
                <a:lnTo>
                  <a:pt x="143" y="167"/>
                </a:lnTo>
                <a:lnTo>
                  <a:pt x="115" y="195"/>
                </a:lnTo>
                <a:close/>
                <a:moveTo>
                  <a:pt x="173" y="191"/>
                </a:moveTo>
                <a:lnTo>
                  <a:pt x="201" y="163"/>
                </a:lnTo>
                <a:lnTo>
                  <a:pt x="173" y="136"/>
                </a:lnTo>
                <a:lnTo>
                  <a:pt x="145" y="163"/>
                </a:lnTo>
                <a:lnTo>
                  <a:pt x="173" y="191"/>
                </a:lnTo>
                <a:close/>
                <a:moveTo>
                  <a:pt x="177" y="195"/>
                </a:moveTo>
                <a:lnTo>
                  <a:pt x="203" y="221"/>
                </a:lnTo>
                <a:lnTo>
                  <a:pt x="232" y="195"/>
                </a:lnTo>
                <a:lnTo>
                  <a:pt x="203" y="167"/>
                </a:lnTo>
                <a:lnTo>
                  <a:pt x="177" y="195"/>
                </a:lnTo>
                <a:close/>
                <a:moveTo>
                  <a:pt x="234" y="191"/>
                </a:moveTo>
                <a:lnTo>
                  <a:pt x="261" y="163"/>
                </a:lnTo>
                <a:lnTo>
                  <a:pt x="234" y="136"/>
                </a:lnTo>
                <a:lnTo>
                  <a:pt x="206" y="163"/>
                </a:lnTo>
                <a:lnTo>
                  <a:pt x="234" y="191"/>
                </a:lnTo>
                <a:close/>
                <a:moveTo>
                  <a:pt x="237" y="195"/>
                </a:moveTo>
                <a:lnTo>
                  <a:pt x="265" y="221"/>
                </a:lnTo>
                <a:lnTo>
                  <a:pt x="293" y="195"/>
                </a:lnTo>
                <a:lnTo>
                  <a:pt x="265" y="167"/>
                </a:lnTo>
                <a:lnTo>
                  <a:pt x="237" y="195"/>
                </a:lnTo>
                <a:close/>
                <a:moveTo>
                  <a:pt x="295" y="191"/>
                </a:moveTo>
                <a:lnTo>
                  <a:pt x="323" y="163"/>
                </a:lnTo>
                <a:lnTo>
                  <a:pt x="295" y="136"/>
                </a:lnTo>
                <a:lnTo>
                  <a:pt x="266" y="163"/>
                </a:lnTo>
                <a:lnTo>
                  <a:pt x="295" y="191"/>
                </a:lnTo>
                <a:close/>
                <a:moveTo>
                  <a:pt x="299" y="195"/>
                </a:moveTo>
                <a:lnTo>
                  <a:pt x="324" y="221"/>
                </a:lnTo>
                <a:lnTo>
                  <a:pt x="352" y="195"/>
                </a:lnTo>
                <a:lnTo>
                  <a:pt x="324" y="167"/>
                </a:lnTo>
                <a:lnTo>
                  <a:pt x="299" y="195"/>
                </a:lnTo>
                <a:close/>
                <a:moveTo>
                  <a:pt x="356" y="191"/>
                </a:moveTo>
                <a:lnTo>
                  <a:pt x="383" y="163"/>
                </a:lnTo>
                <a:lnTo>
                  <a:pt x="356" y="136"/>
                </a:lnTo>
                <a:lnTo>
                  <a:pt x="328" y="163"/>
                </a:lnTo>
                <a:lnTo>
                  <a:pt x="356" y="191"/>
                </a:lnTo>
                <a:close/>
                <a:moveTo>
                  <a:pt x="359" y="195"/>
                </a:moveTo>
                <a:lnTo>
                  <a:pt x="387" y="221"/>
                </a:lnTo>
                <a:lnTo>
                  <a:pt x="415" y="195"/>
                </a:lnTo>
                <a:lnTo>
                  <a:pt x="387" y="167"/>
                </a:lnTo>
                <a:lnTo>
                  <a:pt x="359" y="195"/>
                </a:lnTo>
                <a:close/>
                <a:moveTo>
                  <a:pt x="417" y="191"/>
                </a:moveTo>
                <a:lnTo>
                  <a:pt x="445" y="163"/>
                </a:lnTo>
                <a:lnTo>
                  <a:pt x="417" y="136"/>
                </a:lnTo>
                <a:lnTo>
                  <a:pt x="390" y="163"/>
                </a:lnTo>
                <a:lnTo>
                  <a:pt x="417" y="191"/>
                </a:lnTo>
                <a:close/>
                <a:moveTo>
                  <a:pt x="421" y="195"/>
                </a:moveTo>
                <a:lnTo>
                  <a:pt x="449" y="221"/>
                </a:lnTo>
                <a:lnTo>
                  <a:pt x="474" y="195"/>
                </a:lnTo>
                <a:lnTo>
                  <a:pt x="449" y="167"/>
                </a:lnTo>
                <a:lnTo>
                  <a:pt x="421" y="195"/>
                </a:lnTo>
                <a:close/>
                <a:moveTo>
                  <a:pt x="478" y="191"/>
                </a:moveTo>
                <a:lnTo>
                  <a:pt x="507" y="163"/>
                </a:lnTo>
                <a:lnTo>
                  <a:pt x="478" y="136"/>
                </a:lnTo>
                <a:lnTo>
                  <a:pt x="450" y="163"/>
                </a:lnTo>
                <a:lnTo>
                  <a:pt x="478" y="191"/>
                </a:lnTo>
                <a:close/>
                <a:moveTo>
                  <a:pt x="482" y="195"/>
                </a:moveTo>
                <a:lnTo>
                  <a:pt x="509" y="221"/>
                </a:lnTo>
                <a:lnTo>
                  <a:pt x="537" y="195"/>
                </a:lnTo>
                <a:lnTo>
                  <a:pt x="509" y="167"/>
                </a:lnTo>
                <a:lnTo>
                  <a:pt x="482" y="195"/>
                </a:lnTo>
                <a:close/>
                <a:moveTo>
                  <a:pt x="540" y="191"/>
                </a:moveTo>
                <a:lnTo>
                  <a:pt x="567" y="163"/>
                </a:lnTo>
                <a:lnTo>
                  <a:pt x="540" y="136"/>
                </a:lnTo>
                <a:lnTo>
                  <a:pt x="512" y="163"/>
                </a:lnTo>
                <a:lnTo>
                  <a:pt x="540" y="191"/>
                </a:lnTo>
                <a:close/>
                <a:moveTo>
                  <a:pt x="512" y="225"/>
                </a:moveTo>
                <a:lnTo>
                  <a:pt x="540" y="253"/>
                </a:lnTo>
                <a:lnTo>
                  <a:pt x="567" y="225"/>
                </a:lnTo>
                <a:lnTo>
                  <a:pt x="540" y="197"/>
                </a:lnTo>
                <a:lnTo>
                  <a:pt x="512" y="225"/>
                </a:lnTo>
                <a:close/>
                <a:moveTo>
                  <a:pt x="512" y="286"/>
                </a:moveTo>
                <a:lnTo>
                  <a:pt x="540" y="313"/>
                </a:lnTo>
                <a:lnTo>
                  <a:pt x="567" y="286"/>
                </a:lnTo>
                <a:lnTo>
                  <a:pt x="540" y="258"/>
                </a:lnTo>
                <a:lnTo>
                  <a:pt x="512" y="286"/>
                </a:lnTo>
                <a:close/>
                <a:moveTo>
                  <a:pt x="512" y="346"/>
                </a:moveTo>
                <a:lnTo>
                  <a:pt x="540" y="374"/>
                </a:lnTo>
                <a:lnTo>
                  <a:pt x="567" y="346"/>
                </a:lnTo>
                <a:lnTo>
                  <a:pt x="540" y="320"/>
                </a:lnTo>
                <a:lnTo>
                  <a:pt x="512" y="346"/>
                </a:lnTo>
                <a:close/>
                <a:moveTo>
                  <a:pt x="512" y="408"/>
                </a:moveTo>
                <a:lnTo>
                  <a:pt x="540" y="436"/>
                </a:lnTo>
                <a:lnTo>
                  <a:pt x="567" y="408"/>
                </a:lnTo>
                <a:lnTo>
                  <a:pt x="540" y="380"/>
                </a:lnTo>
                <a:lnTo>
                  <a:pt x="512" y="408"/>
                </a:lnTo>
                <a:close/>
                <a:moveTo>
                  <a:pt x="512" y="468"/>
                </a:moveTo>
                <a:lnTo>
                  <a:pt x="540" y="496"/>
                </a:lnTo>
                <a:lnTo>
                  <a:pt x="567" y="468"/>
                </a:lnTo>
                <a:lnTo>
                  <a:pt x="540" y="441"/>
                </a:lnTo>
                <a:lnTo>
                  <a:pt x="512" y="468"/>
                </a:lnTo>
                <a:close/>
                <a:moveTo>
                  <a:pt x="512" y="529"/>
                </a:moveTo>
                <a:lnTo>
                  <a:pt x="540" y="558"/>
                </a:lnTo>
                <a:lnTo>
                  <a:pt x="567" y="529"/>
                </a:lnTo>
                <a:lnTo>
                  <a:pt x="540" y="501"/>
                </a:lnTo>
                <a:lnTo>
                  <a:pt x="512" y="529"/>
                </a:lnTo>
                <a:close/>
                <a:moveTo>
                  <a:pt x="509" y="533"/>
                </a:moveTo>
                <a:lnTo>
                  <a:pt x="482" y="559"/>
                </a:lnTo>
                <a:lnTo>
                  <a:pt x="509" y="587"/>
                </a:lnTo>
                <a:lnTo>
                  <a:pt x="537" y="559"/>
                </a:lnTo>
                <a:lnTo>
                  <a:pt x="509" y="533"/>
                </a:lnTo>
                <a:close/>
                <a:moveTo>
                  <a:pt x="507" y="529"/>
                </a:moveTo>
                <a:lnTo>
                  <a:pt x="478" y="501"/>
                </a:lnTo>
                <a:lnTo>
                  <a:pt x="450" y="529"/>
                </a:lnTo>
                <a:lnTo>
                  <a:pt x="478" y="558"/>
                </a:lnTo>
                <a:lnTo>
                  <a:pt x="507" y="529"/>
                </a:lnTo>
                <a:close/>
                <a:moveTo>
                  <a:pt x="449" y="533"/>
                </a:moveTo>
                <a:lnTo>
                  <a:pt x="421" y="559"/>
                </a:lnTo>
                <a:lnTo>
                  <a:pt x="449" y="587"/>
                </a:lnTo>
                <a:lnTo>
                  <a:pt x="474" y="559"/>
                </a:lnTo>
                <a:lnTo>
                  <a:pt x="449" y="533"/>
                </a:lnTo>
                <a:close/>
                <a:moveTo>
                  <a:pt x="445" y="529"/>
                </a:moveTo>
                <a:lnTo>
                  <a:pt x="417" y="501"/>
                </a:lnTo>
                <a:lnTo>
                  <a:pt x="390" y="529"/>
                </a:lnTo>
                <a:lnTo>
                  <a:pt x="417" y="558"/>
                </a:lnTo>
                <a:lnTo>
                  <a:pt x="445" y="529"/>
                </a:lnTo>
                <a:close/>
                <a:moveTo>
                  <a:pt x="387" y="533"/>
                </a:moveTo>
                <a:lnTo>
                  <a:pt x="359" y="559"/>
                </a:lnTo>
                <a:lnTo>
                  <a:pt x="387" y="587"/>
                </a:lnTo>
                <a:lnTo>
                  <a:pt x="415" y="559"/>
                </a:lnTo>
                <a:lnTo>
                  <a:pt x="387" y="533"/>
                </a:lnTo>
                <a:close/>
                <a:moveTo>
                  <a:pt x="383" y="529"/>
                </a:moveTo>
                <a:lnTo>
                  <a:pt x="356" y="501"/>
                </a:lnTo>
                <a:lnTo>
                  <a:pt x="328" y="529"/>
                </a:lnTo>
                <a:lnTo>
                  <a:pt x="356" y="558"/>
                </a:lnTo>
                <a:lnTo>
                  <a:pt x="383" y="529"/>
                </a:lnTo>
                <a:close/>
                <a:moveTo>
                  <a:pt x="324" y="533"/>
                </a:moveTo>
                <a:lnTo>
                  <a:pt x="299" y="559"/>
                </a:lnTo>
                <a:lnTo>
                  <a:pt x="324" y="587"/>
                </a:lnTo>
                <a:lnTo>
                  <a:pt x="352" y="559"/>
                </a:lnTo>
                <a:lnTo>
                  <a:pt x="324" y="533"/>
                </a:lnTo>
                <a:close/>
                <a:moveTo>
                  <a:pt x="323" y="529"/>
                </a:moveTo>
                <a:lnTo>
                  <a:pt x="295" y="501"/>
                </a:lnTo>
                <a:lnTo>
                  <a:pt x="266" y="529"/>
                </a:lnTo>
                <a:lnTo>
                  <a:pt x="295" y="558"/>
                </a:lnTo>
                <a:lnTo>
                  <a:pt x="323" y="529"/>
                </a:lnTo>
                <a:close/>
                <a:moveTo>
                  <a:pt x="265" y="533"/>
                </a:moveTo>
                <a:lnTo>
                  <a:pt x="237" y="559"/>
                </a:lnTo>
                <a:lnTo>
                  <a:pt x="265" y="587"/>
                </a:lnTo>
                <a:lnTo>
                  <a:pt x="293" y="559"/>
                </a:lnTo>
                <a:lnTo>
                  <a:pt x="265" y="533"/>
                </a:lnTo>
                <a:close/>
                <a:moveTo>
                  <a:pt x="261" y="529"/>
                </a:moveTo>
                <a:lnTo>
                  <a:pt x="234" y="501"/>
                </a:lnTo>
                <a:lnTo>
                  <a:pt x="206" y="529"/>
                </a:lnTo>
                <a:lnTo>
                  <a:pt x="234" y="558"/>
                </a:lnTo>
                <a:lnTo>
                  <a:pt x="261" y="529"/>
                </a:lnTo>
                <a:close/>
                <a:moveTo>
                  <a:pt x="203" y="533"/>
                </a:moveTo>
                <a:lnTo>
                  <a:pt x="177" y="559"/>
                </a:lnTo>
                <a:lnTo>
                  <a:pt x="203" y="587"/>
                </a:lnTo>
                <a:lnTo>
                  <a:pt x="232" y="559"/>
                </a:lnTo>
                <a:lnTo>
                  <a:pt x="203" y="533"/>
                </a:lnTo>
                <a:close/>
                <a:moveTo>
                  <a:pt x="201" y="529"/>
                </a:moveTo>
                <a:lnTo>
                  <a:pt x="173" y="501"/>
                </a:lnTo>
                <a:lnTo>
                  <a:pt x="145" y="529"/>
                </a:lnTo>
                <a:lnTo>
                  <a:pt x="173" y="558"/>
                </a:lnTo>
                <a:lnTo>
                  <a:pt x="201" y="529"/>
                </a:lnTo>
                <a:close/>
                <a:moveTo>
                  <a:pt x="143" y="533"/>
                </a:moveTo>
                <a:lnTo>
                  <a:pt x="115" y="559"/>
                </a:lnTo>
                <a:lnTo>
                  <a:pt x="143" y="587"/>
                </a:lnTo>
                <a:lnTo>
                  <a:pt x="169" y="559"/>
                </a:lnTo>
                <a:lnTo>
                  <a:pt x="143" y="533"/>
                </a:lnTo>
                <a:close/>
                <a:moveTo>
                  <a:pt x="139" y="529"/>
                </a:moveTo>
                <a:lnTo>
                  <a:pt x="111" y="501"/>
                </a:lnTo>
                <a:lnTo>
                  <a:pt x="84" y="529"/>
                </a:lnTo>
                <a:lnTo>
                  <a:pt x="111" y="558"/>
                </a:lnTo>
                <a:lnTo>
                  <a:pt x="139" y="529"/>
                </a:lnTo>
                <a:close/>
                <a:moveTo>
                  <a:pt x="110" y="500"/>
                </a:moveTo>
                <a:lnTo>
                  <a:pt x="81" y="472"/>
                </a:lnTo>
                <a:lnTo>
                  <a:pt x="53" y="500"/>
                </a:lnTo>
                <a:lnTo>
                  <a:pt x="81" y="525"/>
                </a:lnTo>
                <a:lnTo>
                  <a:pt x="110" y="500"/>
                </a:lnTo>
                <a:close/>
                <a:moveTo>
                  <a:pt x="110" y="437"/>
                </a:moveTo>
                <a:lnTo>
                  <a:pt x="81" y="409"/>
                </a:lnTo>
                <a:lnTo>
                  <a:pt x="53" y="437"/>
                </a:lnTo>
                <a:lnTo>
                  <a:pt x="81" y="465"/>
                </a:lnTo>
                <a:lnTo>
                  <a:pt x="110" y="437"/>
                </a:lnTo>
                <a:close/>
                <a:moveTo>
                  <a:pt x="110" y="378"/>
                </a:moveTo>
                <a:lnTo>
                  <a:pt x="81" y="350"/>
                </a:lnTo>
                <a:lnTo>
                  <a:pt x="53" y="378"/>
                </a:lnTo>
                <a:lnTo>
                  <a:pt x="81" y="404"/>
                </a:lnTo>
                <a:lnTo>
                  <a:pt x="110" y="378"/>
                </a:lnTo>
                <a:close/>
                <a:moveTo>
                  <a:pt x="110" y="316"/>
                </a:moveTo>
                <a:lnTo>
                  <a:pt x="81" y="287"/>
                </a:lnTo>
                <a:lnTo>
                  <a:pt x="53" y="316"/>
                </a:lnTo>
                <a:lnTo>
                  <a:pt x="81" y="344"/>
                </a:lnTo>
                <a:lnTo>
                  <a:pt x="110" y="316"/>
                </a:lnTo>
                <a:close/>
                <a:moveTo>
                  <a:pt x="110" y="254"/>
                </a:moveTo>
                <a:lnTo>
                  <a:pt x="81" y="229"/>
                </a:lnTo>
                <a:lnTo>
                  <a:pt x="53" y="254"/>
                </a:lnTo>
                <a:lnTo>
                  <a:pt x="81" y="282"/>
                </a:lnTo>
                <a:lnTo>
                  <a:pt x="110" y="254"/>
                </a:lnTo>
                <a:close/>
                <a:moveTo>
                  <a:pt x="110" y="195"/>
                </a:moveTo>
                <a:lnTo>
                  <a:pt x="81" y="167"/>
                </a:lnTo>
                <a:lnTo>
                  <a:pt x="53" y="195"/>
                </a:lnTo>
                <a:lnTo>
                  <a:pt x="81" y="221"/>
                </a:lnTo>
                <a:lnTo>
                  <a:pt x="110" y="195"/>
                </a:lnTo>
                <a:close/>
                <a:moveTo>
                  <a:pt x="110" y="132"/>
                </a:moveTo>
                <a:lnTo>
                  <a:pt x="81" y="107"/>
                </a:lnTo>
                <a:lnTo>
                  <a:pt x="53" y="132"/>
                </a:lnTo>
                <a:lnTo>
                  <a:pt x="81" y="160"/>
                </a:lnTo>
                <a:lnTo>
                  <a:pt x="110" y="132"/>
                </a:lnTo>
                <a:close/>
                <a:moveTo>
                  <a:pt x="111" y="131"/>
                </a:moveTo>
                <a:lnTo>
                  <a:pt x="139" y="103"/>
                </a:lnTo>
                <a:lnTo>
                  <a:pt x="111" y="75"/>
                </a:lnTo>
                <a:lnTo>
                  <a:pt x="84" y="103"/>
                </a:lnTo>
                <a:lnTo>
                  <a:pt x="111" y="131"/>
                </a:lnTo>
                <a:close/>
                <a:moveTo>
                  <a:pt x="115" y="132"/>
                </a:moveTo>
                <a:lnTo>
                  <a:pt x="143" y="160"/>
                </a:lnTo>
                <a:lnTo>
                  <a:pt x="169" y="132"/>
                </a:lnTo>
                <a:lnTo>
                  <a:pt x="143" y="107"/>
                </a:lnTo>
                <a:lnTo>
                  <a:pt x="115" y="132"/>
                </a:lnTo>
                <a:close/>
                <a:moveTo>
                  <a:pt x="173" y="131"/>
                </a:moveTo>
                <a:lnTo>
                  <a:pt x="201" y="103"/>
                </a:lnTo>
                <a:lnTo>
                  <a:pt x="173" y="75"/>
                </a:lnTo>
                <a:lnTo>
                  <a:pt x="145" y="103"/>
                </a:lnTo>
                <a:lnTo>
                  <a:pt x="173" y="131"/>
                </a:lnTo>
                <a:close/>
                <a:moveTo>
                  <a:pt x="177" y="132"/>
                </a:moveTo>
                <a:lnTo>
                  <a:pt x="203" y="160"/>
                </a:lnTo>
                <a:lnTo>
                  <a:pt x="232" y="132"/>
                </a:lnTo>
                <a:lnTo>
                  <a:pt x="203" y="107"/>
                </a:lnTo>
                <a:lnTo>
                  <a:pt x="177" y="132"/>
                </a:lnTo>
                <a:close/>
                <a:moveTo>
                  <a:pt x="234" y="131"/>
                </a:moveTo>
                <a:lnTo>
                  <a:pt x="261" y="103"/>
                </a:lnTo>
                <a:lnTo>
                  <a:pt x="234" y="75"/>
                </a:lnTo>
                <a:lnTo>
                  <a:pt x="206" y="103"/>
                </a:lnTo>
                <a:lnTo>
                  <a:pt x="234" y="131"/>
                </a:lnTo>
                <a:close/>
                <a:moveTo>
                  <a:pt x="237" y="132"/>
                </a:moveTo>
                <a:lnTo>
                  <a:pt x="265" y="160"/>
                </a:lnTo>
                <a:lnTo>
                  <a:pt x="293" y="132"/>
                </a:lnTo>
                <a:lnTo>
                  <a:pt x="265" y="107"/>
                </a:lnTo>
                <a:lnTo>
                  <a:pt x="237" y="132"/>
                </a:lnTo>
                <a:close/>
                <a:moveTo>
                  <a:pt x="295" y="131"/>
                </a:moveTo>
                <a:lnTo>
                  <a:pt x="323" y="103"/>
                </a:lnTo>
                <a:lnTo>
                  <a:pt x="295" y="75"/>
                </a:lnTo>
                <a:lnTo>
                  <a:pt x="266" y="103"/>
                </a:lnTo>
                <a:lnTo>
                  <a:pt x="295" y="131"/>
                </a:lnTo>
                <a:close/>
                <a:moveTo>
                  <a:pt x="299" y="132"/>
                </a:moveTo>
                <a:lnTo>
                  <a:pt x="324" y="160"/>
                </a:lnTo>
                <a:lnTo>
                  <a:pt x="352" y="132"/>
                </a:lnTo>
                <a:lnTo>
                  <a:pt x="324" y="107"/>
                </a:lnTo>
                <a:lnTo>
                  <a:pt x="299" y="132"/>
                </a:lnTo>
                <a:close/>
                <a:moveTo>
                  <a:pt x="356" y="131"/>
                </a:moveTo>
                <a:lnTo>
                  <a:pt x="383" y="103"/>
                </a:lnTo>
                <a:lnTo>
                  <a:pt x="356" y="75"/>
                </a:lnTo>
                <a:lnTo>
                  <a:pt x="328" y="103"/>
                </a:lnTo>
                <a:lnTo>
                  <a:pt x="356" y="131"/>
                </a:lnTo>
                <a:close/>
                <a:moveTo>
                  <a:pt x="359" y="132"/>
                </a:moveTo>
                <a:lnTo>
                  <a:pt x="387" y="160"/>
                </a:lnTo>
                <a:lnTo>
                  <a:pt x="415" y="132"/>
                </a:lnTo>
                <a:lnTo>
                  <a:pt x="387" y="107"/>
                </a:lnTo>
                <a:lnTo>
                  <a:pt x="359" y="132"/>
                </a:lnTo>
                <a:close/>
                <a:moveTo>
                  <a:pt x="417" y="131"/>
                </a:moveTo>
                <a:lnTo>
                  <a:pt x="445" y="103"/>
                </a:lnTo>
                <a:lnTo>
                  <a:pt x="417" y="75"/>
                </a:lnTo>
                <a:lnTo>
                  <a:pt x="390" y="103"/>
                </a:lnTo>
                <a:lnTo>
                  <a:pt x="417" y="131"/>
                </a:lnTo>
                <a:close/>
                <a:moveTo>
                  <a:pt x="421" y="132"/>
                </a:moveTo>
                <a:lnTo>
                  <a:pt x="449" y="160"/>
                </a:lnTo>
                <a:lnTo>
                  <a:pt x="474" y="132"/>
                </a:lnTo>
                <a:lnTo>
                  <a:pt x="449" y="107"/>
                </a:lnTo>
                <a:lnTo>
                  <a:pt x="421" y="132"/>
                </a:lnTo>
                <a:close/>
                <a:moveTo>
                  <a:pt x="478" y="131"/>
                </a:moveTo>
                <a:lnTo>
                  <a:pt x="507" y="103"/>
                </a:lnTo>
                <a:lnTo>
                  <a:pt x="478" y="75"/>
                </a:lnTo>
                <a:lnTo>
                  <a:pt x="450" y="103"/>
                </a:lnTo>
                <a:lnTo>
                  <a:pt x="478" y="131"/>
                </a:lnTo>
                <a:close/>
                <a:moveTo>
                  <a:pt x="482" y="132"/>
                </a:moveTo>
                <a:lnTo>
                  <a:pt x="509" y="160"/>
                </a:lnTo>
                <a:lnTo>
                  <a:pt x="537" y="132"/>
                </a:lnTo>
                <a:lnTo>
                  <a:pt x="509" y="107"/>
                </a:lnTo>
                <a:lnTo>
                  <a:pt x="482" y="132"/>
                </a:lnTo>
                <a:close/>
                <a:moveTo>
                  <a:pt x="540" y="131"/>
                </a:moveTo>
                <a:lnTo>
                  <a:pt x="567" y="103"/>
                </a:lnTo>
                <a:lnTo>
                  <a:pt x="540" y="75"/>
                </a:lnTo>
                <a:lnTo>
                  <a:pt x="512" y="103"/>
                </a:lnTo>
                <a:lnTo>
                  <a:pt x="540" y="131"/>
                </a:lnTo>
                <a:close/>
                <a:moveTo>
                  <a:pt x="543" y="132"/>
                </a:moveTo>
                <a:lnTo>
                  <a:pt x="571" y="160"/>
                </a:lnTo>
                <a:lnTo>
                  <a:pt x="599" y="132"/>
                </a:lnTo>
                <a:lnTo>
                  <a:pt x="571" y="107"/>
                </a:lnTo>
                <a:lnTo>
                  <a:pt x="543" y="132"/>
                </a:lnTo>
                <a:close/>
                <a:moveTo>
                  <a:pt x="543" y="195"/>
                </a:moveTo>
                <a:lnTo>
                  <a:pt x="571" y="221"/>
                </a:lnTo>
                <a:lnTo>
                  <a:pt x="599" y="195"/>
                </a:lnTo>
                <a:lnTo>
                  <a:pt x="571" y="167"/>
                </a:lnTo>
                <a:lnTo>
                  <a:pt x="543" y="195"/>
                </a:lnTo>
                <a:close/>
                <a:moveTo>
                  <a:pt x="543" y="254"/>
                </a:moveTo>
                <a:lnTo>
                  <a:pt x="571" y="282"/>
                </a:lnTo>
                <a:lnTo>
                  <a:pt x="599" y="254"/>
                </a:lnTo>
                <a:lnTo>
                  <a:pt x="571" y="229"/>
                </a:lnTo>
                <a:lnTo>
                  <a:pt x="543" y="254"/>
                </a:lnTo>
                <a:close/>
                <a:moveTo>
                  <a:pt x="543" y="316"/>
                </a:moveTo>
                <a:lnTo>
                  <a:pt x="571" y="344"/>
                </a:lnTo>
                <a:lnTo>
                  <a:pt x="599" y="316"/>
                </a:lnTo>
                <a:lnTo>
                  <a:pt x="571" y="287"/>
                </a:lnTo>
                <a:lnTo>
                  <a:pt x="543" y="316"/>
                </a:lnTo>
                <a:close/>
                <a:moveTo>
                  <a:pt x="543" y="378"/>
                </a:moveTo>
                <a:lnTo>
                  <a:pt x="571" y="404"/>
                </a:lnTo>
                <a:lnTo>
                  <a:pt x="599" y="378"/>
                </a:lnTo>
                <a:lnTo>
                  <a:pt x="571" y="350"/>
                </a:lnTo>
                <a:lnTo>
                  <a:pt x="543" y="378"/>
                </a:lnTo>
                <a:close/>
                <a:moveTo>
                  <a:pt x="543" y="437"/>
                </a:moveTo>
                <a:lnTo>
                  <a:pt x="571" y="465"/>
                </a:lnTo>
                <a:lnTo>
                  <a:pt x="599" y="437"/>
                </a:lnTo>
                <a:lnTo>
                  <a:pt x="571" y="409"/>
                </a:lnTo>
                <a:lnTo>
                  <a:pt x="543" y="437"/>
                </a:lnTo>
                <a:close/>
                <a:moveTo>
                  <a:pt x="543" y="500"/>
                </a:moveTo>
                <a:lnTo>
                  <a:pt x="571" y="525"/>
                </a:lnTo>
                <a:lnTo>
                  <a:pt x="599" y="500"/>
                </a:lnTo>
                <a:lnTo>
                  <a:pt x="571" y="472"/>
                </a:lnTo>
                <a:lnTo>
                  <a:pt x="543" y="500"/>
                </a:lnTo>
                <a:close/>
                <a:moveTo>
                  <a:pt x="543" y="559"/>
                </a:moveTo>
                <a:lnTo>
                  <a:pt x="571" y="587"/>
                </a:lnTo>
                <a:lnTo>
                  <a:pt x="599" y="559"/>
                </a:lnTo>
                <a:lnTo>
                  <a:pt x="571" y="533"/>
                </a:lnTo>
                <a:lnTo>
                  <a:pt x="543" y="559"/>
                </a:lnTo>
                <a:close/>
                <a:moveTo>
                  <a:pt x="540" y="563"/>
                </a:moveTo>
                <a:lnTo>
                  <a:pt x="512" y="591"/>
                </a:lnTo>
                <a:lnTo>
                  <a:pt x="540" y="618"/>
                </a:lnTo>
                <a:lnTo>
                  <a:pt x="567" y="591"/>
                </a:lnTo>
                <a:lnTo>
                  <a:pt x="540" y="563"/>
                </a:lnTo>
                <a:close/>
                <a:moveTo>
                  <a:pt x="509" y="594"/>
                </a:moveTo>
                <a:lnTo>
                  <a:pt x="482" y="622"/>
                </a:lnTo>
                <a:lnTo>
                  <a:pt x="509" y="650"/>
                </a:lnTo>
                <a:lnTo>
                  <a:pt x="537" y="622"/>
                </a:lnTo>
                <a:lnTo>
                  <a:pt x="509" y="594"/>
                </a:lnTo>
                <a:close/>
                <a:moveTo>
                  <a:pt x="507" y="591"/>
                </a:moveTo>
                <a:lnTo>
                  <a:pt x="478" y="563"/>
                </a:lnTo>
                <a:lnTo>
                  <a:pt x="450" y="591"/>
                </a:lnTo>
                <a:lnTo>
                  <a:pt x="478" y="618"/>
                </a:lnTo>
                <a:lnTo>
                  <a:pt x="507" y="591"/>
                </a:lnTo>
                <a:close/>
                <a:moveTo>
                  <a:pt x="449" y="594"/>
                </a:moveTo>
                <a:lnTo>
                  <a:pt x="421" y="622"/>
                </a:lnTo>
                <a:lnTo>
                  <a:pt x="449" y="650"/>
                </a:lnTo>
                <a:lnTo>
                  <a:pt x="474" y="622"/>
                </a:lnTo>
                <a:lnTo>
                  <a:pt x="449" y="594"/>
                </a:lnTo>
                <a:close/>
                <a:moveTo>
                  <a:pt x="445" y="591"/>
                </a:moveTo>
                <a:lnTo>
                  <a:pt x="417" y="563"/>
                </a:lnTo>
                <a:lnTo>
                  <a:pt x="390" y="591"/>
                </a:lnTo>
                <a:lnTo>
                  <a:pt x="417" y="618"/>
                </a:lnTo>
                <a:lnTo>
                  <a:pt x="445" y="591"/>
                </a:lnTo>
                <a:close/>
                <a:moveTo>
                  <a:pt x="387" y="594"/>
                </a:moveTo>
                <a:lnTo>
                  <a:pt x="359" y="622"/>
                </a:lnTo>
                <a:lnTo>
                  <a:pt x="387" y="650"/>
                </a:lnTo>
                <a:lnTo>
                  <a:pt x="415" y="622"/>
                </a:lnTo>
                <a:lnTo>
                  <a:pt x="387" y="594"/>
                </a:lnTo>
                <a:close/>
                <a:moveTo>
                  <a:pt x="383" y="591"/>
                </a:moveTo>
                <a:lnTo>
                  <a:pt x="356" y="563"/>
                </a:lnTo>
                <a:lnTo>
                  <a:pt x="328" y="591"/>
                </a:lnTo>
                <a:lnTo>
                  <a:pt x="356" y="618"/>
                </a:lnTo>
                <a:lnTo>
                  <a:pt x="383" y="591"/>
                </a:lnTo>
                <a:close/>
                <a:moveTo>
                  <a:pt x="324" y="594"/>
                </a:moveTo>
                <a:lnTo>
                  <a:pt x="299" y="622"/>
                </a:lnTo>
                <a:lnTo>
                  <a:pt x="324" y="650"/>
                </a:lnTo>
                <a:lnTo>
                  <a:pt x="352" y="622"/>
                </a:lnTo>
                <a:lnTo>
                  <a:pt x="324" y="594"/>
                </a:lnTo>
                <a:close/>
                <a:moveTo>
                  <a:pt x="323" y="591"/>
                </a:moveTo>
                <a:lnTo>
                  <a:pt x="295" y="563"/>
                </a:lnTo>
                <a:lnTo>
                  <a:pt x="266" y="591"/>
                </a:lnTo>
                <a:lnTo>
                  <a:pt x="295" y="618"/>
                </a:lnTo>
                <a:lnTo>
                  <a:pt x="323" y="591"/>
                </a:lnTo>
                <a:close/>
                <a:moveTo>
                  <a:pt x="265" y="594"/>
                </a:moveTo>
                <a:lnTo>
                  <a:pt x="237" y="622"/>
                </a:lnTo>
                <a:lnTo>
                  <a:pt x="265" y="650"/>
                </a:lnTo>
                <a:lnTo>
                  <a:pt x="293" y="622"/>
                </a:lnTo>
                <a:lnTo>
                  <a:pt x="265" y="594"/>
                </a:lnTo>
                <a:close/>
                <a:moveTo>
                  <a:pt x="261" y="591"/>
                </a:moveTo>
                <a:lnTo>
                  <a:pt x="234" y="563"/>
                </a:lnTo>
                <a:lnTo>
                  <a:pt x="206" y="591"/>
                </a:lnTo>
                <a:lnTo>
                  <a:pt x="234" y="618"/>
                </a:lnTo>
                <a:lnTo>
                  <a:pt x="261" y="591"/>
                </a:lnTo>
                <a:close/>
                <a:moveTo>
                  <a:pt x="203" y="594"/>
                </a:moveTo>
                <a:lnTo>
                  <a:pt x="177" y="622"/>
                </a:lnTo>
                <a:lnTo>
                  <a:pt x="203" y="650"/>
                </a:lnTo>
                <a:lnTo>
                  <a:pt x="232" y="622"/>
                </a:lnTo>
                <a:lnTo>
                  <a:pt x="203" y="594"/>
                </a:lnTo>
                <a:close/>
                <a:moveTo>
                  <a:pt x="201" y="591"/>
                </a:moveTo>
                <a:lnTo>
                  <a:pt x="173" y="563"/>
                </a:lnTo>
                <a:lnTo>
                  <a:pt x="145" y="591"/>
                </a:lnTo>
                <a:lnTo>
                  <a:pt x="173" y="618"/>
                </a:lnTo>
                <a:lnTo>
                  <a:pt x="201" y="591"/>
                </a:lnTo>
                <a:close/>
                <a:moveTo>
                  <a:pt x="143" y="594"/>
                </a:moveTo>
                <a:lnTo>
                  <a:pt x="115" y="622"/>
                </a:lnTo>
                <a:lnTo>
                  <a:pt x="143" y="650"/>
                </a:lnTo>
                <a:lnTo>
                  <a:pt x="169" y="622"/>
                </a:lnTo>
                <a:lnTo>
                  <a:pt x="143" y="594"/>
                </a:lnTo>
                <a:close/>
                <a:moveTo>
                  <a:pt x="139" y="591"/>
                </a:moveTo>
                <a:lnTo>
                  <a:pt x="111" y="563"/>
                </a:lnTo>
                <a:lnTo>
                  <a:pt x="84" y="591"/>
                </a:lnTo>
                <a:lnTo>
                  <a:pt x="111" y="618"/>
                </a:lnTo>
                <a:lnTo>
                  <a:pt x="139" y="591"/>
                </a:lnTo>
                <a:close/>
                <a:moveTo>
                  <a:pt x="81" y="587"/>
                </a:moveTo>
                <a:lnTo>
                  <a:pt x="110" y="559"/>
                </a:lnTo>
                <a:lnTo>
                  <a:pt x="81" y="533"/>
                </a:lnTo>
                <a:lnTo>
                  <a:pt x="53" y="559"/>
                </a:lnTo>
                <a:lnTo>
                  <a:pt x="81" y="587"/>
                </a:lnTo>
                <a:close/>
                <a:moveTo>
                  <a:pt x="22" y="529"/>
                </a:moveTo>
                <a:lnTo>
                  <a:pt x="51" y="558"/>
                </a:lnTo>
                <a:lnTo>
                  <a:pt x="77" y="529"/>
                </a:lnTo>
                <a:lnTo>
                  <a:pt x="51" y="501"/>
                </a:lnTo>
                <a:lnTo>
                  <a:pt x="22" y="529"/>
                </a:lnTo>
                <a:close/>
                <a:moveTo>
                  <a:pt x="22" y="468"/>
                </a:moveTo>
                <a:lnTo>
                  <a:pt x="51" y="496"/>
                </a:lnTo>
                <a:lnTo>
                  <a:pt x="77" y="468"/>
                </a:lnTo>
                <a:lnTo>
                  <a:pt x="51" y="441"/>
                </a:lnTo>
                <a:lnTo>
                  <a:pt x="22" y="468"/>
                </a:lnTo>
                <a:close/>
                <a:moveTo>
                  <a:pt x="22" y="408"/>
                </a:moveTo>
                <a:lnTo>
                  <a:pt x="51" y="436"/>
                </a:lnTo>
                <a:lnTo>
                  <a:pt x="77" y="408"/>
                </a:lnTo>
                <a:lnTo>
                  <a:pt x="51" y="380"/>
                </a:lnTo>
                <a:lnTo>
                  <a:pt x="22" y="408"/>
                </a:lnTo>
                <a:close/>
                <a:moveTo>
                  <a:pt x="22" y="346"/>
                </a:moveTo>
                <a:lnTo>
                  <a:pt x="51" y="374"/>
                </a:lnTo>
                <a:lnTo>
                  <a:pt x="77" y="346"/>
                </a:lnTo>
                <a:lnTo>
                  <a:pt x="51" y="320"/>
                </a:lnTo>
                <a:lnTo>
                  <a:pt x="22" y="346"/>
                </a:lnTo>
                <a:close/>
                <a:moveTo>
                  <a:pt x="22" y="286"/>
                </a:moveTo>
                <a:lnTo>
                  <a:pt x="51" y="313"/>
                </a:lnTo>
                <a:lnTo>
                  <a:pt x="77" y="286"/>
                </a:lnTo>
                <a:lnTo>
                  <a:pt x="51" y="258"/>
                </a:lnTo>
                <a:lnTo>
                  <a:pt x="22" y="286"/>
                </a:lnTo>
                <a:close/>
                <a:moveTo>
                  <a:pt x="22" y="225"/>
                </a:moveTo>
                <a:lnTo>
                  <a:pt x="51" y="253"/>
                </a:lnTo>
                <a:lnTo>
                  <a:pt x="77" y="225"/>
                </a:lnTo>
                <a:lnTo>
                  <a:pt x="51" y="197"/>
                </a:lnTo>
                <a:lnTo>
                  <a:pt x="22" y="225"/>
                </a:lnTo>
                <a:close/>
                <a:moveTo>
                  <a:pt x="22" y="163"/>
                </a:moveTo>
                <a:lnTo>
                  <a:pt x="51" y="191"/>
                </a:lnTo>
                <a:lnTo>
                  <a:pt x="77" y="163"/>
                </a:lnTo>
                <a:lnTo>
                  <a:pt x="51" y="136"/>
                </a:lnTo>
                <a:lnTo>
                  <a:pt x="22" y="163"/>
                </a:lnTo>
                <a:close/>
                <a:moveTo>
                  <a:pt x="22" y="103"/>
                </a:moveTo>
                <a:lnTo>
                  <a:pt x="51" y="131"/>
                </a:lnTo>
                <a:lnTo>
                  <a:pt x="77" y="103"/>
                </a:lnTo>
                <a:lnTo>
                  <a:pt x="51" y="75"/>
                </a:lnTo>
                <a:lnTo>
                  <a:pt x="22" y="103"/>
                </a:lnTo>
                <a:close/>
                <a:moveTo>
                  <a:pt x="51" y="15"/>
                </a:moveTo>
                <a:lnTo>
                  <a:pt x="22" y="42"/>
                </a:lnTo>
                <a:lnTo>
                  <a:pt x="51" y="70"/>
                </a:lnTo>
                <a:lnTo>
                  <a:pt x="77" y="42"/>
                </a:lnTo>
                <a:lnTo>
                  <a:pt x="51" y="15"/>
                </a:lnTo>
                <a:close/>
                <a:moveTo>
                  <a:pt x="53" y="74"/>
                </a:moveTo>
                <a:lnTo>
                  <a:pt x="81" y="99"/>
                </a:lnTo>
                <a:lnTo>
                  <a:pt x="110" y="74"/>
                </a:lnTo>
                <a:lnTo>
                  <a:pt x="81" y="46"/>
                </a:lnTo>
                <a:lnTo>
                  <a:pt x="53" y="74"/>
                </a:lnTo>
                <a:close/>
                <a:moveTo>
                  <a:pt x="111" y="15"/>
                </a:moveTo>
                <a:lnTo>
                  <a:pt x="84" y="42"/>
                </a:lnTo>
                <a:lnTo>
                  <a:pt x="111" y="70"/>
                </a:lnTo>
                <a:lnTo>
                  <a:pt x="139" y="42"/>
                </a:lnTo>
                <a:lnTo>
                  <a:pt x="111" y="15"/>
                </a:lnTo>
                <a:close/>
                <a:moveTo>
                  <a:pt x="115" y="74"/>
                </a:moveTo>
                <a:lnTo>
                  <a:pt x="143" y="99"/>
                </a:lnTo>
                <a:lnTo>
                  <a:pt x="169" y="74"/>
                </a:lnTo>
                <a:lnTo>
                  <a:pt x="143" y="46"/>
                </a:lnTo>
                <a:lnTo>
                  <a:pt x="115" y="74"/>
                </a:lnTo>
                <a:close/>
                <a:moveTo>
                  <a:pt x="173" y="15"/>
                </a:moveTo>
                <a:lnTo>
                  <a:pt x="145" y="42"/>
                </a:lnTo>
                <a:lnTo>
                  <a:pt x="173" y="70"/>
                </a:lnTo>
                <a:lnTo>
                  <a:pt x="201" y="42"/>
                </a:lnTo>
                <a:lnTo>
                  <a:pt x="173" y="15"/>
                </a:lnTo>
                <a:close/>
                <a:moveTo>
                  <a:pt x="177" y="74"/>
                </a:moveTo>
                <a:lnTo>
                  <a:pt x="203" y="99"/>
                </a:lnTo>
                <a:lnTo>
                  <a:pt x="232" y="74"/>
                </a:lnTo>
                <a:lnTo>
                  <a:pt x="203" y="46"/>
                </a:lnTo>
                <a:lnTo>
                  <a:pt x="177" y="74"/>
                </a:lnTo>
                <a:close/>
                <a:moveTo>
                  <a:pt x="234" y="15"/>
                </a:moveTo>
                <a:lnTo>
                  <a:pt x="206" y="42"/>
                </a:lnTo>
                <a:lnTo>
                  <a:pt x="234" y="70"/>
                </a:lnTo>
                <a:lnTo>
                  <a:pt x="261" y="42"/>
                </a:lnTo>
                <a:lnTo>
                  <a:pt x="234" y="15"/>
                </a:lnTo>
                <a:close/>
                <a:moveTo>
                  <a:pt x="237" y="74"/>
                </a:moveTo>
                <a:lnTo>
                  <a:pt x="265" y="99"/>
                </a:lnTo>
                <a:lnTo>
                  <a:pt x="293" y="74"/>
                </a:lnTo>
                <a:lnTo>
                  <a:pt x="265" y="46"/>
                </a:lnTo>
                <a:lnTo>
                  <a:pt x="237" y="74"/>
                </a:lnTo>
                <a:close/>
                <a:moveTo>
                  <a:pt x="295" y="15"/>
                </a:moveTo>
                <a:lnTo>
                  <a:pt x="266" y="42"/>
                </a:lnTo>
                <a:lnTo>
                  <a:pt x="295" y="70"/>
                </a:lnTo>
                <a:lnTo>
                  <a:pt x="323" y="42"/>
                </a:lnTo>
                <a:lnTo>
                  <a:pt x="295" y="15"/>
                </a:lnTo>
                <a:close/>
                <a:moveTo>
                  <a:pt x="299" y="74"/>
                </a:moveTo>
                <a:lnTo>
                  <a:pt x="324" y="99"/>
                </a:lnTo>
                <a:lnTo>
                  <a:pt x="352" y="74"/>
                </a:lnTo>
                <a:lnTo>
                  <a:pt x="324" y="46"/>
                </a:lnTo>
                <a:lnTo>
                  <a:pt x="299" y="74"/>
                </a:lnTo>
                <a:close/>
                <a:moveTo>
                  <a:pt x="356" y="15"/>
                </a:moveTo>
                <a:lnTo>
                  <a:pt x="328" y="42"/>
                </a:lnTo>
                <a:lnTo>
                  <a:pt x="356" y="70"/>
                </a:lnTo>
                <a:lnTo>
                  <a:pt x="383" y="42"/>
                </a:lnTo>
                <a:lnTo>
                  <a:pt x="356" y="15"/>
                </a:lnTo>
                <a:close/>
                <a:moveTo>
                  <a:pt x="359" y="74"/>
                </a:moveTo>
                <a:lnTo>
                  <a:pt x="387" y="99"/>
                </a:lnTo>
                <a:lnTo>
                  <a:pt x="415" y="74"/>
                </a:lnTo>
                <a:lnTo>
                  <a:pt x="387" y="46"/>
                </a:lnTo>
                <a:lnTo>
                  <a:pt x="359" y="74"/>
                </a:lnTo>
                <a:close/>
                <a:moveTo>
                  <a:pt x="417" y="15"/>
                </a:moveTo>
                <a:lnTo>
                  <a:pt x="390" y="42"/>
                </a:lnTo>
                <a:lnTo>
                  <a:pt x="417" y="70"/>
                </a:lnTo>
                <a:lnTo>
                  <a:pt x="445" y="42"/>
                </a:lnTo>
                <a:lnTo>
                  <a:pt x="417" y="15"/>
                </a:lnTo>
                <a:close/>
                <a:moveTo>
                  <a:pt x="421" y="74"/>
                </a:moveTo>
                <a:lnTo>
                  <a:pt x="449" y="99"/>
                </a:lnTo>
                <a:lnTo>
                  <a:pt x="474" y="74"/>
                </a:lnTo>
                <a:lnTo>
                  <a:pt x="449" y="46"/>
                </a:lnTo>
                <a:lnTo>
                  <a:pt x="421" y="74"/>
                </a:lnTo>
                <a:close/>
                <a:moveTo>
                  <a:pt x="478" y="15"/>
                </a:moveTo>
                <a:lnTo>
                  <a:pt x="450" y="42"/>
                </a:lnTo>
                <a:lnTo>
                  <a:pt x="478" y="70"/>
                </a:lnTo>
                <a:lnTo>
                  <a:pt x="507" y="42"/>
                </a:lnTo>
                <a:lnTo>
                  <a:pt x="478" y="15"/>
                </a:lnTo>
                <a:close/>
                <a:moveTo>
                  <a:pt x="482" y="74"/>
                </a:moveTo>
                <a:lnTo>
                  <a:pt x="509" y="99"/>
                </a:lnTo>
                <a:lnTo>
                  <a:pt x="537" y="74"/>
                </a:lnTo>
                <a:lnTo>
                  <a:pt x="509" y="46"/>
                </a:lnTo>
                <a:lnTo>
                  <a:pt x="482" y="74"/>
                </a:lnTo>
                <a:close/>
                <a:moveTo>
                  <a:pt x="540" y="15"/>
                </a:moveTo>
                <a:lnTo>
                  <a:pt x="512" y="42"/>
                </a:lnTo>
                <a:lnTo>
                  <a:pt x="540" y="70"/>
                </a:lnTo>
                <a:lnTo>
                  <a:pt x="567" y="42"/>
                </a:lnTo>
                <a:lnTo>
                  <a:pt x="540" y="15"/>
                </a:lnTo>
                <a:close/>
                <a:moveTo>
                  <a:pt x="543" y="74"/>
                </a:moveTo>
                <a:lnTo>
                  <a:pt x="571" y="99"/>
                </a:lnTo>
                <a:lnTo>
                  <a:pt x="599" y="74"/>
                </a:lnTo>
                <a:lnTo>
                  <a:pt x="571" y="46"/>
                </a:lnTo>
                <a:lnTo>
                  <a:pt x="543" y="74"/>
                </a:lnTo>
                <a:close/>
                <a:moveTo>
                  <a:pt x="629" y="42"/>
                </a:moveTo>
                <a:lnTo>
                  <a:pt x="600" y="15"/>
                </a:lnTo>
                <a:lnTo>
                  <a:pt x="572" y="42"/>
                </a:lnTo>
                <a:lnTo>
                  <a:pt x="600" y="70"/>
                </a:lnTo>
                <a:lnTo>
                  <a:pt x="629" y="42"/>
                </a:lnTo>
                <a:close/>
                <a:moveTo>
                  <a:pt x="629" y="103"/>
                </a:moveTo>
                <a:lnTo>
                  <a:pt x="600" y="75"/>
                </a:lnTo>
                <a:lnTo>
                  <a:pt x="572" y="103"/>
                </a:lnTo>
                <a:lnTo>
                  <a:pt x="600" y="131"/>
                </a:lnTo>
                <a:lnTo>
                  <a:pt x="629" y="103"/>
                </a:lnTo>
                <a:close/>
                <a:moveTo>
                  <a:pt x="629" y="163"/>
                </a:moveTo>
                <a:lnTo>
                  <a:pt x="600" y="136"/>
                </a:lnTo>
                <a:lnTo>
                  <a:pt x="572" y="163"/>
                </a:lnTo>
                <a:lnTo>
                  <a:pt x="600" y="191"/>
                </a:lnTo>
                <a:lnTo>
                  <a:pt x="629" y="163"/>
                </a:lnTo>
                <a:close/>
                <a:moveTo>
                  <a:pt x="629" y="225"/>
                </a:moveTo>
                <a:lnTo>
                  <a:pt x="600" y="197"/>
                </a:lnTo>
                <a:lnTo>
                  <a:pt x="572" y="225"/>
                </a:lnTo>
                <a:lnTo>
                  <a:pt x="600" y="253"/>
                </a:lnTo>
                <a:lnTo>
                  <a:pt x="629" y="225"/>
                </a:lnTo>
                <a:close/>
                <a:moveTo>
                  <a:pt x="629" y="286"/>
                </a:moveTo>
                <a:lnTo>
                  <a:pt x="600" y="258"/>
                </a:lnTo>
                <a:lnTo>
                  <a:pt x="572" y="286"/>
                </a:lnTo>
                <a:lnTo>
                  <a:pt x="600" y="313"/>
                </a:lnTo>
                <a:lnTo>
                  <a:pt x="629" y="286"/>
                </a:lnTo>
                <a:close/>
                <a:moveTo>
                  <a:pt x="629" y="346"/>
                </a:moveTo>
                <a:lnTo>
                  <a:pt x="600" y="320"/>
                </a:lnTo>
                <a:lnTo>
                  <a:pt x="572" y="346"/>
                </a:lnTo>
                <a:lnTo>
                  <a:pt x="600" y="374"/>
                </a:lnTo>
                <a:lnTo>
                  <a:pt x="629" y="346"/>
                </a:lnTo>
                <a:close/>
                <a:moveTo>
                  <a:pt x="629" y="408"/>
                </a:moveTo>
                <a:lnTo>
                  <a:pt x="600" y="380"/>
                </a:lnTo>
                <a:lnTo>
                  <a:pt x="572" y="408"/>
                </a:lnTo>
                <a:lnTo>
                  <a:pt x="600" y="436"/>
                </a:lnTo>
                <a:lnTo>
                  <a:pt x="629" y="408"/>
                </a:lnTo>
                <a:close/>
                <a:moveTo>
                  <a:pt x="629" y="468"/>
                </a:moveTo>
                <a:lnTo>
                  <a:pt x="600" y="441"/>
                </a:lnTo>
                <a:lnTo>
                  <a:pt x="572" y="468"/>
                </a:lnTo>
                <a:lnTo>
                  <a:pt x="600" y="496"/>
                </a:lnTo>
                <a:lnTo>
                  <a:pt x="629" y="468"/>
                </a:lnTo>
                <a:close/>
                <a:moveTo>
                  <a:pt x="629" y="529"/>
                </a:moveTo>
                <a:lnTo>
                  <a:pt x="600" y="501"/>
                </a:lnTo>
                <a:lnTo>
                  <a:pt x="572" y="529"/>
                </a:lnTo>
                <a:lnTo>
                  <a:pt x="600" y="558"/>
                </a:lnTo>
                <a:lnTo>
                  <a:pt x="629" y="529"/>
                </a:lnTo>
                <a:close/>
                <a:moveTo>
                  <a:pt x="629" y="591"/>
                </a:moveTo>
                <a:lnTo>
                  <a:pt x="600" y="563"/>
                </a:lnTo>
                <a:lnTo>
                  <a:pt x="572" y="591"/>
                </a:lnTo>
                <a:lnTo>
                  <a:pt x="600" y="618"/>
                </a:lnTo>
                <a:lnTo>
                  <a:pt x="629" y="591"/>
                </a:lnTo>
                <a:close/>
                <a:moveTo>
                  <a:pt x="599" y="622"/>
                </a:moveTo>
                <a:lnTo>
                  <a:pt x="571" y="594"/>
                </a:lnTo>
                <a:lnTo>
                  <a:pt x="543" y="622"/>
                </a:lnTo>
                <a:lnTo>
                  <a:pt x="571" y="650"/>
                </a:lnTo>
                <a:lnTo>
                  <a:pt x="599" y="622"/>
                </a:lnTo>
                <a:close/>
                <a:moveTo>
                  <a:pt x="571" y="709"/>
                </a:moveTo>
                <a:lnTo>
                  <a:pt x="599" y="683"/>
                </a:lnTo>
                <a:lnTo>
                  <a:pt x="571" y="655"/>
                </a:lnTo>
                <a:lnTo>
                  <a:pt x="543" y="683"/>
                </a:lnTo>
                <a:lnTo>
                  <a:pt x="571" y="709"/>
                </a:lnTo>
                <a:close/>
                <a:moveTo>
                  <a:pt x="567" y="651"/>
                </a:moveTo>
                <a:lnTo>
                  <a:pt x="540" y="624"/>
                </a:lnTo>
                <a:lnTo>
                  <a:pt x="512" y="651"/>
                </a:lnTo>
                <a:lnTo>
                  <a:pt x="540" y="679"/>
                </a:lnTo>
                <a:lnTo>
                  <a:pt x="567" y="651"/>
                </a:lnTo>
                <a:close/>
                <a:moveTo>
                  <a:pt x="509" y="709"/>
                </a:moveTo>
                <a:lnTo>
                  <a:pt x="537" y="683"/>
                </a:lnTo>
                <a:lnTo>
                  <a:pt x="509" y="655"/>
                </a:lnTo>
                <a:lnTo>
                  <a:pt x="482" y="683"/>
                </a:lnTo>
                <a:lnTo>
                  <a:pt x="509" y="709"/>
                </a:lnTo>
                <a:close/>
                <a:moveTo>
                  <a:pt x="507" y="651"/>
                </a:moveTo>
                <a:lnTo>
                  <a:pt x="478" y="624"/>
                </a:lnTo>
                <a:lnTo>
                  <a:pt x="450" y="651"/>
                </a:lnTo>
                <a:lnTo>
                  <a:pt x="478" y="679"/>
                </a:lnTo>
                <a:lnTo>
                  <a:pt x="507" y="651"/>
                </a:lnTo>
                <a:close/>
                <a:moveTo>
                  <a:pt x="449" y="709"/>
                </a:moveTo>
                <a:lnTo>
                  <a:pt x="474" y="683"/>
                </a:lnTo>
                <a:lnTo>
                  <a:pt x="449" y="655"/>
                </a:lnTo>
                <a:lnTo>
                  <a:pt x="421" y="683"/>
                </a:lnTo>
                <a:lnTo>
                  <a:pt x="449" y="709"/>
                </a:lnTo>
                <a:close/>
                <a:moveTo>
                  <a:pt x="445" y="651"/>
                </a:moveTo>
                <a:lnTo>
                  <a:pt x="417" y="624"/>
                </a:lnTo>
                <a:lnTo>
                  <a:pt x="390" y="651"/>
                </a:lnTo>
                <a:lnTo>
                  <a:pt x="417" y="679"/>
                </a:lnTo>
                <a:lnTo>
                  <a:pt x="445" y="651"/>
                </a:lnTo>
                <a:close/>
                <a:moveTo>
                  <a:pt x="387" y="709"/>
                </a:moveTo>
                <a:lnTo>
                  <a:pt x="415" y="683"/>
                </a:lnTo>
                <a:lnTo>
                  <a:pt x="387" y="655"/>
                </a:lnTo>
                <a:lnTo>
                  <a:pt x="359" y="683"/>
                </a:lnTo>
                <a:lnTo>
                  <a:pt x="387" y="709"/>
                </a:lnTo>
                <a:close/>
                <a:moveTo>
                  <a:pt x="383" y="651"/>
                </a:moveTo>
                <a:lnTo>
                  <a:pt x="356" y="624"/>
                </a:lnTo>
                <a:lnTo>
                  <a:pt x="328" y="651"/>
                </a:lnTo>
                <a:lnTo>
                  <a:pt x="356" y="679"/>
                </a:lnTo>
                <a:lnTo>
                  <a:pt x="383" y="651"/>
                </a:lnTo>
                <a:close/>
                <a:moveTo>
                  <a:pt x="324" y="709"/>
                </a:moveTo>
                <a:lnTo>
                  <a:pt x="352" y="683"/>
                </a:lnTo>
                <a:lnTo>
                  <a:pt x="324" y="655"/>
                </a:lnTo>
                <a:lnTo>
                  <a:pt x="299" y="683"/>
                </a:lnTo>
                <a:lnTo>
                  <a:pt x="324" y="709"/>
                </a:lnTo>
                <a:close/>
                <a:moveTo>
                  <a:pt x="323" y="651"/>
                </a:moveTo>
                <a:lnTo>
                  <a:pt x="295" y="624"/>
                </a:lnTo>
                <a:lnTo>
                  <a:pt x="266" y="651"/>
                </a:lnTo>
                <a:lnTo>
                  <a:pt x="295" y="679"/>
                </a:lnTo>
                <a:lnTo>
                  <a:pt x="323" y="651"/>
                </a:lnTo>
                <a:close/>
                <a:moveTo>
                  <a:pt x="265" y="709"/>
                </a:moveTo>
                <a:lnTo>
                  <a:pt x="293" y="683"/>
                </a:lnTo>
                <a:lnTo>
                  <a:pt x="265" y="655"/>
                </a:lnTo>
                <a:lnTo>
                  <a:pt x="237" y="683"/>
                </a:lnTo>
                <a:lnTo>
                  <a:pt x="265" y="709"/>
                </a:lnTo>
                <a:close/>
                <a:moveTo>
                  <a:pt x="261" y="651"/>
                </a:moveTo>
                <a:lnTo>
                  <a:pt x="234" y="624"/>
                </a:lnTo>
                <a:lnTo>
                  <a:pt x="206" y="651"/>
                </a:lnTo>
                <a:lnTo>
                  <a:pt x="234" y="679"/>
                </a:lnTo>
                <a:lnTo>
                  <a:pt x="261" y="651"/>
                </a:lnTo>
                <a:close/>
                <a:moveTo>
                  <a:pt x="203" y="709"/>
                </a:moveTo>
                <a:lnTo>
                  <a:pt x="232" y="683"/>
                </a:lnTo>
                <a:lnTo>
                  <a:pt x="203" y="655"/>
                </a:lnTo>
                <a:lnTo>
                  <a:pt x="177" y="683"/>
                </a:lnTo>
                <a:lnTo>
                  <a:pt x="203" y="709"/>
                </a:lnTo>
                <a:close/>
                <a:moveTo>
                  <a:pt x="201" y="651"/>
                </a:moveTo>
                <a:lnTo>
                  <a:pt x="173" y="624"/>
                </a:lnTo>
                <a:lnTo>
                  <a:pt x="145" y="651"/>
                </a:lnTo>
                <a:lnTo>
                  <a:pt x="173" y="679"/>
                </a:lnTo>
                <a:lnTo>
                  <a:pt x="201" y="651"/>
                </a:lnTo>
                <a:close/>
                <a:moveTo>
                  <a:pt x="143" y="709"/>
                </a:moveTo>
                <a:lnTo>
                  <a:pt x="169" y="683"/>
                </a:lnTo>
                <a:lnTo>
                  <a:pt x="143" y="655"/>
                </a:lnTo>
                <a:lnTo>
                  <a:pt x="115" y="683"/>
                </a:lnTo>
                <a:lnTo>
                  <a:pt x="143" y="709"/>
                </a:lnTo>
                <a:close/>
                <a:moveTo>
                  <a:pt x="139" y="651"/>
                </a:moveTo>
                <a:lnTo>
                  <a:pt x="111" y="624"/>
                </a:lnTo>
                <a:lnTo>
                  <a:pt x="84" y="651"/>
                </a:lnTo>
                <a:lnTo>
                  <a:pt x="111" y="679"/>
                </a:lnTo>
                <a:lnTo>
                  <a:pt x="139" y="651"/>
                </a:lnTo>
                <a:close/>
                <a:moveTo>
                  <a:pt x="81" y="709"/>
                </a:moveTo>
                <a:lnTo>
                  <a:pt x="110" y="683"/>
                </a:lnTo>
                <a:lnTo>
                  <a:pt x="81" y="655"/>
                </a:lnTo>
                <a:lnTo>
                  <a:pt x="53" y="683"/>
                </a:lnTo>
                <a:lnTo>
                  <a:pt x="81" y="709"/>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486" name="Rectangle 1278"/>
          <p:cNvSpPr>
            <a:spLocks noChangeArrowheads="1"/>
          </p:cNvSpPr>
          <p:nvPr/>
        </p:nvSpPr>
        <p:spPr bwMode="auto">
          <a:xfrm>
            <a:off x="7235826" y="4076701"/>
            <a:ext cx="66675" cy="2317750"/>
          </a:xfrm>
          <a:prstGeom prst="rect">
            <a:avLst/>
          </a:prstGeom>
          <a:solidFill>
            <a:srgbClr val="7F7F7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487" name="Rectangle 1279"/>
          <p:cNvSpPr>
            <a:spLocks noChangeArrowheads="1"/>
          </p:cNvSpPr>
          <p:nvPr/>
        </p:nvSpPr>
        <p:spPr bwMode="auto">
          <a:xfrm>
            <a:off x="11839351" y="4076701"/>
            <a:ext cx="65088" cy="2317750"/>
          </a:xfrm>
          <a:prstGeom prst="rect">
            <a:avLst/>
          </a:prstGeom>
          <a:solidFill>
            <a:srgbClr val="7F7F7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488" name="Rectangle 1280"/>
          <p:cNvSpPr>
            <a:spLocks noChangeArrowheads="1"/>
          </p:cNvSpPr>
          <p:nvPr/>
        </p:nvSpPr>
        <p:spPr bwMode="auto">
          <a:xfrm>
            <a:off x="7235826" y="6367463"/>
            <a:ext cx="4668613" cy="26988"/>
          </a:xfrm>
          <a:prstGeom prst="rect">
            <a:avLst/>
          </a:prstGeom>
          <a:solidFill>
            <a:srgbClr val="7F7F7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489" name="Rectangle 1281"/>
          <p:cNvSpPr>
            <a:spLocks noChangeArrowheads="1"/>
          </p:cNvSpPr>
          <p:nvPr/>
        </p:nvSpPr>
        <p:spPr bwMode="auto">
          <a:xfrm>
            <a:off x="7235826" y="5229226"/>
            <a:ext cx="4668613" cy="15875"/>
          </a:xfrm>
          <a:prstGeom prst="rect">
            <a:avLst/>
          </a:prstGeom>
          <a:solidFill>
            <a:srgbClr val="7F7F7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nvGrpSpPr>
          <p:cNvPr id="1490" name="Group 1489"/>
          <p:cNvGrpSpPr/>
          <p:nvPr/>
        </p:nvGrpSpPr>
        <p:grpSpPr>
          <a:xfrm>
            <a:off x="7294594" y="4991101"/>
            <a:ext cx="4537411" cy="295275"/>
            <a:chOff x="6453188" y="4991101"/>
            <a:chExt cx="5270500" cy="295275"/>
          </a:xfrm>
        </p:grpSpPr>
        <p:sp>
          <p:nvSpPr>
            <p:cNvPr id="1511" name="Freeform 1282"/>
            <p:cNvSpPr>
              <a:spLocks/>
            </p:cNvSpPr>
            <p:nvPr/>
          </p:nvSpPr>
          <p:spPr bwMode="auto">
            <a:xfrm>
              <a:off x="6453188" y="5003801"/>
              <a:ext cx="5270500" cy="244475"/>
            </a:xfrm>
            <a:custGeom>
              <a:avLst/>
              <a:gdLst>
                <a:gd name="T0" fmla="*/ 0 w 28200"/>
                <a:gd name="T1" fmla="*/ 1251 h 1308"/>
                <a:gd name="T2" fmla="*/ 2533 w 28200"/>
                <a:gd name="T3" fmla="*/ 617 h 1308"/>
                <a:gd name="T4" fmla="*/ 605 w 28200"/>
                <a:gd name="T5" fmla="*/ 617 h 1308"/>
                <a:gd name="T6" fmla="*/ 3660 w 28200"/>
                <a:gd name="T7" fmla="*/ 1270 h 1308"/>
                <a:gd name="T8" fmla="*/ 6895 w 28200"/>
                <a:gd name="T9" fmla="*/ 541 h 1308"/>
                <a:gd name="T10" fmla="*/ 4608 w 28200"/>
                <a:gd name="T11" fmla="*/ 502 h 1308"/>
                <a:gd name="T12" fmla="*/ 10130 w 28200"/>
                <a:gd name="T13" fmla="*/ 1212 h 1308"/>
                <a:gd name="T14" fmla="*/ 14084 w 28200"/>
                <a:gd name="T15" fmla="*/ 426 h 1308"/>
                <a:gd name="T16" fmla="*/ 11307 w 28200"/>
                <a:gd name="T17" fmla="*/ 502 h 1308"/>
                <a:gd name="T18" fmla="*/ 16208 w 28200"/>
                <a:gd name="T19" fmla="*/ 1251 h 1308"/>
                <a:gd name="T20" fmla="*/ 20064 w 28200"/>
                <a:gd name="T21" fmla="*/ 445 h 1308"/>
                <a:gd name="T22" fmla="*/ 17483 w 28200"/>
                <a:gd name="T23" fmla="*/ 445 h 1308"/>
                <a:gd name="T24" fmla="*/ 21959 w 28200"/>
                <a:gd name="T25" fmla="*/ 1251 h 1308"/>
                <a:gd name="T26" fmla="*/ 25619 w 28200"/>
                <a:gd name="T27" fmla="*/ 445 h 1308"/>
                <a:gd name="T28" fmla="*/ 22384 w 28200"/>
                <a:gd name="T29" fmla="*/ 445 h 1308"/>
                <a:gd name="T30" fmla="*/ 27384 w 28200"/>
                <a:gd name="T31" fmla="*/ 1212 h 1308"/>
                <a:gd name="T32" fmla="*/ 28200 w 28200"/>
                <a:gd name="T33" fmla="*/ 1232 h 1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8200" h="1308">
                  <a:moveTo>
                    <a:pt x="0" y="1251"/>
                  </a:moveTo>
                  <a:cubicBezTo>
                    <a:pt x="1171" y="1174"/>
                    <a:pt x="2473" y="1030"/>
                    <a:pt x="2533" y="617"/>
                  </a:cubicBezTo>
                  <a:cubicBezTo>
                    <a:pt x="2593" y="205"/>
                    <a:pt x="629" y="326"/>
                    <a:pt x="605" y="617"/>
                  </a:cubicBezTo>
                  <a:cubicBezTo>
                    <a:pt x="580" y="908"/>
                    <a:pt x="2478" y="1308"/>
                    <a:pt x="3660" y="1270"/>
                  </a:cubicBezTo>
                  <a:cubicBezTo>
                    <a:pt x="4842" y="1232"/>
                    <a:pt x="6487" y="1081"/>
                    <a:pt x="6895" y="541"/>
                  </a:cubicBezTo>
                  <a:cubicBezTo>
                    <a:pt x="7304" y="0"/>
                    <a:pt x="4570" y="103"/>
                    <a:pt x="4608" y="502"/>
                  </a:cubicBezTo>
                  <a:cubicBezTo>
                    <a:pt x="4646" y="902"/>
                    <a:pt x="8502" y="1206"/>
                    <a:pt x="10130" y="1212"/>
                  </a:cubicBezTo>
                  <a:cubicBezTo>
                    <a:pt x="11759" y="1219"/>
                    <a:pt x="13714" y="688"/>
                    <a:pt x="14084" y="426"/>
                  </a:cubicBezTo>
                  <a:cubicBezTo>
                    <a:pt x="14454" y="163"/>
                    <a:pt x="11290" y="13"/>
                    <a:pt x="11307" y="502"/>
                  </a:cubicBezTo>
                  <a:cubicBezTo>
                    <a:pt x="11323" y="992"/>
                    <a:pt x="14689" y="1270"/>
                    <a:pt x="16208" y="1251"/>
                  </a:cubicBezTo>
                  <a:cubicBezTo>
                    <a:pt x="17728" y="1232"/>
                    <a:pt x="20516" y="646"/>
                    <a:pt x="20064" y="445"/>
                  </a:cubicBezTo>
                  <a:cubicBezTo>
                    <a:pt x="19612" y="243"/>
                    <a:pt x="17183" y="71"/>
                    <a:pt x="17483" y="445"/>
                  </a:cubicBezTo>
                  <a:cubicBezTo>
                    <a:pt x="17782" y="819"/>
                    <a:pt x="20206" y="1251"/>
                    <a:pt x="21959" y="1251"/>
                  </a:cubicBezTo>
                  <a:cubicBezTo>
                    <a:pt x="23713" y="1251"/>
                    <a:pt x="26060" y="713"/>
                    <a:pt x="25619" y="445"/>
                  </a:cubicBezTo>
                  <a:cubicBezTo>
                    <a:pt x="25178" y="176"/>
                    <a:pt x="22090" y="26"/>
                    <a:pt x="22384" y="445"/>
                  </a:cubicBezTo>
                  <a:cubicBezTo>
                    <a:pt x="22678" y="864"/>
                    <a:pt x="26583" y="1196"/>
                    <a:pt x="27384" y="1212"/>
                  </a:cubicBezTo>
                  <a:lnTo>
                    <a:pt x="28200" y="1232"/>
                  </a:lnTo>
                </a:path>
              </a:pathLst>
            </a:custGeom>
            <a:noFill/>
            <a:ln w="9525" cap="flat">
              <a:solidFill>
                <a:srgbClr val="595959"/>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512" name="Freeform 1283"/>
            <p:cNvSpPr>
              <a:spLocks/>
            </p:cNvSpPr>
            <p:nvPr/>
          </p:nvSpPr>
          <p:spPr bwMode="auto">
            <a:xfrm>
              <a:off x="8770938" y="4991101"/>
              <a:ext cx="63500" cy="92075"/>
            </a:xfrm>
            <a:custGeom>
              <a:avLst/>
              <a:gdLst>
                <a:gd name="T0" fmla="*/ 0 w 40"/>
                <a:gd name="T1" fmla="*/ 0 h 58"/>
                <a:gd name="T2" fmla="*/ 10 w 40"/>
                <a:gd name="T3" fmla="*/ 35 h 58"/>
                <a:gd name="T4" fmla="*/ 20 w 40"/>
                <a:gd name="T5" fmla="*/ 22 h 58"/>
                <a:gd name="T6" fmla="*/ 40 w 40"/>
                <a:gd name="T7" fmla="*/ 58 h 58"/>
                <a:gd name="T8" fmla="*/ 0 w 40"/>
                <a:gd name="T9" fmla="*/ 0 h 58"/>
              </a:gdLst>
              <a:ahLst/>
              <a:cxnLst>
                <a:cxn ang="0">
                  <a:pos x="T0" y="T1"/>
                </a:cxn>
                <a:cxn ang="0">
                  <a:pos x="T2" y="T3"/>
                </a:cxn>
                <a:cxn ang="0">
                  <a:pos x="T4" y="T5"/>
                </a:cxn>
                <a:cxn ang="0">
                  <a:pos x="T6" y="T7"/>
                </a:cxn>
                <a:cxn ang="0">
                  <a:pos x="T8" y="T9"/>
                </a:cxn>
              </a:cxnLst>
              <a:rect l="0" t="0" r="r" b="b"/>
              <a:pathLst>
                <a:path w="40" h="58">
                  <a:moveTo>
                    <a:pt x="0" y="0"/>
                  </a:moveTo>
                  <a:lnTo>
                    <a:pt x="10" y="35"/>
                  </a:lnTo>
                  <a:lnTo>
                    <a:pt x="20" y="22"/>
                  </a:lnTo>
                  <a:lnTo>
                    <a:pt x="40" y="58"/>
                  </a:lnTo>
                  <a:lnTo>
                    <a:pt x="0" y="0"/>
                  </a:lnTo>
                  <a:close/>
                </a:path>
              </a:pathLst>
            </a:custGeom>
            <a:solidFill>
              <a:srgbClr val="5959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513" name="Freeform 1284"/>
            <p:cNvSpPr>
              <a:spLocks/>
            </p:cNvSpPr>
            <p:nvPr/>
          </p:nvSpPr>
          <p:spPr bwMode="auto">
            <a:xfrm>
              <a:off x="8559800" y="5026026"/>
              <a:ext cx="87313" cy="71438"/>
            </a:xfrm>
            <a:custGeom>
              <a:avLst/>
              <a:gdLst>
                <a:gd name="T0" fmla="*/ 55 w 55"/>
                <a:gd name="T1" fmla="*/ 45 h 45"/>
                <a:gd name="T2" fmla="*/ 35 w 55"/>
                <a:gd name="T3" fmla="*/ 14 h 45"/>
                <a:gd name="T4" fmla="*/ 29 w 55"/>
                <a:gd name="T5" fmla="*/ 29 h 45"/>
                <a:gd name="T6" fmla="*/ 0 w 55"/>
                <a:gd name="T7" fmla="*/ 0 h 45"/>
                <a:gd name="T8" fmla="*/ 55 w 55"/>
                <a:gd name="T9" fmla="*/ 45 h 45"/>
              </a:gdLst>
              <a:ahLst/>
              <a:cxnLst>
                <a:cxn ang="0">
                  <a:pos x="T0" y="T1"/>
                </a:cxn>
                <a:cxn ang="0">
                  <a:pos x="T2" y="T3"/>
                </a:cxn>
                <a:cxn ang="0">
                  <a:pos x="T4" y="T5"/>
                </a:cxn>
                <a:cxn ang="0">
                  <a:pos x="T6" y="T7"/>
                </a:cxn>
                <a:cxn ang="0">
                  <a:pos x="T8" y="T9"/>
                </a:cxn>
              </a:cxnLst>
              <a:rect l="0" t="0" r="r" b="b"/>
              <a:pathLst>
                <a:path w="55" h="45">
                  <a:moveTo>
                    <a:pt x="55" y="45"/>
                  </a:moveTo>
                  <a:lnTo>
                    <a:pt x="35" y="14"/>
                  </a:lnTo>
                  <a:lnTo>
                    <a:pt x="29" y="29"/>
                  </a:lnTo>
                  <a:lnTo>
                    <a:pt x="0" y="0"/>
                  </a:lnTo>
                  <a:lnTo>
                    <a:pt x="55" y="45"/>
                  </a:lnTo>
                  <a:close/>
                </a:path>
              </a:pathLst>
            </a:custGeom>
            <a:solidFill>
              <a:srgbClr val="5959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514" name="Freeform 1285"/>
            <p:cNvSpPr>
              <a:spLocks/>
            </p:cNvSpPr>
            <p:nvPr/>
          </p:nvSpPr>
          <p:spPr bwMode="auto">
            <a:xfrm>
              <a:off x="9002713" y="5048251"/>
              <a:ext cx="111125" cy="30163"/>
            </a:xfrm>
            <a:custGeom>
              <a:avLst/>
              <a:gdLst>
                <a:gd name="T0" fmla="*/ 70 w 70"/>
                <a:gd name="T1" fmla="*/ 4 h 19"/>
                <a:gd name="T2" fmla="*/ 33 w 70"/>
                <a:gd name="T3" fmla="*/ 0 h 19"/>
                <a:gd name="T4" fmla="*/ 41 w 70"/>
                <a:gd name="T5" fmla="*/ 14 h 19"/>
                <a:gd name="T6" fmla="*/ 0 w 70"/>
                <a:gd name="T7" fmla="*/ 19 h 19"/>
                <a:gd name="T8" fmla="*/ 70 w 70"/>
                <a:gd name="T9" fmla="*/ 4 h 19"/>
              </a:gdLst>
              <a:ahLst/>
              <a:cxnLst>
                <a:cxn ang="0">
                  <a:pos x="T0" y="T1"/>
                </a:cxn>
                <a:cxn ang="0">
                  <a:pos x="T2" y="T3"/>
                </a:cxn>
                <a:cxn ang="0">
                  <a:pos x="T4" y="T5"/>
                </a:cxn>
                <a:cxn ang="0">
                  <a:pos x="T6" y="T7"/>
                </a:cxn>
                <a:cxn ang="0">
                  <a:pos x="T8" y="T9"/>
                </a:cxn>
              </a:cxnLst>
              <a:rect l="0" t="0" r="r" b="b"/>
              <a:pathLst>
                <a:path w="70" h="19">
                  <a:moveTo>
                    <a:pt x="70" y="4"/>
                  </a:moveTo>
                  <a:lnTo>
                    <a:pt x="33" y="0"/>
                  </a:lnTo>
                  <a:lnTo>
                    <a:pt x="41" y="14"/>
                  </a:lnTo>
                  <a:lnTo>
                    <a:pt x="0" y="19"/>
                  </a:lnTo>
                  <a:lnTo>
                    <a:pt x="70" y="4"/>
                  </a:lnTo>
                  <a:close/>
                </a:path>
              </a:pathLst>
            </a:custGeom>
            <a:solidFill>
              <a:srgbClr val="5959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515" name="Freeform 1286"/>
            <p:cNvSpPr>
              <a:spLocks/>
            </p:cNvSpPr>
            <p:nvPr/>
          </p:nvSpPr>
          <p:spPr bwMode="auto">
            <a:xfrm>
              <a:off x="8859838" y="5111751"/>
              <a:ext cx="55563" cy="98425"/>
            </a:xfrm>
            <a:custGeom>
              <a:avLst/>
              <a:gdLst>
                <a:gd name="T0" fmla="*/ 35 w 35"/>
                <a:gd name="T1" fmla="*/ 0 h 62"/>
                <a:gd name="T2" fmla="*/ 28 w 35"/>
                <a:gd name="T3" fmla="*/ 37 h 62"/>
                <a:gd name="T4" fmla="*/ 17 w 35"/>
                <a:gd name="T5" fmla="*/ 25 h 62"/>
                <a:gd name="T6" fmla="*/ 0 w 35"/>
                <a:gd name="T7" fmla="*/ 62 h 62"/>
                <a:gd name="T8" fmla="*/ 35 w 35"/>
                <a:gd name="T9" fmla="*/ 0 h 62"/>
              </a:gdLst>
              <a:ahLst/>
              <a:cxnLst>
                <a:cxn ang="0">
                  <a:pos x="T0" y="T1"/>
                </a:cxn>
                <a:cxn ang="0">
                  <a:pos x="T2" y="T3"/>
                </a:cxn>
                <a:cxn ang="0">
                  <a:pos x="T4" y="T5"/>
                </a:cxn>
                <a:cxn ang="0">
                  <a:pos x="T6" y="T7"/>
                </a:cxn>
                <a:cxn ang="0">
                  <a:pos x="T8" y="T9"/>
                </a:cxn>
              </a:cxnLst>
              <a:rect l="0" t="0" r="r" b="b"/>
              <a:pathLst>
                <a:path w="35" h="62">
                  <a:moveTo>
                    <a:pt x="35" y="0"/>
                  </a:moveTo>
                  <a:lnTo>
                    <a:pt x="28" y="37"/>
                  </a:lnTo>
                  <a:lnTo>
                    <a:pt x="17" y="25"/>
                  </a:lnTo>
                  <a:lnTo>
                    <a:pt x="0" y="62"/>
                  </a:lnTo>
                  <a:lnTo>
                    <a:pt x="35" y="0"/>
                  </a:lnTo>
                  <a:close/>
                </a:path>
              </a:pathLst>
            </a:custGeom>
            <a:solidFill>
              <a:srgbClr val="5959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516" name="Freeform 1287"/>
            <p:cNvSpPr>
              <a:spLocks/>
            </p:cNvSpPr>
            <p:nvPr/>
          </p:nvSpPr>
          <p:spPr bwMode="auto">
            <a:xfrm>
              <a:off x="8561388" y="5162551"/>
              <a:ext cx="57150" cy="98425"/>
            </a:xfrm>
            <a:custGeom>
              <a:avLst/>
              <a:gdLst>
                <a:gd name="T0" fmla="*/ 0 w 36"/>
                <a:gd name="T1" fmla="*/ 0 h 62"/>
                <a:gd name="T2" fmla="*/ 7 w 36"/>
                <a:gd name="T3" fmla="*/ 36 h 62"/>
                <a:gd name="T4" fmla="*/ 19 w 36"/>
                <a:gd name="T5" fmla="*/ 24 h 62"/>
                <a:gd name="T6" fmla="*/ 36 w 36"/>
                <a:gd name="T7" fmla="*/ 62 h 62"/>
                <a:gd name="T8" fmla="*/ 0 w 36"/>
                <a:gd name="T9" fmla="*/ 0 h 62"/>
              </a:gdLst>
              <a:ahLst/>
              <a:cxnLst>
                <a:cxn ang="0">
                  <a:pos x="T0" y="T1"/>
                </a:cxn>
                <a:cxn ang="0">
                  <a:pos x="T2" y="T3"/>
                </a:cxn>
                <a:cxn ang="0">
                  <a:pos x="T4" y="T5"/>
                </a:cxn>
                <a:cxn ang="0">
                  <a:pos x="T6" y="T7"/>
                </a:cxn>
                <a:cxn ang="0">
                  <a:pos x="T8" y="T9"/>
                </a:cxn>
              </a:cxnLst>
              <a:rect l="0" t="0" r="r" b="b"/>
              <a:pathLst>
                <a:path w="36" h="62">
                  <a:moveTo>
                    <a:pt x="0" y="0"/>
                  </a:moveTo>
                  <a:lnTo>
                    <a:pt x="7" y="36"/>
                  </a:lnTo>
                  <a:lnTo>
                    <a:pt x="19" y="24"/>
                  </a:lnTo>
                  <a:lnTo>
                    <a:pt x="36" y="62"/>
                  </a:lnTo>
                  <a:lnTo>
                    <a:pt x="0" y="0"/>
                  </a:lnTo>
                  <a:close/>
                </a:path>
              </a:pathLst>
            </a:custGeom>
            <a:solidFill>
              <a:srgbClr val="5959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517" name="Freeform 1288"/>
            <p:cNvSpPr>
              <a:spLocks/>
            </p:cNvSpPr>
            <p:nvPr/>
          </p:nvSpPr>
          <p:spPr bwMode="auto">
            <a:xfrm>
              <a:off x="8189913" y="5162551"/>
              <a:ext cx="55563" cy="98425"/>
            </a:xfrm>
            <a:custGeom>
              <a:avLst/>
              <a:gdLst>
                <a:gd name="T0" fmla="*/ 0 w 35"/>
                <a:gd name="T1" fmla="*/ 0 h 62"/>
                <a:gd name="T2" fmla="*/ 7 w 35"/>
                <a:gd name="T3" fmla="*/ 36 h 62"/>
                <a:gd name="T4" fmla="*/ 18 w 35"/>
                <a:gd name="T5" fmla="*/ 24 h 62"/>
                <a:gd name="T6" fmla="*/ 35 w 35"/>
                <a:gd name="T7" fmla="*/ 62 h 62"/>
                <a:gd name="T8" fmla="*/ 0 w 35"/>
                <a:gd name="T9" fmla="*/ 0 h 62"/>
              </a:gdLst>
              <a:ahLst/>
              <a:cxnLst>
                <a:cxn ang="0">
                  <a:pos x="T0" y="T1"/>
                </a:cxn>
                <a:cxn ang="0">
                  <a:pos x="T2" y="T3"/>
                </a:cxn>
                <a:cxn ang="0">
                  <a:pos x="T4" y="T5"/>
                </a:cxn>
                <a:cxn ang="0">
                  <a:pos x="T6" y="T7"/>
                </a:cxn>
                <a:cxn ang="0">
                  <a:pos x="T8" y="T9"/>
                </a:cxn>
              </a:cxnLst>
              <a:rect l="0" t="0" r="r" b="b"/>
              <a:pathLst>
                <a:path w="35" h="62">
                  <a:moveTo>
                    <a:pt x="0" y="0"/>
                  </a:moveTo>
                  <a:lnTo>
                    <a:pt x="7" y="36"/>
                  </a:lnTo>
                  <a:lnTo>
                    <a:pt x="18" y="24"/>
                  </a:lnTo>
                  <a:lnTo>
                    <a:pt x="35" y="62"/>
                  </a:lnTo>
                  <a:lnTo>
                    <a:pt x="0" y="0"/>
                  </a:lnTo>
                  <a:close/>
                </a:path>
              </a:pathLst>
            </a:custGeom>
            <a:solidFill>
              <a:srgbClr val="5959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518" name="Freeform 1289"/>
            <p:cNvSpPr>
              <a:spLocks/>
            </p:cNvSpPr>
            <p:nvPr/>
          </p:nvSpPr>
          <p:spPr bwMode="auto">
            <a:xfrm>
              <a:off x="7754938" y="5143501"/>
              <a:ext cx="57150" cy="98425"/>
            </a:xfrm>
            <a:custGeom>
              <a:avLst/>
              <a:gdLst>
                <a:gd name="T0" fmla="*/ 0 w 36"/>
                <a:gd name="T1" fmla="*/ 0 h 62"/>
                <a:gd name="T2" fmla="*/ 8 w 36"/>
                <a:gd name="T3" fmla="*/ 37 h 62"/>
                <a:gd name="T4" fmla="*/ 19 w 36"/>
                <a:gd name="T5" fmla="*/ 25 h 62"/>
                <a:gd name="T6" fmla="*/ 36 w 36"/>
                <a:gd name="T7" fmla="*/ 62 h 62"/>
                <a:gd name="T8" fmla="*/ 0 w 36"/>
                <a:gd name="T9" fmla="*/ 0 h 62"/>
              </a:gdLst>
              <a:ahLst/>
              <a:cxnLst>
                <a:cxn ang="0">
                  <a:pos x="T0" y="T1"/>
                </a:cxn>
                <a:cxn ang="0">
                  <a:pos x="T2" y="T3"/>
                </a:cxn>
                <a:cxn ang="0">
                  <a:pos x="T4" y="T5"/>
                </a:cxn>
                <a:cxn ang="0">
                  <a:pos x="T6" y="T7"/>
                </a:cxn>
                <a:cxn ang="0">
                  <a:pos x="T8" y="T9"/>
                </a:cxn>
              </a:cxnLst>
              <a:rect l="0" t="0" r="r" b="b"/>
              <a:pathLst>
                <a:path w="36" h="62">
                  <a:moveTo>
                    <a:pt x="0" y="0"/>
                  </a:moveTo>
                  <a:lnTo>
                    <a:pt x="8" y="37"/>
                  </a:lnTo>
                  <a:lnTo>
                    <a:pt x="19" y="25"/>
                  </a:lnTo>
                  <a:lnTo>
                    <a:pt x="36" y="62"/>
                  </a:lnTo>
                  <a:lnTo>
                    <a:pt x="0" y="0"/>
                  </a:lnTo>
                  <a:close/>
                </a:path>
              </a:pathLst>
            </a:custGeom>
            <a:solidFill>
              <a:srgbClr val="5959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519" name="Freeform 1290"/>
            <p:cNvSpPr>
              <a:spLocks/>
            </p:cNvSpPr>
            <p:nvPr/>
          </p:nvSpPr>
          <p:spPr bwMode="auto">
            <a:xfrm>
              <a:off x="7516813" y="4997451"/>
              <a:ext cx="57150" cy="98425"/>
            </a:xfrm>
            <a:custGeom>
              <a:avLst/>
              <a:gdLst>
                <a:gd name="T0" fmla="*/ 0 w 36"/>
                <a:gd name="T1" fmla="*/ 0 h 62"/>
                <a:gd name="T2" fmla="*/ 8 w 36"/>
                <a:gd name="T3" fmla="*/ 37 h 62"/>
                <a:gd name="T4" fmla="*/ 19 w 36"/>
                <a:gd name="T5" fmla="*/ 25 h 62"/>
                <a:gd name="T6" fmla="*/ 36 w 36"/>
                <a:gd name="T7" fmla="*/ 62 h 62"/>
                <a:gd name="T8" fmla="*/ 0 w 36"/>
                <a:gd name="T9" fmla="*/ 0 h 62"/>
              </a:gdLst>
              <a:ahLst/>
              <a:cxnLst>
                <a:cxn ang="0">
                  <a:pos x="T0" y="T1"/>
                </a:cxn>
                <a:cxn ang="0">
                  <a:pos x="T2" y="T3"/>
                </a:cxn>
                <a:cxn ang="0">
                  <a:pos x="T4" y="T5"/>
                </a:cxn>
                <a:cxn ang="0">
                  <a:pos x="T6" y="T7"/>
                </a:cxn>
                <a:cxn ang="0">
                  <a:pos x="T8" y="T9"/>
                </a:cxn>
              </a:cxnLst>
              <a:rect l="0" t="0" r="r" b="b"/>
              <a:pathLst>
                <a:path w="36" h="62">
                  <a:moveTo>
                    <a:pt x="0" y="0"/>
                  </a:moveTo>
                  <a:lnTo>
                    <a:pt x="8" y="37"/>
                  </a:lnTo>
                  <a:lnTo>
                    <a:pt x="19" y="25"/>
                  </a:lnTo>
                  <a:lnTo>
                    <a:pt x="36" y="62"/>
                  </a:lnTo>
                  <a:lnTo>
                    <a:pt x="0" y="0"/>
                  </a:lnTo>
                  <a:close/>
                </a:path>
              </a:pathLst>
            </a:custGeom>
            <a:solidFill>
              <a:srgbClr val="5959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520" name="Freeform 1291"/>
            <p:cNvSpPr>
              <a:spLocks/>
            </p:cNvSpPr>
            <p:nvPr/>
          </p:nvSpPr>
          <p:spPr bwMode="auto">
            <a:xfrm>
              <a:off x="7697788" y="5059363"/>
              <a:ext cx="87313" cy="73025"/>
            </a:xfrm>
            <a:custGeom>
              <a:avLst/>
              <a:gdLst>
                <a:gd name="T0" fmla="*/ 55 w 55"/>
                <a:gd name="T1" fmla="*/ 46 h 46"/>
                <a:gd name="T2" fmla="*/ 36 w 55"/>
                <a:gd name="T3" fmla="*/ 14 h 46"/>
                <a:gd name="T4" fmla="*/ 29 w 55"/>
                <a:gd name="T5" fmla="*/ 29 h 46"/>
                <a:gd name="T6" fmla="*/ 0 w 55"/>
                <a:gd name="T7" fmla="*/ 0 h 46"/>
                <a:gd name="T8" fmla="*/ 55 w 55"/>
                <a:gd name="T9" fmla="*/ 46 h 46"/>
              </a:gdLst>
              <a:ahLst/>
              <a:cxnLst>
                <a:cxn ang="0">
                  <a:pos x="T0" y="T1"/>
                </a:cxn>
                <a:cxn ang="0">
                  <a:pos x="T2" y="T3"/>
                </a:cxn>
                <a:cxn ang="0">
                  <a:pos x="T4" y="T5"/>
                </a:cxn>
                <a:cxn ang="0">
                  <a:pos x="T6" y="T7"/>
                </a:cxn>
                <a:cxn ang="0">
                  <a:pos x="T8" y="T9"/>
                </a:cxn>
              </a:cxnLst>
              <a:rect l="0" t="0" r="r" b="b"/>
              <a:pathLst>
                <a:path w="55" h="46">
                  <a:moveTo>
                    <a:pt x="55" y="46"/>
                  </a:moveTo>
                  <a:lnTo>
                    <a:pt x="36" y="14"/>
                  </a:lnTo>
                  <a:lnTo>
                    <a:pt x="29" y="29"/>
                  </a:lnTo>
                  <a:lnTo>
                    <a:pt x="0" y="0"/>
                  </a:lnTo>
                  <a:lnTo>
                    <a:pt x="55" y="46"/>
                  </a:lnTo>
                  <a:close/>
                </a:path>
              </a:pathLst>
            </a:custGeom>
            <a:solidFill>
              <a:srgbClr val="5959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521" name="Freeform 1292"/>
            <p:cNvSpPr>
              <a:spLocks/>
            </p:cNvSpPr>
            <p:nvPr/>
          </p:nvSpPr>
          <p:spPr bwMode="auto">
            <a:xfrm>
              <a:off x="7402513" y="5008563"/>
              <a:ext cx="44450" cy="82550"/>
            </a:xfrm>
            <a:custGeom>
              <a:avLst/>
              <a:gdLst>
                <a:gd name="T0" fmla="*/ 20 w 28"/>
                <a:gd name="T1" fmla="*/ 0 h 52"/>
                <a:gd name="T2" fmla="*/ 0 w 28"/>
                <a:gd name="T3" fmla="*/ 25 h 52"/>
                <a:gd name="T4" fmla="*/ 15 w 28"/>
                <a:gd name="T5" fmla="*/ 20 h 52"/>
                <a:gd name="T6" fmla="*/ 7 w 28"/>
                <a:gd name="T7" fmla="*/ 52 h 52"/>
                <a:gd name="T8" fmla="*/ 28 w 28"/>
                <a:gd name="T9" fmla="*/ 12 h 52"/>
                <a:gd name="T10" fmla="*/ 15 w 28"/>
                <a:gd name="T11" fmla="*/ 15 h 52"/>
                <a:gd name="T12" fmla="*/ 20 w 28"/>
                <a:gd name="T13" fmla="*/ 0 h 52"/>
              </a:gdLst>
              <a:ahLst/>
              <a:cxnLst>
                <a:cxn ang="0">
                  <a:pos x="T0" y="T1"/>
                </a:cxn>
                <a:cxn ang="0">
                  <a:pos x="T2" y="T3"/>
                </a:cxn>
                <a:cxn ang="0">
                  <a:pos x="T4" y="T5"/>
                </a:cxn>
                <a:cxn ang="0">
                  <a:pos x="T6" y="T7"/>
                </a:cxn>
                <a:cxn ang="0">
                  <a:pos x="T8" y="T9"/>
                </a:cxn>
                <a:cxn ang="0">
                  <a:pos x="T10" y="T11"/>
                </a:cxn>
                <a:cxn ang="0">
                  <a:pos x="T12" y="T13"/>
                </a:cxn>
              </a:cxnLst>
              <a:rect l="0" t="0" r="r" b="b"/>
              <a:pathLst>
                <a:path w="28" h="52">
                  <a:moveTo>
                    <a:pt x="20" y="0"/>
                  </a:moveTo>
                  <a:lnTo>
                    <a:pt x="0" y="25"/>
                  </a:lnTo>
                  <a:lnTo>
                    <a:pt x="15" y="20"/>
                  </a:lnTo>
                  <a:lnTo>
                    <a:pt x="7" y="52"/>
                  </a:lnTo>
                  <a:lnTo>
                    <a:pt x="28" y="12"/>
                  </a:lnTo>
                  <a:lnTo>
                    <a:pt x="15" y="15"/>
                  </a:lnTo>
                  <a:lnTo>
                    <a:pt x="20" y="0"/>
                  </a:lnTo>
                  <a:close/>
                </a:path>
              </a:pathLst>
            </a:custGeom>
            <a:solidFill>
              <a:srgbClr val="5959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522" name="Freeform 1293"/>
            <p:cNvSpPr>
              <a:spLocks/>
            </p:cNvSpPr>
            <p:nvPr/>
          </p:nvSpPr>
          <p:spPr bwMode="auto">
            <a:xfrm>
              <a:off x="7451725" y="5176838"/>
              <a:ext cx="42863" cy="82550"/>
            </a:xfrm>
            <a:custGeom>
              <a:avLst/>
              <a:gdLst>
                <a:gd name="T0" fmla="*/ 20 w 27"/>
                <a:gd name="T1" fmla="*/ 0 h 52"/>
                <a:gd name="T2" fmla="*/ 0 w 27"/>
                <a:gd name="T3" fmla="*/ 25 h 52"/>
                <a:gd name="T4" fmla="*/ 15 w 27"/>
                <a:gd name="T5" fmla="*/ 21 h 52"/>
                <a:gd name="T6" fmla="*/ 7 w 27"/>
                <a:gd name="T7" fmla="*/ 52 h 52"/>
                <a:gd name="T8" fmla="*/ 27 w 27"/>
                <a:gd name="T9" fmla="*/ 13 h 52"/>
                <a:gd name="T10" fmla="*/ 15 w 27"/>
                <a:gd name="T11" fmla="*/ 15 h 52"/>
                <a:gd name="T12" fmla="*/ 20 w 27"/>
                <a:gd name="T13" fmla="*/ 0 h 52"/>
              </a:gdLst>
              <a:ahLst/>
              <a:cxnLst>
                <a:cxn ang="0">
                  <a:pos x="T0" y="T1"/>
                </a:cxn>
                <a:cxn ang="0">
                  <a:pos x="T2" y="T3"/>
                </a:cxn>
                <a:cxn ang="0">
                  <a:pos x="T4" y="T5"/>
                </a:cxn>
                <a:cxn ang="0">
                  <a:pos x="T6" y="T7"/>
                </a:cxn>
                <a:cxn ang="0">
                  <a:pos x="T8" y="T9"/>
                </a:cxn>
                <a:cxn ang="0">
                  <a:pos x="T10" y="T11"/>
                </a:cxn>
                <a:cxn ang="0">
                  <a:pos x="T12" y="T13"/>
                </a:cxn>
              </a:cxnLst>
              <a:rect l="0" t="0" r="r" b="b"/>
              <a:pathLst>
                <a:path w="27" h="52">
                  <a:moveTo>
                    <a:pt x="20" y="0"/>
                  </a:moveTo>
                  <a:lnTo>
                    <a:pt x="0" y="25"/>
                  </a:lnTo>
                  <a:lnTo>
                    <a:pt x="15" y="21"/>
                  </a:lnTo>
                  <a:lnTo>
                    <a:pt x="7" y="52"/>
                  </a:lnTo>
                  <a:lnTo>
                    <a:pt x="27" y="13"/>
                  </a:lnTo>
                  <a:lnTo>
                    <a:pt x="15" y="15"/>
                  </a:lnTo>
                  <a:lnTo>
                    <a:pt x="20" y="0"/>
                  </a:lnTo>
                  <a:close/>
                </a:path>
              </a:pathLst>
            </a:custGeom>
            <a:solidFill>
              <a:srgbClr val="5959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523" name="Freeform 1294"/>
            <p:cNvSpPr>
              <a:spLocks/>
            </p:cNvSpPr>
            <p:nvPr/>
          </p:nvSpPr>
          <p:spPr bwMode="auto">
            <a:xfrm>
              <a:off x="8693150" y="5132388"/>
              <a:ext cx="42863" cy="82550"/>
            </a:xfrm>
            <a:custGeom>
              <a:avLst/>
              <a:gdLst>
                <a:gd name="T0" fmla="*/ 19 w 27"/>
                <a:gd name="T1" fmla="*/ 0 h 52"/>
                <a:gd name="T2" fmla="*/ 0 w 27"/>
                <a:gd name="T3" fmla="*/ 25 h 52"/>
                <a:gd name="T4" fmla="*/ 15 w 27"/>
                <a:gd name="T5" fmla="*/ 20 h 52"/>
                <a:gd name="T6" fmla="*/ 7 w 27"/>
                <a:gd name="T7" fmla="*/ 52 h 52"/>
                <a:gd name="T8" fmla="*/ 27 w 27"/>
                <a:gd name="T9" fmla="*/ 12 h 52"/>
                <a:gd name="T10" fmla="*/ 14 w 27"/>
                <a:gd name="T11" fmla="*/ 15 h 52"/>
                <a:gd name="T12" fmla="*/ 19 w 27"/>
                <a:gd name="T13" fmla="*/ 0 h 52"/>
              </a:gdLst>
              <a:ahLst/>
              <a:cxnLst>
                <a:cxn ang="0">
                  <a:pos x="T0" y="T1"/>
                </a:cxn>
                <a:cxn ang="0">
                  <a:pos x="T2" y="T3"/>
                </a:cxn>
                <a:cxn ang="0">
                  <a:pos x="T4" y="T5"/>
                </a:cxn>
                <a:cxn ang="0">
                  <a:pos x="T6" y="T7"/>
                </a:cxn>
                <a:cxn ang="0">
                  <a:pos x="T8" y="T9"/>
                </a:cxn>
                <a:cxn ang="0">
                  <a:pos x="T10" y="T11"/>
                </a:cxn>
                <a:cxn ang="0">
                  <a:pos x="T12" y="T13"/>
                </a:cxn>
              </a:cxnLst>
              <a:rect l="0" t="0" r="r" b="b"/>
              <a:pathLst>
                <a:path w="27" h="52">
                  <a:moveTo>
                    <a:pt x="19" y="0"/>
                  </a:moveTo>
                  <a:lnTo>
                    <a:pt x="0" y="25"/>
                  </a:lnTo>
                  <a:lnTo>
                    <a:pt x="15" y="20"/>
                  </a:lnTo>
                  <a:lnTo>
                    <a:pt x="7" y="52"/>
                  </a:lnTo>
                  <a:lnTo>
                    <a:pt x="27" y="12"/>
                  </a:lnTo>
                  <a:lnTo>
                    <a:pt x="14" y="15"/>
                  </a:lnTo>
                  <a:lnTo>
                    <a:pt x="19" y="0"/>
                  </a:lnTo>
                  <a:close/>
                </a:path>
              </a:pathLst>
            </a:custGeom>
            <a:solidFill>
              <a:srgbClr val="5959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524" name="Freeform 1295"/>
            <p:cNvSpPr>
              <a:spLocks/>
            </p:cNvSpPr>
            <p:nvPr/>
          </p:nvSpPr>
          <p:spPr bwMode="auto">
            <a:xfrm>
              <a:off x="9834563" y="5108576"/>
              <a:ext cx="44450" cy="82550"/>
            </a:xfrm>
            <a:custGeom>
              <a:avLst/>
              <a:gdLst>
                <a:gd name="T0" fmla="*/ 21 w 28"/>
                <a:gd name="T1" fmla="*/ 0 h 52"/>
                <a:gd name="T2" fmla="*/ 0 w 28"/>
                <a:gd name="T3" fmla="*/ 25 h 52"/>
                <a:gd name="T4" fmla="*/ 16 w 28"/>
                <a:gd name="T5" fmla="*/ 20 h 52"/>
                <a:gd name="T6" fmla="*/ 8 w 28"/>
                <a:gd name="T7" fmla="*/ 52 h 52"/>
                <a:gd name="T8" fmla="*/ 28 w 28"/>
                <a:gd name="T9" fmla="*/ 12 h 52"/>
                <a:gd name="T10" fmla="*/ 15 w 28"/>
                <a:gd name="T11" fmla="*/ 15 h 52"/>
                <a:gd name="T12" fmla="*/ 21 w 28"/>
                <a:gd name="T13" fmla="*/ 0 h 52"/>
              </a:gdLst>
              <a:ahLst/>
              <a:cxnLst>
                <a:cxn ang="0">
                  <a:pos x="T0" y="T1"/>
                </a:cxn>
                <a:cxn ang="0">
                  <a:pos x="T2" y="T3"/>
                </a:cxn>
                <a:cxn ang="0">
                  <a:pos x="T4" y="T5"/>
                </a:cxn>
                <a:cxn ang="0">
                  <a:pos x="T6" y="T7"/>
                </a:cxn>
                <a:cxn ang="0">
                  <a:pos x="T8" y="T9"/>
                </a:cxn>
                <a:cxn ang="0">
                  <a:pos x="T10" y="T11"/>
                </a:cxn>
                <a:cxn ang="0">
                  <a:pos x="T12" y="T13"/>
                </a:cxn>
              </a:cxnLst>
              <a:rect l="0" t="0" r="r" b="b"/>
              <a:pathLst>
                <a:path w="28" h="52">
                  <a:moveTo>
                    <a:pt x="21" y="0"/>
                  </a:moveTo>
                  <a:lnTo>
                    <a:pt x="0" y="25"/>
                  </a:lnTo>
                  <a:lnTo>
                    <a:pt x="16" y="20"/>
                  </a:lnTo>
                  <a:lnTo>
                    <a:pt x="8" y="52"/>
                  </a:lnTo>
                  <a:lnTo>
                    <a:pt x="28" y="12"/>
                  </a:lnTo>
                  <a:lnTo>
                    <a:pt x="15" y="15"/>
                  </a:lnTo>
                  <a:lnTo>
                    <a:pt x="21" y="0"/>
                  </a:lnTo>
                  <a:close/>
                </a:path>
              </a:pathLst>
            </a:custGeom>
            <a:solidFill>
              <a:srgbClr val="5959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525" name="Freeform 1296"/>
            <p:cNvSpPr>
              <a:spLocks/>
            </p:cNvSpPr>
            <p:nvPr/>
          </p:nvSpPr>
          <p:spPr bwMode="auto">
            <a:xfrm>
              <a:off x="6751638" y="5035551"/>
              <a:ext cx="44450" cy="80963"/>
            </a:xfrm>
            <a:custGeom>
              <a:avLst/>
              <a:gdLst>
                <a:gd name="T0" fmla="*/ 8 w 28"/>
                <a:gd name="T1" fmla="*/ 0 h 51"/>
                <a:gd name="T2" fmla="*/ 28 w 28"/>
                <a:gd name="T3" fmla="*/ 25 h 51"/>
                <a:gd name="T4" fmla="*/ 13 w 28"/>
                <a:gd name="T5" fmla="*/ 20 h 51"/>
                <a:gd name="T6" fmla="*/ 21 w 28"/>
                <a:gd name="T7" fmla="*/ 51 h 51"/>
                <a:gd name="T8" fmla="*/ 0 w 28"/>
                <a:gd name="T9" fmla="*/ 12 h 51"/>
                <a:gd name="T10" fmla="*/ 13 w 28"/>
                <a:gd name="T11" fmla="*/ 15 h 51"/>
                <a:gd name="T12" fmla="*/ 8 w 28"/>
                <a:gd name="T13" fmla="*/ 0 h 51"/>
              </a:gdLst>
              <a:ahLst/>
              <a:cxnLst>
                <a:cxn ang="0">
                  <a:pos x="T0" y="T1"/>
                </a:cxn>
                <a:cxn ang="0">
                  <a:pos x="T2" y="T3"/>
                </a:cxn>
                <a:cxn ang="0">
                  <a:pos x="T4" y="T5"/>
                </a:cxn>
                <a:cxn ang="0">
                  <a:pos x="T6" y="T7"/>
                </a:cxn>
                <a:cxn ang="0">
                  <a:pos x="T8" y="T9"/>
                </a:cxn>
                <a:cxn ang="0">
                  <a:pos x="T10" y="T11"/>
                </a:cxn>
                <a:cxn ang="0">
                  <a:pos x="T12" y="T13"/>
                </a:cxn>
              </a:cxnLst>
              <a:rect l="0" t="0" r="r" b="b"/>
              <a:pathLst>
                <a:path w="28" h="51">
                  <a:moveTo>
                    <a:pt x="8" y="0"/>
                  </a:moveTo>
                  <a:lnTo>
                    <a:pt x="28" y="25"/>
                  </a:lnTo>
                  <a:lnTo>
                    <a:pt x="13" y="20"/>
                  </a:lnTo>
                  <a:lnTo>
                    <a:pt x="21" y="51"/>
                  </a:lnTo>
                  <a:lnTo>
                    <a:pt x="0" y="12"/>
                  </a:lnTo>
                  <a:lnTo>
                    <a:pt x="13" y="15"/>
                  </a:lnTo>
                  <a:lnTo>
                    <a:pt x="8" y="0"/>
                  </a:lnTo>
                  <a:close/>
                </a:path>
              </a:pathLst>
            </a:custGeom>
            <a:solidFill>
              <a:srgbClr val="5959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526" name="Freeform 1297"/>
            <p:cNvSpPr>
              <a:spLocks/>
            </p:cNvSpPr>
            <p:nvPr/>
          </p:nvSpPr>
          <p:spPr bwMode="auto">
            <a:xfrm>
              <a:off x="6638925" y="5141913"/>
              <a:ext cx="46038" cy="80963"/>
            </a:xfrm>
            <a:custGeom>
              <a:avLst/>
              <a:gdLst>
                <a:gd name="T0" fmla="*/ 21 w 29"/>
                <a:gd name="T1" fmla="*/ 0 h 51"/>
                <a:gd name="T2" fmla="*/ 0 w 29"/>
                <a:gd name="T3" fmla="*/ 25 h 51"/>
                <a:gd name="T4" fmla="*/ 16 w 29"/>
                <a:gd name="T5" fmla="*/ 20 h 51"/>
                <a:gd name="T6" fmla="*/ 8 w 29"/>
                <a:gd name="T7" fmla="*/ 51 h 51"/>
                <a:gd name="T8" fmla="*/ 29 w 29"/>
                <a:gd name="T9" fmla="*/ 12 h 51"/>
                <a:gd name="T10" fmla="*/ 16 w 29"/>
                <a:gd name="T11" fmla="*/ 15 h 51"/>
                <a:gd name="T12" fmla="*/ 21 w 29"/>
                <a:gd name="T13" fmla="*/ 0 h 51"/>
              </a:gdLst>
              <a:ahLst/>
              <a:cxnLst>
                <a:cxn ang="0">
                  <a:pos x="T0" y="T1"/>
                </a:cxn>
                <a:cxn ang="0">
                  <a:pos x="T2" y="T3"/>
                </a:cxn>
                <a:cxn ang="0">
                  <a:pos x="T4" y="T5"/>
                </a:cxn>
                <a:cxn ang="0">
                  <a:pos x="T6" y="T7"/>
                </a:cxn>
                <a:cxn ang="0">
                  <a:pos x="T8" y="T9"/>
                </a:cxn>
                <a:cxn ang="0">
                  <a:pos x="T10" y="T11"/>
                </a:cxn>
                <a:cxn ang="0">
                  <a:pos x="T12" y="T13"/>
                </a:cxn>
              </a:cxnLst>
              <a:rect l="0" t="0" r="r" b="b"/>
              <a:pathLst>
                <a:path w="29" h="51">
                  <a:moveTo>
                    <a:pt x="21" y="0"/>
                  </a:moveTo>
                  <a:lnTo>
                    <a:pt x="0" y="25"/>
                  </a:lnTo>
                  <a:lnTo>
                    <a:pt x="16" y="20"/>
                  </a:lnTo>
                  <a:lnTo>
                    <a:pt x="8" y="51"/>
                  </a:lnTo>
                  <a:lnTo>
                    <a:pt x="29" y="12"/>
                  </a:lnTo>
                  <a:lnTo>
                    <a:pt x="16" y="15"/>
                  </a:lnTo>
                  <a:lnTo>
                    <a:pt x="21" y="0"/>
                  </a:lnTo>
                  <a:close/>
                </a:path>
              </a:pathLst>
            </a:custGeom>
            <a:solidFill>
              <a:srgbClr val="5959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527" name="Freeform 1298"/>
            <p:cNvSpPr>
              <a:spLocks/>
            </p:cNvSpPr>
            <p:nvPr/>
          </p:nvSpPr>
          <p:spPr bwMode="auto">
            <a:xfrm>
              <a:off x="7016750" y="5202238"/>
              <a:ext cx="42863" cy="82550"/>
            </a:xfrm>
            <a:custGeom>
              <a:avLst/>
              <a:gdLst>
                <a:gd name="T0" fmla="*/ 20 w 27"/>
                <a:gd name="T1" fmla="*/ 0 h 52"/>
                <a:gd name="T2" fmla="*/ 0 w 27"/>
                <a:gd name="T3" fmla="*/ 25 h 52"/>
                <a:gd name="T4" fmla="*/ 15 w 27"/>
                <a:gd name="T5" fmla="*/ 21 h 52"/>
                <a:gd name="T6" fmla="*/ 7 w 27"/>
                <a:gd name="T7" fmla="*/ 52 h 52"/>
                <a:gd name="T8" fmla="*/ 27 w 27"/>
                <a:gd name="T9" fmla="*/ 13 h 52"/>
                <a:gd name="T10" fmla="*/ 15 w 27"/>
                <a:gd name="T11" fmla="*/ 15 h 52"/>
                <a:gd name="T12" fmla="*/ 20 w 27"/>
                <a:gd name="T13" fmla="*/ 0 h 52"/>
              </a:gdLst>
              <a:ahLst/>
              <a:cxnLst>
                <a:cxn ang="0">
                  <a:pos x="T0" y="T1"/>
                </a:cxn>
                <a:cxn ang="0">
                  <a:pos x="T2" y="T3"/>
                </a:cxn>
                <a:cxn ang="0">
                  <a:pos x="T4" y="T5"/>
                </a:cxn>
                <a:cxn ang="0">
                  <a:pos x="T6" y="T7"/>
                </a:cxn>
                <a:cxn ang="0">
                  <a:pos x="T8" y="T9"/>
                </a:cxn>
                <a:cxn ang="0">
                  <a:pos x="T10" y="T11"/>
                </a:cxn>
                <a:cxn ang="0">
                  <a:pos x="T12" y="T13"/>
                </a:cxn>
              </a:cxnLst>
              <a:rect l="0" t="0" r="r" b="b"/>
              <a:pathLst>
                <a:path w="27" h="52">
                  <a:moveTo>
                    <a:pt x="20" y="0"/>
                  </a:moveTo>
                  <a:lnTo>
                    <a:pt x="0" y="25"/>
                  </a:lnTo>
                  <a:lnTo>
                    <a:pt x="15" y="21"/>
                  </a:lnTo>
                  <a:lnTo>
                    <a:pt x="7" y="52"/>
                  </a:lnTo>
                  <a:lnTo>
                    <a:pt x="27" y="13"/>
                  </a:lnTo>
                  <a:lnTo>
                    <a:pt x="15" y="15"/>
                  </a:lnTo>
                  <a:lnTo>
                    <a:pt x="20" y="0"/>
                  </a:lnTo>
                  <a:close/>
                </a:path>
              </a:pathLst>
            </a:custGeom>
            <a:solidFill>
              <a:srgbClr val="5959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528" name="Freeform 1299"/>
            <p:cNvSpPr>
              <a:spLocks/>
            </p:cNvSpPr>
            <p:nvPr/>
          </p:nvSpPr>
          <p:spPr bwMode="auto">
            <a:xfrm>
              <a:off x="6569075" y="5054601"/>
              <a:ext cx="57150" cy="98425"/>
            </a:xfrm>
            <a:custGeom>
              <a:avLst/>
              <a:gdLst>
                <a:gd name="T0" fmla="*/ 0 w 36"/>
                <a:gd name="T1" fmla="*/ 0 h 62"/>
                <a:gd name="T2" fmla="*/ 7 w 36"/>
                <a:gd name="T3" fmla="*/ 37 h 62"/>
                <a:gd name="T4" fmla="*/ 18 w 36"/>
                <a:gd name="T5" fmla="*/ 25 h 62"/>
                <a:gd name="T6" fmla="*/ 36 w 36"/>
                <a:gd name="T7" fmla="*/ 62 h 62"/>
                <a:gd name="T8" fmla="*/ 0 w 36"/>
                <a:gd name="T9" fmla="*/ 0 h 62"/>
              </a:gdLst>
              <a:ahLst/>
              <a:cxnLst>
                <a:cxn ang="0">
                  <a:pos x="T0" y="T1"/>
                </a:cxn>
                <a:cxn ang="0">
                  <a:pos x="T2" y="T3"/>
                </a:cxn>
                <a:cxn ang="0">
                  <a:pos x="T4" y="T5"/>
                </a:cxn>
                <a:cxn ang="0">
                  <a:pos x="T6" y="T7"/>
                </a:cxn>
                <a:cxn ang="0">
                  <a:pos x="T8" y="T9"/>
                </a:cxn>
              </a:cxnLst>
              <a:rect l="0" t="0" r="r" b="b"/>
              <a:pathLst>
                <a:path w="36" h="62">
                  <a:moveTo>
                    <a:pt x="0" y="0"/>
                  </a:moveTo>
                  <a:lnTo>
                    <a:pt x="7" y="37"/>
                  </a:lnTo>
                  <a:lnTo>
                    <a:pt x="18" y="25"/>
                  </a:lnTo>
                  <a:lnTo>
                    <a:pt x="36" y="62"/>
                  </a:lnTo>
                  <a:lnTo>
                    <a:pt x="0" y="0"/>
                  </a:lnTo>
                  <a:close/>
                </a:path>
              </a:pathLst>
            </a:custGeom>
            <a:solidFill>
              <a:srgbClr val="5959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529" name="Freeform 1300"/>
            <p:cNvSpPr>
              <a:spLocks/>
            </p:cNvSpPr>
            <p:nvPr/>
          </p:nvSpPr>
          <p:spPr bwMode="auto">
            <a:xfrm>
              <a:off x="6832600" y="5110163"/>
              <a:ext cx="87313" cy="71438"/>
            </a:xfrm>
            <a:custGeom>
              <a:avLst/>
              <a:gdLst>
                <a:gd name="T0" fmla="*/ 55 w 55"/>
                <a:gd name="T1" fmla="*/ 45 h 45"/>
                <a:gd name="T2" fmla="*/ 35 w 55"/>
                <a:gd name="T3" fmla="*/ 13 h 45"/>
                <a:gd name="T4" fmla="*/ 29 w 55"/>
                <a:gd name="T5" fmla="*/ 29 h 45"/>
                <a:gd name="T6" fmla="*/ 0 w 55"/>
                <a:gd name="T7" fmla="*/ 0 h 45"/>
                <a:gd name="T8" fmla="*/ 55 w 55"/>
                <a:gd name="T9" fmla="*/ 45 h 45"/>
              </a:gdLst>
              <a:ahLst/>
              <a:cxnLst>
                <a:cxn ang="0">
                  <a:pos x="T0" y="T1"/>
                </a:cxn>
                <a:cxn ang="0">
                  <a:pos x="T2" y="T3"/>
                </a:cxn>
                <a:cxn ang="0">
                  <a:pos x="T4" y="T5"/>
                </a:cxn>
                <a:cxn ang="0">
                  <a:pos x="T6" y="T7"/>
                </a:cxn>
                <a:cxn ang="0">
                  <a:pos x="T8" y="T9"/>
                </a:cxn>
              </a:cxnLst>
              <a:rect l="0" t="0" r="r" b="b"/>
              <a:pathLst>
                <a:path w="55" h="45">
                  <a:moveTo>
                    <a:pt x="55" y="45"/>
                  </a:moveTo>
                  <a:lnTo>
                    <a:pt x="35" y="13"/>
                  </a:lnTo>
                  <a:lnTo>
                    <a:pt x="29" y="29"/>
                  </a:lnTo>
                  <a:lnTo>
                    <a:pt x="0" y="0"/>
                  </a:lnTo>
                  <a:lnTo>
                    <a:pt x="55" y="45"/>
                  </a:lnTo>
                  <a:close/>
                </a:path>
              </a:pathLst>
            </a:custGeom>
            <a:solidFill>
              <a:srgbClr val="5959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530" name="Freeform 1301"/>
            <p:cNvSpPr>
              <a:spLocks/>
            </p:cNvSpPr>
            <p:nvPr/>
          </p:nvSpPr>
          <p:spPr bwMode="auto">
            <a:xfrm>
              <a:off x="7215188" y="5186363"/>
              <a:ext cx="55563" cy="100013"/>
            </a:xfrm>
            <a:custGeom>
              <a:avLst/>
              <a:gdLst>
                <a:gd name="T0" fmla="*/ 0 w 35"/>
                <a:gd name="T1" fmla="*/ 0 h 63"/>
                <a:gd name="T2" fmla="*/ 7 w 35"/>
                <a:gd name="T3" fmla="*/ 37 h 63"/>
                <a:gd name="T4" fmla="*/ 18 w 35"/>
                <a:gd name="T5" fmla="*/ 25 h 63"/>
                <a:gd name="T6" fmla="*/ 35 w 35"/>
                <a:gd name="T7" fmla="*/ 63 h 63"/>
                <a:gd name="T8" fmla="*/ 0 w 35"/>
                <a:gd name="T9" fmla="*/ 0 h 63"/>
              </a:gdLst>
              <a:ahLst/>
              <a:cxnLst>
                <a:cxn ang="0">
                  <a:pos x="T0" y="T1"/>
                </a:cxn>
                <a:cxn ang="0">
                  <a:pos x="T2" y="T3"/>
                </a:cxn>
                <a:cxn ang="0">
                  <a:pos x="T4" y="T5"/>
                </a:cxn>
                <a:cxn ang="0">
                  <a:pos x="T6" y="T7"/>
                </a:cxn>
                <a:cxn ang="0">
                  <a:pos x="T8" y="T9"/>
                </a:cxn>
              </a:cxnLst>
              <a:rect l="0" t="0" r="r" b="b"/>
              <a:pathLst>
                <a:path w="35" h="63">
                  <a:moveTo>
                    <a:pt x="0" y="0"/>
                  </a:moveTo>
                  <a:lnTo>
                    <a:pt x="7" y="37"/>
                  </a:lnTo>
                  <a:lnTo>
                    <a:pt x="18" y="25"/>
                  </a:lnTo>
                  <a:lnTo>
                    <a:pt x="35" y="63"/>
                  </a:lnTo>
                  <a:lnTo>
                    <a:pt x="0" y="0"/>
                  </a:lnTo>
                  <a:close/>
                </a:path>
              </a:pathLst>
            </a:custGeom>
            <a:solidFill>
              <a:srgbClr val="5959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531" name="Freeform 1302"/>
            <p:cNvSpPr>
              <a:spLocks/>
            </p:cNvSpPr>
            <p:nvPr/>
          </p:nvSpPr>
          <p:spPr bwMode="auto">
            <a:xfrm>
              <a:off x="7383463" y="5099051"/>
              <a:ext cx="42863" cy="82550"/>
            </a:xfrm>
            <a:custGeom>
              <a:avLst/>
              <a:gdLst>
                <a:gd name="T0" fmla="*/ 19 w 27"/>
                <a:gd name="T1" fmla="*/ 0 h 52"/>
                <a:gd name="T2" fmla="*/ 0 w 27"/>
                <a:gd name="T3" fmla="*/ 25 h 52"/>
                <a:gd name="T4" fmla="*/ 15 w 27"/>
                <a:gd name="T5" fmla="*/ 21 h 52"/>
                <a:gd name="T6" fmla="*/ 7 w 27"/>
                <a:gd name="T7" fmla="*/ 52 h 52"/>
                <a:gd name="T8" fmla="*/ 27 w 27"/>
                <a:gd name="T9" fmla="*/ 13 h 52"/>
                <a:gd name="T10" fmla="*/ 14 w 27"/>
                <a:gd name="T11" fmla="*/ 15 h 52"/>
                <a:gd name="T12" fmla="*/ 19 w 27"/>
                <a:gd name="T13" fmla="*/ 0 h 52"/>
              </a:gdLst>
              <a:ahLst/>
              <a:cxnLst>
                <a:cxn ang="0">
                  <a:pos x="T0" y="T1"/>
                </a:cxn>
                <a:cxn ang="0">
                  <a:pos x="T2" y="T3"/>
                </a:cxn>
                <a:cxn ang="0">
                  <a:pos x="T4" y="T5"/>
                </a:cxn>
                <a:cxn ang="0">
                  <a:pos x="T6" y="T7"/>
                </a:cxn>
                <a:cxn ang="0">
                  <a:pos x="T8" y="T9"/>
                </a:cxn>
                <a:cxn ang="0">
                  <a:pos x="T10" y="T11"/>
                </a:cxn>
                <a:cxn ang="0">
                  <a:pos x="T12" y="T13"/>
                </a:cxn>
              </a:cxnLst>
              <a:rect l="0" t="0" r="r" b="b"/>
              <a:pathLst>
                <a:path w="27" h="52">
                  <a:moveTo>
                    <a:pt x="19" y="0"/>
                  </a:moveTo>
                  <a:lnTo>
                    <a:pt x="0" y="25"/>
                  </a:lnTo>
                  <a:lnTo>
                    <a:pt x="15" y="21"/>
                  </a:lnTo>
                  <a:lnTo>
                    <a:pt x="7" y="52"/>
                  </a:lnTo>
                  <a:lnTo>
                    <a:pt x="27" y="13"/>
                  </a:lnTo>
                  <a:lnTo>
                    <a:pt x="14" y="15"/>
                  </a:lnTo>
                  <a:lnTo>
                    <a:pt x="19" y="0"/>
                  </a:lnTo>
                  <a:close/>
                </a:path>
              </a:pathLst>
            </a:custGeom>
            <a:solidFill>
              <a:srgbClr val="5959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532" name="Freeform 1303"/>
            <p:cNvSpPr>
              <a:spLocks/>
            </p:cNvSpPr>
            <p:nvPr/>
          </p:nvSpPr>
          <p:spPr bwMode="auto">
            <a:xfrm>
              <a:off x="7974013" y="5175251"/>
              <a:ext cx="42863" cy="82550"/>
            </a:xfrm>
            <a:custGeom>
              <a:avLst/>
              <a:gdLst>
                <a:gd name="T0" fmla="*/ 19 w 27"/>
                <a:gd name="T1" fmla="*/ 0 h 52"/>
                <a:gd name="T2" fmla="*/ 0 w 27"/>
                <a:gd name="T3" fmla="*/ 25 h 52"/>
                <a:gd name="T4" fmla="*/ 15 w 27"/>
                <a:gd name="T5" fmla="*/ 21 h 52"/>
                <a:gd name="T6" fmla="*/ 7 w 27"/>
                <a:gd name="T7" fmla="*/ 52 h 52"/>
                <a:gd name="T8" fmla="*/ 27 w 27"/>
                <a:gd name="T9" fmla="*/ 13 h 52"/>
                <a:gd name="T10" fmla="*/ 14 w 27"/>
                <a:gd name="T11" fmla="*/ 15 h 52"/>
                <a:gd name="T12" fmla="*/ 19 w 27"/>
                <a:gd name="T13" fmla="*/ 0 h 52"/>
              </a:gdLst>
              <a:ahLst/>
              <a:cxnLst>
                <a:cxn ang="0">
                  <a:pos x="T0" y="T1"/>
                </a:cxn>
                <a:cxn ang="0">
                  <a:pos x="T2" y="T3"/>
                </a:cxn>
                <a:cxn ang="0">
                  <a:pos x="T4" y="T5"/>
                </a:cxn>
                <a:cxn ang="0">
                  <a:pos x="T6" y="T7"/>
                </a:cxn>
                <a:cxn ang="0">
                  <a:pos x="T8" y="T9"/>
                </a:cxn>
                <a:cxn ang="0">
                  <a:pos x="T10" y="T11"/>
                </a:cxn>
                <a:cxn ang="0">
                  <a:pos x="T12" y="T13"/>
                </a:cxn>
              </a:cxnLst>
              <a:rect l="0" t="0" r="r" b="b"/>
              <a:pathLst>
                <a:path w="27" h="52">
                  <a:moveTo>
                    <a:pt x="19" y="0"/>
                  </a:moveTo>
                  <a:lnTo>
                    <a:pt x="0" y="25"/>
                  </a:lnTo>
                  <a:lnTo>
                    <a:pt x="15" y="21"/>
                  </a:lnTo>
                  <a:lnTo>
                    <a:pt x="7" y="52"/>
                  </a:lnTo>
                  <a:lnTo>
                    <a:pt x="27" y="13"/>
                  </a:lnTo>
                  <a:lnTo>
                    <a:pt x="14" y="15"/>
                  </a:lnTo>
                  <a:lnTo>
                    <a:pt x="19" y="0"/>
                  </a:lnTo>
                  <a:close/>
                </a:path>
              </a:pathLst>
            </a:custGeom>
            <a:solidFill>
              <a:srgbClr val="5959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533" name="Freeform 1304"/>
            <p:cNvSpPr>
              <a:spLocks/>
            </p:cNvSpPr>
            <p:nvPr/>
          </p:nvSpPr>
          <p:spPr bwMode="auto">
            <a:xfrm>
              <a:off x="9005888" y="5180013"/>
              <a:ext cx="44450" cy="82550"/>
            </a:xfrm>
            <a:custGeom>
              <a:avLst/>
              <a:gdLst>
                <a:gd name="T0" fmla="*/ 20 w 28"/>
                <a:gd name="T1" fmla="*/ 0 h 52"/>
                <a:gd name="T2" fmla="*/ 0 w 28"/>
                <a:gd name="T3" fmla="*/ 25 h 52"/>
                <a:gd name="T4" fmla="*/ 15 w 28"/>
                <a:gd name="T5" fmla="*/ 20 h 52"/>
                <a:gd name="T6" fmla="*/ 8 w 28"/>
                <a:gd name="T7" fmla="*/ 52 h 52"/>
                <a:gd name="T8" fmla="*/ 28 w 28"/>
                <a:gd name="T9" fmla="*/ 12 h 52"/>
                <a:gd name="T10" fmla="*/ 15 w 28"/>
                <a:gd name="T11" fmla="*/ 15 h 52"/>
                <a:gd name="T12" fmla="*/ 20 w 28"/>
                <a:gd name="T13" fmla="*/ 0 h 52"/>
              </a:gdLst>
              <a:ahLst/>
              <a:cxnLst>
                <a:cxn ang="0">
                  <a:pos x="T0" y="T1"/>
                </a:cxn>
                <a:cxn ang="0">
                  <a:pos x="T2" y="T3"/>
                </a:cxn>
                <a:cxn ang="0">
                  <a:pos x="T4" y="T5"/>
                </a:cxn>
                <a:cxn ang="0">
                  <a:pos x="T6" y="T7"/>
                </a:cxn>
                <a:cxn ang="0">
                  <a:pos x="T8" y="T9"/>
                </a:cxn>
                <a:cxn ang="0">
                  <a:pos x="T10" y="T11"/>
                </a:cxn>
                <a:cxn ang="0">
                  <a:pos x="T12" y="T13"/>
                </a:cxn>
              </a:cxnLst>
              <a:rect l="0" t="0" r="r" b="b"/>
              <a:pathLst>
                <a:path w="28" h="52">
                  <a:moveTo>
                    <a:pt x="20" y="0"/>
                  </a:moveTo>
                  <a:lnTo>
                    <a:pt x="0" y="25"/>
                  </a:lnTo>
                  <a:lnTo>
                    <a:pt x="15" y="20"/>
                  </a:lnTo>
                  <a:lnTo>
                    <a:pt x="8" y="52"/>
                  </a:lnTo>
                  <a:lnTo>
                    <a:pt x="28" y="12"/>
                  </a:lnTo>
                  <a:lnTo>
                    <a:pt x="15" y="15"/>
                  </a:lnTo>
                  <a:lnTo>
                    <a:pt x="20" y="0"/>
                  </a:lnTo>
                  <a:close/>
                </a:path>
              </a:pathLst>
            </a:custGeom>
            <a:solidFill>
              <a:srgbClr val="5959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534" name="Freeform 1305"/>
            <p:cNvSpPr>
              <a:spLocks/>
            </p:cNvSpPr>
            <p:nvPr/>
          </p:nvSpPr>
          <p:spPr bwMode="auto">
            <a:xfrm>
              <a:off x="9344025" y="5189538"/>
              <a:ext cx="44450" cy="80963"/>
            </a:xfrm>
            <a:custGeom>
              <a:avLst/>
              <a:gdLst>
                <a:gd name="T0" fmla="*/ 8 w 28"/>
                <a:gd name="T1" fmla="*/ 0 h 51"/>
                <a:gd name="T2" fmla="*/ 28 w 28"/>
                <a:gd name="T3" fmla="*/ 25 h 51"/>
                <a:gd name="T4" fmla="*/ 13 w 28"/>
                <a:gd name="T5" fmla="*/ 20 h 51"/>
                <a:gd name="T6" fmla="*/ 21 w 28"/>
                <a:gd name="T7" fmla="*/ 51 h 51"/>
                <a:gd name="T8" fmla="*/ 0 w 28"/>
                <a:gd name="T9" fmla="*/ 12 h 51"/>
                <a:gd name="T10" fmla="*/ 13 w 28"/>
                <a:gd name="T11" fmla="*/ 15 h 51"/>
                <a:gd name="T12" fmla="*/ 8 w 28"/>
                <a:gd name="T13" fmla="*/ 0 h 51"/>
              </a:gdLst>
              <a:ahLst/>
              <a:cxnLst>
                <a:cxn ang="0">
                  <a:pos x="T0" y="T1"/>
                </a:cxn>
                <a:cxn ang="0">
                  <a:pos x="T2" y="T3"/>
                </a:cxn>
                <a:cxn ang="0">
                  <a:pos x="T4" y="T5"/>
                </a:cxn>
                <a:cxn ang="0">
                  <a:pos x="T6" y="T7"/>
                </a:cxn>
                <a:cxn ang="0">
                  <a:pos x="T8" y="T9"/>
                </a:cxn>
                <a:cxn ang="0">
                  <a:pos x="T10" y="T11"/>
                </a:cxn>
                <a:cxn ang="0">
                  <a:pos x="T12" y="T13"/>
                </a:cxn>
              </a:cxnLst>
              <a:rect l="0" t="0" r="r" b="b"/>
              <a:pathLst>
                <a:path w="28" h="51">
                  <a:moveTo>
                    <a:pt x="8" y="0"/>
                  </a:moveTo>
                  <a:lnTo>
                    <a:pt x="28" y="25"/>
                  </a:lnTo>
                  <a:lnTo>
                    <a:pt x="13" y="20"/>
                  </a:lnTo>
                  <a:lnTo>
                    <a:pt x="21" y="51"/>
                  </a:lnTo>
                  <a:lnTo>
                    <a:pt x="0" y="12"/>
                  </a:lnTo>
                  <a:lnTo>
                    <a:pt x="13" y="15"/>
                  </a:lnTo>
                  <a:lnTo>
                    <a:pt x="8" y="0"/>
                  </a:lnTo>
                  <a:close/>
                </a:path>
              </a:pathLst>
            </a:custGeom>
            <a:solidFill>
              <a:srgbClr val="5959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535" name="Freeform 1306"/>
            <p:cNvSpPr>
              <a:spLocks/>
            </p:cNvSpPr>
            <p:nvPr/>
          </p:nvSpPr>
          <p:spPr bwMode="auto">
            <a:xfrm>
              <a:off x="9598025" y="5181601"/>
              <a:ext cx="65088" cy="93663"/>
            </a:xfrm>
            <a:custGeom>
              <a:avLst/>
              <a:gdLst>
                <a:gd name="T0" fmla="*/ 41 w 41"/>
                <a:gd name="T1" fmla="*/ 0 h 59"/>
                <a:gd name="T2" fmla="*/ 31 w 41"/>
                <a:gd name="T3" fmla="*/ 36 h 59"/>
                <a:gd name="T4" fmla="*/ 21 w 41"/>
                <a:gd name="T5" fmla="*/ 23 h 59"/>
                <a:gd name="T6" fmla="*/ 0 w 41"/>
                <a:gd name="T7" fmla="*/ 59 h 59"/>
                <a:gd name="T8" fmla="*/ 41 w 41"/>
                <a:gd name="T9" fmla="*/ 0 h 59"/>
              </a:gdLst>
              <a:ahLst/>
              <a:cxnLst>
                <a:cxn ang="0">
                  <a:pos x="T0" y="T1"/>
                </a:cxn>
                <a:cxn ang="0">
                  <a:pos x="T2" y="T3"/>
                </a:cxn>
                <a:cxn ang="0">
                  <a:pos x="T4" y="T5"/>
                </a:cxn>
                <a:cxn ang="0">
                  <a:pos x="T6" y="T7"/>
                </a:cxn>
                <a:cxn ang="0">
                  <a:pos x="T8" y="T9"/>
                </a:cxn>
              </a:cxnLst>
              <a:rect l="0" t="0" r="r" b="b"/>
              <a:pathLst>
                <a:path w="41" h="59">
                  <a:moveTo>
                    <a:pt x="41" y="0"/>
                  </a:moveTo>
                  <a:lnTo>
                    <a:pt x="31" y="36"/>
                  </a:lnTo>
                  <a:lnTo>
                    <a:pt x="21" y="23"/>
                  </a:lnTo>
                  <a:lnTo>
                    <a:pt x="0" y="59"/>
                  </a:lnTo>
                  <a:lnTo>
                    <a:pt x="41" y="0"/>
                  </a:lnTo>
                  <a:close/>
                </a:path>
              </a:pathLst>
            </a:custGeom>
            <a:solidFill>
              <a:srgbClr val="5959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536" name="Freeform 1307"/>
            <p:cNvSpPr>
              <a:spLocks/>
            </p:cNvSpPr>
            <p:nvPr/>
          </p:nvSpPr>
          <p:spPr bwMode="auto">
            <a:xfrm>
              <a:off x="10648950" y="5072063"/>
              <a:ext cx="65088" cy="95250"/>
            </a:xfrm>
            <a:custGeom>
              <a:avLst/>
              <a:gdLst>
                <a:gd name="T0" fmla="*/ 41 w 41"/>
                <a:gd name="T1" fmla="*/ 0 h 60"/>
                <a:gd name="T2" fmla="*/ 31 w 41"/>
                <a:gd name="T3" fmla="*/ 36 h 60"/>
                <a:gd name="T4" fmla="*/ 21 w 41"/>
                <a:gd name="T5" fmla="*/ 23 h 60"/>
                <a:gd name="T6" fmla="*/ 0 w 41"/>
                <a:gd name="T7" fmla="*/ 60 h 60"/>
                <a:gd name="T8" fmla="*/ 41 w 41"/>
                <a:gd name="T9" fmla="*/ 0 h 60"/>
              </a:gdLst>
              <a:ahLst/>
              <a:cxnLst>
                <a:cxn ang="0">
                  <a:pos x="T0" y="T1"/>
                </a:cxn>
                <a:cxn ang="0">
                  <a:pos x="T2" y="T3"/>
                </a:cxn>
                <a:cxn ang="0">
                  <a:pos x="T4" y="T5"/>
                </a:cxn>
                <a:cxn ang="0">
                  <a:pos x="T6" y="T7"/>
                </a:cxn>
                <a:cxn ang="0">
                  <a:pos x="T8" y="T9"/>
                </a:cxn>
              </a:cxnLst>
              <a:rect l="0" t="0" r="r" b="b"/>
              <a:pathLst>
                <a:path w="41" h="60">
                  <a:moveTo>
                    <a:pt x="41" y="0"/>
                  </a:moveTo>
                  <a:lnTo>
                    <a:pt x="31" y="36"/>
                  </a:lnTo>
                  <a:lnTo>
                    <a:pt x="21" y="23"/>
                  </a:lnTo>
                  <a:lnTo>
                    <a:pt x="0" y="60"/>
                  </a:lnTo>
                  <a:lnTo>
                    <a:pt x="41" y="0"/>
                  </a:lnTo>
                  <a:close/>
                </a:path>
              </a:pathLst>
            </a:custGeom>
            <a:solidFill>
              <a:srgbClr val="5959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537" name="Freeform 1308"/>
            <p:cNvSpPr>
              <a:spLocks/>
            </p:cNvSpPr>
            <p:nvPr/>
          </p:nvSpPr>
          <p:spPr bwMode="auto">
            <a:xfrm>
              <a:off x="10909300" y="5005388"/>
              <a:ext cx="44450" cy="82550"/>
            </a:xfrm>
            <a:custGeom>
              <a:avLst/>
              <a:gdLst>
                <a:gd name="T0" fmla="*/ 8 w 28"/>
                <a:gd name="T1" fmla="*/ 0 h 52"/>
                <a:gd name="T2" fmla="*/ 28 w 28"/>
                <a:gd name="T3" fmla="*/ 25 h 52"/>
                <a:gd name="T4" fmla="*/ 13 w 28"/>
                <a:gd name="T5" fmla="*/ 20 h 52"/>
                <a:gd name="T6" fmla="*/ 21 w 28"/>
                <a:gd name="T7" fmla="*/ 52 h 52"/>
                <a:gd name="T8" fmla="*/ 0 w 28"/>
                <a:gd name="T9" fmla="*/ 12 h 52"/>
                <a:gd name="T10" fmla="*/ 13 w 28"/>
                <a:gd name="T11" fmla="*/ 15 h 52"/>
                <a:gd name="T12" fmla="*/ 8 w 28"/>
                <a:gd name="T13" fmla="*/ 0 h 52"/>
              </a:gdLst>
              <a:ahLst/>
              <a:cxnLst>
                <a:cxn ang="0">
                  <a:pos x="T0" y="T1"/>
                </a:cxn>
                <a:cxn ang="0">
                  <a:pos x="T2" y="T3"/>
                </a:cxn>
                <a:cxn ang="0">
                  <a:pos x="T4" y="T5"/>
                </a:cxn>
                <a:cxn ang="0">
                  <a:pos x="T6" y="T7"/>
                </a:cxn>
                <a:cxn ang="0">
                  <a:pos x="T8" y="T9"/>
                </a:cxn>
                <a:cxn ang="0">
                  <a:pos x="T10" y="T11"/>
                </a:cxn>
                <a:cxn ang="0">
                  <a:pos x="T12" y="T13"/>
                </a:cxn>
              </a:cxnLst>
              <a:rect l="0" t="0" r="r" b="b"/>
              <a:pathLst>
                <a:path w="28" h="52">
                  <a:moveTo>
                    <a:pt x="8" y="0"/>
                  </a:moveTo>
                  <a:lnTo>
                    <a:pt x="28" y="25"/>
                  </a:lnTo>
                  <a:lnTo>
                    <a:pt x="13" y="20"/>
                  </a:lnTo>
                  <a:lnTo>
                    <a:pt x="21" y="52"/>
                  </a:lnTo>
                  <a:lnTo>
                    <a:pt x="0" y="12"/>
                  </a:lnTo>
                  <a:lnTo>
                    <a:pt x="13" y="15"/>
                  </a:lnTo>
                  <a:lnTo>
                    <a:pt x="8" y="0"/>
                  </a:lnTo>
                  <a:close/>
                </a:path>
              </a:pathLst>
            </a:custGeom>
            <a:solidFill>
              <a:srgbClr val="5959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538" name="Freeform 1309"/>
            <p:cNvSpPr>
              <a:spLocks/>
            </p:cNvSpPr>
            <p:nvPr/>
          </p:nvSpPr>
          <p:spPr bwMode="auto">
            <a:xfrm>
              <a:off x="10171113" y="5046663"/>
              <a:ext cx="55563" cy="98425"/>
            </a:xfrm>
            <a:custGeom>
              <a:avLst/>
              <a:gdLst>
                <a:gd name="T0" fmla="*/ 35 w 35"/>
                <a:gd name="T1" fmla="*/ 0 h 62"/>
                <a:gd name="T2" fmla="*/ 28 w 35"/>
                <a:gd name="T3" fmla="*/ 37 h 62"/>
                <a:gd name="T4" fmla="*/ 17 w 35"/>
                <a:gd name="T5" fmla="*/ 25 h 62"/>
                <a:gd name="T6" fmla="*/ 0 w 35"/>
                <a:gd name="T7" fmla="*/ 62 h 62"/>
                <a:gd name="T8" fmla="*/ 35 w 35"/>
                <a:gd name="T9" fmla="*/ 0 h 62"/>
              </a:gdLst>
              <a:ahLst/>
              <a:cxnLst>
                <a:cxn ang="0">
                  <a:pos x="T0" y="T1"/>
                </a:cxn>
                <a:cxn ang="0">
                  <a:pos x="T2" y="T3"/>
                </a:cxn>
                <a:cxn ang="0">
                  <a:pos x="T4" y="T5"/>
                </a:cxn>
                <a:cxn ang="0">
                  <a:pos x="T6" y="T7"/>
                </a:cxn>
                <a:cxn ang="0">
                  <a:pos x="T8" y="T9"/>
                </a:cxn>
              </a:cxnLst>
              <a:rect l="0" t="0" r="r" b="b"/>
              <a:pathLst>
                <a:path w="35" h="62">
                  <a:moveTo>
                    <a:pt x="35" y="0"/>
                  </a:moveTo>
                  <a:lnTo>
                    <a:pt x="28" y="37"/>
                  </a:lnTo>
                  <a:lnTo>
                    <a:pt x="17" y="25"/>
                  </a:lnTo>
                  <a:lnTo>
                    <a:pt x="0" y="62"/>
                  </a:lnTo>
                  <a:lnTo>
                    <a:pt x="35" y="0"/>
                  </a:lnTo>
                  <a:close/>
                </a:path>
              </a:pathLst>
            </a:custGeom>
            <a:solidFill>
              <a:srgbClr val="5959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539" name="Freeform 1310"/>
            <p:cNvSpPr>
              <a:spLocks/>
            </p:cNvSpPr>
            <p:nvPr/>
          </p:nvSpPr>
          <p:spPr bwMode="auto">
            <a:xfrm>
              <a:off x="9739313" y="5010151"/>
              <a:ext cx="63500" cy="93663"/>
            </a:xfrm>
            <a:custGeom>
              <a:avLst/>
              <a:gdLst>
                <a:gd name="T0" fmla="*/ 0 w 40"/>
                <a:gd name="T1" fmla="*/ 0 h 59"/>
                <a:gd name="T2" fmla="*/ 10 w 40"/>
                <a:gd name="T3" fmla="*/ 36 h 59"/>
                <a:gd name="T4" fmla="*/ 20 w 40"/>
                <a:gd name="T5" fmla="*/ 23 h 59"/>
                <a:gd name="T6" fmla="*/ 40 w 40"/>
                <a:gd name="T7" fmla="*/ 59 h 59"/>
                <a:gd name="T8" fmla="*/ 0 w 40"/>
                <a:gd name="T9" fmla="*/ 0 h 59"/>
              </a:gdLst>
              <a:ahLst/>
              <a:cxnLst>
                <a:cxn ang="0">
                  <a:pos x="T0" y="T1"/>
                </a:cxn>
                <a:cxn ang="0">
                  <a:pos x="T2" y="T3"/>
                </a:cxn>
                <a:cxn ang="0">
                  <a:pos x="T4" y="T5"/>
                </a:cxn>
                <a:cxn ang="0">
                  <a:pos x="T6" y="T7"/>
                </a:cxn>
                <a:cxn ang="0">
                  <a:pos x="T8" y="T9"/>
                </a:cxn>
              </a:cxnLst>
              <a:rect l="0" t="0" r="r" b="b"/>
              <a:pathLst>
                <a:path w="40" h="59">
                  <a:moveTo>
                    <a:pt x="0" y="0"/>
                  </a:moveTo>
                  <a:lnTo>
                    <a:pt x="10" y="36"/>
                  </a:lnTo>
                  <a:lnTo>
                    <a:pt x="20" y="23"/>
                  </a:lnTo>
                  <a:lnTo>
                    <a:pt x="40" y="59"/>
                  </a:lnTo>
                  <a:lnTo>
                    <a:pt x="0" y="0"/>
                  </a:lnTo>
                  <a:close/>
                </a:path>
              </a:pathLst>
            </a:custGeom>
            <a:solidFill>
              <a:srgbClr val="5959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540" name="Freeform 1311"/>
            <p:cNvSpPr>
              <a:spLocks/>
            </p:cNvSpPr>
            <p:nvPr/>
          </p:nvSpPr>
          <p:spPr bwMode="auto">
            <a:xfrm>
              <a:off x="9947275" y="4999038"/>
              <a:ext cx="44450" cy="82550"/>
            </a:xfrm>
            <a:custGeom>
              <a:avLst/>
              <a:gdLst>
                <a:gd name="T0" fmla="*/ 20 w 28"/>
                <a:gd name="T1" fmla="*/ 52 h 52"/>
                <a:gd name="T2" fmla="*/ 0 w 28"/>
                <a:gd name="T3" fmla="*/ 27 h 52"/>
                <a:gd name="T4" fmla="*/ 15 w 28"/>
                <a:gd name="T5" fmla="*/ 32 h 52"/>
                <a:gd name="T6" fmla="*/ 7 w 28"/>
                <a:gd name="T7" fmla="*/ 0 h 52"/>
                <a:gd name="T8" fmla="*/ 28 w 28"/>
                <a:gd name="T9" fmla="*/ 40 h 52"/>
                <a:gd name="T10" fmla="*/ 15 w 28"/>
                <a:gd name="T11" fmla="*/ 37 h 52"/>
                <a:gd name="T12" fmla="*/ 20 w 28"/>
                <a:gd name="T13" fmla="*/ 52 h 52"/>
              </a:gdLst>
              <a:ahLst/>
              <a:cxnLst>
                <a:cxn ang="0">
                  <a:pos x="T0" y="T1"/>
                </a:cxn>
                <a:cxn ang="0">
                  <a:pos x="T2" y="T3"/>
                </a:cxn>
                <a:cxn ang="0">
                  <a:pos x="T4" y="T5"/>
                </a:cxn>
                <a:cxn ang="0">
                  <a:pos x="T6" y="T7"/>
                </a:cxn>
                <a:cxn ang="0">
                  <a:pos x="T8" y="T9"/>
                </a:cxn>
                <a:cxn ang="0">
                  <a:pos x="T10" y="T11"/>
                </a:cxn>
                <a:cxn ang="0">
                  <a:pos x="T12" y="T13"/>
                </a:cxn>
              </a:cxnLst>
              <a:rect l="0" t="0" r="r" b="b"/>
              <a:pathLst>
                <a:path w="28" h="52">
                  <a:moveTo>
                    <a:pt x="20" y="52"/>
                  </a:moveTo>
                  <a:lnTo>
                    <a:pt x="0" y="27"/>
                  </a:lnTo>
                  <a:lnTo>
                    <a:pt x="15" y="32"/>
                  </a:lnTo>
                  <a:lnTo>
                    <a:pt x="7" y="0"/>
                  </a:lnTo>
                  <a:lnTo>
                    <a:pt x="28" y="40"/>
                  </a:lnTo>
                  <a:lnTo>
                    <a:pt x="15" y="37"/>
                  </a:lnTo>
                  <a:lnTo>
                    <a:pt x="20" y="52"/>
                  </a:lnTo>
                  <a:close/>
                </a:path>
              </a:pathLst>
            </a:custGeom>
            <a:solidFill>
              <a:srgbClr val="5959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541" name="Freeform 1312"/>
            <p:cNvSpPr>
              <a:spLocks/>
            </p:cNvSpPr>
            <p:nvPr/>
          </p:nvSpPr>
          <p:spPr bwMode="auto">
            <a:xfrm>
              <a:off x="10347325" y="5191126"/>
              <a:ext cx="44450" cy="82550"/>
            </a:xfrm>
            <a:custGeom>
              <a:avLst/>
              <a:gdLst>
                <a:gd name="T0" fmla="*/ 21 w 28"/>
                <a:gd name="T1" fmla="*/ 0 h 52"/>
                <a:gd name="T2" fmla="*/ 0 w 28"/>
                <a:gd name="T3" fmla="*/ 26 h 52"/>
                <a:gd name="T4" fmla="*/ 16 w 28"/>
                <a:gd name="T5" fmla="*/ 21 h 52"/>
                <a:gd name="T6" fmla="*/ 8 w 28"/>
                <a:gd name="T7" fmla="*/ 52 h 52"/>
                <a:gd name="T8" fmla="*/ 28 w 28"/>
                <a:gd name="T9" fmla="*/ 13 h 52"/>
                <a:gd name="T10" fmla="*/ 15 w 28"/>
                <a:gd name="T11" fmla="*/ 16 h 52"/>
                <a:gd name="T12" fmla="*/ 21 w 28"/>
                <a:gd name="T13" fmla="*/ 0 h 52"/>
              </a:gdLst>
              <a:ahLst/>
              <a:cxnLst>
                <a:cxn ang="0">
                  <a:pos x="T0" y="T1"/>
                </a:cxn>
                <a:cxn ang="0">
                  <a:pos x="T2" y="T3"/>
                </a:cxn>
                <a:cxn ang="0">
                  <a:pos x="T4" y="T5"/>
                </a:cxn>
                <a:cxn ang="0">
                  <a:pos x="T6" y="T7"/>
                </a:cxn>
                <a:cxn ang="0">
                  <a:pos x="T8" y="T9"/>
                </a:cxn>
                <a:cxn ang="0">
                  <a:pos x="T10" y="T11"/>
                </a:cxn>
                <a:cxn ang="0">
                  <a:pos x="T12" y="T13"/>
                </a:cxn>
              </a:cxnLst>
              <a:rect l="0" t="0" r="r" b="b"/>
              <a:pathLst>
                <a:path w="28" h="52">
                  <a:moveTo>
                    <a:pt x="21" y="0"/>
                  </a:moveTo>
                  <a:lnTo>
                    <a:pt x="0" y="26"/>
                  </a:lnTo>
                  <a:lnTo>
                    <a:pt x="16" y="21"/>
                  </a:lnTo>
                  <a:lnTo>
                    <a:pt x="8" y="52"/>
                  </a:lnTo>
                  <a:lnTo>
                    <a:pt x="28" y="13"/>
                  </a:lnTo>
                  <a:lnTo>
                    <a:pt x="15" y="16"/>
                  </a:lnTo>
                  <a:lnTo>
                    <a:pt x="21" y="0"/>
                  </a:lnTo>
                  <a:close/>
                </a:path>
              </a:pathLst>
            </a:custGeom>
            <a:solidFill>
              <a:srgbClr val="5959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542" name="Freeform 1313"/>
            <p:cNvSpPr>
              <a:spLocks/>
            </p:cNvSpPr>
            <p:nvPr/>
          </p:nvSpPr>
          <p:spPr bwMode="auto">
            <a:xfrm>
              <a:off x="10620375" y="5184776"/>
              <a:ext cx="55563" cy="98425"/>
            </a:xfrm>
            <a:custGeom>
              <a:avLst/>
              <a:gdLst>
                <a:gd name="T0" fmla="*/ 35 w 35"/>
                <a:gd name="T1" fmla="*/ 0 h 62"/>
                <a:gd name="T2" fmla="*/ 28 w 35"/>
                <a:gd name="T3" fmla="*/ 36 h 62"/>
                <a:gd name="T4" fmla="*/ 17 w 35"/>
                <a:gd name="T5" fmla="*/ 24 h 62"/>
                <a:gd name="T6" fmla="*/ 0 w 35"/>
                <a:gd name="T7" fmla="*/ 62 h 62"/>
                <a:gd name="T8" fmla="*/ 35 w 35"/>
                <a:gd name="T9" fmla="*/ 0 h 62"/>
              </a:gdLst>
              <a:ahLst/>
              <a:cxnLst>
                <a:cxn ang="0">
                  <a:pos x="T0" y="T1"/>
                </a:cxn>
                <a:cxn ang="0">
                  <a:pos x="T2" y="T3"/>
                </a:cxn>
                <a:cxn ang="0">
                  <a:pos x="T4" y="T5"/>
                </a:cxn>
                <a:cxn ang="0">
                  <a:pos x="T6" y="T7"/>
                </a:cxn>
                <a:cxn ang="0">
                  <a:pos x="T8" y="T9"/>
                </a:cxn>
              </a:cxnLst>
              <a:rect l="0" t="0" r="r" b="b"/>
              <a:pathLst>
                <a:path w="35" h="62">
                  <a:moveTo>
                    <a:pt x="35" y="0"/>
                  </a:moveTo>
                  <a:lnTo>
                    <a:pt x="28" y="36"/>
                  </a:lnTo>
                  <a:lnTo>
                    <a:pt x="17" y="24"/>
                  </a:lnTo>
                  <a:lnTo>
                    <a:pt x="0" y="62"/>
                  </a:lnTo>
                  <a:lnTo>
                    <a:pt x="35" y="0"/>
                  </a:lnTo>
                  <a:close/>
                </a:path>
              </a:pathLst>
            </a:custGeom>
            <a:solidFill>
              <a:srgbClr val="5959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543" name="Freeform 1314"/>
            <p:cNvSpPr>
              <a:spLocks/>
            </p:cNvSpPr>
            <p:nvPr/>
          </p:nvSpPr>
          <p:spPr bwMode="auto">
            <a:xfrm>
              <a:off x="11207750" y="5091113"/>
              <a:ext cx="42863" cy="80963"/>
            </a:xfrm>
            <a:custGeom>
              <a:avLst/>
              <a:gdLst>
                <a:gd name="T0" fmla="*/ 20 w 27"/>
                <a:gd name="T1" fmla="*/ 0 h 51"/>
                <a:gd name="T2" fmla="*/ 0 w 27"/>
                <a:gd name="T3" fmla="*/ 25 h 51"/>
                <a:gd name="T4" fmla="*/ 15 w 27"/>
                <a:gd name="T5" fmla="*/ 20 h 51"/>
                <a:gd name="T6" fmla="*/ 7 w 27"/>
                <a:gd name="T7" fmla="*/ 51 h 51"/>
                <a:gd name="T8" fmla="*/ 27 w 27"/>
                <a:gd name="T9" fmla="*/ 12 h 51"/>
                <a:gd name="T10" fmla="*/ 14 w 27"/>
                <a:gd name="T11" fmla="*/ 15 h 51"/>
                <a:gd name="T12" fmla="*/ 20 w 27"/>
                <a:gd name="T13" fmla="*/ 0 h 51"/>
              </a:gdLst>
              <a:ahLst/>
              <a:cxnLst>
                <a:cxn ang="0">
                  <a:pos x="T0" y="T1"/>
                </a:cxn>
                <a:cxn ang="0">
                  <a:pos x="T2" y="T3"/>
                </a:cxn>
                <a:cxn ang="0">
                  <a:pos x="T4" y="T5"/>
                </a:cxn>
                <a:cxn ang="0">
                  <a:pos x="T6" y="T7"/>
                </a:cxn>
                <a:cxn ang="0">
                  <a:pos x="T8" y="T9"/>
                </a:cxn>
                <a:cxn ang="0">
                  <a:pos x="T10" y="T11"/>
                </a:cxn>
                <a:cxn ang="0">
                  <a:pos x="T12" y="T13"/>
                </a:cxn>
              </a:cxnLst>
              <a:rect l="0" t="0" r="r" b="b"/>
              <a:pathLst>
                <a:path w="27" h="51">
                  <a:moveTo>
                    <a:pt x="20" y="0"/>
                  </a:moveTo>
                  <a:lnTo>
                    <a:pt x="0" y="25"/>
                  </a:lnTo>
                  <a:lnTo>
                    <a:pt x="15" y="20"/>
                  </a:lnTo>
                  <a:lnTo>
                    <a:pt x="7" y="51"/>
                  </a:lnTo>
                  <a:lnTo>
                    <a:pt x="27" y="12"/>
                  </a:lnTo>
                  <a:lnTo>
                    <a:pt x="14" y="15"/>
                  </a:lnTo>
                  <a:lnTo>
                    <a:pt x="20" y="0"/>
                  </a:lnTo>
                  <a:close/>
                </a:path>
              </a:pathLst>
            </a:custGeom>
            <a:solidFill>
              <a:srgbClr val="5959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544" name="Freeform 1315"/>
            <p:cNvSpPr>
              <a:spLocks/>
            </p:cNvSpPr>
            <p:nvPr/>
          </p:nvSpPr>
          <p:spPr bwMode="auto">
            <a:xfrm>
              <a:off x="10898188" y="5132388"/>
              <a:ext cx="42863" cy="82550"/>
            </a:xfrm>
            <a:custGeom>
              <a:avLst/>
              <a:gdLst>
                <a:gd name="T0" fmla="*/ 20 w 27"/>
                <a:gd name="T1" fmla="*/ 0 h 52"/>
                <a:gd name="T2" fmla="*/ 0 w 27"/>
                <a:gd name="T3" fmla="*/ 25 h 52"/>
                <a:gd name="T4" fmla="*/ 15 w 27"/>
                <a:gd name="T5" fmla="*/ 20 h 52"/>
                <a:gd name="T6" fmla="*/ 7 w 27"/>
                <a:gd name="T7" fmla="*/ 52 h 52"/>
                <a:gd name="T8" fmla="*/ 27 w 27"/>
                <a:gd name="T9" fmla="*/ 12 h 52"/>
                <a:gd name="T10" fmla="*/ 14 w 27"/>
                <a:gd name="T11" fmla="*/ 15 h 52"/>
                <a:gd name="T12" fmla="*/ 20 w 27"/>
                <a:gd name="T13" fmla="*/ 0 h 52"/>
              </a:gdLst>
              <a:ahLst/>
              <a:cxnLst>
                <a:cxn ang="0">
                  <a:pos x="T0" y="T1"/>
                </a:cxn>
                <a:cxn ang="0">
                  <a:pos x="T2" y="T3"/>
                </a:cxn>
                <a:cxn ang="0">
                  <a:pos x="T4" y="T5"/>
                </a:cxn>
                <a:cxn ang="0">
                  <a:pos x="T6" y="T7"/>
                </a:cxn>
                <a:cxn ang="0">
                  <a:pos x="T8" y="T9"/>
                </a:cxn>
                <a:cxn ang="0">
                  <a:pos x="T10" y="T11"/>
                </a:cxn>
                <a:cxn ang="0">
                  <a:pos x="T12" y="T13"/>
                </a:cxn>
              </a:cxnLst>
              <a:rect l="0" t="0" r="r" b="b"/>
              <a:pathLst>
                <a:path w="27" h="52">
                  <a:moveTo>
                    <a:pt x="20" y="0"/>
                  </a:moveTo>
                  <a:lnTo>
                    <a:pt x="0" y="25"/>
                  </a:lnTo>
                  <a:lnTo>
                    <a:pt x="15" y="20"/>
                  </a:lnTo>
                  <a:lnTo>
                    <a:pt x="7" y="52"/>
                  </a:lnTo>
                  <a:lnTo>
                    <a:pt x="27" y="12"/>
                  </a:lnTo>
                  <a:lnTo>
                    <a:pt x="14" y="15"/>
                  </a:lnTo>
                  <a:lnTo>
                    <a:pt x="20" y="0"/>
                  </a:lnTo>
                  <a:close/>
                </a:path>
              </a:pathLst>
            </a:custGeom>
            <a:solidFill>
              <a:srgbClr val="5959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545" name="Freeform 1316"/>
            <p:cNvSpPr>
              <a:spLocks/>
            </p:cNvSpPr>
            <p:nvPr/>
          </p:nvSpPr>
          <p:spPr bwMode="auto">
            <a:xfrm>
              <a:off x="11383963" y="5184776"/>
              <a:ext cx="42863" cy="80963"/>
            </a:xfrm>
            <a:custGeom>
              <a:avLst/>
              <a:gdLst>
                <a:gd name="T0" fmla="*/ 7 w 27"/>
                <a:gd name="T1" fmla="*/ 0 h 51"/>
                <a:gd name="T2" fmla="*/ 27 w 27"/>
                <a:gd name="T3" fmla="*/ 25 h 51"/>
                <a:gd name="T4" fmla="*/ 12 w 27"/>
                <a:gd name="T5" fmla="*/ 20 h 51"/>
                <a:gd name="T6" fmla="*/ 20 w 27"/>
                <a:gd name="T7" fmla="*/ 51 h 51"/>
                <a:gd name="T8" fmla="*/ 0 w 27"/>
                <a:gd name="T9" fmla="*/ 12 h 51"/>
                <a:gd name="T10" fmla="*/ 13 w 27"/>
                <a:gd name="T11" fmla="*/ 15 h 51"/>
                <a:gd name="T12" fmla="*/ 7 w 27"/>
                <a:gd name="T13" fmla="*/ 0 h 51"/>
              </a:gdLst>
              <a:ahLst/>
              <a:cxnLst>
                <a:cxn ang="0">
                  <a:pos x="T0" y="T1"/>
                </a:cxn>
                <a:cxn ang="0">
                  <a:pos x="T2" y="T3"/>
                </a:cxn>
                <a:cxn ang="0">
                  <a:pos x="T4" y="T5"/>
                </a:cxn>
                <a:cxn ang="0">
                  <a:pos x="T6" y="T7"/>
                </a:cxn>
                <a:cxn ang="0">
                  <a:pos x="T8" y="T9"/>
                </a:cxn>
                <a:cxn ang="0">
                  <a:pos x="T10" y="T11"/>
                </a:cxn>
                <a:cxn ang="0">
                  <a:pos x="T12" y="T13"/>
                </a:cxn>
              </a:cxnLst>
              <a:rect l="0" t="0" r="r" b="b"/>
              <a:pathLst>
                <a:path w="27" h="51">
                  <a:moveTo>
                    <a:pt x="7" y="0"/>
                  </a:moveTo>
                  <a:lnTo>
                    <a:pt x="27" y="25"/>
                  </a:lnTo>
                  <a:lnTo>
                    <a:pt x="12" y="20"/>
                  </a:lnTo>
                  <a:lnTo>
                    <a:pt x="20" y="51"/>
                  </a:lnTo>
                  <a:lnTo>
                    <a:pt x="0" y="12"/>
                  </a:lnTo>
                  <a:lnTo>
                    <a:pt x="13" y="15"/>
                  </a:lnTo>
                  <a:lnTo>
                    <a:pt x="7" y="0"/>
                  </a:lnTo>
                  <a:close/>
                </a:path>
              </a:pathLst>
            </a:custGeom>
            <a:solidFill>
              <a:srgbClr val="5959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sp>
        <p:nvSpPr>
          <p:cNvPr id="1491" name="Freeform 1317"/>
          <p:cNvSpPr>
            <a:spLocks/>
          </p:cNvSpPr>
          <p:nvPr/>
        </p:nvSpPr>
        <p:spPr bwMode="auto">
          <a:xfrm>
            <a:off x="11686951" y="2336801"/>
            <a:ext cx="204788" cy="1773238"/>
          </a:xfrm>
          <a:custGeom>
            <a:avLst/>
            <a:gdLst>
              <a:gd name="T0" fmla="*/ 433 w 1096"/>
              <a:gd name="T1" fmla="*/ 0 h 9504"/>
              <a:gd name="T2" fmla="*/ 0 w 1096"/>
              <a:gd name="T3" fmla="*/ 0 h 9504"/>
              <a:gd name="T4" fmla="*/ 0 w 1096"/>
              <a:gd name="T5" fmla="*/ 206 h 9504"/>
              <a:gd name="T6" fmla="*/ 433 w 1096"/>
              <a:gd name="T7" fmla="*/ 206 h 9504"/>
              <a:gd name="T8" fmla="*/ 890 w 1096"/>
              <a:gd name="T9" fmla="*/ 660 h 9504"/>
              <a:gd name="T10" fmla="*/ 890 w 1096"/>
              <a:gd name="T11" fmla="*/ 9504 h 9504"/>
              <a:gd name="T12" fmla="*/ 1096 w 1096"/>
              <a:gd name="T13" fmla="*/ 9504 h 9504"/>
              <a:gd name="T14" fmla="*/ 1096 w 1096"/>
              <a:gd name="T15" fmla="*/ 660 h 9504"/>
              <a:gd name="T16" fmla="*/ 433 w 1096"/>
              <a:gd name="T17" fmla="*/ 0 h 9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96" h="9504">
                <a:moveTo>
                  <a:pt x="433" y="0"/>
                </a:moveTo>
                <a:lnTo>
                  <a:pt x="0" y="0"/>
                </a:lnTo>
                <a:lnTo>
                  <a:pt x="0" y="206"/>
                </a:lnTo>
                <a:lnTo>
                  <a:pt x="433" y="206"/>
                </a:lnTo>
                <a:cubicBezTo>
                  <a:pt x="686" y="206"/>
                  <a:pt x="890" y="409"/>
                  <a:pt x="890" y="660"/>
                </a:cubicBezTo>
                <a:lnTo>
                  <a:pt x="890" y="9504"/>
                </a:lnTo>
                <a:lnTo>
                  <a:pt x="1096" y="9504"/>
                </a:lnTo>
                <a:lnTo>
                  <a:pt x="1096" y="660"/>
                </a:lnTo>
                <a:cubicBezTo>
                  <a:pt x="1096" y="296"/>
                  <a:pt x="800" y="0"/>
                  <a:pt x="433" y="0"/>
                </a:cubicBezTo>
                <a:close/>
              </a:path>
            </a:pathLst>
          </a:custGeom>
          <a:solidFill>
            <a:srgbClr val="7F7F7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492" name="Freeform 1320"/>
          <p:cNvSpPr>
            <a:spLocks/>
          </p:cNvSpPr>
          <p:nvPr/>
        </p:nvSpPr>
        <p:spPr bwMode="auto">
          <a:xfrm>
            <a:off x="11409139" y="2324101"/>
            <a:ext cx="325438" cy="307975"/>
          </a:xfrm>
          <a:custGeom>
            <a:avLst/>
            <a:gdLst>
              <a:gd name="T0" fmla="*/ 1250 w 1748"/>
              <a:gd name="T1" fmla="*/ 171 h 1653"/>
              <a:gd name="T2" fmla="*/ 1454 w 1748"/>
              <a:gd name="T3" fmla="*/ 22 h 1653"/>
              <a:gd name="T4" fmla="*/ 1454 w 1748"/>
              <a:gd name="T5" fmla="*/ 22 h 1653"/>
              <a:gd name="T6" fmla="*/ 1641 w 1748"/>
              <a:gd name="T7" fmla="*/ 152 h 1653"/>
              <a:gd name="T8" fmla="*/ 1718 w 1748"/>
              <a:gd name="T9" fmla="*/ 369 h 1653"/>
              <a:gd name="T10" fmla="*/ 1514 w 1748"/>
              <a:gd name="T11" fmla="*/ 519 h 1653"/>
              <a:gd name="T12" fmla="*/ 1007 w 1748"/>
              <a:gd name="T13" fmla="*/ 1576 h 1653"/>
              <a:gd name="T14" fmla="*/ 367 w 1748"/>
              <a:gd name="T15" fmla="*/ 1123 h 1653"/>
              <a:gd name="T16" fmla="*/ 100 w 1748"/>
              <a:gd name="T17" fmla="*/ 389 h 1653"/>
              <a:gd name="T18" fmla="*/ 95 w 1748"/>
              <a:gd name="T19" fmla="*/ 384 h 1653"/>
              <a:gd name="T20" fmla="*/ 1250 w 1748"/>
              <a:gd name="T21" fmla="*/ 171 h 16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748" h="1653">
                <a:moveTo>
                  <a:pt x="1250" y="171"/>
                </a:moveTo>
                <a:cubicBezTo>
                  <a:pt x="1454" y="22"/>
                  <a:pt x="1454" y="22"/>
                  <a:pt x="1454" y="22"/>
                </a:cubicBezTo>
                <a:cubicBezTo>
                  <a:pt x="1454" y="22"/>
                  <a:pt x="1454" y="22"/>
                  <a:pt x="1454" y="22"/>
                </a:cubicBezTo>
                <a:cubicBezTo>
                  <a:pt x="1484" y="0"/>
                  <a:pt x="1569" y="57"/>
                  <a:pt x="1641" y="152"/>
                </a:cubicBezTo>
                <a:cubicBezTo>
                  <a:pt x="1712" y="246"/>
                  <a:pt x="1748" y="347"/>
                  <a:pt x="1718" y="369"/>
                </a:cubicBezTo>
                <a:cubicBezTo>
                  <a:pt x="1514" y="519"/>
                  <a:pt x="1514" y="519"/>
                  <a:pt x="1514" y="519"/>
                </a:cubicBezTo>
                <a:cubicBezTo>
                  <a:pt x="1514" y="519"/>
                  <a:pt x="1495" y="1201"/>
                  <a:pt x="1007" y="1576"/>
                </a:cubicBezTo>
                <a:cubicBezTo>
                  <a:pt x="898" y="1653"/>
                  <a:pt x="620" y="1451"/>
                  <a:pt x="367" y="1123"/>
                </a:cubicBezTo>
                <a:cubicBezTo>
                  <a:pt x="119" y="790"/>
                  <a:pt x="0" y="466"/>
                  <a:pt x="100" y="389"/>
                </a:cubicBezTo>
                <a:cubicBezTo>
                  <a:pt x="95" y="384"/>
                  <a:pt x="95" y="384"/>
                  <a:pt x="95" y="384"/>
                </a:cubicBezTo>
                <a:cubicBezTo>
                  <a:pt x="587" y="14"/>
                  <a:pt x="1250" y="171"/>
                  <a:pt x="1250" y="171"/>
                </a:cubicBezTo>
              </a:path>
            </a:pathLst>
          </a:custGeom>
          <a:solidFill>
            <a:srgbClr val="595959"/>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nvGrpSpPr>
          <p:cNvPr id="1493" name="Group 1338"/>
          <p:cNvGrpSpPr>
            <a:grpSpLocks/>
          </p:cNvGrpSpPr>
          <p:nvPr/>
        </p:nvGrpSpPr>
        <p:grpSpPr bwMode="auto">
          <a:xfrm>
            <a:off x="6992938" y="6013451"/>
            <a:ext cx="782638" cy="701675"/>
            <a:chOff x="3869" y="3788"/>
            <a:chExt cx="493" cy="442"/>
          </a:xfrm>
        </p:grpSpPr>
        <p:sp>
          <p:nvSpPr>
            <p:cNvPr id="1494" name="Freeform 1321"/>
            <p:cNvSpPr>
              <a:spLocks/>
            </p:cNvSpPr>
            <p:nvPr/>
          </p:nvSpPr>
          <p:spPr bwMode="auto">
            <a:xfrm>
              <a:off x="3874" y="4019"/>
              <a:ext cx="145" cy="109"/>
            </a:xfrm>
            <a:custGeom>
              <a:avLst/>
              <a:gdLst>
                <a:gd name="T0" fmla="*/ 264 w 310"/>
                <a:gd name="T1" fmla="*/ 123 h 232"/>
                <a:gd name="T2" fmla="*/ 310 w 310"/>
                <a:gd name="T3" fmla="*/ 0 h 232"/>
                <a:gd name="T4" fmla="*/ 86 w 310"/>
                <a:gd name="T5" fmla="*/ 0 h 232"/>
                <a:gd name="T6" fmla="*/ 0 w 310"/>
                <a:gd name="T7" fmla="*/ 88 h 232"/>
                <a:gd name="T8" fmla="*/ 0 w 310"/>
                <a:gd name="T9" fmla="*/ 184 h 232"/>
                <a:gd name="T10" fmla="*/ 48 w 310"/>
                <a:gd name="T11" fmla="*/ 232 h 232"/>
                <a:gd name="T12" fmla="*/ 62 w 310"/>
                <a:gd name="T13" fmla="*/ 232 h 232"/>
                <a:gd name="T14" fmla="*/ 78 w 310"/>
                <a:gd name="T15" fmla="*/ 232 h 232"/>
                <a:gd name="T16" fmla="*/ 136 w 310"/>
                <a:gd name="T17" fmla="*/ 174 h 232"/>
                <a:gd name="T18" fmla="*/ 62 w 310"/>
                <a:gd name="T19" fmla="*/ 174 h 232"/>
                <a:gd name="T20" fmla="*/ 62 w 310"/>
                <a:gd name="T21" fmla="*/ 83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10" h="232">
                  <a:moveTo>
                    <a:pt x="264" y="123"/>
                  </a:moveTo>
                  <a:cubicBezTo>
                    <a:pt x="310" y="0"/>
                    <a:pt x="310" y="0"/>
                    <a:pt x="310" y="0"/>
                  </a:cubicBezTo>
                  <a:cubicBezTo>
                    <a:pt x="86" y="0"/>
                    <a:pt x="86" y="0"/>
                    <a:pt x="86" y="0"/>
                  </a:cubicBezTo>
                  <a:cubicBezTo>
                    <a:pt x="40" y="0"/>
                    <a:pt x="0" y="40"/>
                    <a:pt x="0" y="88"/>
                  </a:cubicBezTo>
                  <a:cubicBezTo>
                    <a:pt x="0" y="184"/>
                    <a:pt x="0" y="184"/>
                    <a:pt x="0" y="184"/>
                  </a:cubicBezTo>
                  <a:cubicBezTo>
                    <a:pt x="22" y="195"/>
                    <a:pt x="38" y="211"/>
                    <a:pt x="48" y="232"/>
                  </a:cubicBezTo>
                  <a:cubicBezTo>
                    <a:pt x="62" y="232"/>
                    <a:pt x="62" y="232"/>
                    <a:pt x="62" y="232"/>
                  </a:cubicBezTo>
                  <a:cubicBezTo>
                    <a:pt x="78" y="232"/>
                    <a:pt x="78" y="232"/>
                    <a:pt x="78" y="232"/>
                  </a:cubicBezTo>
                  <a:cubicBezTo>
                    <a:pt x="110" y="232"/>
                    <a:pt x="136" y="206"/>
                    <a:pt x="136" y="174"/>
                  </a:cubicBezTo>
                  <a:cubicBezTo>
                    <a:pt x="62" y="174"/>
                    <a:pt x="62" y="174"/>
                    <a:pt x="62" y="174"/>
                  </a:cubicBezTo>
                  <a:cubicBezTo>
                    <a:pt x="62" y="83"/>
                    <a:pt x="62" y="83"/>
                    <a:pt x="62" y="83"/>
                  </a:cubicBezTo>
                </a:path>
              </a:pathLst>
            </a:custGeom>
            <a:solidFill>
              <a:srgbClr val="FF8C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495" name="Freeform 1322"/>
            <p:cNvSpPr>
              <a:spLocks/>
            </p:cNvSpPr>
            <p:nvPr/>
          </p:nvSpPr>
          <p:spPr bwMode="auto">
            <a:xfrm>
              <a:off x="4054" y="3975"/>
              <a:ext cx="218" cy="253"/>
            </a:xfrm>
            <a:custGeom>
              <a:avLst/>
              <a:gdLst>
                <a:gd name="T0" fmla="*/ 464 w 464"/>
                <a:gd name="T1" fmla="*/ 360 h 539"/>
                <a:gd name="T2" fmla="*/ 411 w 464"/>
                <a:gd name="T3" fmla="*/ 227 h 539"/>
                <a:gd name="T4" fmla="*/ 411 w 464"/>
                <a:gd name="T5" fmla="*/ 189 h 539"/>
                <a:gd name="T6" fmla="*/ 411 w 464"/>
                <a:gd name="T7" fmla="*/ 189 h 539"/>
                <a:gd name="T8" fmla="*/ 411 w 464"/>
                <a:gd name="T9" fmla="*/ 168 h 539"/>
                <a:gd name="T10" fmla="*/ 371 w 464"/>
                <a:gd name="T11" fmla="*/ 0 h 539"/>
                <a:gd name="T12" fmla="*/ 78 w 464"/>
                <a:gd name="T13" fmla="*/ 0 h 539"/>
                <a:gd name="T14" fmla="*/ 78 w 464"/>
                <a:gd name="T15" fmla="*/ 179 h 539"/>
                <a:gd name="T16" fmla="*/ 395 w 464"/>
                <a:gd name="T17" fmla="*/ 469 h 539"/>
                <a:gd name="T18" fmla="*/ 339 w 464"/>
                <a:gd name="T19" fmla="*/ 539 h 539"/>
                <a:gd name="T20" fmla="*/ 411 w 464"/>
                <a:gd name="T21" fmla="*/ 539 h 539"/>
                <a:gd name="T22" fmla="*/ 411 w 464"/>
                <a:gd name="T23" fmla="*/ 539 h 539"/>
                <a:gd name="T24" fmla="*/ 430 w 464"/>
                <a:gd name="T25" fmla="*/ 539 h 5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4" h="539">
                  <a:moveTo>
                    <a:pt x="464" y="360"/>
                  </a:moveTo>
                  <a:cubicBezTo>
                    <a:pt x="464" y="360"/>
                    <a:pt x="411" y="323"/>
                    <a:pt x="411" y="227"/>
                  </a:cubicBezTo>
                  <a:cubicBezTo>
                    <a:pt x="411" y="189"/>
                    <a:pt x="411" y="189"/>
                    <a:pt x="411" y="189"/>
                  </a:cubicBezTo>
                  <a:cubicBezTo>
                    <a:pt x="411" y="189"/>
                    <a:pt x="411" y="189"/>
                    <a:pt x="411" y="189"/>
                  </a:cubicBezTo>
                  <a:cubicBezTo>
                    <a:pt x="411" y="168"/>
                    <a:pt x="411" y="168"/>
                    <a:pt x="411" y="168"/>
                  </a:cubicBezTo>
                  <a:cubicBezTo>
                    <a:pt x="371" y="0"/>
                    <a:pt x="371" y="0"/>
                    <a:pt x="371" y="0"/>
                  </a:cubicBezTo>
                  <a:cubicBezTo>
                    <a:pt x="78" y="0"/>
                    <a:pt x="78" y="0"/>
                    <a:pt x="78" y="0"/>
                  </a:cubicBezTo>
                  <a:cubicBezTo>
                    <a:pt x="78" y="0"/>
                    <a:pt x="0" y="232"/>
                    <a:pt x="78" y="179"/>
                  </a:cubicBezTo>
                  <a:cubicBezTo>
                    <a:pt x="179" y="112"/>
                    <a:pt x="371" y="152"/>
                    <a:pt x="395" y="469"/>
                  </a:cubicBezTo>
                  <a:cubicBezTo>
                    <a:pt x="363" y="477"/>
                    <a:pt x="339" y="504"/>
                    <a:pt x="339" y="539"/>
                  </a:cubicBezTo>
                  <a:cubicBezTo>
                    <a:pt x="411" y="539"/>
                    <a:pt x="411" y="539"/>
                    <a:pt x="411" y="539"/>
                  </a:cubicBezTo>
                  <a:cubicBezTo>
                    <a:pt x="411" y="539"/>
                    <a:pt x="411" y="539"/>
                    <a:pt x="411" y="539"/>
                  </a:cubicBezTo>
                  <a:cubicBezTo>
                    <a:pt x="430" y="539"/>
                    <a:pt x="430" y="539"/>
                    <a:pt x="430" y="539"/>
                  </a:cubicBezTo>
                </a:path>
              </a:pathLst>
            </a:custGeom>
            <a:solidFill>
              <a:srgbClr val="DD59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496" name="Freeform 1323"/>
            <p:cNvSpPr>
              <a:spLocks/>
            </p:cNvSpPr>
            <p:nvPr/>
          </p:nvSpPr>
          <p:spPr bwMode="auto">
            <a:xfrm>
              <a:off x="3879" y="3788"/>
              <a:ext cx="78" cy="82"/>
            </a:xfrm>
            <a:custGeom>
              <a:avLst/>
              <a:gdLst>
                <a:gd name="T0" fmla="*/ 165 w 165"/>
                <a:gd name="T1" fmla="*/ 176 h 176"/>
                <a:gd name="T2" fmla="*/ 0 w 165"/>
                <a:gd name="T3" fmla="*/ 11 h 176"/>
                <a:gd name="T4" fmla="*/ 165 w 165"/>
                <a:gd name="T5" fmla="*/ 99 h 176"/>
                <a:gd name="T6" fmla="*/ 165 w 165"/>
                <a:gd name="T7" fmla="*/ 176 h 176"/>
              </a:gdLst>
              <a:ahLst/>
              <a:cxnLst>
                <a:cxn ang="0">
                  <a:pos x="T0" y="T1"/>
                </a:cxn>
                <a:cxn ang="0">
                  <a:pos x="T2" y="T3"/>
                </a:cxn>
                <a:cxn ang="0">
                  <a:pos x="T4" y="T5"/>
                </a:cxn>
                <a:cxn ang="0">
                  <a:pos x="T6" y="T7"/>
                </a:cxn>
              </a:cxnLst>
              <a:rect l="0" t="0" r="r" b="b"/>
              <a:pathLst>
                <a:path w="165" h="176">
                  <a:moveTo>
                    <a:pt x="165" y="176"/>
                  </a:moveTo>
                  <a:cubicBezTo>
                    <a:pt x="75" y="176"/>
                    <a:pt x="0" y="104"/>
                    <a:pt x="0" y="11"/>
                  </a:cubicBezTo>
                  <a:cubicBezTo>
                    <a:pt x="0" y="11"/>
                    <a:pt x="165" y="0"/>
                    <a:pt x="165" y="99"/>
                  </a:cubicBezTo>
                  <a:cubicBezTo>
                    <a:pt x="165" y="120"/>
                    <a:pt x="165" y="176"/>
                    <a:pt x="165" y="176"/>
                  </a:cubicBezTo>
                </a:path>
              </a:pathLst>
            </a:custGeom>
            <a:solidFill>
              <a:srgbClr val="DD59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497" name="Freeform 1324"/>
            <p:cNvSpPr>
              <a:spLocks/>
            </p:cNvSpPr>
            <p:nvPr/>
          </p:nvSpPr>
          <p:spPr bwMode="auto">
            <a:xfrm>
              <a:off x="3912" y="3821"/>
              <a:ext cx="389" cy="282"/>
            </a:xfrm>
            <a:custGeom>
              <a:avLst/>
              <a:gdLst>
                <a:gd name="T0" fmla="*/ 675 w 830"/>
                <a:gd name="T1" fmla="*/ 232 h 600"/>
                <a:gd name="T2" fmla="*/ 368 w 830"/>
                <a:gd name="T3" fmla="*/ 232 h 600"/>
                <a:gd name="T4" fmla="*/ 320 w 830"/>
                <a:gd name="T5" fmla="*/ 232 h 600"/>
                <a:gd name="T6" fmla="*/ 158 w 830"/>
                <a:gd name="T7" fmla="*/ 232 h 600"/>
                <a:gd name="T8" fmla="*/ 158 w 830"/>
                <a:gd name="T9" fmla="*/ 245 h 600"/>
                <a:gd name="T10" fmla="*/ 142 w 830"/>
                <a:gd name="T11" fmla="*/ 224 h 600"/>
                <a:gd name="T12" fmla="*/ 184 w 830"/>
                <a:gd name="T13" fmla="*/ 203 h 600"/>
                <a:gd name="T14" fmla="*/ 262 w 830"/>
                <a:gd name="T15" fmla="*/ 203 h 600"/>
                <a:gd name="T16" fmla="*/ 310 w 830"/>
                <a:gd name="T17" fmla="*/ 152 h 600"/>
                <a:gd name="T18" fmla="*/ 310 w 830"/>
                <a:gd name="T19" fmla="*/ 83 h 600"/>
                <a:gd name="T20" fmla="*/ 299 w 830"/>
                <a:gd name="T21" fmla="*/ 83 h 600"/>
                <a:gd name="T22" fmla="*/ 262 w 830"/>
                <a:gd name="T23" fmla="*/ 64 h 600"/>
                <a:gd name="T24" fmla="*/ 208 w 830"/>
                <a:gd name="T25" fmla="*/ 64 h 600"/>
                <a:gd name="T26" fmla="*/ 203 w 830"/>
                <a:gd name="T27" fmla="*/ 67 h 600"/>
                <a:gd name="T28" fmla="*/ 134 w 830"/>
                <a:gd name="T29" fmla="*/ 0 h 600"/>
                <a:gd name="T30" fmla="*/ 72 w 830"/>
                <a:gd name="T31" fmla="*/ 0 h 600"/>
                <a:gd name="T32" fmla="*/ 3 w 830"/>
                <a:gd name="T33" fmla="*/ 69 h 600"/>
                <a:gd name="T34" fmla="*/ 3 w 830"/>
                <a:gd name="T35" fmla="*/ 99 h 600"/>
                <a:gd name="T36" fmla="*/ 0 w 830"/>
                <a:gd name="T37" fmla="*/ 99 h 600"/>
                <a:gd name="T38" fmla="*/ 0 w 830"/>
                <a:gd name="T39" fmla="*/ 261 h 600"/>
                <a:gd name="T40" fmla="*/ 310 w 830"/>
                <a:gd name="T41" fmla="*/ 571 h 600"/>
                <a:gd name="T42" fmla="*/ 587 w 830"/>
                <a:gd name="T43" fmla="*/ 397 h 600"/>
                <a:gd name="T44" fmla="*/ 619 w 830"/>
                <a:gd name="T45" fmla="*/ 395 h 600"/>
                <a:gd name="T46" fmla="*/ 830 w 830"/>
                <a:gd name="T47" fmla="*/ 600 h 600"/>
                <a:gd name="T48" fmla="*/ 830 w 830"/>
                <a:gd name="T49" fmla="*/ 384 h 600"/>
                <a:gd name="T50" fmla="*/ 675 w 830"/>
                <a:gd name="T51" fmla="*/ 232 h 6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830" h="600">
                  <a:moveTo>
                    <a:pt x="675" y="232"/>
                  </a:moveTo>
                  <a:cubicBezTo>
                    <a:pt x="368" y="232"/>
                    <a:pt x="368" y="232"/>
                    <a:pt x="368" y="232"/>
                  </a:cubicBezTo>
                  <a:cubicBezTo>
                    <a:pt x="320" y="232"/>
                    <a:pt x="320" y="232"/>
                    <a:pt x="320" y="232"/>
                  </a:cubicBezTo>
                  <a:cubicBezTo>
                    <a:pt x="158" y="232"/>
                    <a:pt x="158" y="232"/>
                    <a:pt x="158" y="232"/>
                  </a:cubicBezTo>
                  <a:cubicBezTo>
                    <a:pt x="158" y="245"/>
                    <a:pt x="158" y="245"/>
                    <a:pt x="158" y="245"/>
                  </a:cubicBezTo>
                  <a:cubicBezTo>
                    <a:pt x="142" y="224"/>
                    <a:pt x="142" y="224"/>
                    <a:pt x="142" y="224"/>
                  </a:cubicBezTo>
                  <a:cubicBezTo>
                    <a:pt x="158" y="221"/>
                    <a:pt x="174" y="213"/>
                    <a:pt x="184" y="203"/>
                  </a:cubicBezTo>
                  <a:cubicBezTo>
                    <a:pt x="262" y="203"/>
                    <a:pt x="262" y="203"/>
                    <a:pt x="262" y="203"/>
                  </a:cubicBezTo>
                  <a:cubicBezTo>
                    <a:pt x="288" y="203"/>
                    <a:pt x="310" y="179"/>
                    <a:pt x="310" y="152"/>
                  </a:cubicBezTo>
                  <a:cubicBezTo>
                    <a:pt x="310" y="83"/>
                    <a:pt x="310" y="83"/>
                    <a:pt x="310" y="83"/>
                  </a:cubicBezTo>
                  <a:cubicBezTo>
                    <a:pt x="299" y="83"/>
                    <a:pt x="299" y="83"/>
                    <a:pt x="299" y="83"/>
                  </a:cubicBezTo>
                  <a:cubicBezTo>
                    <a:pt x="288" y="72"/>
                    <a:pt x="275" y="64"/>
                    <a:pt x="262" y="64"/>
                  </a:cubicBezTo>
                  <a:cubicBezTo>
                    <a:pt x="208" y="64"/>
                    <a:pt x="208" y="64"/>
                    <a:pt x="208" y="64"/>
                  </a:cubicBezTo>
                  <a:cubicBezTo>
                    <a:pt x="206" y="64"/>
                    <a:pt x="206" y="67"/>
                    <a:pt x="203" y="67"/>
                  </a:cubicBezTo>
                  <a:cubicBezTo>
                    <a:pt x="203" y="29"/>
                    <a:pt x="171" y="0"/>
                    <a:pt x="134" y="0"/>
                  </a:cubicBezTo>
                  <a:cubicBezTo>
                    <a:pt x="72" y="0"/>
                    <a:pt x="72" y="0"/>
                    <a:pt x="72" y="0"/>
                  </a:cubicBezTo>
                  <a:cubicBezTo>
                    <a:pt x="32" y="0"/>
                    <a:pt x="3" y="32"/>
                    <a:pt x="3" y="69"/>
                  </a:cubicBezTo>
                  <a:cubicBezTo>
                    <a:pt x="3" y="99"/>
                    <a:pt x="3" y="99"/>
                    <a:pt x="3" y="99"/>
                  </a:cubicBezTo>
                  <a:cubicBezTo>
                    <a:pt x="0" y="99"/>
                    <a:pt x="0" y="99"/>
                    <a:pt x="0" y="99"/>
                  </a:cubicBezTo>
                  <a:cubicBezTo>
                    <a:pt x="0" y="261"/>
                    <a:pt x="0" y="261"/>
                    <a:pt x="0" y="261"/>
                  </a:cubicBezTo>
                  <a:cubicBezTo>
                    <a:pt x="0" y="432"/>
                    <a:pt x="139" y="571"/>
                    <a:pt x="310" y="571"/>
                  </a:cubicBezTo>
                  <a:cubicBezTo>
                    <a:pt x="432" y="571"/>
                    <a:pt x="539" y="499"/>
                    <a:pt x="587" y="397"/>
                  </a:cubicBezTo>
                  <a:cubicBezTo>
                    <a:pt x="598" y="395"/>
                    <a:pt x="608" y="395"/>
                    <a:pt x="619" y="395"/>
                  </a:cubicBezTo>
                  <a:cubicBezTo>
                    <a:pt x="734" y="395"/>
                    <a:pt x="827" y="485"/>
                    <a:pt x="830" y="600"/>
                  </a:cubicBezTo>
                  <a:cubicBezTo>
                    <a:pt x="830" y="600"/>
                    <a:pt x="830" y="384"/>
                    <a:pt x="830" y="384"/>
                  </a:cubicBezTo>
                  <a:cubicBezTo>
                    <a:pt x="830" y="299"/>
                    <a:pt x="760" y="232"/>
                    <a:pt x="675" y="232"/>
                  </a:cubicBezTo>
                </a:path>
              </a:pathLst>
            </a:custGeom>
            <a:solidFill>
              <a:srgbClr val="FFB9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498" name="Rectangle 1325"/>
            <p:cNvSpPr>
              <a:spLocks noChangeArrowheads="1"/>
            </p:cNvSpPr>
            <p:nvPr/>
          </p:nvSpPr>
          <p:spPr bwMode="auto">
            <a:xfrm>
              <a:off x="3957" y="3911"/>
              <a:ext cx="47" cy="74"/>
            </a:xfrm>
            <a:prstGeom prst="rect">
              <a:avLst/>
            </a:prstGeom>
            <a:solidFill>
              <a:srgbClr val="FFB900"/>
            </a:solid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499" name="Rectangle 1326"/>
            <p:cNvSpPr>
              <a:spLocks noChangeArrowheads="1"/>
            </p:cNvSpPr>
            <p:nvPr/>
          </p:nvSpPr>
          <p:spPr bwMode="auto">
            <a:xfrm>
              <a:off x="3913" y="3893"/>
              <a:ext cx="47" cy="18"/>
            </a:xfrm>
            <a:prstGeom prst="rect">
              <a:avLst/>
            </a:prstGeom>
            <a:solidFill>
              <a:srgbClr val="FFB900"/>
            </a:solid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500" name="Freeform 1327"/>
            <p:cNvSpPr>
              <a:spLocks/>
            </p:cNvSpPr>
            <p:nvPr/>
          </p:nvSpPr>
          <p:spPr bwMode="auto">
            <a:xfrm>
              <a:off x="3984" y="3846"/>
              <a:ext cx="12" cy="11"/>
            </a:xfrm>
            <a:custGeom>
              <a:avLst/>
              <a:gdLst>
                <a:gd name="T0" fmla="*/ 24 w 24"/>
                <a:gd name="T1" fmla="*/ 11 h 24"/>
                <a:gd name="T2" fmla="*/ 11 w 24"/>
                <a:gd name="T3" fmla="*/ 24 h 24"/>
                <a:gd name="T4" fmla="*/ 0 w 24"/>
                <a:gd name="T5" fmla="*/ 11 h 24"/>
                <a:gd name="T6" fmla="*/ 11 w 24"/>
                <a:gd name="T7" fmla="*/ 0 h 24"/>
                <a:gd name="T8" fmla="*/ 24 w 24"/>
                <a:gd name="T9" fmla="*/ 11 h 24"/>
              </a:gdLst>
              <a:ahLst/>
              <a:cxnLst>
                <a:cxn ang="0">
                  <a:pos x="T0" y="T1"/>
                </a:cxn>
                <a:cxn ang="0">
                  <a:pos x="T2" y="T3"/>
                </a:cxn>
                <a:cxn ang="0">
                  <a:pos x="T4" y="T5"/>
                </a:cxn>
                <a:cxn ang="0">
                  <a:pos x="T6" y="T7"/>
                </a:cxn>
                <a:cxn ang="0">
                  <a:pos x="T8" y="T9"/>
                </a:cxn>
              </a:cxnLst>
              <a:rect l="0" t="0" r="r" b="b"/>
              <a:pathLst>
                <a:path w="24" h="24">
                  <a:moveTo>
                    <a:pt x="24" y="11"/>
                  </a:moveTo>
                  <a:cubicBezTo>
                    <a:pt x="24" y="19"/>
                    <a:pt x="19" y="24"/>
                    <a:pt x="11" y="24"/>
                  </a:cubicBezTo>
                  <a:cubicBezTo>
                    <a:pt x="5" y="24"/>
                    <a:pt x="0" y="19"/>
                    <a:pt x="0" y="11"/>
                  </a:cubicBezTo>
                  <a:cubicBezTo>
                    <a:pt x="0" y="6"/>
                    <a:pt x="5" y="0"/>
                    <a:pt x="11" y="0"/>
                  </a:cubicBezTo>
                  <a:cubicBezTo>
                    <a:pt x="19" y="0"/>
                    <a:pt x="24" y="6"/>
                    <a:pt x="24" y="11"/>
                  </a:cubicBezTo>
                </a:path>
              </a:pathLst>
            </a:custGeom>
            <a:solidFill>
              <a:srgbClr val="333333"/>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501" name="Freeform 1328"/>
            <p:cNvSpPr>
              <a:spLocks/>
            </p:cNvSpPr>
            <p:nvPr/>
          </p:nvSpPr>
          <p:spPr bwMode="auto">
            <a:xfrm>
              <a:off x="3960" y="3917"/>
              <a:ext cx="44" cy="42"/>
            </a:xfrm>
            <a:custGeom>
              <a:avLst/>
              <a:gdLst>
                <a:gd name="T0" fmla="*/ 94 w 94"/>
                <a:gd name="T1" fmla="*/ 0 h 90"/>
                <a:gd name="T2" fmla="*/ 0 w 94"/>
                <a:gd name="T3" fmla="*/ 0 h 90"/>
                <a:gd name="T4" fmla="*/ 94 w 94"/>
                <a:gd name="T5" fmla="*/ 90 h 90"/>
                <a:gd name="T6" fmla="*/ 94 w 94"/>
                <a:gd name="T7" fmla="*/ 0 h 90"/>
              </a:gdLst>
              <a:ahLst/>
              <a:cxnLst>
                <a:cxn ang="0">
                  <a:pos x="T0" y="T1"/>
                </a:cxn>
                <a:cxn ang="0">
                  <a:pos x="T2" y="T3"/>
                </a:cxn>
                <a:cxn ang="0">
                  <a:pos x="T4" y="T5"/>
                </a:cxn>
                <a:cxn ang="0">
                  <a:pos x="T6" y="T7"/>
                </a:cxn>
              </a:cxnLst>
              <a:rect l="0" t="0" r="r" b="b"/>
              <a:pathLst>
                <a:path w="94" h="90">
                  <a:moveTo>
                    <a:pt x="94" y="0"/>
                  </a:moveTo>
                  <a:cubicBezTo>
                    <a:pt x="0" y="0"/>
                    <a:pt x="0" y="0"/>
                    <a:pt x="0" y="0"/>
                  </a:cubicBezTo>
                  <a:cubicBezTo>
                    <a:pt x="0" y="0"/>
                    <a:pt x="8" y="90"/>
                    <a:pt x="94" y="90"/>
                  </a:cubicBezTo>
                  <a:cubicBezTo>
                    <a:pt x="94" y="58"/>
                    <a:pt x="94" y="0"/>
                    <a:pt x="94" y="0"/>
                  </a:cubicBezTo>
                </a:path>
              </a:pathLst>
            </a:custGeom>
            <a:solidFill>
              <a:srgbClr val="FF8C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502" name="Freeform 1329"/>
            <p:cNvSpPr>
              <a:spLocks/>
            </p:cNvSpPr>
            <p:nvPr/>
          </p:nvSpPr>
          <p:spPr bwMode="auto">
            <a:xfrm>
              <a:off x="3869" y="3821"/>
              <a:ext cx="83" cy="78"/>
            </a:xfrm>
            <a:custGeom>
              <a:avLst/>
              <a:gdLst>
                <a:gd name="T0" fmla="*/ 176 w 176"/>
                <a:gd name="T1" fmla="*/ 0 h 165"/>
                <a:gd name="T2" fmla="*/ 10 w 176"/>
                <a:gd name="T3" fmla="*/ 165 h 165"/>
                <a:gd name="T4" fmla="*/ 98 w 176"/>
                <a:gd name="T5" fmla="*/ 0 h 165"/>
                <a:gd name="T6" fmla="*/ 176 w 176"/>
                <a:gd name="T7" fmla="*/ 0 h 165"/>
              </a:gdLst>
              <a:ahLst/>
              <a:cxnLst>
                <a:cxn ang="0">
                  <a:pos x="T0" y="T1"/>
                </a:cxn>
                <a:cxn ang="0">
                  <a:pos x="T2" y="T3"/>
                </a:cxn>
                <a:cxn ang="0">
                  <a:pos x="T4" y="T5"/>
                </a:cxn>
                <a:cxn ang="0">
                  <a:pos x="T6" y="T7"/>
                </a:cxn>
              </a:cxnLst>
              <a:rect l="0" t="0" r="r" b="b"/>
              <a:pathLst>
                <a:path w="176" h="165">
                  <a:moveTo>
                    <a:pt x="176" y="0"/>
                  </a:moveTo>
                  <a:cubicBezTo>
                    <a:pt x="176" y="91"/>
                    <a:pt x="101" y="165"/>
                    <a:pt x="10" y="165"/>
                  </a:cubicBezTo>
                  <a:cubicBezTo>
                    <a:pt x="10" y="165"/>
                    <a:pt x="0" y="0"/>
                    <a:pt x="98" y="0"/>
                  </a:cubicBezTo>
                  <a:cubicBezTo>
                    <a:pt x="120" y="0"/>
                    <a:pt x="176" y="0"/>
                    <a:pt x="176" y="0"/>
                  </a:cubicBezTo>
                </a:path>
              </a:pathLst>
            </a:custGeom>
            <a:solidFill>
              <a:srgbClr val="FF8C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503" name="Freeform 1330"/>
            <p:cNvSpPr>
              <a:spLocks/>
            </p:cNvSpPr>
            <p:nvPr/>
          </p:nvSpPr>
          <p:spPr bwMode="auto">
            <a:xfrm>
              <a:off x="3911" y="4045"/>
              <a:ext cx="106" cy="183"/>
            </a:xfrm>
            <a:custGeom>
              <a:avLst/>
              <a:gdLst>
                <a:gd name="T0" fmla="*/ 26 w 106"/>
                <a:gd name="T1" fmla="*/ 183 h 183"/>
                <a:gd name="T2" fmla="*/ 0 w 106"/>
                <a:gd name="T3" fmla="*/ 183 h 183"/>
                <a:gd name="T4" fmla="*/ 57 w 106"/>
                <a:gd name="T5" fmla="*/ 0 h 183"/>
                <a:gd name="T6" fmla="*/ 106 w 106"/>
                <a:gd name="T7" fmla="*/ 0 h 183"/>
                <a:gd name="T8" fmla="*/ 26 w 106"/>
                <a:gd name="T9" fmla="*/ 183 h 183"/>
              </a:gdLst>
              <a:ahLst/>
              <a:cxnLst>
                <a:cxn ang="0">
                  <a:pos x="T0" y="T1"/>
                </a:cxn>
                <a:cxn ang="0">
                  <a:pos x="T2" y="T3"/>
                </a:cxn>
                <a:cxn ang="0">
                  <a:pos x="T4" y="T5"/>
                </a:cxn>
                <a:cxn ang="0">
                  <a:pos x="T6" y="T7"/>
                </a:cxn>
                <a:cxn ang="0">
                  <a:pos x="T8" y="T9"/>
                </a:cxn>
              </a:cxnLst>
              <a:rect l="0" t="0" r="r" b="b"/>
              <a:pathLst>
                <a:path w="106" h="183">
                  <a:moveTo>
                    <a:pt x="26" y="183"/>
                  </a:moveTo>
                  <a:lnTo>
                    <a:pt x="0" y="183"/>
                  </a:lnTo>
                  <a:lnTo>
                    <a:pt x="57" y="0"/>
                  </a:lnTo>
                  <a:lnTo>
                    <a:pt x="106" y="0"/>
                  </a:lnTo>
                  <a:lnTo>
                    <a:pt x="26" y="183"/>
                  </a:lnTo>
                  <a:close/>
                </a:path>
              </a:pathLst>
            </a:custGeom>
            <a:solidFill>
              <a:srgbClr val="FFB900"/>
            </a:solid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504" name="Freeform 1331"/>
            <p:cNvSpPr>
              <a:spLocks/>
            </p:cNvSpPr>
            <p:nvPr/>
          </p:nvSpPr>
          <p:spPr bwMode="auto">
            <a:xfrm>
              <a:off x="4266" y="3800"/>
              <a:ext cx="96" cy="173"/>
            </a:xfrm>
            <a:custGeom>
              <a:avLst/>
              <a:gdLst>
                <a:gd name="T0" fmla="*/ 21 w 205"/>
                <a:gd name="T1" fmla="*/ 368 h 368"/>
                <a:gd name="T2" fmla="*/ 0 w 205"/>
                <a:gd name="T3" fmla="*/ 346 h 368"/>
                <a:gd name="T4" fmla="*/ 21 w 205"/>
                <a:gd name="T5" fmla="*/ 322 h 368"/>
                <a:gd name="T6" fmla="*/ 160 w 205"/>
                <a:gd name="T7" fmla="*/ 184 h 368"/>
                <a:gd name="T8" fmla="*/ 21 w 205"/>
                <a:gd name="T9" fmla="*/ 45 h 368"/>
                <a:gd name="T10" fmla="*/ 0 w 205"/>
                <a:gd name="T11" fmla="*/ 24 h 368"/>
                <a:gd name="T12" fmla="*/ 21 w 205"/>
                <a:gd name="T13" fmla="*/ 0 h 368"/>
                <a:gd name="T14" fmla="*/ 205 w 205"/>
                <a:gd name="T15" fmla="*/ 184 h 368"/>
                <a:gd name="T16" fmla="*/ 21 w 205"/>
                <a:gd name="T17" fmla="*/ 368 h 3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5" h="368">
                  <a:moveTo>
                    <a:pt x="21" y="368"/>
                  </a:moveTo>
                  <a:cubicBezTo>
                    <a:pt x="8" y="368"/>
                    <a:pt x="0" y="357"/>
                    <a:pt x="0" y="346"/>
                  </a:cubicBezTo>
                  <a:cubicBezTo>
                    <a:pt x="0" y="333"/>
                    <a:pt x="8" y="322"/>
                    <a:pt x="21" y="322"/>
                  </a:cubicBezTo>
                  <a:cubicBezTo>
                    <a:pt x="99" y="322"/>
                    <a:pt x="160" y="261"/>
                    <a:pt x="160" y="184"/>
                  </a:cubicBezTo>
                  <a:cubicBezTo>
                    <a:pt x="160" y="109"/>
                    <a:pt x="99" y="45"/>
                    <a:pt x="21" y="45"/>
                  </a:cubicBezTo>
                  <a:cubicBezTo>
                    <a:pt x="8" y="45"/>
                    <a:pt x="0" y="37"/>
                    <a:pt x="0" y="24"/>
                  </a:cubicBezTo>
                  <a:cubicBezTo>
                    <a:pt x="0" y="10"/>
                    <a:pt x="8" y="0"/>
                    <a:pt x="21" y="0"/>
                  </a:cubicBezTo>
                  <a:cubicBezTo>
                    <a:pt x="123" y="0"/>
                    <a:pt x="205" y="82"/>
                    <a:pt x="205" y="184"/>
                  </a:cubicBezTo>
                  <a:cubicBezTo>
                    <a:pt x="205" y="285"/>
                    <a:pt x="123" y="368"/>
                    <a:pt x="21" y="368"/>
                  </a:cubicBezTo>
                </a:path>
              </a:pathLst>
            </a:custGeom>
            <a:solidFill>
              <a:srgbClr val="FFB9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505" name="Freeform 1332"/>
            <p:cNvSpPr>
              <a:spLocks/>
            </p:cNvSpPr>
            <p:nvPr/>
          </p:nvSpPr>
          <p:spPr bwMode="auto">
            <a:xfrm>
              <a:off x="4108" y="3975"/>
              <a:ext cx="212" cy="253"/>
            </a:xfrm>
            <a:custGeom>
              <a:avLst/>
              <a:gdLst>
                <a:gd name="T0" fmla="*/ 400 w 451"/>
                <a:gd name="T1" fmla="*/ 539 h 539"/>
                <a:gd name="T2" fmla="*/ 77 w 451"/>
                <a:gd name="T3" fmla="*/ 179 h 539"/>
                <a:gd name="T4" fmla="*/ 77 w 451"/>
                <a:gd name="T5" fmla="*/ 0 h 539"/>
                <a:gd name="T6" fmla="*/ 373 w 451"/>
                <a:gd name="T7" fmla="*/ 0 h 539"/>
                <a:gd name="T8" fmla="*/ 411 w 451"/>
                <a:gd name="T9" fmla="*/ 168 h 539"/>
                <a:gd name="T10" fmla="*/ 411 w 451"/>
                <a:gd name="T11" fmla="*/ 277 h 539"/>
                <a:gd name="T12" fmla="*/ 451 w 451"/>
                <a:gd name="T13" fmla="*/ 437 h 539"/>
              </a:gdLst>
              <a:ahLst/>
              <a:cxnLst>
                <a:cxn ang="0">
                  <a:pos x="T0" y="T1"/>
                </a:cxn>
                <a:cxn ang="0">
                  <a:pos x="T2" y="T3"/>
                </a:cxn>
                <a:cxn ang="0">
                  <a:pos x="T4" y="T5"/>
                </a:cxn>
                <a:cxn ang="0">
                  <a:pos x="T6" y="T7"/>
                </a:cxn>
                <a:cxn ang="0">
                  <a:pos x="T8" y="T9"/>
                </a:cxn>
                <a:cxn ang="0">
                  <a:pos x="T10" y="T11"/>
                </a:cxn>
                <a:cxn ang="0">
                  <a:pos x="T12" y="T13"/>
                </a:cxn>
              </a:cxnLst>
              <a:rect l="0" t="0" r="r" b="b"/>
              <a:pathLst>
                <a:path w="451" h="539">
                  <a:moveTo>
                    <a:pt x="400" y="539"/>
                  </a:moveTo>
                  <a:cubicBezTo>
                    <a:pt x="400" y="160"/>
                    <a:pt x="189" y="107"/>
                    <a:pt x="77" y="179"/>
                  </a:cubicBezTo>
                  <a:cubicBezTo>
                    <a:pt x="0" y="232"/>
                    <a:pt x="77" y="0"/>
                    <a:pt x="77" y="0"/>
                  </a:cubicBezTo>
                  <a:cubicBezTo>
                    <a:pt x="373" y="0"/>
                    <a:pt x="373" y="0"/>
                    <a:pt x="373" y="0"/>
                  </a:cubicBezTo>
                  <a:cubicBezTo>
                    <a:pt x="411" y="168"/>
                    <a:pt x="411" y="168"/>
                    <a:pt x="411" y="168"/>
                  </a:cubicBezTo>
                  <a:cubicBezTo>
                    <a:pt x="411" y="277"/>
                    <a:pt x="411" y="277"/>
                    <a:pt x="411" y="277"/>
                  </a:cubicBezTo>
                  <a:cubicBezTo>
                    <a:pt x="451" y="437"/>
                    <a:pt x="451" y="437"/>
                    <a:pt x="451" y="437"/>
                  </a:cubicBezTo>
                </a:path>
              </a:pathLst>
            </a:custGeom>
            <a:solidFill>
              <a:srgbClr val="FFB9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506" name="Freeform 1333"/>
            <p:cNvSpPr>
              <a:spLocks/>
            </p:cNvSpPr>
            <p:nvPr/>
          </p:nvSpPr>
          <p:spPr bwMode="auto">
            <a:xfrm>
              <a:off x="4275" y="4064"/>
              <a:ext cx="52" cy="166"/>
            </a:xfrm>
            <a:custGeom>
              <a:avLst/>
              <a:gdLst>
                <a:gd name="T0" fmla="*/ 56 w 112"/>
                <a:gd name="T1" fmla="*/ 38 h 355"/>
                <a:gd name="T2" fmla="*/ 56 w 112"/>
                <a:gd name="T3" fmla="*/ 0 h 355"/>
                <a:gd name="T4" fmla="*/ 0 w 112"/>
                <a:gd name="T5" fmla="*/ 30 h 355"/>
                <a:gd name="T6" fmla="*/ 0 w 112"/>
                <a:gd name="T7" fmla="*/ 83 h 355"/>
                <a:gd name="T8" fmla="*/ 56 w 112"/>
                <a:gd name="T9" fmla="*/ 270 h 355"/>
                <a:gd name="T10" fmla="*/ 56 w 112"/>
                <a:gd name="T11" fmla="*/ 350 h 355"/>
                <a:gd name="T12" fmla="*/ 77 w 112"/>
                <a:gd name="T13" fmla="*/ 350 h 355"/>
                <a:gd name="T14" fmla="*/ 112 w 112"/>
                <a:gd name="T15" fmla="*/ 171 h 355"/>
                <a:gd name="T16" fmla="*/ 56 w 112"/>
                <a:gd name="T17" fmla="*/ 38 h 3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 h="355">
                  <a:moveTo>
                    <a:pt x="56" y="38"/>
                  </a:moveTo>
                  <a:cubicBezTo>
                    <a:pt x="56" y="0"/>
                    <a:pt x="56" y="0"/>
                    <a:pt x="56" y="0"/>
                  </a:cubicBezTo>
                  <a:cubicBezTo>
                    <a:pt x="0" y="30"/>
                    <a:pt x="0" y="30"/>
                    <a:pt x="0" y="30"/>
                  </a:cubicBezTo>
                  <a:cubicBezTo>
                    <a:pt x="0" y="83"/>
                    <a:pt x="0" y="83"/>
                    <a:pt x="0" y="83"/>
                  </a:cubicBezTo>
                  <a:cubicBezTo>
                    <a:pt x="0" y="83"/>
                    <a:pt x="56" y="184"/>
                    <a:pt x="56" y="270"/>
                  </a:cubicBezTo>
                  <a:cubicBezTo>
                    <a:pt x="56" y="355"/>
                    <a:pt x="56" y="350"/>
                    <a:pt x="56" y="350"/>
                  </a:cubicBezTo>
                  <a:cubicBezTo>
                    <a:pt x="77" y="350"/>
                    <a:pt x="77" y="350"/>
                    <a:pt x="77" y="350"/>
                  </a:cubicBezTo>
                  <a:cubicBezTo>
                    <a:pt x="112" y="171"/>
                    <a:pt x="112" y="171"/>
                    <a:pt x="112" y="171"/>
                  </a:cubicBezTo>
                  <a:cubicBezTo>
                    <a:pt x="112" y="171"/>
                    <a:pt x="56" y="134"/>
                    <a:pt x="56" y="38"/>
                  </a:cubicBezTo>
                </a:path>
              </a:pathLst>
            </a:custGeom>
            <a:solidFill>
              <a:srgbClr val="FFB9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507" name="Freeform 1334"/>
            <p:cNvSpPr>
              <a:spLocks/>
            </p:cNvSpPr>
            <p:nvPr/>
          </p:nvSpPr>
          <p:spPr bwMode="auto">
            <a:xfrm>
              <a:off x="4268" y="4194"/>
              <a:ext cx="34" cy="34"/>
            </a:xfrm>
            <a:custGeom>
              <a:avLst/>
              <a:gdLst>
                <a:gd name="T0" fmla="*/ 72 w 72"/>
                <a:gd name="T1" fmla="*/ 0 h 72"/>
                <a:gd name="T2" fmla="*/ 0 w 72"/>
                <a:gd name="T3" fmla="*/ 72 h 72"/>
                <a:gd name="T4" fmla="*/ 72 w 72"/>
                <a:gd name="T5" fmla="*/ 72 h 72"/>
              </a:gdLst>
              <a:ahLst/>
              <a:cxnLst>
                <a:cxn ang="0">
                  <a:pos x="T0" y="T1"/>
                </a:cxn>
                <a:cxn ang="0">
                  <a:pos x="T2" y="T3"/>
                </a:cxn>
                <a:cxn ang="0">
                  <a:pos x="T4" y="T5"/>
                </a:cxn>
              </a:cxnLst>
              <a:rect l="0" t="0" r="r" b="b"/>
              <a:pathLst>
                <a:path w="72" h="72">
                  <a:moveTo>
                    <a:pt x="72" y="0"/>
                  </a:moveTo>
                  <a:cubicBezTo>
                    <a:pt x="32" y="0"/>
                    <a:pt x="0" y="32"/>
                    <a:pt x="0" y="72"/>
                  </a:cubicBezTo>
                  <a:cubicBezTo>
                    <a:pt x="72" y="72"/>
                    <a:pt x="72" y="72"/>
                    <a:pt x="72" y="72"/>
                  </a:cubicBezTo>
                </a:path>
              </a:pathLst>
            </a:custGeom>
            <a:solidFill>
              <a:srgbClr val="FFB9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508" name="Freeform 1335"/>
            <p:cNvSpPr>
              <a:spLocks/>
            </p:cNvSpPr>
            <p:nvPr/>
          </p:nvSpPr>
          <p:spPr bwMode="auto">
            <a:xfrm>
              <a:off x="3879" y="4200"/>
              <a:ext cx="64" cy="28"/>
            </a:xfrm>
            <a:custGeom>
              <a:avLst/>
              <a:gdLst>
                <a:gd name="T0" fmla="*/ 59 w 136"/>
                <a:gd name="T1" fmla="*/ 0 h 59"/>
                <a:gd name="T2" fmla="*/ 0 w 136"/>
                <a:gd name="T3" fmla="*/ 59 h 59"/>
                <a:gd name="T4" fmla="*/ 109 w 136"/>
                <a:gd name="T5" fmla="*/ 59 h 59"/>
                <a:gd name="T6" fmla="*/ 136 w 136"/>
                <a:gd name="T7" fmla="*/ 0 h 59"/>
              </a:gdLst>
              <a:ahLst/>
              <a:cxnLst>
                <a:cxn ang="0">
                  <a:pos x="T0" y="T1"/>
                </a:cxn>
                <a:cxn ang="0">
                  <a:pos x="T2" y="T3"/>
                </a:cxn>
                <a:cxn ang="0">
                  <a:pos x="T4" y="T5"/>
                </a:cxn>
                <a:cxn ang="0">
                  <a:pos x="T6" y="T7"/>
                </a:cxn>
              </a:cxnLst>
              <a:rect l="0" t="0" r="r" b="b"/>
              <a:pathLst>
                <a:path w="136" h="59">
                  <a:moveTo>
                    <a:pt x="59" y="0"/>
                  </a:moveTo>
                  <a:cubicBezTo>
                    <a:pt x="27" y="0"/>
                    <a:pt x="0" y="27"/>
                    <a:pt x="0" y="59"/>
                  </a:cubicBezTo>
                  <a:cubicBezTo>
                    <a:pt x="109" y="59"/>
                    <a:pt x="109" y="59"/>
                    <a:pt x="109" y="59"/>
                  </a:cubicBezTo>
                  <a:cubicBezTo>
                    <a:pt x="136" y="0"/>
                    <a:pt x="136" y="0"/>
                    <a:pt x="136" y="0"/>
                  </a:cubicBezTo>
                </a:path>
              </a:pathLst>
            </a:custGeom>
            <a:solidFill>
              <a:srgbClr val="FFB9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509" name="Freeform 1336"/>
            <p:cNvSpPr>
              <a:spLocks/>
            </p:cNvSpPr>
            <p:nvPr/>
          </p:nvSpPr>
          <p:spPr bwMode="auto">
            <a:xfrm>
              <a:off x="4032" y="3851"/>
              <a:ext cx="25" cy="25"/>
            </a:xfrm>
            <a:custGeom>
              <a:avLst/>
              <a:gdLst>
                <a:gd name="T0" fmla="*/ 54 w 54"/>
                <a:gd name="T1" fmla="*/ 53 h 53"/>
                <a:gd name="T2" fmla="*/ 54 w 54"/>
                <a:gd name="T3" fmla="*/ 19 h 53"/>
                <a:gd name="T4" fmla="*/ 38 w 54"/>
                <a:gd name="T5" fmla="*/ 0 h 53"/>
                <a:gd name="T6" fmla="*/ 0 w 54"/>
                <a:gd name="T7" fmla="*/ 0 h 53"/>
                <a:gd name="T8" fmla="*/ 19 w 54"/>
                <a:gd name="T9" fmla="*/ 53 h 53"/>
              </a:gdLst>
              <a:ahLst/>
              <a:cxnLst>
                <a:cxn ang="0">
                  <a:pos x="T0" y="T1"/>
                </a:cxn>
                <a:cxn ang="0">
                  <a:pos x="T2" y="T3"/>
                </a:cxn>
                <a:cxn ang="0">
                  <a:pos x="T4" y="T5"/>
                </a:cxn>
                <a:cxn ang="0">
                  <a:pos x="T6" y="T7"/>
                </a:cxn>
                <a:cxn ang="0">
                  <a:pos x="T8" y="T9"/>
                </a:cxn>
              </a:cxnLst>
              <a:rect l="0" t="0" r="r" b="b"/>
              <a:pathLst>
                <a:path w="54" h="53">
                  <a:moveTo>
                    <a:pt x="54" y="53"/>
                  </a:moveTo>
                  <a:cubicBezTo>
                    <a:pt x="54" y="19"/>
                    <a:pt x="54" y="19"/>
                    <a:pt x="54" y="19"/>
                  </a:cubicBezTo>
                  <a:cubicBezTo>
                    <a:pt x="54" y="8"/>
                    <a:pt x="46" y="0"/>
                    <a:pt x="38" y="0"/>
                  </a:cubicBezTo>
                  <a:cubicBezTo>
                    <a:pt x="0" y="0"/>
                    <a:pt x="0" y="0"/>
                    <a:pt x="0" y="0"/>
                  </a:cubicBezTo>
                  <a:cubicBezTo>
                    <a:pt x="0" y="0"/>
                    <a:pt x="3" y="29"/>
                    <a:pt x="19" y="53"/>
                  </a:cubicBezTo>
                </a:path>
              </a:pathLst>
            </a:custGeom>
            <a:solidFill>
              <a:srgbClr val="333333"/>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510" name="Freeform 1337"/>
            <p:cNvSpPr>
              <a:spLocks/>
            </p:cNvSpPr>
            <p:nvPr/>
          </p:nvSpPr>
          <p:spPr bwMode="auto">
            <a:xfrm>
              <a:off x="4213" y="4110"/>
              <a:ext cx="59" cy="118"/>
            </a:xfrm>
            <a:custGeom>
              <a:avLst/>
              <a:gdLst>
                <a:gd name="T0" fmla="*/ 56 w 125"/>
                <a:gd name="T1" fmla="*/ 181 h 251"/>
                <a:gd name="T2" fmla="*/ 0 w 125"/>
                <a:gd name="T3" fmla="*/ 251 h 251"/>
                <a:gd name="T4" fmla="*/ 72 w 125"/>
                <a:gd name="T5" fmla="*/ 251 h 251"/>
                <a:gd name="T6" fmla="*/ 72 w 125"/>
                <a:gd name="T7" fmla="*/ 251 h 251"/>
                <a:gd name="T8" fmla="*/ 91 w 125"/>
                <a:gd name="T9" fmla="*/ 251 h 251"/>
                <a:gd name="T10" fmla="*/ 125 w 125"/>
                <a:gd name="T11" fmla="*/ 72 h 251"/>
                <a:gd name="T12" fmla="*/ 88 w 125"/>
                <a:gd name="T13" fmla="*/ 24 h 251"/>
                <a:gd name="T14" fmla="*/ 13 w 125"/>
                <a:gd name="T15" fmla="*/ 0 h 251"/>
                <a:gd name="T16" fmla="*/ 56 w 125"/>
                <a:gd name="T17" fmla="*/ 181 h 2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5" h="251">
                  <a:moveTo>
                    <a:pt x="56" y="181"/>
                  </a:moveTo>
                  <a:cubicBezTo>
                    <a:pt x="24" y="189"/>
                    <a:pt x="0" y="216"/>
                    <a:pt x="0" y="251"/>
                  </a:cubicBezTo>
                  <a:cubicBezTo>
                    <a:pt x="72" y="251"/>
                    <a:pt x="72" y="251"/>
                    <a:pt x="72" y="251"/>
                  </a:cubicBezTo>
                  <a:cubicBezTo>
                    <a:pt x="72" y="251"/>
                    <a:pt x="72" y="251"/>
                    <a:pt x="72" y="251"/>
                  </a:cubicBezTo>
                  <a:cubicBezTo>
                    <a:pt x="91" y="251"/>
                    <a:pt x="91" y="251"/>
                    <a:pt x="91" y="251"/>
                  </a:cubicBezTo>
                  <a:cubicBezTo>
                    <a:pt x="125" y="72"/>
                    <a:pt x="125" y="72"/>
                    <a:pt x="125" y="72"/>
                  </a:cubicBezTo>
                  <a:cubicBezTo>
                    <a:pt x="125" y="72"/>
                    <a:pt x="104" y="59"/>
                    <a:pt x="88" y="24"/>
                  </a:cubicBezTo>
                  <a:cubicBezTo>
                    <a:pt x="67" y="13"/>
                    <a:pt x="40" y="3"/>
                    <a:pt x="13" y="0"/>
                  </a:cubicBezTo>
                  <a:cubicBezTo>
                    <a:pt x="35" y="45"/>
                    <a:pt x="51" y="107"/>
                    <a:pt x="56" y="181"/>
                  </a:cubicBezTo>
                </a:path>
              </a:pathLst>
            </a:custGeom>
            <a:solidFill>
              <a:srgbClr val="FF8C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spTree>
    <p:extLst>
      <p:ext uri="{BB962C8B-B14F-4D97-AF65-F5344CB8AC3E}">
        <p14:creationId xmlns:p14="http://schemas.microsoft.com/office/powerpoint/2010/main" val="408764176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ADL Store Security: </a:t>
            </a:r>
            <a:r>
              <a:rPr lang="en-US" dirty="0">
                <a:solidFill>
                  <a:schemeClr val="accent2"/>
                </a:solidFill>
              </a:rPr>
              <a:t>AAD integration</a:t>
            </a:r>
          </a:p>
        </p:txBody>
      </p:sp>
      <p:sp>
        <p:nvSpPr>
          <p:cNvPr id="5" name="Rectangle 4"/>
          <p:cNvSpPr/>
          <p:nvPr/>
        </p:nvSpPr>
        <p:spPr bwMode="auto">
          <a:xfrm>
            <a:off x="-67378" y="1262064"/>
            <a:ext cx="12259377" cy="4917356"/>
          </a:xfrm>
          <a:prstGeom prst="rect">
            <a:avLst/>
          </a:prstGeom>
          <a:solidFill>
            <a:schemeClr val="bg1">
              <a:lumMod val="95000"/>
            </a:scheme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457200" rIns="3840480" bIns="91440" numCol="1" spcCol="0" rtlCol="0" fromWordArt="0" anchor="t" anchorCtr="0" forceAA="0" compatLnSpc="1">
            <a:prstTxWarp prst="textNoShape">
              <a:avLst/>
            </a:prstTxWarp>
            <a:noAutofit/>
          </a:bodyPr>
          <a:lstStyle/>
          <a:p>
            <a:pPr marL="347472" indent="-292608" fontAlgn="base">
              <a:spcBef>
                <a:spcPts val="600"/>
              </a:spcBef>
              <a:spcAft>
                <a:spcPts val="600"/>
              </a:spcAft>
              <a:buClr>
                <a:srgbClr val="50B347"/>
              </a:buClr>
              <a:buSzPct val="100000"/>
              <a:buBlip>
                <a:blip r:embed="rId4"/>
              </a:buBlip>
              <a:tabLst>
                <a:tab pos="658368" algn="l"/>
              </a:tabLst>
            </a:pPr>
            <a:r>
              <a:rPr lang="en-US" sz="2200" dirty="0">
                <a:solidFill>
                  <a:srgbClr val="505050"/>
                </a:solidFill>
                <a:ea typeface="Segoe UI" pitchFamily="34" charset="0"/>
                <a:cs typeface="Segoe UI" pitchFamily="34" charset="0"/>
              </a:rPr>
              <a:t>Multi-factor authentication based on OAuth2.0</a:t>
            </a:r>
          </a:p>
          <a:p>
            <a:pPr marL="347472" indent="-292608" fontAlgn="base">
              <a:spcBef>
                <a:spcPts val="600"/>
              </a:spcBef>
              <a:spcAft>
                <a:spcPts val="600"/>
              </a:spcAft>
              <a:buClr>
                <a:srgbClr val="50B347"/>
              </a:buClr>
              <a:buSzPct val="100000"/>
              <a:buBlip>
                <a:blip r:embed="rId4"/>
              </a:buBlip>
              <a:tabLst>
                <a:tab pos="658368" algn="l"/>
              </a:tabLst>
            </a:pPr>
            <a:r>
              <a:rPr lang="en-US" sz="2200" dirty="0">
                <a:solidFill>
                  <a:srgbClr val="505050"/>
                </a:solidFill>
                <a:ea typeface="Segoe UI" pitchFamily="34" charset="0"/>
                <a:cs typeface="Segoe UI" pitchFamily="34" charset="0"/>
              </a:rPr>
              <a:t>Integration with on-premises AD for federated authentication</a:t>
            </a:r>
          </a:p>
          <a:p>
            <a:pPr marL="347472" indent="-292608" fontAlgn="base">
              <a:spcBef>
                <a:spcPts val="600"/>
              </a:spcBef>
              <a:spcAft>
                <a:spcPts val="600"/>
              </a:spcAft>
              <a:buClr>
                <a:srgbClr val="50B347"/>
              </a:buClr>
              <a:buSzPct val="100000"/>
              <a:buBlip>
                <a:blip r:embed="rId4"/>
              </a:buBlip>
              <a:tabLst>
                <a:tab pos="658368" algn="l"/>
              </a:tabLst>
            </a:pPr>
            <a:r>
              <a:rPr lang="en-US" sz="2200" dirty="0">
                <a:solidFill>
                  <a:srgbClr val="505050"/>
                </a:solidFill>
                <a:ea typeface="Segoe UI" pitchFamily="34" charset="0"/>
                <a:cs typeface="Segoe UI" pitchFamily="34" charset="0"/>
              </a:rPr>
              <a:t>Role-based access control</a:t>
            </a:r>
          </a:p>
          <a:p>
            <a:pPr marL="347472" indent="-292608" fontAlgn="base">
              <a:spcBef>
                <a:spcPts val="600"/>
              </a:spcBef>
              <a:spcAft>
                <a:spcPts val="600"/>
              </a:spcAft>
              <a:buClr>
                <a:srgbClr val="50B347"/>
              </a:buClr>
              <a:buSzPct val="100000"/>
              <a:buBlip>
                <a:blip r:embed="rId4"/>
              </a:buBlip>
              <a:tabLst>
                <a:tab pos="658368" algn="l"/>
              </a:tabLst>
            </a:pPr>
            <a:r>
              <a:rPr lang="en-US" sz="2200" dirty="0">
                <a:solidFill>
                  <a:srgbClr val="505050"/>
                </a:solidFill>
                <a:ea typeface="Segoe UI" pitchFamily="34" charset="0"/>
                <a:cs typeface="Segoe UI" pitchFamily="34" charset="0"/>
              </a:rPr>
              <a:t>Privileged account management</a:t>
            </a:r>
          </a:p>
          <a:p>
            <a:pPr marL="347472" indent="-292608" fontAlgn="base">
              <a:spcBef>
                <a:spcPts val="600"/>
              </a:spcBef>
              <a:spcAft>
                <a:spcPts val="600"/>
              </a:spcAft>
              <a:buClr>
                <a:srgbClr val="50B347"/>
              </a:buClr>
              <a:buSzPct val="100000"/>
              <a:buBlip>
                <a:blip r:embed="rId4"/>
              </a:buBlip>
              <a:tabLst>
                <a:tab pos="658368" algn="l"/>
              </a:tabLst>
            </a:pPr>
            <a:r>
              <a:rPr lang="en-US" sz="2200" dirty="0">
                <a:solidFill>
                  <a:srgbClr val="505050"/>
                </a:solidFill>
                <a:ea typeface="Segoe UI" pitchFamily="34" charset="0"/>
                <a:cs typeface="Segoe UI" pitchFamily="34" charset="0"/>
              </a:rPr>
              <a:t>Application usage monitoring and rich auditing</a:t>
            </a:r>
          </a:p>
          <a:p>
            <a:pPr marL="347472" indent="-292608" fontAlgn="base">
              <a:spcBef>
                <a:spcPts val="600"/>
              </a:spcBef>
              <a:spcAft>
                <a:spcPts val="600"/>
              </a:spcAft>
              <a:buClr>
                <a:srgbClr val="50B347"/>
              </a:buClr>
              <a:buSzPct val="100000"/>
              <a:buBlip>
                <a:blip r:embed="rId4"/>
              </a:buBlip>
              <a:tabLst>
                <a:tab pos="658368" algn="l"/>
              </a:tabLst>
            </a:pPr>
            <a:r>
              <a:rPr lang="en-US" sz="2200" dirty="0">
                <a:solidFill>
                  <a:srgbClr val="505050"/>
                </a:solidFill>
                <a:ea typeface="Segoe UI" pitchFamily="34" charset="0"/>
                <a:cs typeface="Segoe UI" pitchFamily="34" charset="0"/>
              </a:rPr>
              <a:t>Security monitoring and alerting</a:t>
            </a:r>
          </a:p>
          <a:p>
            <a:pPr marL="347472" indent="-292608" fontAlgn="base">
              <a:spcBef>
                <a:spcPts val="600"/>
              </a:spcBef>
              <a:spcAft>
                <a:spcPts val="600"/>
              </a:spcAft>
              <a:buClr>
                <a:srgbClr val="50B347"/>
              </a:buClr>
              <a:buSzPct val="100000"/>
              <a:buBlip>
                <a:blip r:embed="rId4"/>
              </a:buBlip>
              <a:tabLst>
                <a:tab pos="658368" algn="l"/>
              </a:tabLst>
            </a:pPr>
            <a:r>
              <a:rPr lang="en-US" sz="2200" dirty="0">
                <a:solidFill>
                  <a:srgbClr val="505050"/>
                </a:solidFill>
                <a:ea typeface="Segoe UI" pitchFamily="34" charset="0"/>
                <a:cs typeface="Segoe UI" pitchFamily="34" charset="0"/>
              </a:rPr>
              <a:t>Fine-grained ACLs for AD identities</a:t>
            </a:r>
          </a:p>
        </p:txBody>
      </p:sp>
      <p:grpSp>
        <p:nvGrpSpPr>
          <p:cNvPr id="2" name="Group 1"/>
          <p:cNvGrpSpPr/>
          <p:nvPr/>
        </p:nvGrpSpPr>
        <p:grpSpPr>
          <a:xfrm>
            <a:off x="6933486" y="2032084"/>
            <a:ext cx="4988963" cy="4515127"/>
            <a:chOff x="6135139" y="1262063"/>
            <a:chExt cx="5621886" cy="5087937"/>
          </a:xfrm>
        </p:grpSpPr>
        <p:sp>
          <p:nvSpPr>
            <p:cNvPr id="6" name="Rectangle 5"/>
            <p:cNvSpPr/>
            <p:nvPr/>
          </p:nvSpPr>
          <p:spPr bwMode="auto">
            <a:xfrm>
              <a:off x="6135139" y="1262063"/>
              <a:ext cx="5621886" cy="5087937"/>
            </a:xfrm>
            <a:prstGeom prst="rect">
              <a:avLst/>
            </a:prstGeom>
            <a:no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53965" lvl="1" defTabSz="931954" fontAlgn="base">
                <a:spcBef>
                  <a:spcPts val="600"/>
                </a:spcBef>
                <a:spcAft>
                  <a:spcPts val="600"/>
                </a:spcAft>
                <a:buClr>
                  <a:srgbClr val="68217A">
                    <a:lumMod val="50000"/>
                  </a:srgbClr>
                </a:buClr>
                <a:tabLst>
                  <a:tab pos="658368" algn="l"/>
                </a:tabLst>
              </a:pPr>
              <a:endParaRPr lang="en-IN" sz="2000" dirty="0">
                <a:ln>
                  <a:solidFill>
                    <a:srgbClr val="FFFFFF">
                      <a:alpha val="0"/>
                    </a:srgbClr>
                  </a:solidFill>
                </a:ln>
                <a:gradFill>
                  <a:gsLst>
                    <a:gs pos="85321">
                      <a:srgbClr val="505050"/>
                    </a:gs>
                    <a:gs pos="57000">
                      <a:srgbClr val="505050"/>
                    </a:gs>
                  </a:gsLst>
                </a:gradFill>
                <a:ea typeface="Segoe UI" pitchFamily="34" charset="0"/>
                <a:cs typeface="Segoe UI" pitchFamily="34" charset="0"/>
              </a:endParaRPr>
            </a:p>
          </p:txBody>
        </p:sp>
        <p:grpSp>
          <p:nvGrpSpPr>
            <p:cNvPr id="18" name="Group 17"/>
            <p:cNvGrpSpPr/>
            <p:nvPr/>
          </p:nvGrpSpPr>
          <p:grpSpPr>
            <a:xfrm>
              <a:off x="6402799" y="2194315"/>
              <a:ext cx="5086567" cy="3223432"/>
              <a:chOff x="6343434" y="2149090"/>
              <a:chExt cx="5086567" cy="3223432"/>
            </a:xfrm>
          </p:grpSpPr>
          <p:sp>
            <p:nvSpPr>
              <p:cNvPr id="84" name="Freeform 5"/>
              <p:cNvSpPr>
                <a:spLocks/>
              </p:cNvSpPr>
              <p:nvPr/>
            </p:nvSpPr>
            <p:spPr bwMode="auto">
              <a:xfrm>
                <a:off x="6343434" y="3320450"/>
                <a:ext cx="1708366" cy="971162"/>
              </a:xfrm>
              <a:custGeom>
                <a:avLst/>
                <a:gdLst>
                  <a:gd name="T0" fmla="*/ 187 w 224"/>
                  <a:gd name="T1" fmla="*/ 53 h 126"/>
                  <a:gd name="T2" fmla="*/ 183 w 224"/>
                  <a:gd name="T3" fmla="*/ 53 h 126"/>
                  <a:gd name="T4" fmla="*/ 187 w 224"/>
                  <a:gd name="T5" fmla="*/ 37 h 126"/>
                  <a:gd name="T6" fmla="*/ 150 w 224"/>
                  <a:gd name="T7" fmla="*/ 0 h 126"/>
                  <a:gd name="T8" fmla="*/ 114 w 224"/>
                  <a:gd name="T9" fmla="*/ 32 h 126"/>
                  <a:gd name="T10" fmla="*/ 86 w 224"/>
                  <a:gd name="T11" fmla="*/ 20 h 126"/>
                  <a:gd name="T12" fmla="*/ 49 w 224"/>
                  <a:gd name="T13" fmla="*/ 55 h 126"/>
                  <a:gd name="T14" fmla="*/ 37 w 224"/>
                  <a:gd name="T15" fmla="*/ 53 h 126"/>
                  <a:gd name="T16" fmla="*/ 0 w 224"/>
                  <a:gd name="T17" fmla="*/ 90 h 126"/>
                  <a:gd name="T18" fmla="*/ 37 w 224"/>
                  <a:gd name="T19" fmla="*/ 126 h 126"/>
                  <a:gd name="T20" fmla="*/ 187 w 224"/>
                  <a:gd name="T21" fmla="*/ 126 h 126"/>
                  <a:gd name="T22" fmla="*/ 224 w 224"/>
                  <a:gd name="T23" fmla="*/ 90 h 126"/>
                  <a:gd name="T24" fmla="*/ 187 w 224"/>
                  <a:gd name="T25" fmla="*/ 53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4" h="126">
                    <a:moveTo>
                      <a:pt x="187" y="53"/>
                    </a:moveTo>
                    <a:cubicBezTo>
                      <a:pt x="186" y="53"/>
                      <a:pt x="184" y="53"/>
                      <a:pt x="183" y="53"/>
                    </a:cubicBezTo>
                    <a:cubicBezTo>
                      <a:pt x="185" y="48"/>
                      <a:pt x="187" y="42"/>
                      <a:pt x="187" y="37"/>
                    </a:cubicBezTo>
                    <a:cubicBezTo>
                      <a:pt x="187" y="16"/>
                      <a:pt x="170" y="0"/>
                      <a:pt x="150" y="0"/>
                    </a:cubicBezTo>
                    <a:cubicBezTo>
                      <a:pt x="131" y="0"/>
                      <a:pt x="116" y="14"/>
                      <a:pt x="114" y="32"/>
                    </a:cubicBezTo>
                    <a:cubicBezTo>
                      <a:pt x="107" y="25"/>
                      <a:pt x="97" y="20"/>
                      <a:pt x="86" y="20"/>
                    </a:cubicBezTo>
                    <a:cubicBezTo>
                      <a:pt x="67" y="20"/>
                      <a:pt x="50" y="36"/>
                      <a:pt x="49" y="55"/>
                    </a:cubicBezTo>
                    <a:cubicBezTo>
                      <a:pt x="45" y="54"/>
                      <a:pt x="41" y="53"/>
                      <a:pt x="37" y="53"/>
                    </a:cubicBezTo>
                    <a:cubicBezTo>
                      <a:pt x="16" y="53"/>
                      <a:pt x="0" y="69"/>
                      <a:pt x="0" y="90"/>
                    </a:cubicBezTo>
                    <a:cubicBezTo>
                      <a:pt x="0" y="110"/>
                      <a:pt x="16" y="126"/>
                      <a:pt x="37" y="126"/>
                    </a:cubicBezTo>
                    <a:cubicBezTo>
                      <a:pt x="187" y="126"/>
                      <a:pt x="187" y="126"/>
                      <a:pt x="187" y="126"/>
                    </a:cubicBezTo>
                    <a:cubicBezTo>
                      <a:pt x="207" y="126"/>
                      <a:pt x="224" y="110"/>
                      <a:pt x="224" y="90"/>
                    </a:cubicBezTo>
                    <a:cubicBezTo>
                      <a:pt x="224" y="69"/>
                      <a:pt x="207" y="53"/>
                      <a:pt x="187" y="53"/>
                    </a:cubicBezTo>
                    <a:close/>
                  </a:path>
                </a:pathLst>
              </a:custGeom>
              <a:solidFill>
                <a:srgbClr val="00BCF2"/>
              </a:solidFill>
              <a:ln w="76200">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800" b="0" i="0" u="none" strike="noStrike" kern="0" cap="none" normalizeH="0" baseline="0" noProof="0" dirty="0">
                  <a:ln>
                    <a:noFill/>
                  </a:ln>
                  <a:solidFill>
                    <a:srgbClr val="505050"/>
                  </a:solidFill>
                  <a:effectLst/>
                  <a:uLnTx/>
                  <a:uFillTx/>
                </a:endParaRPr>
              </a:p>
            </p:txBody>
          </p:sp>
          <p:sp>
            <p:nvSpPr>
              <p:cNvPr id="137" name="Freeform 136"/>
              <p:cNvSpPr/>
              <p:nvPr/>
            </p:nvSpPr>
            <p:spPr bwMode="auto">
              <a:xfrm>
                <a:off x="6892353" y="3671350"/>
                <a:ext cx="610528" cy="548763"/>
              </a:xfrm>
              <a:custGeom>
                <a:avLst/>
                <a:gdLst>
                  <a:gd name="connsiteX0" fmla="*/ 1567048 w 3426619"/>
                  <a:gd name="connsiteY0" fmla="*/ 766506 h 3079956"/>
                  <a:gd name="connsiteX1" fmla="*/ 767656 w 3426619"/>
                  <a:gd name="connsiteY1" fmla="*/ 1522967 h 3079956"/>
                  <a:gd name="connsiteX2" fmla="*/ 771270 w 3426619"/>
                  <a:gd name="connsiteY2" fmla="*/ 1527191 h 3079956"/>
                  <a:gd name="connsiteX3" fmla="*/ 843280 w 3426619"/>
                  <a:gd name="connsiteY3" fmla="*/ 1754515 h 3079956"/>
                  <a:gd name="connsiteX4" fmla="*/ 834714 w 3426619"/>
                  <a:gd name="connsiteY4" fmla="*/ 1836456 h 3079956"/>
                  <a:gd name="connsiteX5" fmla="*/ 816545 w 3426619"/>
                  <a:gd name="connsiteY5" fmla="*/ 1892895 h 3079956"/>
                  <a:gd name="connsiteX6" fmla="*/ 1521364 w 3426619"/>
                  <a:gd name="connsiteY6" fmla="*/ 2337950 h 3079956"/>
                  <a:gd name="connsiteX7" fmla="*/ 1523525 w 3426619"/>
                  <a:gd name="connsiteY7" fmla="*/ 2336230 h 3079956"/>
                  <a:gd name="connsiteX8" fmla="*/ 1595147 w 3426619"/>
                  <a:gd name="connsiteY8" fmla="*/ 2298743 h 3079956"/>
                  <a:gd name="connsiteX9" fmla="*/ 1656000 w 3426619"/>
                  <a:gd name="connsiteY9" fmla="*/ 2280528 h 3079956"/>
                  <a:gd name="connsiteX10" fmla="*/ 1656000 w 3426619"/>
                  <a:gd name="connsiteY10" fmla="*/ 799428 h 3079956"/>
                  <a:gd name="connsiteX11" fmla="*/ 1595147 w 3426619"/>
                  <a:gd name="connsiteY11" fmla="*/ 781213 h 3079956"/>
                  <a:gd name="connsiteX12" fmla="*/ 1960533 w 3426619"/>
                  <a:gd name="connsiteY12" fmla="*/ 762620 h 3079956"/>
                  <a:gd name="connsiteX13" fmla="*/ 1913873 w 3426619"/>
                  <a:gd name="connsiteY13" fmla="*/ 784962 h 3079956"/>
                  <a:gd name="connsiteX14" fmla="*/ 1844243 w 3426619"/>
                  <a:gd name="connsiteY14" fmla="*/ 804904 h 3079956"/>
                  <a:gd name="connsiteX15" fmla="*/ 1815702 w 3426619"/>
                  <a:gd name="connsiteY15" fmla="*/ 807678 h 3079956"/>
                  <a:gd name="connsiteX16" fmla="*/ 1815702 w 3426619"/>
                  <a:gd name="connsiteY16" fmla="*/ 2272278 h 3079956"/>
                  <a:gd name="connsiteX17" fmla="*/ 1844243 w 3426619"/>
                  <a:gd name="connsiteY17" fmla="*/ 2275052 h 3079956"/>
                  <a:gd name="connsiteX18" fmla="*/ 1977903 w 3426619"/>
                  <a:gd name="connsiteY18" fmla="*/ 2325654 h 3079956"/>
                  <a:gd name="connsiteX19" fmla="*/ 1985764 w 3426619"/>
                  <a:gd name="connsiteY19" fmla="*/ 2331181 h 3079956"/>
                  <a:gd name="connsiteX20" fmla="*/ 2606465 w 3426619"/>
                  <a:gd name="connsiteY20" fmla="*/ 1881685 h 3079956"/>
                  <a:gd name="connsiteX21" fmla="*/ 2591905 w 3426619"/>
                  <a:gd name="connsiteY21" fmla="*/ 1836456 h 3079956"/>
                  <a:gd name="connsiteX22" fmla="*/ 2583339 w 3426619"/>
                  <a:gd name="connsiteY22" fmla="*/ 1754515 h 3079956"/>
                  <a:gd name="connsiteX23" fmla="*/ 2616474 w 3426619"/>
                  <a:gd name="connsiteY23" fmla="*/ 1596255 h 3079956"/>
                  <a:gd name="connsiteX24" fmla="*/ 2629867 w 3426619"/>
                  <a:gd name="connsiteY24" fmla="*/ 1572461 h 3079956"/>
                  <a:gd name="connsiteX25" fmla="*/ 1759268 w 3426619"/>
                  <a:gd name="connsiteY25" fmla="*/ 0 h 3079956"/>
                  <a:gd name="connsiteX26" fmla="*/ 2180908 w 3426619"/>
                  <a:gd name="connsiteY26" fmla="*/ 406582 h 3079956"/>
                  <a:gd name="connsiteX27" fmla="*/ 2125045 w 3426619"/>
                  <a:gd name="connsiteY27" fmla="*/ 608961 h 3079956"/>
                  <a:gd name="connsiteX28" fmla="*/ 2085827 w 3426619"/>
                  <a:gd name="connsiteY28" fmla="*/ 663534 h 3079956"/>
                  <a:gd name="connsiteX29" fmla="*/ 2732820 w 3426619"/>
                  <a:gd name="connsiteY29" fmla="*/ 1446344 h 3079956"/>
                  <a:gd name="connsiteX30" fmla="*/ 2769236 w 3426619"/>
                  <a:gd name="connsiteY30" fmla="*/ 1417371 h 3079956"/>
                  <a:gd name="connsiteX31" fmla="*/ 3004979 w 3426619"/>
                  <a:gd name="connsiteY31" fmla="*/ 1347933 h 3079956"/>
                  <a:gd name="connsiteX32" fmla="*/ 3426619 w 3426619"/>
                  <a:gd name="connsiteY32" fmla="*/ 1754515 h 3079956"/>
                  <a:gd name="connsiteX33" fmla="*/ 3004979 w 3426619"/>
                  <a:gd name="connsiteY33" fmla="*/ 2161097 h 3079956"/>
                  <a:gd name="connsiteX34" fmla="*/ 2706835 w 3426619"/>
                  <a:gd name="connsiteY34" fmla="*/ 2042012 h 3079956"/>
                  <a:gd name="connsiteX35" fmla="*/ 2687905 w 3426619"/>
                  <a:gd name="connsiteY35" fmla="*/ 2019888 h 3079956"/>
                  <a:gd name="connsiteX36" fmla="*/ 2104486 w 3426619"/>
                  <a:gd name="connsiteY36" fmla="*/ 2442386 h 3079956"/>
                  <a:gd name="connsiteX37" fmla="*/ 2125045 w 3426619"/>
                  <a:gd name="connsiteY37" fmla="*/ 2470995 h 3079956"/>
                  <a:gd name="connsiteX38" fmla="*/ 2180908 w 3426619"/>
                  <a:gd name="connsiteY38" fmla="*/ 2673374 h 3079956"/>
                  <a:gd name="connsiteX39" fmla="*/ 1759268 w 3426619"/>
                  <a:gd name="connsiteY39" fmla="*/ 3079956 h 3079956"/>
                  <a:gd name="connsiteX40" fmla="*/ 1337628 w 3426619"/>
                  <a:gd name="connsiteY40" fmla="*/ 2673374 h 3079956"/>
                  <a:gd name="connsiteX41" fmla="*/ 1370763 w 3426619"/>
                  <a:gd name="connsiteY41" fmla="*/ 2515114 h 3079956"/>
                  <a:gd name="connsiteX42" fmla="*/ 1405391 w 3426619"/>
                  <a:gd name="connsiteY42" fmla="*/ 2453595 h 3079956"/>
                  <a:gd name="connsiteX43" fmla="*/ 731639 w 3426619"/>
                  <a:gd name="connsiteY43" fmla="*/ 2028158 h 3079956"/>
                  <a:gd name="connsiteX44" fmla="*/ 719784 w 3426619"/>
                  <a:gd name="connsiteY44" fmla="*/ 2042012 h 3079956"/>
                  <a:gd name="connsiteX45" fmla="*/ 421640 w 3426619"/>
                  <a:gd name="connsiteY45" fmla="*/ 2161097 h 3079956"/>
                  <a:gd name="connsiteX46" fmla="*/ 0 w 3426619"/>
                  <a:gd name="connsiteY46" fmla="*/ 1754515 h 3079956"/>
                  <a:gd name="connsiteX47" fmla="*/ 421640 w 3426619"/>
                  <a:gd name="connsiteY47" fmla="*/ 1347933 h 3079956"/>
                  <a:gd name="connsiteX48" fmla="*/ 585761 w 3426619"/>
                  <a:gd name="connsiteY48" fmla="*/ 1379884 h 3079956"/>
                  <a:gd name="connsiteX49" fmla="*/ 650630 w 3426619"/>
                  <a:gd name="connsiteY49" fmla="*/ 1413836 h 3079956"/>
                  <a:gd name="connsiteX50" fmla="*/ 1438803 w 3426619"/>
                  <a:gd name="connsiteY50" fmla="*/ 667992 h 3079956"/>
                  <a:gd name="connsiteX51" fmla="*/ 1409638 w 3426619"/>
                  <a:gd name="connsiteY51" fmla="*/ 633906 h 3079956"/>
                  <a:gd name="connsiteX52" fmla="*/ 1337628 w 3426619"/>
                  <a:gd name="connsiteY52" fmla="*/ 406582 h 3079956"/>
                  <a:gd name="connsiteX53" fmla="*/ 1759268 w 3426619"/>
                  <a:gd name="connsiteY53" fmla="*/ 0 h 30799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3426619" h="3079956">
                    <a:moveTo>
                      <a:pt x="1567048" y="766506"/>
                    </a:moveTo>
                    <a:lnTo>
                      <a:pt x="767656" y="1522967"/>
                    </a:lnTo>
                    <a:lnTo>
                      <a:pt x="771270" y="1527191"/>
                    </a:lnTo>
                    <a:cubicBezTo>
                      <a:pt x="816734" y="1592082"/>
                      <a:pt x="843280" y="1670309"/>
                      <a:pt x="843280" y="1754515"/>
                    </a:cubicBezTo>
                    <a:cubicBezTo>
                      <a:pt x="843280" y="1782584"/>
                      <a:pt x="840330" y="1809988"/>
                      <a:pt x="834714" y="1836456"/>
                    </a:cubicBezTo>
                    <a:lnTo>
                      <a:pt x="816545" y="1892895"/>
                    </a:lnTo>
                    <a:lnTo>
                      <a:pt x="1521364" y="2337950"/>
                    </a:lnTo>
                    <a:lnTo>
                      <a:pt x="1523525" y="2336230"/>
                    </a:lnTo>
                    <a:cubicBezTo>
                      <a:pt x="1545957" y="2321617"/>
                      <a:pt x="1569925" y="2309030"/>
                      <a:pt x="1595147" y="2298743"/>
                    </a:cubicBezTo>
                    <a:lnTo>
                      <a:pt x="1656000" y="2280528"/>
                    </a:lnTo>
                    <a:lnTo>
                      <a:pt x="1656000" y="799428"/>
                    </a:lnTo>
                    <a:lnTo>
                      <a:pt x="1595147" y="781213"/>
                    </a:lnTo>
                    <a:close/>
                    <a:moveTo>
                      <a:pt x="1960533" y="762620"/>
                    </a:moveTo>
                    <a:lnTo>
                      <a:pt x="1913873" y="784962"/>
                    </a:lnTo>
                    <a:cubicBezTo>
                      <a:pt x="1891533" y="793457"/>
                      <a:pt x="1868260" y="800165"/>
                      <a:pt x="1844243" y="804904"/>
                    </a:cubicBezTo>
                    <a:lnTo>
                      <a:pt x="1815702" y="807678"/>
                    </a:lnTo>
                    <a:lnTo>
                      <a:pt x="1815702" y="2272278"/>
                    </a:lnTo>
                    <a:lnTo>
                      <a:pt x="1844243" y="2275052"/>
                    </a:lnTo>
                    <a:cubicBezTo>
                      <a:pt x="1892276" y="2284530"/>
                      <a:pt x="1937335" y="2301885"/>
                      <a:pt x="1977903" y="2325654"/>
                    </a:cubicBezTo>
                    <a:lnTo>
                      <a:pt x="1985764" y="2331181"/>
                    </a:lnTo>
                    <a:lnTo>
                      <a:pt x="2606465" y="1881685"/>
                    </a:lnTo>
                    <a:lnTo>
                      <a:pt x="2591905" y="1836456"/>
                    </a:lnTo>
                    <a:cubicBezTo>
                      <a:pt x="2586289" y="1809988"/>
                      <a:pt x="2583339" y="1782584"/>
                      <a:pt x="2583339" y="1754515"/>
                    </a:cubicBezTo>
                    <a:cubicBezTo>
                      <a:pt x="2583339" y="1698378"/>
                      <a:pt x="2595137" y="1644898"/>
                      <a:pt x="2616474" y="1596255"/>
                    </a:cubicBezTo>
                    <a:lnTo>
                      <a:pt x="2629867" y="1572461"/>
                    </a:lnTo>
                    <a:close/>
                    <a:moveTo>
                      <a:pt x="1759268" y="0"/>
                    </a:moveTo>
                    <a:cubicBezTo>
                      <a:pt x="1992133" y="0"/>
                      <a:pt x="2180908" y="182033"/>
                      <a:pt x="2180908" y="406582"/>
                    </a:cubicBezTo>
                    <a:cubicBezTo>
                      <a:pt x="2180908" y="480262"/>
                      <a:pt x="2160583" y="549365"/>
                      <a:pt x="2125045" y="608961"/>
                    </a:cubicBezTo>
                    <a:lnTo>
                      <a:pt x="2085827" y="663534"/>
                    </a:lnTo>
                    <a:lnTo>
                      <a:pt x="2732820" y="1446344"/>
                    </a:lnTo>
                    <a:lnTo>
                      <a:pt x="2769236" y="1417371"/>
                    </a:lnTo>
                    <a:cubicBezTo>
                      <a:pt x="2836530" y="1373532"/>
                      <a:pt x="2917655" y="1347933"/>
                      <a:pt x="3004979" y="1347933"/>
                    </a:cubicBezTo>
                    <a:cubicBezTo>
                      <a:pt x="3237844" y="1347933"/>
                      <a:pt x="3426619" y="1529966"/>
                      <a:pt x="3426619" y="1754515"/>
                    </a:cubicBezTo>
                    <a:cubicBezTo>
                      <a:pt x="3426619" y="1979064"/>
                      <a:pt x="3237844" y="2161097"/>
                      <a:pt x="3004979" y="2161097"/>
                    </a:cubicBezTo>
                    <a:cubicBezTo>
                      <a:pt x="2888546" y="2161097"/>
                      <a:pt x="2783137" y="2115589"/>
                      <a:pt x="2706835" y="2042012"/>
                    </a:cubicBezTo>
                    <a:lnTo>
                      <a:pt x="2687905" y="2019888"/>
                    </a:lnTo>
                    <a:lnTo>
                      <a:pt x="2104486" y="2442386"/>
                    </a:lnTo>
                    <a:lnTo>
                      <a:pt x="2125045" y="2470995"/>
                    </a:lnTo>
                    <a:cubicBezTo>
                      <a:pt x="2160583" y="2530591"/>
                      <a:pt x="2180908" y="2599694"/>
                      <a:pt x="2180908" y="2673374"/>
                    </a:cubicBezTo>
                    <a:cubicBezTo>
                      <a:pt x="2180908" y="2897923"/>
                      <a:pt x="1992133" y="3079956"/>
                      <a:pt x="1759268" y="3079956"/>
                    </a:cubicBezTo>
                    <a:cubicBezTo>
                      <a:pt x="1526403" y="3079956"/>
                      <a:pt x="1337628" y="2897923"/>
                      <a:pt x="1337628" y="2673374"/>
                    </a:cubicBezTo>
                    <a:cubicBezTo>
                      <a:pt x="1337628" y="2617237"/>
                      <a:pt x="1349426" y="2563757"/>
                      <a:pt x="1370763" y="2515114"/>
                    </a:cubicBezTo>
                    <a:lnTo>
                      <a:pt x="1405391" y="2453595"/>
                    </a:lnTo>
                    <a:lnTo>
                      <a:pt x="731639" y="2028158"/>
                    </a:lnTo>
                    <a:lnTo>
                      <a:pt x="719784" y="2042012"/>
                    </a:lnTo>
                    <a:cubicBezTo>
                      <a:pt x="643483" y="2115589"/>
                      <a:pt x="538073" y="2161097"/>
                      <a:pt x="421640" y="2161097"/>
                    </a:cubicBezTo>
                    <a:cubicBezTo>
                      <a:pt x="188775" y="2161097"/>
                      <a:pt x="0" y="1979064"/>
                      <a:pt x="0" y="1754515"/>
                    </a:cubicBezTo>
                    <a:cubicBezTo>
                      <a:pt x="0" y="1529966"/>
                      <a:pt x="188775" y="1347933"/>
                      <a:pt x="421640" y="1347933"/>
                    </a:cubicBezTo>
                    <a:cubicBezTo>
                      <a:pt x="479856" y="1347933"/>
                      <a:pt x="535317" y="1359310"/>
                      <a:pt x="585761" y="1379884"/>
                    </a:cubicBezTo>
                    <a:lnTo>
                      <a:pt x="650630" y="1413836"/>
                    </a:lnTo>
                    <a:lnTo>
                      <a:pt x="1438803" y="667992"/>
                    </a:lnTo>
                    <a:lnTo>
                      <a:pt x="1409638" y="633906"/>
                    </a:lnTo>
                    <a:cubicBezTo>
                      <a:pt x="1364174" y="569015"/>
                      <a:pt x="1337628" y="490788"/>
                      <a:pt x="1337628" y="406582"/>
                    </a:cubicBezTo>
                    <a:cubicBezTo>
                      <a:pt x="1337628" y="182033"/>
                      <a:pt x="1526403" y="0"/>
                      <a:pt x="1759268"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a:solidFill>
                    <a:schemeClr val="bg1"/>
                  </a:solidFill>
                  <a:latin typeface="+mj-lt"/>
                  <a:ea typeface="Segoe UI" pitchFamily="34" charset="0"/>
                  <a:cs typeface="Segoe UI" pitchFamily="34" charset="0"/>
                </a:endParaRPr>
              </a:p>
            </p:txBody>
          </p:sp>
          <p:grpSp>
            <p:nvGrpSpPr>
              <p:cNvPr id="14" name="Group 13"/>
              <p:cNvGrpSpPr/>
              <p:nvPr/>
            </p:nvGrpSpPr>
            <p:grpSpPr>
              <a:xfrm>
                <a:off x="10415588" y="3385000"/>
                <a:ext cx="1014413" cy="763049"/>
                <a:chOff x="10415588" y="3385000"/>
                <a:chExt cx="1014413" cy="763049"/>
              </a:xfrm>
            </p:grpSpPr>
            <p:sp>
              <p:nvSpPr>
                <p:cNvPr id="145" name="Freeform 8"/>
                <p:cNvSpPr>
                  <a:spLocks/>
                </p:cNvSpPr>
                <p:nvPr/>
              </p:nvSpPr>
              <p:spPr bwMode="auto">
                <a:xfrm>
                  <a:off x="10474272" y="3385000"/>
                  <a:ext cx="892208" cy="619325"/>
                </a:xfrm>
                <a:custGeom>
                  <a:avLst/>
                  <a:gdLst>
                    <a:gd name="T0" fmla="*/ 527 w 537"/>
                    <a:gd name="T1" fmla="*/ 373 h 373"/>
                    <a:gd name="T2" fmla="*/ 537 w 537"/>
                    <a:gd name="T3" fmla="*/ 362 h 373"/>
                    <a:gd name="T4" fmla="*/ 537 w 537"/>
                    <a:gd name="T5" fmla="*/ 11 h 373"/>
                    <a:gd name="T6" fmla="*/ 527 w 537"/>
                    <a:gd name="T7" fmla="*/ 0 h 373"/>
                    <a:gd name="T8" fmla="*/ 11 w 537"/>
                    <a:gd name="T9" fmla="*/ 0 h 373"/>
                    <a:gd name="T10" fmla="*/ 0 w 537"/>
                    <a:gd name="T11" fmla="*/ 11 h 373"/>
                    <a:gd name="T12" fmla="*/ 0 w 537"/>
                    <a:gd name="T13" fmla="*/ 362 h 373"/>
                    <a:gd name="T14" fmla="*/ 11 w 537"/>
                    <a:gd name="T15" fmla="*/ 373 h 373"/>
                    <a:gd name="T16" fmla="*/ 527 w 537"/>
                    <a:gd name="T17" fmla="*/ 373 h 3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37" h="373">
                      <a:moveTo>
                        <a:pt x="527" y="373"/>
                      </a:moveTo>
                      <a:cubicBezTo>
                        <a:pt x="532" y="373"/>
                        <a:pt x="537" y="368"/>
                        <a:pt x="537" y="362"/>
                      </a:cubicBezTo>
                      <a:cubicBezTo>
                        <a:pt x="537" y="11"/>
                        <a:pt x="537" y="11"/>
                        <a:pt x="537" y="11"/>
                      </a:cubicBezTo>
                      <a:cubicBezTo>
                        <a:pt x="537" y="5"/>
                        <a:pt x="532" y="0"/>
                        <a:pt x="527" y="0"/>
                      </a:cubicBezTo>
                      <a:cubicBezTo>
                        <a:pt x="11" y="0"/>
                        <a:pt x="11" y="0"/>
                        <a:pt x="11" y="0"/>
                      </a:cubicBezTo>
                      <a:cubicBezTo>
                        <a:pt x="5" y="0"/>
                        <a:pt x="0" y="5"/>
                        <a:pt x="0" y="11"/>
                      </a:cubicBezTo>
                      <a:cubicBezTo>
                        <a:pt x="0" y="362"/>
                        <a:pt x="0" y="362"/>
                        <a:pt x="0" y="362"/>
                      </a:cubicBezTo>
                      <a:cubicBezTo>
                        <a:pt x="0" y="368"/>
                        <a:pt x="5" y="373"/>
                        <a:pt x="11" y="373"/>
                      </a:cubicBezTo>
                      <a:lnTo>
                        <a:pt x="527" y="373"/>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6" name="Rectangle 9"/>
                <p:cNvSpPr>
                  <a:spLocks noChangeArrowheads="1"/>
                </p:cNvSpPr>
                <p:nvPr/>
              </p:nvSpPr>
              <p:spPr bwMode="auto">
                <a:xfrm>
                  <a:off x="10502746" y="3413475"/>
                  <a:ext cx="835259" cy="47339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7" name="Rectangle 10"/>
                <p:cNvSpPr>
                  <a:spLocks noChangeArrowheads="1"/>
                </p:cNvSpPr>
                <p:nvPr/>
              </p:nvSpPr>
              <p:spPr bwMode="auto">
                <a:xfrm>
                  <a:off x="10415588" y="4076225"/>
                  <a:ext cx="1014413" cy="71824"/>
                </a:xfrm>
                <a:prstGeom prst="rect">
                  <a:avLst/>
                </a:prstGeom>
                <a:solidFill>
                  <a:srgbClr val="44235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8" name="Freeform 11"/>
                <p:cNvSpPr>
                  <a:spLocks/>
                </p:cNvSpPr>
                <p:nvPr/>
              </p:nvSpPr>
              <p:spPr bwMode="auto">
                <a:xfrm>
                  <a:off x="10415588" y="3990036"/>
                  <a:ext cx="1014413" cy="86189"/>
                </a:xfrm>
                <a:custGeom>
                  <a:avLst/>
                  <a:gdLst>
                    <a:gd name="T0" fmla="*/ 931 w 931"/>
                    <a:gd name="T1" fmla="*/ 42 h 42"/>
                    <a:gd name="T2" fmla="*/ 0 w 931"/>
                    <a:gd name="T3" fmla="*/ 42 h 42"/>
                    <a:gd name="T4" fmla="*/ 59 w 931"/>
                    <a:gd name="T5" fmla="*/ 0 h 42"/>
                    <a:gd name="T6" fmla="*/ 874 w 931"/>
                    <a:gd name="T7" fmla="*/ 0 h 42"/>
                    <a:gd name="T8" fmla="*/ 931 w 931"/>
                    <a:gd name="T9" fmla="*/ 42 h 42"/>
                  </a:gdLst>
                  <a:ahLst/>
                  <a:cxnLst>
                    <a:cxn ang="0">
                      <a:pos x="T0" y="T1"/>
                    </a:cxn>
                    <a:cxn ang="0">
                      <a:pos x="T2" y="T3"/>
                    </a:cxn>
                    <a:cxn ang="0">
                      <a:pos x="T4" y="T5"/>
                    </a:cxn>
                    <a:cxn ang="0">
                      <a:pos x="T6" y="T7"/>
                    </a:cxn>
                    <a:cxn ang="0">
                      <a:pos x="T8" y="T9"/>
                    </a:cxn>
                  </a:cxnLst>
                  <a:rect l="0" t="0" r="r" b="b"/>
                  <a:pathLst>
                    <a:path w="931" h="42">
                      <a:moveTo>
                        <a:pt x="931" y="42"/>
                      </a:moveTo>
                      <a:lnTo>
                        <a:pt x="0" y="42"/>
                      </a:lnTo>
                      <a:lnTo>
                        <a:pt x="59" y="0"/>
                      </a:lnTo>
                      <a:lnTo>
                        <a:pt x="874" y="0"/>
                      </a:lnTo>
                      <a:lnTo>
                        <a:pt x="931" y="42"/>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Round Same Side Corner Rectangle 12"/>
                <p:cNvSpPr/>
                <p:nvPr/>
              </p:nvSpPr>
              <p:spPr bwMode="auto">
                <a:xfrm>
                  <a:off x="10860882" y="4004325"/>
                  <a:ext cx="123825" cy="71900"/>
                </a:xfrm>
                <a:prstGeom prst="round2SameRect">
                  <a:avLst>
                    <a:gd name="adj1" fmla="val 49787"/>
                    <a:gd name="adj2" fmla="val 0"/>
                  </a:avLst>
                </a:prstGeom>
                <a:solidFill>
                  <a:srgbClr val="B482D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a:solidFill>
                      <a:schemeClr val="bg1"/>
                    </a:solidFill>
                    <a:latin typeface="+mj-lt"/>
                    <a:ea typeface="Segoe UI" pitchFamily="34" charset="0"/>
                    <a:cs typeface="Segoe UI" pitchFamily="34" charset="0"/>
                  </a:endParaRPr>
                </a:p>
              </p:txBody>
            </p:sp>
          </p:grpSp>
          <p:grpSp>
            <p:nvGrpSpPr>
              <p:cNvPr id="17" name="Group 16"/>
              <p:cNvGrpSpPr/>
              <p:nvPr/>
            </p:nvGrpSpPr>
            <p:grpSpPr>
              <a:xfrm>
                <a:off x="7773331" y="2149090"/>
                <a:ext cx="2753461" cy="3223432"/>
                <a:chOff x="7773331" y="2149090"/>
                <a:chExt cx="2753461" cy="3223432"/>
              </a:xfrm>
            </p:grpSpPr>
            <p:grpSp>
              <p:nvGrpSpPr>
                <p:cNvPr id="15" name="Group 14"/>
                <p:cNvGrpSpPr/>
                <p:nvPr/>
              </p:nvGrpSpPr>
              <p:grpSpPr>
                <a:xfrm rot="21182625" flipH="1">
                  <a:off x="7773331" y="2149090"/>
                  <a:ext cx="2632868" cy="2229471"/>
                  <a:chOff x="7619070" y="-1306616"/>
                  <a:chExt cx="2632868" cy="2530119"/>
                </a:xfrm>
              </p:grpSpPr>
              <p:sp>
                <p:nvSpPr>
                  <p:cNvPr id="9" name="Block Arc 8"/>
                  <p:cNvSpPr/>
                  <p:nvPr/>
                </p:nvSpPr>
                <p:spPr bwMode="auto">
                  <a:xfrm>
                    <a:off x="7619070" y="-1306616"/>
                    <a:ext cx="2530119" cy="2530119"/>
                  </a:xfrm>
                  <a:prstGeom prst="blockArc">
                    <a:avLst>
                      <a:gd name="adj1" fmla="val 10800000"/>
                      <a:gd name="adj2" fmla="val 20466313"/>
                      <a:gd name="adj3" fmla="val 6599"/>
                    </a:avLst>
                  </a:prstGeom>
                  <a:solidFill>
                    <a:srgbClr val="FF8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a:solidFill>
                        <a:schemeClr val="bg1"/>
                      </a:solidFill>
                      <a:latin typeface="+mj-lt"/>
                      <a:ea typeface="Segoe UI" pitchFamily="34" charset="0"/>
                      <a:cs typeface="Segoe UI" pitchFamily="34" charset="0"/>
                    </a:endParaRPr>
                  </a:p>
                </p:txBody>
              </p:sp>
              <p:sp>
                <p:nvSpPr>
                  <p:cNvPr id="10" name="Isosceles Triangle 9"/>
                  <p:cNvSpPr/>
                  <p:nvPr/>
                </p:nvSpPr>
                <p:spPr bwMode="auto">
                  <a:xfrm rot="9624675">
                    <a:off x="9827118" y="-497613"/>
                    <a:ext cx="424820" cy="278177"/>
                  </a:xfrm>
                  <a:prstGeom prst="triangle">
                    <a:avLst/>
                  </a:prstGeom>
                  <a:solidFill>
                    <a:srgbClr val="FF8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a:solidFill>
                        <a:schemeClr val="bg1"/>
                      </a:solidFill>
                      <a:latin typeface="+mj-lt"/>
                      <a:ea typeface="Segoe UI" pitchFamily="34" charset="0"/>
                      <a:cs typeface="Segoe UI" pitchFamily="34" charset="0"/>
                    </a:endParaRPr>
                  </a:p>
                </p:txBody>
              </p:sp>
            </p:grpSp>
            <p:grpSp>
              <p:nvGrpSpPr>
                <p:cNvPr id="16" name="Group 15"/>
                <p:cNvGrpSpPr/>
                <p:nvPr/>
              </p:nvGrpSpPr>
              <p:grpSpPr>
                <a:xfrm>
                  <a:off x="7919443" y="3207918"/>
                  <a:ext cx="2607349" cy="2164604"/>
                  <a:chOff x="7919443" y="3207918"/>
                  <a:chExt cx="2607349" cy="2164604"/>
                </a:xfrm>
              </p:grpSpPr>
              <p:sp>
                <p:nvSpPr>
                  <p:cNvPr id="150" name="Block Arc 149"/>
                  <p:cNvSpPr/>
                  <p:nvPr/>
                </p:nvSpPr>
                <p:spPr bwMode="auto">
                  <a:xfrm rot="20990887" flipV="1">
                    <a:off x="7919443" y="3207918"/>
                    <a:ext cx="2530119" cy="2164604"/>
                  </a:xfrm>
                  <a:prstGeom prst="blockArc">
                    <a:avLst>
                      <a:gd name="adj1" fmla="val 10800000"/>
                      <a:gd name="adj2" fmla="val 20466313"/>
                      <a:gd name="adj3" fmla="val 6599"/>
                    </a:avLst>
                  </a:prstGeom>
                  <a:solidFill>
                    <a:srgbClr val="FF8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a:solidFill>
                        <a:schemeClr val="bg1"/>
                      </a:solidFill>
                      <a:latin typeface="+mj-lt"/>
                      <a:ea typeface="Segoe UI" pitchFamily="34" charset="0"/>
                      <a:cs typeface="Segoe UI" pitchFamily="34" charset="0"/>
                    </a:endParaRPr>
                  </a:p>
                </p:txBody>
              </p:sp>
              <p:sp>
                <p:nvSpPr>
                  <p:cNvPr id="151" name="Isosceles Triangle 150"/>
                  <p:cNvSpPr/>
                  <p:nvPr/>
                </p:nvSpPr>
                <p:spPr bwMode="auto">
                  <a:xfrm rot="11366212" flipV="1">
                    <a:off x="10101972" y="4308324"/>
                    <a:ext cx="424820" cy="278177"/>
                  </a:xfrm>
                  <a:prstGeom prst="triangle">
                    <a:avLst/>
                  </a:prstGeom>
                  <a:solidFill>
                    <a:srgbClr val="FF8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a:solidFill>
                        <a:schemeClr val="bg1"/>
                      </a:solidFill>
                      <a:latin typeface="+mj-lt"/>
                      <a:ea typeface="Segoe UI" pitchFamily="34" charset="0"/>
                      <a:cs typeface="Segoe UI" pitchFamily="34" charset="0"/>
                    </a:endParaRPr>
                  </a:p>
                </p:txBody>
              </p:sp>
            </p:grpSp>
          </p:grpSp>
          <p:sp>
            <p:nvSpPr>
              <p:cNvPr id="152" name="Oval 69"/>
              <p:cNvSpPr/>
              <p:nvPr>
                <p:custDataLst>
                  <p:tags r:id="rId1"/>
                </p:custDataLst>
              </p:nvPr>
            </p:nvSpPr>
            <p:spPr>
              <a:xfrm>
                <a:off x="8205987" y="2849237"/>
                <a:ext cx="1888149" cy="1888004"/>
              </a:xfrm>
              <a:custGeom>
                <a:avLst/>
                <a:gdLst/>
                <a:ahLst/>
                <a:cxnLst/>
                <a:rect l="l" t="t" r="r" b="b"/>
                <a:pathLst>
                  <a:path w="1376596" h="1376594">
                    <a:moveTo>
                      <a:pt x="1117292" y="959919"/>
                    </a:moveTo>
                    <a:lnTo>
                      <a:pt x="1116376" y="960882"/>
                    </a:lnTo>
                    <a:cubicBezTo>
                      <a:pt x="1115460" y="963767"/>
                      <a:pt x="1118209" y="962805"/>
                      <a:pt x="1119124" y="969540"/>
                    </a:cubicBezTo>
                    <a:cubicBezTo>
                      <a:pt x="1120040" y="973388"/>
                      <a:pt x="1122789" y="974350"/>
                      <a:pt x="1125537" y="974350"/>
                    </a:cubicBezTo>
                    <a:cubicBezTo>
                      <a:pt x="1131950" y="972426"/>
                      <a:pt x="1129202" y="967615"/>
                      <a:pt x="1128286" y="963767"/>
                    </a:cubicBezTo>
                    <a:cubicBezTo>
                      <a:pt x="1128286" y="960882"/>
                      <a:pt x="1127369" y="960882"/>
                      <a:pt x="1125537" y="960882"/>
                    </a:cubicBezTo>
                    <a:cubicBezTo>
                      <a:pt x="1123705" y="960882"/>
                      <a:pt x="1122789" y="960882"/>
                      <a:pt x="1121873" y="960882"/>
                    </a:cubicBezTo>
                    <a:cubicBezTo>
                      <a:pt x="1120956" y="960882"/>
                      <a:pt x="1120956" y="959919"/>
                      <a:pt x="1117292" y="959919"/>
                    </a:cubicBezTo>
                    <a:close/>
                    <a:moveTo>
                      <a:pt x="1022834" y="891395"/>
                    </a:moveTo>
                    <a:cubicBezTo>
                      <a:pt x="1020200" y="890716"/>
                      <a:pt x="1017894" y="890716"/>
                      <a:pt x="1017894" y="892754"/>
                    </a:cubicBezTo>
                    <a:cubicBezTo>
                      <a:pt x="1017894" y="894113"/>
                      <a:pt x="1019212" y="894113"/>
                      <a:pt x="1019212" y="895472"/>
                    </a:cubicBezTo>
                    <a:cubicBezTo>
                      <a:pt x="1015260" y="898190"/>
                      <a:pt x="1013944" y="896831"/>
                      <a:pt x="1012626" y="898190"/>
                    </a:cubicBezTo>
                    <a:cubicBezTo>
                      <a:pt x="1011309" y="899549"/>
                      <a:pt x="1009992" y="900908"/>
                      <a:pt x="1009992" y="902266"/>
                    </a:cubicBezTo>
                    <a:cubicBezTo>
                      <a:pt x="1009992" y="904985"/>
                      <a:pt x="1008675" y="904985"/>
                      <a:pt x="1007358" y="906344"/>
                    </a:cubicBezTo>
                    <a:cubicBezTo>
                      <a:pt x="1006041" y="907702"/>
                      <a:pt x="1006041" y="909062"/>
                      <a:pt x="1006041" y="910421"/>
                    </a:cubicBezTo>
                    <a:cubicBezTo>
                      <a:pt x="1006041" y="913139"/>
                      <a:pt x="1007358" y="913139"/>
                      <a:pt x="1004723" y="914498"/>
                    </a:cubicBezTo>
                    <a:cubicBezTo>
                      <a:pt x="1002089" y="915857"/>
                      <a:pt x="1000773" y="914498"/>
                      <a:pt x="999455" y="913139"/>
                    </a:cubicBezTo>
                    <a:cubicBezTo>
                      <a:pt x="995504" y="910421"/>
                      <a:pt x="992870" y="904985"/>
                      <a:pt x="988918" y="910421"/>
                    </a:cubicBezTo>
                    <a:cubicBezTo>
                      <a:pt x="987602" y="913139"/>
                      <a:pt x="983650" y="914498"/>
                      <a:pt x="981016" y="915857"/>
                    </a:cubicBezTo>
                    <a:cubicBezTo>
                      <a:pt x="978382" y="918575"/>
                      <a:pt x="978382" y="919934"/>
                      <a:pt x="978382" y="922651"/>
                    </a:cubicBezTo>
                    <a:cubicBezTo>
                      <a:pt x="977065" y="926729"/>
                      <a:pt x="974431" y="926729"/>
                      <a:pt x="970479" y="928087"/>
                    </a:cubicBezTo>
                    <a:cubicBezTo>
                      <a:pt x="967845" y="929447"/>
                      <a:pt x="966528" y="930806"/>
                      <a:pt x="967845" y="933523"/>
                    </a:cubicBezTo>
                    <a:cubicBezTo>
                      <a:pt x="967845" y="936242"/>
                      <a:pt x="967845" y="936242"/>
                      <a:pt x="966528" y="937601"/>
                    </a:cubicBezTo>
                    <a:cubicBezTo>
                      <a:pt x="965211" y="938959"/>
                      <a:pt x="963894" y="940319"/>
                      <a:pt x="963894" y="943037"/>
                    </a:cubicBezTo>
                    <a:cubicBezTo>
                      <a:pt x="963894" y="944395"/>
                      <a:pt x="963894" y="944395"/>
                      <a:pt x="962577" y="945755"/>
                    </a:cubicBezTo>
                    <a:cubicBezTo>
                      <a:pt x="961260" y="947114"/>
                      <a:pt x="959942" y="947114"/>
                      <a:pt x="958626" y="947114"/>
                    </a:cubicBezTo>
                    <a:cubicBezTo>
                      <a:pt x="957308" y="947114"/>
                      <a:pt x="954674" y="947114"/>
                      <a:pt x="946772" y="952550"/>
                    </a:cubicBezTo>
                    <a:lnTo>
                      <a:pt x="941503" y="953908"/>
                    </a:lnTo>
                    <a:cubicBezTo>
                      <a:pt x="936235" y="955267"/>
                      <a:pt x="933601" y="960703"/>
                      <a:pt x="928332" y="962063"/>
                    </a:cubicBezTo>
                    <a:cubicBezTo>
                      <a:pt x="925698" y="962063"/>
                      <a:pt x="924381" y="963422"/>
                      <a:pt x="921747" y="966140"/>
                    </a:cubicBezTo>
                    <a:cubicBezTo>
                      <a:pt x="919113" y="971576"/>
                      <a:pt x="919113" y="977012"/>
                      <a:pt x="921747" y="981088"/>
                    </a:cubicBezTo>
                    <a:lnTo>
                      <a:pt x="924381" y="986524"/>
                    </a:lnTo>
                    <a:cubicBezTo>
                      <a:pt x="924381" y="987884"/>
                      <a:pt x="924381" y="989242"/>
                      <a:pt x="923064" y="990601"/>
                    </a:cubicBezTo>
                    <a:cubicBezTo>
                      <a:pt x="921747" y="994678"/>
                      <a:pt x="923064" y="997396"/>
                      <a:pt x="924381" y="1001473"/>
                    </a:cubicBezTo>
                    <a:cubicBezTo>
                      <a:pt x="925698" y="1004192"/>
                      <a:pt x="928332" y="1004192"/>
                      <a:pt x="929650" y="1008268"/>
                    </a:cubicBezTo>
                    <a:cubicBezTo>
                      <a:pt x="930966" y="1010986"/>
                      <a:pt x="929650" y="1013704"/>
                      <a:pt x="929650" y="1016422"/>
                    </a:cubicBezTo>
                    <a:cubicBezTo>
                      <a:pt x="928332" y="1019141"/>
                      <a:pt x="928332" y="1021858"/>
                      <a:pt x="929650" y="1024577"/>
                    </a:cubicBezTo>
                    <a:cubicBezTo>
                      <a:pt x="930966" y="1027294"/>
                      <a:pt x="933601" y="1028653"/>
                      <a:pt x="933601" y="1031371"/>
                    </a:cubicBezTo>
                    <a:cubicBezTo>
                      <a:pt x="934918" y="1034089"/>
                      <a:pt x="934918" y="1038166"/>
                      <a:pt x="934918" y="1040884"/>
                    </a:cubicBezTo>
                    <a:cubicBezTo>
                      <a:pt x="933601" y="1043602"/>
                      <a:pt x="933601" y="1044961"/>
                      <a:pt x="930966" y="1047679"/>
                    </a:cubicBezTo>
                    <a:cubicBezTo>
                      <a:pt x="929650" y="1050397"/>
                      <a:pt x="934918" y="1053115"/>
                      <a:pt x="937552" y="1054474"/>
                    </a:cubicBezTo>
                    <a:cubicBezTo>
                      <a:pt x="941503" y="1055833"/>
                      <a:pt x="945455" y="1055833"/>
                      <a:pt x="950723" y="1050397"/>
                    </a:cubicBezTo>
                    <a:cubicBezTo>
                      <a:pt x="952040" y="1050397"/>
                      <a:pt x="953357" y="1050397"/>
                      <a:pt x="954674" y="1050397"/>
                    </a:cubicBezTo>
                    <a:cubicBezTo>
                      <a:pt x="958626" y="1049038"/>
                      <a:pt x="962577" y="1051756"/>
                      <a:pt x="966528" y="1050397"/>
                    </a:cubicBezTo>
                    <a:cubicBezTo>
                      <a:pt x="969163" y="1049038"/>
                      <a:pt x="970479" y="1047679"/>
                      <a:pt x="973113" y="1046320"/>
                    </a:cubicBezTo>
                    <a:cubicBezTo>
                      <a:pt x="974431" y="1044961"/>
                      <a:pt x="975748" y="1042243"/>
                      <a:pt x="977065" y="1040884"/>
                    </a:cubicBezTo>
                    <a:cubicBezTo>
                      <a:pt x="978382" y="1039525"/>
                      <a:pt x="981016" y="1038166"/>
                      <a:pt x="983650" y="1038166"/>
                    </a:cubicBezTo>
                    <a:cubicBezTo>
                      <a:pt x="988918" y="1036807"/>
                      <a:pt x="994187" y="1035448"/>
                      <a:pt x="999455" y="1034089"/>
                    </a:cubicBezTo>
                    <a:cubicBezTo>
                      <a:pt x="1004723" y="1031371"/>
                      <a:pt x="1009992" y="1028653"/>
                      <a:pt x="1016578" y="1031371"/>
                    </a:cubicBezTo>
                    <a:cubicBezTo>
                      <a:pt x="1017894" y="1032730"/>
                      <a:pt x="1019212" y="1032730"/>
                      <a:pt x="1020529" y="1034089"/>
                    </a:cubicBezTo>
                    <a:cubicBezTo>
                      <a:pt x="1021846" y="1035448"/>
                      <a:pt x="1023163" y="1035448"/>
                      <a:pt x="1024480" y="1035448"/>
                    </a:cubicBezTo>
                    <a:cubicBezTo>
                      <a:pt x="1025797" y="1036807"/>
                      <a:pt x="1027115" y="1035448"/>
                      <a:pt x="1028431" y="1036807"/>
                    </a:cubicBezTo>
                    <a:cubicBezTo>
                      <a:pt x="1028431" y="1038166"/>
                      <a:pt x="1028431" y="1038166"/>
                      <a:pt x="1028431" y="1039525"/>
                    </a:cubicBezTo>
                    <a:cubicBezTo>
                      <a:pt x="1029749" y="1040884"/>
                      <a:pt x="1031065" y="1040884"/>
                      <a:pt x="1032383" y="1042243"/>
                    </a:cubicBezTo>
                    <a:cubicBezTo>
                      <a:pt x="1033699" y="1043602"/>
                      <a:pt x="1033699" y="1044961"/>
                      <a:pt x="1033699" y="1046320"/>
                    </a:cubicBezTo>
                    <a:cubicBezTo>
                      <a:pt x="1033699" y="1049038"/>
                      <a:pt x="1033699" y="1049038"/>
                      <a:pt x="1036334" y="1050397"/>
                    </a:cubicBezTo>
                    <a:cubicBezTo>
                      <a:pt x="1040285" y="1051756"/>
                      <a:pt x="1041602" y="1050397"/>
                      <a:pt x="1042920" y="1047679"/>
                    </a:cubicBezTo>
                    <a:cubicBezTo>
                      <a:pt x="1042920" y="1044961"/>
                      <a:pt x="1044236" y="1043602"/>
                      <a:pt x="1046870" y="1042243"/>
                    </a:cubicBezTo>
                    <a:cubicBezTo>
                      <a:pt x="1048188" y="1040884"/>
                      <a:pt x="1050822" y="1040884"/>
                      <a:pt x="1050822" y="1044961"/>
                    </a:cubicBezTo>
                    <a:cubicBezTo>
                      <a:pt x="1049505" y="1046320"/>
                      <a:pt x="1048188" y="1047679"/>
                      <a:pt x="1046870" y="1047679"/>
                    </a:cubicBezTo>
                    <a:lnTo>
                      <a:pt x="1042920" y="1054474"/>
                    </a:lnTo>
                    <a:cubicBezTo>
                      <a:pt x="1042920" y="1055833"/>
                      <a:pt x="1044236" y="1057192"/>
                      <a:pt x="1045554" y="1057192"/>
                    </a:cubicBezTo>
                    <a:cubicBezTo>
                      <a:pt x="1048188" y="1057192"/>
                      <a:pt x="1048188" y="1055833"/>
                      <a:pt x="1049505" y="1054474"/>
                    </a:cubicBezTo>
                    <a:cubicBezTo>
                      <a:pt x="1050716" y="1055723"/>
                      <a:pt x="1050813" y="1055824"/>
                      <a:pt x="1050822" y="1055833"/>
                    </a:cubicBezTo>
                    <a:cubicBezTo>
                      <a:pt x="1050822" y="1057192"/>
                      <a:pt x="1048188" y="1058551"/>
                      <a:pt x="1049505" y="1059910"/>
                    </a:cubicBezTo>
                    <a:cubicBezTo>
                      <a:pt x="1049505" y="1062628"/>
                      <a:pt x="1054773" y="1061268"/>
                      <a:pt x="1056091" y="1062628"/>
                    </a:cubicBezTo>
                    <a:cubicBezTo>
                      <a:pt x="1060041" y="1063987"/>
                      <a:pt x="1058725" y="1068064"/>
                      <a:pt x="1057407" y="1070782"/>
                    </a:cubicBezTo>
                    <a:cubicBezTo>
                      <a:pt x="1057407" y="1073500"/>
                      <a:pt x="1056091" y="1076218"/>
                      <a:pt x="1057407" y="1077577"/>
                    </a:cubicBezTo>
                    <a:cubicBezTo>
                      <a:pt x="1060041" y="1078936"/>
                      <a:pt x="1062675" y="1078936"/>
                      <a:pt x="1065310" y="1078936"/>
                    </a:cubicBezTo>
                    <a:cubicBezTo>
                      <a:pt x="1070578" y="1078936"/>
                      <a:pt x="1070578" y="1083013"/>
                      <a:pt x="1073212" y="1085731"/>
                    </a:cubicBezTo>
                    <a:cubicBezTo>
                      <a:pt x="1075846" y="1088449"/>
                      <a:pt x="1078481" y="1087089"/>
                      <a:pt x="1081115" y="1084372"/>
                    </a:cubicBezTo>
                    <a:cubicBezTo>
                      <a:pt x="1082432" y="1083013"/>
                      <a:pt x="1085066" y="1081653"/>
                      <a:pt x="1087701" y="1083013"/>
                    </a:cubicBezTo>
                    <a:cubicBezTo>
                      <a:pt x="1089017" y="1084372"/>
                      <a:pt x="1090335" y="1087089"/>
                      <a:pt x="1092969" y="1087089"/>
                    </a:cubicBezTo>
                    <a:cubicBezTo>
                      <a:pt x="1095603" y="1088449"/>
                      <a:pt x="1096920" y="1084372"/>
                      <a:pt x="1098237" y="1083013"/>
                    </a:cubicBezTo>
                    <a:lnTo>
                      <a:pt x="1099554" y="1077577"/>
                    </a:lnTo>
                    <a:lnTo>
                      <a:pt x="1104822" y="1077577"/>
                    </a:lnTo>
                    <a:cubicBezTo>
                      <a:pt x="1107457" y="1077577"/>
                      <a:pt x="1111408" y="1077577"/>
                      <a:pt x="1112725" y="1074859"/>
                    </a:cubicBezTo>
                    <a:cubicBezTo>
                      <a:pt x="1112725" y="1072140"/>
                      <a:pt x="1110091" y="1070782"/>
                      <a:pt x="1112725" y="1063987"/>
                    </a:cubicBezTo>
                    <a:lnTo>
                      <a:pt x="1114042" y="1057192"/>
                    </a:lnTo>
                    <a:cubicBezTo>
                      <a:pt x="1116677" y="1054474"/>
                      <a:pt x="1117993" y="1051756"/>
                      <a:pt x="1116677" y="1047679"/>
                    </a:cubicBezTo>
                    <a:lnTo>
                      <a:pt x="1117993" y="1042243"/>
                    </a:lnTo>
                    <a:cubicBezTo>
                      <a:pt x="1120627" y="1036807"/>
                      <a:pt x="1128530" y="1039525"/>
                      <a:pt x="1128530" y="1032730"/>
                    </a:cubicBezTo>
                    <a:cubicBezTo>
                      <a:pt x="1129848" y="1028653"/>
                      <a:pt x="1128530" y="1024577"/>
                      <a:pt x="1128530" y="1021858"/>
                    </a:cubicBezTo>
                    <a:cubicBezTo>
                      <a:pt x="1127213" y="1017781"/>
                      <a:pt x="1129848" y="1016422"/>
                      <a:pt x="1129848" y="1013704"/>
                    </a:cubicBezTo>
                    <a:cubicBezTo>
                      <a:pt x="1131164" y="1010986"/>
                      <a:pt x="1129848" y="1009628"/>
                      <a:pt x="1128530" y="1006909"/>
                    </a:cubicBezTo>
                    <a:cubicBezTo>
                      <a:pt x="1127213" y="1004192"/>
                      <a:pt x="1127213" y="1001473"/>
                      <a:pt x="1125896" y="998756"/>
                    </a:cubicBezTo>
                    <a:cubicBezTo>
                      <a:pt x="1125896" y="996037"/>
                      <a:pt x="1128530" y="993320"/>
                      <a:pt x="1127213" y="989242"/>
                    </a:cubicBezTo>
                    <a:cubicBezTo>
                      <a:pt x="1125896" y="985165"/>
                      <a:pt x="1124579" y="982448"/>
                      <a:pt x="1120627" y="979729"/>
                    </a:cubicBezTo>
                    <a:cubicBezTo>
                      <a:pt x="1119311" y="978371"/>
                      <a:pt x="1117993" y="977012"/>
                      <a:pt x="1114042" y="972935"/>
                    </a:cubicBezTo>
                    <a:cubicBezTo>
                      <a:pt x="1111408" y="970216"/>
                      <a:pt x="1111408" y="967499"/>
                      <a:pt x="1111408" y="964780"/>
                    </a:cubicBezTo>
                    <a:cubicBezTo>
                      <a:pt x="1110091" y="962063"/>
                      <a:pt x="1110091" y="959344"/>
                      <a:pt x="1108774" y="956627"/>
                    </a:cubicBezTo>
                    <a:cubicBezTo>
                      <a:pt x="1108774" y="955267"/>
                      <a:pt x="1108774" y="953908"/>
                      <a:pt x="1107457" y="951191"/>
                    </a:cubicBezTo>
                    <a:cubicBezTo>
                      <a:pt x="1104822" y="948472"/>
                      <a:pt x="1099554" y="947114"/>
                      <a:pt x="1096920" y="944395"/>
                    </a:cubicBezTo>
                    <a:cubicBezTo>
                      <a:pt x="1094286" y="940319"/>
                      <a:pt x="1094286" y="937601"/>
                      <a:pt x="1091651" y="933523"/>
                    </a:cubicBezTo>
                    <a:cubicBezTo>
                      <a:pt x="1091651" y="932165"/>
                      <a:pt x="1090335" y="930806"/>
                      <a:pt x="1090335" y="929447"/>
                    </a:cubicBezTo>
                    <a:cubicBezTo>
                      <a:pt x="1089017" y="926729"/>
                      <a:pt x="1087701" y="924011"/>
                      <a:pt x="1087701" y="921293"/>
                    </a:cubicBezTo>
                    <a:cubicBezTo>
                      <a:pt x="1087701" y="918575"/>
                      <a:pt x="1087701" y="917216"/>
                      <a:pt x="1087701" y="914498"/>
                    </a:cubicBezTo>
                    <a:cubicBezTo>
                      <a:pt x="1086383" y="911780"/>
                      <a:pt x="1085066" y="910421"/>
                      <a:pt x="1082432" y="910421"/>
                    </a:cubicBezTo>
                    <a:cubicBezTo>
                      <a:pt x="1081115" y="910421"/>
                      <a:pt x="1081115" y="910421"/>
                      <a:pt x="1079798" y="909062"/>
                    </a:cubicBezTo>
                    <a:cubicBezTo>
                      <a:pt x="1077164" y="906344"/>
                      <a:pt x="1077164" y="902266"/>
                      <a:pt x="1075846" y="898190"/>
                    </a:cubicBezTo>
                    <a:cubicBezTo>
                      <a:pt x="1075846" y="896831"/>
                      <a:pt x="1075846" y="894113"/>
                      <a:pt x="1070578" y="892754"/>
                    </a:cubicBezTo>
                    <a:cubicBezTo>
                      <a:pt x="1067944" y="896831"/>
                      <a:pt x="1070578" y="899549"/>
                      <a:pt x="1070578" y="902266"/>
                    </a:cubicBezTo>
                    <a:cubicBezTo>
                      <a:pt x="1070578" y="904985"/>
                      <a:pt x="1067944" y="906344"/>
                      <a:pt x="1066627" y="909062"/>
                    </a:cubicBezTo>
                    <a:cubicBezTo>
                      <a:pt x="1066627" y="913139"/>
                      <a:pt x="1069261" y="914498"/>
                      <a:pt x="1069261" y="918575"/>
                    </a:cubicBezTo>
                    <a:cubicBezTo>
                      <a:pt x="1067944" y="918575"/>
                      <a:pt x="1067944" y="919934"/>
                      <a:pt x="1067944" y="922651"/>
                    </a:cubicBezTo>
                    <a:cubicBezTo>
                      <a:pt x="1066627" y="924011"/>
                      <a:pt x="1066627" y="924011"/>
                      <a:pt x="1066627" y="925370"/>
                    </a:cubicBezTo>
                    <a:cubicBezTo>
                      <a:pt x="1066627" y="926729"/>
                      <a:pt x="1066627" y="928087"/>
                      <a:pt x="1066627" y="929447"/>
                    </a:cubicBezTo>
                    <a:cubicBezTo>
                      <a:pt x="1066627" y="930806"/>
                      <a:pt x="1066627" y="930806"/>
                      <a:pt x="1065310" y="932165"/>
                    </a:cubicBezTo>
                    <a:lnTo>
                      <a:pt x="1056091" y="930806"/>
                    </a:lnTo>
                    <a:cubicBezTo>
                      <a:pt x="1052139" y="929447"/>
                      <a:pt x="1050822" y="925370"/>
                      <a:pt x="1048188" y="922651"/>
                    </a:cubicBezTo>
                    <a:cubicBezTo>
                      <a:pt x="1048188" y="919934"/>
                      <a:pt x="1046870" y="919934"/>
                      <a:pt x="1044236" y="918575"/>
                    </a:cubicBezTo>
                    <a:cubicBezTo>
                      <a:pt x="1041602" y="917216"/>
                      <a:pt x="1038968" y="914498"/>
                      <a:pt x="1037651" y="910421"/>
                    </a:cubicBezTo>
                    <a:cubicBezTo>
                      <a:pt x="1037651" y="904985"/>
                      <a:pt x="1045554" y="904985"/>
                      <a:pt x="1042920" y="899549"/>
                    </a:cubicBezTo>
                    <a:cubicBezTo>
                      <a:pt x="1042920" y="896831"/>
                      <a:pt x="1035017" y="896831"/>
                      <a:pt x="1033699" y="896831"/>
                    </a:cubicBezTo>
                    <a:cubicBezTo>
                      <a:pt x="1031065" y="895472"/>
                      <a:pt x="1029749" y="895472"/>
                      <a:pt x="1029749" y="894113"/>
                    </a:cubicBezTo>
                    <a:close/>
                    <a:moveTo>
                      <a:pt x="667324" y="877390"/>
                    </a:moveTo>
                    <a:cubicBezTo>
                      <a:pt x="664629" y="877390"/>
                      <a:pt x="664629" y="880155"/>
                      <a:pt x="663282" y="881537"/>
                    </a:cubicBezTo>
                    <a:cubicBezTo>
                      <a:pt x="661935" y="882920"/>
                      <a:pt x="661935" y="884303"/>
                      <a:pt x="659241" y="887067"/>
                    </a:cubicBezTo>
                    <a:cubicBezTo>
                      <a:pt x="655198" y="889832"/>
                      <a:pt x="647116" y="891215"/>
                      <a:pt x="645768" y="896745"/>
                    </a:cubicBezTo>
                    <a:cubicBezTo>
                      <a:pt x="643073" y="900893"/>
                      <a:pt x="645768" y="905040"/>
                      <a:pt x="645768" y="909187"/>
                    </a:cubicBezTo>
                    <a:cubicBezTo>
                      <a:pt x="647116" y="914717"/>
                      <a:pt x="647116" y="917483"/>
                      <a:pt x="643073" y="921630"/>
                    </a:cubicBezTo>
                    <a:cubicBezTo>
                      <a:pt x="640379" y="924396"/>
                      <a:pt x="637685" y="929925"/>
                      <a:pt x="637685" y="934073"/>
                    </a:cubicBezTo>
                    <a:cubicBezTo>
                      <a:pt x="637685" y="939603"/>
                      <a:pt x="640379" y="940986"/>
                      <a:pt x="643073" y="945133"/>
                    </a:cubicBezTo>
                    <a:lnTo>
                      <a:pt x="644421" y="950663"/>
                    </a:lnTo>
                    <a:cubicBezTo>
                      <a:pt x="647116" y="954810"/>
                      <a:pt x="652504" y="958958"/>
                      <a:pt x="656546" y="956193"/>
                    </a:cubicBezTo>
                    <a:cubicBezTo>
                      <a:pt x="660588" y="953428"/>
                      <a:pt x="660588" y="947898"/>
                      <a:pt x="661935" y="943751"/>
                    </a:cubicBezTo>
                    <a:cubicBezTo>
                      <a:pt x="661935" y="938220"/>
                      <a:pt x="665977" y="932690"/>
                      <a:pt x="667324" y="927161"/>
                    </a:cubicBezTo>
                    <a:cubicBezTo>
                      <a:pt x="668671" y="920248"/>
                      <a:pt x="671366" y="916100"/>
                      <a:pt x="674061" y="910570"/>
                    </a:cubicBezTo>
                    <a:cubicBezTo>
                      <a:pt x="676754" y="903658"/>
                      <a:pt x="676754" y="899510"/>
                      <a:pt x="675407" y="892597"/>
                    </a:cubicBezTo>
                    <a:cubicBezTo>
                      <a:pt x="675407" y="889832"/>
                      <a:pt x="675407" y="888449"/>
                      <a:pt x="675407" y="885684"/>
                    </a:cubicBezTo>
                    <a:cubicBezTo>
                      <a:pt x="676754" y="882920"/>
                      <a:pt x="676754" y="880155"/>
                      <a:pt x="674061" y="878772"/>
                    </a:cubicBezTo>
                    <a:close/>
                    <a:moveTo>
                      <a:pt x="1087062" y="838622"/>
                    </a:moveTo>
                    <a:cubicBezTo>
                      <a:pt x="1085729" y="838622"/>
                      <a:pt x="1084398" y="838622"/>
                      <a:pt x="1081733" y="841426"/>
                    </a:cubicBezTo>
                    <a:cubicBezTo>
                      <a:pt x="1080400" y="841426"/>
                      <a:pt x="1080400" y="840025"/>
                      <a:pt x="1079068" y="840025"/>
                    </a:cubicBezTo>
                    <a:cubicBezTo>
                      <a:pt x="1076404" y="840025"/>
                      <a:pt x="1077737" y="841426"/>
                      <a:pt x="1076404" y="842829"/>
                    </a:cubicBezTo>
                    <a:cubicBezTo>
                      <a:pt x="1076404" y="844230"/>
                      <a:pt x="1075072" y="842829"/>
                      <a:pt x="1072407" y="844230"/>
                    </a:cubicBezTo>
                    <a:cubicBezTo>
                      <a:pt x="1071074" y="845633"/>
                      <a:pt x="1069743" y="847034"/>
                      <a:pt x="1068410" y="848437"/>
                    </a:cubicBezTo>
                    <a:lnTo>
                      <a:pt x="1068410" y="852642"/>
                    </a:lnTo>
                    <a:lnTo>
                      <a:pt x="1075072" y="849838"/>
                    </a:lnTo>
                    <a:cubicBezTo>
                      <a:pt x="1077737" y="848437"/>
                      <a:pt x="1079068" y="845633"/>
                      <a:pt x="1081733" y="844230"/>
                    </a:cubicBezTo>
                    <a:cubicBezTo>
                      <a:pt x="1083065" y="842829"/>
                      <a:pt x="1085729" y="842829"/>
                      <a:pt x="1087062" y="838622"/>
                    </a:cubicBezTo>
                    <a:close/>
                    <a:moveTo>
                      <a:pt x="988464" y="817008"/>
                    </a:moveTo>
                    <a:cubicBezTo>
                      <a:pt x="987132" y="817008"/>
                      <a:pt x="985801" y="817008"/>
                      <a:pt x="984471" y="818371"/>
                    </a:cubicBezTo>
                    <a:cubicBezTo>
                      <a:pt x="983139" y="818371"/>
                      <a:pt x="981808" y="818371"/>
                      <a:pt x="980476" y="818371"/>
                    </a:cubicBezTo>
                    <a:cubicBezTo>
                      <a:pt x="979145" y="818371"/>
                      <a:pt x="979145" y="818371"/>
                      <a:pt x="977813" y="818371"/>
                    </a:cubicBezTo>
                    <a:cubicBezTo>
                      <a:pt x="976482" y="818371"/>
                      <a:pt x="975150" y="819733"/>
                      <a:pt x="975150" y="821097"/>
                    </a:cubicBezTo>
                    <a:cubicBezTo>
                      <a:pt x="975150" y="823823"/>
                      <a:pt x="977813" y="823823"/>
                      <a:pt x="980476" y="825186"/>
                    </a:cubicBezTo>
                    <a:cubicBezTo>
                      <a:pt x="983139" y="826549"/>
                      <a:pt x="985801" y="827912"/>
                      <a:pt x="988464" y="827912"/>
                    </a:cubicBezTo>
                    <a:cubicBezTo>
                      <a:pt x="992458" y="827912"/>
                      <a:pt x="995121" y="829275"/>
                      <a:pt x="997784" y="830638"/>
                    </a:cubicBezTo>
                    <a:cubicBezTo>
                      <a:pt x="1000447" y="832001"/>
                      <a:pt x="1003109" y="832001"/>
                      <a:pt x="1007104" y="832001"/>
                    </a:cubicBezTo>
                    <a:cubicBezTo>
                      <a:pt x="1009767" y="832001"/>
                      <a:pt x="1012429" y="832001"/>
                      <a:pt x="1015092" y="833364"/>
                    </a:cubicBezTo>
                    <a:lnTo>
                      <a:pt x="1023080" y="836090"/>
                    </a:lnTo>
                    <a:cubicBezTo>
                      <a:pt x="1024412" y="834728"/>
                      <a:pt x="1023080" y="833364"/>
                      <a:pt x="1023080" y="829275"/>
                    </a:cubicBezTo>
                    <a:lnTo>
                      <a:pt x="1015092" y="825186"/>
                    </a:lnTo>
                    <a:cubicBezTo>
                      <a:pt x="1013761" y="822460"/>
                      <a:pt x="1013761" y="821097"/>
                      <a:pt x="1011098" y="821097"/>
                    </a:cubicBezTo>
                    <a:lnTo>
                      <a:pt x="1005772" y="821097"/>
                    </a:lnTo>
                    <a:cubicBezTo>
                      <a:pt x="1003109" y="819733"/>
                      <a:pt x="1003109" y="822460"/>
                      <a:pt x="1001779" y="822460"/>
                    </a:cubicBezTo>
                    <a:cubicBezTo>
                      <a:pt x="999116" y="822460"/>
                      <a:pt x="996453" y="821097"/>
                      <a:pt x="995121" y="819733"/>
                    </a:cubicBezTo>
                    <a:cubicBezTo>
                      <a:pt x="993790" y="819733"/>
                      <a:pt x="992458" y="819733"/>
                      <a:pt x="992458" y="818371"/>
                    </a:cubicBezTo>
                    <a:cubicBezTo>
                      <a:pt x="991127" y="818371"/>
                      <a:pt x="989795" y="817008"/>
                      <a:pt x="988464" y="817008"/>
                    </a:cubicBezTo>
                    <a:close/>
                    <a:moveTo>
                      <a:pt x="1117734" y="784879"/>
                    </a:moveTo>
                    <a:cubicBezTo>
                      <a:pt x="1115058" y="784879"/>
                      <a:pt x="1111042" y="784879"/>
                      <a:pt x="1111042" y="787644"/>
                    </a:cubicBezTo>
                    <a:cubicBezTo>
                      <a:pt x="1111042" y="791793"/>
                      <a:pt x="1113719" y="794559"/>
                      <a:pt x="1116396" y="794559"/>
                    </a:cubicBezTo>
                    <a:cubicBezTo>
                      <a:pt x="1117734" y="794559"/>
                      <a:pt x="1124426" y="793176"/>
                      <a:pt x="1123087" y="797325"/>
                    </a:cubicBezTo>
                    <a:cubicBezTo>
                      <a:pt x="1121749" y="797325"/>
                      <a:pt x="1119072" y="795942"/>
                      <a:pt x="1117734" y="798708"/>
                    </a:cubicBezTo>
                    <a:cubicBezTo>
                      <a:pt x="1116396" y="801474"/>
                      <a:pt x="1120411" y="804240"/>
                      <a:pt x="1123087" y="804240"/>
                    </a:cubicBezTo>
                    <a:cubicBezTo>
                      <a:pt x="1124426" y="804240"/>
                      <a:pt x="1124426" y="804240"/>
                      <a:pt x="1125764" y="804240"/>
                    </a:cubicBezTo>
                    <a:lnTo>
                      <a:pt x="1129779" y="808388"/>
                    </a:lnTo>
                    <a:cubicBezTo>
                      <a:pt x="1133794" y="812536"/>
                      <a:pt x="1137810" y="811154"/>
                      <a:pt x="1144501" y="818068"/>
                    </a:cubicBezTo>
                    <a:cubicBezTo>
                      <a:pt x="1145839" y="819451"/>
                      <a:pt x="1147178" y="820834"/>
                      <a:pt x="1148515" y="823600"/>
                    </a:cubicBezTo>
                    <a:cubicBezTo>
                      <a:pt x="1148515" y="824983"/>
                      <a:pt x="1148515" y="824983"/>
                      <a:pt x="1148515" y="826366"/>
                    </a:cubicBezTo>
                    <a:cubicBezTo>
                      <a:pt x="1148515" y="829132"/>
                      <a:pt x="1145839" y="830515"/>
                      <a:pt x="1144501" y="831898"/>
                    </a:cubicBezTo>
                    <a:cubicBezTo>
                      <a:pt x="1143162" y="833281"/>
                      <a:pt x="1141824" y="836047"/>
                      <a:pt x="1144501" y="837430"/>
                    </a:cubicBezTo>
                    <a:lnTo>
                      <a:pt x="1151192" y="836047"/>
                    </a:lnTo>
                    <a:cubicBezTo>
                      <a:pt x="1153869" y="836047"/>
                      <a:pt x="1155207" y="837430"/>
                      <a:pt x="1157884" y="838813"/>
                    </a:cubicBezTo>
                    <a:cubicBezTo>
                      <a:pt x="1159222" y="842960"/>
                      <a:pt x="1163237" y="842960"/>
                      <a:pt x="1167253" y="842960"/>
                    </a:cubicBezTo>
                    <a:cubicBezTo>
                      <a:pt x="1171267" y="841577"/>
                      <a:pt x="1171267" y="840194"/>
                      <a:pt x="1173944" y="837430"/>
                    </a:cubicBezTo>
                    <a:lnTo>
                      <a:pt x="1183312" y="834664"/>
                    </a:lnTo>
                    <a:cubicBezTo>
                      <a:pt x="1185989" y="836047"/>
                      <a:pt x="1188666" y="837430"/>
                      <a:pt x="1191342" y="840194"/>
                    </a:cubicBezTo>
                    <a:cubicBezTo>
                      <a:pt x="1194019" y="845726"/>
                      <a:pt x="1198034" y="848492"/>
                      <a:pt x="1203387" y="851258"/>
                    </a:cubicBezTo>
                    <a:lnTo>
                      <a:pt x="1210079" y="851258"/>
                    </a:lnTo>
                    <a:cubicBezTo>
                      <a:pt x="1214094" y="849875"/>
                      <a:pt x="1207403" y="847109"/>
                      <a:pt x="1207403" y="845726"/>
                    </a:cubicBezTo>
                    <a:cubicBezTo>
                      <a:pt x="1206064" y="844343"/>
                      <a:pt x="1207403" y="844343"/>
                      <a:pt x="1206064" y="842960"/>
                    </a:cubicBezTo>
                    <a:cubicBezTo>
                      <a:pt x="1204726" y="842960"/>
                      <a:pt x="1203387" y="842960"/>
                      <a:pt x="1202049" y="842960"/>
                    </a:cubicBezTo>
                    <a:cubicBezTo>
                      <a:pt x="1200711" y="841577"/>
                      <a:pt x="1203387" y="840194"/>
                      <a:pt x="1200711" y="838813"/>
                    </a:cubicBezTo>
                    <a:cubicBezTo>
                      <a:pt x="1199373" y="837430"/>
                      <a:pt x="1200711" y="836047"/>
                      <a:pt x="1195357" y="831898"/>
                    </a:cubicBezTo>
                    <a:cubicBezTo>
                      <a:pt x="1194019" y="830515"/>
                      <a:pt x="1194019" y="829132"/>
                      <a:pt x="1195357" y="827749"/>
                    </a:cubicBezTo>
                    <a:cubicBezTo>
                      <a:pt x="1196696" y="826366"/>
                      <a:pt x="1199373" y="824983"/>
                      <a:pt x="1199373" y="822217"/>
                    </a:cubicBezTo>
                    <a:cubicBezTo>
                      <a:pt x="1198034" y="818068"/>
                      <a:pt x="1191342" y="818068"/>
                      <a:pt x="1188666" y="815302"/>
                    </a:cubicBezTo>
                    <a:cubicBezTo>
                      <a:pt x="1187328" y="813919"/>
                      <a:pt x="1185989" y="811154"/>
                      <a:pt x="1183312" y="809771"/>
                    </a:cubicBezTo>
                    <a:lnTo>
                      <a:pt x="1177959" y="807005"/>
                    </a:lnTo>
                    <a:cubicBezTo>
                      <a:pt x="1176621" y="807005"/>
                      <a:pt x="1176621" y="804240"/>
                      <a:pt x="1175283" y="804240"/>
                    </a:cubicBezTo>
                    <a:cubicBezTo>
                      <a:pt x="1172606" y="801474"/>
                      <a:pt x="1168591" y="800091"/>
                      <a:pt x="1164576" y="800091"/>
                    </a:cubicBezTo>
                    <a:cubicBezTo>
                      <a:pt x="1163237" y="800091"/>
                      <a:pt x="1161899" y="798708"/>
                      <a:pt x="1160560" y="798708"/>
                    </a:cubicBezTo>
                    <a:cubicBezTo>
                      <a:pt x="1157884" y="798708"/>
                      <a:pt x="1155207" y="797325"/>
                      <a:pt x="1152531" y="795942"/>
                    </a:cubicBezTo>
                    <a:cubicBezTo>
                      <a:pt x="1149854" y="794559"/>
                      <a:pt x="1148515" y="793176"/>
                      <a:pt x="1145839" y="791793"/>
                    </a:cubicBezTo>
                    <a:lnTo>
                      <a:pt x="1139147" y="793176"/>
                    </a:lnTo>
                    <a:cubicBezTo>
                      <a:pt x="1137810" y="793176"/>
                      <a:pt x="1137810" y="795942"/>
                      <a:pt x="1136471" y="795942"/>
                    </a:cubicBezTo>
                    <a:cubicBezTo>
                      <a:pt x="1132456" y="798708"/>
                      <a:pt x="1127103" y="797325"/>
                      <a:pt x="1127103" y="791793"/>
                    </a:cubicBezTo>
                    <a:cubicBezTo>
                      <a:pt x="1128440" y="786262"/>
                      <a:pt x="1123087" y="784879"/>
                      <a:pt x="1117734" y="784879"/>
                    </a:cubicBezTo>
                    <a:close/>
                    <a:moveTo>
                      <a:pt x="1054988" y="771442"/>
                    </a:moveTo>
                    <a:lnTo>
                      <a:pt x="1048263" y="776917"/>
                    </a:lnTo>
                    <a:cubicBezTo>
                      <a:pt x="1048263" y="779655"/>
                      <a:pt x="1050953" y="781023"/>
                      <a:pt x="1048263" y="783760"/>
                    </a:cubicBezTo>
                    <a:cubicBezTo>
                      <a:pt x="1048263" y="785129"/>
                      <a:pt x="1046919" y="786497"/>
                      <a:pt x="1046919" y="789234"/>
                    </a:cubicBezTo>
                    <a:cubicBezTo>
                      <a:pt x="1046919" y="790603"/>
                      <a:pt x="1046919" y="791971"/>
                      <a:pt x="1046919" y="793340"/>
                    </a:cubicBezTo>
                    <a:cubicBezTo>
                      <a:pt x="1046919" y="796078"/>
                      <a:pt x="1044229" y="797447"/>
                      <a:pt x="1045574" y="800184"/>
                    </a:cubicBezTo>
                    <a:cubicBezTo>
                      <a:pt x="1046919" y="801552"/>
                      <a:pt x="1046919" y="801552"/>
                      <a:pt x="1046919" y="804289"/>
                    </a:cubicBezTo>
                    <a:lnTo>
                      <a:pt x="1046919" y="815239"/>
                    </a:lnTo>
                    <a:cubicBezTo>
                      <a:pt x="1049608" y="819344"/>
                      <a:pt x="1054988" y="812501"/>
                      <a:pt x="1054988" y="809764"/>
                    </a:cubicBezTo>
                    <a:cubicBezTo>
                      <a:pt x="1054988" y="807026"/>
                      <a:pt x="1053642" y="805658"/>
                      <a:pt x="1054988" y="802921"/>
                    </a:cubicBezTo>
                    <a:cubicBezTo>
                      <a:pt x="1054988" y="801552"/>
                      <a:pt x="1056332" y="800184"/>
                      <a:pt x="1057677" y="801552"/>
                    </a:cubicBezTo>
                    <a:cubicBezTo>
                      <a:pt x="1059022" y="804289"/>
                      <a:pt x="1059022" y="805658"/>
                      <a:pt x="1063056" y="808395"/>
                    </a:cubicBezTo>
                    <a:cubicBezTo>
                      <a:pt x="1064401" y="807026"/>
                      <a:pt x="1065745" y="807026"/>
                      <a:pt x="1067091" y="805658"/>
                    </a:cubicBezTo>
                    <a:lnTo>
                      <a:pt x="1064401" y="800184"/>
                    </a:lnTo>
                    <a:cubicBezTo>
                      <a:pt x="1061711" y="798815"/>
                      <a:pt x="1060367" y="798815"/>
                      <a:pt x="1059022" y="797447"/>
                    </a:cubicBezTo>
                    <a:lnTo>
                      <a:pt x="1060367" y="791971"/>
                    </a:lnTo>
                    <a:cubicBezTo>
                      <a:pt x="1061711" y="790603"/>
                      <a:pt x="1064401" y="790603"/>
                      <a:pt x="1065745" y="789234"/>
                    </a:cubicBezTo>
                    <a:lnTo>
                      <a:pt x="1067091" y="783760"/>
                    </a:lnTo>
                    <a:lnTo>
                      <a:pt x="1059022" y="782392"/>
                    </a:lnTo>
                    <a:lnTo>
                      <a:pt x="1053642" y="781023"/>
                    </a:lnTo>
                    <a:cubicBezTo>
                      <a:pt x="1054988" y="778286"/>
                      <a:pt x="1059022" y="778286"/>
                      <a:pt x="1061711" y="778286"/>
                    </a:cubicBezTo>
                    <a:lnTo>
                      <a:pt x="1067091" y="778286"/>
                    </a:lnTo>
                    <a:cubicBezTo>
                      <a:pt x="1071125" y="778286"/>
                      <a:pt x="1076504" y="776917"/>
                      <a:pt x="1072470" y="771442"/>
                    </a:cubicBezTo>
                    <a:cubicBezTo>
                      <a:pt x="1071125" y="772811"/>
                      <a:pt x="1069780" y="774180"/>
                      <a:pt x="1068435" y="774180"/>
                    </a:cubicBezTo>
                    <a:cubicBezTo>
                      <a:pt x="1065745" y="774180"/>
                      <a:pt x="1063056" y="774180"/>
                      <a:pt x="1061711" y="772811"/>
                    </a:cubicBezTo>
                    <a:cubicBezTo>
                      <a:pt x="1060367" y="772811"/>
                      <a:pt x="1059022" y="774180"/>
                      <a:pt x="1057677" y="772811"/>
                    </a:cubicBezTo>
                    <a:cubicBezTo>
                      <a:pt x="1056332" y="772811"/>
                      <a:pt x="1056332" y="771442"/>
                      <a:pt x="1054988" y="771442"/>
                    </a:cubicBezTo>
                    <a:close/>
                    <a:moveTo>
                      <a:pt x="1092680" y="765601"/>
                    </a:moveTo>
                    <a:cubicBezTo>
                      <a:pt x="1090092" y="765601"/>
                      <a:pt x="1090092" y="772416"/>
                      <a:pt x="1090092" y="773779"/>
                    </a:cubicBezTo>
                    <a:lnTo>
                      <a:pt x="1096563" y="776505"/>
                    </a:lnTo>
                    <a:lnTo>
                      <a:pt x="1097857" y="771053"/>
                    </a:lnTo>
                    <a:cubicBezTo>
                      <a:pt x="1096563" y="771053"/>
                      <a:pt x="1095268" y="772416"/>
                      <a:pt x="1093975" y="771053"/>
                    </a:cubicBezTo>
                    <a:close/>
                    <a:moveTo>
                      <a:pt x="919867" y="739522"/>
                    </a:moveTo>
                    <a:cubicBezTo>
                      <a:pt x="918529" y="742277"/>
                      <a:pt x="922544" y="746407"/>
                      <a:pt x="923882" y="749162"/>
                    </a:cubicBezTo>
                    <a:cubicBezTo>
                      <a:pt x="927897" y="754669"/>
                      <a:pt x="933251" y="760177"/>
                      <a:pt x="935928" y="767062"/>
                    </a:cubicBezTo>
                    <a:cubicBezTo>
                      <a:pt x="938604" y="771192"/>
                      <a:pt x="942619" y="778077"/>
                      <a:pt x="945296" y="782208"/>
                    </a:cubicBezTo>
                    <a:cubicBezTo>
                      <a:pt x="950649" y="789093"/>
                      <a:pt x="953326" y="797355"/>
                      <a:pt x="957341" y="804240"/>
                    </a:cubicBezTo>
                    <a:cubicBezTo>
                      <a:pt x="960018" y="806993"/>
                      <a:pt x="961355" y="809747"/>
                      <a:pt x="965371" y="811125"/>
                    </a:cubicBezTo>
                    <a:cubicBezTo>
                      <a:pt x="968048" y="812501"/>
                      <a:pt x="972063" y="815255"/>
                      <a:pt x="974739" y="812501"/>
                    </a:cubicBezTo>
                    <a:lnTo>
                      <a:pt x="976077" y="802863"/>
                    </a:lnTo>
                    <a:cubicBezTo>
                      <a:pt x="976077" y="798732"/>
                      <a:pt x="974739" y="794600"/>
                      <a:pt x="970725" y="793224"/>
                    </a:cubicBezTo>
                    <a:cubicBezTo>
                      <a:pt x="966709" y="790470"/>
                      <a:pt x="964032" y="789093"/>
                      <a:pt x="962694" y="783585"/>
                    </a:cubicBezTo>
                    <a:cubicBezTo>
                      <a:pt x="961355" y="779454"/>
                      <a:pt x="962694" y="778077"/>
                      <a:pt x="958679" y="773947"/>
                    </a:cubicBezTo>
                    <a:cubicBezTo>
                      <a:pt x="954664" y="769815"/>
                      <a:pt x="949311" y="769815"/>
                      <a:pt x="945296" y="764308"/>
                    </a:cubicBezTo>
                    <a:cubicBezTo>
                      <a:pt x="942619" y="761554"/>
                      <a:pt x="942619" y="757423"/>
                      <a:pt x="941280" y="753292"/>
                    </a:cubicBezTo>
                    <a:cubicBezTo>
                      <a:pt x="938604" y="745031"/>
                      <a:pt x="934589" y="742277"/>
                      <a:pt x="927897" y="740899"/>
                    </a:cubicBezTo>
                    <a:close/>
                    <a:moveTo>
                      <a:pt x="1037552" y="732888"/>
                    </a:moveTo>
                    <a:lnTo>
                      <a:pt x="1032233" y="734267"/>
                    </a:lnTo>
                    <a:cubicBezTo>
                      <a:pt x="1030902" y="735645"/>
                      <a:pt x="1029573" y="738402"/>
                      <a:pt x="1028242" y="741160"/>
                    </a:cubicBezTo>
                    <a:lnTo>
                      <a:pt x="1026913" y="746674"/>
                    </a:lnTo>
                    <a:cubicBezTo>
                      <a:pt x="1025583" y="749431"/>
                      <a:pt x="1022923" y="749431"/>
                      <a:pt x="1021593" y="750809"/>
                    </a:cubicBezTo>
                    <a:cubicBezTo>
                      <a:pt x="1017603" y="750809"/>
                      <a:pt x="1014943" y="752188"/>
                      <a:pt x="1014943" y="757703"/>
                    </a:cubicBezTo>
                    <a:cubicBezTo>
                      <a:pt x="1014943" y="760460"/>
                      <a:pt x="1013613" y="763217"/>
                      <a:pt x="1010953" y="764596"/>
                    </a:cubicBezTo>
                    <a:cubicBezTo>
                      <a:pt x="1009624" y="764596"/>
                      <a:pt x="1008293" y="764596"/>
                      <a:pt x="1006964" y="765974"/>
                    </a:cubicBezTo>
                    <a:cubicBezTo>
                      <a:pt x="1005633" y="765974"/>
                      <a:pt x="1004304" y="767353"/>
                      <a:pt x="1002973" y="767353"/>
                    </a:cubicBezTo>
                    <a:cubicBezTo>
                      <a:pt x="998984" y="767353"/>
                      <a:pt x="994995" y="765974"/>
                      <a:pt x="993664" y="770110"/>
                    </a:cubicBezTo>
                    <a:cubicBezTo>
                      <a:pt x="991004" y="772868"/>
                      <a:pt x="992335" y="777003"/>
                      <a:pt x="993664" y="779761"/>
                    </a:cubicBezTo>
                    <a:cubicBezTo>
                      <a:pt x="994995" y="783896"/>
                      <a:pt x="996324" y="785275"/>
                      <a:pt x="997654" y="788032"/>
                    </a:cubicBezTo>
                    <a:cubicBezTo>
                      <a:pt x="1000313" y="790789"/>
                      <a:pt x="1000313" y="796304"/>
                      <a:pt x="1002973" y="797682"/>
                    </a:cubicBezTo>
                    <a:cubicBezTo>
                      <a:pt x="1005633" y="801818"/>
                      <a:pt x="1013613" y="801818"/>
                      <a:pt x="1017603" y="800439"/>
                    </a:cubicBezTo>
                    <a:cubicBezTo>
                      <a:pt x="1018933" y="800439"/>
                      <a:pt x="1020263" y="800439"/>
                      <a:pt x="1021593" y="800439"/>
                    </a:cubicBezTo>
                    <a:cubicBezTo>
                      <a:pt x="1022923" y="800439"/>
                      <a:pt x="1022923" y="800439"/>
                      <a:pt x="1024253" y="801818"/>
                    </a:cubicBezTo>
                    <a:cubicBezTo>
                      <a:pt x="1026913" y="801818"/>
                      <a:pt x="1029573" y="801818"/>
                      <a:pt x="1032233" y="800439"/>
                    </a:cubicBezTo>
                    <a:cubicBezTo>
                      <a:pt x="1033562" y="799061"/>
                      <a:pt x="1034892" y="797682"/>
                      <a:pt x="1034892" y="794925"/>
                    </a:cubicBezTo>
                    <a:cubicBezTo>
                      <a:pt x="1037552" y="790789"/>
                      <a:pt x="1037552" y="786654"/>
                      <a:pt x="1037552" y="782517"/>
                    </a:cubicBezTo>
                    <a:lnTo>
                      <a:pt x="1036222" y="777003"/>
                    </a:lnTo>
                    <a:cubicBezTo>
                      <a:pt x="1037552" y="775624"/>
                      <a:pt x="1038882" y="774246"/>
                      <a:pt x="1044202" y="772868"/>
                    </a:cubicBezTo>
                    <a:cubicBezTo>
                      <a:pt x="1044202" y="770110"/>
                      <a:pt x="1042872" y="770110"/>
                      <a:pt x="1041542" y="768731"/>
                    </a:cubicBezTo>
                    <a:cubicBezTo>
                      <a:pt x="1040212" y="767353"/>
                      <a:pt x="1038882" y="765974"/>
                      <a:pt x="1038882" y="763217"/>
                    </a:cubicBezTo>
                    <a:cubicBezTo>
                      <a:pt x="1037552" y="761839"/>
                      <a:pt x="1037552" y="760460"/>
                      <a:pt x="1037552" y="757703"/>
                    </a:cubicBezTo>
                    <a:cubicBezTo>
                      <a:pt x="1037552" y="754946"/>
                      <a:pt x="1037552" y="752188"/>
                      <a:pt x="1040212" y="750809"/>
                    </a:cubicBezTo>
                    <a:cubicBezTo>
                      <a:pt x="1041542" y="748053"/>
                      <a:pt x="1045532" y="746674"/>
                      <a:pt x="1046862" y="743916"/>
                    </a:cubicBezTo>
                    <a:cubicBezTo>
                      <a:pt x="1048192" y="741160"/>
                      <a:pt x="1044202" y="741160"/>
                      <a:pt x="1041542" y="739781"/>
                    </a:cubicBezTo>
                    <a:cubicBezTo>
                      <a:pt x="1038882" y="738402"/>
                      <a:pt x="1040212" y="734267"/>
                      <a:pt x="1037552" y="732888"/>
                    </a:cubicBezTo>
                    <a:close/>
                    <a:moveTo>
                      <a:pt x="1082032" y="718868"/>
                    </a:moveTo>
                    <a:cubicBezTo>
                      <a:pt x="1080666" y="718868"/>
                      <a:pt x="1080666" y="721643"/>
                      <a:pt x="1079301" y="721643"/>
                    </a:cubicBezTo>
                    <a:cubicBezTo>
                      <a:pt x="1076570" y="725805"/>
                      <a:pt x="1071107" y="724417"/>
                      <a:pt x="1067011" y="724417"/>
                    </a:cubicBezTo>
                    <a:cubicBezTo>
                      <a:pt x="1065644" y="724417"/>
                      <a:pt x="1062914" y="724417"/>
                      <a:pt x="1062914" y="727192"/>
                    </a:cubicBezTo>
                    <a:cubicBezTo>
                      <a:pt x="1062914" y="731354"/>
                      <a:pt x="1065644" y="729967"/>
                      <a:pt x="1068376" y="729967"/>
                    </a:cubicBezTo>
                    <a:lnTo>
                      <a:pt x="1073839" y="731354"/>
                    </a:lnTo>
                    <a:cubicBezTo>
                      <a:pt x="1076570" y="732742"/>
                      <a:pt x="1073839" y="735517"/>
                      <a:pt x="1075204" y="736904"/>
                    </a:cubicBezTo>
                    <a:lnTo>
                      <a:pt x="1080666" y="739679"/>
                    </a:lnTo>
                    <a:lnTo>
                      <a:pt x="1082032" y="732742"/>
                    </a:lnTo>
                    <a:cubicBezTo>
                      <a:pt x="1080666" y="729967"/>
                      <a:pt x="1082032" y="729967"/>
                      <a:pt x="1084763" y="727192"/>
                    </a:cubicBezTo>
                    <a:cubicBezTo>
                      <a:pt x="1086129" y="725805"/>
                      <a:pt x="1086129" y="725805"/>
                      <a:pt x="1086129" y="724417"/>
                    </a:cubicBezTo>
                    <a:close/>
                    <a:moveTo>
                      <a:pt x="837334" y="713026"/>
                    </a:moveTo>
                    <a:lnTo>
                      <a:pt x="837334" y="717233"/>
                    </a:lnTo>
                    <a:cubicBezTo>
                      <a:pt x="837334" y="718630"/>
                      <a:pt x="834744" y="724211"/>
                      <a:pt x="834729" y="724242"/>
                    </a:cubicBezTo>
                    <a:lnTo>
                      <a:pt x="836031" y="731253"/>
                    </a:lnTo>
                    <a:lnTo>
                      <a:pt x="837822" y="738437"/>
                    </a:lnTo>
                    <a:cubicBezTo>
                      <a:pt x="838635" y="739665"/>
                      <a:pt x="839938" y="739665"/>
                      <a:pt x="842543" y="738262"/>
                    </a:cubicBezTo>
                    <a:cubicBezTo>
                      <a:pt x="843845" y="736861"/>
                      <a:pt x="845148" y="736861"/>
                      <a:pt x="846449" y="735458"/>
                    </a:cubicBezTo>
                    <a:cubicBezTo>
                      <a:pt x="847752" y="732654"/>
                      <a:pt x="847752" y="729850"/>
                      <a:pt x="846449" y="727046"/>
                    </a:cubicBezTo>
                    <a:cubicBezTo>
                      <a:pt x="843851" y="721450"/>
                      <a:pt x="837361" y="713062"/>
                      <a:pt x="837334" y="713026"/>
                    </a:cubicBezTo>
                    <a:close/>
                    <a:moveTo>
                      <a:pt x="1048346" y="706600"/>
                    </a:moveTo>
                    <a:cubicBezTo>
                      <a:pt x="1047009" y="706600"/>
                      <a:pt x="1045670" y="706600"/>
                      <a:pt x="1044332" y="707981"/>
                    </a:cubicBezTo>
                    <a:cubicBezTo>
                      <a:pt x="1042993" y="709362"/>
                      <a:pt x="1042993" y="710743"/>
                      <a:pt x="1040318" y="716266"/>
                    </a:cubicBezTo>
                    <a:cubicBezTo>
                      <a:pt x="1038979" y="717646"/>
                      <a:pt x="1036302" y="719026"/>
                      <a:pt x="1037641" y="720407"/>
                    </a:cubicBezTo>
                    <a:cubicBezTo>
                      <a:pt x="1041655" y="721788"/>
                      <a:pt x="1044332" y="719026"/>
                      <a:pt x="1045670" y="716266"/>
                    </a:cubicBezTo>
                    <a:cubicBezTo>
                      <a:pt x="1047009" y="713504"/>
                      <a:pt x="1051023" y="712123"/>
                      <a:pt x="1048346" y="706600"/>
                    </a:cubicBezTo>
                    <a:close/>
                    <a:moveTo>
                      <a:pt x="990214" y="661405"/>
                    </a:moveTo>
                    <a:cubicBezTo>
                      <a:pt x="986550" y="662383"/>
                      <a:pt x="984717" y="666299"/>
                      <a:pt x="987466" y="669236"/>
                    </a:cubicBezTo>
                    <a:lnTo>
                      <a:pt x="993878" y="669236"/>
                    </a:lnTo>
                    <a:cubicBezTo>
                      <a:pt x="993878" y="667279"/>
                      <a:pt x="993878" y="666299"/>
                      <a:pt x="994794" y="663362"/>
                    </a:cubicBezTo>
                    <a:cubicBezTo>
                      <a:pt x="994794" y="663117"/>
                      <a:pt x="994852" y="662934"/>
                      <a:pt x="990214" y="661405"/>
                    </a:cubicBezTo>
                    <a:close/>
                    <a:moveTo>
                      <a:pt x="1030989" y="635714"/>
                    </a:moveTo>
                    <a:lnTo>
                      <a:pt x="1029138" y="637620"/>
                    </a:lnTo>
                    <a:cubicBezTo>
                      <a:pt x="1026362" y="640479"/>
                      <a:pt x="1023585" y="647150"/>
                      <a:pt x="1027287" y="650010"/>
                    </a:cubicBezTo>
                    <a:cubicBezTo>
                      <a:pt x="1030989" y="651916"/>
                      <a:pt x="1035616" y="645244"/>
                      <a:pt x="1035616" y="643338"/>
                    </a:cubicBezTo>
                    <a:cubicBezTo>
                      <a:pt x="1036542" y="641432"/>
                      <a:pt x="1034691" y="638573"/>
                      <a:pt x="1033765" y="636667"/>
                    </a:cubicBezTo>
                    <a:cubicBezTo>
                      <a:pt x="1032840" y="635714"/>
                      <a:pt x="1031914" y="635714"/>
                      <a:pt x="1030989" y="635714"/>
                    </a:cubicBezTo>
                    <a:close/>
                    <a:moveTo>
                      <a:pt x="1065440" y="591560"/>
                    </a:moveTo>
                    <a:lnTo>
                      <a:pt x="1063554" y="592532"/>
                    </a:lnTo>
                    <a:cubicBezTo>
                      <a:pt x="1061670" y="592532"/>
                      <a:pt x="1061670" y="593504"/>
                      <a:pt x="1061670" y="595449"/>
                    </a:cubicBezTo>
                    <a:cubicBezTo>
                      <a:pt x="1065204" y="598123"/>
                      <a:pt x="1066382" y="597394"/>
                      <a:pt x="1066382" y="599338"/>
                    </a:cubicBezTo>
                    <a:cubicBezTo>
                      <a:pt x="1066382" y="601282"/>
                      <a:pt x="1065440" y="602254"/>
                      <a:pt x="1068267" y="605170"/>
                    </a:cubicBezTo>
                    <a:lnTo>
                      <a:pt x="1070151" y="595449"/>
                    </a:lnTo>
                    <a:cubicBezTo>
                      <a:pt x="1069680" y="594477"/>
                      <a:pt x="1069680" y="593991"/>
                      <a:pt x="1065440" y="591560"/>
                    </a:cubicBezTo>
                    <a:close/>
                    <a:moveTo>
                      <a:pt x="1078318" y="589536"/>
                    </a:moveTo>
                    <a:cubicBezTo>
                      <a:pt x="1075609" y="589536"/>
                      <a:pt x="1071093" y="593384"/>
                      <a:pt x="1073803" y="595309"/>
                    </a:cubicBezTo>
                    <a:cubicBezTo>
                      <a:pt x="1075609" y="597232"/>
                      <a:pt x="1078318" y="595309"/>
                      <a:pt x="1079221" y="593384"/>
                    </a:cubicBezTo>
                    <a:cubicBezTo>
                      <a:pt x="1080124" y="592422"/>
                      <a:pt x="1080124" y="592422"/>
                      <a:pt x="1080124" y="591460"/>
                    </a:cubicBezTo>
                    <a:cubicBezTo>
                      <a:pt x="1080124" y="590498"/>
                      <a:pt x="1079221" y="589536"/>
                      <a:pt x="1078318" y="589536"/>
                    </a:cubicBezTo>
                    <a:close/>
                    <a:moveTo>
                      <a:pt x="1102432" y="554296"/>
                    </a:moveTo>
                    <a:cubicBezTo>
                      <a:pt x="1101504" y="555250"/>
                      <a:pt x="1100576" y="555250"/>
                      <a:pt x="1099648" y="556206"/>
                    </a:cubicBezTo>
                    <a:cubicBezTo>
                      <a:pt x="1098720" y="558115"/>
                      <a:pt x="1099648" y="560980"/>
                      <a:pt x="1099648" y="562889"/>
                    </a:cubicBezTo>
                    <a:cubicBezTo>
                      <a:pt x="1099648" y="566708"/>
                      <a:pt x="1097791" y="568619"/>
                      <a:pt x="1095936" y="572438"/>
                    </a:cubicBezTo>
                    <a:lnTo>
                      <a:pt x="1095008" y="572438"/>
                    </a:lnTo>
                    <a:lnTo>
                      <a:pt x="1091296" y="577212"/>
                    </a:lnTo>
                    <a:cubicBezTo>
                      <a:pt x="1089439" y="577212"/>
                      <a:pt x="1090368" y="575302"/>
                      <a:pt x="1086656" y="577212"/>
                    </a:cubicBezTo>
                    <a:cubicBezTo>
                      <a:pt x="1086656" y="579121"/>
                      <a:pt x="1085727" y="581031"/>
                      <a:pt x="1083871" y="582940"/>
                    </a:cubicBezTo>
                    <a:cubicBezTo>
                      <a:pt x="1082944" y="583896"/>
                      <a:pt x="1082015" y="584850"/>
                      <a:pt x="1080159" y="584850"/>
                    </a:cubicBezTo>
                    <a:lnTo>
                      <a:pt x="1071807" y="590579"/>
                    </a:lnTo>
                    <a:cubicBezTo>
                      <a:pt x="1075519" y="590579"/>
                      <a:pt x="1078303" y="585805"/>
                      <a:pt x="1081087" y="589624"/>
                    </a:cubicBezTo>
                    <a:lnTo>
                      <a:pt x="1084799" y="593444"/>
                    </a:lnTo>
                    <a:cubicBezTo>
                      <a:pt x="1086656" y="593444"/>
                      <a:pt x="1086656" y="591534"/>
                      <a:pt x="1087584" y="590579"/>
                    </a:cubicBezTo>
                    <a:cubicBezTo>
                      <a:pt x="1087584" y="589624"/>
                      <a:pt x="1087351" y="589147"/>
                      <a:pt x="1088280" y="589027"/>
                    </a:cubicBezTo>
                    <a:lnTo>
                      <a:pt x="1095936" y="589624"/>
                    </a:lnTo>
                    <a:cubicBezTo>
                      <a:pt x="1097791" y="588670"/>
                      <a:pt x="1096864" y="586760"/>
                      <a:pt x="1099648" y="583896"/>
                    </a:cubicBezTo>
                    <a:cubicBezTo>
                      <a:pt x="1100576" y="583896"/>
                      <a:pt x="1101504" y="584850"/>
                      <a:pt x="1101504" y="585805"/>
                    </a:cubicBezTo>
                    <a:cubicBezTo>
                      <a:pt x="1104288" y="586760"/>
                      <a:pt x="1104288" y="581986"/>
                      <a:pt x="1104288" y="580077"/>
                    </a:cubicBezTo>
                    <a:cubicBezTo>
                      <a:pt x="1103360" y="578166"/>
                      <a:pt x="1103360" y="576257"/>
                      <a:pt x="1103360" y="573393"/>
                    </a:cubicBezTo>
                    <a:cubicBezTo>
                      <a:pt x="1104288" y="571482"/>
                      <a:pt x="1106145" y="570528"/>
                      <a:pt x="1106145" y="567663"/>
                    </a:cubicBezTo>
                    <a:cubicBezTo>
                      <a:pt x="1107072" y="564799"/>
                      <a:pt x="1108000" y="556206"/>
                      <a:pt x="1102432" y="554296"/>
                    </a:cubicBezTo>
                    <a:close/>
                    <a:moveTo>
                      <a:pt x="1106929" y="528371"/>
                    </a:moveTo>
                    <a:cubicBezTo>
                      <a:pt x="1104145" y="529340"/>
                      <a:pt x="1106929" y="533214"/>
                      <a:pt x="1106929" y="534183"/>
                    </a:cubicBezTo>
                    <a:cubicBezTo>
                      <a:pt x="1107857" y="536120"/>
                      <a:pt x="1106929" y="539026"/>
                      <a:pt x="1105074" y="540964"/>
                    </a:cubicBezTo>
                    <a:lnTo>
                      <a:pt x="1101361" y="542901"/>
                    </a:lnTo>
                    <a:lnTo>
                      <a:pt x="1100433" y="549681"/>
                    </a:lnTo>
                    <a:cubicBezTo>
                      <a:pt x="1101361" y="550650"/>
                      <a:pt x="1102289" y="550650"/>
                      <a:pt x="1103217" y="549681"/>
                    </a:cubicBezTo>
                    <a:cubicBezTo>
                      <a:pt x="1104145" y="548713"/>
                      <a:pt x="1103217" y="547744"/>
                      <a:pt x="1104145" y="546776"/>
                    </a:cubicBezTo>
                    <a:cubicBezTo>
                      <a:pt x="1105074" y="542901"/>
                      <a:pt x="1107857" y="545807"/>
                      <a:pt x="1110641" y="546776"/>
                    </a:cubicBezTo>
                    <a:cubicBezTo>
                      <a:pt x="1112498" y="546776"/>
                      <a:pt x="1115281" y="545807"/>
                      <a:pt x="1117138" y="543870"/>
                    </a:cubicBezTo>
                    <a:cubicBezTo>
                      <a:pt x="1118065" y="541932"/>
                      <a:pt x="1118993" y="539026"/>
                      <a:pt x="1117138" y="538058"/>
                    </a:cubicBezTo>
                    <a:cubicBezTo>
                      <a:pt x="1115281" y="536120"/>
                      <a:pt x="1113425" y="537089"/>
                      <a:pt x="1111569" y="536120"/>
                    </a:cubicBezTo>
                    <a:cubicBezTo>
                      <a:pt x="1110641" y="535152"/>
                      <a:pt x="1110641" y="533214"/>
                      <a:pt x="1106929" y="528371"/>
                    </a:cubicBezTo>
                    <a:close/>
                    <a:moveTo>
                      <a:pt x="376705" y="500356"/>
                    </a:moveTo>
                    <a:lnTo>
                      <a:pt x="376213" y="503023"/>
                    </a:lnTo>
                    <a:cubicBezTo>
                      <a:pt x="376144" y="502591"/>
                      <a:pt x="376213" y="502142"/>
                      <a:pt x="376213" y="501622"/>
                    </a:cubicBezTo>
                    <a:close/>
                    <a:moveTo>
                      <a:pt x="1111796" y="480573"/>
                    </a:moveTo>
                    <a:cubicBezTo>
                      <a:pt x="1109964" y="480573"/>
                      <a:pt x="1109964" y="481533"/>
                      <a:pt x="1109964" y="483452"/>
                    </a:cubicBezTo>
                    <a:cubicBezTo>
                      <a:pt x="1109964" y="486333"/>
                      <a:pt x="1108132" y="488252"/>
                      <a:pt x="1108132" y="490172"/>
                    </a:cubicBezTo>
                    <a:cubicBezTo>
                      <a:pt x="1107216" y="493052"/>
                      <a:pt x="1108132" y="494971"/>
                      <a:pt x="1108132" y="497850"/>
                    </a:cubicBezTo>
                    <a:cubicBezTo>
                      <a:pt x="1109048" y="500730"/>
                      <a:pt x="1109048" y="503610"/>
                      <a:pt x="1108132" y="507449"/>
                    </a:cubicBezTo>
                    <a:cubicBezTo>
                      <a:pt x="1108132" y="509368"/>
                      <a:pt x="1107216" y="511289"/>
                      <a:pt x="1108132" y="513208"/>
                    </a:cubicBezTo>
                    <a:cubicBezTo>
                      <a:pt x="1108132" y="516087"/>
                      <a:pt x="1109048" y="518007"/>
                      <a:pt x="1108132" y="519927"/>
                    </a:cubicBezTo>
                    <a:lnTo>
                      <a:pt x="1107216" y="522806"/>
                    </a:lnTo>
                    <a:cubicBezTo>
                      <a:pt x="1107216" y="523766"/>
                      <a:pt x="1108132" y="524726"/>
                      <a:pt x="1109048" y="524726"/>
                    </a:cubicBezTo>
                    <a:cubicBezTo>
                      <a:pt x="1110880" y="524726"/>
                      <a:pt x="1110880" y="523766"/>
                      <a:pt x="1110880" y="522806"/>
                    </a:cubicBezTo>
                    <a:cubicBezTo>
                      <a:pt x="1111796" y="519927"/>
                      <a:pt x="1109964" y="518007"/>
                      <a:pt x="1109964" y="516087"/>
                    </a:cubicBezTo>
                    <a:cubicBezTo>
                      <a:pt x="1109964" y="514168"/>
                      <a:pt x="1110880" y="513208"/>
                      <a:pt x="1110880" y="509368"/>
                    </a:cubicBezTo>
                    <a:cubicBezTo>
                      <a:pt x="1111796" y="508408"/>
                      <a:pt x="1112712" y="509368"/>
                      <a:pt x="1113628" y="509368"/>
                    </a:cubicBezTo>
                    <a:cubicBezTo>
                      <a:pt x="1115461" y="509368"/>
                      <a:pt x="1118209" y="511289"/>
                      <a:pt x="1118209" y="507449"/>
                    </a:cubicBezTo>
                    <a:cubicBezTo>
                      <a:pt x="1117292" y="505529"/>
                      <a:pt x="1116376" y="505529"/>
                      <a:pt x="1114545" y="504569"/>
                    </a:cubicBezTo>
                    <a:lnTo>
                      <a:pt x="1114545" y="491131"/>
                    </a:lnTo>
                    <a:cubicBezTo>
                      <a:pt x="1114545" y="489212"/>
                      <a:pt x="1113628" y="489212"/>
                      <a:pt x="1112712" y="487292"/>
                    </a:cubicBezTo>
                    <a:cubicBezTo>
                      <a:pt x="1111796" y="485373"/>
                      <a:pt x="1112712" y="482493"/>
                      <a:pt x="1111796" y="480573"/>
                    </a:cubicBezTo>
                    <a:close/>
                    <a:moveTo>
                      <a:pt x="565541" y="471289"/>
                    </a:moveTo>
                    <a:lnTo>
                      <a:pt x="570988" y="474063"/>
                    </a:lnTo>
                    <a:cubicBezTo>
                      <a:pt x="571211" y="474290"/>
                      <a:pt x="571170" y="474570"/>
                      <a:pt x="570711" y="474709"/>
                    </a:cubicBezTo>
                    <a:close/>
                    <a:moveTo>
                      <a:pt x="629389" y="469232"/>
                    </a:moveTo>
                    <a:cubicBezTo>
                      <a:pt x="627505" y="466396"/>
                      <a:pt x="624677" y="468286"/>
                      <a:pt x="624677" y="471122"/>
                    </a:cubicBezTo>
                    <a:cubicBezTo>
                      <a:pt x="624677" y="473012"/>
                      <a:pt x="625619" y="474903"/>
                      <a:pt x="627505" y="473957"/>
                    </a:cubicBezTo>
                    <a:cubicBezTo>
                      <a:pt x="629389" y="473957"/>
                      <a:pt x="629389" y="471122"/>
                      <a:pt x="629389" y="469232"/>
                    </a:cubicBezTo>
                    <a:close/>
                    <a:moveTo>
                      <a:pt x="562696" y="464952"/>
                    </a:moveTo>
                    <a:lnTo>
                      <a:pt x="563490" y="467380"/>
                    </a:lnTo>
                    <a:cubicBezTo>
                      <a:pt x="564424" y="468331"/>
                      <a:pt x="565356" y="468335"/>
                      <a:pt x="565346" y="471159"/>
                    </a:cubicBezTo>
                    <a:cubicBezTo>
                      <a:pt x="563633" y="471257"/>
                      <a:pt x="562824" y="470279"/>
                      <a:pt x="562268" y="469124"/>
                    </a:cubicBezTo>
                    <a:close/>
                    <a:moveTo>
                      <a:pt x="283424" y="450229"/>
                    </a:moveTo>
                    <a:cubicBezTo>
                      <a:pt x="282496" y="450229"/>
                      <a:pt x="282496" y="451174"/>
                      <a:pt x="281567" y="451174"/>
                    </a:cubicBezTo>
                    <a:cubicBezTo>
                      <a:pt x="280639" y="453065"/>
                      <a:pt x="282496" y="454009"/>
                      <a:pt x="282496" y="454954"/>
                    </a:cubicBezTo>
                    <a:lnTo>
                      <a:pt x="280639" y="457790"/>
                    </a:lnTo>
                    <a:cubicBezTo>
                      <a:pt x="276927" y="459681"/>
                      <a:pt x="283424" y="463461"/>
                      <a:pt x="285279" y="461570"/>
                    </a:cubicBezTo>
                    <a:cubicBezTo>
                      <a:pt x="288063" y="459681"/>
                      <a:pt x="285279" y="454954"/>
                      <a:pt x="294560" y="456845"/>
                    </a:cubicBezTo>
                    <a:cubicBezTo>
                      <a:pt x="293631" y="456845"/>
                      <a:pt x="292703" y="455900"/>
                      <a:pt x="291775" y="454954"/>
                    </a:cubicBezTo>
                    <a:close/>
                    <a:moveTo>
                      <a:pt x="230745" y="433214"/>
                    </a:moveTo>
                    <a:lnTo>
                      <a:pt x="224255" y="442718"/>
                    </a:lnTo>
                    <a:cubicBezTo>
                      <a:pt x="223328" y="444619"/>
                      <a:pt x="222402" y="446519"/>
                      <a:pt x="222402" y="448420"/>
                    </a:cubicBezTo>
                    <a:lnTo>
                      <a:pt x="227037" y="456022"/>
                    </a:lnTo>
                    <a:cubicBezTo>
                      <a:pt x="228890" y="456973"/>
                      <a:pt x="230745" y="456022"/>
                      <a:pt x="237234" y="451271"/>
                    </a:cubicBezTo>
                    <a:cubicBezTo>
                      <a:pt x="237234" y="449370"/>
                      <a:pt x="238162" y="448420"/>
                      <a:pt x="240015" y="447469"/>
                    </a:cubicBezTo>
                    <a:lnTo>
                      <a:pt x="244650" y="443668"/>
                    </a:lnTo>
                    <a:cubicBezTo>
                      <a:pt x="248358" y="442718"/>
                      <a:pt x="252067" y="441767"/>
                      <a:pt x="252995" y="438916"/>
                    </a:cubicBezTo>
                    <a:cubicBezTo>
                      <a:pt x="254848" y="436066"/>
                      <a:pt x="251140" y="434165"/>
                      <a:pt x="249286" y="435115"/>
                    </a:cubicBezTo>
                    <a:cubicBezTo>
                      <a:pt x="248823" y="435590"/>
                      <a:pt x="248358" y="436066"/>
                      <a:pt x="247200" y="436302"/>
                    </a:cubicBezTo>
                    <a:lnTo>
                      <a:pt x="240942" y="436066"/>
                    </a:lnTo>
                    <a:cubicBezTo>
                      <a:pt x="239088" y="435115"/>
                      <a:pt x="236307" y="434165"/>
                      <a:pt x="234453" y="433214"/>
                    </a:cubicBezTo>
                    <a:cubicBezTo>
                      <a:pt x="232599" y="433214"/>
                      <a:pt x="231672" y="432264"/>
                      <a:pt x="230745" y="433214"/>
                    </a:cubicBezTo>
                    <a:close/>
                    <a:moveTo>
                      <a:pt x="517068" y="416742"/>
                    </a:moveTo>
                    <a:lnTo>
                      <a:pt x="519609" y="417397"/>
                    </a:lnTo>
                    <a:lnTo>
                      <a:pt x="519505" y="418048"/>
                    </a:lnTo>
                    <a:cubicBezTo>
                      <a:pt x="518285" y="419949"/>
                      <a:pt x="515840" y="420576"/>
                      <a:pt x="513465" y="419932"/>
                    </a:cubicBezTo>
                    <a:cubicBezTo>
                      <a:pt x="513472" y="419899"/>
                      <a:pt x="513459" y="419885"/>
                      <a:pt x="513446" y="419873"/>
                    </a:cubicBezTo>
                    <a:cubicBezTo>
                      <a:pt x="513446" y="419052"/>
                      <a:pt x="512081" y="418936"/>
                      <a:pt x="514009" y="417551"/>
                    </a:cubicBezTo>
                    <a:cubicBezTo>
                      <a:pt x="514240" y="417762"/>
                      <a:pt x="514380" y="417700"/>
                      <a:pt x="514519" y="417627"/>
                    </a:cubicBezTo>
                    <a:close/>
                    <a:moveTo>
                      <a:pt x="303061" y="387002"/>
                    </a:moveTo>
                    <a:lnTo>
                      <a:pt x="302162" y="392774"/>
                    </a:lnTo>
                    <a:cubicBezTo>
                      <a:pt x="305752" y="394699"/>
                      <a:pt x="306650" y="387002"/>
                      <a:pt x="303061" y="387002"/>
                    </a:cubicBezTo>
                    <a:close/>
                    <a:moveTo>
                      <a:pt x="235434" y="377228"/>
                    </a:moveTo>
                    <a:cubicBezTo>
                      <a:pt x="234508" y="378179"/>
                      <a:pt x="233581" y="378179"/>
                      <a:pt x="232654" y="379130"/>
                    </a:cubicBezTo>
                    <a:cubicBezTo>
                      <a:pt x="231728" y="380081"/>
                      <a:pt x="230801" y="380081"/>
                      <a:pt x="228947" y="380081"/>
                    </a:cubicBezTo>
                    <a:lnTo>
                      <a:pt x="226167" y="384836"/>
                    </a:lnTo>
                    <a:cubicBezTo>
                      <a:pt x="227095" y="385787"/>
                      <a:pt x="228947" y="387689"/>
                      <a:pt x="226167" y="388641"/>
                    </a:cubicBezTo>
                    <a:cubicBezTo>
                      <a:pt x="224315" y="388641"/>
                      <a:pt x="223388" y="386739"/>
                      <a:pt x="221535" y="386739"/>
                    </a:cubicBezTo>
                    <a:cubicBezTo>
                      <a:pt x="220608" y="387689"/>
                      <a:pt x="219682" y="388641"/>
                      <a:pt x="219682" y="390543"/>
                    </a:cubicBezTo>
                    <a:cubicBezTo>
                      <a:pt x="219682" y="393395"/>
                      <a:pt x="221535" y="391493"/>
                      <a:pt x="223388" y="392445"/>
                    </a:cubicBezTo>
                    <a:cubicBezTo>
                      <a:pt x="225241" y="392445"/>
                      <a:pt x="227095" y="394347"/>
                      <a:pt x="228947" y="396248"/>
                    </a:cubicBezTo>
                    <a:cubicBezTo>
                      <a:pt x="229094" y="396549"/>
                      <a:pt x="229241" y="396826"/>
                      <a:pt x="229835" y="396794"/>
                    </a:cubicBezTo>
                    <a:lnTo>
                      <a:pt x="227591" y="398524"/>
                    </a:lnTo>
                    <a:cubicBezTo>
                      <a:pt x="228521" y="399481"/>
                      <a:pt x="229451" y="400437"/>
                      <a:pt x="228521" y="403306"/>
                    </a:cubicBezTo>
                    <a:cubicBezTo>
                      <a:pt x="227591" y="403306"/>
                      <a:pt x="227126" y="404024"/>
                      <a:pt x="223869" y="402350"/>
                    </a:cubicBezTo>
                    <a:cubicBezTo>
                      <a:pt x="224799" y="401393"/>
                      <a:pt x="225729" y="401393"/>
                      <a:pt x="224799" y="397568"/>
                    </a:cubicBezTo>
                    <a:cubicBezTo>
                      <a:pt x="221077" y="394699"/>
                      <a:pt x="217355" y="404263"/>
                      <a:pt x="214565" y="397568"/>
                    </a:cubicBezTo>
                    <a:cubicBezTo>
                      <a:pt x="214565" y="396611"/>
                      <a:pt x="214565" y="396611"/>
                      <a:pt x="214565" y="395655"/>
                    </a:cubicBezTo>
                    <a:cubicBezTo>
                      <a:pt x="213633" y="395655"/>
                      <a:pt x="212703" y="394699"/>
                      <a:pt x="211773" y="394699"/>
                    </a:cubicBezTo>
                    <a:cubicBezTo>
                      <a:pt x="208051" y="394699"/>
                      <a:pt x="210843" y="399481"/>
                      <a:pt x="208981" y="400437"/>
                    </a:cubicBezTo>
                    <a:lnTo>
                      <a:pt x="204329" y="398524"/>
                    </a:lnTo>
                    <a:cubicBezTo>
                      <a:pt x="203399" y="396611"/>
                      <a:pt x="203399" y="394699"/>
                      <a:pt x="200607" y="394699"/>
                    </a:cubicBezTo>
                    <a:cubicBezTo>
                      <a:pt x="198746" y="395655"/>
                      <a:pt x="197815" y="396611"/>
                      <a:pt x="195955" y="397568"/>
                    </a:cubicBezTo>
                    <a:lnTo>
                      <a:pt x="189441" y="400437"/>
                    </a:lnTo>
                    <a:cubicBezTo>
                      <a:pt x="188511" y="401393"/>
                      <a:pt x="188511" y="401393"/>
                      <a:pt x="187580" y="402350"/>
                    </a:cubicBezTo>
                    <a:cubicBezTo>
                      <a:pt x="186649" y="403306"/>
                      <a:pt x="185719" y="403306"/>
                      <a:pt x="185719" y="405219"/>
                    </a:cubicBezTo>
                    <a:lnTo>
                      <a:pt x="190371" y="408088"/>
                    </a:lnTo>
                    <a:cubicBezTo>
                      <a:pt x="192233" y="407132"/>
                      <a:pt x="193163" y="407132"/>
                      <a:pt x="195024" y="407132"/>
                    </a:cubicBezTo>
                    <a:cubicBezTo>
                      <a:pt x="196885" y="406175"/>
                      <a:pt x="198746" y="407132"/>
                      <a:pt x="200607" y="407132"/>
                    </a:cubicBezTo>
                    <a:cubicBezTo>
                      <a:pt x="201537" y="411914"/>
                      <a:pt x="189441" y="409045"/>
                      <a:pt x="189441" y="412871"/>
                    </a:cubicBezTo>
                    <a:cubicBezTo>
                      <a:pt x="190371" y="415740"/>
                      <a:pt x="198746" y="413827"/>
                      <a:pt x="200607" y="412871"/>
                    </a:cubicBezTo>
                    <a:cubicBezTo>
                      <a:pt x="204329" y="411914"/>
                      <a:pt x="208981" y="410001"/>
                      <a:pt x="207121" y="416696"/>
                    </a:cubicBezTo>
                    <a:cubicBezTo>
                      <a:pt x="204329" y="416696"/>
                      <a:pt x="190371" y="415740"/>
                      <a:pt x="194093" y="421478"/>
                    </a:cubicBezTo>
                    <a:cubicBezTo>
                      <a:pt x="195024" y="423391"/>
                      <a:pt x="195955" y="424347"/>
                      <a:pt x="197815" y="424347"/>
                    </a:cubicBezTo>
                    <a:cubicBezTo>
                      <a:pt x="199677" y="426260"/>
                      <a:pt x="202467" y="427217"/>
                      <a:pt x="204329" y="428173"/>
                    </a:cubicBezTo>
                    <a:cubicBezTo>
                      <a:pt x="208051" y="429129"/>
                      <a:pt x="211773" y="428173"/>
                      <a:pt x="214565" y="427217"/>
                    </a:cubicBezTo>
                    <a:cubicBezTo>
                      <a:pt x="215495" y="426260"/>
                      <a:pt x="217355" y="426260"/>
                      <a:pt x="218286" y="425304"/>
                    </a:cubicBezTo>
                    <a:cubicBezTo>
                      <a:pt x="220147" y="424347"/>
                      <a:pt x="222007" y="424347"/>
                      <a:pt x="223869" y="423391"/>
                    </a:cubicBezTo>
                    <a:cubicBezTo>
                      <a:pt x="225729" y="422435"/>
                      <a:pt x="227591" y="423391"/>
                      <a:pt x="229451" y="422435"/>
                    </a:cubicBezTo>
                    <a:cubicBezTo>
                      <a:pt x="231313" y="422435"/>
                      <a:pt x="231313" y="421478"/>
                      <a:pt x="233174" y="421478"/>
                    </a:cubicBezTo>
                    <a:cubicBezTo>
                      <a:pt x="235035" y="421478"/>
                      <a:pt x="235965" y="423391"/>
                      <a:pt x="236896" y="424347"/>
                    </a:cubicBezTo>
                    <a:cubicBezTo>
                      <a:pt x="238757" y="426260"/>
                      <a:pt x="242479" y="428173"/>
                      <a:pt x="247131" y="424347"/>
                    </a:cubicBezTo>
                    <a:cubicBezTo>
                      <a:pt x="246215" y="424347"/>
                      <a:pt x="242594" y="423420"/>
                      <a:pt x="244372" y="421677"/>
                    </a:cubicBezTo>
                    <a:lnTo>
                      <a:pt x="244400" y="421473"/>
                    </a:lnTo>
                    <a:cubicBezTo>
                      <a:pt x="245360" y="419606"/>
                      <a:pt x="253634" y="423365"/>
                      <a:pt x="251784" y="418609"/>
                    </a:cubicBezTo>
                    <a:cubicBezTo>
                      <a:pt x="249922" y="415740"/>
                      <a:pt x="247131" y="416696"/>
                      <a:pt x="245270" y="415740"/>
                    </a:cubicBezTo>
                    <a:cubicBezTo>
                      <a:pt x="242479" y="413827"/>
                      <a:pt x="240618" y="412871"/>
                      <a:pt x="238757" y="410957"/>
                    </a:cubicBezTo>
                    <a:cubicBezTo>
                      <a:pt x="237826" y="410001"/>
                      <a:pt x="236896" y="409045"/>
                      <a:pt x="236896" y="407132"/>
                    </a:cubicBezTo>
                    <a:cubicBezTo>
                      <a:pt x="236896" y="406175"/>
                      <a:pt x="236896" y="405219"/>
                      <a:pt x="235965" y="404263"/>
                    </a:cubicBezTo>
                    <a:cubicBezTo>
                      <a:pt x="235035" y="403306"/>
                      <a:pt x="234104" y="403306"/>
                      <a:pt x="234104" y="402350"/>
                    </a:cubicBezTo>
                    <a:lnTo>
                      <a:pt x="234104" y="398887"/>
                    </a:lnTo>
                    <a:lnTo>
                      <a:pt x="238214" y="397200"/>
                    </a:lnTo>
                    <a:cubicBezTo>
                      <a:pt x="241921" y="397200"/>
                      <a:pt x="242847" y="393395"/>
                      <a:pt x="242847" y="390543"/>
                    </a:cubicBezTo>
                    <a:cubicBezTo>
                      <a:pt x="242847" y="387689"/>
                      <a:pt x="241921" y="388641"/>
                      <a:pt x="240067" y="387689"/>
                    </a:cubicBezTo>
                    <a:cubicBezTo>
                      <a:pt x="238214" y="387689"/>
                      <a:pt x="234508" y="386739"/>
                      <a:pt x="238214" y="382934"/>
                    </a:cubicBezTo>
                    <a:cubicBezTo>
                      <a:pt x="239141" y="381032"/>
                      <a:pt x="239141" y="379130"/>
                      <a:pt x="238214" y="378179"/>
                    </a:cubicBezTo>
                    <a:cubicBezTo>
                      <a:pt x="237287" y="377228"/>
                      <a:pt x="236361" y="377228"/>
                      <a:pt x="235434" y="377228"/>
                    </a:cubicBezTo>
                    <a:close/>
                    <a:moveTo>
                      <a:pt x="1208120" y="373635"/>
                    </a:moveTo>
                    <a:cubicBezTo>
                      <a:pt x="1207139" y="373635"/>
                      <a:pt x="1206157" y="374526"/>
                      <a:pt x="1206157" y="375418"/>
                    </a:cubicBezTo>
                    <a:lnTo>
                      <a:pt x="1210083" y="375418"/>
                    </a:lnTo>
                    <a:cubicBezTo>
                      <a:pt x="1210083" y="374526"/>
                      <a:pt x="1209102" y="373635"/>
                      <a:pt x="1208120" y="373635"/>
                    </a:cubicBezTo>
                    <a:close/>
                    <a:moveTo>
                      <a:pt x="1250698" y="365939"/>
                    </a:moveTo>
                    <a:cubicBezTo>
                      <a:pt x="1249738" y="365939"/>
                      <a:pt x="1249738" y="366911"/>
                      <a:pt x="1249738" y="367883"/>
                    </a:cubicBezTo>
                    <a:lnTo>
                      <a:pt x="1257417" y="368855"/>
                    </a:lnTo>
                    <a:close/>
                    <a:moveTo>
                      <a:pt x="1145222" y="365939"/>
                    </a:moveTo>
                    <a:lnTo>
                      <a:pt x="1144279" y="370664"/>
                    </a:lnTo>
                    <a:cubicBezTo>
                      <a:pt x="1147107" y="371610"/>
                      <a:pt x="1148049" y="366884"/>
                      <a:pt x="1145222" y="365939"/>
                    </a:cubicBezTo>
                    <a:close/>
                    <a:moveTo>
                      <a:pt x="207673" y="351729"/>
                    </a:moveTo>
                    <a:cubicBezTo>
                      <a:pt x="206744" y="351729"/>
                      <a:pt x="205816" y="351729"/>
                      <a:pt x="205816" y="353653"/>
                    </a:cubicBezTo>
                    <a:cubicBezTo>
                      <a:pt x="204888" y="355578"/>
                      <a:pt x="209528" y="357501"/>
                      <a:pt x="209528" y="359426"/>
                    </a:cubicBezTo>
                    <a:lnTo>
                      <a:pt x="203961" y="362312"/>
                    </a:lnTo>
                    <a:cubicBezTo>
                      <a:pt x="201176" y="362312"/>
                      <a:pt x="200248" y="360388"/>
                      <a:pt x="198392" y="359426"/>
                    </a:cubicBezTo>
                    <a:cubicBezTo>
                      <a:pt x="197464" y="358464"/>
                      <a:pt x="196536" y="359426"/>
                      <a:pt x="195607" y="359426"/>
                    </a:cubicBezTo>
                    <a:cubicBezTo>
                      <a:pt x="193752" y="358464"/>
                      <a:pt x="192824" y="357501"/>
                      <a:pt x="191896" y="357501"/>
                    </a:cubicBezTo>
                    <a:cubicBezTo>
                      <a:pt x="190040" y="356539"/>
                      <a:pt x="188184" y="356539"/>
                      <a:pt x="186327" y="357501"/>
                    </a:cubicBezTo>
                    <a:lnTo>
                      <a:pt x="181687" y="360388"/>
                    </a:lnTo>
                    <a:cubicBezTo>
                      <a:pt x="179831" y="364236"/>
                      <a:pt x="184472" y="367122"/>
                      <a:pt x="187255" y="364236"/>
                    </a:cubicBezTo>
                    <a:cubicBezTo>
                      <a:pt x="188184" y="363274"/>
                      <a:pt x="188184" y="362312"/>
                      <a:pt x="189112" y="361349"/>
                    </a:cubicBezTo>
                    <a:cubicBezTo>
                      <a:pt x="190967" y="361349"/>
                      <a:pt x="190967" y="363274"/>
                      <a:pt x="191896" y="364236"/>
                    </a:cubicBezTo>
                    <a:cubicBezTo>
                      <a:pt x="193752" y="365198"/>
                      <a:pt x="195607" y="364236"/>
                      <a:pt x="201176" y="364236"/>
                    </a:cubicBezTo>
                    <a:cubicBezTo>
                      <a:pt x="202104" y="364236"/>
                      <a:pt x="203032" y="364236"/>
                      <a:pt x="203032" y="365198"/>
                    </a:cubicBezTo>
                    <a:lnTo>
                      <a:pt x="197464" y="367122"/>
                    </a:lnTo>
                    <a:cubicBezTo>
                      <a:pt x="196536" y="367122"/>
                      <a:pt x="188184" y="369046"/>
                      <a:pt x="191896" y="371932"/>
                    </a:cubicBezTo>
                    <a:cubicBezTo>
                      <a:pt x="193752" y="374818"/>
                      <a:pt x="198392" y="370009"/>
                      <a:pt x="201176" y="369046"/>
                    </a:cubicBezTo>
                    <a:cubicBezTo>
                      <a:pt x="203032" y="368084"/>
                      <a:pt x="204888" y="367122"/>
                      <a:pt x="207673" y="367122"/>
                    </a:cubicBezTo>
                    <a:cubicBezTo>
                      <a:pt x="209528" y="367122"/>
                      <a:pt x="211385" y="368084"/>
                      <a:pt x="212313" y="367122"/>
                    </a:cubicBezTo>
                    <a:cubicBezTo>
                      <a:pt x="215097" y="366160"/>
                      <a:pt x="219737" y="364236"/>
                      <a:pt x="220665" y="361349"/>
                    </a:cubicBezTo>
                    <a:cubicBezTo>
                      <a:pt x="220665" y="359426"/>
                      <a:pt x="219737" y="355578"/>
                      <a:pt x="217880" y="358464"/>
                    </a:cubicBezTo>
                    <a:cubicBezTo>
                      <a:pt x="217649" y="358704"/>
                      <a:pt x="217475" y="359005"/>
                      <a:pt x="216634" y="358734"/>
                    </a:cubicBezTo>
                    <a:lnTo>
                      <a:pt x="211385" y="355578"/>
                    </a:lnTo>
                    <a:close/>
                    <a:moveTo>
                      <a:pt x="215843" y="349710"/>
                    </a:moveTo>
                    <a:lnTo>
                      <a:pt x="216802" y="354166"/>
                    </a:lnTo>
                    <a:cubicBezTo>
                      <a:pt x="219682" y="353274"/>
                      <a:pt x="219682" y="350601"/>
                      <a:pt x="217762" y="349710"/>
                    </a:cubicBezTo>
                    <a:cubicBezTo>
                      <a:pt x="216802" y="349710"/>
                      <a:pt x="216802" y="349710"/>
                      <a:pt x="215843" y="349710"/>
                    </a:cubicBezTo>
                    <a:close/>
                    <a:moveTo>
                      <a:pt x="547745" y="347199"/>
                    </a:moveTo>
                    <a:lnTo>
                      <a:pt x="554569" y="348079"/>
                    </a:lnTo>
                    <a:lnTo>
                      <a:pt x="555899" y="349001"/>
                    </a:lnTo>
                    <a:cubicBezTo>
                      <a:pt x="555899" y="350892"/>
                      <a:pt x="554989" y="350892"/>
                      <a:pt x="554989" y="351838"/>
                    </a:cubicBezTo>
                    <a:cubicBezTo>
                      <a:pt x="554079" y="354676"/>
                      <a:pt x="557718" y="356567"/>
                      <a:pt x="558629" y="358459"/>
                    </a:cubicBezTo>
                    <a:cubicBezTo>
                      <a:pt x="559538" y="363189"/>
                      <a:pt x="555899" y="362242"/>
                      <a:pt x="551349" y="364134"/>
                    </a:cubicBezTo>
                    <a:cubicBezTo>
                      <a:pt x="550440" y="365080"/>
                      <a:pt x="549530" y="364134"/>
                      <a:pt x="548620" y="364134"/>
                    </a:cubicBezTo>
                    <a:cubicBezTo>
                      <a:pt x="545891" y="364134"/>
                      <a:pt x="544070" y="365080"/>
                      <a:pt x="542251" y="366972"/>
                    </a:cubicBezTo>
                    <a:cubicBezTo>
                      <a:pt x="541341" y="369809"/>
                      <a:pt x="542251" y="371700"/>
                      <a:pt x="541341" y="373592"/>
                    </a:cubicBezTo>
                    <a:cubicBezTo>
                      <a:pt x="541079" y="374002"/>
                      <a:pt x="540778" y="374351"/>
                      <a:pt x="539848" y="373937"/>
                    </a:cubicBezTo>
                    <a:cubicBezTo>
                      <a:pt x="539864" y="373709"/>
                      <a:pt x="539842" y="373472"/>
                      <a:pt x="539402" y="373017"/>
                    </a:cubicBezTo>
                    <a:cubicBezTo>
                      <a:pt x="539402" y="371104"/>
                      <a:pt x="536621" y="371104"/>
                      <a:pt x="539402" y="366323"/>
                    </a:cubicBezTo>
                    <a:cubicBezTo>
                      <a:pt x="540329" y="365367"/>
                      <a:pt x="541256" y="364411"/>
                      <a:pt x="541256" y="362499"/>
                    </a:cubicBezTo>
                    <a:cubicBezTo>
                      <a:pt x="542183" y="359630"/>
                      <a:pt x="542183" y="360586"/>
                      <a:pt x="544037" y="359630"/>
                    </a:cubicBezTo>
                    <a:lnTo>
                      <a:pt x="543110" y="352936"/>
                    </a:lnTo>
                    <a:cubicBezTo>
                      <a:pt x="544964" y="353892"/>
                      <a:pt x="545891" y="353892"/>
                      <a:pt x="547745" y="354849"/>
                    </a:cubicBezTo>
                    <a:cubicBezTo>
                      <a:pt x="549599" y="354849"/>
                      <a:pt x="552379" y="353892"/>
                      <a:pt x="552379" y="351024"/>
                    </a:cubicBezTo>
                    <a:cubicBezTo>
                      <a:pt x="551453" y="349111"/>
                      <a:pt x="549599" y="351024"/>
                      <a:pt x="548672" y="350067"/>
                    </a:cubicBezTo>
                    <a:cubicBezTo>
                      <a:pt x="546818" y="350067"/>
                      <a:pt x="545891" y="348155"/>
                      <a:pt x="547745" y="347199"/>
                    </a:cubicBezTo>
                    <a:close/>
                    <a:moveTo>
                      <a:pt x="229873" y="331508"/>
                    </a:moveTo>
                    <a:lnTo>
                      <a:pt x="228018" y="333399"/>
                    </a:lnTo>
                    <a:cubicBezTo>
                      <a:pt x="227090" y="334344"/>
                      <a:pt x="226162" y="335289"/>
                      <a:pt x="226162" y="337179"/>
                    </a:cubicBezTo>
                    <a:lnTo>
                      <a:pt x="232658" y="339070"/>
                    </a:lnTo>
                    <a:cubicBezTo>
                      <a:pt x="234514" y="340015"/>
                      <a:pt x="236370" y="340015"/>
                      <a:pt x="236370" y="337179"/>
                    </a:cubicBezTo>
                    <a:cubicBezTo>
                      <a:pt x="236370" y="334344"/>
                      <a:pt x="235442" y="331508"/>
                      <a:pt x="232658" y="331508"/>
                    </a:cubicBezTo>
                    <a:cubicBezTo>
                      <a:pt x="231730" y="331508"/>
                      <a:pt x="230802" y="331508"/>
                      <a:pt x="229873" y="331508"/>
                    </a:cubicBezTo>
                    <a:close/>
                    <a:moveTo>
                      <a:pt x="213008" y="322740"/>
                    </a:moveTo>
                    <a:cubicBezTo>
                      <a:pt x="209279" y="324646"/>
                      <a:pt x="213008" y="326553"/>
                      <a:pt x="213008" y="328459"/>
                    </a:cubicBezTo>
                    <a:cubicBezTo>
                      <a:pt x="212079" y="332254"/>
                      <a:pt x="209302" y="326603"/>
                      <a:pt x="209279" y="326553"/>
                    </a:cubicBezTo>
                    <a:cubicBezTo>
                      <a:pt x="208812" y="326076"/>
                      <a:pt x="208113" y="325362"/>
                      <a:pt x="207181" y="326076"/>
                    </a:cubicBezTo>
                    <a:lnTo>
                      <a:pt x="203683" y="334177"/>
                    </a:lnTo>
                    <a:cubicBezTo>
                      <a:pt x="204616" y="336084"/>
                      <a:pt x="206481" y="334177"/>
                      <a:pt x="212076" y="333224"/>
                    </a:cubicBezTo>
                    <a:cubicBezTo>
                      <a:pt x="212212" y="333587"/>
                      <a:pt x="212076" y="333813"/>
                      <a:pt x="212076" y="334177"/>
                    </a:cubicBezTo>
                    <a:cubicBezTo>
                      <a:pt x="211143" y="336084"/>
                      <a:pt x="212076" y="337036"/>
                      <a:pt x="213941" y="337990"/>
                    </a:cubicBezTo>
                    <a:lnTo>
                      <a:pt x="219536" y="337036"/>
                    </a:lnTo>
                    <a:cubicBezTo>
                      <a:pt x="221401" y="337036"/>
                      <a:pt x="222333" y="336084"/>
                      <a:pt x="223266" y="335130"/>
                    </a:cubicBezTo>
                    <a:cubicBezTo>
                      <a:pt x="224198" y="333224"/>
                      <a:pt x="222333" y="332271"/>
                      <a:pt x="221401" y="330365"/>
                    </a:cubicBezTo>
                    <a:cubicBezTo>
                      <a:pt x="220468" y="329412"/>
                      <a:pt x="222333" y="327506"/>
                      <a:pt x="221401" y="325600"/>
                    </a:cubicBezTo>
                    <a:cubicBezTo>
                      <a:pt x="220468" y="324646"/>
                      <a:pt x="219536" y="322740"/>
                      <a:pt x="217671" y="322740"/>
                    </a:cubicBezTo>
                    <a:cubicBezTo>
                      <a:pt x="216738" y="321788"/>
                      <a:pt x="214873" y="321788"/>
                      <a:pt x="213008" y="322740"/>
                    </a:cubicBezTo>
                    <a:close/>
                    <a:moveTo>
                      <a:pt x="229593" y="321922"/>
                    </a:moveTo>
                    <a:lnTo>
                      <a:pt x="228663" y="322868"/>
                    </a:lnTo>
                    <a:cubicBezTo>
                      <a:pt x="227733" y="325703"/>
                      <a:pt x="230523" y="325703"/>
                      <a:pt x="232384" y="325703"/>
                    </a:cubicBezTo>
                    <a:lnTo>
                      <a:pt x="241686" y="327593"/>
                    </a:lnTo>
                    <a:lnTo>
                      <a:pt x="242616" y="333264"/>
                    </a:lnTo>
                    <a:lnTo>
                      <a:pt x="249128" y="338935"/>
                    </a:lnTo>
                    <a:cubicBezTo>
                      <a:pt x="250058" y="338935"/>
                      <a:pt x="250988" y="337990"/>
                      <a:pt x="251919" y="338935"/>
                    </a:cubicBezTo>
                    <a:cubicBezTo>
                      <a:pt x="252849" y="338935"/>
                      <a:pt x="252849" y="339880"/>
                      <a:pt x="253779" y="339880"/>
                    </a:cubicBezTo>
                    <a:lnTo>
                      <a:pt x="259361" y="336100"/>
                    </a:lnTo>
                    <a:cubicBezTo>
                      <a:pt x="262151" y="335155"/>
                      <a:pt x="264012" y="335155"/>
                      <a:pt x="265871" y="337044"/>
                    </a:cubicBezTo>
                    <a:cubicBezTo>
                      <a:pt x="267732" y="337990"/>
                      <a:pt x="268662" y="339880"/>
                      <a:pt x="272383" y="338935"/>
                    </a:cubicBezTo>
                    <a:cubicBezTo>
                      <a:pt x="273313" y="337990"/>
                      <a:pt x="274243" y="337044"/>
                      <a:pt x="277964" y="338935"/>
                    </a:cubicBezTo>
                    <a:lnTo>
                      <a:pt x="287267" y="337044"/>
                    </a:lnTo>
                    <a:lnTo>
                      <a:pt x="284476" y="331373"/>
                    </a:lnTo>
                    <a:cubicBezTo>
                      <a:pt x="282615" y="331373"/>
                      <a:pt x="281685" y="331373"/>
                      <a:pt x="279825" y="331373"/>
                    </a:cubicBezTo>
                    <a:cubicBezTo>
                      <a:pt x="278894" y="331373"/>
                      <a:pt x="277964" y="330428"/>
                      <a:pt x="276104" y="330428"/>
                    </a:cubicBezTo>
                    <a:cubicBezTo>
                      <a:pt x="275173" y="329484"/>
                      <a:pt x="274243" y="330428"/>
                      <a:pt x="272383" y="330428"/>
                    </a:cubicBezTo>
                    <a:cubicBezTo>
                      <a:pt x="270522" y="331373"/>
                      <a:pt x="268662" y="330428"/>
                      <a:pt x="266801" y="330428"/>
                    </a:cubicBezTo>
                    <a:cubicBezTo>
                      <a:pt x="264942" y="330428"/>
                      <a:pt x="263081" y="331373"/>
                      <a:pt x="261221" y="332319"/>
                    </a:cubicBezTo>
                    <a:cubicBezTo>
                      <a:pt x="259361" y="333264"/>
                      <a:pt x="256570" y="334209"/>
                      <a:pt x="252849" y="331373"/>
                    </a:cubicBezTo>
                    <a:cubicBezTo>
                      <a:pt x="251919" y="331373"/>
                      <a:pt x="250988" y="331373"/>
                      <a:pt x="250988" y="330428"/>
                    </a:cubicBezTo>
                    <a:cubicBezTo>
                      <a:pt x="250058" y="329484"/>
                      <a:pt x="250058" y="328539"/>
                      <a:pt x="250058" y="327593"/>
                    </a:cubicBezTo>
                    <a:lnTo>
                      <a:pt x="245407" y="324757"/>
                    </a:lnTo>
                    <a:cubicBezTo>
                      <a:pt x="243547" y="324757"/>
                      <a:pt x="243547" y="322868"/>
                      <a:pt x="242616" y="322868"/>
                    </a:cubicBezTo>
                    <a:cubicBezTo>
                      <a:pt x="240756" y="322868"/>
                      <a:pt x="239826" y="323812"/>
                      <a:pt x="238895" y="323812"/>
                    </a:cubicBezTo>
                    <a:cubicBezTo>
                      <a:pt x="237035" y="323812"/>
                      <a:pt x="237965" y="322868"/>
                      <a:pt x="237035" y="321922"/>
                    </a:cubicBezTo>
                    <a:close/>
                    <a:moveTo>
                      <a:pt x="235313" y="315037"/>
                    </a:moveTo>
                    <a:lnTo>
                      <a:pt x="235313" y="319762"/>
                    </a:lnTo>
                    <a:lnTo>
                      <a:pt x="240228" y="317045"/>
                    </a:lnTo>
                    <a:close/>
                    <a:moveTo>
                      <a:pt x="193378" y="312065"/>
                    </a:moveTo>
                    <a:cubicBezTo>
                      <a:pt x="190777" y="312065"/>
                      <a:pt x="190777" y="316196"/>
                      <a:pt x="185575" y="316196"/>
                    </a:cubicBezTo>
                    <a:cubicBezTo>
                      <a:pt x="182973" y="320328"/>
                      <a:pt x="180372" y="328591"/>
                      <a:pt x="175169" y="328591"/>
                    </a:cubicBezTo>
                    <a:cubicBezTo>
                      <a:pt x="172568" y="328591"/>
                      <a:pt x="169967" y="328591"/>
                      <a:pt x="169967" y="332723"/>
                    </a:cubicBezTo>
                    <a:cubicBezTo>
                      <a:pt x="165081" y="343070"/>
                      <a:pt x="170392" y="348559"/>
                      <a:pt x="176637" y="350470"/>
                    </a:cubicBezTo>
                    <a:cubicBezTo>
                      <a:pt x="176304" y="350680"/>
                      <a:pt x="176087" y="351034"/>
                      <a:pt x="175740" y="351390"/>
                    </a:cubicBezTo>
                    <a:cubicBezTo>
                      <a:pt x="174813" y="353294"/>
                      <a:pt x="172028" y="351390"/>
                      <a:pt x="170173" y="351390"/>
                    </a:cubicBezTo>
                    <a:lnTo>
                      <a:pt x="163676" y="353294"/>
                    </a:lnTo>
                    <a:cubicBezTo>
                      <a:pt x="162748" y="354245"/>
                      <a:pt x="162748" y="355198"/>
                      <a:pt x="161821" y="355198"/>
                    </a:cubicBezTo>
                    <a:cubicBezTo>
                      <a:pt x="160892" y="356149"/>
                      <a:pt x="159964" y="356149"/>
                      <a:pt x="159036" y="356149"/>
                    </a:cubicBezTo>
                    <a:lnTo>
                      <a:pt x="153467" y="365668"/>
                    </a:lnTo>
                    <a:lnTo>
                      <a:pt x="157180" y="365668"/>
                    </a:lnTo>
                    <a:cubicBezTo>
                      <a:pt x="159036" y="364717"/>
                      <a:pt x="159036" y="365668"/>
                      <a:pt x="160892" y="365668"/>
                    </a:cubicBezTo>
                    <a:cubicBezTo>
                      <a:pt x="161821" y="365668"/>
                      <a:pt x="162748" y="364717"/>
                      <a:pt x="163676" y="364717"/>
                    </a:cubicBezTo>
                    <a:cubicBezTo>
                      <a:pt x="164604" y="364717"/>
                      <a:pt x="164604" y="364717"/>
                      <a:pt x="165533" y="364717"/>
                    </a:cubicBezTo>
                    <a:cubicBezTo>
                      <a:pt x="167388" y="364717"/>
                      <a:pt x="168316" y="363764"/>
                      <a:pt x="170173" y="359005"/>
                    </a:cubicBezTo>
                    <a:cubicBezTo>
                      <a:pt x="170734" y="358629"/>
                      <a:pt x="170894" y="358794"/>
                      <a:pt x="172956" y="358053"/>
                    </a:cubicBezTo>
                    <a:cubicBezTo>
                      <a:pt x="173885" y="359005"/>
                      <a:pt x="171100" y="359957"/>
                      <a:pt x="172956" y="360909"/>
                    </a:cubicBezTo>
                    <a:lnTo>
                      <a:pt x="177597" y="357101"/>
                    </a:lnTo>
                    <a:cubicBezTo>
                      <a:pt x="179453" y="356149"/>
                      <a:pt x="182237" y="356149"/>
                      <a:pt x="182237" y="353294"/>
                    </a:cubicBezTo>
                    <a:lnTo>
                      <a:pt x="181874" y="352176"/>
                    </a:lnTo>
                    <a:lnTo>
                      <a:pt x="185575" y="353382"/>
                    </a:lnTo>
                    <a:cubicBezTo>
                      <a:pt x="190777" y="353382"/>
                      <a:pt x="193378" y="353382"/>
                      <a:pt x="195979" y="349250"/>
                    </a:cubicBezTo>
                    <a:cubicBezTo>
                      <a:pt x="198581" y="340987"/>
                      <a:pt x="195979" y="332723"/>
                      <a:pt x="198581" y="328591"/>
                    </a:cubicBezTo>
                    <a:cubicBezTo>
                      <a:pt x="201182" y="324460"/>
                      <a:pt x="203783" y="324460"/>
                      <a:pt x="203783" y="320328"/>
                    </a:cubicBezTo>
                    <a:cubicBezTo>
                      <a:pt x="203783" y="316196"/>
                      <a:pt x="195979" y="312065"/>
                      <a:pt x="193378" y="312065"/>
                    </a:cubicBezTo>
                    <a:close/>
                    <a:moveTo>
                      <a:pt x="220364" y="307475"/>
                    </a:moveTo>
                    <a:lnTo>
                      <a:pt x="222258" y="311255"/>
                    </a:lnTo>
                    <a:cubicBezTo>
                      <a:pt x="223204" y="312201"/>
                      <a:pt x="222258" y="313146"/>
                      <a:pt x="223204" y="315036"/>
                    </a:cubicBezTo>
                    <a:lnTo>
                      <a:pt x="231728" y="315036"/>
                    </a:lnTo>
                    <a:cubicBezTo>
                      <a:pt x="233621" y="313146"/>
                      <a:pt x="228886" y="310310"/>
                      <a:pt x="226993" y="309365"/>
                    </a:cubicBezTo>
                    <a:close/>
                    <a:moveTo>
                      <a:pt x="192547" y="304514"/>
                    </a:moveTo>
                    <a:cubicBezTo>
                      <a:pt x="191611" y="305468"/>
                      <a:pt x="191611" y="305468"/>
                      <a:pt x="191611" y="306424"/>
                    </a:cubicBezTo>
                    <a:lnTo>
                      <a:pt x="193484" y="307378"/>
                    </a:lnTo>
                    <a:cubicBezTo>
                      <a:pt x="194420" y="308333"/>
                      <a:pt x="194420" y="309288"/>
                      <a:pt x="195356" y="309288"/>
                    </a:cubicBezTo>
                    <a:cubicBezTo>
                      <a:pt x="197228" y="312152"/>
                      <a:pt x="199101" y="311198"/>
                      <a:pt x="201910" y="310242"/>
                    </a:cubicBezTo>
                    <a:cubicBezTo>
                      <a:pt x="203782" y="310242"/>
                      <a:pt x="204718" y="310242"/>
                      <a:pt x="206591" y="312152"/>
                    </a:cubicBezTo>
                    <a:lnTo>
                      <a:pt x="213145" y="316926"/>
                    </a:lnTo>
                    <a:cubicBezTo>
                      <a:pt x="215018" y="316926"/>
                      <a:pt x="215954" y="315016"/>
                      <a:pt x="215018" y="313107"/>
                    </a:cubicBezTo>
                    <a:cubicBezTo>
                      <a:pt x="213145" y="311198"/>
                      <a:pt x="211273" y="311198"/>
                      <a:pt x="209400" y="310242"/>
                    </a:cubicBezTo>
                    <a:cubicBezTo>
                      <a:pt x="207528" y="309288"/>
                      <a:pt x="206591" y="308333"/>
                      <a:pt x="205654" y="307378"/>
                    </a:cubicBezTo>
                    <a:cubicBezTo>
                      <a:pt x="203782" y="306424"/>
                      <a:pt x="194420" y="303559"/>
                      <a:pt x="192547" y="304514"/>
                    </a:cubicBezTo>
                    <a:close/>
                    <a:moveTo>
                      <a:pt x="318704" y="271299"/>
                    </a:moveTo>
                    <a:cubicBezTo>
                      <a:pt x="315919" y="271299"/>
                      <a:pt x="315919" y="275125"/>
                      <a:pt x="314063" y="276081"/>
                    </a:cubicBezTo>
                    <a:cubicBezTo>
                      <a:pt x="311278" y="276081"/>
                      <a:pt x="310350" y="274168"/>
                      <a:pt x="308493" y="273212"/>
                    </a:cubicBezTo>
                    <a:cubicBezTo>
                      <a:pt x="305709" y="273212"/>
                      <a:pt x="303852" y="274168"/>
                      <a:pt x="301996" y="275125"/>
                    </a:cubicBezTo>
                    <a:cubicBezTo>
                      <a:pt x="301067" y="275125"/>
                      <a:pt x="297353" y="274168"/>
                      <a:pt x="298282" y="278949"/>
                    </a:cubicBezTo>
                    <a:cubicBezTo>
                      <a:pt x="297353" y="278949"/>
                      <a:pt x="297353" y="277994"/>
                      <a:pt x="296425" y="277037"/>
                    </a:cubicBezTo>
                    <a:cubicBezTo>
                      <a:pt x="295497" y="277037"/>
                      <a:pt x="295497" y="277037"/>
                      <a:pt x="294569" y="277037"/>
                    </a:cubicBezTo>
                    <a:cubicBezTo>
                      <a:pt x="292712" y="277037"/>
                      <a:pt x="291784" y="277037"/>
                      <a:pt x="290856" y="277994"/>
                    </a:cubicBezTo>
                    <a:cubicBezTo>
                      <a:pt x="289928" y="278949"/>
                      <a:pt x="288999" y="277994"/>
                      <a:pt x="288071" y="277994"/>
                    </a:cubicBezTo>
                    <a:cubicBezTo>
                      <a:pt x="286215" y="277994"/>
                      <a:pt x="285286" y="279906"/>
                      <a:pt x="284358" y="278949"/>
                    </a:cubicBezTo>
                    <a:cubicBezTo>
                      <a:pt x="282502" y="278949"/>
                      <a:pt x="281573" y="277994"/>
                      <a:pt x="280645" y="278949"/>
                    </a:cubicBezTo>
                    <a:cubicBezTo>
                      <a:pt x="279717" y="280862"/>
                      <a:pt x="281573" y="281818"/>
                      <a:pt x="278788" y="281818"/>
                    </a:cubicBezTo>
                    <a:cubicBezTo>
                      <a:pt x="276931" y="282775"/>
                      <a:pt x="276931" y="280862"/>
                      <a:pt x="275075" y="279906"/>
                    </a:cubicBezTo>
                    <a:cubicBezTo>
                      <a:pt x="273218" y="279906"/>
                      <a:pt x="272290" y="279906"/>
                      <a:pt x="266721" y="277994"/>
                    </a:cubicBezTo>
                    <a:cubicBezTo>
                      <a:pt x="265792" y="278949"/>
                      <a:pt x="265792" y="278949"/>
                      <a:pt x="263936" y="281818"/>
                    </a:cubicBezTo>
                    <a:cubicBezTo>
                      <a:pt x="265792" y="281818"/>
                      <a:pt x="267649" y="280862"/>
                      <a:pt x="269505" y="281818"/>
                    </a:cubicBezTo>
                    <a:cubicBezTo>
                      <a:pt x="269969" y="282296"/>
                      <a:pt x="270433" y="282775"/>
                      <a:pt x="269969" y="283133"/>
                    </a:cubicBezTo>
                    <a:lnTo>
                      <a:pt x="264864" y="283730"/>
                    </a:lnTo>
                    <a:cubicBezTo>
                      <a:pt x="263008" y="283730"/>
                      <a:pt x="261151" y="284687"/>
                      <a:pt x="260223" y="283730"/>
                    </a:cubicBezTo>
                    <a:cubicBezTo>
                      <a:pt x="259295" y="283730"/>
                      <a:pt x="259295" y="282775"/>
                      <a:pt x="258366" y="281818"/>
                    </a:cubicBezTo>
                    <a:cubicBezTo>
                      <a:pt x="254652" y="279906"/>
                      <a:pt x="253724" y="284687"/>
                      <a:pt x="251868" y="284687"/>
                    </a:cubicBezTo>
                    <a:cubicBezTo>
                      <a:pt x="250939" y="285165"/>
                      <a:pt x="250244" y="284926"/>
                      <a:pt x="248155" y="288511"/>
                    </a:cubicBezTo>
                    <a:cubicBezTo>
                      <a:pt x="249083" y="288511"/>
                      <a:pt x="256509" y="286599"/>
                      <a:pt x="255581" y="289468"/>
                    </a:cubicBezTo>
                    <a:cubicBezTo>
                      <a:pt x="255581" y="290425"/>
                      <a:pt x="253957" y="290425"/>
                      <a:pt x="253724" y="291380"/>
                    </a:cubicBezTo>
                    <a:cubicBezTo>
                      <a:pt x="255581" y="291380"/>
                      <a:pt x="256509" y="291380"/>
                      <a:pt x="257437" y="291380"/>
                    </a:cubicBezTo>
                    <a:cubicBezTo>
                      <a:pt x="259295" y="292337"/>
                      <a:pt x="260223" y="293292"/>
                      <a:pt x="261151" y="292337"/>
                    </a:cubicBezTo>
                    <a:cubicBezTo>
                      <a:pt x="262079" y="291380"/>
                      <a:pt x="263008" y="290425"/>
                      <a:pt x="263936" y="292337"/>
                    </a:cubicBezTo>
                    <a:cubicBezTo>
                      <a:pt x="263936" y="292337"/>
                      <a:pt x="263936" y="292337"/>
                      <a:pt x="269505" y="293292"/>
                    </a:cubicBezTo>
                    <a:cubicBezTo>
                      <a:pt x="269969" y="293054"/>
                      <a:pt x="270260" y="292755"/>
                      <a:pt x="271101" y="292426"/>
                    </a:cubicBezTo>
                    <a:lnTo>
                      <a:pt x="276003" y="291380"/>
                    </a:lnTo>
                    <a:cubicBezTo>
                      <a:pt x="278788" y="291380"/>
                      <a:pt x="281573" y="291380"/>
                      <a:pt x="284358" y="291380"/>
                    </a:cubicBezTo>
                    <a:cubicBezTo>
                      <a:pt x="286215" y="291380"/>
                      <a:pt x="288071" y="291380"/>
                      <a:pt x="293640" y="288511"/>
                    </a:cubicBezTo>
                    <a:cubicBezTo>
                      <a:pt x="295497" y="287556"/>
                      <a:pt x="298282" y="287556"/>
                      <a:pt x="300138" y="288511"/>
                    </a:cubicBezTo>
                    <a:cubicBezTo>
                      <a:pt x="297586" y="291619"/>
                      <a:pt x="295033" y="291858"/>
                      <a:pt x="292712" y="294249"/>
                    </a:cubicBezTo>
                    <a:cubicBezTo>
                      <a:pt x="290856" y="294249"/>
                      <a:pt x="279717" y="293292"/>
                      <a:pt x="281573" y="297118"/>
                    </a:cubicBezTo>
                    <a:lnTo>
                      <a:pt x="286215" y="299987"/>
                    </a:lnTo>
                    <a:cubicBezTo>
                      <a:pt x="286215" y="301899"/>
                      <a:pt x="284358" y="300942"/>
                      <a:pt x="283430" y="300942"/>
                    </a:cubicBezTo>
                    <a:cubicBezTo>
                      <a:pt x="279717" y="299987"/>
                      <a:pt x="277859" y="297118"/>
                      <a:pt x="274146" y="295206"/>
                    </a:cubicBezTo>
                    <a:lnTo>
                      <a:pt x="266721" y="295206"/>
                    </a:lnTo>
                    <a:cubicBezTo>
                      <a:pt x="265792" y="295206"/>
                      <a:pt x="265792" y="296161"/>
                      <a:pt x="263936" y="299987"/>
                    </a:cubicBezTo>
                    <a:cubicBezTo>
                      <a:pt x="261151" y="299987"/>
                      <a:pt x="260223" y="297118"/>
                      <a:pt x="258366" y="296161"/>
                    </a:cubicBezTo>
                    <a:cubicBezTo>
                      <a:pt x="257437" y="295206"/>
                      <a:pt x="256509" y="295206"/>
                      <a:pt x="254652" y="295206"/>
                    </a:cubicBezTo>
                    <a:cubicBezTo>
                      <a:pt x="252796" y="295206"/>
                      <a:pt x="250939" y="296161"/>
                      <a:pt x="249083" y="295206"/>
                    </a:cubicBezTo>
                    <a:cubicBezTo>
                      <a:pt x="245370" y="293292"/>
                      <a:pt x="244442" y="290425"/>
                      <a:pt x="241657" y="288511"/>
                    </a:cubicBezTo>
                    <a:cubicBezTo>
                      <a:pt x="239801" y="286599"/>
                      <a:pt x="237016" y="285644"/>
                      <a:pt x="235158" y="285644"/>
                    </a:cubicBezTo>
                    <a:lnTo>
                      <a:pt x="228661" y="290425"/>
                    </a:lnTo>
                    <a:lnTo>
                      <a:pt x="233302" y="291380"/>
                    </a:lnTo>
                    <a:cubicBezTo>
                      <a:pt x="234230" y="291380"/>
                      <a:pt x="239801" y="293292"/>
                      <a:pt x="237016" y="294249"/>
                    </a:cubicBezTo>
                    <a:cubicBezTo>
                      <a:pt x="235158" y="295206"/>
                      <a:pt x="232374" y="293292"/>
                      <a:pt x="231445" y="296161"/>
                    </a:cubicBezTo>
                    <a:lnTo>
                      <a:pt x="234230" y="300942"/>
                    </a:lnTo>
                    <a:cubicBezTo>
                      <a:pt x="230517" y="304768"/>
                      <a:pt x="240729" y="303811"/>
                      <a:pt x="240729" y="307637"/>
                    </a:cubicBezTo>
                    <a:cubicBezTo>
                      <a:pt x="236088" y="314330"/>
                      <a:pt x="248155" y="316242"/>
                      <a:pt x="250939" y="311461"/>
                    </a:cubicBezTo>
                    <a:cubicBezTo>
                      <a:pt x="252796" y="310505"/>
                      <a:pt x="252796" y="309549"/>
                      <a:pt x="254652" y="308592"/>
                    </a:cubicBezTo>
                    <a:cubicBezTo>
                      <a:pt x="255581" y="307637"/>
                      <a:pt x="256509" y="307637"/>
                      <a:pt x="257437" y="307637"/>
                    </a:cubicBezTo>
                    <a:lnTo>
                      <a:pt x="263008" y="306680"/>
                    </a:lnTo>
                    <a:cubicBezTo>
                      <a:pt x="263936" y="307636"/>
                      <a:pt x="262775" y="308592"/>
                      <a:pt x="263936" y="312418"/>
                    </a:cubicBezTo>
                    <a:lnTo>
                      <a:pt x="269505" y="311461"/>
                    </a:lnTo>
                    <a:cubicBezTo>
                      <a:pt x="271362" y="311461"/>
                      <a:pt x="269505" y="314330"/>
                      <a:pt x="270433" y="315286"/>
                    </a:cubicBezTo>
                    <a:cubicBezTo>
                      <a:pt x="271362" y="316242"/>
                      <a:pt x="273218" y="315286"/>
                      <a:pt x="274146" y="319111"/>
                    </a:cubicBezTo>
                    <a:cubicBezTo>
                      <a:pt x="270433" y="321980"/>
                      <a:pt x="266721" y="316242"/>
                      <a:pt x="259295" y="320067"/>
                    </a:cubicBezTo>
                    <a:lnTo>
                      <a:pt x="254652" y="321980"/>
                    </a:lnTo>
                    <a:cubicBezTo>
                      <a:pt x="252796" y="321980"/>
                      <a:pt x="250939" y="322936"/>
                      <a:pt x="251868" y="324848"/>
                    </a:cubicBezTo>
                    <a:lnTo>
                      <a:pt x="257437" y="327717"/>
                    </a:lnTo>
                    <a:cubicBezTo>
                      <a:pt x="257902" y="327717"/>
                      <a:pt x="258134" y="327478"/>
                      <a:pt x="258946" y="327359"/>
                    </a:cubicBezTo>
                    <a:lnTo>
                      <a:pt x="263936" y="327717"/>
                    </a:lnTo>
                    <a:cubicBezTo>
                      <a:pt x="266721" y="326761"/>
                      <a:pt x="267649" y="323892"/>
                      <a:pt x="270433" y="323892"/>
                    </a:cubicBezTo>
                    <a:cubicBezTo>
                      <a:pt x="272290" y="323892"/>
                      <a:pt x="273218" y="325805"/>
                      <a:pt x="275075" y="325805"/>
                    </a:cubicBezTo>
                    <a:cubicBezTo>
                      <a:pt x="277859" y="326761"/>
                      <a:pt x="278788" y="323892"/>
                      <a:pt x="281573" y="323892"/>
                    </a:cubicBezTo>
                    <a:cubicBezTo>
                      <a:pt x="282502" y="324848"/>
                      <a:pt x="282502" y="325805"/>
                      <a:pt x="283430" y="325805"/>
                    </a:cubicBezTo>
                    <a:cubicBezTo>
                      <a:pt x="284358" y="326761"/>
                      <a:pt x="286215" y="327717"/>
                      <a:pt x="288071" y="328673"/>
                    </a:cubicBezTo>
                    <a:lnTo>
                      <a:pt x="292712" y="323892"/>
                    </a:lnTo>
                    <a:cubicBezTo>
                      <a:pt x="292712" y="321980"/>
                      <a:pt x="292712" y="321980"/>
                      <a:pt x="292712" y="318155"/>
                    </a:cubicBezTo>
                    <a:cubicBezTo>
                      <a:pt x="294569" y="317199"/>
                      <a:pt x="294569" y="316242"/>
                      <a:pt x="296425" y="315286"/>
                    </a:cubicBezTo>
                    <a:cubicBezTo>
                      <a:pt x="297353" y="315286"/>
                      <a:pt x="298282" y="315286"/>
                      <a:pt x="299210" y="315286"/>
                    </a:cubicBezTo>
                    <a:cubicBezTo>
                      <a:pt x="301067" y="314330"/>
                      <a:pt x="301067" y="314330"/>
                      <a:pt x="301996" y="313374"/>
                    </a:cubicBezTo>
                    <a:cubicBezTo>
                      <a:pt x="302924" y="313374"/>
                      <a:pt x="303852" y="312418"/>
                      <a:pt x="304780" y="312418"/>
                    </a:cubicBezTo>
                    <a:lnTo>
                      <a:pt x="305709" y="305724"/>
                    </a:lnTo>
                    <a:cubicBezTo>
                      <a:pt x="303852" y="305724"/>
                      <a:pt x="302924" y="307637"/>
                      <a:pt x="301067" y="307637"/>
                    </a:cubicBezTo>
                    <a:cubicBezTo>
                      <a:pt x="299210" y="309549"/>
                      <a:pt x="296425" y="309549"/>
                      <a:pt x="294569" y="307637"/>
                    </a:cubicBezTo>
                    <a:cubicBezTo>
                      <a:pt x="295316" y="305724"/>
                      <a:pt x="298612" y="305724"/>
                      <a:pt x="299210" y="305724"/>
                    </a:cubicBezTo>
                    <a:cubicBezTo>
                      <a:pt x="300138" y="304768"/>
                      <a:pt x="300138" y="302855"/>
                      <a:pt x="301067" y="301899"/>
                    </a:cubicBezTo>
                    <a:cubicBezTo>
                      <a:pt x="302924" y="300942"/>
                      <a:pt x="304780" y="301899"/>
                      <a:pt x="306637" y="301899"/>
                    </a:cubicBezTo>
                    <a:cubicBezTo>
                      <a:pt x="308493" y="302855"/>
                      <a:pt x="311278" y="302855"/>
                      <a:pt x="313134" y="301899"/>
                    </a:cubicBezTo>
                    <a:cubicBezTo>
                      <a:pt x="315919" y="300942"/>
                      <a:pt x="317776" y="299030"/>
                      <a:pt x="320560" y="297118"/>
                    </a:cubicBezTo>
                    <a:cubicBezTo>
                      <a:pt x="322417" y="295206"/>
                      <a:pt x="323346" y="295206"/>
                      <a:pt x="325203" y="294249"/>
                    </a:cubicBezTo>
                    <a:cubicBezTo>
                      <a:pt x="327059" y="294249"/>
                      <a:pt x="328916" y="293292"/>
                      <a:pt x="329844" y="292337"/>
                    </a:cubicBezTo>
                    <a:cubicBezTo>
                      <a:pt x="331700" y="291380"/>
                      <a:pt x="333557" y="290425"/>
                      <a:pt x="335413" y="289468"/>
                    </a:cubicBezTo>
                    <a:cubicBezTo>
                      <a:pt x="337270" y="289468"/>
                      <a:pt x="339126" y="289468"/>
                      <a:pt x="344697" y="287556"/>
                    </a:cubicBezTo>
                    <a:cubicBezTo>
                      <a:pt x="345625" y="285644"/>
                      <a:pt x="345625" y="283730"/>
                      <a:pt x="352122" y="282775"/>
                    </a:cubicBezTo>
                    <a:cubicBezTo>
                      <a:pt x="353051" y="281818"/>
                      <a:pt x="353051" y="281818"/>
                      <a:pt x="353979" y="281818"/>
                    </a:cubicBezTo>
                    <a:cubicBezTo>
                      <a:pt x="354907" y="281818"/>
                      <a:pt x="355835" y="281818"/>
                      <a:pt x="356764" y="277994"/>
                    </a:cubicBezTo>
                    <a:cubicBezTo>
                      <a:pt x="354907" y="277037"/>
                      <a:pt x="353051" y="277994"/>
                      <a:pt x="352122" y="277037"/>
                    </a:cubicBezTo>
                    <a:cubicBezTo>
                      <a:pt x="351194" y="276081"/>
                      <a:pt x="351194" y="275125"/>
                      <a:pt x="350266" y="274168"/>
                    </a:cubicBezTo>
                    <a:lnTo>
                      <a:pt x="341911" y="273212"/>
                    </a:lnTo>
                    <a:cubicBezTo>
                      <a:pt x="339126" y="273212"/>
                      <a:pt x="338198" y="274168"/>
                      <a:pt x="336341" y="276081"/>
                    </a:cubicBezTo>
                    <a:cubicBezTo>
                      <a:pt x="335413" y="277037"/>
                      <a:pt x="334485" y="277037"/>
                      <a:pt x="332628" y="276081"/>
                    </a:cubicBezTo>
                    <a:cubicBezTo>
                      <a:pt x="333557" y="275125"/>
                      <a:pt x="335413" y="275125"/>
                      <a:pt x="334485" y="273212"/>
                    </a:cubicBezTo>
                    <a:lnTo>
                      <a:pt x="327987" y="273212"/>
                    </a:lnTo>
                    <a:cubicBezTo>
                      <a:pt x="327059" y="273212"/>
                      <a:pt x="327059" y="273212"/>
                      <a:pt x="326131" y="273212"/>
                    </a:cubicBezTo>
                    <a:cubicBezTo>
                      <a:pt x="323346" y="273212"/>
                      <a:pt x="321489" y="270344"/>
                      <a:pt x="318704" y="271299"/>
                    </a:cubicBezTo>
                    <a:close/>
                    <a:moveTo>
                      <a:pt x="906193" y="197664"/>
                    </a:moveTo>
                    <a:cubicBezTo>
                      <a:pt x="903463" y="197664"/>
                      <a:pt x="901644" y="197664"/>
                      <a:pt x="898914" y="198609"/>
                    </a:cubicBezTo>
                    <a:cubicBezTo>
                      <a:pt x="895275" y="199556"/>
                      <a:pt x="892545" y="199556"/>
                      <a:pt x="892545" y="203339"/>
                    </a:cubicBezTo>
                    <a:cubicBezTo>
                      <a:pt x="892545" y="204285"/>
                      <a:pt x="892545" y="204285"/>
                      <a:pt x="893455" y="208069"/>
                    </a:cubicBezTo>
                    <a:cubicBezTo>
                      <a:pt x="890725" y="209014"/>
                      <a:pt x="887996" y="205231"/>
                      <a:pt x="885266" y="206177"/>
                    </a:cubicBezTo>
                    <a:cubicBezTo>
                      <a:pt x="882537" y="207122"/>
                      <a:pt x="884357" y="209960"/>
                      <a:pt x="881627" y="210906"/>
                    </a:cubicBezTo>
                    <a:cubicBezTo>
                      <a:pt x="877988" y="211852"/>
                      <a:pt x="878897" y="209014"/>
                      <a:pt x="877077" y="208069"/>
                    </a:cubicBezTo>
                    <a:cubicBezTo>
                      <a:pt x="875258" y="207122"/>
                      <a:pt x="874347" y="208069"/>
                      <a:pt x="873438" y="209960"/>
                    </a:cubicBezTo>
                    <a:cubicBezTo>
                      <a:pt x="870708" y="211852"/>
                      <a:pt x="867979" y="209014"/>
                      <a:pt x="865250" y="210906"/>
                    </a:cubicBezTo>
                    <a:cubicBezTo>
                      <a:pt x="865022" y="210906"/>
                      <a:pt x="864838" y="210921"/>
                      <a:pt x="864005" y="210928"/>
                    </a:cubicBezTo>
                    <a:lnTo>
                      <a:pt x="858881" y="210906"/>
                    </a:lnTo>
                    <a:cubicBezTo>
                      <a:pt x="853421" y="209960"/>
                      <a:pt x="847052" y="210906"/>
                      <a:pt x="842503" y="213744"/>
                    </a:cubicBezTo>
                    <a:cubicBezTo>
                      <a:pt x="838864" y="217527"/>
                      <a:pt x="841594" y="222257"/>
                      <a:pt x="844322" y="225093"/>
                    </a:cubicBezTo>
                    <a:cubicBezTo>
                      <a:pt x="845233" y="226985"/>
                      <a:pt x="846142" y="229823"/>
                      <a:pt x="842503" y="228877"/>
                    </a:cubicBezTo>
                    <a:cubicBezTo>
                      <a:pt x="840683" y="228877"/>
                      <a:pt x="840683" y="225093"/>
                      <a:pt x="837954" y="225093"/>
                    </a:cubicBezTo>
                    <a:cubicBezTo>
                      <a:pt x="837044" y="225093"/>
                      <a:pt x="836134" y="226040"/>
                      <a:pt x="835224" y="226040"/>
                    </a:cubicBezTo>
                    <a:cubicBezTo>
                      <a:pt x="834314" y="226985"/>
                      <a:pt x="832495" y="226985"/>
                      <a:pt x="830675" y="226985"/>
                    </a:cubicBezTo>
                    <a:cubicBezTo>
                      <a:pt x="828855" y="226985"/>
                      <a:pt x="827035" y="226040"/>
                      <a:pt x="825216" y="226985"/>
                    </a:cubicBezTo>
                    <a:cubicBezTo>
                      <a:pt x="821577" y="227931"/>
                      <a:pt x="819757" y="233606"/>
                      <a:pt x="822486" y="236444"/>
                    </a:cubicBezTo>
                    <a:cubicBezTo>
                      <a:pt x="823396" y="239281"/>
                      <a:pt x="827946" y="240228"/>
                      <a:pt x="828855" y="243065"/>
                    </a:cubicBezTo>
                    <a:cubicBezTo>
                      <a:pt x="830675" y="247794"/>
                      <a:pt x="827946" y="254415"/>
                      <a:pt x="833404" y="255361"/>
                    </a:cubicBezTo>
                    <a:cubicBezTo>
                      <a:pt x="835224" y="256307"/>
                      <a:pt x="836134" y="256307"/>
                      <a:pt x="837044" y="258199"/>
                    </a:cubicBezTo>
                    <a:cubicBezTo>
                      <a:pt x="837954" y="259144"/>
                      <a:pt x="837954" y="261036"/>
                      <a:pt x="836134" y="261036"/>
                    </a:cubicBezTo>
                    <a:lnTo>
                      <a:pt x="830675" y="257252"/>
                    </a:lnTo>
                    <a:cubicBezTo>
                      <a:pt x="826126" y="256307"/>
                      <a:pt x="824305" y="253469"/>
                      <a:pt x="825216" y="249686"/>
                    </a:cubicBezTo>
                    <a:lnTo>
                      <a:pt x="824305" y="243065"/>
                    </a:lnTo>
                    <a:cubicBezTo>
                      <a:pt x="823396" y="242119"/>
                      <a:pt x="822486" y="243065"/>
                      <a:pt x="821577" y="242119"/>
                    </a:cubicBezTo>
                    <a:cubicBezTo>
                      <a:pt x="820666" y="242119"/>
                      <a:pt x="820666" y="241173"/>
                      <a:pt x="819757" y="240228"/>
                    </a:cubicBezTo>
                    <a:cubicBezTo>
                      <a:pt x="817937" y="238336"/>
                      <a:pt x="816117" y="238336"/>
                      <a:pt x="814297" y="238336"/>
                    </a:cubicBezTo>
                    <a:lnTo>
                      <a:pt x="811568" y="243065"/>
                    </a:lnTo>
                    <a:cubicBezTo>
                      <a:pt x="811113" y="243065"/>
                      <a:pt x="810658" y="243301"/>
                      <a:pt x="809563" y="243479"/>
                    </a:cubicBezTo>
                    <a:lnTo>
                      <a:pt x="803721" y="243538"/>
                    </a:lnTo>
                    <a:lnTo>
                      <a:pt x="807018" y="247794"/>
                    </a:lnTo>
                    <a:cubicBezTo>
                      <a:pt x="807246" y="250395"/>
                      <a:pt x="806109" y="250158"/>
                      <a:pt x="805199" y="249686"/>
                    </a:cubicBezTo>
                    <a:lnTo>
                      <a:pt x="799740" y="249686"/>
                    </a:lnTo>
                    <a:cubicBezTo>
                      <a:pt x="796100" y="247794"/>
                      <a:pt x="803379" y="236444"/>
                      <a:pt x="797921" y="235498"/>
                    </a:cubicBezTo>
                    <a:cubicBezTo>
                      <a:pt x="795191" y="235498"/>
                      <a:pt x="796100" y="239281"/>
                      <a:pt x="796100" y="241173"/>
                    </a:cubicBezTo>
                    <a:cubicBezTo>
                      <a:pt x="796100" y="244956"/>
                      <a:pt x="794280" y="244956"/>
                      <a:pt x="793371" y="247794"/>
                    </a:cubicBezTo>
                    <a:cubicBezTo>
                      <a:pt x="792461" y="250632"/>
                      <a:pt x="794280" y="251577"/>
                      <a:pt x="795191" y="253469"/>
                    </a:cubicBezTo>
                    <a:cubicBezTo>
                      <a:pt x="795191" y="255361"/>
                      <a:pt x="794280" y="257252"/>
                      <a:pt x="795191" y="259144"/>
                    </a:cubicBezTo>
                    <a:cubicBezTo>
                      <a:pt x="797010" y="261036"/>
                      <a:pt x="799740" y="260090"/>
                      <a:pt x="801560" y="260090"/>
                    </a:cubicBezTo>
                    <a:cubicBezTo>
                      <a:pt x="804289" y="261036"/>
                      <a:pt x="817027" y="271440"/>
                      <a:pt x="811568" y="274278"/>
                    </a:cubicBezTo>
                    <a:cubicBezTo>
                      <a:pt x="808839" y="276170"/>
                      <a:pt x="807929" y="272387"/>
                      <a:pt x="807018" y="271440"/>
                    </a:cubicBezTo>
                    <a:cubicBezTo>
                      <a:pt x="806109" y="268603"/>
                      <a:pt x="805199" y="265765"/>
                      <a:pt x="802470" y="265765"/>
                    </a:cubicBezTo>
                    <a:cubicBezTo>
                      <a:pt x="800649" y="264820"/>
                      <a:pt x="798830" y="264820"/>
                      <a:pt x="797921" y="266712"/>
                    </a:cubicBezTo>
                    <a:cubicBezTo>
                      <a:pt x="797010" y="268603"/>
                      <a:pt x="797921" y="270495"/>
                      <a:pt x="797921" y="273332"/>
                    </a:cubicBezTo>
                    <a:cubicBezTo>
                      <a:pt x="797010" y="276170"/>
                      <a:pt x="794280" y="278062"/>
                      <a:pt x="792461" y="280899"/>
                    </a:cubicBezTo>
                    <a:cubicBezTo>
                      <a:pt x="792461" y="281845"/>
                      <a:pt x="792461" y="282791"/>
                      <a:pt x="787912" y="284683"/>
                    </a:cubicBezTo>
                    <a:lnTo>
                      <a:pt x="782453" y="282791"/>
                    </a:lnTo>
                    <a:cubicBezTo>
                      <a:pt x="782453" y="280899"/>
                      <a:pt x="784272" y="279953"/>
                      <a:pt x="786092" y="279007"/>
                    </a:cubicBezTo>
                    <a:cubicBezTo>
                      <a:pt x="787912" y="276170"/>
                      <a:pt x="790641" y="273332"/>
                      <a:pt x="790641" y="269549"/>
                    </a:cubicBezTo>
                    <a:cubicBezTo>
                      <a:pt x="789731" y="267657"/>
                      <a:pt x="788822" y="264820"/>
                      <a:pt x="788822" y="262927"/>
                    </a:cubicBezTo>
                    <a:cubicBezTo>
                      <a:pt x="788822" y="259144"/>
                      <a:pt x="790641" y="255361"/>
                      <a:pt x="789731" y="252524"/>
                    </a:cubicBezTo>
                    <a:cubicBezTo>
                      <a:pt x="789731" y="250632"/>
                      <a:pt x="787912" y="249686"/>
                      <a:pt x="789731" y="243065"/>
                    </a:cubicBezTo>
                    <a:cubicBezTo>
                      <a:pt x="790641" y="240228"/>
                      <a:pt x="790641" y="238336"/>
                      <a:pt x="789731" y="236444"/>
                    </a:cubicBezTo>
                    <a:cubicBezTo>
                      <a:pt x="787912" y="232660"/>
                      <a:pt x="780633" y="231715"/>
                      <a:pt x="776993" y="233606"/>
                    </a:cubicBezTo>
                    <a:cubicBezTo>
                      <a:pt x="773354" y="236444"/>
                      <a:pt x="774264" y="240228"/>
                      <a:pt x="774264" y="244011"/>
                    </a:cubicBezTo>
                    <a:cubicBezTo>
                      <a:pt x="772444" y="244956"/>
                      <a:pt x="771535" y="243065"/>
                      <a:pt x="769715" y="244956"/>
                    </a:cubicBezTo>
                    <a:cubicBezTo>
                      <a:pt x="767895" y="246848"/>
                      <a:pt x="768805" y="248740"/>
                      <a:pt x="769715" y="250632"/>
                    </a:cubicBezTo>
                    <a:cubicBezTo>
                      <a:pt x="770624" y="252524"/>
                      <a:pt x="770624" y="253469"/>
                      <a:pt x="770624" y="255361"/>
                    </a:cubicBezTo>
                    <a:cubicBezTo>
                      <a:pt x="771535" y="258199"/>
                      <a:pt x="773354" y="258199"/>
                      <a:pt x="774264" y="260090"/>
                    </a:cubicBezTo>
                    <a:cubicBezTo>
                      <a:pt x="775174" y="261982"/>
                      <a:pt x="775174" y="264820"/>
                      <a:pt x="769715" y="266712"/>
                    </a:cubicBezTo>
                    <a:cubicBezTo>
                      <a:pt x="765166" y="264820"/>
                      <a:pt x="763346" y="259144"/>
                      <a:pt x="758797" y="258199"/>
                    </a:cubicBezTo>
                    <a:cubicBezTo>
                      <a:pt x="756976" y="257252"/>
                      <a:pt x="754247" y="258199"/>
                      <a:pt x="751518" y="258199"/>
                    </a:cubicBezTo>
                    <a:lnTo>
                      <a:pt x="746059" y="259144"/>
                    </a:lnTo>
                    <a:cubicBezTo>
                      <a:pt x="744238" y="261982"/>
                      <a:pt x="748788" y="263874"/>
                      <a:pt x="746059" y="266712"/>
                    </a:cubicBezTo>
                    <a:cubicBezTo>
                      <a:pt x="743329" y="268603"/>
                      <a:pt x="740599" y="264820"/>
                      <a:pt x="737869" y="264820"/>
                    </a:cubicBezTo>
                    <a:cubicBezTo>
                      <a:pt x="734230" y="263874"/>
                      <a:pt x="735141" y="268603"/>
                      <a:pt x="727861" y="266712"/>
                    </a:cubicBezTo>
                    <a:cubicBezTo>
                      <a:pt x="726042" y="266712"/>
                      <a:pt x="726042" y="267657"/>
                      <a:pt x="724222" y="268603"/>
                    </a:cubicBezTo>
                    <a:cubicBezTo>
                      <a:pt x="721493" y="270495"/>
                      <a:pt x="721493" y="265765"/>
                      <a:pt x="719673" y="265765"/>
                    </a:cubicBezTo>
                    <a:lnTo>
                      <a:pt x="708755" y="269549"/>
                    </a:lnTo>
                    <a:cubicBezTo>
                      <a:pt x="706935" y="270495"/>
                      <a:pt x="705115" y="268603"/>
                      <a:pt x="703295" y="270495"/>
                    </a:cubicBezTo>
                    <a:cubicBezTo>
                      <a:pt x="701476" y="272387"/>
                      <a:pt x="701476" y="275224"/>
                      <a:pt x="700565" y="277115"/>
                    </a:cubicBezTo>
                    <a:cubicBezTo>
                      <a:pt x="698746" y="279007"/>
                      <a:pt x="693287" y="281845"/>
                      <a:pt x="691468" y="278062"/>
                    </a:cubicBezTo>
                    <a:cubicBezTo>
                      <a:pt x="689647" y="274278"/>
                      <a:pt x="697836" y="270495"/>
                      <a:pt x="693287" y="265765"/>
                    </a:cubicBezTo>
                    <a:lnTo>
                      <a:pt x="685099" y="263874"/>
                    </a:lnTo>
                    <a:cubicBezTo>
                      <a:pt x="683278" y="265765"/>
                      <a:pt x="684188" y="267657"/>
                      <a:pt x="685099" y="269549"/>
                    </a:cubicBezTo>
                    <a:cubicBezTo>
                      <a:pt x="686008" y="272387"/>
                      <a:pt x="685099" y="272387"/>
                      <a:pt x="683278" y="275224"/>
                    </a:cubicBezTo>
                    <a:cubicBezTo>
                      <a:pt x="682369" y="277115"/>
                      <a:pt x="685099" y="279953"/>
                      <a:pt x="683278" y="280899"/>
                    </a:cubicBezTo>
                    <a:cubicBezTo>
                      <a:pt x="682369" y="281845"/>
                      <a:pt x="680549" y="280899"/>
                      <a:pt x="678729" y="281845"/>
                    </a:cubicBezTo>
                    <a:cubicBezTo>
                      <a:pt x="676909" y="281845"/>
                      <a:pt x="674180" y="282791"/>
                      <a:pt x="673270" y="284683"/>
                    </a:cubicBezTo>
                    <a:cubicBezTo>
                      <a:pt x="673270" y="287520"/>
                      <a:pt x="676000" y="292249"/>
                      <a:pt x="668721" y="293195"/>
                    </a:cubicBezTo>
                    <a:cubicBezTo>
                      <a:pt x="666901" y="293195"/>
                      <a:pt x="666901" y="292249"/>
                      <a:pt x="665991" y="293195"/>
                    </a:cubicBezTo>
                    <a:cubicBezTo>
                      <a:pt x="665082" y="296033"/>
                      <a:pt x="666901" y="300762"/>
                      <a:pt x="662352" y="299816"/>
                    </a:cubicBezTo>
                    <a:lnTo>
                      <a:pt x="655073" y="294141"/>
                    </a:lnTo>
                    <a:lnTo>
                      <a:pt x="654163" y="285628"/>
                    </a:lnTo>
                    <a:cubicBezTo>
                      <a:pt x="652344" y="283736"/>
                      <a:pt x="648704" y="284683"/>
                      <a:pt x="646884" y="282791"/>
                    </a:cubicBezTo>
                    <a:cubicBezTo>
                      <a:pt x="645065" y="281845"/>
                      <a:pt x="645065" y="279953"/>
                      <a:pt x="646884" y="279007"/>
                    </a:cubicBezTo>
                    <a:lnTo>
                      <a:pt x="652344" y="279007"/>
                    </a:lnTo>
                    <a:cubicBezTo>
                      <a:pt x="656893" y="281845"/>
                      <a:pt x="663262" y="285628"/>
                      <a:pt x="667811" y="281845"/>
                    </a:cubicBezTo>
                    <a:cubicBezTo>
                      <a:pt x="672360" y="278062"/>
                      <a:pt x="676909" y="270495"/>
                      <a:pt x="669631" y="267657"/>
                    </a:cubicBezTo>
                    <a:cubicBezTo>
                      <a:pt x="667811" y="267657"/>
                      <a:pt x="665991" y="267657"/>
                      <a:pt x="664171" y="266712"/>
                    </a:cubicBezTo>
                    <a:cubicBezTo>
                      <a:pt x="660532" y="265765"/>
                      <a:pt x="657802" y="264820"/>
                      <a:pt x="655073" y="262927"/>
                    </a:cubicBezTo>
                    <a:cubicBezTo>
                      <a:pt x="653253" y="261982"/>
                      <a:pt x="652344" y="260090"/>
                      <a:pt x="649614" y="259144"/>
                    </a:cubicBezTo>
                    <a:cubicBezTo>
                      <a:pt x="647794" y="258199"/>
                      <a:pt x="645975" y="257252"/>
                      <a:pt x="644154" y="256307"/>
                    </a:cubicBezTo>
                    <a:cubicBezTo>
                      <a:pt x="643245" y="255361"/>
                      <a:pt x="642335" y="255361"/>
                      <a:pt x="641426" y="255361"/>
                    </a:cubicBezTo>
                    <a:cubicBezTo>
                      <a:pt x="639605" y="255361"/>
                      <a:pt x="638696" y="255361"/>
                      <a:pt x="636876" y="255361"/>
                    </a:cubicBezTo>
                    <a:cubicBezTo>
                      <a:pt x="635057" y="256307"/>
                      <a:pt x="633236" y="256307"/>
                      <a:pt x="633236" y="254415"/>
                    </a:cubicBezTo>
                    <a:cubicBezTo>
                      <a:pt x="633236" y="252524"/>
                      <a:pt x="635966" y="252524"/>
                      <a:pt x="635966" y="249686"/>
                    </a:cubicBezTo>
                    <a:cubicBezTo>
                      <a:pt x="635057" y="246848"/>
                      <a:pt x="633236" y="249686"/>
                      <a:pt x="631416" y="249686"/>
                    </a:cubicBezTo>
                    <a:cubicBezTo>
                      <a:pt x="628005" y="248504"/>
                      <a:pt x="628233" y="246848"/>
                      <a:pt x="626867" y="246848"/>
                    </a:cubicBezTo>
                    <a:cubicBezTo>
                      <a:pt x="624138" y="246848"/>
                      <a:pt x="625958" y="249686"/>
                      <a:pt x="624138" y="250632"/>
                    </a:cubicBezTo>
                    <a:cubicBezTo>
                      <a:pt x="623082" y="251180"/>
                      <a:pt x="622946" y="249820"/>
                      <a:pt x="621408" y="249686"/>
                    </a:cubicBezTo>
                    <a:cubicBezTo>
                      <a:pt x="620498" y="250632"/>
                      <a:pt x="621408" y="252524"/>
                      <a:pt x="617769" y="253469"/>
                    </a:cubicBezTo>
                    <a:cubicBezTo>
                      <a:pt x="615949" y="251577"/>
                      <a:pt x="619589" y="245903"/>
                      <a:pt x="615040" y="247794"/>
                    </a:cubicBezTo>
                    <a:cubicBezTo>
                      <a:pt x="613220" y="247794"/>
                      <a:pt x="614129" y="249686"/>
                      <a:pt x="608671" y="250632"/>
                    </a:cubicBezTo>
                    <a:cubicBezTo>
                      <a:pt x="603211" y="249686"/>
                      <a:pt x="605941" y="255361"/>
                      <a:pt x="601391" y="257252"/>
                    </a:cubicBezTo>
                    <a:cubicBezTo>
                      <a:pt x="598662" y="258199"/>
                      <a:pt x="592293" y="257252"/>
                      <a:pt x="590473" y="265765"/>
                    </a:cubicBezTo>
                    <a:cubicBezTo>
                      <a:pt x="589564" y="267657"/>
                      <a:pt x="587743" y="266712"/>
                      <a:pt x="585924" y="266712"/>
                    </a:cubicBezTo>
                    <a:cubicBezTo>
                      <a:pt x="585015" y="268603"/>
                      <a:pt x="586834" y="268603"/>
                      <a:pt x="587743" y="269549"/>
                    </a:cubicBezTo>
                    <a:cubicBezTo>
                      <a:pt x="588654" y="273332"/>
                      <a:pt x="585924" y="271440"/>
                      <a:pt x="584104" y="272387"/>
                    </a:cubicBezTo>
                    <a:cubicBezTo>
                      <a:pt x="582285" y="273332"/>
                      <a:pt x="584104" y="274278"/>
                      <a:pt x="584104" y="275224"/>
                    </a:cubicBezTo>
                    <a:cubicBezTo>
                      <a:pt x="584104" y="279007"/>
                      <a:pt x="580465" y="276170"/>
                      <a:pt x="578646" y="276170"/>
                    </a:cubicBezTo>
                    <a:cubicBezTo>
                      <a:pt x="573186" y="276170"/>
                      <a:pt x="580465" y="282791"/>
                      <a:pt x="579555" y="283736"/>
                    </a:cubicBezTo>
                    <a:cubicBezTo>
                      <a:pt x="576825" y="286574"/>
                      <a:pt x="574096" y="280899"/>
                      <a:pt x="571366" y="284683"/>
                    </a:cubicBezTo>
                    <a:cubicBezTo>
                      <a:pt x="570456" y="286574"/>
                      <a:pt x="569547" y="289411"/>
                      <a:pt x="567727" y="291303"/>
                    </a:cubicBezTo>
                    <a:cubicBezTo>
                      <a:pt x="567272" y="292249"/>
                      <a:pt x="566134" y="292722"/>
                      <a:pt x="567727" y="297924"/>
                    </a:cubicBezTo>
                    <a:cubicBezTo>
                      <a:pt x="565907" y="297924"/>
                      <a:pt x="563178" y="296979"/>
                      <a:pt x="561357" y="296979"/>
                    </a:cubicBezTo>
                    <a:cubicBezTo>
                      <a:pt x="560448" y="296033"/>
                      <a:pt x="558629" y="296033"/>
                      <a:pt x="557718" y="296979"/>
                    </a:cubicBezTo>
                    <a:cubicBezTo>
                      <a:pt x="556809" y="298871"/>
                      <a:pt x="558629" y="299816"/>
                      <a:pt x="557718" y="300762"/>
                    </a:cubicBezTo>
                    <a:cubicBezTo>
                      <a:pt x="557718" y="304546"/>
                      <a:pt x="551349" y="300762"/>
                      <a:pt x="550440" y="308329"/>
                    </a:cubicBezTo>
                    <a:cubicBezTo>
                      <a:pt x="549530" y="310220"/>
                      <a:pt x="546800" y="309274"/>
                      <a:pt x="544981" y="313058"/>
                    </a:cubicBezTo>
                    <a:cubicBezTo>
                      <a:pt x="544070" y="314004"/>
                      <a:pt x="544070" y="313058"/>
                      <a:pt x="543161" y="314004"/>
                    </a:cubicBezTo>
                    <a:cubicBezTo>
                      <a:pt x="543161" y="314950"/>
                      <a:pt x="542251" y="314004"/>
                      <a:pt x="544981" y="316842"/>
                    </a:cubicBezTo>
                    <a:cubicBezTo>
                      <a:pt x="545891" y="318733"/>
                      <a:pt x="544981" y="317787"/>
                      <a:pt x="544070" y="319679"/>
                    </a:cubicBezTo>
                    <a:cubicBezTo>
                      <a:pt x="542251" y="321570"/>
                      <a:pt x="546800" y="320625"/>
                      <a:pt x="547710" y="321570"/>
                    </a:cubicBezTo>
                    <a:cubicBezTo>
                      <a:pt x="550440" y="324408"/>
                      <a:pt x="543161" y="324408"/>
                      <a:pt x="544070" y="327245"/>
                    </a:cubicBezTo>
                    <a:cubicBezTo>
                      <a:pt x="544981" y="329138"/>
                      <a:pt x="549530" y="326300"/>
                      <a:pt x="547710" y="330083"/>
                    </a:cubicBezTo>
                    <a:cubicBezTo>
                      <a:pt x="546800" y="331030"/>
                      <a:pt x="545891" y="331030"/>
                      <a:pt x="545891" y="331975"/>
                    </a:cubicBezTo>
                    <a:cubicBezTo>
                      <a:pt x="545891" y="334813"/>
                      <a:pt x="547710" y="332921"/>
                      <a:pt x="551349" y="336704"/>
                    </a:cubicBezTo>
                    <a:cubicBezTo>
                      <a:pt x="554079" y="336704"/>
                      <a:pt x="553169" y="332921"/>
                      <a:pt x="555899" y="332921"/>
                    </a:cubicBezTo>
                    <a:cubicBezTo>
                      <a:pt x="556809" y="332921"/>
                      <a:pt x="557718" y="333867"/>
                      <a:pt x="560448" y="330083"/>
                    </a:cubicBezTo>
                    <a:cubicBezTo>
                      <a:pt x="562268" y="329138"/>
                      <a:pt x="563178" y="331030"/>
                      <a:pt x="564087" y="331030"/>
                    </a:cubicBezTo>
                    <a:cubicBezTo>
                      <a:pt x="565907" y="331030"/>
                      <a:pt x="566817" y="329138"/>
                      <a:pt x="567727" y="331030"/>
                    </a:cubicBezTo>
                    <a:cubicBezTo>
                      <a:pt x="567727" y="333867"/>
                      <a:pt x="564998" y="335758"/>
                      <a:pt x="566817" y="337650"/>
                    </a:cubicBezTo>
                    <a:lnTo>
                      <a:pt x="574096" y="341433"/>
                    </a:lnTo>
                    <a:cubicBezTo>
                      <a:pt x="574096" y="344271"/>
                      <a:pt x="573186" y="344744"/>
                      <a:pt x="573186" y="346163"/>
                    </a:cubicBezTo>
                    <a:cubicBezTo>
                      <a:pt x="572276" y="349946"/>
                      <a:pt x="576825" y="351838"/>
                      <a:pt x="578646" y="348054"/>
                    </a:cubicBezTo>
                    <a:cubicBezTo>
                      <a:pt x="579555" y="345217"/>
                      <a:pt x="578646" y="343325"/>
                      <a:pt x="583194" y="344271"/>
                    </a:cubicBezTo>
                    <a:cubicBezTo>
                      <a:pt x="585924" y="345217"/>
                      <a:pt x="586834" y="343325"/>
                      <a:pt x="585924" y="340488"/>
                    </a:cubicBezTo>
                    <a:cubicBezTo>
                      <a:pt x="585015" y="336704"/>
                      <a:pt x="583194" y="333867"/>
                      <a:pt x="586834" y="331975"/>
                    </a:cubicBezTo>
                    <a:cubicBezTo>
                      <a:pt x="588654" y="331030"/>
                      <a:pt x="591383" y="331030"/>
                      <a:pt x="592293" y="329138"/>
                    </a:cubicBezTo>
                    <a:cubicBezTo>
                      <a:pt x="594112" y="326300"/>
                      <a:pt x="593203" y="323462"/>
                      <a:pt x="591383" y="321570"/>
                    </a:cubicBezTo>
                    <a:cubicBezTo>
                      <a:pt x="589564" y="319679"/>
                      <a:pt x="587743" y="317787"/>
                      <a:pt x="587743" y="315895"/>
                    </a:cubicBezTo>
                    <a:cubicBezTo>
                      <a:pt x="587743" y="314004"/>
                      <a:pt x="589564" y="312112"/>
                      <a:pt x="589564" y="310220"/>
                    </a:cubicBezTo>
                    <a:cubicBezTo>
                      <a:pt x="589564" y="308329"/>
                      <a:pt x="588654" y="305491"/>
                      <a:pt x="590473" y="303599"/>
                    </a:cubicBezTo>
                    <a:cubicBezTo>
                      <a:pt x="591383" y="302654"/>
                      <a:pt x="593203" y="303599"/>
                      <a:pt x="593203" y="300762"/>
                    </a:cubicBezTo>
                    <a:cubicBezTo>
                      <a:pt x="594112" y="299816"/>
                      <a:pt x="593203" y="298871"/>
                      <a:pt x="595023" y="297924"/>
                    </a:cubicBezTo>
                    <a:cubicBezTo>
                      <a:pt x="597752" y="296033"/>
                      <a:pt x="599572" y="297924"/>
                      <a:pt x="601391" y="294141"/>
                    </a:cubicBezTo>
                    <a:cubicBezTo>
                      <a:pt x="602302" y="292249"/>
                      <a:pt x="604121" y="289411"/>
                      <a:pt x="604121" y="286574"/>
                    </a:cubicBezTo>
                    <a:cubicBezTo>
                      <a:pt x="605031" y="283736"/>
                      <a:pt x="608671" y="281845"/>
                      <a:pt x="611399" y="282791"/>
                    </a:cubicBezTo>
                    <a:cubicBezTo>
                      <a:pt x="613220" y="282791"/>
                      <a:pt x="613220" y="284683"/>
                      <a:pt x="613220" y="288466"/>
                    </a:cubicBezTo>
                    <a:cubicBezTo>
                      <a:pt x="614129" y="289411"/>
                      <a:pt x="614129" y="290358"/>
                      <a:pt x="610490" y="294141"/>
                    </a:cubicBezTo>
                    <a:cubicBezTo>
                      <a:pt x="607760" y="296033"/>
                      <a:pt x="605941" y="296979"/>
                      <a:pt x="605031" y="298871"/>
                    </a:cubicBezTo>
                    <a:cubicBezTo>
                      <a:pt x="604121" y="299816"/>
                      <a:pt x="604121" y="300762"/>
                      <a:pt x="604121" y="301708"/>
                    </a:cubicBezTo>
                    <a:cubicBezTo>
                      <a:pt x="603211" y="304546"/>
                      <a:pt x="605031" y="306437"/>
                      <a:pt x="605031" y="309274"/>
                    </a:cubicBezTo>
                    <a:cubicBezTo>
                      <a:pt x="605941" y="311166"/>
                      <a:pt x="606851" y="312112"/>
                      <a:pt x="606851" y="314004"/>
                    </a:cubicBezTo>
                    <a:cubicBezTo>
                      <a:pt x="608671" y="315895"/>
                      <a:pt x="607760" y="318733"/>
                      <a:pt x="609580" y="320625"/>
                    </a:cubicBezTo>
                    <a:cubicBezTo>
                      <a:pt x="611399" y="321570"/>
                      <a:pt x="613220" y="321570"/>
                      <a:pt x="615040" y="320625"/>
                    </a:cubicBezTo>
                    <a:cubicBezTo>
                      <a:pt x="616859" y="318733"/>
                      <a:pt x="618679" y="316842"/>
                      <a:pt x="625048" y="318733"/>
                    </a:cubicBezTo>
                    <a:cubicBezTo>
                      <a:pt x="626867" y="319679"/>
                      <a:pt x="627777" y="318733"/>
                      <a:pt x="629597" y="318733"/>
                    </a:cubicBezTo>
                    <a:cubicBezTo>
                      <a:pt x="631416" y="319679"/>
                      <a:pt x="634146" y="322517"/>
                      <a:pt x="630507" y="323462"/>
                    </a:cubicBezTo>
                    <a:cubicBezTo>
                      <a:pt x="628688" y="324408"/>
                      <a:pt x="626867" y="323462"/>
                      <a:pt x="625048" y="323462"/>
                    </a:cubicBezTo>
                    <a:cubicBezTo>
                      <a:pt x="622318" y="323462"/>
                      <a:pt x="622318" y="325354"/>
                      <a:pt x="620498" y="325354"/>
                    </a:cubicBezTo>
                    <a:cubicBezTo>
                      <a:pt x="617769" y="326300"/>
                      <a:pt x="615949" y="323462"/>
                      <a:pt x="613220" y="325354"/>
                    </a:cubicBezTo>
                    <a:cubicBezTo>
                      <a:pt x="607760" y="329138"/>
                      <a:pt x="615949" y="333867"/>
                      <a:pt x="612310" y="337650"/>
                    </a:cubicBezTo>
                    <a:cubicBezTo>
                      <a:pt x="610490" y="340488"/>
                      <a:pt x="608671" y="336704"/>
                      <a:pt x="607760" y="335758"/>
                    </a:cubicBezTo>
                    <a:lnTo>
                      <a:pt x="602302" y="338596"/>
                    </a:lnTo>
                    <a:cubicBezTo>
                      <a:pt x="601391" y="341433"/>
                      <a:pt x="603211" y="343325"/>
                      <a:pt x="602302" y="346163"/>
                    </a:cubicBezTo>
                    <a:cubicBezTo>
                      <a:pt x="602302" y="347109"/>
                      <a:pt x="601391" y="347109"/>
                      <a:pt x="600481" y="348054"/>
                    </a:cubicBezTo>
                    <a:cubicBezTo>
                      <a:pt x="600481" y="349946"/>
                      <a:pt x="601391" y="349946"/>
                      <a:pt x="601391" y="350892"/>
                    </a:cubicBezTo>
                    <a:cubicBezTo>
                      <a:pt x="600481" y="352784"/>
                      <a:pt x="599572" y="351838"/>
                      <a:pt x="598662" y="352784"/>
                    </a:cubicBezTo>
                    <a:cubicBezTo>
                      <a:pt x="595933" y="352784"/>
                      <a:pt x="596842" y="354676"/>
                      <a:pt x="595933" y="355621"/>
                    </a:cubicBezTo>
                    <a:cubicBezTo>
                      <a:pt x="594112" y="358459"/>
                      <a:pt x="591383" y="357513"/>
                      <a:pt x="588654" y="357513"/>
                    </a:cubicBezTo>
                    <a:cubicBezTo>
                      <a:pt x="585015" y="357513"/>
                      <a:pt x="583194" y="358459"/>
                      <a:pt x="579555" y="360351"/>
                    </a:cubicBezTo>
                    <a:cubicBezTo>
                      <a:pt x="575916" y="361297"/>
                      <a:pt x="574096" y="358459"/>
                      <a:pt x="571366" y="358459"/>
                    </a:cubicBezTo>
                    <a:cubicBezTo>
                      <a:pt x="568637" y="357513"/>
                      <a:pt x="570456" y="359404"/>
                      <a:pt x="568637" y="360351"/>
                    </a:cubicBezTo>
                    <a:cubicBezTo>
                      <a:pt x="566817" y="361297"/>
                      <a:pt x="565907" y="360351"/>
                      <a:pt x="564998" y="359404"/>
                    </a:cubicBezTo>
                    <a:cubicBezTo>
                      <a:pt x="564087" y="359404"/>
                      <a:pt x="563178" y="358459"/>
                      <a:pt x="562268" y="357513"/>
                    </a:cubicBezTo>
                    <a:cubicBezTo>
                      <a:pt x="559538" y="354676"/>
                      <a:pt x="563178" y="353729"/>
                      <a:pt x="562268" y="351838"/>
                    </a:cubicBezTo>
                    <a:cubicBezTo>
                      <a:pt x="562268" y="349001"/>
                      <a:pt x="561357" y="349001"/>
                      <a:pt x="562268" y="347109"/>
                    </a:cubicBezTo>
                    <a:cubicBezTo>
                      <a:pt x="562268" y="346163"/>
                      <a:pt x="562268" y="345217"/>
                      <a:pt x="562268" y="344271"/>
                    </a:cubicBezTo>
                    <a:cubicBezTo>
                      <a:pt x="562268" y="343325"/>
                      <a:pt x="562268" y="342379"/>
                      <a:pt x="562268" y="340488"/>
                    </a:cubicBezTo>
                    <a:cubicBezTo>
                      <a:pt x="563178" y="339541"/>
                      <a:pt x="564087" y="334813"/>
                      <a:pt x="561357" y="336704"/>
                    </a:cubicBezTo>
                    <a:cubicBezTo>
                      <a:pt x="559538" y="336704"/>
                      <a:pt x="560448" y="338596"/>
                      <a:pt x="559538" y="338596"/>
                    </a:cubicBezTo>
                    <a:cubicBezTo>
                      <a:pt x="558629" y="339541"/>
                      <a:pt x="557718" y="338596"/>
                      <a:pt x="556809" y="338596"/>
                    </a:cubicBezTo>
                    <a:cubicBezTo>
                      <a:pt x="556262" y="339165"/>
                      <a:pt x="556290" y="339647"/>
                      <a:pt x="557131" y="339658"/>
                    </a:cubicBezTo>
                    <a:cubicBezTo>
                      <a:pt x="555166" y="338593"/>
                      <a:pt x="553016" y="338593"/>
                      <a:pt x="551453" y="338593"/>
                    </a:cubicBezTo>
                    <a:cubicBezTo>
                      <a:pt x="548672" y="339549"/>
                      <a:pt x="546818" y="341462"/>
                      <a:pt x="544037" y="342418"/>
                    </a:cubicBezTo>
                    <a:cubicBezTo>
                      <a:pt x="541256" y="342418"/>
                      <a:pt x="537548" y="340505"/>
                      <a:pt x="535694" y="342418"/>
                    </a:cubicBezTo>
                    <a:cubicBezTo>
                      <a:pt x="533840" y="343374"/>
                      <a:pt x="532913" y="344330"/>
                      <a:pt x="530133" y="345286"/>
                    </a:cubicBezTo>
                    <a:lnTo>
                      <a:pt x="524570" y="345286"/>
                    </a:lnTo>
                    <a:cubicBezTo>
                      <a:pt x="524802" y="343613"/>
                      <a:pt x="525961" y="343374"/>
                      <a:pt x="529205" y="339549"/>
                    </a:cubicBezTo>
                    <a:lnTo>
                      <a:pt x="522717" y="339549"/>
                    </a:lnTo>
                    <a:cubicBezTo>
                      <a:pt x="521790" y="340505"/>
                      <a:pt x="519935" y="341462"/>
                      <a:pt x="518082" y="340505"/>
                    </a:cubicBezTo>
                    <a:cubicBezTo>
                      <a:pt x="517154" y="340505"/>
                      <a:pt x="516227" y="340505"/>
                      <a:pt x="515301" y="337636"/>
                    </a:cubicBezTo>
                    <a:cubicBezTo>
                      <a:pt x="513446" y="337636"/>
                      <a:pt x="510666" y="337636"/>
                      <a:pt x="508811" y="337636"/>
                    </a:cubicBezTo>
                    <a:cubicBezTo>
                      <a:pt x="507885" y="337636"/>
                      <a:pt x="507885" y="338593"/>
                      <a:pt x="506958" y="338593"/>
                    </a:cubicBezTo>
                    <a:cubicBezTo>
                      <a:pt x="505103" y="338593"/>
                      <a:pt x="504177" y="338593"/>
                      <a:pt x="505103" y="335724"/>
                    </a:cubicBezTo>
                    <a:cubicBezTo>
                      <a:pt x="507885" y="335724"/>
                      <a:pt x="510666" y="335724"/>
                      <a:pt x="512519" y="335724"/>
                    </a:cubicBezTo>
                    <a:cubicBezTo>
                      <a:pt x="514374" y="335724"/>
                      <a:pt x="517154" y="334768"/>
                      <a:pt x="519009" y="334768"/>
                    </a:cubicBezTo>
                    <a:cubicBezTo>
                      <a:pt x="521790" y="334768"/>
                      <a:pt x="524570" y="335724"/>
                      <a:pt x="532913" y="334768"/>
                    </a:cubicBezTo>
                    <a:cubicBezTo>
                      <a:pt x="532913" y="332855"/>
                      <a:pt x="532913" y="331900"/>
                      <a:pt x="531059" y="331900"/>
                    </a:cubicBezTo>
                    <a:cubicBezTo>
                      <a:pt x="530133" y="330943"/>
                      <a:pt x="530133" y="331900"/>
                      <a:pt x="529205" y="330943"/>
                    </a:cubicBezTo>
                    <a:cubicBezTo>
                      <a:pt x="528278" y="330943"/>
                      <a:pt x="528278" y="329986"/>
                      <a:pt x="527351" y="329986"/>
                    </a:cubicBezTo>
                    <a:cubicBezTo>
                      <a:pt x="525497" y="329031"/>
                      <a:pt x="522717" y="330943"/>
                      <a:pt x="520862" y="329986"/>
                    </a:cubicBezTo>
                    <a:cubicBezTo>
                      <a:pt x="520862" y="329031"/>
                      <a:pt x="521790" y="329031"/>
                      <a:pt x="521790" y="328074"/>
                    </a:cubicBezTo>
                    <a:lnTo>
                      <a:pt x="517154" y="326162"/>
                    </a:lnTo>
                    <a:cubicBezTo>
                      <a:pt x="516227" y="327119"/>
                      <a:pt x="515301" y="329031"/>
                      <a:pt x="513446" y="328074"/>
                    </a:cubicBezTo>
                    <a:cubicBezTo>
                      <a:pt x="512519" y="327119"/>
                      <a:pt x="516227" y="325205"/>
                      <a:pt x="513446" y="323293"/>
                    </a:cubicBezTo>
                    <a:cubicBezTo>
                      <a:pt x="512519" y="323293"/>
                      <a:pt x="512519" y="324250"/>
                      <a:pt x="507885" y="323293"/>
                    </a:cubicBezTo>
                    <a:cubicBezTo>
                      <a:pt x="506030" y="323293"/>
                      <a:pt x="505103" y="323293"/>
                      <a:pt x="503250" y="324250"/>
                    </a:cubicBezTo>
                    <a:cubicBezTo>
                      <a:pt x="501395" y="324250"/>
                      <a:pt x="498614" y="325205"/>
                      <a:pt x="496761" y="324250"/>
                    </a:cubicBezTo>
                    <a:cubicBezTo>
                      <a:pt x="494907" y="323293"/>
                      <a:pt x="493979" y="322336"/>
                      <a:pt x="492126" y="322336"/>
                    </a:cubicBezTo>
                    <a:cubicBezTo>
                      <a:pt x="489345" y="322336"/>
                      <a:pt x="487491" y="321381"/>
                      <a:pt x="480075" y="322336"/>
                    </a:cubicBezTo>
                    <a:cubicBezTo>
                      <a:pt x="478221" y="322336"/>
                      <a:pt x="477294" y="323293"/>
                      <a:pt x="476367" y="323293"/>
                    </a:cubicBezTo>
                    <a:cubicBezTo>
                      <a:pt x="474513" y="324250"/>
                      <a:pt x="473586" y="323293"/>
                      <a:pt x="472659" y="323293"/>
                    </a:cubicBezTo>
                    <a:cubicBezTo>
                      <a:pt x="470805" y="323293"/>
                      <a:pt x="470805" y="324250"/>
                      <a:pt x="470805" y="325205"/>
                    </a:cubicBezTo>
                    <a:cubicBezTo>
                      <a:pt x="468951" y="326162"/>
                      <a:pt x="468024" y="325205"/>
                      <a:pt x="466170" y="325205"/>
                    </a:cubicBezTo>
                    <a:cubicBezTo>
                      <a:pt x="464316" y="325205"/>
                      <a:pt x="465243" y="327119"/>
                      <a:pt x="464316" y="328074"/>
                    </a:cubicBezTo>
                    <a:cubicBezTo>
                      <a:pt x="463389" y="329031"/>
                      <a:pt x="462462" y="328074"/>
                      <a:pt x="461535" y="328074"/>
                    </a:cubicBezTo>
                    <a:cubicBezTo>
                      <a:pt x="460608" y="328074"/>
                      <a:pt x="459681" y="329031"/>
                      <a:pt x="458754" y="329031"/>
                    </a:cubicBezTo>
                    <a:cubicBezTo>
                      <a:pt x="457827" y="329031"/>
                      <a:pt x="457827" y="328074"/>
                      <a:pt x="456901" y="328074"/>
                    </a:cubicBezTo>
                    <a:cubicBezTo>
                      <a:pt x="455973" y="327119"/>
                      <a:pt x="455046" y="327119"/>
                      <a:pt x="454119" y="326162"/>
                    </a:cubicBezTo>
                    <a:cubicBezTo>
                      <a:pt x="452265" y="326162"/>
                      <a:pt x="450411" y="326162"/>
                      <a:pt x="449485" y="327119"/>
                    </a:cubicBezTo>
                    <a:cubicBezTo>
                      <a:pt x="447630" y="327119"/>
                      <a:pt x="447630" y="328074"/>
                      <a:pt x="447630" y="329031"/>
                    </a:cubicBezTo>
                    <a:cubicBezTo>
                      <a:pt x="447630" y="329986"/>
                      <a:pt x="448557" y="330943"/>
                      <a:pt x="447630" y="331900"/>
                    </a:cubicBezTo>
                    <a:cubicBezTo>
                      <a:pt x="445777" y="331900"/>
                      <a:pt x="442995" y="330943"/>
                      <a:pt x="441142" y="330943"/>
                    </a:cubicBezTo>
                    <a:cubicBezTo>
                      <a:pt x="440214" y="331900"/>
                      <a:pt x="440214" y="332855"/>
                      <a:pt x="439287" y="332855"/>
                    </a:cubicBezTo>
                    <a:cubicBezTo>
                      <a:pt x="438361" y="332855"/>
                      <a:pt x="437434" y="332855"/>
                      <a:pt x="436506" y="333812"/>
                    </a:cubicBezTo>
                    <a:cubicBezTo>
                      <a:pt x="435579" y="334768"/>
                      <a:pt x="436506" y="335724"/>
                      <a:pt x="435579" y="339549"/>
                    </a:cubicBezTo>
                    <a:cubicBezTo>
                      <a:pt x="433726" y="337636"/>
                      <a:pt x="432798" y="335724"/>
                      <a:pt x="430945" y="334768"/>
                    </a:cubicBezTo>
                    <a:lnTo>
                      <a:pt x="425382" y="335724"/>
                    </a:lnTo>
                    <a:cubicBezTo>
                      <a:pt x="424455" y="337636"/>
                      <a:pt x="425382" y="338593"/>
                      <a:pt x="425382" y="339549"/>
                    </a:cubicBezTo>
                    <a:lnTo>
                      <a:pt x="419821" y="342418"/>
                    </a:lnTo>
                    <a:cubicBezTo>
                      <a:pt x="418894" y="342418"/>
                      <a:pt x="417967" y="341462"/>
                      <a:pt x="417967" y="340505"/>
                    </a:cubicBezTo>
                    <a:cubicBezTo>
                      <a:pt x="417039" y="340505"/>
                      <a:pt x="417039" y="339549"/>
                      <a:pt x="415186" y="340505"/>
                    </a:cubicBezTo>
                    <a:cubicBezTo>
                      <a:pt x="412405" y="342418"/>
                      <a:pt x="411478" y="337636"/>
                      <a:pt x="410551" y="336681"/>
                    </a:cubicBezTo>
                    <a:cubicBezTo>
                      <a:pt x="408697" y="335724"/>
                      <a:pt x="407770" y="336681"/>
                      <a:pt x="403135" y="337636"/>
                    </a:cubicBezTo>
                    <a:cubicBezTo>
                      <a:pt x="402672" y="337636"/>
                      <a:pt x="402207" y="337875"/>
                      <a:pt x="401049" y="337995"/>
                    </a:cubicBezTo>
                    <a:lnTo>
                      <a:pt x="394792" y="337636"/>
                    </a:lnTo>
                    <a:lnTo>
                      <a:pt x="389230" y="343374"/>
                    </a:lnTo>
                    <a:cubicBezTo>
                      <a:pt x="388308" y="345277"/>
                      <a:pt x="387386" y="341500"/>
                      <a:pt x="387376" y="341462"/>
                    </a:cubicBezTo>
                    <a:cubicBezTo>
                      <a:pt x="386449" y="339549"/>
                      <a:pt x="383668" y="339549"/>
                      <a:pt x="382741" y="341462"/>
                    </a:cubicBezTo>
                    <a:cubicBezTo>
                      <a:pt x="380887" y="342418"/>
                      <a:pt x="382741" y="343374"/>
                      <a:pt x="379961" y="346243"/>
                    </a:cubicBezTo>
                    <a:cubicBezTo>
                      <a:pt x="375325" y="346243"/>
                      <a:pt x="371617" y="348155"/>
                      <a:pt x="367910" y="349111"/>
                    </a:cubicBezTo>
                    <a:cubicBezTo>
                      <a:pt x="366055" y="349111"/>
                      <a:pt x="364202" y="349111"/>
                      <a:pt x="361421" y="352936"/>
                    </a:cubicBezTo>
                    <a:cubicBezTo>
                      <a:pt x="364202" y="354849"/>
                      <a:pt x="366982" y="353892"/>
                      <a:pt x="373471" y="353892"/>
                    </a:cubicBezTo>
                    <a:lnTo>
                      <a:pt x="371617" y="360586"/>
                    </a:lnTo>
                    <a:cubicBezTo>
                      <a:pt x="369763" y="361542"/>
                      <a:pt x="367910" y="361542"/>
                      <a:pt x="366055" y="361542"/>
                    </a:cubicBezTo>
                    <a:cubicBezTo>
                      <a:pt x="365129" y="361542"/>
                      <a:pt x="364202" y="361542"/>
                      <a:pt x="362347" y="362499"/>
                    </a:cubicBezTo>
                    <a:cubicBezTo>
                      <a:pt x="358639" y="364411"/>
                      <a:pt x="354931" y="364411"/>
                      <a:pt x="351223" y="364411"/>
                    </a:cubicBezTo>
                    <a:cubicBezTo>
                      <a:pt x="350297" y="364411"/>
                      <a:pt x="349370" y="364411"/>
                      <a:pt x="347515" y="365367"/>
                    </a:cubicBezTo>
                    <a:cubicBezTo>
                      <a:pt x="344735" y="367280"/>
                      <a:pt x="345662" y="372061"/>
                      <a:pt x="348442" y="373017"/>
                    </a:cubicBezTo>
                    <a:cubicBezTo>
                      <a:pt x="351223" y="374930"/>
                      <a:pt x="354005" y="373973"/>
                      <a:pt x="355858" y="373017"/>
                    </a:cubicBezTo>
                    <a:cubicBezTo>
                      <a:pt x="356323" y="372539"/>
                      <a:pt x="356786" y="372300"/>
                      <a:pt x="357944" y="372419"/>
                    </a:cubicBezTo>
                    <a:lnTo>
                      <a:pt x="364202" y="373973"/>
                    </a:lnTo>
                    <a:cubicBezTo>
                      <a:pt x="364202" y="376842"/>
                      <a:pt x="358639" y="374930"/>
                      <a:pt x="356786" y="375885"/>
                    </a:cubicBezTo>
                    <a:cubicBezTo>
                      <a:pt x="354005" y="375885"/>
                      <a:pt x="350297" y="375885"/>
                      <a:pt x="348442" y="378754"/>
                    </a:cubicBezTo>
                    <a:cubicBezTo>
                      <a:pt x="347515" y="380666"/>
                      <a:pt x="349370" y="382580"/>
                      <a:pt x="351223" y="383535"/>
                    </a:cubicBezTo>
                    <a:cubicBezTo>
                      <a:pt x="353078" y="384492"/>
                      <a:pt x="354931" y="385449"/>
                      <a:pt x="357713" y="385449"/>
                    </a:cubicBezTo>
                    <a:cubicBezTo>
                      <a:pt x="359566" y="384492"/>
                      <a:pt x="361421" y="382580"/>
                      <a:pt x="363274" y="381623"/>
                    </a:cubicBezTo>
                    <a:cubicBezTo>
                      <a:pt x="369763" y="379711"/>
                      <a:pt x="377179" y="381623"/>
                      <a:pt x="382741" y="383535"/>
                    </a:cubicBezTo>
                    <a:cubicBezTo>
                      <a:pt x="385522" y="384492"/>
                      <a:pt x="388303" y="385449"/>
                      <a:pt x="390157" y="387361"/>
                    </a:cubicBezTo>
                    <a:cubicBezTo>
                      <a:pt x="392938" y="388316"/>
                      <a:pt x="394792" y="390230"/>
                      <a:pt x="396646" y="391185"/>
                    </a:cubicBezTo>
                    <a:cubicBezTo>
                      <a:pt x="399427" y="393097"/>
                      <a:pt x="401281" y="395966"/>
                      <a:pt x="403135" y="398835"/>
                    </a:cubicBezTo>
                    <a:cubicBezTo>
                      <a:pt x="404989" y="402660"/>
                      <a:pt x="408697" y="406485"/>
                      <a:pt x="406843" y="411266"/>
                    </a:cubicBezTo>
                    <a:cubicBezTo>
                      <a:pt x="405915" y="412222"/>
                      <a:pt x="404989" y="412222"/>
                      <a:pt x="404989" y="413179"/>
                    </a:cubicBezTo>
                    <a:cubicBezTo>
                      <a:pt x="404989" y="416047"/>
                      <a:pt x="406843" y="416047"/>
                      <a:pt x="408697" y="416047"/>
                    </a:cubicBezTo>
                    <a:cubicBezTo>
                      <a:pt x="412405" y="416047"/>
                      <a:pt x="417967" y="416047"/>
                      <a:pt x="414259" y="422741"/>
                    </a:cubicBezTo>
                    <a:lnTo>
                      <a:pt x="407770" y="423697"/>
                    </a:lnTo>
                    <a:cubicBezTo>
                      <a:pt x="406843" y="425610"/>
                      <a:pt x="408697" y="425610"/>
                      <a:pt x="409623" y="426566"/>
                    </a:cubicBezTo>
                    <a:cubicBezTo>
                      <a:pt x="410551" y="426566"/>
                      <a:pt x="410551" y="427522"/>
                      <a:pt x="407770" y="430391"/>
                    </a:cubicBezTo>
                    <a:cubicBezTo>
                      <a:pt x="407770" y="432303"/>
                      <a:pt x="409623" y="432303"/>
                      <a:pt x="409623" y="434216"/>
                    </a:cubicBezTo>
                    <a:cubicBezTo>
                      <a:pt x="410087" y="434694"/>
                      <a:pt x="409856" y="434933"/>
                      <a:pt x="412405" y="438997"/>
                    </a:cubicBezTo>
                    <a:cubicBezTo>
                      <a:pt x="417967" y="438041"/>
                      <a:pt x="412405" y="431347"/>
                      <a:pt x="414259" y="429435"/>
                    </a:cubicBezTo>
                    <a:cubicBezTo>
                      <a:pt x="417039" y="426566"/>
                      <a:pt x="425382" y="430391"/>
                      <a:pt x="427237" y="431347"/>
                    </a:cubicBezTo>
                    <a:cubicBezTo>
                      <a:pt x="430018" y="432303"/>
                      <a:pt x="430018" y="435172"/>
                      <a:pt x="428163" y="437085"/>
                    </a:cubicBezTo>
                    <a:cubicBezTo>
                      <a:pt x="426310" y="438997"/>
                      <a:pt x="424455" y="438997"/>
                      <a:pt x="423529" y="441866"/>
                    </a:cubicBezTo>
                    <a:cubicBezTo>
                      <a:pt x="423529" y="443778"/>
                      <a:pt x="422602" y="444734"/>
                      <a:pt x="421674" y="445691"/>
                    </a:cubicBezTo>
                    <a:cubicBezTo>
                      <a:pt x="418894" y="446647"/>
                      <a:pt x="417039" y="445691"/>
                      <a:pt x="415186" y="446647"/>
                    </a:cubicBezTo>
                    <a:cubicBezTo>
                      <a:pt x="414259" y="446647"/>
                      <a:pt x="413331" y="447603"/>
                      <a:pt x="412405" y="448560"/>
                    </a:cubicBezTo>
                    <a:cubicBezTo>
                      <a:pt x="412405" y="450472"/>
                      <a:pt x="413331" y="450472"/>
                      <a:pt x="414259" y="456210"/>
                    </a:cubicBezTo>
                    <a:cubicBezTo>
                      <a:pt x="413331" y="457165"/>
                      <a:pt x="413331" y="457165"/>
                      <a:pt x="413331" y="458122"/>
                    </a:cubicBezTo>
                    <a:cubicBezTo>
                      <a:pt x="413331" y="460991"/>
                      <a:pt x="416113" y="461946"/>
                      <a:pt x="417039" y="463860"/>
                    </a:cubicBezTo>
                    <a:cubicBezTo>
                      <a:pt x="417039" y="464815"/>
                      <a:pt x="417039" y="465772"/>
                      <a:pt x="417967" y="466727"/>
                    </a:cubicBezTo>
                    <a:cubicBezTo>
                      <a:pt x="418894" y="468641"/>
                      <a:pt x="418894" y="467684"/>
                      <a:pt x="420747" y="468641"/>
                    </a:cubicBezTo>
                    <a:cubicBezTo>
                      <a:pt x="421674" y="468641"/>
                      <a:pt x="422602" y="468641"/>
                      <a:pt x="421674" y="470553"/>
                    </a:cubicBezTo>
                    <a:cubicBezTo>
                      <a:pt x="421674" y="471031"/>
                      <a:pt x="421211" y="471031"/>
                      <a:pt x="421327" y="471987"/>
                    </a:cubicBezTo>
                    <a:lnTo>
                      <a:pt x="424455" y="479158"/>
                    </a:lnTo>
                    <a:cubicBezTo>
                      <a:pt x="425382" y="482027"/>
                      <a:pt x="427237" y="481071"/>
                      <a:pt x="429090" y="482027"/>
                    </a:cubicBezTo>
                    <a:cubicBezTo>
                      <a:pt x="430945" y="482027"/>
                      <a:pt x="430945" y="484896"/>
                      <a:pt x="431871" y="485852"/>
                    </a:cubicBezTo>
                    <a:cubicBezTo>
                      <a:pt x="432798" y="488721"/>
                      <a:pt x="434653" y="490633"/>
                      <a:pt x="437434" y="490633"/>
                    </a:cubicBezTo>
                    <a:cubicBezTo>
                      <a:pt x="439287" y="490633"/>
                      <a:pt x="439287" y="489677"/>
                      <a:pt x="441142" y="490633"/>
                    </a:cubicBezTo>
                    <a:cubicBezTo>
                      <a:pt x="442995" y="491590"/>
                      <a:pt x="443922" y="492546"/>
                      <a:pt x="449485" y="496371"/>
                    </a:cubicBezTo>
                    <a:cubicBezTo>
                      <a:pt x="450411" y="495415"/>
                      <a:pt x="450411" y="494458"/>
                      <a:pt x="450411" y="493502"/>
                    </a:cubicBezTo>
                    <a:cubicBezTo>
                      <a:pt x="451338" y="492546"/>
                      <a:pt x="452265" y="491590"/>
                      <a:pt x="453193" y="486808"/>
                    </a:cubicBezTo>
                    <a:cubicBezTo>
                      <a:pt x="454119" y="484896"/>
                      <a:pt x="455046" y="483940"/>
                      <a:pt x="455046" y="482984"/>
                    </a:cubicBezTo>
                    <a:cubicBezTo>
                      <a:pt x="455973" y="481071"/>
                      <a:pt x="455973" y="480115"/>
                      <a:pt x="456901" y="478203"/>
                    </a:cubicBezTo>
                    <a:cubicBezTo>
                      <a:pt x="457827" y="477246"/>
                      <a:pt x="457827" y="477246"/>
                      <a:pt x="458754" y="475334"/>
                    </a:cubicBezTo>
                    <a:cubicBezTo>
                      <a:pt x="458754" y="473422"/>
                      <a:pt x="456901" y="470553"/>
                      <a:pt x="457827" y="468641"/>
                    </a:cubicBezTo>
                    <a:lnTo>
                      <a:pt x="463389" y="465772"/>
                    </a:lnTo>
                    <a:cubicBezTo>
                      <a:pt x="465243" y="464815"/>
                      <a:pt x="466170" y="463860"/>
                      <a:pt x="466170" y="462903"/>
                    </a:cubicBezTo>
                    <a:cubicBezTo>
                      <a:pt x="468024" y="460034"/>
                      <a:pt x="468024" y="459077"/>
                      <a:pt x="470805" y="459077"/>
                    </a:cubicBezTo>
                    <a:cubicBezTo>
                      <a:pt x="473586" y="459077"/>
                      <a:pt x="475439" y="460034"/>
                      <a:pt x="478221" y="458122"/>
                    </a:cubicBezTo>
                    <a:cubicBezTo>
                      <a:pt x="481002" y="457165"/>
                      <a:pt x="481929" y="455253"/>
                      <a:pt x="483783" y="453341"/>
                    </a:cubicBezTo>
                    <a:cubicBezTo>
                      <a:pt x="483783" y="452384"/>
                      <a:pt x="484710" y="451428"/>
                      <a:pt x="485637" y="450472"/>
                    </a:cubicBezTo>
                    <a:cubicBezTo>
                      <a:pt x="486563" y="449515"/>
                      <a:pt x="488418" y="449515"/>
                      <a:pt x="490271" y="448560"/>
                    </a:cubicBezTo>
                    <a:cubicBezTo>
                      <a:pt x="491199" y="447603"/>
                      <a:pt x="491199" y="446647"/>
                      <a:pt x="492126" y="445691"/>
                    </a:cubicBezTo>
                    <a:lnTo>
                      <a:pt x="492164" y="445682"/>
                    </a:lnTo>
                    <a:cubicBezTo>
                      <a:pt x="493481" y="447765"/>
                      <a:pt x="495774" y="449705"/>
                      <a:pt x="499488" y="451152"/>
                    </a:cubicBezTo>
                    <a:cubicBezTo>
                      <a:pt x="501307" y="453044"/>
                      <a:pt x="503127" y="453990"/>
                      <a:pt x="505857" y="453990"/>
                    </a:cubicBezTo>
                    <a:cubicBezTo>
                      <a:pt x="507676" y="453990"/>
                      <a:pt x="508587" y="453044"/>
                      <a:pt x="510406" y="453044"/>
                    </a:cubicBezTo>
                    <a:cubicBezTo>
                      <a:pt x="512226" y="453044"/>
                      <a:pt x="513136" y="454936"/>
                      <a:pt x="514955" y="453990"/>
                    </a:cubicBezTo>
                    <a:cubicBezTo>
                      <a:pt x="516775" y="453990"/>
                      <a:pt x="517685" y="453044"/>
                      <a:pt x="518595" y="451152"/>
                    </a:cubicBezTo>
                    <a:cubicBezTo>
                      <a:pt x="518595" y="449261"/>
                      <a:pt x="519505" y="449261"/>
                      <a:pt x="521324" y="448316"/>
                    </a:cubicBezTo>
                    <a:cubicBezTo>
                      <a:pt x="523144" y="447369"/>
                      <a:pt x="524963" y="445478"/>
                      <a:pt x="524963" y="443586"/>
                    </a:cubicBezTo>
                    <a:cubicBezTo>
                      <a:pt x="525874" y="441694"/>
                      <a:pt x="524963" y="439803"/>
                      <a:pt x="525874" y="436965"/>
                    </a:cubicBezTo>
                    <a:cubicBezTo>
                      <a:pt x="527693" y="435073"/>
                      <a:pt x="528604" y="431290"/>
                      <a:pt x="531332" y="430344"/>
                    </a:cubicBezTo>
                    <a:lnTo>
                      <a:pt x="536792" y="427506"/>
                    </a:lnTo>
                    <a:cubicBezTo>
                      <a:pt x="537701" y="424668"/>
                      <a:pt x="535882" y="421831"/>
                      <a:pt x="537701" y="419940"/>
                    </a:cubicBezTo>
                    <a:lnTo>
                      <a:pt x="546800" y="419940"/>
                    </a:lnTo>
                    <a:cubicBezTo>
                      <a:pt x="547710" y="420885"/>
                      <a:pt x="548620" y="419940"/>
                      <a:pt x="550440" y="418994"/>
                    </a:cubicBezTo>
                    <a:lnTo>
                      <a:pt x="554079" y="415210"/>
                    </a:lnTo>
                    <a:cubicBezTo>
                      <a:pt x="554989" y="414264"/>
                      <a:pt x="555899" y="414264"/>
                      <a:pt x="557718" y="414264"/>
                    </a:cubicBezTo>
                    <a:cubicBezTo>
                      <a:pt x="560448" y="414264"/>
                      <a:pt x="562268" y="417102"/>
                      <a:pt x="563178" y="418994"/>
                    </a:cubicBezTo>
                    <a:cubicBezTo>
                      <a:pt x="563178" y="420885"/>
                      <a:pt x="564087" y="421831"/>
                      <a:pt x="564998" y="423723"/>
                    </a:cubicBezTo>
                    <a:cubicBezTo>
                      <a:pt x="564998" y="424668"/>
                      <a:pt x="565907" y="425615"/>
                      <a:pt x="566817" y="426560"/>
                    </a:cubicBezTo>
                    <a:cubicBezTo>
                      <a:pt x="568637" y="428452"/>
                      <a:pt x="571366" y="430344"/>
                      <a:pt x="573186" y="431290"/>
                    </a:cubicBezTo>
                    <a:cubicBezTo>
                      <a:pt x="576825" y="432236"/>
                      <a:pt x="578646" y="433181"/>
                      <a:pt x="580465" y="436965"/>
                    </a:cubicBezTo>
                    <a:cubicBezTo>
                      <a:pt x="581374" y="438856"/>
                      <a:pt x="582285" y="440748"/>
                      <a:pt x="581374" y="447369"/>
                    </a:cubicBezTo>
                    <a:cubicBezTo>
                      <a:pt x="580465" y="448316"/>
                      <a:pt x="579555" y="448316"/>
                      <a:pt x="578646" y="448316"/>
                    </a:cubicBezTo>
                    <a:cubicBezTo>
                      <a:pt x="576825" y="448316"/>
                      <a:pt x="575916" y="447369"/>
                      <a:pt x="574096" y="447369"/>
                    </a:cubicBezTo>
                    <a:cubicBezTo>
                      <a:pt x="571366" y="448316"/>
                      <a:pt x="571366" y="450207"/>
                      <a:pt x="573186" y="452099"/>
                    </a:cubicBezTo>
                    <a:cubicBezTo>
                      <a:pt x="574096" y="453044"/>
                      <a:pt x="575006" y="453044"/>
                      <a:pt x="575916" y="453044"/>
                    </a:cubicBezTo>
                    <a:cubicBezTo>
                      <a:pt x="576825" y="453990"/>
                      <a:pt x="577735" y="453990"/>
                      <a:pt x="578646" y="453044"/>
                    </a:cubicBezTo>
                    <a:cubicBezTo>
                      <a:pt x="579555" y="452099"/>
                      <a:pt x="579555" y="451152"/>
                      <a:pt x="580465" y="450207"/>
                    </a:cubicBezTo>
                    <a:cubicBezTo>
                      <a:pt x="581374" y="449261"/>
                      <a:pt x="582285" y="449261"/>
                      <a:pt x="583194" y="447369"/>
                    </a:cubicBezTo>
                    <a:cubicBezTo>
                      <a:pt x="584104" y="446424"/>
                      <a:pt x="584104" y="446424"/>
                      <a:pt x="585924" y="443586"/>
                    </a:cubicBezTo>
                    <a:cubicBezTo>
                      <a:pt x="586834" y="441694"/>
                      <a:pt x="586834" y="441694"/>
                      <a:pt x="585924" y="439803"/>
                    </a:cubicBezTo>
                    <a:cubicBezTo>
                      <a:pt x="585015" y="438856"/>
                      <a:pt x="585015" y="436965"/>
                      <a:pt x="585924" y="436019"/>
                    </a:cubicBezTo>
                    <a:cubicBezTo>
                      <a:pt x="586834" y="434128"/>
                      <a:pt x="589564" y="437911"/>
                      <a:pt x="590473" y="436965"/>
                    </a:cubicBezTo>
                    <a:cubicBezTo>
                      <a:pt x="592293" y="436019"/>
                      <a:pt x="588654" y="433181"/>
                      <a:pt x="587743" y="432236"/>
                    </a:cubicBezTo>
                    <a:cubicBezTo>
                      <a:pt x="586834" y="432236"/>
                      <a:pt x="585924" y="432236"/>
                      <a:pt x="584104" y="431290"/>
                    </a:cubicBezTo>
                    <a:cubicBezTo>
                      <a:pt x="583194" y="430344"/>
                      <a:pt x="583194" y="429398"/>
                      <a:pt x="582285" y="428452"/>
                    </a:cubicBezTo>
                    <a:cubicBezTo>
                      <a:pt x="579555" y="426560"/>
                      <a:pt x="576825" y="425615"/>
                      <a:pt x="575006" y="423723"/>
                    </a:cubicBezTo>
                    <a:cubicBezTo>
                      <a:pt x="574096" y="421831"/>
                      <a:pt x="573186" y="420885"/>
                      <a:pt x="572276" y="418994"/>
                    </a:cubicBezTo>
                    <a:cubicBezTo>
                      <a:pt x="571366" y="417102"/>
                      <a:pt x="570456" y="416157"/>
                      <a:pt x="569547" y="415210"/>
                    </a:cubicBezTo>
                    <a:cubicBezTo>
                      <a:pt x="568637" y="412372"/>
                      <a:pt x="568637" y="409535"/>
                      <a:pt x="571366" y="409535"/>
                    </a:cubicBezTo>
                    <a:cubicBezTo>
                      <a:pt x="573186" y="410481"/>
                      <a:pt x="574096" y="411427"/>
                      <a:pt x="575006" y="412372"/>
                    </a:cubicBezTo>
                    <a:cubicBezTo>
                      <a:pt x="575916" y="414264"/>
                      <a:pt x="576825" y="416157"/>
                      <a:pt x="578646" y="417102"/>
                    </a:cubicBezTo>
                    <a:cubicBezTo>
                      <a:pt x="580465" y="419940"/>
                      <a:pt x="583194" y="421831"/>
                      <a:pt x="585924" y="422777"/>
                    </a:cubicBezTo>
                    <a:cubicBezTo>
                      <a:pt x="587743" y="423723"/>
                      <a:pt x="590473" y="424668"/>
                      <a:pt x="592293" y="425615"/>
                    </a:cubicBezTo>
                    <a:cubicBezTo>
                      <a:pt x="593203" y="426560"/>
                      <a:pt x="594112" y="427506"/>
                      <a:pt x="595023" y="429398"/>
                    </a:cubicBezTo>
                    <a:cubicBezTo>
                      <a:pt x="595023" y="431290"/>
                      <a:pt x="595023" y="433181"/>
                      <a:pt x="595023" y="436019"/>
                    </a:cubicBezTo>
                    <a:cubicBezTo>
                      <a:pt x="595933" y="437911"/>
                      <a:pt x="596842" y="439803"/>
                      <a:pt x="598662" y="441694"/>
                    </a:cubicBezTo>
                    <a:cubicBezTo>
                      <a:pt x="599572" y="442640"/>
                      <a:pt x="599572" y="442640"/>
                      <a:pt x="600481" y="443586"/>
                    </a:cubicBezTo>
                    <a:cubicBezTo>
                      <a:pt x="601391" y="444531"/>
                      <a:pt x="601391" y="444531"/>
                      <a:pt x="604121" y="448316"/>
                    </a:cubicBezTo>
                    <a:cubicBezTo>
                      <a:pt x="602302" y="448316"/>
                      <a:pt x="602302" y="450207"/>
                      <a:pt x="603211" y="451152"/>
                    </a:cubicBezTo>
                    <a:cubicBezTo>
                      <a:pt x="603211" y="453044"/>
                      <a:pt x="605031" y="453990"/>
                      <a:pt x="606851" y="453990"/>
                    </a:cubicBezTo>
                    <a:cubicBezTo>
                      <a:pt x="608671" y="453990"/>
                      <a:pt x="608671" y="453044"/>
                      <a:pt x="608671" y="452099"/>
                    </a:cubicBezTo>
                    <a:cubicBezTo>
                      <a:pt x="608671" y="449261"/>
                      <a:pt x="609580" y="449261"/>
                      <a:pt x="612310" y="445478"/>
                    </a:cubicBezTo>
                    <a:cubicBezTo>
                      <a:pt x="612310" y="444531"/>
                      <a:pt x="611399" y="443586"/>
                      <a:pt x="612310" y="437911"/>
                    </a:cubicBezTo>
                    <a:cubicBezTo>
                      <a:pt x="613220" y="436965"/>
                      <a:pt x="613220" y="436965"/>
                      <a:pt x="614129" y="436965"/>
                    </a:cubicBezTo>
                    <a:cubicBezTo>
                      <a:pt x="614129" y="436019"/>
                      <a:pt x="614129" y="435073"/>
                      <a:pt x="614129" y="434128"/>
                    </a:cubicBezTo>
                    <a:cubicBezTo>
                      <a:pt x="615040" y="433181"/>
                      <a:pt x="615949" y="433181"/>
                      <a:pt x="616859" y="433181"/>
                    </a:cubicBezTo>
                    <a:cubicBezTo>
                      <a:pt x="617769" y="433181"/>
                      <a:pt x="617769" y="433181"/>
                      <a:pt x="618679" y="433181"/>
                    </a:cubicBezTo>
                    <a:cubicBezTo>
                      <a:pt x="620498" y="434128"/>
                      <a:pt x="620498" y="434128"/>
                      <a:pt x="621408" y="436019"/>
                    </a:cubicBezTo>
                    <a:cubicBezTo>
                      <a:pt x="622318" y="437911"/>
                      <a:pt x="623228" y="439803"/>
                      <a:pt x="623228" y="441694"/>
                    </a:cubicBezTo>
                    <a:cubicBezTo>
                      <a:pt x="623228" y="445478"/>
                      <a:pt x="622318" y="448316"/>
                      <a:pt x="625048" y="452099"/>
                    </a:cubicBezTo>
                    <a:cubicBezTo>
                      <a:pt x="625958" y="453044"/>
                      <a:pt x="627777" y="453044"/>
                      <a:pt x="628688" y="453990"/>
                    </a:cubicBezTo>
                    <a:lnTo>
                      <a:pt x="632327" y="458719"/>
                    </a:lnTo>
                    <a:cubicBezTo>
                      <a:pt x="635057" y="460611"/>
                      <a:pt x="635966" y="456827"/>
                      <a:pt x="638696" y="456827"/>
                    </a:cubicBezTo>
                    <a:cubicBezTo>
                      <a:pt x="641426" y="454936"/>
                      <a:pt x="642335" y="457774"/>
                      <a:pt x="644154" y="458719"/>
                    </a:cubicBezTo>
                    <a:lnTo>
                      <a:pt x="652344" y="457774"/>
                    </a:lnTo>
                    <a:cubicBezTo>
                      <a:pt x="653253" y="456827"/>
                      <a:pt x="655073" y="453044"/>
                      <a:pt x="656893" y="455882"/>
                    </a:cubicBezTo>
                    <a:cubicBezTo>
                      <a:pt x="660532" y="459665"/>
                      <a:pt x="652344" y="467232"/>
                      <a:pt x="653253" y="471962"/>
                    </a:cubicBezTo>
                    <a:cubicBezTo>
                      <a:pt x="653253" y="473853"/>
                      <a:pt x="655073" y="476690"/>
                      <a:pt x="652344" y="478583"/>
                    </a:cubicBezTo>
                    <a:cubicBezTo>
                      <a:pt x="649614" y="479528"/>
                      <a:pt x="645975" y="478583"/>
                      <a:pt x="643245" y="479528"/>
                    </a:cubicBezTo>
                    <a:cubicBezTo>
                      <a:pt x="641426" y="479528"/>
                      <a:pt x="639605" y="480474"/>
                      <a:pt x="637785" y="481420"/>
                    </a:cubicBezTo>
                    <a:cubicBezTo>
                      <a:pt x="635057" y="483311"/>
                      <a:pt x="633236" y="482366"/>
                      <a:pt x="630507" y="481420"/>
                    </a:cubicBezTo>
                    <a:cubicBezTo>
                      <a:pt x="629597" y="480474"/>
                      <a:pt x="628688" y="480474"/>
                      <a:pt x="627777" y="480474"/>
                    </a:cubicBezTo>
                    <a:cubicBezTo>
                      <a:pt x="626867" y="480474"/>
                      <a:pt x="626867" y="481420"/>
                      <a:pt x="625958" y="481420"/>
                    </a:cubicBezTo>
                    <a:cubicBezTo>
                      <a:pt x="625048" y="482366"/>
                      <a:pt x="625048" y="481420"/>
                      <a:pt x="623228" y="481420"/>
                    </a:cubicBezTo>
                    <a:cubicBezTo>
                      <a:pt x="619589" y="481420"/>
                      <a:pt x="615949" y="482366"/>
                      <a:pt x="612310" y="479528"/>
                    </a:cubicBezTo>
                    <a:cubicBezTo>
                      <a:pt x="609580" y="476690"/>
                      <a:pt x="606851" y="473853"/>
                      <a:pt x="603211" y="473853"/>
                    </a:cubicBezTo>
                    <a:cubicBezTo>
                      <a:pt x="600481" y="474799"/>
                      <a:pt x="597752" y="475745"/>
                      <a:pt x="596842" y="479528"/>
                    </a:cubicBezTo>
                    <a:cubicBezTo>
                      <a:pt x="596842" y="481420"/>
                      <a:pt x="597752" y="484258"/>
                      <a:pt x="595023" y="485203"/>
                    </a:cubicBezTo>
                    <a:lnTo>
                      <a:pt x="583353" y="482070"/>
                    </a:lnTo>
                    <a:lnTo>
                      <a:pt x="582235" y="479793"/>
                    </a:lnTo>
                    <a:cubicBezTo>
                      <a:pt x="582235" y="478838"/>
                      <a:pt x="581298" y="478838"/>
                      <a:pt x="579423" y="475973"/>
                    </a:cubicBezTo>
                    <a:cubicBezTo>
                      <a:pt x="578486" y="475019"/>
                      <a:pt x="578486" y="474063"/>
                      <a:pt x="577549" y="473109"/>
                    </a:cubicBezTo>
                    <a:cubicBezTo>
                      <a:pt x="577549" y="472154"/>
                      <a:pt x="576611" y="471200"/>
                      <a:pt x="575674" y="471200"/>
                    </a:cubicBezTo>
                    <a:cubicBezTo>
                      <a:pt x="575674" y="470245"/>
                      <a:pt x="575674" y="469289"/>
                      <a:pt x="574737" y="469289"/>
                    </a:cubicBezTo>
                    <a:cubicBezTo>
                      <a:pt x="574737" y="468335"/>
                      <a:pt x="573800" y="468335"/>
                      <a:pt x="572863" y="467380"/>
                    </a:cubicBezTo>
                    <a:cubicBezTo>
                      <a:pt x="572863" y="466426"/>
                      <a:pt x="572863" y="466426"/>
                      <a:pt x="573800" y="465471"/>
                    </a:cubicBezTo>
                    <a:cubicBezTo>
                      <a:pt x="573800" y="464515"/>
                      <a:pt x="573800" y="464515"/>
                      <a:pt x="573800" y="463561"/>
                    </a:cubicBezTo>
                    <a:cubicBezTo>
                      <a:pt x="573800" y="462606"/>
                      <a:pt x="574737" y="462606"/>
                      <a:pt x="576611" y="459742"/>
                    </a:cubicBezTo>
                    <a:cubicBezTo>
                      <a:pt x="577549" y="458787"/>
                      <a:pt x="577549" y="456878"/>
                      <a:pt x="576611" y="455922"/>
                    </a:cubicBezTo>
                    <a:cubicBezTo>
                      <a:pt x="575674" y="455922"/>
                      <a:pt x="575674" y="455922"/>
                      <a:pt x="570988" y="452104"/>
                    </a:cubicBezTo>
                    <a:cubicBezTo>
                      <a:pt x="570988" y="450194"/>
                      <a:pt x="570051" y="450194"/>
                      <a:pt x="569114" y="450194"/>
                    </a:cubicBezTo>
                    <a:cubicBezTo>
                      <a:pt x="568176" y="451148"/>
                      <a:pt x="567239" y="451148"/>
                      <a:pt x="566302" y="451148"/>
                    </a:cubicBezTo>
                    <a:cubicBezTo>
                      <a:pt x="565365" y="451148"/>
                      <a:pt x="565365" y="452104"/>
                      <a:pt x="565365" y="453059"/>
                    </a:cubicBezTo>
                    <a:cubicBezTo>
                      <a:pt x="565365" y="454013"/>
                      <a:pt x="564428" y="453059"/>
                      <a:pt x="564428" y="454013"/>
                    </a:cubicBezTo>
                    <a:cubicBezTo>
                      <a:pt x="563490" y="454968"/>
                      <a:pt x="564428" y="454968"/>
                      <a:pt x="562553" y="456878"/>
                    </a:cubicBezTo>
                    <a:cubicBezTo>
                      <a:pt x="562477" y="456955"/>
                      <a:pt x="562413" y="457033"/>
                      <a:pt x="562498" y="457213"/>
                    </a:cubicBezTo>
                    <a:cubicBezTo>
                      <a:pt x="563703" y="455219"/>
                      <a:pt x="563215" y="453385"/>
                      <a:pt x="561357" y="452099"/>
                    </a:cubicBezTo>
                    <a:cubicBezTo>
                      <a:pt x="557718" y="451152"/>
                      <a:pt x="553169" y="451152"/>
                      <a:pt x="550440" y="453044"/>
                    </a:cubicBezTo>
                    <a:cubicBezTo>
                      <a:pt x="545891" y="453990"/>
                      <a:pt x="541341" y="454936"/>
                      <a:pt x="536792" y="453990"/>
                    </a:cubicBezTo>
                    <a:cubicBezTo>
                      <a:pt x="532243" y="453990"/>
                      <a:pt x="529513" y="454936"/>
                      <a:pt x="525874" y="457774"/>
                    </a:cubicBezTo>
                    <a:cubicBezTo>
                      <a:pt x="521324" y="460611"/>
                      <a:pt x="518595" y="463449"/>
                      <a:pt x="514045" y="461557"/>
                    </a:cubicBezTo>
                    <a:cubicBezTo>
                      <a:pt x="511316" y="460611"/>
                      <a:pt x="511316" y="461557"/>
                      <a:pt x="508587" y="461557"/>
                    </a:cubicBezTo>
                    <a:cubicBezTo>
                      <a:pt x="506767" y="461557"/>
                      <a:pt x="505857" y="458719"/>
                      <a:pt x="504037" y="458719"/>
                    </a:cubicBezTo>
                    <a:cubicBezTo>
                      <a:pt x="498578" y="459665"/>
                      <a:pt x="501307" y="464395"/>
                      <a:pt x="500398" y="467232"/>
                    </a:cubicBezTo>
                    <a:cubicBezTo>
                      <a:pt x="499488" y="470070"/>
                      <a:pt x="494938" y="470070"/>
                      <a:pt x="493119" y="471962"/>
                    </a:cubicBezTo>
                    <a:cubicBezTo>
                      <a:pt x="489480" y="475745"/>
                      <a:pt x="488570" y="482366"/>
                      <a:pt x="488570" y="487095"/>
                    </a:cubicBezTo>
                    <a:cubicBezTo>
                      <a:pt x="488570" y="491824"/>
                      <a:pt x="486750" y="495608"/>
                      <a:pt x="484020" y="498446"/>
                    </a:cubicBezTo>
                    <a:cubicBezTo>
                      <a:pt x="479471" y="502229"/>
                      <a:pt x="475832" y="503174"/>
                      <a:pt x="474012" y="507904"/>
                    </a:cubicBezTo>
                    <a:cubicBezTo>
                      <a:pt x="472193" y="511687"/>
                      <a:pt x="472193" y="514525"/>
                      <a:pt x="468553" y="517362"/>
                    </a:cubicBezTo>
                    <a:cubicBezTo>
                      <a:pt x="466733" y="519254"/>
                      <a:pt x="465823" y="520200"/>
                      <a:pt x="464913" y="522092"/>
                    </a:cubicBezTo>
                    <a:cubicBezTo>
                      <a:pt x="464913" y="526821"/>
                      <a:pt x="462184" y="529658"/>
                      <a:pt x="464003" y="533441"/>
                    </a:cubicBezTo>
                    <a:cubicBezTo>
                      <a:pt x="465823" y="535333"/>
                      <a:pt x="464913" y="538171"/>
                      <a:pt x="465823" y="540063"/>
                    </a:cubicBezTo>
                    <a:cubicBezTo>
                      <a:pt x="465823" y="541954"/>
                      <a:pt x="466733" y="543846"/>
                      <a:pt x="466733" y="546684"/>
                    </a:cubicBezTo>
                    <a:cubicBezTo>
                      <a:pt x="466733" y="549521"/>
                      <a:pt x="464913" y="551413"/>
                      <a:pt x="464003" y="554251"/>
                    </a:cubicBezTo>
                    <a:lnTo>
                      <a:pt x="463879" y="555799"/>
                    </a:lnTo>
                    <a:lnTo>
                      <a:pt x="462589" y="554469"/>
                    </a:lnTo>
                    <a:cubicBezTo>
                      <a:pt x="459382" y="554469"/>
                      <a:pt x="456174" y="555572"/>
                      <a:pt x="454035" y="557777"/>
                    </a:cubicBezTo>
                    <a:cubicBezTo>
                      <a:pt x="451897" y="558880"/>
                      <a:pt x="448689" y="557777"/>
                      <a:pt x="446550" y="558880"/>
                    </a:cubicBezTo>
                    <a:cubicBezTo>
                      <a:pt x="442273" y="559983"/>
                      <a:pt x="445481" y="565498"/>
                      <a:pt x="444412" y="568807"/>
                    </a:cubicBezTo>
                    <a:cubicBezTo>
                      <a:pt x="444412" y="569910"/>
                      <a:pt x="443343" y="569910"/>
                      <a:pt x="443343" y="571013"/>
                    </a:cubicBezTo>
                    <a:cubicBezTo>
                      <a:pt x="443610" y="571288"/>
                      <a:pt x="443810" y="571495"/>
                      <a:pt x="443844" y="572357"/>
                    </a:cubicBezTo>
                    <a:lnTo>
                      <a:pt x="443343" y="577630"/>
                    </a:lnTo>
                    <a:lnTo>
                      <a:pt x="439066" y="582041"/>
                    </a:lnTo>
                    <a:cubicBezTo>
                      <a:pt x="439066" y="585350"/>
                      <a:pt x="443343" y="585350"/>
                      <a:pt x="444412" y="587556"/>
                    </a:cubicBezTo>
                    <a:cubicBezTo>
                      <a:pt x="445481" y="588658"/>
                      <a:pt x="445481" y="589761"/>
                      <a:pt x="446550" y="591967"/>
                    </a:cubicBezTo>
                    <a:lnTo>
                      <a:pt x="448689" y="597482"/>
                    </a:lnTo>
                    <a:lnTo>
                      <a:pt x="448689" y="604100"/>
                    </a:lnTo>
                    <a:lnTo>
                      <a:pt x="445481" y="609614"/>
                    </a:lnTo>
                    <a:cubicBezTo>
                      <a:pt x="443343" y="610717"/>
                      <a:pt x="441204" y="611820"/>
                      <a:pt x="440135" y="614025"/>
                    </a:cubicBezTo>
                    <a:cubicBezTo>
                      <a:pt x="437997" y="616231"/>
                      <a:pt x="439066" y="619540"/>
                      <a:pt x="440135" y="621745"/>
                    </a:cubicBezTo>
                    <a:lnTo>
                      <a:pt x="439066" y="628363"/>
                    </a:lnTo>
                    <a:cubicBezTo>
                      <a:pt x="436928" y="630569"/>
                      <a:pt x="433720" y="631672"/>
                      <a:pt x="431582" y="630569"/>
                    </a:cubicBezTo>
                    <a:lnTo>
                      <a:pt x="427305" y="622848"/>
                    </a:lnTo>
                    <a:lnTo>
                      <a:pt x="425166" y="611820"/>
                    </a:lnTo>
                    <a:cubicBezTo>
                      <a:pt x="423028" y="609614"/>
                      <a:pt x="418751" y="609614"/>
                      <a:pt x="415543" y="608511"/>
                    </a:cubicBezTo>
                    <a:cubicBezTo>
                      <a:pt x="411266" y="608511"/>
                      <a:pt x="408058" y="605202"/>
                      <a:pt x="404851" y="602997"/>
                    </a:cubicBezTo>
                    <a:cubicBezTo>
                      <a:pt x="402712" y="601894"/>
                      <a:pt x="401644" y="599688"/>
                      <a:pt x="399505" y="599688"/>
                    </a:cubicBezTo>
                    <a:cubicBezTo>
                      <a:pt x="397367" y="598585"/>
                      <a:pt x="394159" y="597482"/>
                      <a:pt x="392020" y="597482"/>
                    </a:cubicBezTo>
                    <a:cubicBezTo>
                      <a:pt x="386674" y="596380"/>
                      <a:pt x="380259" y="591967"/>
                      <a:pt x="379189" y="586453"/>
                    </a:cubicBezTo>
                    <a:cubicBezTo>
                      <a:pt x="378120" y="583144"/>
                      <a:pt x="375982" y="580938"/>
                      <a:pt x="373843" y="577630"/>
                    </a:cubicBezTo>
                    <a:cubicBezTo>
                      <a:pt x="372774" y="573218"/>
                      <a:pt x="373843" y="569910"/>
                      <a:pt x="375982" y="566601"/>
                    </a:cubicBezTo>
                    <a:cubicBezTo>
                      <a:pt x="378120" y="563292"/>
                      <a:pt x="379189" y="562189"/>
                      <a:pt x="381328" y="561086"/>
                    </a:cubicBezTo>
                    <a:cubicBezTo>
                      <a:pt x="383466" y="559983"/>
                      <a:pt x="384536" y="557777"/>
                      <a:pt x="386674" y="556675"/>
                    </a:cubicBezTo>
                    <a:cubicBezTo>
                      <a:pt x="387743" y="554469"/>
                      <a:pt x="387743" y="552263"/>
                      <a:pt x="388813" y="551160"/>
                    </a:cubicBezTo>
                    <a:cubicBezTo>
                      <a:pt x="389882" y="550057"/>
                      <a:pt x="390951" y="550057"/>
                      <a:pt x="392020" y="548955"/>
                    </a:cubicBezTo>
                    <a:cubicBezTo>
                      <a:pt x="394159" y="547852"/>
                      <a:pt x="397367" y="546749"/>
                      <a:pt x="400575" y="545646"/>
                    </a:cubicBezTo>
                    <a:cubicBezTo>
                      <a:pt x="400841" y="545370"/>
                      <a:pt x="401109" y="545163"/>
                      <a:pt x="401309" y="544302"/>
                    </a:cubicBezTo>
                    <a:lnTo>
                      <a:pt x="401644" y="539029"/>
                    </a:lnTo>
                    <a:cubicBezTo>
                      <a:pt x="399505" y="537926"/>
                      <a:pt x="398436" y="537926"/>
                      <a:pt x="396298" y="537926"/>
                    </a:cubicBezTo>
                    <a:cubicBezTo>
                      <a:pt x="395228" y="537926"/>
                      <a:pt x="390951" y="537926"/>
                      <a:pt x="392020" y="534617"/>
                    </a:cubicBezTo>
                    <a:lnTo>
                      <a:pt x="399505" y="533514"/>
                    </a:lnTo>
                    <a:cubicBezTo>
                      <a:pt x="400575" y="534617"/>
                      <a:pt x="402712" y="535720"/>
                      <a:pt x="404851" y="535720"/>
                    </a:cubicBezTo>
                    <a:cubicBezTo>
                      <a:pt x="408058" y="534617"/>
                      <a:pt x="406989" y="530205"/>
                      <a:pt x="410197" y="529102"/>
                    </a:cubicBezTo>
                    <a:cubicBezTo>
                      <a:pt x="412335" y="529102"/>
                      <a:pt x="412335" y="529102"/>
                      <a:pt x="414474" y="530205"/>
                    </a:cubicBezTo>
                    <a:lnTo>
                      <a:pt x="423028" y="526896"/>
                    </a:lnTo>
                    <a:cubicBezTo>
                      <a:pt x="426236" y="525794"/>
                      <a:pt x="428374" y="524691"/>
                      <a:pt x="431582" y="524691"/>
                    </a:cubicBezTo>
                    <a:cubicBezTo>
                      <a:pt x="433720" y="523588"/>
                      <a:pt x="434790" y="522485"/>
                      <a:pt x="433720" y="520279"/>
                    </a:cubicBezTo>
                    <a:cubicBezTo>
                      <a:pt x="433720" y="516971"/>
                      <a:pt x="431582" y="516971"/>
                      <a:pt x="429443" y="512559"/>
                    </a:cubicBezTo>
                    <a:cubicBezTo>
                      <a:pt x="429443" y="510354"/>
                      <a:pt x="428374" y="509251"/>
                      <a:pt x="429443" y="508148"/>
                    </a:cubicBezTo>
                    <a:cubicBezTo>
                      <a:pt x="429443" y="507596"/>
                      <a:pt x="429710" y="507045"/>
                      <a:pt x="426236" y="502633"/>
                    </a:cubicBezTo>
                    <a:cubicBezTo>
                      <a:pt x="425166" y="501530"/>
                      <a:pt x="425166" y="500427"/>
                      <a:pt x="423028" y="500427"/>
                    </a:cubicBezTo>
                    <a:cubicBezTo>
                      <a:pt x="420889" y="499324"/>
                      <a:pt x="418751" y="499324"/>
                      <a:pt x="416612" y="500427"/>
                    </a:cubicBezTo>
                    <a:cubicBezTo>
                      <a:pt x="414474" y="500427"/>
                      <a:pt x="413405" y="501530"/>
                      <a:pt x="414474" y="503736"/>
                    </a:cubicBezTo>
                    <a:cubicBezTo>
                      <a:pt x="414474" y="504839"/>
                      <a:pt x="417682" y="505942"/>
                      <a:pt x="414474" y="508148"/>
                    </a:cubicBezTo>
                    <a:cubicBezTo>
                      <a:pt x="413405" y="508148"/>
                      <a:pt x="413405" y="509251"/>
                      <a:pt x="412335" y="510354"/>
                    </a:cubicBezTo>
                    <a:cubicBezTo>
                      <a:pt x="412335" y="511456"/>
                      <a:pt x="413405" y="512559"/>
                      <a:pt x="412335" y="513662"/>
                    </a:cubicBezTo>
                    <a:cubicBezTo>
                      <a:pt x="412335" y="514765"/>
                      <a:pt x="412335" y="515868"/>
                      <a:pt x="411266" y="515868"/>
                    </a:cubicBezTo>
                    <a:lnTo>
                      <a:pt x="405920" y="521382"/>
                    </a:lnTo>
                    <a:cubicBezTo>
                      <a:pt x="403781" y="521382"/>
                      <a:pt x="402712" y="520279"/>
                      <a:pt x="402712" y="518074"/>
                    </a:cubicBezTo>
                    <a:cubicBezTo>
                      <a:pt x="400575" y="514765"/>
                      <a:pt x="401644" y="511456"/>
                      <a:pt x="401644" y="508148"/>
                    </a:cubicBezTo>
                    <a:cubicBezTo>
                      <a:pt x="401644" y="505942"/>
                      <a:pt x="399505" y="502633"/>
                      <a:pt x="397367" y="504839"/>
                    </a:cubicBezTo>
                    <a:cubicBezTo>
                      <a:pt x="395228" y="505942"/>
                      <a:pt x="397367" y="513662"/>
                      <a:pt x="393090" y="511456"/>
                    </a:cubicBezTo>
                    <a:cubicBezTo>
                      <a:pt x="392020" y="510354"/>
                      <a:pt x="392020" y="509251"/>
                      <a:pt x="390951" y="508148"/>
                    </a:cubicBezTo>
                    <a:cubicBezTo>
                      <a:pt x="390951" y="507045"/>
                      <a:pt x="390951" y="506217"/>
                      <a:pt x="390283" y="504563"/>
                    </a:cubicBezTo>
                    <a:lnTo>
                      <a:pt x="386674" y="493810"/>
                    </a:lnTo>
                    <a:cubicBezTo>
                      <a:pt x="387743" y="492707"/>
                      <a:pt x="387743" y="491604"/>
                      <a:pt x="386674" y="490501"/>
                    </a:cubicBezTo>
                    <a:cubicBezTo>
                      <a:pt x="385605" y="489398"/>
                      <a:pt x="383466" y="489398"/>
                      <a:pt x="381328" y="488295"/>
                    </a:cubicBezTo>
                    <a:cubicBezTo>
                      <a:pt x="380259" y="487193"/>
                      <a:pt x="379189" y="486090"/>
                      <a:pt x="377051" y="484987"/>
                    </a:cubicBezTo>
                    <a:lnTo>
                      <a:pt x="375982" y="477267"/>
                    </a:lnTo>
                    <a:lnTo>
                      <a:pt x="383466" y="472855"/>
                    </a:lnTo>
                    <a:cubicBezTo>
                      <a:pt x="384536" y="472855"/>
                      <a:pt x="385605" y="473958"/>
                      <a:pt x="387743" y="472855"/>
                    </a:cubicBezTo>
                    <a:cubicBezTo>
                      <a:pt x="389882" y="471751"/>
                      <a:pt x="392020" y="468443"/>
                      <a:pt x="389882" y="466237"/>
                    </a:cubicBezTo>
                    <a:cubicBezTo>
                      <a:pt x="388813" y="464031"/>
                      <a:pt x="385605" y="462929"/>
                      <a:pt x="383466" y="461826"/>
                    </a:cubicBezTo>
                    <a:lnTo>
                      <a:pt x="374912" y="461826"/>
                    </a:lnTo>
                    <a:cubicBezTo>
                      <a:pt x="373843" y="461826"/>
                      <a:pt x="372774" y="462929"/>
                      <a:pt x="371705" y="462929"/>
                    </a:cubicBezTo>
                    <a:lnTo>
                      <a:pt x="371238" y="463089"/>
                    </a:lnTo>
                    <a:cubicBezTo>
                      <a:pt x="368709" y="461707"/>
                      <a:pt x="366579" y="458899"/>
                      <a:pt x="367938" y="456091"/>
                    </a:cubicBezTo>
                    <a:lnTo>
                      <a:pt x="376286" y="457049"/>
                    </a:lnTo>
                    <a:cubicBezTo>
                      <a:pt x="378140" y="458964"/>
                      <a:pt x="380923" y="461836"/>
                      <a:pt x="383705" y="461836"/>
                    </a:cubicBezTo>
                    <a:cubicBezTo>
                      <a:pt x="387415" y="461836"/>
                      <a:pt x="390197" y="458006"/>
                      <a:pt x="391124" y="454177"/>
                    </a:cubicBezTo>
                    <a:cubicBezTo>
                      <a:pt x="392979" y="450347"/>
                      <a:pt x="390197" y="448432"/>
                      <a:pt x="386487" y="448432"/>
                    </a:cubicBezTo>
                    <a:cubicBezTo>
                      <a:pt x="383705" y="448432"/>
                      <a:pt x="380923" y="448432"/>
                      <a:pt x="377213" y="446518"/>
                    </a:cubicBezTo>
                    <a:cubicBezTo>
                      <a:pt x="374431" y="445560"/>
                      <a:pt x="371648" y="444602"/>
                      <a:pt x="368867" y="442688"/>
                    </a:cubicBezTo>
                    <a:cubicBezTo>
                      <a:pt x="366084" y="438858"/>
                      <a:pt x="365157" y="434071"/>
                      <a:pt x="363302" y="430241"/>
                    </a:cubicBezTo>
                    <a:cubicBezTo>
                      <a:pt x="362374" y="427368"/>
                      <a:pt x="360520" y="424496"/>
                      <a:pt x="358665" y="422581"/>
                    </a:cubicBezTo>
                    <a:cubicBezTo>
                      <a:pt x="356810" y="421625"/>
                      <a:pt x="354955" y="420667"/>
                      <a:pt x="353101" y="420667"/>
                    </a:cubicBezTo>
                    <a:cubicBezTo>
                      <a:pt x="352173" y="419709"/>
                      <a:pt x="351245" y="419709"/>
                      <a:pt x="349391" y="418752"/>
                    </a:cubicBezTo>
                    <a:cubicBezTo>
                      <a:pt x="347536" y="417795"/>
                      <a:pt x="346609" y="415880"/>
                      <a:pt x="344753" y="413008"/>
                    </a:cubicBezTo>
                    <a:cubicBezTo>
                      <a:pt x="342899" y="411092"/>
                      <a:pt x="340116" y="411092"/>
                      <a:pt x="338262" y="411092"/>
                    </a:cubicBezTo>
                    <a:cubicBezTo>
                      <a:pt x="334552" y="410135"/>
                      <a:pt x="324350" y="410135"/>
                      <a:pt x="328060" y="404391"/>
                    </a:cubicBezTo>
                    <a:cubicBezTo>
                      <a:pt x="328987" y="403433"/>
                      <a:pt x="329915" y="402475"/>
                      <a:pt x="329915" y="401518"/>
                    </a:cubicBezTo>
                    <a:cubicBezTo>
                      <a:pt x="329915" y="398646"/>
                      <a:pt x="326206" y="399603"/>
                      <a:pt x="324350" y="399603"/>
                    </a:cubicBezTo>
                    <a:cubicBezTo>
                      <a:pt x="322496" y="400560"/>
                      <a:pt x="320641" y="401518"/>
                      <a:pt x="318786" y="401518"/>
                    </a:cubicBezTo>
                    <a:cubicBezTo>
                      <a:pt x="316931" y="401518"/>
                      <a:pt x="316004" y="401518"/>
                      <a:pt x="314149" y="401518"/>
                    </a:cubicBezTo>
                    <a:cubicBezTo>
                      <a:pt x="310440" y="401518"/>
                      <a:pt x="305802" y="401518"/>
                      <a:pt x="303948" y="405347"/>
                    </a:cubicBezTo>
                    <a:lnTo>
                      <a:pt x="304875" y="412050"/>
                    </a:lnTo>
                    <a:lnTo>
                      <a:pt x="304875" y="417795"/>
                    </a:lnTo>
                    <a:lnTo>
                      <a:pt x="300238" y="415880"/>
                    </a:lnTo>
                    <a:lnTo>
                      <a:pt x="299311" y="410135"/>
                    </a:lnTo>
                    <a:cubicBezTo>
                      <a:pt x="299311" y="407263"/>
                      <a:pt x="301165" y="402475"/>
                      <a:pt x="298383" y="400560"/>
                    </a:cubicBezTo>
                    <a:cubicBezTo>
                      <a:pt x="295601" y="398646"/>
                      <a:pt x="292819" y="401518"/>
                      <a:pt x="291891" y="404391"/>
                    </a:cubicBezTo>
                    <a:cubicBezTo>
                      <a:pt x="290036" y="406305"/>
                      <a:pt x="289109" y="407263"/>
                      <a:pt x="288182" y="410135"/>
                    </a:cubicBezTo>
                    <a:cubicBezTo>
                      <a:pt x="287254" y="412050"/>
                      <a:pt x="285399" y="414922"/>
                      <a:pt x="288182" y="416837"/>
                    </a:cubicBezTo>
                    <a:cubicBezTo>
                      <a:pt x="289109" y="417795"/>
                      <a:pt x="290036" y="417795"/>
                      <a:pt x="290964" y="419709"/>
                    </a:cubicBezTo>
                    <a:cubicBezTo>
                      <a:pt x="291891" y="421625"/>
                      <a:pt x="291891" y="423539"/>
                      <a:pt x="293746" y="425454"/>
                    </a:cubicBezTo>
                    <a:cubicBezTo>
                      <a:pt x="296528" y="427368"/>
                      <a:pt x="298383" y="425454"/>
                      <a:pt x="302092" y="425454"/>
                    </a:cubicBezTo>
                    <a:cubicBezTo>
                      <a:pt x="303020" y="426412"/>
                      <a:pt x="303948" y="426412"/>
                      <a:pt x="304875" y="427368"/>
                    </a:cubicBezTo>
                    <a:cubicBezTo>
                      <a:pt x="305802" y="427368"/>
                      <a:pt x="306730" y="427368"/>
                      <a:pt x="308584" y="428326"/>
                    </a:cubicBezTo>
                    <a:cubicBezTo>
                      <a:pt x="309512" y="428326"/>
                      <a:pt x="310440" y="428326"/>
                      <a:pt x="311367" y="428326"/>
                    </a:cubicBezTo>
                    <a:cubicBezTo>
                      <a:pt x="313221" y="428326"/>
                      <a:pt x="314149" y="429284"/>
                      <a:pt x="316004" y="429284"/>
                    </a:cubicBezTo>
                    <a:cubicBezTo>
                      <a:pt x="317858" y="429284"/>
                      <a:pt x="318786" y="427368"/>
                      <a:pt x="320641" y="426412"/>
                    </a:cubicBezTo>
                    <a:cubicBezTo>
                      <a:pt x="325278" y="425454"/>
                      <a:pt x="329915" y="427368"/>
                      <a:pt x="333625" y="428326"/>
                    </a:cubicBezTo>
                    <a:cubicBezTo>
                      <a:pt x="340116" y="431198"/>
                      <a:pt x="346609" y="437901"/>
                      <a:pt x="347536" y="445560"/>
                    </a:cubicBezTo>
                    <a:cubicBezTo>
                      <a:pt x="348463" y="449390"/>
                      <a:pt x="346609" y="453219"/>
                      <a:pt x="345681" y="461836"/>
                    </a:cubicBezTo>
                    <a:cubicBezTo>
                      <a:pt x="345681" y="463751"/>
                      <a:pt x="343826" y="465666"/>
                      <a:pt x="341972" y="466623"/>
                    </a:cubicBezTo>
                    <a:lnTo>
                      <a:pt x="334552" y="467581"/>
                    </a:lnTo>
                    <a:cubicBezTo>
                      <a:pt x="332697" y="467581"/>
                      <a:pt x="329915" y="466623"/>
                      <a:pt x="328060" y="467581"/>
                    </a:cubicBezTo>
                    <a:lnTo>
                      <a:pt x="329915" y="474283"/>
                    </a:lnTo>
                    <a:cubicBezTo>
                      <a:pt x="333625" y="477155"/>
                      <a:pt x="340116" y="471411"/>
                      <a:pt x="343826" y="474283"/>
                    </a:cubicBezTo>
                    <a:cubicBezTo>
                      <a:pt x="345681" y="475240"/>
                      <a:pt x="346609" y="477155"/>
                      <a:pt x="348463" y="478112"/>
                    </a:cubicBezTo>
                    <a:cubicBezTo>
                      <a:pt x="350318" y="479070"/>
                      <a:pt x="351245" y="480028"/>
                      <a:pt x="352173" y="480028"/>
                    </a:cubicBezTo>
                    <a:cubicBezTo>
                      <a:pt x="354955" y="480985"/>
                      <a:pt x="356810" y="480028"/>
                      <a:pt x="359592" y="480028"/>
                    </a:cubicBezTo>
                    <a:cubicBezTo>
                      <a:pt x="361447" y="480028"/>
                      <a:pt x="364230" y="480028"/>
                      <a:pt x="366084" y="480985"/>
                    </a:cubicBezTo>
                    <a:cubicBezTo>
                      <a:pt x="367011" y="481942"/>
                      <a:pt x="368867" y="481942"/>
                      <a:pt x="369794" y="479070"/>
                    </a:cubicBezTo>
                    <a:cubicBezTo>
                      <a:pt x="367938" y="478112"/>
                      <a:pt x="362374" y="477155"/>
                      <a:pt x="363302" y="474283"/>
                    </a:cubicBezTo>
                    <a:cubicBezTo>
                      <a:pt x="364230" y="472368"/>
                      <a:pt x="366084" y="473325"/>
                      <a:pt x="367938" y="473325"/>
                    </a:cubicBezTo>
                    <a:cubicBezTo>
                      <a:pt x="370635" y="477267"/>
                      <a:pt x="371705" y="477267"/>
                      <a:pt x="371705" y="478370"/>
                    </a:cubicBezTo>
                    <a:cubicBezTo>
                      <a:pt x="372774" y="480575"/>
                      <a:pt x="370635" y="481678"/>
                      <a:pt x="368497" y="487193"/>
                    </a:cubicBezTo>
                    <a:cubicBezTo>
                      <a:pt x="367428" y="488295"/>
                      <a:pt x="367428" y="488295"/>
                      <a:pt x="366358" y="489398"/>
                    </a:cubicBezTo>
                    <a:cubicBezTo>
                      <a:pt x="365289" y="490501"/>
                      <a:pt x="365289" y="491604"/>
                      <a:pt x="365289" y="493810"/>
                    </a:cubicBezTo>
                    <a:cubicBezTo>
                      <a:pt x="364221" y="496015"/>
                      <a:pt x="365289" y="497118"/>
                      <a:pt x="366358" y="498221"/>
                    </a:cubicBezTo>
                    <a:cubicBezTo>
                      <a:pt x="368039" y="499088"/>
                      <a:pt x="369719" y="498593"/>
                      <a:pt x="373418" y="499678"/>
                    </a:cubicBezTo>
                    <a:cubicBezTo>
                      <a:pt x="373410" y="499685"/>
                      <a:pt x="373410" y="499694"/>
                      <a:pt x="373410" y="499702"/>
                    </a:cubicBezTo>
                    <a:cubicBezTo>
                      <a:pt x="372476" y="504503"/>
                      <a:pt x="365936" y="507383"/>
                      <a:pt x="365936" y="511224"/>
                    </a:cubicBezTo>
                    <a:lnTo>
                      <a:pt x="370609" y="514586"/>
                    </a:lnTo>
                    <a:lnTo>
                      <a:pt x="368497" y="515868"/>
                    </a:lnTo>
                    <a:lnTo>
                      <a:pt x="365289" y="521382"/>
                    </a:lnTo>
                    <a:cubicBezTo>
                      <a:pt x="362082" y="518074"/>
                      <a:pt x="364221" y="512559"/>
                      <a:pt x="359944" y="511456"/>
                    </a:cubicBezTo>
                    <a:cubicBezTo>
                      <a:pt x="357805" y="511456"/>
                      <a:pt x="356736" y="512559"/>
                      <a:pt x="356736" y="514765"/>
                    </a:cubicBezTo>
                    <a:cubicBezTo>
                      <a:pt x="355667" y="516971"/>
                      <a:pt x="353528" y="519176"/>
                      <a:pt x="350321" y="518074"/>
                    </a:cubicBezTo>
                    <a:cubicBezTo>
                      <a:pt x="348182" y="518074"/>
                      <a:pt x="347113" y="516971"/>
                      <a:pt x="341766" y="516971"/>
                    </a:cubicBezTo>
                    <a:lnTo>
                      <a:pt x="337489" y="513662"/>
                    </a:lnTo>
                    <a:cubicBezTo>
                      <a:pt x="336420" y="512559"/>
                      <a:pt x="335351" y="512559"/>
                      <a:pt x="333212" y="513662"/>
                    </a:cubicBezTo>
                    <a:cubicBezTo>
                      <a:pt x="330005" y="513662"/>
                      <a:pt x="328935" y="511456"/>
                      <a:pt x="325729" y="509251"/>
                    </a:cubicBezTo>
                    <a:cubicBezTo>
                      <a:pt x="324659" y="508148"/>
                      <a:pt x="322521" y="508148"/>
                      <a:pt x="320382" y="508148"/>
                    </a:cubicBezTo>
                    <a:cubicBezTo>
                      <a:pt x="318244" y="508148"/>
                      <a:pt x="310759" y="507045"/>
                      <a:pt x="312898" y="511456"/>
                    </a:cubicBezTo>
                    <a:cubicBezTo>
                      <a:pt x="312898" y="513662"/>
                      <a:pt x="315036" y="512559"/>
                      <a:pt x="318244" y="514765"/>
                    </a:cubicBezTo>
                    <a:cubicBezTo>
                      <a:pt x="317175" y="515868"/>
                      <a:pt x="315036" y="515868"/>
                      <a:pt x="313967" y="516971"/>
                    </a:cubicBezTo>
                    <a:lnTo>
                      <a:pt x="310759" y="524691"/>
                    </a:lnTo>
                    <a:cubicBezTo>
                      <a:pt x="308621" y="522485"/>
                      <a:pt x="309690" y="520279"/>
                      <a:pt x="308621" y="518074"/>
                    </a:cubicBezTo>
                    <a:cubicBezTo>
                      <a:pt x="307551" y="515868"/>
                      <a:pt x="305413" y="515868"/>
                      <a:pt x="303274" y="514765"/>
                    </a:cubicBezTo>
                    <a:cubicBezTo>
                      <a:pt x="301136" y="514765"/>
                      <a:pt x="298997" y="515868"/>
                      <a:pt x="296859" y="515868"/>
                    </a:cubicBezTo>
                    <a:cubicBezTo>
                      <a:pt x="295790" y="516971"/>
                      <a:pt x="294720" y="516971"/>
                      <a:pt x="292582" y="516971"/>
                    </a:cubicBezTo>
                    <a:cubicBezTo>
                      <a:pt x="292047" y="516971"/>
                      <a:pt x="291512" y="516971"/>
                      <a:pt x="290845" y="516282"/>
                    </a:cubicBezTo>
                    <a:lnTo>
                      <a:pt x="288306" y="511456"/>
                    </a:lnTo>
                    <a:cubicBezTo>
                      <a:pt x="287236" y="509251"/>
                      <a:pt x="286167" y="508148"/>
                      <a:pt x="285098" y="508148"/>
                    </a:cubicBezTo>
                    <a:cubicBezTo>
                      <a:pt x="282959" y="508148"/>
                      <a:pt x="279752" y="509251"/>
                      <a:pt x="277613" y="508148"/>
                    </a:cubicBezTo>
                    <a:cubicBezTo>
                      <a:pt x="275475" y="508148"/>
                      <a:pt x="273336" y="507045"/>
                      <a:pt x="271198" y="505942"/>
                    </a:cubicBezTo>
                    <a:cubicBezTo>
                      <a:pt x="267990" y="502633"/>
                      <a:pt x="262644" y="499324"/>
                      <a:pt x="258367" y="499324"/>
                    </a:cubicBezTo>
                    <a:cubicBezTo>
                      <a:pt x="255159" y="499324"/>
                      <a:pt x="254091" y="500427"/>
                      <a:pt x="251952" y="501530"/>
                    </a:cubicBezTo>
                    <a:cubicBezTo>
                      <a:pt x="249814" y="501530"/>
                      <a:pt x="249814" y="500427"/>
                      <a:pt x="249814" y="498221"/>
                    </a:cubicBezTo>
                    <a:cubicBezTo>
                      <a:pt x="248744" y="497118"/>
                      <a:pt x="248744" y="496015"/>
                      <a:pt x="247675" y="497118"/>
                    </a:cubicBezTo>
                    <a:cubicBezTo>
                      <a:pt x="246606" y="497118"/>
                      <a:pt x="246606" y="498221"/>
                      <a:pt x="246606" y="499324"/>
                    </a:cubicBezTo>
                    <a:cubicBezTo>
                      <a:pt x="246606" y="500427"/>
                      <a:pt x="246606" y="501255"/>
                      <a:pt x="245803" y="501806"/>
                    </a:cubicBezTo>
                    <a:lnTo>
                      <a:pt x="240190" y="502633"/>
                    </a:lnTo>
                    <a:cubicBezTo>
                      <a:pt x="238052" y="501530"/>
                      <a:pt x="238052" y="498221"/>
                      <a:pt x="236982" y="496015"/>
                    </a:cubicBezTo>
                    <a:cubicBezTo>
                      <a:pt x="236982" y="494913"/>
                      <a:pt x="236982" y="493810"/>
                      <a:pt x="236982" y="492707"/>
                    </a:cubicBezTo>
                    <a:cubicBezTo>
                      <a:pt x="235913" y="491604"/>
                      <a:pt x="235913" y="490501"/>
                      <a:pt x="233775" y="489398"/>
                    </a:cubicBezTo>
                    <a:cubicBezTo>
                      <a:pt x="231636" y="488295"/>
                      <a:pt x="229497" y="488295"/>
                      <a:pt x="228428" y="490501"/>
                    </a:cubicBezTo>
                    <a:lnTo>
                      <a:pt x="226290" y="498221"/>
                    </a:lnTo>
                    <a:cubicBezTo>
                      <a:pt x="225220" y="498221"/>
                      <a:pt x="224151" y="498221"/>
                      <a:pt x="223082" y="498221"/>
                    </a:cubicBezTo>
                    <a:cubicBezTo>
                      <a:pt x="222013" y="499324"/>
                      <a:pt x="219874" y="499324"/>
                      <a:pt x="218805" y="501530"/>
                    </a:cubicBezTo>
                    <a:cubicBezTo>
                      <a:pt x="217736" y="502633"/>
                      <a:pt x="217736" y="503736"/>
                      <a:pt x="217736" y="504839"/>
                    </a:cubicBezTo>
                    <a:cubicBezTo>
                      <a:pt x="216667" y="505942"/>
                      <a:pt x="214529" y="505942"/>
                      <a:pt x="213460" y="507045"/>
                    </a:cubicBezTo>
                    <a:cubicBezTo>
                      <a:pt x="212390" y="507045"/>
                      <a:pt x="210252" y="508148"/>
                      <a:pt x="210252" y="504839"/>
                    </a:cubicBezTo>
                    <a:cubicBezTo>
                      <a:pt x="210252" y="502633"/>
                      <a:pt x="212390" y="500427"/>
                      <a:pt x="214529" y="499324"/>
                    </a:cubicBezTo>
                    <a:lnTo>
                      <a:pt x="216667" y="493810"/>
                    </a:lnTo>
                    <a:cubicBezTo>
                      <a:pt x="213460" y="494913"/>
                      <a:pt x="212390" y="498221"/>
                      <a:pt x="209183" y="498221"/>
                    </a:cubicBezTo>
                    <a:cubicBezTo>
                      <a:pt x="207044" y="499324"/>
                      <a:pt x="205975" y="498221"/>
                      <a:pt x="203836" y="498221"/>
                    </a:cubicBezTo>
                    <a:cubicBezTo>
                      <a:pt x="201698" y="498221"/>
                      <a:pt x="200629" y="499324"/>
                      <a:pt x="199559" y="501530"/>
                    </a:cubicBezTo>
                    <a:lnTo>
                      <a:pt x="194213" y="504839"/>
                    </a:lnTo>
                    <a:cubicBezTo>
                      <a:pt x="192075" y="504839"/>
                      <a:pt x="188867" y="502633"/>
                      <a:pt x="186728" y="502633"/>
                    </a:cubicBezTo>
                    <a:cubicBezTo>
                      <a:pt x="185659" y="501530"/>
                      <a:pt x="184590" y="500427"/>
                      <a:pt x="182451" y="500427"/>
                    </a:cubicBezTo>
                    <a:cubicBezTo>
                      <a:pt x="174967" y="498221"/>
                      <a:pt x="167483" y="497118"/>
                      <a:pt x="159998" y="497118"/>
                    </a:cubicBezTo>
                    <a:cubicBezTo>
                      <a:pt x="154652" y="497118"/>
                      <a:pt x="148236" y="496015"/>
                      <a:pt x="142891" y="494913"/>
                    </a:cubicBezTo>
                    <a:cubicBezTo>
                      <a:pt x="137544" y="493810"/>
                      <a:pt x="132198" y="492707"/>
                      <a:pt x="126852" y="491604"/>
                    </a:cubicBezTo>
                    <a:cubicBezTo>
                      <a:pt x="122575" y="490501"/>
                      <a:pt x="118298" y="490501"/>
                      <a:pt x="114021" y="489398"/>
                    </a:cubicBezTo>
                    <a:cubicBezTo>
                      <a:pt x="111882" y="489398"/>
                      <a:pt x="109744" y="489398"/>
                      <a:pt x="107605" y="489398"/>
                    </a:cubicBezTo>
                    <a:cubicBezTo>
                      <a:pt x="104399" y="489398"/>
                      <a:pt x="100122" y="489398"/>
                      <a:pt x="96914" y="490501"/>
                    </a:cubicBezTo>
                    <a:cubicBezTo>
                      <a:pt x="92637" y="492707"/>
                      <a:pt x="88360" y="493810"/>
                      <a:pt x="84083" y="496015"/>
                    </a:cubicBezTo>
                    <a:cubicBezTo>
                      <a:pt x="81944" y="497118"/>
                      <a:pt x="79806" y="500427"/>
                      <a:pt x="78736" y="502633"/>
                    </a:cubicBezTo>
                    <a:cubicBezTo>
                      <a:pt x="77667" y="502633"/>
                      <a:pt x="78736" y="503736"/>
                      <a:pt x="77667" y="504839"/>
                    </a:cubicBezTo>
                    <a:cubicBezTo>
                      <a:pt x="77667" y="508148"/>
                      <a:pt x="72321" y="504839"/>
                      <a:pt x="70182" y="503736"/>
                    </a:cubicBezTo>
                    <a:cubicBezTo>
                      <a:pt x="68045" y="502633"/>
                      <a:pt x="66976" y="502633"/>
                      <a:pt x="64837" y="504839"/>
                    </a:cubicBezTo>
                    <a:cubicBezTo>
                      <a:pt x="62699" y="505942"/>
                      <a:pt x="61629" y="508148"/>
                      <a:pt x="60560" y="510354"/>
                    </a:cubicBezTo>
                    <a:cubicBezTo>
                      <a:pt x="59491" y="516971"/>
                      <a:pt x="63768" y="522485"/>
                      <a:pt x="70182" y="522485"/>
                    </a:cubicBezTo>
                    <a:cubicBezTo>
                      <a:pt x="74459" y="522485"/>
                      <a:pt x="78736" y="519176"/>
                      <a:pt x="84083" y="521382"/>
                    </a:cubicBezTo>
                    <a:cubicBezTo>
                      <a:pt x="86221" y="522485"/>
                      <a:pt x="90498" y="523588"/>
                      <a:pt x="89429" y="526896"/>
                    </a:cubicBezTo>
                    <a:cubicBezTo>
                      <a:pt x="88360" y="529102"/>
                      <a:pt x="86221" y="530205"/>
                      <a:pt x="83013" y="530205"/>
                    </a:cubicBezTo>
                    <a:cubicBezTo>
                      <a:pt x="80875" y="530205"/>
                      <a:pt x="79806" y="527999"/>
                      <a:pt x="73390" y="526896"/>
                    </a:cubicBezTo>
                    <a:cubicBezTo>
                      <a:pt x="72321" y="526896"/>
                      <a:pt x="71252" y="527999"/>
                      <a:pt x="64837" y="529102"/>
                    </a:cubicBezTo>
                    <a:cubicBezTo>
                      <a:pt x="61629" y="529102"/>
                      <a:pt x="61629" y="532411"/>
                      <a:pt x="61629" y="534617"/>
                    </a:cubicBezTo>
                    <a:cubicBezTo>
                      <a:pt x="62699" y="541235"/>
                      <a:pt x="71252" y="539029"/>
                      <a:pt x="80875" y="540132"/>
                    </a:cubicBezTo>
                    <a:cubicBezTo>
                      <a:pt x="81944" y="541235"/>
                      <a:pt x="83013" y="540132"/>
                      <a:pt x="84083" y="540132"/>
                    </a:cubicBezTo>
                    <a:lnTo>
                      <a:pt x="91568" y="542337"/>
                    </a:lnTo>
                    <a:cubicBezTo>
                      <a:pt x="93706" y="544543"/>
                      <a:pt x="91568" y="546749"/>
                      <a:pt x="90498" y="548955"/>
                    </a:cubicBezTo>
                    <a:cubicBezTo>
                      <a:pt x="90231" y="548955"/>
                      <a:pt x="90031" y="549024"/>
                      <a:pt x="89195" y="549196"/>
                    </a:cubicBezTo>
                    <a:lnTo>
                      <a:pt x="84083" y="550057"/>
                    </a:lnTo>
                    <a:cubicBezTo>
                      <a:pt x="83013" y="550057"/>
                      <a:pt x="81944" y="551160"/>
                      <a:pt x="80875" y="551160"/>
                    </a:cubicBezTo>
                    <a:lnTo>
                      <a:pt x="75529" y="551160"/>
                    </a:lnTo>
                    <a:cubicBezTo>
                      <a:pt x="73390" y="552263"/>
                      <a:pt x="75529" y="553366"/>
                      <a:pt x="75529" y="555572"/>
                    </a:cubicBezTo>
                    <a:cubicBezTo>
                      <a:pt x="74459" y="557777"/>
                      <a:pt x="73390" y="556675"/>
                      <a:pt x="71252" y="557777"/>
                    </a:cubicBezTo>
                    <a:cubicBezTo>
                      <a:pt x="70182" y="558880"/>
                      <a:pt x="68045" y="559983"/>
                      <a:pt x="68045" y="562189"/>
                    </a:cubicBezTo>
                    <a:lnTo>
                      <a:pt x="73390" y="569910"/>
                    </a:lnTo>
                    <a:cubicBezTo>
                      <a:pt x="72321" y="573218"/>
                      <a:pt x="74459" y="577630"/>
                      <a:pt x="77667" y="576527"/>
                    </a:cubicBezTo>
                    <a:cubicBezTo>
                      <a:pt x="79806" y="575424"/>
                      <a:pt x="81944" y="571013"/>
                      <a:pt x="83013" y="575424"/>
                    </a:cubicBezTo>
                    <a:cubicBezTo>
                      <a:pt x="84083" y="577630"/>
                      <a:pt x="83013" y="580938"/>
                      <a:pt x="85152" y="582041"/>
                    </a:cubicBezTo>
                    <a:cubicBezTo>
                      <a:pt x="87291" y="584247"/>
                      <a:pt x="88360" y="582041"/>
                      <a:pt x="90498" y="580938"/>
                    </a:cubicBezTo>
                    <a:cubicBezTo>
                      <a:pt x="92637" y="580938"/>
                      <a:pt x="93706" y="582041"/>
                      <a:pt x="96914" y="584247"/>
                    </a:cubicBezTo>
                    <a:cubicBezTo>
                      <a:pt x="99052" y="584247"/>
                      <a:pt x="100122" y="583144"/>
                      <a:pt x="101191" y="582041"/>
                    </a:cubicBezTo>
                    <a:lnTo>
                      <a:pt x="106536" y="582041"/>
                    </a:lnTo>
                    <a:cubicBezTo>
                      <a:pt x="107605" y="583144"/>
                      <a:pt x="107605" y="585350"/>
                      <a:pt x="106536" y="586453"/>
                    </a:cubicBezTo>
                    <a:cubicBezTo>
                      <a:pt x="106536" y="587556"/>
                      <a:pt x="105468" y="587556"/>
                      <a:pt x="104399" y="588658"/>
                    </a:cubicBezTo>
                    <a:cubicBezTo>
                      <a:pt x="103329" y="589761"/>
                      <a:pt x="102260" y="590864"/>
                      <a:pt x="102260" y="591967"/>
                    </a:cubicBezTo>
                    <a:cubicBezTo>
                      <a:pt x="101191" y="596380"/>
                      <a:pt x="99052" y="597482"/>
                      <a:pt x="94775" y="599688"/>
                    </a:cubicBezTo>
                    <a:cubicBezTo>
                      <a:pt x="90498" y="601894"/>
                      <a:pt x="85152" y="604100"/>
                      <a:pt x="81944" y="607408"/>
                    </a:cubicBezTo>
                    <a:cubicBezTo>
                      <a:pt x="79806" y="609614"/>
                      <a:pt x="80875" y="614025"/>
                      <a:pt x="84083" y="612922"/>
                    </a:cubicBezTo>
                    <a:cubicBezTo>
                      <a:pt x="86221" y="612922"/>
                      <a:pt x="86221" y="609614"/>
                      <a:pt x="87291" y="608511"/>
                    </a:cubicBezTo>
                    <a:cubicBezTo>
                      <a:pt x="91568" y="602997"/>
                      <a:pt x="99052" y="601894"/>
                      <a:pt x="104399" y="598585"/>
                    </a:cubicBezTo>
                    <a:cubicBezTo>
                      <a:pt x="105468" y="596380"/>
                      <a:pt x="106536" y="595276"/>
                      <a:pt x="107605" y="594173"/>
                    </a:cubicBezTo>
                    <a:cubicBezTo>
                      <a:pt x="108675" y="590864"/>
                      <a:pt x="111882" y="589761"/>
                      <a:pt x="114021" y="587556"/>
                    </a:cubicBezTo>
                    <a:cubicBezTo>
                      <a:pt x="116159" y="585350"/>
                      <a:pt x="119367" y="583144"/>
                      <a:pt x="119367" y="579836"/>
                    </a:cubicBezTo>
                    <a:cubicBezTo>
                      <a:pt x="119367" y="576527"/>
                      <a:pt x="120436" y="575424"/>
                      <a:pt x="123644" y="574321"/>
                    </a:cubicBezTo>
                    <a:cubicBezTo>
                      <a:pt x="122575" y="572116"/>
                      <a:pt x="124713" y="572116"/>
                      <a:pt x="125783" y="572116"/>
                    </a:cubicBezTo>
                    <a:cubicBezTo>
                      <a:pt x="126852" y="571013"/>
                      <a:pt x="126852" y="569910"/>
                      <a:pt x="127921" y="568807"/>
                    </a:cubicBezTo>
                    <a:cubicBezTo>
                      <a:pt x="127921" y="566601"/>
                      <a:pt x="130060" y="563292"/>
                      <a:pt x="132198" y="565498"/>
                    </a:cubicBezTo>
                    <a:lnTo>
                      <a:pt x="130060" y="572116"/>
                    </a:lnTo>
                    <a:lnTo>
                      <a:pt x="126852" y="579836"/>
                    </a:lnTo>
                    <a:cubicBezTo>
                      <a:pt x="125783" y="583144"/>
                      <a:pt x="130060" y="583144"/>
                      <a:pt x="132198" y="582041"/>
                    </a:cubicBezTo>
                    <a:cubicBezTo>
                      <a:pt x="133267" y="580938"/>
                      <a:pt x="135406" y="579836"/>
                      <a:pt x="136475" y="578733"/>
                    </a:cubicBezTo>
                    <a:cubicBezTo>
                      <a:pt x="138614" y="577630"/>
                      <a:pt x="139683" y="576527"/>
                      <a:pt x="140752" y="575424"/>
                    </a:cubicBezTo>
                    <a:cubicBezTo>
                      <a:pt x="141287" y="574872"/>
                      <a:pt x="141822" y="574597"/>
                      <a:pt x="142489" y="573631"/>
                    </a:cubicBezTo>
                    <a:lnTo>
                      <a:pt x="145028" y="567704"/>
                    </a:lnTo>
                    <a:cubicBezTo>
                      <a:pt x="147167" y="567704"/>
                      <a:pt x="149305" y="566601"/>
                      <a:pt x="151444" y="566601"/>
                    </a:cubicBezTo>
                    <a:cubicBezTo>
                      <a:pt x="155721" y="567704"/>
                      <a:pt x="158929" y="569910"/>
                      <a:pt x="161067" y="573218"/>
                    </a:cubicBezTo>
                    <a:cubicBezTo>
                      <a:pt x="163206" y="576527"/>
                      <a:pt x="166413" y="573218"/>
                      <a:pt x="169621" y="574321"/>
                    </a:cubicBezTo>
                    <a:cubicBezTo>
                      <a:pt x="172829" y="574321"/>
                      <a:pt x="174967" y="576527"/>
                      <a:pt x="178175" y="577630"/>
                    </a:cubicBezTo>
                    <a:cubicBezTo>
                      <a:pt x="180314" y="578733"/>
                      <a:pt x="183520" y="579836"/>
                      <a:pt x="186728" y="580938"/>
                    </a:cubicBezTo>
                    <a:cubicBezTo>
                      <a:pt x="187797" y="583144"/>
                      <a:pt x="189936" y="584247"/>
                      <a:pt x="192075" y="585350"/>
                    </a:cubicBezTo>
                    <a:cubicBezTo>
                      <a:pt x="194213" y="587556"/>
                      <a:pt x="195282" y="590864"/>
                      <a:pt x="197421" y="594173"/>
                    </a:cubicBezTo>
                    <a:cubicBezTo>
                      <a:pt x="198490" y="595276"/>
                      <a:pt x="198490" y="597482"/>
                      <a:pt x="199559" y="598585"/>
                    </a:cubicBezTo>
                    <a:cubicBezTo>
                      <a:pt x="200629" y="598585"/>
                      <a:pt x="200629" y="599688"/>
                      <a:pt x="201698" y="600791"/>
                    </a:cubicBezTo>
                    <a:cubicBezTo>
                      <a:pt x="202767" y="600791"/>
                      <a:pt x="203836" y="601894"/>
                      <a:pt x="205975" y="598585"/>
                    </a:cubicBezTo>
                    <a:cubicBezTo>
                      <a:pt x="204906" y="597482"/>
                      <a:pt x="203836" y="595276"/>
                      <a:pt x="202767" y="594173"/>
                    </a:cubicBezTo>
                    <a:cubicBezTo>
                      <a:pt x="201698" y="593070"/>
                      <a:pt x="200629" y="591967"/>
                      <a:pt x="201698" y="590864"/>
                    </a:cubicBezTo>
                    <a:cubicBezTo>
                      <a:pt x="202767" y="589761"/>
                      <a:pt x="204906" y="589761"/>
                      <a:pt x="205975" y="590864"/>
                    </a:cubicBezTo>
                    <a:cubicBezTo>
                      <a:pt x="207044" y="593070"/>
                      <a:pt x="208113" y="595276"/>
                      <a:pt x="209183" y="596380"/>
                    </a:cubicBezTo>
                    <a:cubicBezTo>
                      <a:pt x="210252" y="599688"/>
                      <a:pt x="211321" y="601894"/>
                      <a:pt x="213460" y="604100"/>
                    </a:cubicBezTo>
                    <a:cubicBezTo>
                      <a:pt x="215598" y="608511"/>
                      <a:pt x="216667" y="614025"/>
                      <a:pt x="218805" y="617334"/>
                    </a:cubicBezTo>
                    <a:cubicBezTo>
                      <a:pt x="222013" y="621745"/>
                      <a:pt x="225220" y="626157"/>
                      <a:pt x="227359" y="630569"/>
                    </a:cubicBezTo>
                    <a:cubicBezTo>
                      <a:pt x="229497" y="633878"/>
                      <a:pt x="230567" y="636083"/>
                      <a:pt x="231636" y="639392"/>
                    </a:cubicBezTo>
                    <a:cubicBezTo>
                      <a:pt x="232705" y="641598"/>
                      <a:pt x="232705" y="643803"/>
                      <a:pt x="233775" y="644906"/>
                    </a:cubicBezTo>
                    <a:cubicBezTo>
                      <a:pt x="235913" y="647112"/>
                      <a:pt x="238052" y="646009"/>
                      <a:pt x="240190" y="644906"/>
                    </a:cubicBezTo>
                    <a:cubicBezTo>
                      <a:pt x="243398" y="642701"/>
                      <a:pt x="250883" y="643803"/>
                      <a:pt x="253021" y="648215"/>
                    </a:cubicBezTo>
                    <a:lnTo>
                      <a:pt x="250883" y="655935"/>
                    </a:lnTo>
                    <a:cubicBezTo>
                      <a:pt x="248744" y="657038"/>
                      <a:pt x="245537" y="655935"/>
                      <a:pt x="243398" y="655935"/>
                    </a:cubicBezTo>
                    <a:lnTo>
                      <a:pt x="240190" y="663656"/>
                    </a:lnTo>
                    <a:cubicBezTo>
                      <a:pt x="240190" y="668067"/>
                      <a:pt x="243398" y="671376"/>
                      <a:pt x="246606" y="673582"/>
                    </a:cubicBezTo>
                    <a:cubicBezTo>
                      <a:pt x="248744" y="675787"/>
                      <a:pt x="249814" y="679096"/>
                      <a:pt x="249814" y="681302"/>
                    </a:cubicBezTo>
                    <a:cubicBezTo>
                      <a:pt x="250883" y="687919"/>
                      <a:pt x="249814" y="694537"/>
                      <a:pt x="248744" y="701154"/>
                    </a:cubicBezTo>
                    <a:cubicBezTo>
                      <a:pt x="248744" y="704463"/>
                      <a:pt x="248744" y="707771"/>
                      <a:pt x="248744" y="711080"/>
                    </a:cubicBezTo>
                    <a:cubicBezTo>
                      <a:pt x="250883" y="715491"/>
                      <a:pt x="253021" y="719904"/>
                      <a:pt x="254091" y="725418"/>
                    </a:cubicBezTo>
                    <a:cubicBezTo>
                      <a:pt x="255159" y="727624"/>
                      <a:pt x="256228" y="729829"/>
                      <a:pt x="257297" y="733138"/>
                    </a:cubicBezTo>
                    <a:cubicBezTo>
                      <a:pt x="258367" y="735344"/>
                      <a:pt x="259436" y="738652"/>
                      <a:pt x="260505" y="740858"/>
                    </a:cubicBezTo>
                    <a:cubicBezTo>
                      <a:pt x="262644" y="744167"/>
                      <a:pt x="265851" y="748578"/>
                      <a:pt x="269059" y="750785"/>
                    </a:cubicBezTo>
                    <a:cubicBezTo>
                      <a:pt x="272267" y="754093"/>
                      <a:pt x="276544" y="755196"/>
                      <a:pt x="279752" y="759608"/>
                    </a:cubicBezTo>
                    <a:cubicBezTo>
                      <a:pt x="280821" y="761813"/>
                      <a:pt x="281890" y="765122"/>
                      <a:pt x="282959" y="767328"/>
                    </a:cubicBezTo>
                    <a:cubicBezTo>
                      <a:pt x="285098" y="770636"/>
                      <a:pt x="287236" y="772842"/>
                      <a:pt x="288306" y="776150"/>
                    </a:cubicBezTo>
                    <a:cubicBezTo>
                      <a:pt x="290444" y="778356"/>
                      <a:pt x="288306" y="780562"/>
                      <a:pt x="288306" y="782769"/>
                    </a:cubicBezTo>
                    <a:cubicBezTo>
                      <a:pt x="287236" y="786077"/>
                      <a:pt x="291512" y="788283"/>
                      <a:pt x="292582" y="789386"/>
                    </a:cubicBezTo>
                    <a:cubicBezTo>
                      <a:pt x="294720" y="791591"/>
                      <a:pt x="296859" y="793797"/>
                      <a:pt x="297928" y="796003"/>
                    </a:cubicBezTo>
                    <a:cubicBezTo>
                      <a:pt x="300067" y="798209"/>
                      <a:pt x="301136" y="801517"/>
                      <a:pt x="305413" y="808134"/>
                    </a:cubicBezTo>
                    <a:lnTo>
                      <a:pt x="305413" y="800414"/>
                    </a:lnTo>
                    <a:cubicBezTo>
                      <a:pt x="304344" y="799311"/>
                      <a:pt x="303274" y="797106"/>
                      <a:pt x="302205" y="794900"/>
                    </a:cubicBezTo>
                    <a:cubicBezTo>
                      <a:pt x="301136" y="793797"/>
                      <a:pt x="300067" y="792694"/>
                      <a:pt x="298997" y="790489"/>
                    </a:cubicBezTo>
                    <a:cubicBezTo>
                      <a:pt x="296859" y="788283"/>
                      <a:pt x="295790" y="786077"/>
                      <a:pt x="294720" y="782769"/>
                    </a:cubicBezTo>
                    <a:cubicBezTo>
                      <a:pt x="293651" y="779459"/>
                      <a:pt x="291512" y="777253"/>
                      <a:pt x="291512" y="773945"/>
                    </a:cubicBezTo>
                    <a:cubicBezTo>
                      <a:pt x="290444" y="771739"/>
                      <a:pt x="290444" y="769533"/>
                      <a:pt x="290444" y="766225"/>
                    </a:cubicBezTo>
                    <a:cubicBezTo>
                      <a:pt x="290444" y="762916"/>
                      <a:pt x="293651" y="761813"/>
                      <a:pt x="296859" y="764019"/>
                    </a:cubicBezTo>
                    <a:cubicBezTo>
                      <a:pt x="298997" y="766225"/>
                      <a:pt x="300067" y="769533"/>
                      <a:pt x="301136" y="771739"/>
                    </a:cubicBezTo>
                    <a:cubicBezTo>
                      <a:pt x="303274" y="773945"/>
                      <a:pt x="305413" y="777253"/>
                      <a:pt x="307551" y="780562"/>
                    </a:cubicBezTo>
                    <a:cubicBezTo>
                      <a:pt x="311828" y="788283"/>
                      <a:pt x="315036" y="796003"/>
                      <a:pt x="319313" y="803723"/>
                    </a:cubicBezTo>
                    <a:lnTo>
                      <a:pt x="323590" y="808134"/>
                    </a:lnTo>
                    <a:cubicBezTo>
                      <a:pt x="324659" y="810340"/>
                      <a:pt x="324659" y="810340"/>
                      <a:pt x="325729" y="812547"/>
                    </a:cubicBezTo>
                    <a:cubicBezTo>
                      <a:pt x="326798" y="814753"/>
                      <a:pt x="327867" y="815855"/>
                      <a:pt x="327867" y="818061"/>
                    </a:cubicBezTo>
                    <a:cubicBezTo>
                      <a:pt x="328935" y="821370"/>
                      <a:pt x="327867" y="824678"/>
                      <a:pt x="327867" y="827987"/>
                    </a:cubicBezTo>
                    <a:lnTo>
                      <a:pt x="332143" y="836810"/>
                    </a:lnTo>
                    <a:cubicBezTo>
                      <a:pt x="334282" y="839015"/>
                      <a:pt x="336420" y="839015"/>
                      <a:pt x="339628" y="840118"/>
                    </a:cubicBezTo>
                    <a:cubicBezTo>
                      <a:pt x="340697" y="841221"/>
                      <a:pt x="341766" y="843428"/>
                      <a:pt x="343905" y="843428"/>
                    </a:cubicBezTo>
                    <a:cubicBezTo>
                      <a:pt x="344974" y="844531"/>
                      <a:pt x="347113" y="843428"/>
                      <a:pt x="348182" y="844531"/>
                    </a:cubicBezTo>
                    <a:cubicBezTo>
                      <a:pt x="349251" y="845634"/>
                      <a:pt x="349251" y="846736"/>
                      <a:pt x="350321" y="846736"/>
                    </a:cubicBezTo>
                    <a:cubicBezTo>
                      <a:pt x="352459" y="848942"/>
                      <a:pt x="353528" y="851148"/>
                      <a:pt x="356736" y="852251"/>
                    </a:cubicBezTo>
                    <a:cubicBezTo>
                      <a:pt x="359944" y="853354"/>
                      <a:pt x="365289" y="853354"/>
                      <a:pt x="368497" y="852251"/>
                    </a:cubicBezTo>
                    <a:cubicBezTo>
                      <a:pt x="371705" y="851148"/>
                      <a:pt x="374912" y="850045"/>
                      <a:pt x="378120" y="851148"/>
                    </a:cubicBezTo>
                    <a:cubicBezTo>
                      <a:pt x="380259" y="852251"/>
                      <a:pt x="381328" y="854456"/>
                      <a:pt x="383466" y="855559"/>
                    </a:cubicBezTo>
                    <a:cubicBezTo>
                      <a:pt x="386674" y="857765"/>
                      <a:pt x="387743" y="862176"/>
                      <a:pt x="390951" y="863279"/>
                    </a:cubicBezTo>
                    <a:cubicBezTo>
                      <a:pt x="392020" y="864382"/>
                      <a:pt x="393090" y="864382"/>
                      <a:pt x="394159" y="864382"/>
                    </a:cubicBezTo>
                    <a:cubicBezTo>
                      <a:pt x="398436" y="865485"/>
                      <a:pt x="400575" y="866588"/>
                      <a:pt x="402712" y="868794"/>
                    </a:cubicBezTo>
                    <a:cubicBezTo>
                      <a:pt x="406989" y="872102"/>
                      <a:pt x="405920" y="878720"/>
                      <a:pt x="408058" y="882029"/>
                    </a:cubicBezTo>
                    <a:cubicBezTo>
                      <a:pt x="410197" y="884235"/>
                      <a:pt x="412335" y="884235"/>
                      <a:pt x="414474" y="885337"/>
                    </a:cubicBezTo>
                    <a:cubicBezTo>
                      <a:pt x="416612" y="886440"/>
                      <a:pt x="416612" y="889749"/>
                      <a:pt x="419820" y="890852"/>
                    </a:cubicBezTo>
                    <a:lnTo>
                      <a:pt x="430513" y="890852"/>
                    </a:lnTo>
                    <a:cubicBezTo>
                      <a:pt x="432651" y="890852"/>
                      <a:pt x="435859" y="889749"/>
                      <a:pt x="442273" y="894160"/>
                    </a:cubicBezTo>
                    <a:cubicBezTo>
                      <a:pt x="443343" y="896366"/>
                      <a:pt x="442273" y="897469"/>
                      <a:pt x="444412" y="899675"/>
                    </a:cubicBezTo>
                    <a:cubicBezTo>
                      <a:pt x="448689" y="902983"/>
                      <a:pt x="446550" y="908498"/>
                      <a:pt x="445481" y="914013"/>
                    </a:cubicBezTo>
                    <a:cubicBezTo>
                      <a:pt x="444412" y="916218"/>
                      <a:pt x="444412" y="918424"/>
                      <a:pt x="444412" y="920630"/>
                    </a:cubicBezTo>
                    <a:cubicBezTo>
                      <a:pt x="444412" y="922836"/>
                      <a:pt x="444412" y="923938"/>
                      <a:pt x="445481" y="926144"/>
                    </a:cubicBezTo>
                    <a:cubicBezTo>
                      <a:pt x="445481" y="929453"/>
                      <a:pt x="444412" y="930556"/>
                      <a:pt x="443343" y="932761"/>
                    </a:cubicBezTo>
                    <a:cubicBezTo>
                      <a:pt x="440135" y="939380"/>
                      <a:pt x="435859" y="943791"/>
                      <a:pt x="432651" y="949305"/>
                    </a:cubicBezTo>
                    <a:cubicBezTo>
                      <a:pt x="430513" y="953717"/>
                      <a:pt x="430513" y="960334"/>
                      <a:pt x="430513" y="964745"/>
                    </a:cubicBezTo>
                    <a:cubicBezTo>
                      <a:pt x="431582" y="972466"/>
                      <a:pt x="434790" y="976878"/>
                      <a:pt x="440135" y="982392"/>
                    </a:cubicBezTo>
                    <a:cubicBezTo>
                      <a:pt x="444412" y="986803"/>
                      <a:pt x="444412" y="992318"/>
                      <a:pt x="446550" y="997832"/>
                    </a:cubicBezTo>
                    <a:cubicBezTo>
                      <a:pt x="446550" y="1000039"/>
                      <a:pt x="447620" y="1002244"/>
                      <a:pt x="448689" y="1004450"/>
                    </a:cubicBezTo>
                    <a:cubicBezTo>
                      <a:pt x="449758" y="1006656"/>
                      <a:pt x="451897" y="1007759"/>
                      <a:pt x="451897" y="1011067"/>
                    </a:cubicBezTo>
                    <a:cubicBezTo>
                      <a:pt x="451897" y="1012170"/>
                      <a:pt x="451897" y="1013273"/>
                      <a:pt x="451897" y="1015479"/>
                    </a:cubicBezTo>
                    <a:lnTo>
                      <a:pt x="455105" y="1024302"/>
                    </a:lnTo>
                    <a:cubicBezTo>
                      <a:pt x="456174" y="1025404"/>
                      <a:pt x="458312" y="1026507"/>
                      <a:pt x="460451" y="1026507"/>
                    </a:cubicBezTo>
                    <a:cubicBezTo>
                      <a:pt x="462589" y="1027610"/>
                      <a:pt x="465797" y="1028714"/>
                      <a:pt x="467936" y="1030920"/>
                    </a:cubicBezTo>
                    <a:cubicBezTo>
                      <a:pt x="470074" y="1033125"/>
                      <a:pt x="472213" y="1034228"/>
                      <a:pt x="474351" y="1036434"/>
                    </a:cubicBezTo>
                    <a:cubicBezTo>
                      <a:pt x="475420" y="1037537"/>
                      <a:pt x="475420" y="1039743"/>
                      <a:pt x="476489" y="1041948"/>
                    </a:cubicBezTo>
                    <a:cubicBezTo>
                      <a:pt x="477558" y="1044154"/>
                      <a:pt x="477558" y="1047463"/>
                      <a:pt x="477558" y="1050771"/>
                    </a:cubicBezTo>
                    <a:cubicBezTo>
                      <a:pt x="477558" y="1051874"/>
                      <a:pt x="476489" y="1052977"/>
                      <a:pt x="476489" y="1055183"/>
                    </a:cubicBezTo>
                    <a:cubicBezTo>
                      <a:pt x="476489" y="1056285"/>
                      <a:pt x="477558" y="1057388"/>
                      <a:pt x="476489" y="1062904"/>
                    </a:cubicBezTo>
                    <a:cubicBezTo>
                      <a:pt x="476489" y="1066212"/>
                      <a:pt x="474351" y="1068418"/>
                      <a:pt x="474351" y="1071727"/>
                    </a:cubicBezTo>
                    <a:cubicBezTo>
                      <a:pt x="474351" y="1075035"/>
                      <a:pt x="475420" y="1077241"/>
                      <a:pt x="475420" y="1079447"/>
                    </a:cubicBezTo>
                    <a:cubicBezTo>
                      <a:pt x="474351" y="1081652"/>
                      <a:pt x="473282" y="1082755"/>
                      <a:pt x="474351" y="1086064"/>
                    </a:cubicBezTo>
                    <a:cubicBezTo>
                      <a:pt x="474351" y="1087167"/>
                      <a:pt x="474351" y="1088269"/>
                      <a:pt x="474351" y="1090476"/>
                    </a:cubicBezTo>
                    <a:cubicBezTo>
                      <a:pt x="474351" y="1091027"/>
                      <a:pt x="474083" y="1091579"/>
                      <a:pt x="473549" y="1093371"/>
                    </a:cubicBezTo>
                    <a:lnTo>
                      <a:pt x="471143" y="1103710"/>
                    </a:lnTo>
                    <a:cubicBezTo>
                      <a:pt x="472213" y="1104813"/>
                      <a:pt x="472213" y="1105916"/>
                      <a:pt x="472213" y="1108122"/>
                    </a:cubicBezTo>
                    <a:cubicBezTo>
                      <a:pt x="472213" y="1109225"/>
                      <a:pt x="471143" y="1110328"/>
                      <a:pt x="471143" y="1112533"/>
                    </a:cubicBezTo>
                    <a:cubicBezTo>
                      <a:pt x="471143" y="1114739"/>
                      <a:pt x="472213" y="1115842"/>
                      <a:pt x="473282" y="1116945"/>
                    </a:cubicBezTo>
                    <a:cubicBezTo>
                      <a:pt x="475420" y="1121357"/>
                      <a:pt x="470074" y="1125769"/>
                      <a:pt x="469005" y="1130180"/>
                    </a:cubicBezTo>
                    <a:cubicBezTo>
                      <a:pt x="467936" y="1133489"/>
                      <a:pt x="466866" y="1136797"/>
                      <a:pt x="466866" y="1140106"/>
                    </a:cubicBezTo>
                    <a:cubicBezTo>
                      <a:pt x="466866" y="1143414"/>
                      <a:pt x="465797" y="1146723"/>
                      <a:pt x="464728" y="1148929"/>
                    </a:cubicBezTo>
                    <a:cubicBezTo>
                      <a:pt x="463659" y="1151134"/>
                      <a:pt x="464728" y="1152238"/>
                      <a:pt x="465797" y="1154444"/>
                    </a:cubicBezTo>
                    <a:cubicBezTo>
                      <a:pt x="466866" y="1156650"/>
                      <a:pt x="466866" y="1158855"/>
                      <a:pt x="466866" y="1161061"/>
                    </a:cubicBezTo>
                    <a:cubicBezTo>
                      <a:pt x="466866" y="1165472"/>
                      <a:pt x="464728" y="1167678"/>
                      <a:pt x="464728" y="1175398"/>
                    </a:cubicBezTo>
                    <a:cubicBezTo>
                      <a:pt x="464728" y="1176501"/>
                      <a:pt x="465797" y="1176501"/>
                      <a:pt x="466866" y="1177604"/>
                    </a:cubicBezTo>
                    <a:cubicBezTo>
                      <a:pt x="466866" y="1178707"/>
                      <a:pt x="466866" y="1179810"/>
                      <a:pt x="466866" y="1180912"/>
                    </a:cubicBezTo>
                    <a:cubicBezTo>
                      <a:pt x="466866" y="1183119"/>
                      <a:pt x="466866" y="1184222"/>
                      <a:pt x="465797" y="1186428"/>
                    </a:cubicBezTo>
                    <a:cubicBezTo>
                      <a:pt x="465797" y="1188634"/>
                      <a:pt x="466866" y="1189736"/>
                      <a:pt x="465797" y="1191942"/>
                    </a:cubicBezTo>
                    <a:cubicBezTo>
                      <a:pt x="464728" y="1193045"/>
                      <a:pt x="462589" y="1194148"/>
                      <a:pt x="462589" y="1196354"/>
                    </a:cubicBezTo>
                    <a:cubicBezTo>
                      <a:pt x="461520" y="1199662"/>
                      <a:pt x="464728" y="1202971"/>
                      <a:pt x="463659" y="1207382"/>
                    </a:cubicBezTo>
                    <a:cubicBezTo>
                      <a:pt x="462589" y="1210691"/>
                      <a:pt x="460451" y="1214000"/>
                      <a:pt x="460451" y="1218412"/>
                    </a:cubicBezTo>
                    <a:cubicBezTo>
                      <a:pt x="459382" y="1226132"/>
                      <a:pt x="460451" y="1234955"/>
                      <a:pt x="463659" y="1242675"/>
                    </a:cubicBezTo>
                    <a:cubicBezTo>
                      <a:pt x="465797" y="1248190"/>
                      <a:pt x="469005" y="1253704"/>
                      <a:pt x="474351" y="1257013"/>
                    </a:cubicBezTo>
                    <a:cubicBezTo>
                      <a:pt x="476489" y="1259218"/>
                      <a:pt x="486112" y="1265836"/>
                      <a:pt x="487181" y="1259218"/>
                    </a:cubicBezTo>
                    <a:cubicBezTo>
                      <a:pt x="487181" y="1254807"/>
                      <a:pt x="481835" y="1252601"/>
                      <a:pt x="480766" y="1249293"/>
                    </a:cubicBezTo>
                    <a:cubicBezTo>
                      <a:pt x="479696" y="1247087"/>
                      <a:pt x="480766" y="1243777"/>
                      <a:pt x="480766" y="1240469"/>
                    </a:cubicBezTo>
                    <a:cubicBezTo>
                      <a:pt x="480766" y="1239918"/>
                      <a:pt x="480499" y="1239366"/>
                      <a:pt x="480766" y="1238401"/>
                    </a:cubicBezTo>
                    <a:lnTo>
                      <a:pt x="483973" y="1230543"/>
                    </a:lnTo>
                    <a:cubicBezTo>
                      <a:pt x="485043" y="1231646"/>
                      <a:pt x="486112" y="1232749"/>
                      <a:pt x="487181" y="1230543"/>
                    </a:cubicBezTo>
                    <a:cubicBezTo>
                      <a:pt x="488250" y="1229440"/>
                      <a:pt x="487181" y="1227235"/>
                      <a:pt x="490389" y="1221720"/>
                    </a:cubicBezTo>
                    <a:cubicBezTo>
                      <a:pt x="491458" y="1219515"/>
                      <a:pt x="491458" y="1219515"/>
                      <a:pt x="492527" y="1218412"/>
                    </a:cubicBezTo>
                    <a:cubicBezTo>
                      <a:pt x="493597" y="1217309"/>
                      <a:pt x="494666" y="1216206"/>
                      <a:pt x="495735" y="1215103"/>
                    </a:cubicBezTo>
                    <a:lnTo>
                      <a:pt x="491458" y="1207382"/>
                    </a:lnTo>
                    <a:cubicBezTo>
                      <a:pt x="489320" y="1204074"/>
                      <a:pt x="489320" y="1201868"/>
                      <a:pt x="491458" y="1198559"/>
                    </a:cubicBezTo>
                    <a:cubicBezTo>
                      <a:pt x="493597" y="1196354"/>
                      <a:pt x="496804" y="1196354"/>
                      <a:pt x="497874" y="1194148"/>
                    </a:cubicBezTo>
                    <a:cubicBezTo>
                      <a:pt x="498943" y="1193045"/>
                      <a:pt x="497874" y="1190839"/>
                      <a:pt x="497874" y="1188634"/>
                    </a:cubicBezTo>
                    <a:lnTo>
                      <a:pt x="500012" y="1178707"/>
                    </a:lnTo>
                    <a:cubicBezTo>
                      <a:pt x="497874" y="1177604"/>
                      <a:pt x="498943" y="1174295"/>
                      <a:pt x="501082" y="1173192"/>
                    </a:cubicBezTo>
                    <a:cubicBezTo>
                      <a:pt x="502151" y="1172090"/>
                      <a:pt x="504289" y="1173192"/>
                      <a:pt x="505359" y="1172090"/>
                    </a:cubicBezTo>
                    <a:cubicBezTo>
                      <a:pt x="508566" y="1172090"/>
                      <a:pt x="512842" y="1167678"/>
                      <a:pt x="509636" y="1162164"/>
                    </a:cubicBezTo>
                    <a:cubicBezTo>
                      <a:pt x="510437" y="1159682"/>
                      <a:pt x="511774" y="1159958"/>
                      <a:pt x="512842" y="1159958"/>
                    </a:cubicBezTo>
                    <a:lnTo>
                      <a:pt x="520327" y="1156650"/>
                    </a:lnTo>
                    <a:cubicBezTo>
                      <a:pt x="523535" y="1156650"/>
                      <a:pt x="525673" y="1156650"/>
                      <a:pt x="527812" y="1155547"/>
                    </a:cubicBezTo>
                    <a:cubicBezTo>
                      <a:pt x="529950" y="1154444"/>
                      <a:pt x="531020" y="1152238"/>
                      <a:pt x="532089" y="1150031"/>
                    </a:cubicBezTo>
                    <a:cubicBezTo>
                      <a:pt x="532624" y="1149481"/>
                      <a:pt x="533158" y="1148929"/>
                      <a:pt x="533024" y="1147826"/>
                    </a:cubicBezTo>
                    <a:lnTo>
                      <a:pt x="529950" y="1142311"/>
                    </a:lnTo>
                    <a:cubicBezTo>
                      <a:pt x="529950" y="1140106"/>
                      <a:pt x="531020" y="1139003"/>
                      <a:pt x="531020" y="1137900"/>
                    </a:cubicBezTo>
                    <a:cubicBezTo>
                      <a:pt x="529950" y="1135694"/>
                      <a:pt x="526743" y="1135694"/>
                      <a:pt x="525673" y="1133489"/>
                    </a:cubicBezTo>
                    <a:cubicBezTo>
                      <a:pt x="524604" y="1131283"/>
                      <a:pt x="523535" y="1129077"/>
                      <a:pt x="527812" y="1125769"/>
                    </a:cubicBezTo>
                    <a:cubicBezTo>
                      <a:pt x="528881" y="1127974"/>
                      <a:pt x="528881" y="1131283"/>
                      <a:pt x="531020" y="1132386"/>
                    </a:cubicBezTo>
                    <a:cubicBezTo>
                      <a:pt x="532089" y="1134591"/>
                      <a:pt x="534227" y="1135694"/>
                      <a:pt x="536366" y="1134591"/>
                    </a:cubicBezTo>
                    <a:cubicBezTo>
                      <a:pt x="537435" y="1134591"/>
                      <a:pt x="538504" y="1133489"/>
                      <a:pt x="539574" y="1134591"/>
                    </a:cubicBezTo>
                    <a:cubicBezTo>
                      <a:pt x="540643" y="1134591"/>
                      <a:pt x="541712" y="1134591"/>
                      <a:pt x="542781" y="1134591"/>
                    </a:cubicBezTo>
                    <a:lnTo>
                      <a:pt x="549197" y="1126871"/>
                    </a:lnTo>
                    <a:cubicBezTo>
                      <a:pt x="550265" y="1124666"/>
                      <a:pt x="551334" y="1123563"/>
                      <a:pt x="551334" y="1122460"/>
                    </a:cubicBezTo>
                    <a:cubicBezTo>
                      <a:pt x="551334" y="1120253"/>
                      <a:pt x="550265" y="1120253"/>
                      <a:pt x="550265" y="1119150"/>
                    </a:cubicBezTo>
                    <a:lnTo>
                      <a:pt x="553473" y="1114739"/>
                    </a:lnTo>
                    <a:cubicBezTo>
                      <a:pt x="554542" y="1113636"/>
                      <a:pt x="555612" y="1111430"/>
                      <a:pt x="557750" y="1110328"/>
                    </a:cubicBezTo>
                    <a:lnTo>
                      <a:pt x="562027" y="1105916"/>
                    </a:lnTo>
                    <a:cubicBezTo>
                      <a:pt x="563096" y="1103710"/>
                      <a:pt x="564166" y="1102608"/>
                      <a:pt x="566304" y="1100402"/>
                    </a:cubicBezTo>
                    <a:cubicBezTo>
                      <a:pt x="571650" y="1094888"/>
                      <a:pt x="566304" y="1089372"/>
                      <a:pt x="567373" y="1082755"/>
                    </a:cubicBezTo>
                    <a:cubicBezTo>
                      <a:pt x="567373" y="1079447"/>
                      <a:pt x="571650" y="1077241"/>
                      <a:pt x="574858" y="1075035"/>
                    </a:cubicBezTo>
                    <a:cubicBezTo>
                      <a:pt x="575927" y="1073932"/>
                      <a:pt x="578066" y="1072829"/>
                      <a:pt x="580204" y="1070624"/>
                    </a:cubicBezTo>
                    <a:cubicBezTo>
                      <a:pt x="581274" y="1070624"/>
                      <a:pt x="581274" y="1069521"/>
                      <a:pt x="582343" y="1068418"/>
                    </a:cubicBezTo>
                    <a:cubicBezTo>
                      <a:pt x="585551" y="1067315"/>
                      <a:pt x="589827" y="1065109"/>
                      <a:pt x="593034" y="1064007"/>
                    </a:cubicBezTo>
                    <a:cubicBezTo>
                      <a:pt x="595173" y="1062904"/>
                      <a:pt x="598381" y="1062904"/>
                      <a:pt x="599450" y="1055183"/>
                    </a:cubicBezTo>
                    <a:cubicBezTo>
                      <a:pt x="599450" y="1052977"/>
                      <a:pt x="600519" y="1051874"/>
                      <a:pt x="601589" y="1050771"/>
                    </a:cubicBezTo>
                    <a:lnTo>
                      <a:pt x="605866" y="1045257"/>
                    </a:lnTo>
                    <a:cubicBezTo>
                      <a:pt x="606935" y="1043051"/>
                      <a:pt x="606935" y="1041948"/>
                      <a:pt x="606935" y="1038640"/>
                    </a:cubicBezTo>
                    <a:cubicBezTo>
                      <a:pt x="605866" y="1037537"/>
                      <a:pt x="606935" y="1036434"/>
                      <a:pt x="608004" y="1034228"/>
                    </a:cubicBezTo>
                    <a:cubicBezTo>
                      <a:pt x="609073" y="1032023"/>
                      <a:pt x="609073" y="1028714"/>
                      <a:pt x="609073" y="1026507"/>
                    </a:cubicBezTo>
                    <a:cubicBezTo>
                      <a:pt x="609073" y="1023199"/>
                      <a:pt x="606935" y="1020993"/>
                      <a:pt x="606935" y="1017684"/>
                    </a:cubicBezTo>
                    <a:cubicBezTo>
                      <a:pt x="606935" y="1015479"/>
                      <a:pt x="606935" y="1014376"/>
                      <a:pt x="608004" y="1012170"/>
                    </a:cubicBezTo>
                    <a:cubicBezTo>
                      <a:pt x="609073" y="1011067"/>
                      <a:pt x="610143" y="1008862"/>
                      <a:pt x="611212" y="1007759"/>
                    </a:cubicBezTo>
                    <a:cubicBezTo>
                      <a:pt x="612281" y="1007759"/>
                      <a:pt x="613350" y="1007759"/>
                      <a:pt x="615489" y="1006656"/>
                    </a:cubicBezTo>
                    <a:cubicBezTo>
                      <a:pt x="616558" y="1004450"/>
                      <a:pt x="617627" y="1002244"/>
                      <a:pt x="618697" y="998936"/>
                    </a:cubicBezTo>
                    <a:cubicBezTo>
                      <a:pt x="619766" y="997832"/>
                      <a:pt x="619766" y="996729"/>
                      <a:pt x="620835" y="995626"/>
                    </a:cubicBezTo>
                    <a:cubicBezTo>
                      <a:pt x="620835" y="994523"/>
                      <a:pt x="621904" y="993421"/>
                      <a:pt x="622974" y="993421"/>
                    </a:cubicBezTo>
                    <a:cubicBezTo>
                      <a:pt x="625111" y="992318"/>
                      <a:pt x="626180" y="990112"/>
                      <a:pt x="627250" y="989009"/>
                    </a:cubicBezTo>
                    <a:cubicBezTo>
                      <a:pt x="628319" y="985701"/>
                      <a:pt x="629388" y="981289"/>
                      <a:pt x="626180" y="972466"/>
                    </a:cubicBezTo>
                    <a:cubicBezTo>
                      <a:pt x="625111" y="970261"/>
                      <a:pt x="622974" y="969158"/>
                      <a:pt x="621904" y="968055"/>
                    </a:cubicBezTo>
                    <a:cubicBezTo>
                      <a:pt x="618697" y="965848"/>
                      <a:pt x="615489" y="962540"/>
                      <a:pt x="612281" y="960334"/>
                    </a:cubicBezTo>
                    <a:cubicBezTo>
                      <a:pt x="609073" y="958128"/>
                      <a:pt x="605866" y="957025"/>
                      <a:pt x="602658" y="955922"/>
                    </a:cubicBezTo>
                    <a:cubicBezTo>
                      <a:pt x="600519" y="955922"/>
                      <a:pt x="597311" y="955922"/>
                      <a:pt x="595173" y="955922"/>
                    </a:cubicBezTo>
                    <a:cubicBezTo>
                      <a:pt x="591965" y="954820"/>
                      <a:pt x="588757" y="953717"/>
                      <a:pt x="586620" y="950408"/>
                    </a:cubicBezTo>
                    <a:cubicBezTo>
                      <a:pt x="585551" y="948202"/>
                      <a:pt x="584481" y="948202"/>
                      <a:pt x="582343" y="947100"/>
                    </a:cubicBezTo>
                    <a:cubicBezTo>
                      <a:pt x="580204" y="945997"/>
                      <a:pt x="579135" y="943791"/>
                      <a:pt x="576997" y="943791"/>
                    </a:cubicBezTo>
                    <a:cubicBezTo>
                      <a:pt x="574858" y="943791"/>
                      <a:pt x="573789" y="943791"/>
                      <a:pt x="571650" y="943791"/>
                    </a:cubicBezTo>
                    <a:cubicBezTo>
                      <a:pt x="569512" y="942688"/>
                      <a:pt x="568443" y="940482"/>
                      <a:pt x="566304" y="939380"/>
                    </a:cubicBezTo>
                    <a:cubicBezTo>
                      <a:pt x="563096" y="937174"/>
                      <a:pt x="560958" y="933864"/>
                      <a:pt x="559889" y="930556"/>
                    </a:cubicBezTo>
                    <a:cubicBezTo>
                      <a:pt x="558819" y="928350"/>
                      <a:pt x="557750" y="925041"/>
                      <a:pt x="556681" y="922836"/>
                    </a:cubicBezTo>
                    <a:cubicBezTo>
                      <a:pt x="555612" y="918424"/>
                      <a:pt x="553473" y="910704"/>
                      <a:pt x="548128" y="909601"/>
                    </a:cubicBezTo>
                    <a:cubicBezTo>
                      <a:pt x="545989" y="908498"/>
                      <a:pt x="543851" y="906293"/>
                      <a:pt x="541712" y="905190"/>
                    </a:cubicBezTo>
                    <a:cubicBezTo>
                      <a:pt x="538504" y="904086"/>
                      <a:pt x="535297" y="902983"/>
                      <a:pt x="532089" y="901880"/>
                    </a:cubicBezTo>
                    <a:cubicBezTo>
                      <a:pt x="525673" y="899675"/>
                      <a:pt x="519258" y="894160"/>
                      <a:pt x="514981" y="888646"/>
                    </a:cubicBezTo>
                    <a:cubicBezTo>
                      <a:pt x="513912" y="886440"/>
                      <a:pt x="511774" y="883132"/>
                      <a:pt x="509636" y="882029"/>
                    </a:cubicBezTo>
                    <a:cubicBezTo>
                      <a:pt x="507497" y="880926"/>
                      <a:pt x="504289" y="880926"/>
                      <a:pt x="501082" y="879823"/>
                    </a:cubicBezTo>
                    <a:cubicBezTo>
                      <a:pt x="497874" y="878720"/>
                      <a:pt x="493597" y="878720"/>
                      <a:pt x="490389" y="878720"/>
                    </a:cubicBezTo>
                    <a:cubicBezTo>
                      <a:pt x="487181" y="878720"/>
                      <a:pt x="482904" y="879823"/>
                      <a:pt x="479696" y="878720"/>
                    </a:cubicBezTo>
                    <a:cubicBezTo>
                      <a:pt x="477558" y="878720"/>
                      <a:pt x="475420" y="878720"/>
                      <a:pt x="471143" y="884235"/>
                    </a:cubicBezTo>
                    <a:cubicBezTo>
                      <a:pt x="472213" y="885337"/>
                      <a:pt x="472213" y="886440"/>
                      <a:pt x="471143" y="889749"/>
                    </a:cubicBezTo>
                    <a:cubicBezTo>
                      <a:pt x="469005" y="890852"/>
                      <a:pt x="467936" y="888646"/>
                      <a:pt x="466866" y="886440"/>
                    </a:cubicBezTo>
                    <a:lnTo>
                      <a:pt x="465797" y="880926"/>
                    </a:lnTo>
                    <a:cubicBezTo>
                      <a:pt x="463659" y="878720"/>
                      <a:pt x="462589" y="878720"/>
                      <a:pt x="460451" y="879823"/>
                    </a:cubicBezTo>
                    <a:cubicBezTo>
                      <a:pt x="458312" y="880926"/>
                      <a:pt x="456174" y="882029"/>
                      <a:pt x="455105" y="884235"/>
                    </a:cubicBezTo>
                    <a:cubicBezTo>
                      <a:pt x="454035" y="886440"/>
                      <a:pt x="454035" y="889749"/>
                      <a:pt x="451897" y="890852"/>
                    </a:cubicBezTo>
                    <a:lnTo>
                      <a:pt x="446550" y="890852"/>
                    </a:lnTo>
                    <a:cubicBezTo>
                      <a:pt x="444412" y="889749"/>
                      <a:pt x="442273" y="887543"/>
                      <a:pt x="440135" y="886440"/>
                    </a:cubicBezTo>
                    <a:cubicBezTo>
                      <a:pt x="436928" y="885337"/>
                      <a:pt x="433720" y="887543"/>
                      <a:pt x="430513" y="887543"/>
                    </a:cubicBezTo>
                    <a:cubicBezTo>
                      <a:pt x="428374" y="887543"/>
                      <a:pt x="425166" y="887543"/>
                      <a:pt x="423028" y="885337"/>
                    </a:cubicBezTo>
                    <a:cubicBezTo>
                      <a:pt x="421959" y="883132"/>
                      <a:pt x="421959" y="879823"/>
                      <a:pt x="421959" y="877617"/>
                    </a:cubicBezTo>
                    <a:cubicBezTo>
                      <a:pt x="420889" y="875412"/>
                      <a:pt x="419820" y="874309"/>
                      <a:pt x="418751" y="872102"/>
                    </a:cubicBezTo>
                    <a:lnTo>
                      <a:pt x="417682" y="865485"/>
                    </a:lnTo>
                    <a:cubicBezTo>
                      <a:pt x="417682" y="861074"/>
                      <a:pt x="418751" y="857765"/>
                      <a:pt x="413405" y="850045"/>
                    </a:cubicBezTo>
                    <a:cubicBezTo>
                      <a:pt x="410197" y="848942"/>
                      <a:pt x="408058" y="850045"/>
                      <a:pt x="405920" y="850045"/>
                    </a:cubicBezTo>
                    <a:cubicBezTo>
                      <a:pt x="403781" y="851148"/>
                      <a:pt x="401644" y="851148"/>
                      <a:pt x="399505" y="851148"/>
                    </a:cubicBezTo>
                    <a:cubicBezTo>
                      <a:pt x="397367" y="851148"/>
                      <a:pt x="395228" y="850045"/>
                      <a:pt x="396298" y="847839"/>
                    </a:cubicBezTo>
                    <a:cubicBezTo>
                      <a:pt x="398436" y="845634"/>
                      <a:pt x="400575" y="843428"/>
                      <a:pt x="400575" y="841221"/>
                    </a:cubicBezTo>
                    <a:cubicBezTo>
                      <a:pt x="401644" y="839015"/>
                      <a:pt x="400575" y="839015"/>
                      <a:pt x="400575" y="835707"/>
                    </a:cubicBezTo>
                    <a:cubicBezTo>
                      <a:pt x="401109" y="835707"/>
                      <a:pt x="401644" y="835707"/>
                      <a:pt x="402311" y="834604"/>
                    </a:cubicBezTo>
                    <a:lnTo>
                      <a:pt x="404851" y="826884"/>
                    </a:lnTo>
                    <a:cubicBezTo>
                      <a:pt x="404851" y="824678"/>
                      <a:pt x="405920" y="822473"/>
                      <a:pt x="400575" y="818061"/>
                    </a:cubicBezTo>
                    <a:cubicBezTo>
                      <a:pt x="397367" y="818061"/>
                      <a:pt x="394159" y="820267"/>
                      <a:pt x="392020" y="822473"/>
                    </a:cubicBezTo>
                    <a:cubicBezTo>
                      <a:pt x="389882" y="824678"/>
                      <a:pt x="388813" y="827987"/>
                      <a:pt x="387743" y="830193"/>
                    </a:cubicBezTo>
                    <a:cubicBezTo>
                      <a:pt x="385605" y="833501"/>
                      <a:pt x="380259" y="834604"/>
                      <a:pt x="377051" y="835707"/>
                    </a:cubicBezTo>
                    <a:cubicBezTo>
                      <a:pt x="374912" y="835707"/>
                      <a:pt x="372774" y="836810"/>
                      <a:pt x="370635" y="836810"/>
                    </a:cubicBezTo>
                    <a:cubicBezTo>
                      <a:pt x="368497" y="835707"/>
                      <a:pt x="368497" y="832398"/>
                      <a:pt x="367428" y="830193"/>
                    </a:cubicBezTo>
                    <a:cubicBezTo>
                      <a:pt x="366358" y="829090"/>
                      <a:pt x="365289" y="826884"/>
                      <a:pt x="364221" y="825781"/>
                    </a:cubicBezTo>
                    <a:cubicBezTo>
                      <a:pt x="361013" y="822473"/>
                      <a:pt x="359944" y="815855"/>
                      <a:pt x="359944" y="811443"/>
                    </a:cubicBezTo>
                    <a:cubicBezTo>
                      <a:pt x="359944" y="808134"/>
                      <a:pt x="359944" y="804826"/>
                      <a:pt x="361013" y="802620"/>
                    </a:cubicBezTo>
                    <a:cubicBezTo>
                      <a:pt x="361013" y="800414"/>
                      <a:pt x="362082" y="799311"/>
                      <a:pt x="362082" y="797106"/>
                    </a:cubicBezTo>
                    <a:cubicBezTo>
                      <a:pt x="362082" y="794900"/>
                      <a:pt x="362082" y="792694"/>
                      <a:pt x="362082" y="789386"/>
                    </a:cubicBezTo>
                    <a:cubicBezTo>
                      <a:pt x="363152" y="786077"/>
                      <a:pt x="364221" y="783871"/>
                      <a:pt x="367428" y="778356"/>
                    </a:cubicBezTo>
                    <a:lnTo>
                      <a:pt x="372774" y="775048"/>
                    </a:lnTo>
                    <a:cubicBezTo>
                      <a:pt x="375982" y="773945"/>
                      <a:pt x="380259" y="770636"/>
                      <a:pt x="383466" y="771739"/>
                    </a:cubicBezTo>
                    <a:cubicBezTo>
                      <a:pt x="387743" y="771739"/>
                      <a:pt x="390951" y="776150"/>
                      <a:pt x="395228" y="775048"/>
                    </a:cubicBezTo>
                    <a:cubicBezTo>
                      <a:pt x="397367" y="773945"/>
                      <a:pt x="396298" y="771739"/>
                      <a:pt x="396298" y="770636"/>
                    </a:cubicBezTo>
                    <a:lnTo>
                      <a:pt x="403781" y="767328"/>
                    </a:lnTo>
                    <a:cubicBezTo>
                      <a:pt x="409128" y="767328"/>
                      <a:pt x="413405" y="768430"/>
                      <a:pt x="417682" y="772842"/>
                    </a:cubicBezTo>
                    <a:cubicBezTo>
                      <a:pt x="421959" y="777253"/>
                      <a:pt x="420889" y="781666"/>
                      <a:pt x="423028" y="787180"/>
                    </a:cubicBezTo>
                    <a:cubicBezTo>
                      <a:pt x="424097" y="790489"/>
                      <a:pt x="426236" y="794900"/>
                      <a:pt x="430513" y="796003"/>
                    </a:cubicBezTo>
                    <a:cubicBezTo>
                      <a:pt x="434790" y="797106"/>
                      <a:pt x="434790" y="791591"/>
                      <a:pt x="434790" y="788283"/>
                    </a:cubicBezTo>
                    <a:cubicBezTo>
                      <a:pt x="433720" y="783871"/>
                      <a:pt x="431582" y="780562"/>
                      <a:pt x="430513" y="776150"/>
                    </a:cubicBezTo>
                    <a:cubicBezTo>
                      <a:pt x="428374" y="771739"/>
                      <a:pt x="428374" y="767328"/>
                      <a:pt x="430513" y="762916"/>
                    </a:cubicBezTo>
                    <a:cubicBezTo>
                      <a:pt x="432651" y="758505"/>
                      <a:pt x="436928" y="755196"/>
                      <a:pt x="440135" y="751888"/>
                    </a:cubicBezTo>
                    <a:cubicBezTo>
                      <a:pt x="442273" y="748578"/>
                      <a:pt x="445481" y="747475"/>
                      <a:pt x="447620" y="744167"/>
                    </a:cubicBezTo>
                    <a:cubicBezTo>
                      <a:pt x="448689" y="741961"/>
                      <a:pt x="449758" y="739755"/>
                      <a:pt x="449758" y="737549"/>
                    </a:cubicBezTo>
                    <a:cubicBezTo>
                      <a:pt x="449758" y="736447"/>
                      <a:pt x="448689" y="735344"/>
                      <a:pt x="448689" y="734241"/>
                    </a:cubicBezTo>
                    <a:cubicBezTo>
                      <a:pt x="448689" y="732035"/>
                      <a:pt x="448689" y="730932"/>
                      <a:pt x="448689" y="729829"/>
                    </a:cubicBezTo>
                    <a:cubicBezTo>
                      <a:pt x="448689" y="726521"/>
                      <a:pt x="447620" y="723212"/>
                      <a:pt x="448689" y="719904"/>
                    </a:cubicBezTo>
                    <a:cubicBezTo>
                      <a:pt x="448689" y="718800"/>
                      <a:pt x="450828" y="714388"/>
                      <a:pt x="451897" y="716594"/>
                    </a:cubicBezTo>
                    <a:cubicBezTo>
                      <a:pt x="452966" y="717697"/>
                      <a:pt x="452966" y="718800"/>
                      <a:pt x="451897" y="719904"/>
                    </a:cubicBezTo>
                    <a:cubicBezTo>
                      <a:pt x="451897" y="721007"/>
                      <a:pt x="451897" y="722109"/>
                      <a:pt x="452966" y="723212"/>
                    </a:cubicBezTo>
                    <a:cubicBezTo>
                      <a:pt x="454035" y="724315"/>
                      <a:pt x="456174" y="725418"/>
                      <a:pt x="457243" y="723212"/>
                    </a:cubicBezTo>
                    <a:lnTo>
                      <a:pt x="457243" y="717697"/>
                    </a:lnTo>
                    <a:cubicBezTo>
                      <a:pt x="457243" y="716594"/>
                      <a:pt x="457243" y="716594"/>
                      <a:pt x="457243" y="715491"/>
                    </a:cubicBezTo>
                    <a:cubicBezTo>
                      <a:pt x="458312" y="713285"/>
                      <a:pt x="460451" y="712183"/>
                      <a:pt x="461520" y="711080"/>
                    </a:cubicBezTo>
                    <a:cubicBezTo>
                      <a:pt x="461520" y="709977"/>
                      <a:pt x="461520" y="708874"/>
                      <a:pt x="462589" y="707771"/>
                    </a:cubicBezTo>
                    <a:cubicBezTo>
                      <a:pt x="462589" y="706668"/>
                      <a:pt x="463659" y="705565"/>
                      <a:pt x="464728" y="704463"/>
                    </a:cubicBezTo>
                    <a:cubicBezTo>
                      <a:pt x="467936" y="700051"/>
                      <a:pt x="471143" y="695640"/>
                      <a:pt x="474351" y="691228"/>
                    </a:cubicBezTo>
                    <a:lnTo>
                      <a:pt x="485043" y="684610"/>
                    </a:lnTo>
                    <a:cubicBezTo>
                      <a:pt x="487181" y="683507"/>
                      <a:pt x="489320" y="684610"/>
                      <a:pt x="490389" y="682404"/>
                    </a:cubicBezTo>
                    <a:cubicBezTo>
                      <a:pt x="491458" y="680199"/>
                      <a:pt x="490389" y="680199"/>
                      <a:pt x="492527" y="679096"/>
                    </a:cubicBezTo>
                    <a:cubicBezTo>
                      <a:pt x="493597" y="677993"/>
                      <a:pt x="500012" y="675787"/>
                      <a:pt x="500012" y="679096"/>
                    </a:cubicBezTo>
                    <a:cubicBezTo>
                      <a:pt x="498943" y="680199"/>
                      <a:pt x="497874" y="681302"/>
                      <a:pt x="496804" y="682404"/>
                    </a:cubicBezTo>
                    <a:cubicBezTo>
                      <a:pt x="495735" y="683507"/>
                      <a:pt x="494666" y="684610"/>
                      <a:pt x="495735" y="686816"/>
                    </a:cubicBezTo>
                    <a:cubicBezTo>
                      <a:pt x="496804" y="687919"/>
                      <a:pt x="498943" y="689023"/>
                      <a:pt x="501082" y="689023"/>
                    </a:cubicBezTo>
                    <a:cubicBezTo>
                      <a:pt x="503220" y="689023"/>
                      <a:pt x="504289" y="687919"/>
                      <a:pt x="506428" y="685713"/>
                    </a:cubicBezTo>
                    <a:cubicBezTo>
                      <a:pt x="507497" y="684610"/>
                      <a:pt x="507497" y="682404"/>
                      <a:pt x="509636" y="681302"/>
                    </a:cubicBezTo>
                    <a:lnTo>
                      <a:pt x="514981" y="677993"/>
                    </a:lnTo>
                    <a:cubicBezTo>
                      <a:pt x="517119" y="674684"/>
                      <a:pt x="507497" y="675787"/>
                      <a:pt x="506428" y="675787"/>
                    </a:cubicBezTo>
                    <a:lnTo>
                      <a:pt x="501082" y="669170"/>
                    </a:lnTo>
                    <a:cubicBezTo>
                      <a:pt x="500012" y="665862"/>
                      <a:pt x="501082" y="663656"/>
                      <a:pt x="498943" y="662553"/>
                    </a:cubicBezTo>
                    <a:cubicBezTo>
                      <a:pt x="497874" y="661450"/>
                      <a:pt x="496804" y="661450"/>
                      <a:pt x="496804" y="658142"/>
                    </a:cubicBezTo>
                    <a:cubicBezTo>
                      <a:pt x="497874" y="657038"/>
                      <a:pt x="498943" y="658142"/>
                      <a:pt x="500012" y="657038"/>
                    </a:cubicBezTo>
                    <a:cubicBezTo>
                      <a:pt x="501082" y="655935"/>
                      <a:pt x="502151" y="654832"/>
                      <a:pt x="501082" y="652626"/>
                    </a:cubicBezTo>
                    <a:cubicBezTo>
                      <a:pt x="500012" y="649318"/>
                      <a:pt x="496804" y="649318"/>
                      <a:pt x="490389" y="651523"/>
                    </a:cubicBezTo>
                    <a:cubicBezTo>
                      <a:pt x="488250" y="652626"/>
                      <a:pt x="485043" y="654832"/>
                      <a:pt x="481835" y="654832"/>
                    </a:cubicBezTo>
                    <a:cubicBezTo>
                      <a:pt x="482904" y="653729"/>
                      <a:pt x="483973" y="651523"/>
                      <a:pt x="485043" y="650421"/>
                    </a:cubicBezTo>
                    <a:cubicBezTo>
                      <a:pt x="488250" y="647112"/>
                      <a:pt x="491458" y="644906"/>
                      <a:pt x="494666" y="644906"/>
                    </a:cubicBezTo>
                    <a:cubicBezTo>
                      <a:pt x="496804" y="643803"/>
                      <a:pt x="497874" y="643803"/>
                      <a:pt x="498943" y="643803"/>
                    </a:cubicBezTo>
                    <a:cubicBezTo>
                      <a:pt x="503220" y="643803"/>
                      <a:pt x="506428" y="644906"/>
                      <a:pt x="509636" y="643803"/>
                    </a:cubicBezTo>
                    <a:cubicBezTo>
                      <a:pt x="512842" y="643803"/>
                      <a:pt x="516050" y="644906"/>
                      <a:pt x="518189" y="643803"/>
                    </a:cubicBezTo>
                    <a:cubicBezTo>
                      <a:pt x="519258" y="643803"/>
                      <a:pt x="520327" y="642701"/>
                      <a:pt x="521396" y="642701"/>
                    </a:cubicBezTo>
                    <a:cubicBezTo>
                      <a:pt x="523535" y="641598"/>
                      <a:pt x="524604" y="640495"/>
                      <a:pt x="525673" y="639392"/>
                    </a:cubicBezTo>
                    <a:cubicBezTo>
                      <a:pt x="527812" y="638289"/>
                      <a:pt x="526743" y="636083"/>
                      <a:pt x="527812" y="634981"/>
                    </a:cubicBezTo>
                    <a:cubicBezTo>
                      <a:pt x="531020" y="630569"/>
                      <a:pt x="536366" y="636083"/>
                      <a:pt x="539574" y="632775"/>
                    </a:cubicBezTo>
                    <a:cubicBezTo>
                      <a:pt x="541712" y="631672"/>
                      <a:pt x="542781" y="628363"/>
                      <a:pt x="542781" y="626157"/>
                    </a:cubicBezTo>
                    <a:cubicBezTo>
                      <a:pt x="541712" y="623951"/>
                      <a:pt x="540643" y="623951"/>
                      <a:pt x="539574" y="622848"/>
                    </a:cubicBezTo>
                    <a:cubicBezTo>
                      <a:pt x="537435" y="622848"/>
                      <a:pt x="537435" y="621745"/>
                      <a:pt x="535297" y="621745"/>
                    </a:cubicBezTo>
                    <a:cubicBezTo>
                      <a:pt x="534227" y="621745"/>
                      <a:pt x="533158" y="622848"/>
                      <a:pt x="532089" y="622848"/>
                    </a:cubicBezTo>
                    <a:cubicBezTo>
                      <a:pt x="528881" y="625054"/>
                      <a:pt x="526743" y="626157"/>
                      <a:pt x="524604" y="626157"/>
                    </a:cubicBezTo>
                    <a:cubicBezTo>
                      <a:pt x="522466" y="626157"/>
                      <a:pt x="520327" y="623951"/>
                      <a:pt x="521396" y="621745"/>
                    </a:cubicBezTo>
                    <a:cubicBezTo>
                      <a:pt x="521396" y="619540"/>
                      <a:pt x="524604" y="619540"/>
                      <a:pt x="525673" y="617334"/>
                    </a:cubicBezTo>
                    <a:cubicBezTo>
                      <a:pt x="527812" y="616231"/>
                      <a:pt x="528881" y="614025"/>
                      <a:pt x="526743" y="612922"/>
                    </a:cubicBezTo>
                    <a:cubicBezTo>
                      <a:pt x="524604" y="611820"/>
                      <a:pt x="521396" y="611820"/>
                      <a:pt x="519258" y="611820"/>
                    </a:cubicBezTo>
                    <a:cubicBezTo>
                      <a:pt x="514981" y="610717"/>
                      <a:pt x="516050" y="608511"/>
                      <a:pt x="516050" y="606305"/>
                    </a:cubicBezTo>
                    <a:cubicBezTo>
                      <a:pt x="516050" y="605805"/>
                      <a:pt x="516050" y="605305"/>
                      <a:pt x="516050" y="604806"/>
                    </a:cubicBezTo>
                    <a:cubicBezTo>
                      <a:pt x="516639" y="604381"/>
                      <a:pt x="517261" y="604381"/>
                      <a:pt x="521324" y="606272"/>
                    </a:cubicBezTo>
                    <a:cubicBezTo>
                      <a:pt x="525874" y="607219"/>
                      <a:pt x="529513" y="604381"/>
                      <a:pt x="533152" y="603434"/>
                    </a:cubicBezTo>
                    <a:lnTo>
                      <a:pt x="538612" y="602489"/>
                    </a:lnTo>
                    <a:cubicBezTo>
                      <a:pt x="541341" y="602489"/>
                      <a:pt x="541341" y="603434"/>
                      <a:pt x="543161" y="604381"/>
                    </a:cubicBezTo>
                    <a:cubicBezTo>
                      <a:pt x="545891" y="606272"/>
                      <a:pt x="547710" y="608164"/>
                      <a:pt x="550440" y="609110"/>
                    </a:cubicBezTo>
                    <a:cubicBezTo>
                      <a:pt x="561357" y="612894"/>
                      <a:pt x="558629" y="625190"/>
                      <a:pt x="556809" y="634648"/>
                    </a:cubicBezTo>
                    <a:cubicBezTo>
                      <a:pt x="555899" y="638431"/>
                      <a:pt x="557718" y="644106"/>
                      <a:pt x="560448" y="647889"/>
                    </a:cubicBezTo>
                    <a:cubicBezTo>
                      <a:pt x="563178" y="651674"/>
                      <a:pt x="566817" y="654511"/>
                      <a:pt x="568637" y="658294"/>
                    </a:cubicBezTo>
                    <a:cubicBezTo>
                      <a:pt x="570456" y="660186"/>
                      <a:pt x="571366" y="663024"/>
                      <a:pt x="571366" y="664915"/>
                    </a:cubicBezTo>
                    <a:cubicBezTo>
                      <a:pt x="571366" y="666807"/>
                      <a:pt x="571366" y="667753"/>
                      <a:pt x="572276" y="668699"/>
                    </a:cubicBezTo>
                    <a:cubicBezTo>
                      <a:pt x="572276" y="673428"/>
                      <a:pt x="569547" y="676265"/>
                      <a:pt x="572276" y="680048"/>
                    </a:cubicBezTo>
                    <a:cubicBezTo>
                      <a:pt x="576825" y="686670"/>
                      <a:pt x="569547" y="695183"/>
                      <a:pt x="567727" y="701804"/>
                    </a:cubicBezTo>
                    <a:cubicBezTo>
                      <a:pt x="566817" y="706532"/>
                      <a:pt x="564998" y="713154"/>
                      <a:pt x="567727" y="716937"/>
                    </a:cubicBezTo>
                    <a:cubicBezTo>
                      <a:pt x="568637" y="717883"/>
                      <a:pt x="570456" y="718829"/>
                      <a:pt x="571366" y="719775"/>
                    </a:cubicBezTo>
                    <a:cubicBezTo>
                      <a:pt x="573186" y="722612"/>
                      <a:pt x="573186" y="725450"/>
                      <a:pt x="574096" y="727342"/>
                    </a:cubicBezTo>
                    <a:cubicBezTo>
                      <a:pt x="575006" y="729233"/>
                      <a:pt x="575006" y="732071"/>
                      <a:pt x="575006" y="733963"/>
                    </a:cubicBezTo>
                    <a:cubicBezTo>
                      <a:pt x="575916" y="736800"/>
                      <a:pt x="577735" y="737746"/>
                      <a:pt x="578646" y="740583"/>
                    </a:cubicBezTo>
                    <a:cubicBezTo>
                      <a:pt x="579555" y="748151"/>
                      <a:pt x="577735" y="754771"/>
                      <a:pt x="580465" y="761392"/>
                    </a:cubicBezTo>
                    <a:cubicBezTo>
                      <a:pt x="582285" y="765175"/>
                      <a:pt x="584104" y="768959"/>
                      <a:pt x="585924" y="772742"/>
                    </a:cubicBezTo>
                    <a:cubicBezTo>
                      <a:pt x="587743" y="774634"/>
                      <a:pt x="588654" y="776525"/>
                      <a:pt x="588654" y="779363"/>
                    </a:cubicBezTo>
                    <a:cubicBezTo>
                      <a:pt x="589564" y="783147"/>
                      <a:pt x="587743" y="787876"/>
                      <a:pt x="587743" y="791659"/>
                    </a:cubicBezTo>
                    <a:cubicBezTo>
                      <a:pt x="588654" y="797334"/>
                      <a:pt x="593203" y="797334"/>
                      <a:pt x="597752" y="795443"/>
                    </a:cubicBezTo>
                    <a:cubicBezTo>
                      <a:pt x="600481" y="794497"/>
                      <a:pt x="603211" y="793551"/>
                      <a:pt x="606851" y="793551"/>
                    </a:cubicBezTo>
                    <a:cubicBezTo>
                      <a:pt x="612310" y="794497"/>
                      <a:pt x="618679" y="795443"/>
                      <a:pt x="623228" y="792606"/>
                    </a:cubicBezTo>
                    <a:lnTo>
                      <a:pt x="630507" y="785038"/>
                    </a:lnTo>
                    <a:cubicBezTo>
                      <a:pt x="632327" y="783147"/>
                      <a:pt x="632327" y="780310"/>
                      <a:pt x="633236" y="778418"/>
                    </a:cubicBezTo>
                    <a:cubicBezTo>
                      <a:pt x="635057" y="772742"/>
                      <a:pt x="641426" y="770850"/>
                      <a:pt x="643245" y="765175"/>
                    </a:cubicBezTo>
                    <a:cubicBezTo>
                      <a:pt x="644154" y="762338"/>
                      <a:pt x="644154" y="759500"/>
                      <a:pt x="644154" y="756663"/>
                    </a:cubicBezTo>
                    <a:cubicBezTo>
                      <a:pt x="645975" y="752879"/>
                      <a:pt x="650523" y="751934"/>
                      <a:pt x="651434" y="747204"/>
                    </a:cubicBezTo>
                    <a:cubicBezTo>
                      <a:pt x="652344" y="743421"/>
                      <a:pt x="655983" y="734908"/>
                      <a:pt x="652344" y="731125"/>
                    </a:cubicBezTo>
                    <a:cubicBezTo>
                      <a:pt x="650523" y="729233"/>
                      <a:pt x="648704" y="729233"/>
                      <a:pt x="649614" y="726395"/>
                    </a:cubicBezTo>
                    <a:cubicBezTo>
                      <a:pt x="650523" y="723558"/>
                      <a:pt x="653253" y="721667"/>
                      <a:pt x="655983" y="719775"/>
                    </a:cubicBezTo>
                    <a:cubicBezTo>
                      <a:pt x="659622" y="717883"/>
                      <a:pt x="663262" y="717883"/>
                      <a:pt x="665991" y="714100"/>
                    </a:cubicBezTo>
                    <a:cubicBezTo>
                      <a:pt x="668721" y="711262"/>
                      <a:pt x="668721" y="707479"/>
                      <a:pt x="669631" y="703695"/>
                    </a:cubicBezTo>
                    <a:cubicBezTo>
                      <a:pt x="669631" y="698966"/>
                      <a:pt x="671451" y="695183"/>
                      <a:pt x="672360" y="690453"/>
                    </a:cubicBezTo>
                    <a:cubicBezTo>
                      <a:pt x="672360" y="686670"/>
                      <a:pt x="671451" y="681940"/>
                      <a:pt x="670540" y="677211"/>
                    </a:cubicBezTo>
                    <a:cubicBezTo>
                      <a:pt x="668721" y="673428"/>
                      <a:pt x="667811" y="668699"/>
                      <a:pt x="666901" y="665861"/>
                    </a:cubicBezTo>
                    <a:cubicBezTo>
                      <a:pt x="665991" y="663969"/>
                      <a:pt x="665082" y="662077"/>
                      <a:pt x="665082" y="660186"/>
                    </a:cubicBezTo>
                    <a:cubicBezTo>
                      <a:pt x="665082" y="657349"/>
                      <a:pt x="665991" y="653565"/>
                      <a:pt x="666901" y="650727"/>
                    </a:cubicBezTo>
                    <a:cubicBezTo>
                      <a:pt x="667811" y="648836"/>
                      <a:pt x="669631" y="648836"/>
                      <a:pt x="670540" y="646944"/>
                    </a:cubicBezTo>
                    <a:cubicBezTo>
                      <a:pt x="671451" y="645998"/>
                      <a:pt x="671451" y="644106"/>
                      <a:pt x="672360" y="643161"/>
                    </a:cubicBezTo>
                    <a:cubicBezTo>
                      <a:pt x="674180" y="640323"/>
                      <a:pt x="676909" y="638431"/>
                      <a:pt x="679639" y="635594"/>
                    </a:cubicBezTo>
                    <a:cubicBezTo>
                      <a:pt x="682369" y="632756"/>
                      <a:pt x="685099" y="628973"/>
                      <a:pt x="687827" y="625190"/>
                    </a:cubicBezTo>
                    <a:cubicBezTo>
                      <a:pt x="688738" y="623298"/>
                      <a:pt x="688738" y="621406"/>
                      <a:pt x="689647" y="620460"/>
                    </a:cubicBezTo>
                    <a:cubicBezTo>
                      <a:pt x="692377" y="615730"/>
                      <a:pt x="697836" y="613839"/>
                      <a:pt x="701476" y="610056"/>
                    </a:cubicBezTo>
                    <a:cubicBezTo>
                      <a:pt x="703295" y="607219"/>
                      <a:pt x="703295" y="605327"/>
                      <a:pt x="703295" y="602489"/>
                    </a:cubicBezTo>
                    <a:cubicBezTo>
                      <a:pt x="703295" y="598706"/>
                      <a:pt x="704205" y="596814"/>
                      <a:pt x="706025" y="593031"/>
                    </a:cubicBezTo>
                    <a:cubicBezTo>
                      <a:pt x="706935" y="591139"/>
                      <a:pt x="708755" y="589248"/>
                      <a:pt x="709664" y="586410"/>
                    </a:cubicBezTo>
                    <a:cubicBezTo>
                      <a:pt x="710574" y="585463"/>
                      <a:pt x="711484" y="583572"/>
                      <a:pt x="712394" y="581680"/>
                    </a:cubicBezTo>
                    <a:lnTo>
                      <a:pt x="713304" y="574113"/>
                    </a:lnTo>
                    <a:cubicBezTo>
                      <a:pt x="712394" y="572222"/>
                      <a:pt x="710574" y="573168"/>
                      <a:pt x="709664" y="574113"/>
                    </a:cubicBezTo>
                    <a:cubicBezTo>
                      <a:pt x="707844" y="576005"/>
                      <a:pt x="706935" y="576005"/>
                      <a:pt x="700565" y="576951"/>
                    </a:cubicBezTo>
                    <a:cubicBezTo>
                      <a:pt x="699656" y="576951"/>
                      <a:pt x="699656" y="577897"/>
                      <a:pt x="698746" y="578843"/>
                    </a:cubicBezTo>
                    <a:cubicBezTo>
                      <a:pt x="696017" y="579788"/>
                      <a:pt x="693287" y="578843"/>
                      <a:pt x="686008" y="578843"/>
                    </a:cubicBezTo>
                    <a:cubicBezTo>
                      <a:pt x="684188" y="577897"/>
                      <a:pt x="684188" y="576951"/>
                      <a:pt x="683278" y="575060"/>
                    </a:cubicBezTo>
                    <a:cubicBezTo>
                      <a:pt x="681459" y="569384"/>
                      <a:pt x="676909" y="566547"/>
                      <a:pt x="674180" y="561817"/>
                    </a:cubicBezTo>
                    <a:cubicBezTo>
                      <a:pt x="671451" y="556142"/>
                      <a:pt x="666901" y="550467"/>
                      <a:pt x="665991" y="544792"/>
                    </a:cubicBezTo>
                    <a:cubicBezTo>
                      <a:pt x="665082" y="541009"/>
                      <a:pt x="665082" y="537225"/>
                      <a:pt x="663262" y="533441"/>
                    </a:cubicBezTo>
                    <a:cubicBezTo>
                      <a:pt x="660532" y="528713"/>
                      <a:pt x="655983" y="523983"/>
                      <a:pt x="654163" y="518308"/>
                    </a:cubicBezTo>
                    <a:lnTo>
                      <a:pt x="653253" y="509795"/>
                    </a:lnTo>
                    <a:cubicBezTo>
                      <a:pt x="652344" y="507904"/>
                      <a:pt x="650523" y="505066"/>
                      <a:pt x="649614" y="502229"/>
                    </a:cubicBezTo>
                    <a:cubicBezTo>
                      <a:pt x="648704" y="501283"/>
                      <a:pt x="644154" y="496554"/>
                      <a:pt x="645065" y="494662"/>
                    </a:cubicBezTo>
                    <a:lnTo>
                      <a:pt x="651434" y="493716"/>
                    </a:lnTo>
                    <a:cubicBezTo>
                      <a:pt x="653253" y="495608"/>
                      <a:pt x="655983" y="498446"/>
                      <a:pt x="656893" y="501283"/>
                    </a:cubicBezTo>
                    <a:cubicBezTo>
                      <a:pt x="657802" y="503174"/>
                      <a:pt x="657802" y="505066"/>
                      <a:pt x="659622" y="507904"/>
                    </a:cubicBezTo>
                    <a:cubicBezTo>
                      <a:pt x="660532" y="509795"/>
                      <a:pt x="661442" y="510742"/>
                      <a:pt x="662352" y="514525"/>
                    </a:cubicBezTo>
                    <a:cubicBezTo>
                      <a:pt x="663262" y="517362"/>
                      <a:pt x="664171" y="519254"/>
                      <a:pt x="665991" y="521145"/>
                    </a:cubicBezTo>
                    <a:cubicBezTo>
                      <a:pt x="667811" y="523983"/>
                      <a:pt x="667811" y="526821"/>
                      <a:pt x="668721" y="529658"/>
                    </a:cubicBezTo>
                    <a:cubicBezTo>
                      <a:pt x="668721" y="532496"/>
                      <a:pt x="670540" y="532496"/>
                      <a:pt x="671451" y="535333"/>
                    </a:cubicBezTo>
                    <a:cubicBezTo>
                      <a:pt x="672360" y="537225"/>
                      <a:pt x="672360" y="540063"/>
                      <a:pt x="674180" y="542901"/>
                    </a:cubicBezTo>
                    <a:cubicBezTo>
                      <a:pt x="675090" y="545738"/>
                      <a:pt x="677819" y="545738"/>
                      <a:pt x="679639" y="547629"/>
                    </a:cubicBezTo>
                    <a:cubicBezTo>
                      <a:pt x="681459" y="550467"/>
                      <a:pt x="680549" y="554251"/>
                      <a:pt x="680549" y="557089"/>
                    </a:cubicBezTo>
                    <a:cubicBezTo>
                      <a:pt x="679639" y="562763"/>
                      <a:pt x="682369" y="566547"/>
                      <a:pt x="687827" y="567492"/>
                    </a:cubicBezTo>
                    <a:cubicBezTo>
                      <a:pt x="691468" y="568438"/>
                      <a:pt x="694196" y="566547"/>
                      <a:pt x="696926" y="566547"/>
                    </a:cubicBezTo>
                    <a:cubicBezTo>
                      <a:pt x="699656" y="565600"/>
                      <a:pt x="702386" y="566547"/>
                      <a:pt x="705115" y="565600"/>
                    </a:cubicBezTo>
                    <a:lnTo>
                      <a:pt x="707844" y="560872"/>
                    </a:lnTo>
                    <a:cubicBezTo>
                      <a:pt x="709664" y="559926"/>
                      <a:pt x="712394" y="561817"/>
                      <a:pt x="715124" y="554251"/>
                    </a:cubicBezTo>
                    <a:cubicBezTo>
                      <a:pt x="716033" y="550467"/>
                      <a:pt x="721493" y="549521"/>
                      <a:pt x="724222" y="547629"/>
                    </a:cubicBezTo>
                    <a:cubicBezTo>
                      <a:pt x="726042" y="547629"/>
                      <a:pt x="727861" y="545738"/>
                      <a:pt x="729681" y="545738"/>
                    </a:cubicBezTo>
                    <a:cubicBezTo>
                      <a:pt x="731501" y="544792"/>
                      <a:pt x="734230" y="543846"/>
                      <a:pt x="736050" y="542901"/>
                    </a:cubicBezTo>
                    <a:cubicBezTo>
                      <a:pt x="738780" y="541009"/>
                      <a:pt x="739689" y="536279"/>
                      <a:pt x="739689" y="533441"/>
                    </a:cubicBezTo>
                    <a:cubicBezTo>
                      <a:pt x="740599" y="529658"/>
                      <a:pt x="741510" y="525875"/>
                      <a:pt x="739689" y="522092"/>
                    </a:cubicBezTo>
                    <a:cubicBezTo>
                      <a:pt x="737869" y="518308"/>
                      <a:pt x="734230" y="518308"/>
                      <a:pt x="732411" y="515470"/>
                    </a:cubicBezTo>
                    <a:cubicBezTo>
                      <a:pt x="730591" y="513579"/>
                      <a:pt x="730591" y="511687"/>
                      <a:pt x="727861" y="512633"/>
                    </a:cubicBezTo>
                    <a:cubicBezTo>
                      <a:pt x="725132" y="512633"/>
                      <a:pt x="726042" y="518308"/>
                      <a:pt x="722402" y="519254"/>
                    </a:cubicBezTo>
                    <a:cubicBezTo>
                      <a:pt x="718763" y="521145"/>
                      <a:pt x="712394" y="516417"/>
                      <a:pt x="709664" y="514525"/>
                    </a:cubicBezTo>
                    <a:cubicBezTo>
                      <a:pt x="707844" y="512633"/>
                      <a:pt x="706935" y="510742"/>
                      <a:pt x="706025" y="508850"/>
                    </a:cubicBezTo>
                    <a:cubicBezTo>
                      <a:pt x="706025" y="506957"/>
                      <a:pt x="706025" y="505066"/>
                      <a:pt x="706025" y="503174"/>
                    </a:cubicBezTo>
                    <a:cubicBezTo>
                      <a:pt x="705115" y="500337"/>
                      <a:pt x="703295" y="498446"/>
                      <a:pt x="701476" y="496554"/>
                    </a:cubicBezTo>
                    <a:cubicBezTo>
                      <a:pt x="699656" y="495608"/>
                      <a:pt x="699656" y="493716"/>
                      <a:pt x="698746" y="491824"/>
                    </a:cubicBezTo>
                    <a:cubicBezTo>
                      <a:pt x="698746" y="488041"/>
                      <a:pt x="703295" y="485203"/>
                      <a:pt x="706935" y="487095"/>
                    </a:cubicBezTo>
                    <a:cubicBezTo>
                      <a:pt x="708755" y="489933"/>
                      <a:pt x="708755" y="493716"/>
                      <a:pt x="710574" y="496554"/>
                    </a:cubicBezTo>
                    <a:cubicBezTo>
                      <a:pt x="712394" y="501283"/>
                      <a:pt x="716033" y="501283"/>
                      <a:pt x="720582" y="501283"/>
                    </a:cubicBezTo>
                    <a:cubicBezTo>
                      <a:pt x="725132" y="501283"/>
                      <a:pt x="727861" y="501283"/>
                      <a:pt x="731501" y="505066"/>
                    </a:cubicBezTo>
                    <a:cubicBezTo>
                      <a:pt x="733320" y="506957"/>
                      <a:pt x="735141" y="509795"/>
                      <a:pt x="738780" y="509795"/>
                    </a:cubicBezTo>
                    <a:cubicBezTo>
                      <a:pt x="740599" y="510742"/>
                      <a:pt x="743329" y="510742"/>
                      <a:pt x="746059" y="511687"/>
                    </a:cubicBezTo>
                    <a:cubicBezTo>
                      <a:pt x="749698" y="512633"/>
                      <a:pt x="753337" y="511687"/>
                      <a:pt x="756976" y="509795"/>
                    </a:cubicBezTo>
                    <a:cubicBezTo>
                      <a:pt x="760616" y="508850"/>
                      <a:pt x="764255" y="506957"/>
                      <a:pt x="767895" y="509795"/>
                    </a:cubicBezTo>
                    <a:cubicBezTo>
                      <a:pt x="770624" y="511687"/>
                      <a:pt x="769715" y="516417"/>
                      <a:pt x="771535" y="519254"/>
                    </a:cubicBezTo>
                    <a:cubicBezTo>
                      <a:pt x="773354" y="522092"/>
                      <a:pt x="776084" y="522092"/>
                      <a:pt x="777904" y="523983"/>
                    </a:cubicBezTo>
                    <a:cubicBezTo>
                      <a:pt x="780633" y="525875"/>
                      <a:pt x="776084" y="526821"/>
                      <a:pt x="776084" y="529658"/>
                    </a:cubicBezTo>
                    <a:cubicBezTo>
                      <a:pt x="776084" y="532496"/>
                      <a:pt x="777904" y="534388"/>
                      <a:pt x="780633" y="534388"/>
                    </a:cubicBezTo>
                    <a:cubicBezTo>
                      <a:pt x="783362" y="534388"/>
                      <a:pt x="783362" y="532496"/>
                      <a:pt x="785183" y="529658"/>
                    </a:cubicBezTo>
                    <a:cubicBezTo>
                      <a:pt x="786092" y="528713"/>
                      <a:pt x="787002" y="527767"/>
                      <a:pt x="787912" y="529658"/>
                    </a:cubicBezTo>
                    <a:cubicBezTo>
                      <a:pt x="789731" y="532496"/>
                      <a:pt x="787912" y="536279"/>
                      <a:pt x="787912" y="539116"/>
                    </a:cubicBezTo>
                    <a:cubicBezTo>
                      <a:pt x="787912" y="542901"/>
                      <a:pt x="788822" y="546684"/>
                      <a:pt x="790641" y="550467"/>
                    </a:cubicBezTo>
                    <a:cubicBezTo>
                      <a:pt x="793371" y="554251"/>
                      <a:pt x="793371" y="557089"/>
                      <a:pt x="794280" y="560872"/>
                    </a:cubicBezTo>
                    <a:cubicBezTo>
                      <a:pt x="795191" y="563709"/>
                      <a:pt x="795191" y="567492"/>
                      <a:pt x="796100" y="570330"/>
                    </a:cubicBezTo>
                    <a:cubicBezTo>
                      <a:pt x="797010" y="574113"/>
                      <a:pt x="797921" y="577897"/>
                      <a:pt x="798830" y="581680"/>
                    </a:cubicBezTo>
                    <a:cubicBezTo>
                      <a:pt x="799740" y="587355"/>
                      <a:pt x="803379" y="592084"/>
                      <a:pt x="808839" y="589248"/>
                    </a:cubicBezTo>
                    <a:cubicBezTo>
                      <a:pt x="811568" y="587355"/>
                      <a:pt x="813388" y="584518"/>
                      <a:pt x="813388" y="581680"/>
                    </a:cubicBezTo>
                    <a:cubicBezTo>
                      <a:pt x="813388" y="580735"/>
                      <a:pt x="813388" y="579788"/>
                      <a:pt x="813388" y="577897"/>
                    </a:cubicBezTo>
                    <a:cubicBezTo>
                      <a:pt x="814297" y="576951"/>
                      <a:pt x="815208" y="576005"/>
                      <a:pt x="815208" y="574113"/>
                    </a:cubicBezTo>
                    <a:cubicBezTo>
                      <a:pt x="816117" y="572222"/>
                      <a:pt x="815208" y="570330"/>
                      <a:pt x="814297" y="568438"/>
                    </a:cubicBezTo>
                    <a:cubicBezTo>
                      <a:pt x="814297" y="565600"/>
                      <a:pt x="814297" y="562763"/>
                      <a:pt x="815208" y="560872"/>
                    </a:cubicBezTo>
                    <a:cubicBezTo>
                      <a:pt x="816117" y="559926"/>
                      <a:pt x="817027" y="559926"/>
                      <a:pt x="817937" y="558980"/>
                    </a:cubicBezTo>
                    <a:cubicBezTo>
                      <a:pt x="818847" y="558034"/>
                      <a:pt x="818847" y="557089"/>
                      <a:pt x="819757" y="556142"/>
                    </a:cubicBezTo>
                    <a:cubicBezTo>
                      <a:pt x="820666" y="553304"/>
                      <a:pt x="823396" y="552359"/>
                      <a:pt x="825216" y="551413"/>
                    </a:cubicBezTo>
                    <a:cubicBezTo>
                      <a:pt x="829765" y="548576"/>
                      <a:pt x="834314" y="545738"/>
                      <a:pt x="837044" y="541009"/>
                    </a:cubicBezTo>
                    <a:cubicBezTo>
                      <a:pt x="837954" y="539116"/>
                      <a:pt x="839773" y="537225"/>
                      <a:pt x="841594" y="535333"/>
                    </a:cubicBezTo>
                    <a:cubicBezTo>
                      <a:pt x="841594" y="534388"/>
                      <a:pt x="842503" y="533441"/>
                      <a:pt x="843413" y="532496"/>
                    </a:cubicBezTo>
                    <a:lnTo>
                      <a:pt x="848872" y="531550"/>
                    </a:lnTo>
                    <a:cubicBezTo>
                      <a:pt x="850691" y="530605"/>
                      <a:pt x="851602" y="526821"/>
                      <a:pt x="857060" y="527767"/>
                    </a:cubicBezTo>
                    <a:cubicBezTo>
                      <a:pt x="858881" y="530605"/>
                      <a:pt x="858881" y="533441"/>
                      <a:pt x="860700" y="535333"/>
                    </a:cubicBezTo>
                    <a:cubicBezTo>
                      <a:pt x="861610" y="537225"/>
                      <a:pt x="862520" y="536279"/>
                      <a:pt x="863429" y="537225"/>
                    </a:cubicBezTo>
                    <a:cubicBezTo>
                      <a:pt x="864339" y="538171"/>
                      <a:pt x="864339" y="540063"/>
                      <a:pt x="867069" y="545738"/>
                    </a:cubicBezTo>
                    <a:cubicBezTo>
                      <a:pt x="867979" y="547629"/>
                      <a:pt x="867979" y="549521"/>
                      <a:pt x="867069" y="551413"/>
                    </a:cubicBezTo>
                    <a:lnTo>
                      <a:pt x="867069" y="557089"/>
                    </a:lnTo>
                    <a:cubicBezTo>
                      <a:pt x="868889" y="557089"/>
                      <a:pt x="870708" y="556142"/>
                      <a:pt x="871619" y="555196"/>
                    </a:cubicBezTo>
                    <a:cubicBezTo>
                      <a:pt x="873438" y="554251"/>
                      <a:pt x="874347" y="551413"/>
                      <a:pt x="877077" y="553304"/>
                    </a:cubicBezTo>
                    <a:lnTo>
                      <a:pt x="881627" y="565600"/>
                    </a:lnTo>
                    <a:cubicBezTo>
                      <a:pt x="882537" y="570330"/>
                      <a:pt x="883446" y="574113"/>
                      <a:pt x="883446" y="577897"/>
                    </a:cubicBezTo>
                    <a:cubicBezTo>
                      <a:pt x="884357" y="583572"/>
                      <a:pt x="882537" y="588301"/>
                      <a:pt x="884357" y="593031"/>
                    </a:cubicBezTo>
                    <a:cubicBezTo>
                      <a:pt x="885266" y="594922"/>
                      <a:pt x="886176" y="595868"/>
                      <a:pt x="887086" y="597759"/>
                    </a:cubicBezTo>
                    <a:cubicBezTo>
                      <a:pt x="888906" y="600597"/>
                      <a:pt x="888906" y="604381"/>
                      <a:pt x="888906" y="607219"/>
                    </a:cubicBezTo>
                    <a:cubicBezTo>
                      <a:pt x="888906" y="611002"/>
                      <a:pt x="889815" y="614785"/>
                      <a:pt x="891636" y="617622"/>
                    </a:cubicBezTo>
                    <a:cubicBezTo>
                      <a:pt x="892545" y="619515"/>
                      <a:pt x="894365" y="620460"/>
                      <a:pt x="896184" y="621406"/>
                    </a:cubicBezTo>
                    <a:lnTo>
                      <a:pt x="901644" y="623298"/>
                    </a:lnTo>
                    <a:cubicBezTo>
                      <a:pt x="903463" y="622352"/>
                      <a:pt x="902553" y="619515"/>
                      <a:pt x="902553" y="617622"/>
                    </a:cubicBezTo>
                    <a:cubicBezTo>
                      <a:pt x="900733" y="615730"/>
                      <a:pt x="899824" y="612894"/>
                      <a:pt x="899824" y="610056"/>
                    </a:cubicBezTo>
                    <a:cubicBezTo>
                      <a:pt x="898914" y="608164"/>
                      <a:pt x="898005" y="605327"/>
                      <a:pt x="897094" y="602489"/>
                    </a:cubicBezTo>
                    <a:cubicBezTo>
                      <a:pt x="894365" y="597759"/>
                      <a:pt x="887996" y="594922"/>
                      <a:pt x="886176" y="589248"/>
                    </a:cubicBezTo>
                    <a:cubicBezTo>
                      <a:pt x="885266" y="585463"/>
                      <a:pt x="887086" y="580735"/>
                      <a:pt x="888906" y="572222"/>
                    </a:cubicBezTo>
                    <a:lnTo>
                      <a:pt x="894365" y="574113"/>
                    </a:lnTo>
                    <a:cubicBezTo>
                      <a:pt x="897094" y="576005"/>
                      <a:pt x="899824" y="577897"/>
                      <a:pt x="900733" y="580735"/>
                    </a:cubicBezTo>
                    <a:lnTo>
                      <a:pt x="906193" y="590193"/>
                    </a:lnTo>
                    <a:cubicBezTo>
                      <a:pt x="908923" y="592084"/>
                      <a:pt x="910742" y="590193"/>
                      <a:pt x="911652" y="588301"/>
                    </a:cubicBezTo>
                    <a:cubicBezTo>
                      <a:pt x="913471" y="584518"/>
                      <a:pt x="916201" y="582626"/>
                      <a:pt x="918931" y="579788"/>
                    </a:cubicBezTo>
                    <a:cubicBezTo>
                      <a:pt x="919841" y="578843"/>
                      <a:pt x="920750" y="577897"/>
                      <a:pt x="921661" y="576005"/>
                    </a:cubicBezTo>
                    <a:cubicBezTo>
                      <a:pt x="923480" y="569384"/>
                      <a:pt x="922570" y="562763"/>
                      <a:pt x="919841" y="557089"/>
                    </a:cubicBezTo>
                    <a:cubicBezTo>
                      <a:pt x="917111" y="552359"/>
                      <a:pt x="911652" y="547629"/>
                      <a:pt x="911652" y="541954"/>
                    </a:cubicBezTo>
                    <a:cubicBezTo>
                      <a:pt x="910742" y="534388"/>
                      <a:pt x="918021" y="525875"/>
                      <a:pt x="924390" y="533441"/>
                    </a:cubicBezTo>
                    <a:cubicBezTo>
                      <a:pt x="926210" y="534388"/>
                      <a:pt x="927119" y="534388"/>
                      <a:pt x="928030" y="532496"/>
                    </a:cubicBezTo>
                    <a:cubicBezTo>
                      <a:pt x="930759" y="528713"/>
                      <a:pt x="931669" y="527767"/>
                      <a:pt x="935308" y="526821"/>
                    </a:cubicBezTo>
                    <a:cubicBezTo>
                      <a:pt x="938948" y="525875"/>
                      <a:pt x="943497" y="524930"/>
                      <a:pt x="947136" y="523983"/>
                    </a:cubicBezTo>
                    <a:cubicBezTo>
                      <a:pt x="948047" y="523037"/>
                      <a:pt x="948956" y="522092"/>
                      <a:pt x="950775" y="521145"/>
                    </a:cubicBezTo>
                    <a:cubicBezTo>
                      <a:pt x="954416" y="517362"/>
                      <a:pt x="954416" y="511687"/>
                      <a:pt x="956235" y="506957"/>
                    </a:cubicBezTo>
                    <a:cubicBezTo>
                      <a:pt x="958055" y="502229"/>
                      <a:pt x="963513" y="499391"/>
                      <a:pt x="965334" y="494662"/>
                    </a:cubicBezTo>
                    <a:cubicBezTo>
                      <a:pt x="966243" y="491824"/>
                      <a:pt x="965334" y="490878"/>
                      <a:pt x="963513" y="488986"/>
                    </a:cubicBezTo>
                    <a:cubicBezTo>
                      <a:pt x="962604" y="487095"/>
                      <a:pt x="963513" y="486149"/>
                      <a:pt x="963513" y="483311"/>
                    </a:cubicBezTo>
                    <a:cubicBezTo>
                      <a:pt x="964424" y="482366"/>
                      <a:pt x="964424" y="481420"/>
                      <a:pt x="964424" y="480474"/>
                    </a:cubicBezTo>
                    <a:cubicBezTo>
                      <a:pt x="963513" y="477636"/>
                      <a:pt x="959874" y="474799"/>
                      <a:pt x="959874" y="471962"/>
                    </a:cubicBezTo>
                    <a:cubicBezTo>
                      <a:pt x="959874" y="469124"/>
                      <a:pt x="960784" y="469124"/>
                      <a:pt x="960784" y="466287"/>
                    </a:cubicBezTo>
                    <a:cubicBezTo>
                      <a:pt x="959874" y="464395"/>
                      <a:pt x="958965" y="461557"/>
                      <a:pt x="959874" y="458719"/>
                    </a:cubicBezTo>
                    <a:cubicBezTo>
                      <a:pt x="960784" y="455882"/>
                      <a:pt x="966243" y="456827"/>
                      <a:pt x="967153" y="453044"/>
                    </a:cubicBezTo>
                    <a:cubicBezTo>
                      <a:pt x="967153" y="451152"/>
                      <a:pt x="965334" y="450207"/>
                      <a:pt x="964424" y="449261"/>
                    </a:cubicBezTo>
                    <a:cubicBezTo>
                      <a:pt x="960784" y="448316"/>
                      <a:pt x="955325" y="450207"/>
                      <a:pt x="952595" y="443586"/>
                    </a:cubicBezTo>
                    <a:lnTo>
                      <a:pt x="966129" y="437793"/>
                    </a:lnTo>
                    <a:cubicBezTo>
                      <a:pt x="967924" y="437024"/>
                      <a:pt x="968053" y="436969"/>
                      <a:pt x="968063" y="436965"/>
                    </a:cubicBezTo>
                    <a:cubicBezTo>
                      <a:pt x="968063" y="437911"/>
                      <a:pt x="968063" y="437911"/>
                      <a:pt x="967153" y="438856"/>
                    </a:cubicBezTo>
                    <a:cubicBezTo>
                      <a:pt x="967153" y="440748"/>
                      <a:pt x="967153" y="442640"/>
                      <a:pt x="969883" y="441694"/>
                    </a:cubicBezTo>
                    <a:cubicBezTo>
                      <a:pt x="974432" y="439803"/>
                      <a:pt x="976252" y="439803"/>
                      <a:pt x="978981" y="444531"/>
                    </a:cubicBezTo>
                    <a:cubicBezTo>
                      <a:pt x="979891" y="447369"/>
                      <a:pt x="981711" y="448316"/>
                      <a:pt x="983530" y="450207"/>
                    </a:cubicBezTo>
                    <a:cubicBezTo>
                      <a:pt x="985350" y="452099"/>
                      <a:pt x="985350" y="455882"/>
                      <a:pt x="985350" y="458719"/>
                    </a:cubicBezTo>
                    <a:cubicBezTo>
                      <a:pt x="985350" y="460611"/>
                      <a:pt x="984441" y="463449"/>
                      <a:pt x="986260" y="464395"/>
                    </a:cubicBezTo>
                    <a:cubicBezTo>
                      <a:pt x="988080" y="466287"/>
                      <a:pt x="989899" y="466287"/>
                      <a:pt x="991719" y="464395"/>
                    </a:cubicBezTo>
                    <a:cubicBezTo>
                      <a:pt x="996268" y="457774"/>
                      <a:pt x="988080" y="452099"/>
                      <a:pt x="988990" y="445478"/>
                    </a:cubicBezTo>
                    <a:cubicBezTo>
                      <a:pt x="989899" y="441694"/>
                      <a:pt x="993539" y="438856"/>
                      <a:pt x="993539" y="435073"/>
                    </a:cubicBezTo>
                    <a:cubicBezTo>
                      <a:pt x="994449" y="432236"/>
                      <a:pt x="994449" y="429398"/>
                      <a:pt x="995359" y="427506"/>
                    </a:cubicBezTo>
                    <a:cubicBezTo>
                      <a:pt x="995359" y="426560"/>
                      <a:pt x="996268" y="425615"/>
                      <a:pt x="997178" y="424668"/>
                    </a:cubicBezTo>
                    <a:lnTo>
                      <a:pt x="1005139" y="421358"/>
                    </a:lnTo>
                    <a:cubicBezTo>
                      <a:pt x="1006277" y="420885"/>
                      <a:pt x="1006277" y="420885"/>
                      <a:pt x="1007186" y="420885"/>
                    </a:cubicBezTo>
                    <a:cubicBezTo>
                      <a:pt x="1010827" y="421831"/>
                      <a:pt x="1014466" y="419940"/>
                      <a:pt x="1016285" y="417102"/>
                    </a:cubicBezTo>
                    <a:cubicBezTo>
                      <a:pt x="1017195" y="414264"/>
                      <a:pt x="1019015" y="412372"/>
                      <a:pt x="1020835" y="410481"/>
                    </a:cubicBezTo>
                    <a:cubicBezTo>
                      <a:pt x="1022654" y="407644"/>
                      <a:pt x="1024474" y="404806"/>
                      <a:pt x="1026294" y="401968"/>
                    </a:cubicBezTo>
                    <a:cubicBezTo>
                      <a:pt x="1029023" y="398184"/>
                      <a:pt x="1029933" y="395347"/>
                      <a:pt x="1031753" y="391564"/>
                    </a:cubicBezTo>
                    <a:cubicBezTo>
                      <a:pt x="1033572" y="388726"/>
                      <a:pt x="1034483" y="386835"/>
                      <a:pt x="1034483" y="382105"/>
                    </a:cubicBezTo>
                    <a:cubicBezTo>
                      <a:pt x="1034483" y="379268"/>
                      <a:pt x="1034483" y="375485"/>
                      <a:pt x="1033572" y="371700"/>
                    </a:cubicBezTo>
                    <a:cubicBezTo>
                      <a:pt x="1033572" y="369809"/>
                      <a:pt x="1033572" y="366972"/>
                      <a:pt x="1032663" y="365080"/>
                    </a:cubicBezTo>
                    <a:cubicBezTo>
                      <a:pt x="1029933" y="359404"/>
                      <a:pt x="1027203" y="362242"/>
                      <a:pt x="1022654" y="362242"/>
                    </a:cubicBezTo>
                    <a:cubicBezTo>
                      <a:pt x="1019015" y="362242"/>
                      <a:pt x="1017195" y="358459"/>
                      <a:pt x="1017195" y="354676"/>
                    </a:cubicBezTo>
                    <a:cubicBezTo>
                      <a:pt x="1018105" y="351838"/>
                      <a:pt x="1019015" y="349946"/>
                      <a:pt x="1021745" y="349001"/>
                    </a:cubicBezTo>
                    <a:cubicBezTo>
                      <a:pt x="1024474" y="347109"/>
                      <a:pt x="1027203" y="345217"/>
                      <a:pt x="1029023" y="342379"/>
                    </a:cubicBezTo>
                    <a:lnTo>
                      <a:pt x="1032663" y="338596"/>
                    </a:lnTo>
                    <a:cubicBezTo>
                      <a:pt x="1033572" y="335758"/>
                      <a:pt x="1032663" y="333867"/>
                      <a:pt x="1034483" y="331030"/>
                    </a:cubicBezTo>
                    <a:cubicBezTo>
                      <a:pt x="1038122" y="327245"/>
                      <a:pt x="1041761" y="326300"/>
                      <a:pt x="1046310" y="326300"/>
                    </a:cubicBezTo>
                    <a:cubicBezTo>
                      <a:pt x="1053589" y="326300"/>
                      <a:pt x="1059958" y="329138"/>
                      <a:pt x="1066327" y="325354"/>
                    </a:cubicBezTo>
                    <a:cubicBezTo>
                      <a:pt x="1068147" y="324408"/>
                      <a:pt x="1070877" y="323462"/>
                      <a:pt x="1073606" y="323462"/>
                    </a:cubicBezTo>
                    <a:cubicBezTo>
                      <a:pt x="1075426" y="324408"/>
                      <a:pt x="1075426" y="325354"/>
                      <a:pt x="1076336" y="327245"/>
                    </a:cubicBezTo>
                    <a:cubicBezTo>
                      <a:pt x="1079975" y="333867"/>
                      <a:pt x="1084525" y="330083"/>
                      <a:pt x="1086344" y="323462"/>
                    </a:cubicBezTo>
                    <a:cubicBezTo>
                      <a:pt x="1087254" y="319679"/>
                      <a:pt x="1089983" y="318733"/>
                      <a:pt x="1091803" y="315895"/>
                    </a:cubicBezTo>
                    <a:cubicBezTo>
                      <a:pt x="1094533" y="312112"/>
                      <a:pt x="1097262" y="311166"/>
                      <a:pt x="1101812" y="312112"/>
                    </a:cubicBezTo>
                    <a:cubicBezTo>
                      <a:pt x="1103631" y="313058"/>
                      <a:pt x="1103631" y="313058"/>
                      <a:pt x="1104542" y="314950"/>
                    </a:cubicBezTo>
                    <a:cubicBezTo>
                      <a:pt x="1109090" y="317787"/>
                      <a:pt x="1110000" y="312112"/>
                      <a:pt x="1111820" y="309274"/>
                    </a:cubicBezTo>
                    <a:cubicBezTo>
                      <a:pt x="1112730" y="306437"/>
                      <a:pt x="1118189" y="303599"/>
                      <a:pt x="1119099" y="308329"/>
                    </a:cubicBezTo>
                    <a:lnTo>
                      <a:pt x="1115460" y="317787"/>
                    </a:lnTo>
                    <a:cubicBezTo>
                      <a:pt x="1111820" y="321570"/>
                      <a:pt x="1110000" y="325354"/>
                      <a:pt x="1106361" y="329138"/>
                    </a:cubicBezTo>
                    <a:lnTo>
                      <a:pt x="1099877" y="332508"/>
                    </a:lnTo>
                    <a:lnTo>
                      <a:pt x="1099812" y="332217"/>
                    </a:lnTo>
                    <a:cubicBezTo>
                      <a:pt x="1098858" y="331255"/>
                      <a:pt x="1097905" y="330293"/>
                      <a:pt x="1096951" y="330293"/>
                    </a:cubicBezTo>
                    <a:lnTo>
                      <a:pt x="1091230" y="332217"/>
                    </a:lnTo>
                    <a:lnTo>
                      <a:pt x="1092184" y="340876"/>
                    </a:lnTo>
                    <a:cubicBezTo>
                      <a:pt x="1092528" y="341223"/>
                      <a:pt x="1092900" y="341557"/>
                      <a:pt x="1093484" y="341607"/>
                    </a:cubicBezTo>
                    <a:cubicBezTo>
                      <a:pt x="1090342" y="346789"/>
                      <a:pt x="1089983" y="353470"/>
                      <a:pt x="1089983" y="359404"/>
                    </a:cubicBezTo>
                    <a:cubicBezTo>
                      <a:pt x="1089983" y="363189"/>
                      <a:pt x="1090894" y="375485"/>
                      <a:pt x="1097262" y="373592"/>
                    </a:cubicBezTo>
                    <a:cubicBezTo>
                      <a:pt x="1102721" y="371700"/>
                      <a:pt x="1099992" y="363189"/>
                      <a:pt x="1103631" y="360351"/>
                    </a:cubicBezTo>
                    <a:cubicBezTo>
                      <a:pt x="1105451" y="358459"/>
                      <a:pt x="1108181" y="358459"/>
                      <a:pt x="1110000" y="356567"/>
                    </a:cubicBezTo>
                    <a:lnTo>
                      <a:pt x="1111103" y="353129"/>
                    </a:lnTo>
                    <a:lnTo>
                      <a:pt x="1111848" y="353382"/>
                    </a:lnTo>
                    <a:lnTo>
                      <a:pt x="1113648" y="348785"/>
                    </a:lnTo>
                    <a:cubicBezTo>
                      <a:pt x="1115749" y="346129"/>
                      <a:pt x="1118896" y="344167"/>
                      <a:pt x="1118189" y="340488"/>
                    </a:cubicBezTo>
                    <a:cubicBezTo>
                      <a:pt x="1118189" y="337650"/>
                      <a:pt x="1116369" y="335758"/>
                      <a:pt x="1115460" y="332921"/>
                    </a:cubicBezTo>
                    <a:cubicBezTo>
                      <a:pt x="1115460" y="330083"/>
                      <a:pt x="1117279" y="329138"/>
                      <a:pt x="1119099" y="327245"/>
                    </a:cubicBezTo>
                    <a:cubicBezTo>
                      <a:pt x="1120919" y="324408"/>
                      <a:pt x="1122738" y="322517"/>
                      <a:pt x="1125468" y="321570"/>
                    </a:cubicBezTo>
                    <a:cubicBezTo>
                      <a:pt x="1129107" y="320625"/>
                      <a:pt x="1133656" y="318733"/>
                      <a:pt x="1137295" y="318733"/>
                    </a:cubicBezTo>
                    <a:cubicBezTo>
                      <a:pt x="1139116" y="319679"/>
                      <a:pt x="1140025" y="321570"/>
                      <a:pt x="1142755" y="320625"/>
                    </a:cubicBezTo>
                    <a:cubicBezTo>
                      <a:pt x="1145485" y="320625"/>
                      <a:pt x="1147304" y="317787"/>
                      <a:pt x="1149124" y="315895"/>
                    </a:cubicBezTo>
                    <a:cubicBezTo>
                      <a:pt x="1152763" y="311166"/>
                      <a:pt x="1158223" y="309274"/>
                      <a:pt x="1163681" y="308329"/>
                    </a:cubicBezTo>
                    <a:cubicBezTo>
                      <a:pt x="1166411" y="307382"/>
                      <a:pt x="1170050" y="308329"/>
                      <a:pt x="1171871" y="305491"/>
                    </a:cubicBezTo>
                    <a:cubicBezTo>
                      <a:pt x="1174600" y="303599"/>
                      <a:pt x="1175510" y="300762"/>
                      <a:pt x="1173691" y="297924"/>
                    </a:cubicBezTo>
                    <a:cubicBezTo>
                      <a:pt x="1173691" y="296979"/>
                      <a:pt x="1169141" y="295086"/>
                      <a:pt x="1170050" y="293195"/>
                    </a:cubicBezTo>
                    <a:cubicBezTo>
                      <a:pt x="1170050" y="291303"/>
                      <a:pt x="1172780" y="293195"/>
                      <a:pt x="1174600" y="292249"/>
                    </a:cubicBezTo>
                    <a:lnTo>
                      <a:pt x="1178240" y="288466"/>
                    </a:lnTo>
                    <a:cubicBezTo>
                      <a:pt x="1180059" y="286574"/>
                      <a:pt x="1181879" y="287520"/>
                      <a:pt x="1183699" y="288466"/>
                    </a:cubicBezTo>
                    <a:cubicBezTo>
                      <a:pt x="1185518" y="288466"/>
                      <a:pt x="1187338" y="287520"/>
                      <a:pt x="1189158" y="287520"/>
                    </a:cubicBezTo>
                    <a:cubicBezTo>
                      <a:pt x="1190978" y="288466"/>
                      <a:pt x="1191887" y="290358"/>
                      <a:pt x="1193708" y="292249"/>
                    </a:cubicBezTo>
                    <a:cubicBezTo>
                      <a:pt x="1195527" y="294141"/>
                      <a:pt x="1199166" y="295086"/>
                      <a:pt x="1201896" y="295086"/>
                    </a:cubicBezTo>
                    <a:cubicBezTo>
                      <a:pt x="1204626" y="296033"/>
                      <a:pt x="1205535" y="296033"/>
                      <a:pt x="1205535" y="293195"/>
                    </a:cubicBezTo>
                    <a:cubicBezTo>
                      <a:pt x="1206445" y="289411"/>
                      <a:pt x="1207355" y="290358"/>
                      <a:pt x="1209174" y="289411"/>
                    </a:cubicBezTo>
                    <a:cubicBezTo>
                      <a:pt x="1211904" y="288466"/>
                      <a:pt x="1211904" y="286574"/>
                      <a:pt x="1210995" y="284683"/>
                    </a:cubicBezTo>
                    <a:cubicBezTo>
                      <a:pt x="1209174" y="280899"/>
                      <a:pt x="1205535" y="278062"/>
                      <a:pt x="1201896" y="278062"/>
                    </a:cubicBezTo>
                    <a:cubicBezTo>
                      <a:pt x="1198256" y="278062"/>
                      <a:pt x="1196436" y="277115"/>
                      <a:pt x="1193708" y="274278"/>
                    </a:cubicBezTo>
                    <a:cubicBezTo>
                      <a:pt x="1190067" y="272387"/>
                      <a:pt x="1187338" y="269549"/>
                      <a:pt x="1183699" y="266712"/>
                    </a:cubicBezTo>
                    <a:cubicBezTo>
                      <a:pt x="1181879" y="264820"/>
                      <a:pt x="1180059" y="263874"/>
                      <a:pt x="1178240" y="262927"/>
                    </a:cubicBezTo>
                    <a:cubicBezTo>
                      <a:pt x="1176419" y="261036"/>
                      <a:pt x="1174600" y="261036"/>
                      <a:pt x="1172780" y="261036"/>
                    </a:cubicBezTo>
                    <a:cubicBezTo>
                      <a:pt x="1170050" y="260090"/>
                      <a:pt x="1167322" y="259144"/>
                      <a:pt x="1163681" y="257252"/>
                    </a:cubicBezTo>
                    <a:cubicBezTo>
                      <a:pt x="1161862" y="256307"/>
                      <a:pt x="1159132" y="255361"/>
                      <a:pt x="1156403" y="254415"/>
                    </a:cubicBezTo>
                    <a:cubicBezTo>
                      <a:pt x="1153673" y="253469"/>
                      <a:pt x="1149124" y="252524"/>
                      <a:pt x="1146394" y="254415"/>
                    </a:cubicBezTo>
                    <a:cubicBezTo>
                      <a:pt x="1144575" y="256307"/>
                      <a:pt x="1142755" y="258199"/>
                      <a:pt x="1139116" y="258199"/>
                    </a:cubicBezTo>
                    <a:cubicBezTo>
                      <a:pt x="1136386" y="258199"/>
                      <a:pt x="1135476" y="257252"/>
                      <a:pt x="1133656" y="256307"/>
                    </a:cubicBezTo>
                    <a:cubicBezTo>
                      <a:pt x="1126378" y="254415"/>
                      <a:pt x="1120008" y="260090"/>
                      <a:pt x="1113639" y="259144"/>
                    </a:cubicBezTo>
                    <a:cubicBezTo>
                      <a:pt x="1110911" y="259144"/>
                      <a:pt x="1107270" y="256307"/>
                      <a:pt x="1105451" y="254415"/>
                    </a:cubicBezTo>
                    <a:cubicBezTo>
                      <a:pt x="1102721" y="252524"/>
                      <a:pt x="1099992" y="250632"/>
                      <a:pt x="1096352" y="249686"/>
                    </a:cubicBezTo>
                    <a:cubicBezTo>
                      <a:pt x="1090894" y="247794"/>
                      <a:pt x="1086344" y="250632"/>
                      <a:pt x="1080885" y="250632"/>
                    </a:cubicBezTo>
                    <a:cubicBezTo>
                      <a:pt x="1077245" y="251577"/>
                      <a:pt x="1074516" y="251577"/>
                      <a:pt x="1070877" y="250632"/>
                    </a:cubicBezTo>
                    <a:cubicBezTo>
                      <a:pt x="1066327" y="248740"/>
                      <a:pt x="1069966" y="247794"/>
                      <a:pt x="1069057" y="244011"/>
                    </a:cubicBezTo>
                    <a:cubicBezTo>
                      <a:pt x="1069057" y="242119"/>
                      <a:pt x="1066327" y="241173"/>
                      <a:pt x="1064508" y="241173"/>
                    </a:cubicBezTo>
                    <a:cubicBezTo>
                      <a:pt x="1060869" y="241173"/>
                      <a:pt x="1060869" y="241173"/>
                      <a:pt x="1059048" y="243065"/>
                    </a:cubicBezTo>
                    <a:cubicBezTo>
                      <a:pt x="1057228" y="244956"/>
                      <a:pt x="1055409" y="245903"/>
                      <a:pt x="1052679" y="245903"/>
                    </a:cubicBezTo>
                    <a:cubicBezTo>
                      <a:pt x="1049950" y="244956"/>
                      <a:pt x="1049950" y="243065"/>
                      <a:pt x="1049950" y="241173"/>
                    </a:cubicBezTo>
                    <a:cubicBezTo>
                      <a:pt x="1049040" y="237390"/>
                      <a:pt x="1045401" y="237390"/>
                      <a:pt x="1042671" y="237390"/>
                    </a:cubicBezTo>
                    <a:lnTo>
                      <a:pt x="1035392" y="237390"/>
                    </a:lnTo>
                    <a:cubicBezTo>
                      <a:pt x="1034483" y="238336"/>
                      <a:pt x="1034483" y="238336"/>
                      <a:pt x="1034483" y="239281"/>
                    </a:cubicBezTo>
                    <a:cubicBezTo>
                      <a:pt x="1034483" y="240228"/>
                      <a:pt x="1034483" y="241173"/>
                      <a:pt x="1034483" y="242119"/>
                    </a:cubicBezTo>
                    <a:cubicBezTo>
                      <a:pt x="1034483" y="243065"/>
                      <a:pt x="1033572" y="244011"/>
                      <a:pt x="1033572" y="244956"/>
                    </a:cubicBezTo>
                    <a:cubicBezTo>
                      <a:pt x="1032663" y="245903"/>
                      <a:pt x="1033572" y="246848"/>
                      <a:pt x="1031753" y="246848"/>
                    </a:cubicBezTo>
                    <a:cubicBezTo>
                      <a:pt x="1029023" y="246848"/>
                      <a:pt x="1029023" y="244956"/>
                      <a:pt x="1028114" y="244956"/>
                    </a:cubicBezTo>
                    <a:cubicBezTo>
                      <a:pt x="1026294" y="244956"/>
                      <a:pt x="1027203" y="245903"/>
                      <a:pt x="1025384" y="247794"/>
                    </a:cubicBezTo>
                    <a:cubicBezTo>
                      <a:pt x="1023564" y="249686"/>
                      <a:pt x="1020835" y="245903"/>
                      <a:pt x="1019015" y="244956"/>
                    </a:cubicBezTo>
                    <a:cubicBezTo>
                      <a:pt x="1018105" y="244011"/>
                      <a:pt x="1017195" y="244011"/>
                      <a:pt x="1015376" y="244011"/>
                    </a:cubicBezTo>
                    <a:cubicBezTo>
                      <a:pt x="1014466" y="244011"/>
                      <a:pt x="1014466" y="244956"/>
                      <a:pt x="1013555" y="244956"/>
                    </a:cubicBezTo>
                    <a:cubicBezTo>
                      <a:pt x="1011736" y="245903"/>
                      <a:pt x="1009007" y="244011"/>
                      <a:pt x="1007186" y="243065"/>
                    </a:cubicBezTo>
                    <a:cubicBezTo>
                      <a:pt x="1005367" y="242119"/>
                      <a:pt x="1002637" y="243065"/>
                      <a:pt x="1003547" y="245903"/>
                    </a:cubicBezTo>
                    <a:lnTo>
                      <a:pt x="1005367" y="251577"/>
                    </a:lnTo>
                    <a:lnTo>
                      <a:pt x="999908" y="249686"/>
                    </a:lnTo>
                    <a:cubicBezTo>
                      <a:pt x="998998" y="247794"/>
                      <a:pt x="998089" y="248740"/>
                      <a:pt x="997178" y="247794"/>
                    </a:cubicBezTo>
                    <a:cubicBezTo>
                      <a:pt x="996268" y="247794"/>
                      <a:pt x="995359" y="247794"/>
                      <a:pt x="994449" y="244956"/>
                    </a:cubicBezTo>
                    <a:cubicBezTo>
                      <a:pt x="993539" y="243065"/>
                      <a:pt x="992629" y="244011"/>
                      <a:pt x="990809" y="244011"/>
                    </a:cubicBezTo>
                    <a:cubicBezTo>
                      <a:pt x="988990" y="243065"/>
                      <a:pt x="989899" y="242119"/>
                      <a:pt x="988080" y="240228"/>
                    </a:cubicBezTo>
                    <a:cubicBezTo>
                      <a:pt x="986260" y="237390"/>
                      <a:pt x="977161" y="242119"/>
                      <a:pt x="978981" y="235498"/>
                    </a:cubicBezTo>
                    <a:cubicBezTo>
                      <a:pt x="978981" y="233606"/>
                      <a:pt x="981711" y="234553"/>
                      <a:pt x="982621" y="231715"/>
                    </a:cubicBezTo>
                    <a:cubicBezTo>
                      <a:pt x="983530" y="228877"/>
                      <a:pt x="975342" y="225093"/>
                      <a:pt x="969883" y="229823"/>
                    </a:cubicBezTo>
                    <a:cubicBezTo>
                      <a:pt x="970792" y="231715"/>
                      <a:pt x="973522" y="230768"/>
                      <a:pt x="974432" y="232660"/>
                    </a:cubicBezTo>
                    <a:cubicBezTo>
                      <a:pt x="976252" y="234553"/>
                      <a:pt x="975342" y="235498"/>
                      <a:pt x="973522" y="236444"/>
                    </a:cubicBezTo>
                    <a:cubicBezTo>
                      <a:pt x="970792" y="236444"/>
                      <a:pt x="968973" y="234553"/>
                      <a:pt x="966243" y="234553"/>
                    </a:cubicBezTo>
                    <a:cubicBezTo>
                      <a:pt x="963513" y="233606"/>
                      <a:pt x="959874" y="235498"/>
                      <a:pt x="954416" y="230768"/>
                    </a:cubicBezTo>
                    <a:cubicBezTo>
                      <a:pt x="953505" y="229823"/>
                      <a:pt x="952595" y="228877"/>
                      <a:pt x="951686" y="227931"/>
                    </a:cubicBezTo>
                    <a:cubicBezTo>
                      <a:pt x="948047" y="226985"/>
                      <a:pt x="944407" y="226985"/>
                      <a:pt x="941677" y="227931"/>
                    </a:cubicBezTo>
                    <a:cubicBezTo>
                      <a:pt x="938038" y="228877"/>
                      <a:pt x="938948" y="229823"/>
                      <a:pt x="937128" y="231715"/>
                    </a:cubicBezTo>
                    <a:cubicBezTo>
                      <a:pt x="936218" y="232660"/>
                      <a:pt x="934399" y="233606"/>
                      <a:pt x="933488" y="231715"/>
                    </a:cubicBezTo>
                    <a:cubicBezTo>
                      <a:pt x="932579" y="230768"/>
                      <a:pt x="934399" y="228877"/>
                      <a:pt x="931669" y="228877"/>
                    </a:cubicBezTo>
                    <a:cubicBezTo>
                      <a:pt x="930759" y="228877"/>
                      <a:pt x="930759" y="230768"/>
                      <a:pt x="929849" y="230768"/>
                    </a:cubicBezTo>
                    <a:cubicBezTo>
                      <a:pt x="928939" y="229823"/>
                      <a:pt x="928030" y="228877"/>
                      <a:pt x="927119" y="228877"/>
                    </a:cubicBezTo>
                    <a:cubicBezTo>
                      <a:pt x="926210" y="227931"/>
                      <a:pt x="924390" y="228877"/>
                      <a:pt x="923480" y="229823"/>
                    </a:cubicBezTo>
                    <a:cubicBezTo>
                      <a:pt x="922570" y="231715"/>
                      <a:pt x="924390" y="232660"/>
                      <a:pt x="923480" y="234553"/>
                    </a:cubicBezTo>
                    <a:cubicBezTo>
                      <a:pt x="921661" y="234553"/>
                      <a:pt x="921661" y="233606"/>
                      <a:pt x="919841" y="233606"/>
                    </a:cubicBezTo>
                    <a:cubicBezTo>
                      <a:pt x="919386" y="233606"/>
                      <a:pt x="918931" y="234079"/>
                      <a:pt x="916201" y="231715"/>
                    </a:cubicBezTo>
                    <a:cubicBezTo>
                      <a:pt x="918021" y="230768"/>
                      <a:pt x="919841" y="229823"/>
                      <a:pt x="921661" y="227931"/>
                    </a:cubicBezTo>
                    <a:cubicBezTo>
                      <a:pt x="923480" y="226040"/>
                      <a:pt x="924390" y="224148"/>
                      <a:pt x="927119" y="223202"/>
                    </a:cubicBezTo>
                    <a:cubicBezTo>
                      <a:pt x="929849" y="222257"/>
                      <a:pt x="933488" y="223202"/>
                      <a:pt x="936218" y="222257"/>
                    </a:cubicBezTo>
                    <a:cubicBezTo>
                      <a:pt x="938948" y="221310"/>
                      <a:pt x="939857" y="219419"/>
                      <a:pt x="938038" y="216581"/>
                    </a:cubicBezTo>
                    <a:cubicBezTo>
                      <a:pt x="937128" y="215635"/>
                      <a:pt x="936218" y="214689"/>
                      <a:pt x="936218" y="213744"/>
                    </a:cubicBezTo>
                    <a:cubicBezTo>
                      <a:pt x="936218" y="211852"/>
                      <a:pt x="938038" y="210906"/>
                      <a:pt x="936218" y="209960"/>
                    </a:cubicBezTo>
                    <a:cubicBezTo>
                      <a:pt x="935308" y="209014"/>
                      <a:pt x="934399" y="209014"/>
                      <a:pt x="933488" y="208069"/>
                    </a:cubicBezTo>
                    <a:cubicBezTo>
                      <a:pt x="931669" y="207122"/>
                      <a:pt x="932579" y="205231"/>
                      <a:pt x="927119" y="204285"/>
                    </a:cubicBezTo>
                    <a:cubicBezTo>
                      <a:pt x="925300" y="205231"/>
                      <a:pt x="923480" y="204285"/>
                      <a:pt x="921661" y="205231"/>
                    </a:cubicBezTo>
                    <a:cubicBezTo>
                      <a:pt x="920750" y="205231"/>
                      <a:pt x="919841" y="206177"/>
                      <a:pt x="918931" y="206177"/>
                    </a:cubicBezTo>
                    <a:cubicBezTo>
                      <a:pt x="915292" y="207122"/>
                      <a:pt x="911652" y="202394"/>
                      <a:pt x="909832" y="199556"/>
                    </a:cubicBezTo>
                    <a:cubicBezTo>
                      <a:pt x="908923" y="198609"/>
                      <a:pt x="908013" y="198609"/>
                      <a:pt x="906193" y="197664"/>
                    </a:cubicBezTo>
                    <a:close/>
                    <a:moveTo>
                      <a:pt x="688298" y="0"/>
                    </a:moveTo>
                    <a:cubicBezTo>
                      <a:pt x="1068434" y="0"/>
                      <a:pt x="1376596" y="308161"/>
                      <a:pt x="1376596" y="688297"/>
                    </a:cubicBezTo>
                    <a:cubicBezTo>
                      <a:pt x="1376596" y="1068433"/>
                      <a:pt x="1068434" y="1376594"/>
                      <a:pt x="688298" y="1376594"/>
                    </a:cubicBezTo>
                    <a:cubicBezTo>
                      <a:pt x="308162" y="1376594"/>
                      <a:pt x="0" y="1068433"/>
                      <a:pt x="0" y="688297"/>
                    </a:cubicBezTo>
                    <a:cubicBezTo>
                      <a:pt x="0" y="308161"/>
                      <a:pt x="308162" y="0"/>
                      <a:pt x="688298" y="0"/>
                    </a:cubicBezTo>
                    <a:close/>
                  </a:path>
                </a:pathLst>
              </a:custGeom>
              <a:solidFill>
                <a:srgbClr val="7FBA00"/>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sp>
        <p:nvSpPr>
          <p:cNvPr id="4" name="Slide Number Placeholder 3"/>
          <p:cNvSpPr>
            <a:spLocks noGrp="1"/>
          </p:cNvSpPr>
          <p:nvPr>
            <p:ph type="sldNum" sz="quarter" idx="4"/>
          </p:nvPr>
        </p:nvSpPr>
        <p:spPr/>
        <p:txBody>
          <a:bodyPr/>
          <a:lstStyle/>
          <a:p>
            <a:pPr>
              <a:defRPr/>
            </a:pPr>
            <a:fld id="{75FAD755-3BD0-2447-A9DF-109DAABEFD99}" type="slidenum">
              <a:rPr lang="en-US" smtClean="0"/>
              <a:pPr>
                <a:defRPr/>
              </a:pPr>
              <a:t>25</a:t>
            </a:fld>
            <a:endParaRPr lang="en-US" dirty="0"/>
          </a:p>
        </p:txBody>
      </p:sp>
    </p:spTree>
    <p:extLst>
      <p:ext uri="{BB962C8B-B14F-4D97-AF65-F5344CB8AC3E}">
        <p14:creationId xmlns:p14="http://schemas.microsoft.com/office/powerpoint/2010/main" val="3233489666"/>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par>
                          <p:cTn id="8" fill="hold">
                            <p:stCondLst>
                              <p:cond delay="500"/>
                            </p:stCondLst>
                            <p:childTnLst>
                              <p:par>
                                <p:cTn id="9" presetID="22" presetClass="entr" presetSubtype="8" fill="hold" nodeType="afterEffect">
                                  <p:stCondLst>
                                    <p:cond delay="0"/>
                                  </p:stCondLst>
                                  <p:childTnLst>
                                    <p:set>
                                      <p:cBhvr>
                                        <p:cTn id="10" dur="1" fill="hold">
                                          <p:stCondLst>
                                            <p:cond delay="0"/>
                                          </p:stCondLst>
                                        </p:cTn>
                                        <p:tgtEl>
                                          <p:spTgt spid="5">
                                            <p:txEl>
                                              <p:pRg st="0" end="0"/>
                                            </p:txEl>
                                          </p:spTgt>
                                        </p:tgtEl>
                                        <p:attrNameLst>
                                          <p:attrName>style.visibility</p:attrName>
                                        </p:attrNameLst>
                                      </p:cBhvr>
                                      <p:to>
                                        <p:strVal val="visible"/>
                                      </p:to>
                                    </p:set>
                                    <p:animEffect transition="in" filter="wipe(left)">
                                      <p:cBhvr>
                                        <p:cTn id="11" dur="750"/>
                                        <p:tgtEl>
                                          <p:spTgt spid="5">
                                            <p:txEl>
                                              <p:pRg st="0" end="0"/>
                                            </p:txEl>
                                          </p:spTgt>
                                        </p:tgtEl>
                                      </p:cBhvr>
                                    </p:animEffect>
                                  </p:childTnLst>
                                </p:cTn>
                              </p:par>
                            </p:childTnLst>
                          </p:cTn>
                        </p:par>
                        <p:par>
                          <p:cTn id="12" fill="hold">
                            <p:stCondLst>
                              <p:cond delay="1250"/>
                            </p:stCondLst>
                            <p:childTnLst>
                              <p:par>
                                <p:cTn id="13" presetID="22" presetClass="entr" presetSubtype="8" fill="hold" nodeType="afterEffect">
                                  <p:stCondLst>
                                    <p:cond delay="0"/>
                                  </p:stCondLst>
                                  <p:childTnLst>
                                    <p:set>
                                      <p:cBhvr>
                                        <p:cTn id="14" dur="1" fill="hold">
                                          <p:stCondLst>
                                            <p:cond delay="0"/>
                                          </p:stCondLst>
                                        </p:cTn>
                                        <p:tgtEl>
                                          <p:spTgt spid="5">
                                            <p:txEl>
                                              <p:pRg st="1" end="1"/>
                                            </p:txEl>
                                          </p:spTgt>
                                        </p:tgtEl>
                                        <p:attrNameLst>
                                          <p:attrName>style.visibility</p:attrName>
                                        </p:attrNameLst>
                                      </p:cBhvr>
                                      <p:to>
                                        <p:strVal val="visible"/>
                                      </p:to>
                                    </p:set>
                                    <p:animEffect transition="in" filter="wipe(left)">
                                      <p:cBhvr>
                                        <p:cTn id="15" dur="750"/>
                                        <p:tgtEl>
                                          <p:spTgt spid="5">
                                            <p:txEl>
                                              <p:pRg st="1" end="1"/>
                                            </p:txEl>
                                          </p:spTgt>
                                        </p:tgtEl>
                                      </p:cBhvr>
                                    </p:animEffect>
                                  </p:childTnLst>
                                </p:cTn>
                              </p:par>
                            </p:childTnLst>
                          </p:cTn>
                        </p:par>
                        <p:par>
                          <p:cTn id="16" fill="hold">
                            <p:stCondLst>
                              <p:cond delay="2000"/>
                            </p:stCondLst>
                            <p:childTnLst>
                              <p:par>
                                <p:cTn id="17" presetID="22" presetClass="entr" presetSubtype="8" fill="hold" nodeType="afterEffect">
                                  <p:stCondLst>
                                    <p:cond delay="0"/>
                                  </p:stCondLst>
                                  <p:childTnLst>
                                    <p:set>
                                      <p:cBhvr>
                                        <p:cTn id="18" dur="1" fill="hold">
                                          <p:stCondLst>
                                            <p:cond delay="0"/>
                                          </p:stCondLst>
                                        </p:cTn>
                                        <p:tgtEl>
                                          <p:spTgt spid="5">
                                            <p:txEl>
                                              <p:pRg st="2" end="2"/>
                                            </p:txEl>
                                          </p:spTgt>
                                        </p:tgtEl>
                                        <p:attrNameLst>
                                          <p:attrName>style.visibility</p:attrName>
                                        </p:attrNameLst>
                                      </p:cBhvr>
                                      <p:to>
                                        <p:strVal val="visible"/>
                                      </p:to>
                                    </p:set>
                                    <p:animEffect transition="in" filter="wipe(left)">
                                      <p:cBhvr>
                                        <p:cTn id="19" dur="750"/>
                                        <p:tgtEl>
                                          <p:spTgt spid="5">
                                            <p:txEl>
                                              <p:pRg st="2" end="2"/>
                                            </p:txEl>
                                          </p:spTgt>
                                        </p:tgtEl>
                                      </p:cBhvr>
                                    </p:animEffect>
                                  </p:childTnLst>
                                </p:cTn>
                              </p:par>
                            </p:childTnLst>
                          </p:cTn>
                        </p:par>
                        <p:par>
                          <p:cTn id="20" fill="hold">
                            <p:stCondLst>
                              <p:cond delay="2750"/>
                            </p:stCondLst>
                            <p:childTnLst>
                              <p:par>
                                <p:cTn id="21" presetID="22" presetClass="entr" presetSubtype="8" fill="hold" nodeType="afterEffect">
                                  <p:stCondLst>
                                    <p:cond delay="0"/>
                                  </p:stCondLst>
                                  <p:childTnLst>
                                    <p:set>
                                      <p:cBhvr>
                                        <p:cTn id="22" dur="1" fill="hold">
                                          <p:stCondLst>
                                            <p:cond delay="0"/>
                                          </p:stCondLst>
                                        </p:cTn>
                                        <p:tgtEl>
                                          <p:spTgt spid="5">
                                            <p:txEl>
                                              <p:pRg st="3" end="3"/>
                                            </p:txEl>
                                          </p:spTgt>
                                        </p:tgtEl>
                                        <p:attrNameLst>
                                          <p:attrName>style.visibility</p:attrName>
                                        </p:attrNameLst>
                                      </p:cBhvr>
                                      <p:to>
                                        <p:strVal val="visible"/>
                                      </p:to>
                                    </p:set>
                                    <p:animEffect transition="in" filter="wipe(left)">
                                      <p:cBhvr>
                                        <p:cTn id="23" dur="750"/>
                                        <p:tgtEl>
                                          <p:spTgt spid="5">
                                            <p:txEl>
                                              <p:pRg st="3" end="3"/>
                                            </p:txEl>
                                          </p:spTgt>
                                        </p:tgtEl>
                                      </p:cBhvr>
                                    </p:animEffect>
                                  </p:childTnLst>
                                </p:cTn>
                              </p:par>
                            </p:childTnLst>
                          </p:cTn>
                        </p:par>
                        <p:par>
                          <p:cTn id="24" fill="hold">
                            <p:stCondLst>
                              <p:cond delay="3500"/>
                            </p:stCondLst>
                            <p:childTnLst>
                              <p:par>
                                <p:cTn id="25" presetID="22" presetClass="entr" presetSubtype="8" fill="hold" nodeType="afterEffect">
                                  <p:stCondLst>
                                    <p:cond delay="0"/>
                                  </p:stCondLst>
                                  <p:childTnLst>
                                    <p:set>
                                      <p:cBhvr>
                                        <p:cTn id="26" dur="1" fill="hold">
                                          <p:stCondLst>
                                            <p:cond delay="0"/>
                                          </p:stCondLst>
                                        </p:cTn>
                                        <p:tgtEl>
                                          <p:spTgt spid="5">
                                            <p:txEl>
                                              <p:pRg st="4" end="4"/>
                                            </p:txEl>
                                          </p:spTgt>
                                        </p:tgtEl>
                                        <p:attrNameLst>
                                          <p:attrName>style.visibility</p:attrName>
                                        </p:attrNameLst>
                                      </p:cBhvr>
                                      <p:to>
                                        <p:strVal val="visible"/>
                                      </p:to>
                                    </p:set>
                                    <p:animEffect transition="in" filter="wipe(left)">
                                      <p:cBhvr>
                                        <p:cTn id="27" dur="750"/>
                                        <p:tgtEl>
                                          <p:spTgt spid="5">
                                            <p:txEl>
                                              <p:pRg st="4" end="4"/>
                                            </p:txEl>
                                          </p:spTgt>
                                        </p:tgtEl>
                                      </p:cBhvr>
                                    </p:animEffect>
                                  </p:childTnLst>
                                </p:cTn>
                              </p:par>
                            </p:childTnLst>
                          </p:cTn>
                        </p:par>
                        <p:par>
                          <p:cTn id="28" fill="hold">
                            <p:stCondLst>
                              <p:cond delay="4250"/>
                            </p:stCondLst>
                            <p:childTnLst>
                              <p:par>
                                <p:cTn id="29" presetID="22" presetClass="entr" presetSubtype="8" fill="hold" nodeType="afterEffect">
                                  <p:stCondLst>
                                    <p:cond delay="0"/>
                                  </p:stCondLst>
                                  <p:childTnLst>
                                    <p:set>
                                      <p:cBhvr>
                                        <p:cTn id="30" dur="1" fill="hold">
                                          <p:stCondLst>
                                            <p:cond delay="0"/>
                                          </p:stCondLst>
                                        </p:cTn>
                                        <p:tgtEl>
                                          <p:spTgt spid="5">
                                            <p:txEl>
                                              <p:pRg st="5" end="5"/>
                                            </p:txEl>
                                          </p:spTgt>
                                        </p:tgtEl>
                                        <p:attrNameLst>
                                          <p:attrName>style.visibility</p:attrName>
                                        </p:attrNameLst>
                                      </p:cBhvr>
                                      <p:to>
                                        <p:strVal val="visible"/>
                                      </p:to>
                                    </p:set>
                                    <p:animEffect transition="in" filter="wipe(left)">
                                      <p:cBhvr>
                                        <p:cTn id="31" dur="750"/>
                                        <p:tgtEl>
                                          <p:spTgt spid="5">
                                            <p:txEl>
                                              <p:pRg st="5" end="5"/>
                                            </p:txEl>
                                          </p:spTgt>
                                        </p:tgtEl>
                                      </p:cBhvr>
                                    </p:animEffect>
                                  </p:childTnLst>
                                </p:cTn>
                              </p:par>
                            </p:childTnLst>
                          </p:cTn>
                        </p:par>
                        <p:par>
                          <p:cTn id="32" fill="hold">
                            <p:stCondLst>
                              <p:cond delay="5000"/>
                            </p:stCondLst>
                            <p:childTnLst>
                              <p:par>
                                <p:cTn id="33" presetID="22" presetClass="entr" presetSubtype="8" fill="hold" nodeType="afterEffect">
                                  <p:stCondLst>
                                    <p:cond delay="0"/>
                                  </p:stCondLst>
                                  <p:childTnLst>
                                    <p:set>
                                      <p:cBhvr>
                                        <p:cTn id="34" dur="1" fill="hold">
                                          <p:stCondLst>
                                            <p:cond delay="0"/>
                                          </p:stCondLst>
                                        </p:cTn>
                                        <p:tgtEl>
                                          <p:spTgt spid="5">
                                            <p:txEl>
                                              <p:pRg st="6" end="6"/>
                                            </p:txEl>
                                          </p:spTgt>
                                        </p:tgtEl>
                                        <p:attrNameLst>
                                          <p:attrName>style.visibility</p:attrName>
                                        </p:attrNameLst>
                                      </p:cBhvr>
                                      <p:to>
                                        <p:strVal val="visible"/>
                                      </p:to>
                                    </p:set>
                                    <p:animEffect transition="in" filter="wipe(left)">
                                      <p:cBhvr>
                                        <p:cTn id="35" dur="750"/>
                                        <p:tgtEl>
                                          <p:spTgt spid="5">
                                            <p:txEl>
                                              <p:pRg st="6" end="6"/>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4" name="Group 63"/>
          <p:cNvGrpSpPr/>
          <p:nvPr/>
        </p:nvGrpSpPr>
        <p:grpSpPr>
          <a:xfrm>
            <a:off x="3439042" y="5150381"/>
            <a:ext cx="743052" cy="550806"/>
            <a:chOff x="1358903" y="3878270"/>
            <a:chExt cx="1638304" cy="1214440"/>
          </a:xfrm>
        </p:grpSpPr>
        <p:sp>
          <p:nvSpPr>
            <p:cNvPr id="66" name="Freeform 41"/>
            <p:cNvSpPr>
              <a:spLocks/>
            </p:cNvSpPr>
            <p:nvPr/>
          </p:nvSpPr>
          <p:spPr bwMode="auto">
            <a:xfrm>
              <a:off x="1376367" y="3897318"/>
              <a:ext cx="1606552" cy="1179513"/>
            </a:xfrm>
            <a:custGeom>
              <a:avLst/>
              <a:gdLst>
                <a:gd name="T0" fmla="*/ 5241 w 15187"/>
                <a:gd name="T1" fmla="*/ 9710 h 11142"/>
                <a:gd name="T2" fmla="*/ 5233 w 15187"/>
                <a:gd name="T3" fmla="*/ 9178 h 11142"/>
                <a:gd name="T4" fmla="*/ 4434 w 15187"/>
                <a:gd name="T5" fmla="*/ 9449 h 11142"/>
                <a:gd name="T6" fmla="*/ 3641 w 15187"/>
                <a:gd name="T7" fmla="*/ 11126 h 11142"/>
                <a:gd name="T8" fmla="*/ 1789 w 15187"/>
                <a:gd name="T9" fmla="*/ 10455 h 11142"/>
                <a:gd name="T10" fmla="*/ 1450 w 15187"/>
                <a:gd name="T11" fmla="*/ 9774 h 11142"/>
                <a:gd name="T12" fmla="*/ 225 w 15187"/>
                <a:gd name="T13" fmla="*/ 8805 h 11142"/>
                <a:gd name="T14" fmla="*/ 275 w 15187"/>
                <a:gd name="T15" fmla="*/ 8036 h 11142"/>
                <a:gd name="T16" fmla="*/ 1064 w 15187"/>
                <a:gd name="T17" fmla="*/ 5894 h 11142"/>
                <a:gd name="T18" fmla="*/ 587 w 15187"/>
                <a:gd name="T19" fmla="*/ 5637 h 11142"/>
                <a:gd name="T20" fmla="*/ 0 w 15187"/>
                <a:gd name="T21" fmla="*/ 4241 h 11142"/>
                <a:gd name="T22" fmla="*/ 737 w 15187"/>
                <a:gd name="T23" fmla="*/ 3467 h 11142"/>
                <a:gd name="T24" fmla="*/ 967 w 15187"/>
                <a:gd name="T25" fmla="*/ 3962 h 11142"/>
                <a:gd name="T26" fmla="*/ 1235 w 15187"/>
                <a:gd name="T27" fmla="*/ 4658 h 11142"/>
                <a:gd name="T28" fmla="*/ 2180 w 15187"/>
                <a:gd name="T29" fmla="*/ 3525 h 11142"/>
                <a:gd name="T30" fmla="*/ 4772 w 15187"/>
                <a:gd name="T31" fmla="*/ 2368 h 11142"/>
                <a:gd name="T32" fmla="*/ 4796 w 15187"/>
                <a:gd name="T33" fmla="*/ 2366 h 11142"/>
                <a:gd name="T34" fmla="*/ 5902 w 15187"/>
                <a:gd name="T35" fmla="*/ 1584 h 11142"/>
                <a:gd name="T36" fmla="*/ 7475 w 15187"/>
                <a:gd name="T37" fmla="*/ 320 h 11142"/>
                <a:gd name="T38" fmla="*/ 10463 w 15187"/>
                <a:gd name="T39" fmla="*/ 444 h 11142"/>
                <a:gd name="T40" fmla="*/ 12229 w 15187"/>
                <a:gd name="T41" fmla="*/ 2322 h 11142"/>
                <a:gd name="T42" fmla="*/ 11919 w 15187"/>
                <a:gd name="T43" fmla="*/ 2784 h 11142"/>
                <a:gd name="T44" fmla="*/ 12748 w 15187"/>
                <a:gd name="T45" fmla="*/ 1952 h 11142"/>
                <a:gd name="T46" fmla="*/ 12808 w 15187"/>
                <a:gd name="T47" fmla="*/ 1312 h 11142"/>
                <a:gd name="T48" fmla="*/ 14117 w 15187"/>
                <a:gd name="T49" fmla="*/ 374 h 11142"/>
                <a:gd name="T50" fmla="*/ 15054 w 15187"/>
                <a:gd name="T51" fmla="*/ 1820 h 11142"/>
                <a:gd name="T52" fmla="*/ 15074 w 15187"/>
                <a:gd name="T53" fmla="*/ 4582 h 11142"/>
                <a:gd name="T54" fmla="*/ 13760 w 15187"/>
                <a:gd name="T55" fmla="*/ 6707 h 11142"/>
                <a:gd name="T56" fmla="*/ 11787 w 15187"/>
                <a:gd name="T57" fmla="*/ 6939 h 11142"/>
                <a:gd name="T58" fmla="*/ 11079 w 15187"/>
                <a:gd name="T59" fmla="*/ 7951 h 11142"/>
                <a:gd name="T60" fmla="*/ 9991 w 15187"/>
                <a:gd name="T61" fmla="*/ 7940 h 11142"/>
                <a:gd name="T62" fmla="*/ 9225 w 15187"/>
                <a:gd name="T63" fmla="*/ 7666 h 11142"/>
                <a:gd name="T64" fmla="*/ 9246 w 15187"/>
                <a:gd name="T65" fmla="*/ 7826 h 11142"/>
                <a:gd name="T66" fmla="*/ 9561 w 15187"/>
                <a:gd name="T67" fmla="*/ 8267 h 11142"/>
                <a:gd name="T68" fmla="*/ 9893 w 15187"/>
                <a:gd name="T69" fmla="*/ 9776 h 11142"/>
                <a:gd name="T70" fmla="*/ 9523 w 15187"/>
                <a:gd name="T71" fmla="*/ 10699 h 11142"/>
                <a:gd name="T72" fmla="*/ 8033 w 15187"/>
                <a:gd name="T73" fmla="*/ 10573 h 11142"/>
                <a:gd name="T74" fmla="*/ 7942 w 15187"/>
                <a:gd name="T75" fmla="*/ 10378 h 11142"/>
                <a:gd name="T76" fmla="*/ 7218 w 15187"/>
                <a:gd name="T77" fmla="*/ 10650 h 11142"/>
                <a:gd name="T78" fmla="*/ 5285 w 15187"/>
                <a:gd name="T79" fmla="*/ 10028 h 11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5187" h="11142">
                  <a:moveTo>
                    <a:pt x="5285" y="10028"/>
                  </a:moveTo>
                  <a:lnTo>
                    <a:pt x="5241" y="9710"/>
                  </a:lnTo>
                  <a:lnTo>
                    <a:pt x="5370" y="9432"/>
                  </a:lnTo>
                  <a:lnTo>
                    <a:pt x="5233" y="9178"/>
                  </a:lnTo>
                  <a:lnTo>
                    <a:pt x="4621" y="9040"/>
                  </a:lnTo>
                  <a:lnTo>
                    <a:pt x="4434" y="9449"/>
                  </a:lnTo>
                  <a:lnTo>
                    <a:pt x="3963" y="10867"/>
                  </a:lnTo>
                  <a:lnTo>
                    <a:pt x="3641" y="11126"/>
                  </a:lnTo>
                  <a:lnTo>
                    <a:pt x="2596" y="10940"/>
                  </a:lnTo>
                  <a:lnTo>
                    <a:pt x="1789" y="10455"/>
                  </a:lnTo>
                  <a:lnTo>
                    <a:pt x="1960" y="9717"/>
                  </a:lnTo>
                  <a:lnTo>
                    <a:pt x="1450" y="9774"/>
                  </a:lnTo>
                  <a:lnTo>
                    <a:pt x="575" y="9268"/>
                  </a:lnTo>
                  <a:lnTo>
                    <a:pt x="225" y="8805"/>
                  </a:lnTo>
                  <a:lnTo>
                    <a:pt x="214" y="8787"/>
                  </a:lnTo>
                  <a:lnTo>
                    <a:pt x="275" y="8036"/>
                  </a:lnTo>
                  <a:lnTo>
                    <a:pt x="1041" y="7093"/>
                  </a:lnTo>
                  <a:lnTo>
                    <a:pt x="1064" y="5894"/>
                  </a:lnTo>
                  <a:lnTo>
                    <a:pt x="902" y="5720"/>
                  </a:lnTo>
                  <a:lnTo>
                    <a:pt x="587" y="5637"/>
                  </a:lnTo>
                  <a:lnTo>
                    <a:pt x="95" y="4814"/>
                  </a:lnTo>
                  <a:lnTo>
                    <a:pt x="0" y="4241"/>
                  </a:lnTo>
                  <a:lnTo>
                    <a:pt x="725" y="3473"/>
                  </a:lnTo>
                  <a:lnTo>
                    <a:pt x="737" y="3467"/>
                  </a:lnTo>
                  <a:lnTo>
                    <a:pt x="1357" y="3094"/>
                  </a:lnTo>
                  <a:lnTo>
                    <a:pt x="967" y="3962"/>
                  </a:lnTo>
                  <a:lnTo>
                    <a:pt x="958" y="4542"/>
                  </a:lnTo>
                  <a:lnTo>
                    <a:pt x="1235" y="4658"/>
                  </a:lnTo>
                  <a:lnTo>
                    <a:pt x="1557" y="4271"/>
                  </a:lnTo>
                  <a:lnTo>
                    <a:pt x="2180" y="3525"/>
                  </a:lnTo>
                  <a:lnTo>
                    <a:pt x="3357" y="2764"/>
                  </a:lnTo>
                  <a:lnTo>
                    <a:pt x="4772" y="2368"/>
                  </a:lnTo>
                  <a:lnTo>
                    <a:pt x="4775" y="2368"/>
                  </a:lnTo>
                  <a:lnTo>
                    <a:pt x="4796" y="2366"/>
                  </a:lnTo>
                  <a:lnTo>
                    <a:pt x="5235" y="2245"/>
                  </a:lnTo>
                  <a:lnTo>
                    <a:pt x="5902" y="1584"/>
                  </a:lnTo>
                  <a:lnTo>
                    <a:pt x="6314" y="1487"/>
                  </a:lnTo>
                  <a:lnTo>
                    <a:pt x="7475" y="320"/>
                  </a:lnTo>
                  <a:lnTo>
                    <a:pt x="9153" y="0"/>
                  </a:lnTo>
                  <a:lnTo>
                    <a:pt x="10463" y="444"/>
                  </a:lnTo>
                  <a:lnTo>
                    <a:pt x="11733" y="1687"/>
                  </a:lnTo>
                  <a:lnTo>
                    <a:pt x="12229" y="2322"/>
                  </a:lnTo>
                  <a:lnTo>
                    <a:pt x="12086" y="2641"/>
                  </a:lnTo>
                  <a:lnTo>
                    <a:pt x="11919" y="2784"/>
                  </a:lnTo>
                  <a:lnTo>
                    <a:pt x="12928" y="3514"/>
                  </a:lnTo>
                  <a:lnTo>
                    <a:pt x="12748" y="1952"/>
                  </a:lnTo>
                  <a:lnTo>
                    <a:pt x="12797" y="1323"/>
                  </a:lnTo>
                  <a:lnTo>
                    <a:pt x="12808" y="1312"/>
                  </a:lnTo>
                  <a:lnTo>
                    <a:pt x="14099" y="374"/>
                  </a:lnTo>
                  <a:lnTo>
                    <a:pt x="14117" y="374"/>
                  </a:lnTo>
                  <a:lnTo>
                    <a:pt x="14715" y="690"/>
                  </a:lnTo>
                  <a:lnTo>
                    <a:pt x="15054" y="1820"/>
                  </a:lnTo>
                  <a:lnTo>
                    <a:pt x="15187" y="2929"/>
                  </a:lnTo>
                  <a:lnTo>
                    <a:pt x="15074" y="4582"/>
                  </a:lnTo>
                  <a:lnTo>
                    <a:pt x="14612" y="5722"/>
                  </a:lnTo>
                  <a:lnTo>
                    <a:pt x="13760" y="6707"/>
                  </a:lnTo>
                  <a:lnTo>
                    <a:pt x="12558" y="7029"/>
                  </a:lnTo>
                  <a:lnTo>
                    <a:pt x="11787" y="6939"/>
                  </a:lnTo>
                  <a:lnTo>
                    <a:pt x="11439" y="7550"/>
                  </a:lnTo>
                  <a:lnTo>
                    <a:pt x="11079" y="7951"/>
                  </a:lnTo>
                  <a:lnTo>
                    <a:pt x="10469" y="8057"/>
                  </a:lnTo>
                  <a:lnTo>
                    <a:pt x="9991" y="7940"/>
                  </a:lnTo>
                  <a:lnTo>
                    <a:pt x="9483" y="7596"/>
                  </a:lnTo>
                  <a:lnTo>
                    <a:pt x="9225" y="7666"/>
                  </a:lnTo>
                  <a:lnTo>
                    <a:pt x="9222" y="7674"/>
                  </a:lnTo>
                  <a:lnTo>
                    <a:pt x="9246" y="7826"/>
                  </a:lnTo>
                  <a:lnTo>
                    <a:pt x="9489" y="8150"/>
                  </a:lnTo>
                  <a:lnTo>
                    <a:pt x="9561" y="8267"/>
                  </a:lnTo>
                  <a:lnTo>
                    <a:pt x="9838" y="8848"/>
                  </a:lnTo>
                  <a:lnTo>
                    <a:pt x="9893" y="9776"/>
                  </a:lnTo>
                  <a:lnTo>
                    <a:pt x="10032" y="10435"/>
                  </a:lnTo>
                  <a:lnTo>
                    <a:pt x="9523" y="10699"/>
                  </a:lnTo>
                  <a:lnTo>
                    <a:pt x="8339" y="10696"/>
                  </a:lnTo>
                  <a:lnTo>
                    <a:pt x="8033" y="10573"/>
                  </a:lnTo>
                  <a:lnTo>
                    <a:pt x="8018" y="10556"/>
                  </a:lnTo>
                  <a:lnTo>
                    <a:pt x="7942" y="10378"/>
                  </a:lnTo>
                  <a:lnTo>
                    <a:pt x="7674" y="10271"/>
                  </a:lnTo>
                  <a:lnTo>
                    <a:pt x="7218" y="10650"/>
                  </a:lnTo>
                  <a:lnTo>
                    <a:pt x="6386" y="11142"/>
                  </a:lnTo>
                  <a:lnTo>
                    <a:pt x="5285" y="10028"/>
                  </a:lnTo>
                  <a:close/>
                </a:path>
              </a:pathLst>
            </a:custGeom>
            <a:solidFill>
              <a:srgbClr val="FAD11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ysClr val="windowText" lastClr="000000"/>
                </a:solidFill>
                <a:effectLst/>
                <a:uLnTx/>
                <a:uFillTx/>
              </a:endParaRPr>
            </a:p>
          </p:txBody>
        </p:sp>
        <p:sp>
          <p:nvSpPr>
            <p:cNvPr id="67" name="Freeform 42"/>
            <p:cNvSpPr>
              <a:spLocks/>
            </p:cNvSpPr>
            <p:nvPr/>
          </p:nvSpPr>
          <p:spPr bwMode="auto">
            <a:xfrm>
              <a:off x="1376367" y="4618047"/>
              <a:ext cx="246062" cy="330199"/>
            </a:xfrm>
            <a:custGeom>
              <a:avLst/>
              <a:gdLst>
                <a:gd name="T0" fmla="*/ 363 w 2335"/>
                <a:gd name="T1" fmla="*/ 2397 h 3120"/>
                <a:gd name="T2" fmla="*/ 250 w 2335"/>
                <a:gd name="T3" fmla="*/ 2251 h 3120"/>
                <a:gd name="T4" fmla="*/ 168 w 2335"/>
                <a:gd name="T5" fmla="*/ 2133 h 3120"/>
                <a:gd name="T6" fmla="*/ 122 w 2335"/>
                <a:gd name="T7" fmla="*/ 2060 h 3120"/>
                <a:gd name="T8" fmla="*/ 40 w 2335"/>
                <a:gd name="T9" fmla="*/ 1892 h 3120"/>
                <a:gd name="T10" fmla="*/ 5 w 2335"/>
                <a:gd name="T11" fmla="*/ 1733 h 3120"/>
                <a:gd name="T12" fmla="*/ 3 w 2335"/>
                <a:gd name="T13" fmla="*/ 1613 h 3120"/>
                <a:gd name="T14" fmla="*/ 20 w 2335"/>
                <a:gd name="T15" fmla="*/ 1485 h 3120"/>
                <a:gd name="T16" fmla="*/ 63 w 2335"/>
                <a:gd name="T17" fmla="*/ 1347 h 3120"/>
                <a:gd name="T18" fmla="*/ 136 w 2335"/>
                <a:gd name="T19" fmla="*/ 1200 h 3120"/>
                <a:gd name="T20" fmla="*/ 264 w 2335"/>
                <a:gd name="T21" fmla="*/ 1014 h 3120"/>
                <a:gd name="T22" fmla="*/ 411 w 2335"/>
                <a:gd name="T23" fmla="*/ 815 h 3120"/>
                <a:gd name="T24" fmla="*/ 625 w 2335"/>
                <a:gd name="T25" fmla="*/ 551 h 3120"/>
                <a:gd name="T26" fmla="*/ 1110 w 2335"/>
                <a:gd name="T27" fmla="*/ 0 h 3120"/>
                <a:gd name="T28" fmla="*/ 1021 w 2335"/>
                <a:gd name="T29" fmla="*/ 632 h 3120"/>
                <a:gd name="T30" fmla="*/ 993 w 2335"/>
                <a:gd name="T31" fmla="*/ 666 h 3120"/>
                <a:gd name="T32" fmla="*/ 940 w 2335"/>
                <a:gd name="T33" fmla="*/ 730 h 3120"/>
                <a:gd name="T34" fmla="*/ 868 w 2335"/>
                <a:gd name="T35" fmla="*/ 815 h 3120"/>
                <a:gd name="T36" fmla="*/ 691 w 2335"/>
                <a:gd name="T37" fmla="*/ 1029 h 3120"/>
                <a:gd name="T38" fmla="*/ 507 w 2335"/>
                <a:gd name="T39" fmla="*/ 1258 h 3120"/>
                <a:gd name="T40" fmla="*/ 412 w 2335"/>
                <a:gd name="T41" fmla="*/ 1397 h 3120"/>
                <a:gd name="T42" fmla="*/ 370 w 2335"/>
                <a:gd name="T43" fmla="*/ 1498 h 3120"/>
                <a:gd name="T44" fmla="*/ 350 w 2335"/>
                <a:gd name="T45" fmla="*/ 1587 h 3120"/>
                <a:gd name="T46" fmla="*/ 358 w 2335"/>
                <a:gd name="T47" fmla="*/ 1709 h 3120"/>
                <a:gd name="T48" fmla="*/ 390 w 2335"/>
                <a:gd name="T49" fmla="*/ 1792 h 3120"/>
                <a:gd name="T50" fmla="*/ 401 w 2335"/>
                <a:gd name="T51" fmla="*/ 1809 h 3120"/>
                <a:gd name="T52" fmla="*/ 404 w 2335"/>
                <a:gd name="T53" fmla="*/ 1813 h 3120"/>
                <a:gd name="T54" fmla="*/ 418 w 2335"/>
                <a:gd name="T55" fmla="*/ 1833 h 3120"/>
                <a:gd name="T56" fmla="*/ 460 w 2335"/>
                <a:gd name="T57" fmla="*/ 1895 h 3120"/>
                <a:gd name="T58" fmla="*/ 555 w 2335"/>
                <a:gd name="T59" fmla="*/ 2020 h 3120"/>
                <a:gd name="T60" fmla="*/ 684 w 2335"/>
                <a:gd name="T61" fmla="*/ 2179 h 3120"/>
                <a:gd name="T62" fmla="*/ 839 w 2335"/>
                <a:gd name="T63" fmla="*/ 2347 h 3120"/>
                <a:gd name="T64" fmla="*/ 1011 w 2335"/>
                <a:gd name="T65" fmla="*/ 2505 h 3120"/>
                <a:gd name="T66" fmla="*/ 1192 w 2335"/>
                <a:gd name="T67" fmla="*/ 2631 h 3120"/>
                <a:gd name="T68" fmla="*/ 1329 w 2335"/>
                <a:gd name="T69" fmla="*/ 2693 h 3120"/>
                <a:gd name="T70" fmla="*/ 1418 w 2335"/>
                <a:gd name="T71" fmla="*/ 2712 h 3120"/>
                <a:gd name="T72" fmla="*/ 1581 w 2335"/>
                <a:gd name="T73" fmla="*/ 2713 h 3120"/>
                <a:gd name="T74" fmla="*/ 1680 w 2335"/>
                <a:gd name="T75" fmla="*/ 2691 h 3120"/>
                <a:gd name="T76" fmla="*/ 1771 w 2335"/>
                <a:gd name="T77" fmla="*/ 2642 h 3120"/>
                <a:gd name="T78" fmla="*/ 1875 w 2335"/>
                <a:gd name="T79" fmla="*/ 2556 h 3120"/>
                <a:gd name="T80" fmla="*/ 2029 w 2335"/>
                <a:gd name="T81" fmla="*/ 2386 h 3120"/>
                <a:gd name="T82" fmla="*/ 2173 w 2335"/>
                <a:gd name="T83" fmla="*/ 2220 h 3120"/>
                <a:gd name="T84" fmla="*/ 2241 w 2335"/>
                <a:gd name="T85" fmla="*/ 2559 h 3120"/>
                <a:gd name="T86" fmla="*/ 2212 w 2335"/>
                <a:gd name="T87" fmla="*/ 2604 h 3120"/>
                <a:gd name="T88" fmla="*/ 2146 w 2335"/>
                <a:gd name="T89" fmla="*/ 2704 h 3120"/>
                <a:gd name="T90" fmla="*/ 2018 w 2335"/>
                <a:gd name="T91" fmla="*/ 2865 h 3120"/>
                <a:gd name="T92" fmla="*/ 1842 w 2335"/>
                <a:gd name="T93" fmla="*/ 3013 h 3120"/>
                <a:gd name="T94" fmla="*/ 1737 w 2335"/>
                <a:gd name="T95" fmla="*/ 3069 h 3120"/>
                <a:gd name="T96" fmla="*/ 1634 w 2335"/>
                <a:gd name="T97" fmla="*/ 3107 h 3120"/>
                <a:gd name="T98" fmla="*/ 1540 w 2335"/>
                <a:gd name="T99" fmla="*/ 3119 h 3120"/>
                <a:gd name="T100" fmla="*/ 1404 w 2335"/>
                <a:gd name="T101" fmla="*/ 3115 h 3120"/>
                <a:gd name="T102" fmla="*/ 1285 w 2335"/>
                <a:gd name="T103" fmla="*/ 3093 h 3120"/>
                <a:gd name="T104" fmla="*/ 1162 w 2335"/>
                <a:gd name="T105" fmla="*/ 3053 h 3120"/>
                <a:gd name="T106" fmla="*/ 1038 w 2335"/>
                <a:gd name="T107" fmla="*/ 2997 h 3120"/>
                <a:gd name="T108" fmla="*/ 912 w 2335"/>
                <a:gd name="T109" fmla="*/ 2922 h 3120"/>
                <a:gd name="T110" fmla="*/ 784 w 2335"/>
                <a:gd name="T111" fmla="*/ 2830 h 3120"/>
                <a:gd name="T112" fmla="*/ 656 w 2335"/>
                <a:gd name="T113" fmla="*/ 2721 h 3120"/>
                <a:gd name="T114" fmla="*/ 528 w 2335"/>
                <a:gd name="T115" fmla="*/ 2593 h 3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335" h="3120">
                  <a:moveTo>
                    <a:pt x="496" y="2559"/>
                  </a:moveTo>
                  <a:lnTo>
                    <a:pt x="427" y="2478"/>
                  </a:lnTo>
                  <a:lnTo>
                    <a:pt x="395" y="2437"/>
                  </a:lnTo>
                  <a:lnTo>
                    <a:pt x="363" y="2397"/>
                  </a:lnTo>
                  <a:lnTo>
                    <a:pt x="333" y="2359"/>
                  </a:lnTo>
                  <a:lnTo>
                    <a:pt x="304" y="2322"/>
                  </a:lnTo>
                  <a:lnTo>
                    <a:pt x="276" y="2286"/>
                  </a:lnTo>
                  <a:lnTo>
                    <a:pt x="250" y="2251"/>
                  </a:lnTo>
                  <a:lnTo>
                    <a:pt x="227" y="2218"/>
                  </a:lnTo>
                  <a:lnTo>
                    <a:pt x="205" y="2188"/>
                  </a:lnTo>
                  <a:lnTo>
                    <a:pt x="185" y="2159"/>
                  </a:lnTo>
                  <a:lnTo>
                    <a:pt x="168" y="2133"/>
                  </a:lnTo>
                  <a:lnTo>
                    <a:pt x="152" y="2111"/>
                  </a:lnTo>
                  <a:lnTo>
                    <a:pt x="140" y="2090"/>
                  </a:lnTo>
                  <a:lnTo>
                    <a:pt x="130" y="2074"/>
                  </a:lnTo>
                  <a:lnTo>
                    <a:pt x="122" y="2060"/>
                  </a:lnTo>
                  <a:lnTo>
                    <a:pt x="100" y="2023"/>
                  </a:lnTo>
                  <a:lnTo>
                    <a:pt x="77" y="1983"/>
                  </a:lnTo>
                  <a:lnTo>
                    <a:pt x="57" y="1939"/>
                  </a:lnTo>
                  <a:lnTo>
                    <a:pt x="40" y="1892"/>
                  </a:lnTo>
                  <a:lnTo>
                    <a:pt x="24" y="1842"/>
                  </a:lnTo>
                  <a:lnTo>
                    <a:pt x="13" y="1789"/>
                  </a:lnTo>
                  <a:lnTo>
                    <a:pt x="9" y="1762"/>
                  </a:lnTo>
                  <a:lnTo>
                    <a:pt x="5" y="1733"/>
                  </a:lnTo>
                  <a:lnTo>
                    <a:pt x="3" y="1704"/>
                  </a:lnTo>
                  <a:lnTo>
                    <a:pt x="1" y="1675"/>
                  </a:lnTo>
                  <a:lnTo>
                    <a:pt x="0" y="1644"/>
                  </a:lnTo>
                  <a:lnTo>
                    <a:pt x="3" y="1613"/>
                  </a:lnTo>
                  <a:lnTo>
                    <a:pt x="5" y="1582"/>
                  </a:lnTo>
                  <a:lnTo>
                    <a:pt x="9" y="1549"/>
                  </a:lnTo>
                  <a:lnTo>
                    <a:pt x="14" y="1518"/>
                  </a:lnTo>
                  <a:lnTo>
                    <a:pt x="20" y="1485"/>
                  </a:lnTo>
                  <a:lnTo>
                    <a:pt x="28" y="1451"/>
                  </a:lnTo>
                  <a:lnTo>
                    <a:pt x="39" y="1417"/>
                  </a:lnTo>
                  <a:lnTo>
                    <a:pt x="50" y="1382"/>
                  </a:lnTo>
                  <a:lnTo>
                    <a:pt x="63" y="1347"/>
                  </a:lnTo>
                  <a:lnTo>
                    <a:pt x="79" y="1310"/>
                  </a:lnTo>
                  <a:lnTo>
                    <a:pt x="95" y="1274"/>
                  </a:lnTo>
                  <a:lnTo>
                    <a:pt x="115" y="1237"/>
                  </a:lnTo>
                  <a:lnTo>
                    <a:pt x="136" y="1200"/>
                  </a:lnTo>
                  <a:lnTo>
                    <a:pt x="158" y="1163"/>
                  </a:lnTo>
                  <a:lnTo>
                    <a:pt x="184" y="1125"/>
                  </a:lnTo>
                  <a:lnTo>
                    <a:pt x="224" y="1068"/>
                  </a:lnTo>
                  <a:lnTo>
                    <a:pt x="264" y="1014"/>
                  </a:lnTo>
                  <a:lnTo>
                    <a:pt x="302" y="961"/>
                  </a:lnTo>
                  <a:lnTo>
                    <a:pt x="339" y="911"/>
                  </a:lnTo>
                  <a:lnTo>
                    <a:pt x="375" y="861"/>
                  </a:lnTo>
                  <a:lnTo>
                    <a:pt x="411" y="815"/>
                  </a:lnTo>
                  <a:lnTo>
                    <a:pt x="447" y="769"/>
                  </a:lnTo>
                  <a:lnTo>
                    <a:pt x="483" y="723"/>
                  </a:lnTo>
                  <a:lnTo>
                    <a:pt x="554" y="637"/>
                  </a:lnTo>
                  <a:lnTo>
                    <a:pt x="625" y="551"/>
                  </a:lnTo>
                  <a:lnTo>
                    <a:pt x="699" y="465"/>
                  </a:lnTo>
                  <a:lnTo>
                    <a:pt x="738" y="422"/>
                  </a:lnTo>
                  <a:lnTo>
                    <a:pt x="776" y="377"/>
                  </a:lnTo>
                  <a:lnTo>
                    <a:pt x="1110" y="0"/>
                  </a:lnTo>
                  <a:lnTo>
                    <a:pt x="1277" y="433"/>
                  </a:lnTo>
                  <a:lnTo>
                    <a:pt x="1026" y="627"/>
                  </a:lnTo>
                  <a:lnTo>
                    <a:pt x="1025" y="628"/>
                  </a:lnTo>
                  <a:lnTo>
                    <a:pt x="1021" y="632"/>
                  </a:lnTo>
                  <a:lnTo>
                    <a:pt x="1017" y="637"/>
                  </a:lnTo>
                  <a:lnTo>
                    <a:pt x="1011" y="645"/>
                  </a:lnTo>
                  <a:lnTo>
                    <a:pt x="1003" y="654"/>
                  </a:lnTo>
                  <a:lnTo>
                    <a:pt x="993" y="666"/>
                  </a:lnTo>
                  <a:lnTo>
                    <a:pt x="981" y="679"/>
                  </a:lnTo>
                  <a:lnTo>
                    <a:pt x="969" y="695"/>
                  </a:lnTo>
                  <a:lnTo>
                    <a:pt x="954" y="711"/>
                  </a:lnTo>
                  <a:lnTo>
                    <a:pt x="940" y="730"/>
                  </a:lnTo>
                  <a:lnTo>
                    <a:pt x="923" y="749"/>
                  </a:lnTo>
                  <a:lnTo>
                    <a:pt x="906" y="770"/>
                  </a:lnTo>
                  <a:lnTo>
                    <a:pt x="887" y="792"/>
                  </a:lnTo>
                  <a:lnTo>
                    <a:pt x="868" y="815"/>
                  </a:lnTo>
                  <a:lnTo>
                    <a:pt x="827" y="864"/>
                  </a:lnTo>
                  <a:lnTo>
                    <a:pt x="783" y="917"/>
                  </a:lnTo>
                  <a:lnTo>
                    <a:pt x="738" y="973"/>
                  </a:lnTo>
                  <a:lnTo>
                    <a:pt x="691" y="1029"/>
                  </a:lnTo>
                  <a:lnTo>
                    <a:pt x="645" y="1087"/>
                  </a:lnTo>
                  <a:lnTo>
                    <a:pt x="597" y="1145"/>
                  </a:lnTo>
                  <a:lnTo>
                    <a:pt x="552" y="1202"/>
                  </a:lnTo>
                  <a:lnTo>
                    <a:pt x="507" y="1258"/>
                  </a:lnTo>
                  <a:lnTo>
                    <a:pt x="465" y="1313"/>
                  </a:lnTo>
                  <a:lnTo>
                    <a:pt x="445" y="1341"/>
                  </a:lnTo>
                  <a:lnTo>
                    <a:pt x="428" y="1369"/>
                  </a:lnTo>
                  <a:lnTo>
                    <a:pt x="412" y="1397"/>
                  </a:lnTo>
                  <a:lnTo>
                    <a:pt x="399" y="1423"/>
                  </a:lnTo>
                  <a:lnTo>
                    <a:pt x="388" y="1448"/>
                  </a:lnTo>
                  <a:lnTo>
                    <a:pt x="378" y="1474"/>
                  </a:lnTo>
                  <a:lnTo>
                    <a:pt x="370" y="1498"/>
                  </a:lnTo>
                  <a:lnTo>
                    <a:pt x="363" y="1522"/>
                  </a:lnTo>
                  <a:lnTo>
                    <a:pt x="358" y="1544"/>
                  </a:lnTo>
                  <a:lnTo>
                    <a:pt x="354" y="1566"/>
                  </a:lnTo>
                  <a:lnTo>
                    <a:pt x="350" y="1587"/>
                  </a:lnTo>
                  <a:lnTo>
                    <a:pt x="349" y="1607"/>
                  </a:lnTo>
                  <a:lnTo>
                    <a:pt x="348" y="1644"/>
                  </a:lnTo>
                  <a:lnTo>
                    <a:pt x="351" y="1678"/>
                  </a:lnTo>
                  <a:lnTo>
                    <a:pt x="358" y="1709"/>
                  </a:lnTo>
                  <a:lnTo>
                    <a:pt x="365" y="1735"/>
                  </a:lnTo>
                  <a:lnTo>
                    <a:pt x="373" y="1758"/>
                  </a:lnTo>
                  <a:lnTo>
                    <a:pt x="381" y="1777"/>
                  </a:lnTo>
                  <a:lnTo>
                    <a:pt x="390" y="1792"/>
                  </a:lnTo>
                  <a:lnTo>
                    <a:pt x="393" y="1798"/>
                  </a:lnTo>
                  <a:lnTo>
                    <a:pt x="396" y="1802"/>
                  </a:lnTo>
                  <a:lnTo>
                    <a:pt x="399" y="1806"/>
                  </a:lnTo>
                  <a:lnTo>
                    <a:pt x="401" y="1809"/>
                  </a:lnTo>
                  <a:lnTo>
                    <a:pt x="402" y="1810"/>
                  </a:lnTo>
                  <a:lnTo>
                    <a:pt x="402" y="1811"/>
                  </a:lnTo>
                  <a:lnTo>
                    <a:pt x="403" y="1811"/>
                  </a:lnTo>
                  <a:lnTo>
                    <a:pt x="404" y="1813"/>
                  </a:lnTo>
                  <a:lnTo>
                    <a:pt x="406" y="1816"/>
                  </a:lnTo>
                  <a:lnTo>
                    <a:pt x="409" y="1821"/>
                  </a:lnTo>
                  <a:lnTo>
                    <a:pt x="413" y="1827"/>
                  </a:lnTo>
                  <a:lnTo>
                    <a:pt x="418" y="1833"/>
                  </a:lnTo>
                  <a:lnTo>
                    <a:pt x="423" y="1841"/>
                  </a:lnTo>
                  <a:lnTo>
                    <a:pt x="429" y="1849"/>
                  </a:lnTo>
                  <a:lnTo>
                    <a:pt x="443" y="1870"/>
                  </a:lnTo>
                  <a:lnTo>
                    <a:pt x="460" y="1895"/>
                  </a:lnTo>
                  <a:lnTo>
                    <a:pt x="480" y="1921"/>
                  </a:lnTo>
                  <a:lnTo>
                    <a:pt x="502" y="1952"/>
                  </a:lnTo>
                  <a:lnTo>
                    <a:pt x="528" y="1985"/>
                  </a:lnTo>
                  <a:lnTo>
                    <a:pt x="555" y="2020"/>
                  </a:lnTo>
                  <a:lnTo>
                    <a:pt x="584" y="2058"/>
                  </a:lnTo>
                  <a:lnTo>
                    <a:pt x="616" y="2096"/>
                  </a:lnTo>
                  <a:lnTo>
                    <a:pt x="649" y="2138"/>
                  </a:lnTo>
                  <a:lnTo>
                    <a:pt x="684" y="2179"/>
                  </a:lnTo>
                  <a:lnTo>
                    <a:pt x="720" y="2220"/>
                  </a:lnTo>
                  <a:lnTo>
                    <a:pt x="758" y="2263"/>
                  </a:lnTo>
                  <a:lnTo>
                    <a:pt x="797" y="2305"/>
                  </a:lnTo>
                  <a:lnTo>
                    <a:pt x="839" y="2347"/>
                  </a:lnTo>
                  <a:lnTo>
                    <a:pt x="880" y="2388"/>
                  </a:lnTo>
                  <a:lnTo>
                    <a:pt x="922" y="2429"/>
                  </a:lnTo>
                  <a:lnTo>
                    <a:pt x="967" y="2468"/>
                  </a:lnTo>
                  <a:lnTo>
                    <a:pt x="1011" y="2505"/>
                  </a:lnTo>
                  <a:lnTo>
                    <a:pt x="1055" y="2540"/>
                  </a:lnTo>
                  <a:lnTo>
                    <a:pt x="1101" y="2573"/>
                  </a:lnTo>
                  <a:lnTo>
                    <a:pt x="1146" y="2604"/>
                  </a:lnTo>
                  <a:lnTo>
                    <a:pt x="1192" y="2631"/>
                  </a:lnTo>
                  <a:lnTo>
                    <a:pt x="1237" y="2656"/>
                  </a:lnTo>
                  <a:lnTo>
                    <a:pt x="1284" y="2676"/>
                  </a:lnTo>
                  <a:lnTo>
                    <a:pt x="1306" y="2685"/>
                  </a:lnTo>
                  <a:lnTo>
                    <a:pt x="1329" y="2693"/>
                  </a:lnTo>
                  <a:lnTo>
                    <a:pt x="1351" y="2699"/>
                  </a:lnTo>
                  <a:lnTo>
                    <a:pt x="1373" y="2704"/>
                  </a:lnTo>
                  <a:lnTo>
                    <a:pt x="1396" y="2709"/>
                  </a:lnTo>
                  <a:lnTo>
                    <a:pt x="1418" y="2712"/>
                  </a:lnTo>
                  <a:lnTo>
                    <a:pt x="1441" y="2714"/>
                  </a:lnTo>
                  <a:lnTo>
                    <a:pt x="1462" y="2714"/>
                  </a:lnTo>
                  <a:lnTo>
                    <a:pt x="1555" y="2714"/>
                  </a:lnTo>
                  <a:lnTo>
                    <a:pt x="1581" y="2713"/>
                  </a:lnTo>
                  <a:lnTo>
                    <a:pt x="1607" y="2710"/>
                  </a:lnTo>
                  <a:lnTo>
                    <a:pt x="1632" y="2706"/>
                  </a:lnTo>
                  <a:lnTo>
                    <a:pt x="1656" y="2699"/>
                  </a:lnTo>
                  <a:lnTo>
                    <a:pt x="1680" y="2691"/>
                  </a:lnTo>
                  <a:lnTo>
                    <a:pt x="1704" y="2681"/>
                  </a:lnTo>
                  <a:lnTo>
                    <a:pt x="1727" y="2669"/>
                  </a:lnTo>
                  <a:lnTo>
                    <a:pt x="1749" y="2657"/>
                  </a:lnTo>
                  <a:lnTo>
                    <a:pt x="1771" y="2642"/>
                  </a:lnTo>
                  <a:lnTo>
                    <a:pt x="1793" y="2628"/>
                  </a:lnTo>
                  <a:lnTo>
                    <a:pt x="1814" y="2611"/>
                  </a:lnTo>
                  <a:lnTo>
                    <a:pt x="1835" y="2594"/>
                  </a:lnTo>
                  <a:lnTo>
                    <a:pt x="1875" y="2556"/>
                  </a:lnTo>
                  <a:lnTo>
                    <a:pt x="1915" y="2516"/>
                  </a:lnTo>
                  <a:lnTo>
                    <a:pt x="1954" y="2473"/>
                  </a:lnTo>
                  <a:lnTo>
                    <a:pt x="1992" y="2430"/>
                  </a:lnTo>
                  <a:lnTo>
                    <a:pt x="2029" y="2386"/>
                  </a:lnTo>
                  <a:lnTo>
                    <a:pt x="2065" y="2343"/>
                  </a:lnTo>
                  <a:lnTo>
                    <a:pt x="2101" y="2299"/>
                  </a:lnTo>
                  <a:lnTo>
                    <a:pt x="2137" y="2258"/>
                  </a:lnTo>
                  <a:lnTo>
                    <a:pt x="2173" y="2220"/>
                  </a:lnTo>
                  <a:lnTo>
                    <a:pt x="2192" y="2202"/>
                  </a:lnTo>
                  <a:lnTo>
                    <a:pt x="2210" y="2185"/>
                  </a:lnTo>
                  <a:lnTo>
                    <a:pt x="2335" y="2371"/>
                  </a:lnTo>
                  <a:lnTo>
                    <a:pt x="2241" y="2559"/>
                  </a:lnTo>
                  <a:lnTo>
                    <a:pt x="2234" y="2568"/>
                  </a:lnTo>
                  <a:lnTo>
                    <a:pt x="2228" y="2579"/>
                  </a:lnTo>
                  <a:lnTo>
                    <a:pt x="2220" y="2591"/>
                  </a:lnTo>
                  <a:lnTo>
                    <a:pt x="2212" y="2604"/>
                  </a:lnTo>
                  <a:lnTo>
                    <a:pt x="2202" y="2619"/>
                  </a:lnTo>
                  <a:lnTo>
                    <a:pt x="2193" y="2634"/>
                  </a:lnTo>
                  <a:lnTo>
                    <a:pt x="2171" y="2668"/>
                  </a:lnTo>
                  <a:lnTo>
                    <a:pt x="2146" y="2704"/>
                  </a:lnTo>
                  <a:lnTo>
                    <a:pt x="2119" y="2743"/>
                  </a:lnTo>
                  <a:lnTo>
                    <a:pt x="2088" y="2783"/>
                  </a:lnTo>
                  <a:lnTo>
                    <a:pt x="2054" y="2824"/>
                  </a:lnTo>
                  <a:lnTo>
                    <a:pt x="2018" y="2865"/>
                  </a:lnTo>
                  <a:lnTo>
                    <a:pt x="1978" y="2905"/>
                  </a:lnTo>
                  <a:lnTo>
                    <a:pt x="1936" y="2943"/>
                  </a:lnTo>
                  <a:lnTo>
                    <a:pt x="1891" y="2980"/>
                  </a:lnTo>
                  <a:lnTo>
                    <a:pt x="1842" y="3013"/>
                  </a:lnTo>
                  <a:lnTo>
                    <a:pt x="1817" y="3029"/>
                  </a:lnTo>
                  <a:lnTo>
                    <a:pt x="1792" y="3043"/>
                  </a:lnTo>
                  <a:lnTo>
                    <a:pt x="1765" y="3056"/>
                  </a:lnTo>
                  <a:lnTo>
                    <a:pt x="1737" y="3069"/>
                  </a:lnTo>
                  <a:lnTo>
                    <a:pt x="1709" y="3079"/>
                  </a:lnTo>
                  <a:lnTo>
                    <a:pt x="1680" y="3088"/>
                  </a:lnTo>
                  <a:lnTo>
                    <a:pt x="1657" y="3099"/>
                  </a:lnTo>
                  <a:lnTo>
                    <a:pt x="1634" y="3107"/>
                  </a:lnTo>
                  <a:lnTo>
                    <a:pt x="1610" y="3112"/>
                  </a:lnTo>
                  <a:lnTo>
                    <a:pt x="1587" y="3116"/>
                  </a:lnTo>
                  <a:lnTo>
                    <a:pt x="1563" y="3118"/>
                  </a:lnTo>
                  <a:lnTo>
                    <a:pt x="1540" y="3119"/>
                  </a:lnTo>
                  <a:lnTo>
                    <a:pt x="1493" y="3120"/>
                  </a:lnTo>
                  <a:lnTo>
                    <a:pt x="1463" y="3119"/>
                  </a:lnTo>
                  <a:lnTo>
                    <a:pt x="1434" y="3118"/>
                  </a:lnTo>
                  <a:lnTo>
                    <a:pt x="1404" y="3115"/>
                  </a:lnTo>
                  <a:lnTo>
                    <a:pt x="1374" y="3111"/>
                  </a:lnTo>
                  <a:lnTo>
                    <a:pt x="1345" y="3106"/>
                  </a:lnTo>
                  <a:lnTo>
                    <a:pt x="1315" y="3101"/>
                  </a:lnTo>
                  <a:lnTo>
                    <a:pt x="1285" y="3093"/>
                  </a:lnTo>
                  <a:lnTo>
                    <a:pt x="1254" y="3085"/>
                  </a:lnTo>
                  <a:lnTo>
                    <a:pt x="1224" y="3076"/>
                  </a:lnTo>
                  <a:lnTo>
                    <a:pt x="1193" y="3066"/>
                  </a:lnTo>
                  <a:lnTo>
                    <a:pt x="1162" y="3053"/>
                  </a:lnTo>
                  <a:lnTo>
                    <a:pt x="1131" y="3041"/>
                  </a:lnTo>
                  <a:lnTo>
                    <a:pt x="1100" y="3028"/>
                  </a:lnTo>
                  <a:lnTo>
                    <a:pt x="1069" y="3013"/>
                  </a:lnTo>
                  <a:lnTo>
                    <a:pt x="1038" y="2997"/>
                  </a:lnTo>
                  <a:lnTo>
                    <a:pt x="1006" y="2980"/>
                  </a:lnTo>
                  <a:lnTo>
                    <a:pt x="975" y="2962"/>
                  </a:lnTo>
                  <a:lnTo>
                    <a:pt x="943" y="2942"/>
                  </a:lnTo>
                  <a:lnTo>
                    <a:pt x="912" y="2922"/>
                  </a:lnTo>
                  <a:lnTo>
                    <a:pt x="880" y="2901"/>
                  </a:lnTo>
                  <a:lnTo>
                    <a:pt x="848" y="2878"/>
                  </a:lnTo>
                  <a:lnTo>
                    <a:pt x="816" y="2855"/>
                  </a:lnTo>
                  <a:lnTo>
                    <a:pt x="784" y="2830"/>
                  </a:lnTo>
                  <a:lnTo>
                    <a:pt x="752" y="2804"/>
                  </a:lnTo>
                  <a:lnTo>
                    <a:pt x="720" y="2777"/>
                  </a:lnTo>
                  <a:lnTo>
                    <a:pt x="688" y="2749"/>
                  </a:lnTo>
                  <a:lnTo>
                    <a:pt x="656" y="2721"/>
                  </a:lnTo>
                  <a:lnTo>
                    <a:pt x="624" y="2691"/>
                  </a:lnTo>
                  <a:lnTo>
                    <a:pt x="592" y="2659"/>
                  </a:lnTo>
                  <a:lnTo>
                    <a:pt x="560" y="2627"/>
                  </a:lnTo>
                  <a:lnTo>
                    <a:pt x="528" y="2593"/>
                  </a:lnTo>
                  <a:lnTo>
                    <a:pt x="496" y="2559"/>
                  </a:lnTo>
                  <a:lnTo>
                    <a:pt x="496" y="2559"/>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ysClr val="windowText" lastClr="000000"/>
                </a:solidFill>
                <a:effectLst/>
                <a:uLnTx/>
                <a:uFillTx/>
              </a:endParaRPr>
            </a:p>
          </p:txBody>
        </p:sp>
        <p:sp>
          <p:nvSpPr>
            <p:cNvPr id="68" name="Freeform 43"/>
            <p:cNvSpPr>
              <a:spLocks/>
            </p:cNvSpPr>
            <p:nvPr/>
          </p:nvSpPr>
          <p:spPr bwMode="auto">
            <a:xfrm>
              <a:off x="2203454" y="4699007"/>
              <a:ext cx="254001" cy="346076"/>
            </a:xfrm>
            <a:custGeom>
              <a:avLst/>
              <a:gdLst>
                <a:gd name="T0" fmla="*/ 77 w 2403"/>
                <a:gd name="T1" fmla="*/ 3032 h 3283"/>
                <a:gd name="T2" fmla="*/ 19 w 2403"/>
                <a:gd name="T3" fmla="*/ 2902 h 3283"/>
                <a:gd name="T4" fmla="*/ 1 w 2403"/>
                <a:gd name="T5" fmla="*/ 2781 h 3283"/>
                <a:gd name="T6" fmla="*/ 2 w 2403"/>
                <a:gd name="T7" fmla="*/ 2687 h 3283"/>
                <a:gd name="T8" fmla="*/ 377 w 2403"/>
                <a:gd name="T9" fmla="*/ 2720 h 3283"/>
                <a:gd name="T10" fmla="*/ 376 w 2403"/>
                <a:gd name="T11" fmla="*/ 2729 h 3283"/>
                <a:gd name="T12" fmla="*/ 378 w 2403"/>
                <a:gd name="T13" fmla="*/ 2789 h 3283"/>
                <a:gd name="T14" fmla="*/ 409 w 2403"/>
                <a:gd name="T15" fmla="*/ 2868 h 3283"/>
                <a:gd name="T16" fmla="*/ 453 w 2403"/>
                <a:gd name="T17" fmla="*/ 2911 h 3283"/>
                <a:gd name="T18" fmla="*/ 508 w 2403"/>
                <a:gd name="T19" fmla="*/ 2932 h 3283"/>
                <a:gd name="T20" fmla="*/ 1748 w 2403"/>
                <a:gd name="T21" fmla="*/ 2941 h 3283"/>
                <a:gd name="T22" fmla="*/ 1875 w 2403"/>
                <a:gd name="T23" fmla="*/ 2914 h 3283"/>
                <a:gd name="T24" fmla="*/ 1974 w 2403"/>
                <a:gd name="T25" fmla="*/ 2840 h 3283"/>
                <a:gd name="T26" fmla="*/ 2037 w 2403"/>
                <a:gd name="T27" fmla="*/ 2731 h 3283"/>
                <a:gd name="T28" fmla="*/ 2060 w 2403"/>
                <a:gd name="T29" fmla="*/ 2598 h 3283"/>
                <a:gd name="T30" fmla="*/ 2036 w 2403"/>
                <a:gd name="T31" fmla="*/ 2461 h 3283"/>
                <a:gd name="T32" fmla="*/ 1982 w 2403"/>
                <a:gd name="T33" fmla="*/ 2342 h 3283"/>
                <a:gd name="T34" fmla="*/ 1930 w 2403"/>
                <a:gd name="T35" fmla="*/ 2257 h 3283"/>
                <a:gd name="T36" fmla="*/ 1907 w 2403"/>
                <a:gd name="T37" fmla="*/ 2226 h 3283"/>
                <a:gd name="T38" fmla="*/ 1906 w 2403"/>
                <a:gd name="T39" fmla="*/ 2217 h 3283"/>
                <a:gd name="T40" fmla="*/ 1908 w 2403"/>
                <a:gd name="T41" fmla="*/ 2166 h 3283"/>
                <a:gd name="T42" fmla="*/ 1911 w 2403"/>
                <a:gd name="T43" fmla="*/ 2073 h 3283"/>
                <a:gd name="T44" fmla="*/ 1913 w 2403"/>
                <a:gd name="T45" fmla="*/ 1952 h 3283"/>
                <a:gd name="T46" fmla="*/ 1910 w 2403"/>
                <a:gd name="T47" fmla="*/ 1675 h 3283"/>
                <a:gd name="T48" fmla="*/ 1899 w 2403"/>
                <a:gd name="T49" fmla="*/ 1512 h 3283"/>
                <a:gd name="T50" fmla="*/ 1882 w 2403"/>
                <a:gd name="T51" fmla="*/ 1404 h 3283"/>
                <a:gd name="T52" fmla="*/ 1827 w 2403"/>
                <a:gd name="T53" fmla="*/ 1248 h 3283"/>
                <a:gd name="T54" fmla="*/ 1769 w 2403"/>
                <a:gd name="T55" fmla="*/ 1094 h 3283"/>
                <a:gd name="T56" fmla="*/ 1714 w 2403"/>
                <a:gd name="T57" fmla="*/ 965 h 3283"/>
                <a:gd name="T58" fmla="*/ 1618 w 2403"/>
                <a:gd name="T59" fmla="*/ 773 h 3283"/>
                <a:gd name="T60" fmla="*/ 1484 w 2403"/>
                <a:gd name="T61" fmla="*/ 567 h 3283"/>
                <a:gd name="T62" fmla="*/ 1373 w 2403"/>
                <a:gd name="T63" fmla="*/ 423 h 3283"/>
                <a:gd name="T64" fmla="*/ 1853 w 2403"/>
                <a:gd name="T65" fmla="*/ 489 h 3283"/>
                <a:gd name="T66" fmla="*/ 1888 w 2403"/>
                <a:gd name="T67" fmla="*/ 544 h 3283"/>
                <a:gd name="T68" fmla="*/ 1936 w 2403"/>
                <a:gd name="T69" fmla="*/ 622 h 3283"/>
                <a:gd name="T70" fmla="*/ 2034 w 2403"/>
                <a:gd name="T71" fmla="*/ 796 h 3283"/>
                <a:gd name="T72" fmla="*/ 2144 w 2403"/>
                <a:gd name="T73" fmla="*/ 1019 h 3283"/>
                <a:gd name="T74" fmla="*/ 2214 w 2403"/>
                <a:gd name="T75" fmla="*/ 1205 h 3283"/>
                <a:gd name="T76" fmla="*/ 2238 w 2403"/>
                <a:gd name="T77" fmla="*/ 1318 h 3283"/>
                <a:gd name="T78" fmla="*/ 2256 w 2403"/>
                <a:gd name="T79" fmla="*/ 1534 h 3283"/>
                <a:gd name="T80" fmla="*/ 2254 w 2403"/>
                <a:gd name="T81" fmla="*/ 1832 h 3283"/>
                <a:gd name="T82" fmla="*/ 2249 w 2403"/>
                <a:gd name="T83" fmla="*/ 2052 h 3283"/>
                <a:gd name="T84" fmla="*/ 2338 w 2403"/>
                <a:gd name="T85" fmla="*/ 2254 h 3283"/>
                <a:gd name="T86" fmla="*/ 2379 w 2403"/>
                <a:gd name="T87" fmla="*/ 2372 h 3283"/>
                <a:gd name="T88" fmla="*/ 2400 w 2403"/>
                <a:gd name="T89" fmla="*/ 2500 h 3283"/>
                <a:gd name="T90" fmla="*/ 2399 w 2403"/>
                <a:gd name="T91" fmla="*/ 2644 h 3283"/>
                <a:gd name="T92" fmla="*/ 2375 w 2403"/>
                <a:gd name="T93" fmla="*/ 2785 h 3283"/>
                <a:gd name="T94" fmla="*/ 2326 w 2403"/>
                <a:gd name="T95" fmla="*/ 2914 h 3283"/>
                <a:gd name="T96" fmla="*/ 2257 w 2403"/>
                <a:gd name="T97" fmla="*/ 3028 h 3283"/>
                <a:gd name="T98" fmla="*/ 2169 w 2403"/>
                <a:gd name="T99" fmla="*/ 3124 h 3283"/>
                <a:gd name="T100" fmla="*/ 2065 w 2403"/>
                <a:gd name="T101" fmla="*/ 3200 h 3283"/>
                <a:gd name="T102" fmla="*/ 1946 w 2403"/>
                <a:gd name="T103" fmla="*/ 3252 h 3283"/>
                <a:gd name="T104" fmla="*/ 1816 w 2403"/>
                <a:gd name="T105" fmla="*/ 3280 h 3283"/>
                <a:gd name="T106" fmla="*/ 528 w 2403"/>
                <a:gd name="T107" fmla="*/ 3280 h 3283"/>
                <a:gd name="T108" fmla="*/ 398 w 2403"/>
                <a:gd name="T109" fmla="*/ 3263 h 3283"/>
                <a:gd name="T110" fmla="*/ 282 w 2403"/>
                <a:gd name="T111" fmla="*/ 3221 h 3283"/>
                <a:gd name="T112" fmla="*/ 185 w 2403"/>
                <a:gd name="T113" fmla="*/ 3157 h 3283"/>
                <a:gd name="T114" fmla="*/ 126 w 2403"/>
                <a:gd name="T115" fmla="*/ 3093 h 3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403" h="3283">
                  <a:moveTo>
                    <a:pt x="126" y="3093"/>
                  </a:moveTo>
                  <a:lnTo>
                    <a:pt x="113" y="3078"/>
                  </a:lnTo>
                  <a:lnTo>
                    <a:pt x="99" y="3063"/>
                  </a:lnTo>
                  <a:lnTo>
                    <a:pt x="77" y="3032"/>
                  </a:lnTo>
                  <a:lnTo>
                    <a:pt x="57" y="3000"/>
                  </a:lnTo>
                  <a:lnTo>
                    <a:pt x="42" y="2967"/>
                  </a:lnTo>
                  <a:lnTo>
                    <a:pt x="29" y="2935"/>
                  </a:lnTo>
                  <a:lnTo>
                    <a:pt x="19" y="2902"/>
                  </a:lnTo>
                  <a:lnTo>
                    <a:pt x="12" y="2870"/>
                  </a:lnTo>
                  <a:lnTo>
                    <a:pt x="6" y="2839"/>
                  </a:lnTo>
                  <a:lnTo>
                    <a:pt x="3" y="2809"/>
                  </a:lnTo>
                  <a:lnTo>
                    <a:pt x="1" y="2781"/>
                  </a:lnTo>
                  <a:lnTo>
                    <a:pt x="0" y="2754"/>
                  </a:lnTo>
                  <a:lnTo>
                    <a:pt x="0" y="2729"/>
                  </a:lnTo>
                  <a:lnTo>
                    <a:pt x="1" y="2706"/>
                  </a:lnTo>
                  <a:lnTo>
                    <a:pt x="2" y="2687"/>
                  </a:lnTo>
                  <a:lnTo>
                    <a:pt x="2" y="2669"/>
                  </a:lnTo>
                  <a:lnTo>
                    <a:pt x="3" y="2656"/>
                  </a:lnTo>
                  <a:lnTo>
                    <a:pt x="341" y="2331"/>
                  </a:lnTo>
                  <a:lnTo>
                    <a:pt x="377" y="2720"/>
                  </a:lnTo>
                  <a:lnTo>
                    <a:pt x="377" y="2720"/>
                  </a:lnTo>
                  <a:lnTo>
                    <a:pt x="376" y="2722"/>
                  </a:lnTo>
                  <a:lnTo>
                    <a:pt x="376" y="2725"/>
                  </a:lnTo>
                  <a:lnTo>
                    <a:pt x="376" y="2729"/>
                  </a:lnTo>
                  <a:lnTo>
                    <a:pt x="375" y="2739"/>
                  </a:lnTo>
                  <a:lnTo>
                    <a:pt x="375" y="2754"/>
                  </a:lnTo>
                  <a:lnTo>
                    <a:pt x="376" y="2770"/>
                  </a:lnTo>
                  <a:lnTo>
                    <a:pt x="378" y="2789"/>
                  </a:lnTo>
                  <a:lnTo>
                    <a:pt x="382" y="2808"/>
                  </a:lnTo>
                  <a:lnTo>
                    <a:pt x="388" y="2829"/>
                  </a:lnTo>
                  <a:lnTo>
                    <a:pt x="397" y="2849"/>
                  </a:lnTo>
                  <a:lnTo>
                    <a:pt x="409" y="2868"/>
                  </a:lnTo>
                  <a:lnTo>
                    <a:pt x="424" y="2887"/>
                  </a:lnTo>
                  <a:lnTo>
                    <a:pt x="433" y="2896"/>
                  </a:lnTo>
                  <a:lnTo>
                    <a:pt x="442" y="2903"/>
                  </a:lnTo>
                  <a:lnTo>
                    <a:pt x="453" y="2911"/>
                  </a:lnTo>
                  <a:lnTo>
                    <a:pt x="466" y="2918"/>
                  </a:lnTo>
                  <a:lnTo>
                    <a:pt x="478" y="2924"/>
                  </a:lnTo>
                  <a:lnTo>
                    <a:pt x="493" y="2929"/>
                  </a:lnTo>
                  <a:lnTo>
                    <a:pt x="508" y="2932"/>
                  </a:lnTo>
                  <a:lnTo>
                    <a:pt x="526" y="2935"/>
                  </a:lnTo>
                  <a:lnTo>
                    <a:pt x="544" y="2937"/>
                  </a:lnTo>
                  <a:lnTo>
                    <a:pt x="564" y="2938"/>
                  </a:lnTo>
                  <a:lnTo>
                    <a:pt x="1748" y="2941"/>
                  </a:lnTo>
                  <a:lnTo>
                    <a:pt x="1782" y="2939"/>
                  </a:lnTo>
                  <a:lnTo>
                    <a:pt x="1815" y="2934"/>
                  </a:lnTo>
                  <a:lnTo>
                    <a:pt x="1846" y="2926"/>
                  </a:lnTo>
                  <a:lnTo>
                    <a:pt x="1875" y="2914"/>
                  </a:lnTo>
                  <a:lnTo>
                    <a:pt x="1903" y="2900"/>
                  </a:lnTo>
                  <a:lnTo>
                    <a:pt x="1929" y="2883"/>
                  </a:lnTo>
                  <a:lnTo>
                    <a:pt x="1952" y="2863"/>
                  </a:lnTo>
                  <a:lnTo>
                    <a:pt x="1974" y="2840"/>
                  </a:lnTo>
                  <a:lnTo>
                    <a:pt x="1993" y="2816"/>
                  </a:lnTo>
                  <a:lnTo>
                    <a:pt x="2010" y="2790"/>
                  </a:lnTo>
                  <a:lnTo>
                    <a:pt x="2025" y="2761"/>
                  </a:lnTo>
                  <a:lnTo>
                    <a:pt x="2037" y="2731"/>
                  </a:lnTo>
                  <a:lnTo>
                    <a:pt x="2047" y="2700"/>
                  </a:lnTo>
                  <a:lnTo>
                    <a:pt x="2055" y="2667"/>
                  </a:lnTo>
                  <a:lnTo>
                    <a:pt x="2059" y="2633"/>
                  </a:lnTo>
                  <a:lnTo>
                    <a:pt x="2060" y="2598"/>
                  </a:lnTo>
                  <a:lnTo>
                    <a:pt x="2059" y="2563"/>
                  </a:lnTo>
                  <a:lnTo>
                    <a:pt x="2054" y="2529"/>
                  </a:lnTo>
                  <a:lnTo>
                    <a:pt x="2046" y="2495"/>
                  </a:lnTo>
                  <a:lnTo>
                    <a:pt x="2036" y="2461"/>
                  </a:lnTo>
                  <a:lnTo>
                    <a:pt x="2025" y="2429"/>
                  </a:lnTo>
                  <a:lnTo>
                    <a:pt x="2011" y="2398"/>
                  </a:lnTo>
                  <a:lnTo>
                    <a:pt x="1997" y="2369"/>
                  </a:lnTo>
                  <a:lnTo>
                    <a:pt x="1982" y="2342"/>
                  </a:lnTo>
                  <a:lnTo>
                    <a:pt x="1968" y="2316"/>
                  </a:lnTo>
                  <a:lnTo>
                    <a:pt x="1954" y="2293"/>
                  </a:lnTo>
                  <a:lnTo>
                    <a:pt x="1941" y="2274"/>
                  </a:lnTo>
                  <a:lnTo>
                    <a:pt x="1930" y="2257"/>
                  </a:lnTo>
                  <a:lnTo>
                    <a:pt x="1919" y="2243"/>
                  </a:lnTo>
                  <a:lnTo>
                    <a:pt x="1912" y="2233"/>
                  </a:lnTo>
                  <a:lnTo>
                    <a:pt x="1909" y="2229"/>
                  </a:lnTo>
                  <a:lnTo>
                    <a:pt x="1907" y="2226"/>
                  </a:lnTo>
                  <a:lnTo>
                    <a:pt x="1906" y="2225"/>
                  </a:lnTo>
                  <a:lnTo>
                    <a:pt x="1905" y="2224"/>
                  </a:lnTo>
                  <a:lnTo>
                    <a:pt x="1905" y="2223"/>
                  </a:lnTo>
                  <a:lnTo>
                    <a:pt x="1906" y="2217"/>
                  </a:lnTo>
                  <a:lnTo>
                    <a:pt x="1906" y="2209"/>
                  </a:lnTo>
                  <a:lnTo>
                    <a:pt x="1907" y="2198"/>
                  </a:lnTo>
                  <a:lnTo>
                    <a:pt x="1907" y="2183"/>
                  </a:lnTo>
                  <a:lnTo>
                    <a:pt x="1908" y="2166"/>
                  </a:lnTo>
                  <a:lnTo>
                    <a:pt x="1909" y="2146"/>
                  </a:lnTo>
                  <a:lnTo>
                    <a:pt x="1909" y="2123"/>
                  </a:lnTo>
                  <a:lnTo>
                    <a:pt x="1910" y="2100"/>
                  </a:lnTo>
                  <a:lnTo>
                    <a:pt x="1911" y="2073"/>
                  </a:lnTo>
                  <a:lnTo>
                    <a:pt x="1911" y="2045"/>
                  </a:lnTo>
                  <a:lnTo>
                    <a:pt x="1912" y="2016"/>
                  </a:lnTo>
                  <a:lnTo>
                    <a:pt x="1913" y="1985"/>
                  </a:lnTo>
                  <a:lnTo>
                    <a:pt x="1913" y="1952"/>
                  </a:lnTo>
                  <a:lnTo>
                    <a:pt x="1914" y="1885"/>
                  </a:lnTo>
                  <a:lnTo>
                    <a:pt x="1913" y="1816"/>
                  </a:lnTo>
                  <a:lnTo>
                    <a:pt x="1912" y="1745"/>
                  </a:lnTo>
                  <a:lnTo>
                    <a:pt x="1910" y="1675"/>
                  </a:lnTo>
                  <a:lnTo>
                    <a:pt x="1907" y="1606"/>
                  </a:lnTo>
                  <a:lnTo>
                    <a:pt x="1905" y="1573"/>
                  </a:lnTo>
                  <a:lnTo>
                    <a:pt x="1902" y="1541"/>
                  </a:lnTo>
                  <a:lnTo>
                    <a:pt x="1899" y="1512"/>
                  </a:lnTo>
                  <a:lnTo>
                    <a:pt x="1896" y="1482"/>
                  </a:lnTo>
                  <a:lnTo>
                    <a:pt x="1891" y="1454"/>
                  </a:lnTo>
                  <a:lnTo>
                    <a:pt x="1886" y="1428"/>
                  </a:lnTo>
                  <a:lnTo>
                    <a:pt x="1882" y="1404"/>
                  </a:lnTo>
                  <a:lnTo>
                    <a:pt x="1876" y="1383"/>
                  </a:lnTo>
                  <a:lnTo>
                    <a:pt x="1859" y="1336"/>
                  </a:lnTo>
                  <a:lnTo>
                    <a:pt x="1843" y="1291"/>
                  </a:lnTo>
                  <a:lnTo>
                    <a:pt x="1827" y="1248"/>
                  </a:lnTo>
                  <a:lnTo>
                    <a:pt x="1812" y="1207"/>
                  </a:lnTo>
                  <a:lnTo>
                    <a:pt x="1796" y="1167"/>
                  </a:lnTo>
                  <a:lnTo>
                    <a:pt x="1782" y="1130"/>
                  </a:lnTo>
                  <a:lnTo>
                    <a:pt x="1769" y="1094"/>
                  </a:lnTo>
                  <a:lnTo>
                    <a:pt x="1754" y="1060"/>
                  </a:lnTo>
                  <a:lnTo>
                    <a:pt x="1741" y="1026"/>
                  </a:lnTo>
                  <a:lnTo>
                    <a:pt x="1727" y="995"/>
                  </a:lnTo>
                  <a:lnTo>
                    <a:pt x="1714" y="965"/>
                  </a:lnTo>
                  <a:lnTo>
                    <a:pt x="1700" y="935"/>
                  </a:lnTo>
                  <a:lnTo>
                    <a:pt x="1674" y="878"/>
                  </a:lnTo>
                  <a:lnTo>
                    <a:pt x="1647" y="824"/>
                  </a:lnTo>
                  <a:lnTo>
                    <a:pt x="1618" y="773"/>
                  </a:lnTo>
                  <a:lnTo>
                    <a:pt x="1588" y="721"/>
                  </a:lnTo>
                  <a:lnTo>
                    <a:pt x="1556" y="671"/>
                  </a:lnTo>
                  <a:lnTo>
                    <a:pt x="1522" y="621"/>
                  </a:lnTo>
                  <a:lnTo>
                    <a:pt x="1484" y="567"/>
                  </a:lnTo>
                  <a:lnTo>
                    <a:pt x="1442" y="512"/>
                  </a:lnTo>
                  <a:lnTo>
                    <a:pt x="1421" y="484"/>
                  </a:lnTo>
                  <a:lnTo>
                    <a:pt x="1398" y="454"/>
                  </a:lnTo>
                  <a:lnTo>
                    <a:pt x="1373" y="423"/>
                  </a:lnTo>
                  <a:lnTo>
                    <a:pt x="1348" y="391"/>
                  </a:lnTo>
                  <a:lnTo>
                    <a:pt x="1488" y="0"/>
                  </a:lnTo>
                  <a:lnTo>
                    <a:pt x="1847" y="479"/>
                  </a:lnTo>
                  <a:lnTo>
                    <a:pt x="1853" y="489"/>
                  </a:lnTo>
                  <a:lnTo>
                    <a:pt x="1862" y="500"/>
                  </a:lnTo>
                  <a:lnTo>
                    <a:pt x="1870" y="513"/>
                  </a:lnTo>
                  <a:lnTo>
                    <a:pt x="1879" y="528"/>
                  </a:lnTo>
                  <a:lnTo>
                    <a:pt x="1888" y="544"/>
                  </a:lnTo>
                  <a:lnTo>
                    <a:pt x="1900" y="562"/>
                  </a:lnTo>
                  <a:lnTo>
                    <a:pt x="1911" y="580"/>
                  </a:lnTo>
                  <a:lnTo>
                    <a:pt x="1922" y="601"/>
                  </a:lnTo>
                  <a:lnTo>
                    <a:pt x="1936" y="622"/>
                  </a:lnTo>
                  <a:lnTo>
                    <a:pt x="1948" y="644"/>
                  </a:lnTo>
                  <a:lnTo>
                    <a:pt x="1976" y="692"/>
                  </a:lnTo>
                  <a:lnTo>
                    <a:pt x="2004" y="742"/>
                  </a:lnTo>
                  <a:lnTo>
                    <a:pt x="2034" y="796"/>
                  </a:lnTo>
                  <a:lnTo>
                    <a:pt x="2063" y="850"/>
                  </a:lnTo>
                  <a:lnTo>
                    <a:pt x="2091" y="906"/>
                  </a:lnTo>
                  <a:lnTo>
                    <a:pt x="2119" y="963"/>
                  </a:lnTo>
                  <a:lnTo>
                    <a:pt x="2144" y="1019"/>
                  </a:lnTo>
                  <a:lnTo>
                    <a:pt x="2167" y="1075"/>
                  </a:lnTo>
                  <a:lnTo>
                    <a:pt x="2189" y="1128"/>
                  </a:lnTo>
                  <a:lnTo>
                    <a:pt x="2206" y="1180"/>
                  </a:lnTo>
                  <a:lnTo>
                    <a:pt x="2214" y="1205"/>
                  </a:lnTo>
                  <a:lnTo>
                    <a:pt x="2220" y="1228"/>
                  </a:lnTo>
                  <a:lnTo>
                    <a:pt x="2225" y="1249"/>
                  </a:lnTo>
                  <a:lnTo>
                    <a:pt x="2230" y="1272"/>
                  </a:lnTo>
                  <a:lnTo>
                    <a:pt x="2238" y="1318"/>
                  </a:lnTo>
                  <a:lnTo>
                    <a:pt x="2246" y="1368"/>
                  </a:lnTo>
                  <a:lnTo>
                    <a:pt x="2250" y="1422"/>
                  </a:lnTo>
                  <a:lnTo>
                    <a:pt x="2254" y="1477"/>
                  </a:lnTo>
                  <a:lnTo>
                    <a:pt x="2256" y="1534"/>
                  </a:lnTo>
                  <a:lnTo>
                    <a:pt x="2257" y="1593"/>
                  </a:lnTo>
                  <a:lnTo>
                    <a:pt x="2257" y="1653"/>
                  </a:lnTo>
                  <a:lnTo>
                    <a:pt x="2256" y="1772"/>
                  </a:lnTo>
                  <a:lnTo>
                    <a:pt x="2254" y="1832"/>
                  </a:lnTo>
                  <a:lnTo>
                    <a:pt x="2253" y="1890"/>
                  </a:lnTo>
                  <a:lnTo>
                    <a:pt x="2251" y="1946"/>
                  </a:lnTo>
                  <a:lnTo>
                    <a:pt x="2250" y="2001"/>
                  </a:lnTo>
                  <a:lnTo>
                    <a:pt x="2249" y="2052"/>
                  </a:lnTo>
                  <a:lnTo>
                    <a:pt x="2249" y="2101"/>
                  </a:lnTo>
                  <a:lnTo>
                    <a:pt x="2282" y="2149"/>
                  </a:lnTo>
                  <a:lnTo>
                    <a:pt x="2312" y="2201"/>
                  </a:lnTo>
                  <a:lnTo>
                    <a:pt x="2338" y="2254"/>
                  </a:lnTo>
                  <a:lnTo>
                    <a:pt x="2350" y="2282"/>
                  </a:lnTo>
                  <a:lnTo>
                    <a:pt x="2361" y="2312"/>
                  </a:lnTo>
                  <a:lnTo>
                    <a:pt x="2370" y="2341"/>
                  </a:lnTo>
                  <a:lnTo>
                    <a:pt x="2379" y="2372"/>
                  </a:lnTo>
                  <a:lnTo>
                    <a:pt x="2386" y="2403"/>
                  </a:lnTo>
                  <a:lnTo>
                    <a:pt x="2392" y="2434"/>
                  </a:lnTo>
                  <a:lnTo>
                    <a:pt x="2397" y="2466"/>
                  </a:lnTo>
                  <a:lnTo>
                    <a:pt x="2400" y="2500"/>
                  </a:lnTo>
                  <a:lnTo>
                    <a:pt x="2402" y="2534"/>
                  </a:lnTo>
                  <a:lnTo>
                    <a:pt x="2403" y="2568"/>
                  </a:lnTo>
                  <a:lnTo>
                    <a:pt x="2402" y="2606"/>
                  </a:lnTo>
                  <a:lnTo>
                    <a:pt x="2399" y="2644"/>
                  </a:lnTo>
                  <a:lnTo>
                    <a:pt x="2395" y="2680"/>
                  </a:lnTo>
                  <a:lnTo>
                    <a:pt x="2390" y="2716"/>
                  </a:lnTo>
                  <a:lnTo>
                    <a:pt x="2383" y="2751"/>
                  </a:lnTo>
                  <a:lnTo>
                    <a:pt x="2375" y="2785"/>
                  </a:lnTo>
                  <a:lnTo>
                    <a:pt x="2364" y="2819"/>
                  </a:lnTo>
                  <a:lnTo>
                    <a:pt x="2353" y="2852"/>
                  </a:lnTo>
                  <a:lnTo>
                    <a:pt x="2341" y="2884"/>
                  </a:lnTo>
                  <a:lnTo>
                    <a:pt x="2326" y="2914"/>
                  </a:lnTo>
                  <a:lnTo>
                    <a:pt x="2311" y="2944"/>
                  </a:lnTo>
                  <a:lnTo>
                    <a:pt x="2294" y="2973"/>
                  </a:lnTo>
                  <a:lnTo>
                    <a:pt x="2275" y="3001"/>
                  </a:lnTo>
                  <a:lnTo>
                    <a:pt x="2257" y="3028"/>
                  </a:lnTo>
                  <a:lnTo>
                    <a:pt x="2236" y="3054"/>
                  </a:lnTo>
                  <a:lnTo>
                    <a:pt x="2215" y="3078"/>
                  </a:lnTo>
                  <a:lnTo>
                    <a:pt x="2193" y="3102"/>
                  </a:lnTo>
                  <a:lnTo>
                    <a:pt x="2169" y="3124"/>
                  </a:lnTo>
                  <a:lnTo>
                    <a:pt x="2144" y="3145"/>
                  </a:lnTo>
                  <a:lnTo>
                    <a:pt x="2119" y="3165"/>
                  </a:lnTo>
                  <a:lnTo>
                    <a:pt x="2092" y="3183"/>
                  </a:lnTo>
                  <a:lnTo>
                    <a:pt x="2065" y="3200"/>
                  </a:lnTo>
                  <a:lnTo>
                    <a:pt x="2036" y="3215"/>
                  </a:lnTo>
                  <a:lnTo>
                    <a:pt x="2007" y="3230"/>
                  </a:lnTo>
                  <a:lnTo>
                    <a:pt x="1977" y="3242"/>
                  </a:lnTo>
                  <a:lnTo>
                    <a:pt x="1946" y="3252"/>
                  </a:lnTo>
                  <a:lnTo>
                    <a:pt x="1914" y="3262"/>
                  </a:lnTo>
                  <a:lnTo>
                    <a:pt x="1882" y="3270"/>
                  </a:lnTo>
                  <a:lnTo>
                    <a:pt x="1849" y="3276"/>
                  </a:lnTo>
                  <a:lnTo>
                    <a:pt x="1816" y="3280"/>
                  </a:lnTo>
                  <a:lnTo>
                    <a:pt x="1781" y="3282"/>
                  </a:lnTo>
                  <a:lnTo>
                    <a:pt x="1747" y="3283"/>
                  </a:lnTo>
                  <a:lnTo>
                    <a:pt x="563" y="3281"/>
                  </a:lnTo>
                  <a:lnTo>
                    <a:pt x="528" y="3280"/>
                  </a:lnTo>
                  <a:lnTo>
                    <a:pt x="494" y="3278"/>
                  </a:lnTo>
                  <a:lnTo>
                    <a:pt x="461" y="3274"/>
                  </a:lnTo>
                  <a:lnTo>
                    <a:pt x="429" y="3269"/>
                  </a:lnTo>
                  <a:lnTo>
                    <a:pt x="398" y="3263"/>
                  </a:lnTo>
                  <a:lnTo>
                    <a:pt x="367" y="3254"/>
                  </a:lnTo>
                  <a:lnTo>
                    <a:pt x="338" y="3244"/>
                  </a:lnTo>
                  <a:lnTo>
                    <a:pt x="309" y="3234"/>
                  </a:lnTo>
                  <a:lnTo>
                    <a:pt x="282" y="3221"/>
                  </a:lnTo>
                  <a:lnTo>
                    <a:pt x="256" y="3207"/>
                  </a:lnTo>
                  <a:lnTo>
                    <a:pt x="231" y="3192"/>
                  </a:lnTo>
                  <a:lnTo>
                    <a:pt x="208" y="3175"/>
                  </a:lnTo>
                  <a:lnTo>
                    <a:pt x="185" y="3157"/>
                  </a:lnTo>
                  <a:lnTo>
                    <a:pt x="164" y="3137"/>
                  </a:lnTo>
                  <a:lnTo>
                    <a:pt x="145" y="3115"/>
                  </a:lnTo>
                  <a:lnTo>
                    <a:pt x="126" y="3093"/>
                  </a:lnTo>
                  <a:lnTo>
                    <a:pt x="126" y="3093"/>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ysClr val="windowText" lastClr="000000"/>
                </a:solidFill>
                <a:effectLst/>
                <a:uLnTx/>
                <a:uFillTx/>
              </a:endParaRPr>
            </a:p>
          </p:txBody>
        </p:sp>
        <p:sp>
          <p:nvSpPr>
            <p:cNvPr id="69" name="Freeform 44"/>
            <p:cNvSpPr>
              <a:spLocks noEditPoints="1"/>
            </p:cNvSpPr>
            <p:nvPr/>
          </p:nvSpPr>
          <p:spPr bwMode="auto">
            <a:xfrm>
              <a:off x="1358903" y="3878270"/>
              <a:ext cx="1638304" cy="1214440"/>
            </a:xfrm>
            <a:custGeom>
              <a:avLst/>
              <a:gdLst>
                <a:gd name="T0" fmla="*/ 10977 w 15471"/>
                <a:gd name="T1" fmla="*/ 1806 h 11467"/>
                <a:gd name="T2" fmla="*/ 11863 w 15471"/>
                <a:gd name="T3" fmla="*/ 2687 h 11467"/>
                <a:gd name="T4" fmla="*/ 11965 w 15471"/>
                <a:gd name="T5" fmla="*/ 3282 h 11467"/>
                <a:gd name="T6" fmla="*/ 12755 w 15471"/>
                <a:gd name="T7" fmla="*/ 3676 h 11467"/>
                <a:gd name="T8" fmla="*/ 12767 w 15471"/>
                <a:gd name="T9" fmla="*/ 4735 h 11467"/>
                <a:gd name="T10" fmla="*/ 13108 w 15471"/>
                <a:gd name="T11" fmla="*/ 1674 h 11467"/>
                <a:gd name="T12" fmla="*/ 14652 w 15471"/>
                <a:gd name="T13" fmla="*/ 942 h 11467"/>
                <a:gd name="T14" fmla="*/ 15075 w 15471"/>
                <a:gd name="T15" fmla="*/ 4776 h 11467"/>
                <a:gd name="T16" fmla="*/ 12080 w 15471"/>
                <a:gd name="T17" fmla="*/ 6929 h 11467"/>
                <a:gd name="T18" fmla="*/ 10191 w 15471"/>
                <a:gd name="T19" fmla="*/ 5810 h 11467"/>
                <a:gd name="T20" fmla="*/ 11264 w 15471"/>
                <a:gd name="T21" fmla="*/ 7535 h 11467"/>
                <a:gd name="T22" fmla="*/ 10824 w 15471"/>
                <a:gd name="T23" fmla="*/ 8068 h 11467"/>
                <a:gd name="T24" fmla="*/ 8547 w 15471"/>
                <a:gd name="T25" fmla="*/ 6706 h 11467"/>
                <a:gd name="T26" fmla="*/ 9172 w 15471"/>
                <a:gd name="T27" fmla="*/ 8211 h 11467"/>
                <a:gd name="T28" fmla="*/ 6576 w 15471"/>
                <a:gd name="T29" fmla="*/ 11116 h 11467"/>
                <a:gd name="T30" fmla="*/ 6156 w 15471"/>
                <a:gd name="T31" fmla="*/ 9541 h 11467"/>
                <a:gd name="T32" fmla="*/ 6205 w 15471"/>
                <a:gd name="T33" fmla="*/ 9052 h 11467"/>
                <a:gd name="T34" fmla="*/ 4485 w 15471"/>
                <a:gd name="T35" fmla="*/ 9219 h 11467"/>
                <a:gd name="T36" fmla="*/ 3981 w 15471"/>
                <a:gd name="T37" fmla="*/ 10956 h 11467"/>
                <a:gd name="T38" fmla="*/ 2377 w 15471"/>
                <a:gd name="T39" fmla="*/ 9801 h 11467"/>
                <a:gd name="T40" fmla="*/ 1530 w 15471"/>
                <a:gd name="T41" fmla="*/ 7314 h 11467"/>
                <a:gd name="T42" fmla="*/ 1041 w 15471"/>
                <a:gd name="T43" fmla="*/ 5673 h 11467"/>
                <a:gd name="T44" fmla="*/ 412 w 15471"/>
                <a:gd name="T45" fmla="*/ 4456 h 11467"/>
                <a:gd name="T46" fmla="*/ 938 w 15471"/>
                <a:gd name="T47" fmla="*/ 4506 h 11467"/>
                <a:gd name="T48" fmla="*/ 1436 w 15471"/>
                <a:gd name="T49" fmla="*/ 5064 h 11467"/>
                <a:gd name="T50" fmla="*/ 4800 w 15471"/>
                <a:gd name="T51" fmla="*/ 2713 h 11467"/>
                <a:gd name="T52" fmla="*/ 3605 w 15471"/>
                <a:gd name="T53" fmla="*/ 4402 h 11467"/>
                <a:gd name="T54" fmla="*/ 3968 w 15471"/>
                <a:gd name="T55" fmla="*/ 6936 h 11467"/>
                <a:gd name="T56" fmla="*/ 6878 w 15471"/>
                <a:gd name="T57" fmla="*/ 7007 h 11467"/>
                <a:gd name="T58" fmla="*/ 8016 w 15471"/>
                <a:gd name="T59" fmla="*/ 5640 h 11467"/>
                <a:gd name="T60" fmla="*/ 7464 w 15471"/>
                <a:gd name="T61" fmla="*/ 4107 h 11467"/>
                <a:gd name="T62" fmla="*/ 7291 w 15471"/>
                <a:gd name="T63" fmla="*/ 6616 h 11467"/>
                <a:gd name="T64" fmla="*/ 4638 w 15471"/>
                <a:gd name="T65" fmla="*/ 7120 h 11467"/>
                <a:gd name="T66" fmla="*/ 3893 w 15471"/>
                <a:gd name="T67" fmla="*/ 4655 h 11467"/>
                <a:gd name="T68" fmla="*/ 7348 w 15471"/>
                <a:gd name="T69" fmla="*/ 1684 h 11467"/>
                <a:gd name="T70" fmla="*/ 7505 w 15471"/>
                <a:gd name="T71" fmla="*/ 821 h 11467"/>
                <a:gd name="T72" fmla="*/ 14394 w 15471"/>
                <a:gd name="T73" fmla="*/ 1187 h 11467"/>
                <a:gd name="T74" fmla="*/ 13401 w 15471"/>
                <a:gd name="T75" fmla="*/ 1768 h 11467"/>
                <a:gd name="T76" fmla="*/ 9509 w 15471"/>
                <a:gd name="T77" fmla="*/ 2321 h 11467"/>
                <a:gd name="T78" fmla="*/ 9002 w 15471"/>
                <a:gd name="T79" fmla="*/ 2398 h 11467"/>
                <a:gd name="T80" fmla="*/ 9753 w 15471"/>
                <a:gd name="T81" fmla="*/ 3768 h 11467"/>
                <a:gd name="T82" fmla="*/ 9917 w 15471"/>
                <a:gd name="T83" fmla="*/ 4293 h 11467"/>
                <a:gd name="T84" fmla="*/ 10789 w 15471"/>
                <a:gd name="T85" fmla="*/ 3533 h 11467"/>
                <a:gd name="T86" fmla="*/ 10668 w 15471"/>
                <a:gd name="T87" fmla="*/ 3016 h 11467"/>
                <a:gd name="T88" fmla="*/ 9418 w 15471"/>
                <a:gd name="T89" fmla="*/ 3866 h 11467"/>
                <a:gd name="T90" fmla="*/ 6560 w 15471"/>
                <a:gd name="T91" fmla="*/ 1283 h 11467"/>
                <a:gd name="T92" fmla="*/ 4869 w 15471"/>
                <a:gd name="T93" fmla="*/ 2378 h 11467"/>
                <a:gd name="T94" fmla="*/ 1533 w 15471"/>
                <a:gd name="T95" fmla="*/ 4436 h 11467"/>
                <a:gd name="T96" fmla="*/ 865 w 15471"/>
                <a:gd name="T97" fmla="*/ 3460 h 11467"/>
                <a:gd name="T98" fmla="*/ 523 w 15471"/>
                <a:gd name="T99" fmla="*/ 5835 h 11467"/>
                <a:gd name="T100" fmla="*/ 2021 w 15471"/>
                <a:gd name="T101" fmla="*/ 9156 h 11467"/>
                <a:gd name="T102" fmla="*/ 2536 w 15471"/>
                <a:gd name="T103" fmla="*/ 11188 h 11467"/>
                <a:gd name="T104" fmla="*/ 4423 w 15471"/>
                <a:gd name="T105" fmla="*/ 10332 h 11467"/>
                <a:gd name="T106" fmla="*/ 5268 w 15471"/>
                <a:gd name="T107" fmla="*/ 9942 h 11467"/>
                <a:gd name="T108" fmla="*/ 7052 w 15471"/>
                <a:gd name="T109" fmla="*/ 11297 h 11467"/>
                <a:gd name="T110" fmla="*/ 9714 w 15471"/>
                <a:gd name="T111" fmla="*/ 7999 h 11467"/>
                <a:gd name="T112" fmla="*/ 11839 w 15471"/>
                <a:gd name="T113" fmla="*/ 7522 h 11467"/>
                <a:gd name="T114" fmla="*/ 14957 w 15471"/>
                <a:gd name="T115" fmla="*/ 5826 h 11467"/>
                <a:gd name="T116" fmla="*/ 14949 w 15471"/>
                <a:gd name="T117" fmla="*/ 867 h 11467"/>
                <a:gd name="T118" fmla="*/ 13419 w 15471"/>
                <a:gd name="T119" fmla="*/ 1053 h 11467"/>
                <a:gd name="T120" fmla="*/ 12890 w 15471"/>
                <a:gd name="T121" fmla="*/ 3396 h 11467"/>
                <a:gd name="T122" fmla="*/ 12179 w 15471"/>
                <a:gd name="T123" fmla="*/ 1882 h 114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471" h="11467">
                  <a:moveTo>
                    <a:pt x="9231" y="342"/>
                  </a:moveTo>
                  <a:lnTo>
                    <a:pt x="9450" y="342"/>
                  </a:lnTo>
                  <a:lnTo>
                    <a:pt x="9501" y="346"/>
                  </a:lnTo>
                  <a:lnTo>
                    <a:pt x="9553" y="351"/>
                  </a:lnTo>
                  <a:lnTo>
                    <a:pt x="9604" y="357"/>
                  </a:lnTo>
                  <a:lnTo>
                    <a:pt x="9654" y="364"/>
                  </a:lnTo>
                  <a:lnTo>
                    <a:pt x="9703" y="373"/>
                  </a:lnTo>
                  <a:lnTo>
                    <a:pt x="9752" y="383"/>
                  </a:lnTo>
                  <a:lnTo>
                    <a:pt x="9801" y="394"/>
                  </a:lnTo>
                  <a:lnTo>
                    <a:pt x="9848" y="405"/>
                  </a:lnTo>
                  <a:lnTo>
                    <a:pt x="9894" y="419"/>
                  </a:lnTo>
                  <a:lnTo>
                    <a:pt x="9941" y="433"/>
                  </a:lnTo>
                  <a:lnTo>
                    <a:pt x="10031" y="464"/>
                  </a:lnTo>
                  <a:lnTo>
                    <a:pt x="10118" y="499"/>
                  </a:lnTo>
                  <a:lnTo>
                    <a:pt x="10203" y="537"/>
                  </a:lnTo>
                  <a:lnTo>
                    <a:pt x="10285" y="579"/>
                  </a:lnTo>
                  <a:lnTo>
                    <a:pt x="10364" y="623"/>
                  </a:lnTo>
                  <a:lnTo>
                    <a:pt x="10441" y="669"/>
                  </a:lnTo>
                  <a:lnTo>
                    <a:pt x="10514" y="718"/>
                  </a:lnTo>
                  <a:lnTo>
                    <a:pt x="10585" y="768"/>
                  </a:lnTo>
                  <a:lnTo>
                    <a:pt x="10653" y="820"/>
                  </a:lnTo>
                  <a:lnTo>
                    <a:pt x="10719" y="873"/>
                  </a:lnTo>
                  <a:lnTo>
                    <a:pt x="10781" y="927"/>
                  </a:lnTo>
                  <a:lnTo>
                    <a:pt x="10841" y="980"/>
                  </a:lnTo>
                  <a:lnTo>
                    <a:pt x="10899" y="1035"/>
                  </a:lnTo>
                  <a:lnTo>
                    <a:pt x="10954" y="1089"/>
                  </a:lnTo>
                  <a:lnTo>
                    <a:pt x="11005" y="1144"/>
                  </a:lnTo>
                  <a:lnTo>
                    <a:pt x="11054" y="1198"/>
                  </a:lnTo>
                  <a:lnTo>
                    <a:pt x="11100" y="1249"/>
                  </a:lnTo>
                  <a:lnTo>
                    <a:pt x="11144" y="1301"/>
                  </a:lnTo>
                  <a:lnTo>
                    <a:pt x="11185" y="1350"/>
                  </a:lnTo>
                  <a:lnTo>
                    <a:pt x="11223" y="1397"/>
                  </a:lnTo>
                  <a:lnTo>
                    <a:pt x="11258" y="1443"/>
                  </a:lnTo>
                  <a:lnTo>
                    <a:pt x="11291" y="1486"/>
                  </a:lnTo>
                  <a:lnTo>
                    <a:pt x="11321" y="1526"/>
                  </a:lnTo>
                  <a:lnTo>
                    <a:pt x="11348" y="1562"/>
                  </a:lnTo>
                  <a:lnTo>
                    <a:pt x="11373" y="1596"/>
                  </a:lnTo>
                  <a:lnTo>
                    <a:pt x="11393" y="1626"/>
                  </a:lnTo>
                  <a:lnTo>
                    <a:pt x="11404" y="1638"/>
                  </a:lnTo>
                  <a:lnTo>
                    <a:pt x="11413" y="1651"/>
                  </a:lnTo>
                  <a:lnTo>
                    <a:pt x="11381" y="1651"/>
                  </a:lnTo>
                  <a:lnTo>
                    <a:pt x="11351" y="1653"/>
                  </a:lnTo>
                  <a:lnTo>
                    <a:pt x="11319" y="1658"/>
                  </a:lnTo>
                  <a:lnTo>
                    <a:pt x="11286" y="1665"/>
                  </a:lnTo>
                  <a:lnTo>
                    <a:pt x="11253" y="1676"/>
                  </a:lnTo>
                  <a:lnTo>
                    <a:pt x="11219" y="1687"/>
                  </a:lnTo>
                  <a:lnTo>
                    <a:pt x="11185" y="1700"/>
                  </a:lnTo>
                  <a:lnTo>
                    <a:pt x="11152" y="1715"/>
                  </a:lnTo>
                  <a:lnTo>
                    <a:pt x="11121" y="1729"/>
                  </a:lnTo>
                  <a:lnTo>
                    <a:pt x="11091" y="1743"/>
                  </a:lnTo>
                  <a:lnTo>
                    <a:pt x="11064" y="1758"/>
                  </a:lnTo>
                  <a:lnTo>
                    <a:pt x="11039" y="1770"/>
                  </a:lnTo>
                  <a:lnTo>
                    <a:pt x="11018" y="1783"/>
                  </a:lnTo>
                  <a:lnTo>
                    <a:pt x="11008" y="1788"/>
                  </a:lnTo>
                  <a:lnTo>
                    <a:pt x="11001" y="1792"/>
                  </a:lnTo>
                  <a:lnTo>
                    <a:pt x="10994" y="1796"/>
                  </a:lnTo>
                  <a:lnTo>
                    <a:pt x="10988" y="1800"/>
                  </a:lnTo>
                  <a:lnTo>
                    <a:pt x="10983" y="1803"/>
                  </a:lnTo>
                  <a:lnTo>
                    <a:pt x="10979" y="1805"/>
                  </a:lnTo>
                  <a:lnTo>
                    <a:pt x="10977" y="1806"/>
                  </a:lnTo>
                  <a:lnTo>
                    <a:pt x="10976" y="1806"/>
                  </a:lnTo>
                  <a:lnTo>
                    <a:pt x="11257" y="1806"/>
                  </a:lnTo>
                  <a:lnTo>
                    <a:pt x="11303" y="1806"/>
                  </a:lnTo>
                  <a:lnTo>
                    <a:pt x="11345" y="1807"/>
                  </a:lnTo>
                  <a:lnTo>
                    <a:pt x="11385" y="1808"/>
                  </a:lnTo>
                  <a:lnTo>
                    <a:pt x="11424" y="1810"/>
                  </a:lnTo>
                  <a:lnTo>
                    <a:pt x="11462" y="1815"/>
                  </a:lnTo>
                  <a:lnTo>
                    <a:pt x="11498" y="1820"/>
                  </a:lnTo>
                  <a:lnTo>
                    <a:pt x="11534" y="1828"/>
                  </a:lnTo>
                  <a:lnTo>
                    <a:pt x="11569" y="1838"/>
                  </a:lnTo>
                  <a:lnTo>
                    <a:pt x="11603" y="1851"/>
                  </a:lnTo>
                  <a:lnTo>
                    <a:pt x="11637" y="1863"/>
                  </a:lnTo>
                  <a:lnTo>
                    <a:pt x="11671" y="1877"/>
                  </a:lnTo>
                  <a:lnTo>
                    <a:pt x="11704" y="1893"/>
                  </a:lnTo>
                  <a:lnTo>
                    <a:pt x="11737" y="1910"/>
                  </a:lnTo>
                  <a:lnTo>
                    <a:pt x="11771" y="1930"/>
                  </a:lnTo>
                  <a:lnTo>
                    <a:pt x="11804" y="1951"/>
                  </a:lnTo>
                  <a:lnTo>
                    <a:pt x="11837" y="1974"/>
                  </a:lnTo>
                  <a:lnTo>
                    <a:pt x="11871" y="2000"/>
                  </a:lnTo>
                  <a:lnTo>
                    <a:pt x="11905" y="2029"/>
                  </a:lnTo>
                  <a:lnTo>
                    <a:pt x="11941" y="2061"/>
                  </a:lnTo>
                  <a:lnTo>
                    <a:pt x="11977" y="2097"/>
                  </a:lnTo>
                  <a:lnTo>
                    <a:pt x="12013" y="2135"/>
                  </a:lnTo>
                  <a:lnTo>
                    <a:pt x="12051" y="2177"/>
                  </a:lnTo>
                  <a:lnTo>
                    <a:pt x="12070" y="2200"/>
                  </a:lnTo>
                  <a:lnTo>
                    <a:pt x="12089" y="2223"/>
                  </a:lnTo>
                  <a:lnTo>
                    <a:pt x="12110" y="2248"/>
                  </a:lnTo>
                  <a:lnTo>
                    <a:pt x="12129" y="2274"/>
                  </a:lnTo>
                  <a:lnTo>
                    <a:pt x="12157" y="2310"/>
                  </a:lnTo>
                  <a:lnTo>
                    <a:pt x="12182" y="2345"/>
                  </a:lnTo>
                  <a:lnTo>
                    <a:pt x="12204" y="2381"/>
                  </a:lnTo>
                  <a:lnTo>
                    <a:pt x="12221" y="2416"/>
                  </a:lnTo>
                  <a:lnTo>
                    <a:pt x="12237" y="2451"/>
                  </a:lnTo>
                  <a:lnTo>
                    <a:pt x="12247" y="2484"/>
                  </a:lnTo>
                  <a:lnTo>
                    <a:pt x="12254" y="2517"/>
                  </a:lnTo>
                  <a:lnTo>
                    <a:pt x="12258" y="2547"/>
                  </a:lnTo>
                  <a:lnTo>
                    <a:pt x="12258" y="2561"/>
                  </a:lnTo>
                  <a:lnTo>
                    <a:pt x="12257" y="2575"/>
                  </a:lnTo>
                  <a:lnTo>
                    <a:pt x="12255" y="2588"/>
                  </a:lnTo>
                  <a:lnTo>
                    <a:pt x="12253" y="2600"/>
                  </a:lnTo>
                  <a:lnTo>
                    <a:pt x="12249" y="2612"/>
                  </a:lnTo>
                  <a:lnTo>
                    <a:pt x="12244" y="2623"/>
                  </a:lnTo>
                  <a:lnTo>
                    <a:pt x="12238" y="2632"/>
                  </a:lnTo>
                  <a:lnTo>
                    <a:pt x="12231" y="2642"/>
                  </a:lnTo>
                  <a:lnTo>
                    <a:pt x="12222" y="2650"/>
                  </a:lnTo>
                  <a:lnTo>
                    <a:pt x="12212" y="2658"/>
                  </a:lnTo>
                  <a:lnTo>
                    <a:pt x="12202" y="2664"/>
                  </a:lnTo>
                  <a:lnTo>
                    <a:pt x="12189" y="2670"/>
                  </a:lnTo>
                  <a:lnTo>
                    <a:pt x="12177" y="2674"/>
                  </a:lnTo>
                  <a:lnTo>
                    <a:pt x="12162" y="2677"/>
                  </a:lnTo>
                  <a:lnTo>
                    <a:pt x="12147" y="2679"/>
                  </a:lnTo>
                  <a:lnTo>
                    <a:pt x="12129" y="2679"/>
                  </a:lnTo>
                  <a:lnTo>
                    <a:pt x="12035" y="2679"/>
                  </a:lnTo>
                  <a:lnTo>
                    <a:pt x="12008" y="2679"/>
                  </a:lnTo>
                  <a:lnTo>
                    <a:pt x="11980" y="2680"/>
                  </a:lnTo>
                  <a:lnTo>
                    <a:pt x="11954" y="2681"/>
                  </a:lnTo>
                  <a:lnTo>
                    <a:pt x="11930" y="2682"/>
                  </a:lnTo>
                  <a:lnTo>
                    <a:pt x="11906" y="2684"/>
                  </a:lnTo>
                  <a:lnTo>
                    <a:pt x="11885" y="2685"/>
                  </a:lnTo>
                  <a:lnTo>
                    <a:pt x="11863" y="2687"/>
                  </a:lnTo>
                  <a:lnTo>
                    <a:pt x="11843" y="2690"/>
                  </a:lnTo>
                  <a:lnTo>
                    <a:pt x="11806" y="2695"/>
                  </a:lnTo>
                  <a:lnTo>
                    <a:pt x="11772" y="2702"/>
                  </a:lnTo>
                  <a:lnTo>
                    <a:pt x="11741" y="2710"/>
                  </a:lnTo>
                  <a:lnTo>
                    <a:pt x="11712" y="2718"/>
                  </a:lnTo>
                  <a:lnTo>
                    <a:pt x="11686" y="2727"/>
                  </a:lnTo>
                  <a:lnTo>
                    <a:pt x="11660" y="2737"/>
                  </a:lnTo>
                  <a:lnTo>
                    <a:pt x="11611" y="2758"/>
                  </a:lnTo>
                  <a:lnTo>
                    <a:pt x="11586" y="2769"/>
                  </a:lnTo>
                  <a:lnTo>
                    <a:pt x="11561" y="2781"/>
                  </a:lnTo>
                  <a:lnTo>
                    <a:pt x="11535" y="2792"/>
                  </a:lnTo>
                  <a:lnTo>
                    <a:pt x="11506" y="2803"/>
                  </a:lnTo>
                  <a:lnTo>
                    <a:pt x="11519" y="2802"/>
                  </a:lnTo>
                  <a:lnTo>
                    <a:pt x="11535" y="2799"/>
                  </a:lnTo>
                  <a:lnTo>
                    <a:pt x="11552" y="2794"/>
                  </a:lnTo>
                  <a:lnTo>
                    <a:pt x="11572" y="2788"/>
                  </a:lnTo>
                  <a:lnTo>
                    <a:pt x="11594" y="2783"/>
                  </a:lnTo>
                  <a:lnTo>
                    <a:pt x="11615" y="2778"/>
                  </a:lnTo>
                  <a:lnTo>
                    <a:pt x="11639" y="2775"/>
                  </a:lnTo>
                  <a:lnTo>
                    <a:pt x="11662" y="2773"/>
                  </a:lnTo>
                  <a:lnTo>
                    <a:pt x="11709" y="2774"/>
                  </a:lnTo>
                  <a:lnTo>
                    <a:pt x="11733" y="2775"/>
                  </a:lnTo>
                  <a:lnTo>
                    <a:pt x="11757" y="2777"/>
                  </a:lnTo>
                  <a:lnTo>
                    <a:pt x="11781" y="2781"/>
                  </a:lnTo>
                  <a:lnTo>
                    <a:pt x="11803" y="2787"/>
                  </a:lnTo>
                  <a:lnTo>
                    <a:pt x="11826" y="2795"/>
                  </a:lnTo>
                  <a:lnTo>
                    <a:pt x="11849" y="2805"/>
                  </a:lnTo>
                  <a:lnTo>
                    <a:pt x="11870" y="2819"/>
                  </a:lnTo>
                  <a:lnTo>
                    <a:pt x="11890" y="2835"/>
                  </a:lnTo>
                  <a:lnTo>
                    <a:pt x="11910" y="2856"/>
                  </a:lnTo>
                  <a:lnTo>
                    <a:pt x="11920" y="2867"/>
                  </a:lnTo>
                  <a:lnTo>
                    <a:pt x="11928" y="2880"/>
                  </a:lnTo>
                  <a:lnTo>
                    <a:pt x="11937" y="2894"/>
                  </a:lnTo>
                  <a:lnTo>
                    <a:pt x="11946" y="2908"/>
                  </a:lnTo>
                  <a:lnTo>
                    <a:pt x="11954" y="2925"/>
                  </a:lnTo>
                  <a:lnTo>
                    <a:pt x="11961" y="2942"/>
                  </a:lnTo>
                  <a:lnTo>
                    <a:pt x="11968" y="2961"/>
                  </a:lnTo>
                  <a:lnTo>
                    <a:pt x="11976" y="2981"/>
                  </a:lnTo>
                  <a:lnTo>
                    <a:pt x="11982" y="3002"/>
                  </a:lnTo>
                  <a:lnTo>
                    <a:pt x="11988" y="3025"/>
                  </a:lnTo>
                  <a:lnTo>
                    <a:pt x="11989" y="3058"/>
                  </a:lnTo>
                  <a:lnTo>
                    <a:pt x="11988" y="3088"/>
                  </a:lnTo>
                  <a:lnTo>
                    <a:pt x="11987" y="3117"/>
                  </a:lnTo>
                  <a:lnTo>
                    <a:pt x="11986" y="3142"/>
                  </a:lnTo>
                  <a:lnTo>
                    <a:pt x="11983" y="3166"/>
                  </a:lnTo>
                  <a:lnTo>
                    <a:pt x="11980" y="3188"/>
                  </a:lnTo>
                  <a:lnTo>
                    <a:pt x="11976" y="3207"/>
                  </a:lnTo>
                  <a:lnTo>
                    <a:pt x="11970" y="3226"/>
                  </a:lnTo>
                  <a:lnTo>
                    <a:pt x="11963" y="3241"/>
                  </a:lnTo>
                  <a:lnTo>
                    <a:pt x="11956" y="3256"/>
                  </a:lnTo>
                  <a:lnTo>
                    <a:pt x="11947" y="3268"/>
                  </a:lnTo>
                  <a:lnTo>
                    <a:pt x="11936" y="3278"/>
                  </a:lnTo>
                  <a:lnTo>
                    <a:pt x="11925" y="3288"/>
                  </a:lnTo>
                  <a:lnTo>
                    <a:pt x="11912" y="3296"/>
                  </a:lnTo>
                  <a:lnTo>
                    <a:pt x="11897" y="3302"/>
                  </a:lnTo>
                  <a:lnTo>
                    <a:pt x="11881" y="3307"/>
                  </a:lnTo>
                  <a:lnTo>
                    <a:pt x="11905" y="3298"/>
                  </a:lnTo>
                  <a:lnTo>
                    <a:pt x="11928" y="3291"/>
                  </a:lnTo>
                  <a:lnTo>
                    <a:pt x="11952" y="3284"/>
                  </a:lnTo>
                  <a:lnTo>
                    <a:pt x="11965" y="3282"/>
                  </a:lnTo>
                  <a:lnTo>
                    <a:pt x="11979" y="3280"/>
                  </a:lnTo>
                  <a:lnTo>
                    <a:pt x="11994" y="3278"/>
                  </a:lnTo>
                  <a:lnTo>
                    <a:pt x="12011" y="3277"/>
                  </a:lnTo>
                  <a:lnTo>
                    <a:pt x="12029" y="3275"/>
                  </a:lnTo>
                  <a:lnTo>
                    <a:pt x="12050" y="3274"/>
                  </a:lnTo>
                  <a:lnTo>
                    <a:pt x="12074" y="3273"/>
                  </a:lnTo>
                  <a:lnTo>
                    <a:pt x="12100" y="3273"/>
                  </a:lnTo>
                  <a:lnTo>
                    <a:pt x="12128" y="3272"/>
                  </a:lnTo>
                  <a:lnTo>
                    <a:pt x="12160" y="3271"/>
                  </a:lnTo>
                  <a:lnTo>
                    <a:pt x="12184" y="3272"/>
                  </a:lnTo>
                  <a:lnTo>
                    <a:pt x="12208" y="3275"/>
                  </a:lnTo>
                  <a:lnTo>
                    <a:pt x="12232" y="3279"/>
                  </a:lnTo>
                  <a:lnTo>
                    <a:pt x="12255" y="3284"/>
                  </a:lnTo>
                  <a:lnTo>
                    <a:pt x="12279" y="3293"/>
                  </a:lnTo>
                  <a:lnTo>
                    <a:pt x="12302" y="3301"/>
                  </a:lnTo>
                  <a:lnTo>
                    <a:pt x="12325" y="3311"/>
                  </a:lnTo>
                  <a:lnTo>
                    <a:pt x="12346" y="3324"/>
                  </a:lnTo>
                  <a:lnTo>
                    <a:pt x="12367" y="3336"/>
                  </a:lnTo>
                  <a:lnTo>
                    <a:pt x="12386" y="3350"/>
                  </a:lnTo>
                  <a:lnTo>
                    <a:pt x="12404" y="3366"/>
                  </a:lnTo>
                  <a:lnTo>
                    <a:pt x="12422" y="3382"/>
                  </a:lnTo>
                  <a:lnTo>
                    <a:pt x="12437" y="3400"/>
                  </a:lnTo>
                  <a:lnTo>
                    <a:pt x="12450" y="3418"/>
                  </a:lnTo>
                  <a:lnTo>
                    <a:pt x="12463" y="3438"/>
                  </a:lnTo>
                  <a:lnTo>
                    <a:pt x="12472" y="3459"/>
                  </a:lnTo>
                  <a:lnTo>
                    <a:pt x="12481" y="3479"/>
                  </a:lnTo>
                  <a:lnTo>
                    <a:pt x="12490" y="3499"/>
                  </a:lnTo>
                  <a:lnTo>
                    <a:pt x="12498" y="3518"/>
                  </a:lnTo>
                  <a:lnTo>
                    <a:pt x="12505" y="3537"/>
                  </a:lnTo>
                  <a:lnTo>
                    <a:pt x="12511" y="3555"/>
                  </a:lnTo>
                  <a:lnTo>
                    <a:pt x="12516" y="3574"/>
                  </a:lnTo>
                  <a:lnTo>
                    <a:pt x="12518" y="3592"/>
                  </a:lnTo>
                  <a:lnTo>
                    <a:pt x="12518" y="3612"/>
                  </a:lnTo>
                  <a:lnTo>
                    <a:pt x="12514" y="3633"/>
                  </a:lnTo>
                  <a:lnTo>
                    <a:pt x="12508" y="3654"/>
                  </a:lnTo>
                  <a:lnTo>
                    <a:pt x="12499" y="3677"/>
                  </a:lnTo>
                  <a:lnTo>
                    <a:pt x="12493" y="3688"/>
                  </a:lnTo>
                  <a:lnTo>
                    <a:pt x="12486" y="3701"/>
                  </a:lnTo>
                  <a:lnTo>
                    <a:pt x="12477" y="3714"/>
                  </a:lnTo>
                  <a:lnTo>
                    <a:pt x="12468" y="3727"/>
                  </a:lnTo>
                  <a:lnTo>
                    <a:pt x="12458" y="3742"/>
                  </a:lnTo>
                  <a:lnTo>
                    <a:pt x="12445" y="3756"/>
                  </a:lnTo>
                  <a:lnTo>
                    <a:pt x="12433" y="3771"/>
                  </a:lnTo>
                  <a:lnTo>
                    <a:pt x="12418" y="3787"/>
                  </a:lnTo>
                  <a:lnTo>
                    <a:pt x="12403" y="3804"/>
                  </a:lnTo>
                  <a:lnTo>
                    <a:pt x="12386" y="3820"/>
                  </a:lnTo>
                  <a:lnTo>
                    <a:pt x="12404" y="3804"/>
                  </a:lnTo>
                  <a:lnTo>
                    <a:pt x="12423" y="3788"/>
                  </a:lnTo>
                  <a:lnTo>
                    <a:pt x="12441" y="3774"/>
                  </a:lnTo>
                  <a:lnTo>
                    <a:pt x="12461" y="3760"/>
                  </a:lnTo>
                  <a:lnTo>
                    <a:pt x="12481" y="3748"/>
                  </a:lnTo>
                  <a:lnTo>
                    <a:pt x="12501" y="3737"/>
                  </a:lnTo>
                  <a:lnTo>
                    <a:pt x="12523" y="3726"/>
                  </a:lnTo>
                  <a:lnTo>
                    <a:pt x="12543" y="3717"/>
                  </a:lnTo>
                  <a:lnTo>
                    <a:pt x="12587" y="3702"/>
                  </a:lnTo>
                  <a:lnTo>
                    <a:pt x="12631" y="3690"/>
                  </a:lnTo>
                  <a:lnTo>
                    <a:pt x="12677" y="3682"/>
                  </a:lnTo>
                  <a:lnTo>
                    <a:pt x="12722" y="3677"/>
                  </a:lnTo>
                  <a:lnTo>
                    <a:pt x="12739" y="3676"/>
                  </a:lnTo>
                  <a:lnTo>
                    <a:pt x="12755" y="3676"/>
                  </a:lnTo>
                  <a:lnTo>
                    <a:pt x="12773" y="3677"/>
                  </a:lnTo>
                  <a:lnTo>
                    <a:pt x="12789" y="3679"/>
                  </a:lnTo>
                  <a:lnTo>
                    <a:pt x="12806" y="3683"/>
                  </a:lnTo>
                  <a:lnTo>
                    <a:pt x="12821" y="3689"/>
                  </a:lnTo>
                  <a:lnTo>
                    <a:pt x="12835" y="3697"/>
                  </a:lnTo>
                  <a:lnTo>
                    <a:pt x="12846" y="3708"/>
                  </a:lnTo>
                  <a:lnTo>
                    <a:pt x="12861" y="3724"/>
                  </a:lnTo>
                  <a:lnTo>
                    <a:pt x="12875" y="3740"/>
                  </a:lnTo>
                  <a:lnTo>
                    <a:pt x="12887" y="3755"/>
                  </a:lnTo>
                  <a:lnTo>
                    <a:pt x="12899" y="3770"/>
                  </a:lnTo>
                  <a:lnTo>
                    <a:pt x="12908" y="3784"/>
                  </a:lnTo>
                  <a:lnTo>
                    <a:pt x="12916" y="3799"/>
                  </a:lnTo>
                  <a:lnTo>
                    <a:pt x="12922" y="3816"/>
                  </a:lnTo>
                  <a:lnTo>
                    <a:pt x="12927" y="3834"/>
                  </a:lnTo>
                  <a:lnTo>
                    <a:pt x="12931" y="3854"/>
                  </a:lnTo>
                  <a:lnTo>
                    <a:pt x="12932" y="3876"/>
                  </a:lnTo>
                  <a:lnTo>
                    <a:pt x="12931" y="3900"/>
                  </a:lnTo>
                  <a:lnTo>
                    <a:pt x="12928" y="3928"/>
                  </a:lnTo>
                  <a:lnTo>
                    <a:pt x="12924" y="3959"/>
                  </a:lnTo>
                  <a:lnTo>
                    <a:pt x="12921" y="3977"/>
                  </a:lnTo>
                  <a:lnTo>
                    <a:pt x="12917" y="3995"/>
                  </a:lnTo>
                  <a:lnTo>
                    <a:pt x="12913" y="4014"/>
                  </a:lnTo>
                  <a:lnTo>
                    <a:pt x="12909" y="4034"/>
                  </a:lnTo>
                  <a:lnTo>
                    <a:pt x="12904" y="4056"/>
                  </a:lnTo>
                  <a:lnTo>
                    <a:pt x="12899" y="4079"/>
                  </a:lnTo>
                  <a:lnTo>
                    <a:pt x="12892" y="4108"/>
                  </a:lnTo>
                  <a:lnTo>
                    <a:pt x="12885" y="4139"/>
                  </a:lnTo>
                  <a:lnTo>
                    <a:pt x="12870" y="4203"/>
                  </a:lnTo>
                  <a:lnTo>
                    <a:pt x="12853" y="4269"/>
                  </a:lnTo>
                  <a:lnTo>
                    <a:pt x="12835" y="4337"/>
                  </a:lnTo>
                  <a:lnTo>
                    <a:pt x="12815" y="4405"/>
                  </a:lnTo>
                  <a:lnTo>
                    <a:pt x="12795" y="4473"/>
                  </a:lnTo>
                  <a:lnTo>
                    <a:pt x="12775" y="4539"/>
                  </a:lnTo>
                  <a:lnTo>
                    <a:pt x="12755" y="4602"/>
                  </a:lnTo>
                  <a:lnTo>
                    <a:pt x="12746" y="4633"/>
                  </a:lnTo>
                  <a:lnTo>
                    <a:pt x="12736" y="4662"/>
                  </a:lnTo>
                  <a:lnTo>
                    <a:pt x="12727" y="4690"/>
                  </a:lnTo>
                  <a:lnTo>
                    <a:pt x="12719" y="4717"/>
                  </a:lnTo>
                  <a:lnTo>
                    <a:pt x="12710" y="4742"/>
                  </a:lnTo>
                  <a:lnTo>
                    <a:pt x="12702" y="4766"/>
                  </a:lnTo>
                  <a:lnTo>
                    <a:pt x="12695" y="4788"/>
                  </a:lnTo>
                  <a:lnTo>
                    <a:pt x="12688" y="4809"/>
                  </a:lnTo>
                  <a:lnTo>
                    <a:pt x="12682" y="4827"/>
                  </a:lnTo>
                  <a:lnTo>
                    <a:pt x="12676" y="4844"/>
                  </a:lnTo>
                  <a:lnTo>
                    <a:pt x="12671" y="4858"/>
                  </a:lnTo>
                  <a:lnTo>
                    <a:pt x="12667" y="4870"/>
                  </a:lnTo>
                  <a:lnTo>
                    <a:pt x="12664" y="4879"/>
                  </a:lnTo>
                  <a:lnTo>
                    <a:pt x="12661" y="4886"/>
                  </a:lnTo>
                  <a:lnTo>
                    <a:pt x="12660" y="4890"/>
                  </a:lnTo>
                  <a:lnTo>
                    <a:pt x="12659" y="4892"/>
                  </a:lnTo>
                  <a:lnTo>
                    <a:pt x="12661" y="4890"/>
                  </a:lnTo>
                  <a:lnTo>
                    <a:pt x="12664" y="4886"/>
                  </a:lnTo>
                  <a:lnTo>
                    <a:pt x="12670" y="4878"/>
                  </a:lnTo>
                  <a:lnTo>
                    <a:pt x="12679" y="4867"/>
                  </a:lnTo>
                  <a:lnTo>
                    <a:pt x="12689" y="4852"/>
                  </a:lnTo>
                  <a:lnTo>
                    <a:pt x="12701" y="4836"/>
                  </a:lnTo>
                  <a:lnTo>
                    <a:pt x="12716" y="4815"/>
                  </a:lnTo>
                  <a:lnTo>
                    <a:pt x="12731" y="4791"/>
                  </a:lnTo>
                  <a:lnTo>
                    <a:pt x="12749" y="4765"/>
                  </a:lnTo>
                  <a:lnTo>
                    <a:pt x="12767" y="4735"/>
                  </a:lnTo>
                  <a:lnTo>
                    <a:pt x="12786" y="4702"/>
                  </a:lnTo>
                  <a:lnTo>
                    <a:pt x="12807" y="4666"/>
                  </a:lnTo>
                  <a:lnTo>
                    <a:pt x="12828" y="4627"/>
                  </a:lnTo>
                  <a:lnTo>
                    <a:pt x="12850" y="4584"/>
                  </a:lnTo>
                  <a:lnTo>
                    <a:pt x="12873" y="4538"/>
                  </a:lnTo>
                  <a:lnTo>
                    <a:pt x="12895" y="4490"/>
                  </a:lnTo>
                  <a:lnTo>
                    <a:pt x="12918" y="4438"/>
                  </a:lnTo>
                  <a:lnTo>
                    <a:pt x="12941" y="4384"/>
                  </a:lnTo>
                  <a:lnTo>
                    <a:pt x="12964" y="4326"/>
                  </a:lnTo>
                  <a:lnTo>
                    <a:pt x="12986" y="4264"/>
                  </a:lnTo>
                  <a:lnTo>
                    <a:pt x="13008" y="4200"/>
                  </a:lnTo>
                  <a:lnTo>
                    <a:pt x="13030" y="4133"/>
                  </a:lnTo>
                  <a:lnTo>
                    <a:pt x="13050" y="4063"/>
                  </a:lnTo>
                  <a:lnTo>
                    <a:pt x="13070" y="3990"/>
                  </a:lnTo>
                  <a:lnTo>
                    <a:pt x="13088" y="3914"/>
                  </a:lnTo>
                  <a:lnTo>
                    <a:pt x="13106" y="3833"/>
                  </a:lnTo>
                  <a:lnTo>
                    <a:pt x="13123" y="3751"/>
                  </a:lnTo>
                  <a:lnTo>
                    <a:pt x="13137" y="3666"/>
                  </a:lnTo>
                  <a:lnTo>
                    <a:pt x="13150" y="3577"/>
                  </a:lnTo>
                  <a:lnTo>
                    <a:pt x="13161" y="3485"/>
                  </a:lnTo>
                  <a:lnTo>
                    <a:pt x="13170" y="3391"/>
                  </a:lnTo>
                  <a:lnTo>
                    <a:pt x="13177" y="3293"/>
                  </a:lnTo>
                  <a:lnTo>
                    <a:pt x="13179" y="3239"/>
                  </a:lnTo>
                  <a:lnTo>
                    <a:pt x="13181" y="3188"/>
                  </a:lnTo>
                  <a:lnTo>
                    <a:pt x="13183" y="3136"/>
                  </a:lnTo>
                  <a:lnTo>
                    <a:pt x="13184" y="3087"/>
                  </a:lnTo>
                  <a:lnTo>
                    <a:pt x="13186" y="3037"/>
                  </a:lnTo>
                  <a:lnTo>
                    <a:pt x="13186" y="2990"/>
                  </a:lnTo>
                  <a:lnTo>
                    <a:pt x="13186" y="2944"/>
                  </a:lnTo>
                  <a:lnTo>
                    <a:pt x="13186" y="2898"/>
                  </a:lnTo>
                  <a:lnTo>
                    <a:pt x="13184" y="2854"/>
                  </a:lnTo>
                  <a:lnTo>
                    <a:pt x="13182" y="2811"/>
                  </a:lnTo>
                  <a:lnTo>
                    <a:pt x="13181" y="2768"/>
                  </a:lnTo>
                  <a:lnTo>
                    <a:pt x="13179" y="2727"/>
                  </a:lnTo>
                  <a:lnTo>
                    <a:pt x="13177" y="2687"/>
                  </a:lnTo>
                  <a:lnTo>
                    <a:pt x="13174" y="2648"/>
                  </a:lnTo>
                  <a:lnTo>
                    <a:pt x="13169" y="2573"/>
                  </a:lnTo>
                  <a:lnTo>
                    <a:pt x="13162" y="2502"/>
                  </a:lnTo>
                  <a:lnTo>
                    <a:pt x="13155" y="2435"/>
                  </a:lnTo>
                  <a:lnTo>
                    <a:pt x="13147" y="2371"/>
                  </a:lnTo>
                  <a:lnTo>
                    <a:pt x="13139" y="2310"/>
                  </a:lnTo>
                  <a:lnTo>
                    <a:pt x="13130" y="2253"/>
                  </a:lnTo>
                  <a:lnTo>
                    <a:pt x="13121" y="2200"/>
                  </a:lnTo>
                  <a:lnTo>
                    <a:pt x="13112" y="2149"/>
                  </a:lnTo>
                  <a:lnTo>
                    <a:pt x="13104" y="2102"/>
                  </a:lnTo>
                  <a:lnTo>
                    <a:pt x="13096" y="2058"/>
                  </a:lnTo>
                  <a:lnTo>
                    <a:pt x="13088" y="2015"/>
                  </a:lnTo>
                  <a:lnTo>
                    <a:pt x="13081" y="1977"/>
                  </a:lnTo>
                  <a:lnTo>
                    <a:pt x="13075" y="1940"/>
                  </a:lnTo>
                  <a:lnTo>
                    <a:pt x="13070" y="1906"/>
                  </a:lnTo>
                  <a:lnTo>
                    <a:pt x="13067" y="1875"/>
                  </a:lnTo>
                  <a:lnTo>
                    <a:pt x="13064" y="1845"/>
                  </a:lnTo>
                  <a:lnTo>
                    <a:pt x="13063" y="1818"/>
                  </a:lnTo>
                  <a:lnTo>
                    <a:pt x="13063" y="1793"/>
                  </a:lnTo>
                  <a:lnTo>
                    <a:pt x="13065" y="1769"/>
                  </a:lnTo>
                  <a:lnTo>
                    <a:pt x="13069" y="1748"/>
                  </a:lnTo>
                  <a:lnTo>
                    <a:pt x="13075" y="1727"/>
                  </a:lnTo>
                  <a:lnTo>
                    <a:pt x="13084" y="1708"/>
                  </a:lnTo>
                  <a:lnTo>
                    <a:pt x="13095" y="1691"/>
                  </a:lnTo>
                  <a:lnTo>
                    <a:pt x="13108" y="1674"/>
                  </a:lnTo>
                  <a:lnTo>
                    <a:pt x="13125" y="1659"/>
                  </a:lnTo>
                  <a:lnTo>
                    <a:pt x="13140" y="1643"/>
                  </a:lnTo>
                  <a:lnTo>
                    <a:pt x="13157" y="1627"/>
                  </a:lnTo>
                  <a:lnTo>
                    <a:pt x="13174" y="1613"/>
                  </a:lnTo>
                  <a:lnTo>
                    <a:pt x="13193" y="1599"/>
                  </a:lnTo>
                  <a:lnTo>
                    <a:pt x="13212" y="1587"/>
                  </a:lnTo>
                  <a:lnTo>
                    <a:pt x="13233" y="1576"/>
                  </a:lnTo>
                  <a:lnTo>
                    <a:pt x="13277" y="1556"/>
                  </a:lnTo>
                  <a:lnTo>
                    <a:pt x="13326" y="1539"/>
                  </a:lnTo>
                  <a:lnTo>
                    <a:pt x="13376" y="1522"/>
                  </a:lnTo>
                  <a:lnTo>
                    <a:pt x="13429" y="1507"/>
                  </a:lnTo>
                  <a:lnTo>
                    <a:pt x="13484" y="1491"/>
                  </a:lnTo>
                  <a:lnTo>
                    <a:pt x="13541" y="1476"/>
                  </a:lnTo>
                  <a:lnTo>
                    <a:pt x="13597" y="1458"/>
                  </a:lnTo>
                  <a:lnTo>
                    <a:pt x="13655" y="1439"/>
                  </a:lnTo>
                  <a:lnTo>
                    <a:pt x="13714" y="1416"/>
                  </a:lnTo>
                  <a:lnTo>
                    <a:pt x="13742" y="1403"/>
                  </a:lnTo>
                  <a:lnTo>
                    <a:pt x="13771" y="1389"/>
                  </a:lnTo>
                  <a:lnTo>
                    <a:pt x="13800" y="1374"/>
                  </a:lnTo>
                  <a:lnTo>
                    <a:pt x="13828" y="1357"/>
                  </a:lnTo>
                  <a:lnTo>
                    <a:pt x="13855" y="1340"/>
                  </a:lnTo>
                  <a:lnTo>
                    <a:pt x="13883" y="1320"/>
                  </a:lnTo>
                  <a:lnTo>
                    <a:pt x="13910" y="1300"/>
                  </a:lnTo>
                  <a:lnTo>
                    <a:pt x="13937" y="1277"/>
                  </a:lnTo>
                  <a:lnTo>
                    <a:pt x="13957" y="1262"/>
                  </a:lnTo>
                  <a:lnTo>
                    <a:pt x="13976" y="1246"/>
                  </a:lnTo>
                  <a:lnTo>
                    <a:pt x="14012" y="1211"/>
                  </a:lnTo>
                  <a:lnTo>
                    <a:pt x="14045" y="1173"/>
                  </a:lnTo>
                  <a:lnTo>
                    <a:pt x="14076" y="1134"/>
                  </a:lnTo>
                  <a:lnTo>
                    <a:pt x="14105" y="1093"/>
                  </a:lnTo>
                  <a:lnTo>
                    <a:pt x="14133" y="1050"/>
                  </a:lnTo>
                  <a:lnTo>
                    <a:pt x="14160" y="1009"/>
                  </a:lnTo>
                  <a:lnTo>
                    <a:pt x="14187" y="969"/>
                  </a:lnTo>
                  <a:lnTo>
                    <a:pt x="14213" y="931"/>
                  </a:lnTo>
                  <a:lnTo>
                    <a:pt x="14240" y="895"/>
                  </a:lnTo>
                  <a:lnTo>
                    <a:pt x="14253" y="878"/>
                  </a:lnTo>
                  <a:lnTo>
                    <a:pt x="14267" y="863"/>
                  </a:lnTo>
                  <a:lnTo>
                    <a:pt x="14282" y="847"/>
                  </a:lnTo>
                  <a:lnTo>
                    <a:pt x="14296" y="834"/>
                  </a:lnTo>
                  <a:lnTo>
                    <a:pt x="14312" y="822"/>
                  </a:lnTo>
                  <a:lnTo>
                    <a:pt x="14327" y="811"/>
                  </a:lnTo>
                  <a:lnTo>
                    <a:pt x="14344" y="801"/>
                  </a:lnTo>
                  <a:lnTo>
                    <a:pt x="14360" y="793"/>
                  </a:lnTo>
                  <a:lnTo>
                    <a:pt x="14379" y="787"/>
                  </a:lnTo>
                  <a:lnTo>
                    <a:pt x="14396" y="782"/>
                  </a:lnTo>
                  <a:lnTo>
                    <a:pt x="14416" y="779"/>
                  </a:lnTo>
                  <a:lnTo>
                    <a:pt x="14436" y="778"/>
                  </a:lnTo>
                  <a:lnTo>
                    <a:pt x="14451" y="779"/>
                  </a:lnTo>
                  <a:lnTo>
                    <a:pt x="14470" y="785"/>
                  </a:lnTo>
                  <a:lnTo>
                    <a:pt x="14489" y="793"/>
                  </a:lnTo>
                  <a:lnTo>
                    <a:pt x="14510" y="805"/>
                  </a:lnTo>
                  <a:lnTo>
                    <a:pt x="14534" y="821"/>
                  </a:lnTo>
                  <a:lnTo>
                    <a:pt x="14557" y="840"/>
                  </a:lnTo>
                  <a:lnTo>
                    <a:pt x="14571" y="851"/>
                  </a:lnTo>
                  <a:lnTo>
                    <a:pt x="14583" y="864"/>
                  </a:lnTo>
                  <a:lnTo>
                    <a:pt x="14597" y="877"/>
                  </a:lnTo>
                  <a:lnTo>
                    <a:pt x="14610" y="892"/>
                  </a:lnTo>
                  <a:lnTo>
                    <a:pt x="14625" y="907"/>
                  </a:lnTo>
                  <a:lnTo>
                    <a:pt x="14638" y="924"/>
                  </a:lnTo>
                  <a:lnTo>
                    <a:pt x="14652" y="942"/>
                  </a:lnTo>
                  <a:lnTo>
                    <a:pt x="14667" y="961"/>
                  </a:lnTo>
                  <a:lnTo>
                    <a:pt x="14681" y="981"/>
                  </a:lnTo>
                  <a:lnTo>
                    <a:pt x="14696" y="1003"/>
                  </a:lnTo>
                  <a:lnTo>
                    <a:pt x="14711" y="1026"/>
                  </a:lnTo>
                  <a:lnTo>
                    <a:pt x="14727" y="1049"/>
                  </a:lnTo>
                  <a:lnTo>
                    <a:pt x="14741" y="1075"/>
                  </a:lnTo>
                  <a:lnTo>
                    <a:pt x="14757" y="1101"/>
                  </a:lnTo>
                  <a:lnTo>
                    <a:pt x="14772" y="1129"/>
                  </a:lnTo>
                  <a:lnTo>
                    <a:pt x="14788" y="1158"/>
                  </a:lnTo>
                  <a:lnTo>
                    <a:pt x="14803" y="1188"/>
                  </a:lnTo>
                  <a:lnTo>
                    <a:pt x="14818" y="1220"/>
                  </a:lnTo>
                  <a:lnTo>
                    <a:pt x="14833" y="1254"/>
                  </a:lnTo>
                  <a:lnTo>
                    <a:pt x="14849" y="1288"/>
                  </a:lnTo>
                  <a:lnTo>
                    <a:pt x="14864" y="1324"/>
                  </a:lnTo>
                  <a:lnTo>
                    <a:pt x="14880" y="1362"/>
                  </a:lnTo>
                  <a:lnTo>
                    <a:pt x="14894" y="1402"/>
                  </a:lnTo>
                  <a:lnTo>
                    <a:pt x="14909" y="1442"/>
                  </a:lnTo>
                  <a:lnTo>
                    <a:pt x="14925" y="1484"/>
                  </a:lnTo>
                  <a:lnTo>
                    <a:pt x="14939" y="1527"/>
                  </a:lnTo>
                  <a:lnTo>
                    <a:pt x="14954" y="1573"/>
                  </a:lnTo>
                  <a:lnTo>
                    <a:pt x="14968" y="1620"/>
                  </a:lnTo>
                  <a:lnTo>
                    <a:pt x="14983" y="1668"/>
                  </a:lnTo>
                  <a:lnTo>
                    <a:pt x="14997" y="1718"/>
                  </a:lnTo>
                  <a:lnTo>
                    <a:pt x="15011" y="1770"/>
                  </a:lnTo>
                  <a:lnTo>
                    <a:pt x="15024" y="1823"/>
                  </a:lnTo>
                  <a:lnTo>
                    <a:pt x="15037" y="1878"/>
                  </a:lnTo>
                  <a:lnTo>
                    <a:pt x="15051" y="1935"/>
                  </a:lnTo>
                  <a:lnTo>
                    <a:pt x="15063" y="1994"/>
                  </a:lnTo>
                  <a:lnTo>
                    <a:pt x="15076" y="2054"/>
                  </a:lnTo>
                  <a:lnTo>
                    <a:pt x="15088" y="2115"/>
                  </a:lnTo>
                  <a:lnTo>
                    <a:pt x="15099" y="2179"/>
                  </a:lnTo>
                  <a:lnTo>
                    <a:pt x="15111" y="2245"/>
                  </a:lnTo>
                  <a:lnTo>
                    <a:pt x="15121" y="2312"/>
                  </a:lnTo>
                  <a:lnTo>
                    <a:pt x="15132" y="2381"/>
                  </a:lnTo>
                  <a:lnTo>
                    <a:pt x="15142" y="2452"/>
                  </a:lnTo>
                  <a:lnTo>
                    <a:pt x="15152" y="2525"/>
                  </a:lnTo>
                  <a:lnTo>
                    <a:pt x="15161" y="2600"/>
                  </a:lnTo>
                  <a:lnTo>
                    <a:pt x="15170" y="2678"/>
                  </a:lnTo>
                  <a:lnTo>
                    <a:pt x="15178" y="2756"/>
                  </a:lnTo>
                  <a:lnTo>
                    <a:pt x="15185" y="2837"/>
                  </a:lnTo>
                  <a:lnTo>
                    <a:pt x="15192" y="2920"/>
                  </a:lnTo>
                  <a:lnTo>
                    <a:pt x="15199" y="3004"/>
                  </a:lnTo>
                  <a:lnTo>
                    <a:pt x="15205" y="3092"/>
                  </a:lnTo>
                  <a:lnTo>
                    <a:pt x="15210" y="3180"/>
                  </a:lnTo>
                  <a:lnTo>
                    <a:pt x="15215" y="3271"/>
                  </a:lnTo>
                  <a:lnTo>
                    <a:pt x="15218" y="3383"/>
                  </a:lnTo>
                  <a:lnTo>
                    <a:pt x="15219" y="3494"/>
                  </a:lnTo>
                  <a:lnTo>
                    <a:pt x="15219" y="3602"/>
                  </a:lnTo>
                  <a:lnTo>
                    <a:pt x="15217" y="3709"/>
                  </a:lnTo>
                  <a:lnTo>
                    <a:pt x="15212" y="3814"/>
                  </a:lnTo>
                  <a:lnTo>
                    <a:pt x="15206" y="3917"/>
                  </a:lnTo>
                  <a:lnTo>
                    <a:pt x="15199" y="4019"/>
                  </a:lnTo>
                  <a:lnTo>
                    <a:pt x="15188" y="4120"/>
                  </a:lnTo>
                  <a:lnTo>
                    <a:pt x="15177" y="4219"/>
                  </a:lnTo>
                  <a:lnTo>
                    <a:pt x="15164" y="4316"/>
                  </a:lnTo>
                  <a:lnTo>
                    <a:pt x="15149" y="4411"/>
                  </a:lnTo>
                  <a:lnTo>
                    <a:pt x="15133" y="4505"/>
                  </a:lnTo>
                  <a:lnTo>
                    <a:pt x="15115" y="4597"/>
                  </a:lnTo>
                  <a:lnTo>
                    <a:pt x="15095" y="4687"/>
                  </a:lnTo>
                  <a:lnTo>
                    <a:pt x="15075" y="4776"/>
                  </a:lnTo>
                  <a:lnTo>
                    <a:pt x="15052" y="4864"/>
                  </a:lnTo>
                  <a:lnTo>
                    <a:pt x="15028" y="4949"/>
                  </a:lnTo>
                  <a:lnTo>
                    <a:pt x="15003" y="5033"/>
                  </a:lnTo>
                  <a:lnTo>
                    <a:pt x="14977" y="5115"/>
                  </a:lnTo>
                  <a:lnTo>
                    <a:pt x="14949" y="5196"/>
                  </a:lnTo>
                  <a:lnTo>
                    <a:pt x="14919" y="5274"/>
                  </a:lnTo>
                  <a:lnTo>
                    <a:pt x="14889" y="5352"/>
                  </a:lnTo>
                  <a:lnTo>
                    <a:pt x="14857" y="5427"/>
                  </a:lnTo>
                  <a:lnTo>
                    <a:pt x="14824" y="5501"/>
                  </a:lnTo>
                  <a:lnTo>
                    <a:pt x="14790" y="5573"/>
                  </a:lnTo>
                  <a:lnTo>
                    <a:pt x="14755" y="5643"/>
                  </a:lnTo>
                  <a:lnTo>
                    <a:pt x="14718" y="5712"/>
                  </a:lnTo>
                  <a:lnTo>
                    <a:pt x="14680" y="5779"/>
                  </a:lnTo>
                  <a:lnTo>
                    <a:pt x="14642" y="5844"/>
                  </a:lnTo>
                  <a:lnTo>
                    <a:pt x="14603" y="5908"/>
                  </a:lnTo>
                  <a:lnTo>
                    <a:pt x="14563" y="5970"/>
                  </a:lnTo>
                  <a:lnTo>
                    <a:pt x="14521" y="6030"/>
                  </a:lnTo>
                  <a:lnTo>
                    <a:pt x="14479" y="6087"/>
                  </a:lnTo>
                  <a:lnTo>
                    <a:pt x="14437" y="6144"/>
                  </a:lnTo>
                  <a:lnTo>
                    <a:pt x="14393" y="6199"/>
                  </a:lnTo>
                  <a:lnTo>
                    <a:pt x="14349" y="6252"/>
                  </a:lnTo>
                  <a:lnTo>
                    <a:pt x="14304" y="6304"/>
                  </a:lnTo>
                  <a:lnTo>
                    <a:pt x="14257" y="6353"/>
                  </a:lnTo>
                  <a:lnTo>
                    <a:pt x="14211" y="6400"/>
                  </a:lnTo>
                  <a:lnTo>
                    <a:pt x="14164" y="6447"/>
                  </a:lnTo>
                  <a:lnTo>
                    <a:pt x="14116" y="6491"/>
                  </a:lnTo>
                  <a:lnTo>
                    <a:pt x="14068" y="6533"/>
                  </a:lnTo>
                  <a:lnTo>
                    <a:pt x="14019" y="6574"/>
                  </a:lnTo>
                  <a:lnTo>
                    <a:pt x="13970" y="6614"/>
                  </a:lnTo>
                  <a:lnTo>
                    <a:pt x="13921" y="6651"/>
                  </a:lnTo>
                  <a:lnTo>
                    <a:pt x="13870" y="6686"/>
                  </a:lnTo>
                  <a:lnTo>
                    <a:pt x="13819" y="6720"/>
                  </a:lnTo>
                  <a:lnTo>
                    <a:pt x="13769" y="6751"/>
                  </a:lnTo>
                  <a:lnTo>
                    <a:pt x="13718" y="6781"/>
                  </a:lnTo>
                  <a:lnTo>
                    <a:pt x="13667" y="6809"/>
                  </a:lnTo>
                  <a:lnTo>
                    <a:pt x="13615" y="6835"/>
                  </a:lnTo>
                  <a:lnTo>
                    <a:pt x="13563" y="6860"/>
                  </a:lnTo>
                  <a:lnTo>
                    <a:pt x="13511" y="6882"/>
                  </a:lnTo>
                  <a:lnTo>
                    <a:pt x="13459" y="6904"/>
                  </a:lnTo>
                  <a:lnTo>
                    <a:pt x="13407" y="6923"/>
                  </a:lnTo>
                  <a:lnTo>
                    <a:pt x="13355" y="6940"/>
                  </a:lnTo>
                  <a:lnTo>
                    <a:pt x="13302" y="6956"/>
                  </a:lnTo>
                  <a:lnTo>
                    <a:pt x="13251" y="6969"/>
                  </a:lnTo>
                  <a:lnTo>
                    <a:pt x="13198" y="6980"/>
                  </a:lnTo>
                  <a:lnTo>
                    <a:pt x="13146" y="6991"/>
                  </a:lnTo>
                  <a:lnTo>
                    <a:pt x="13095" y="6998"/>
                  </a:lnTo>
                  <a:lnTo>
                    <a:pt x="13043" y="7004"/>
                  </a:lnTo>
                  <a:lnTo>
                    <a:pt x="12991" y="7008"/>
                  </a:lnTo>
                  <a:lnTo>
                    <a:pt x="12940" y="7011"/>
                  </a:lnTo>
                  <a:lnTo>
                    <a:pt x="12846" y="7011"/>
                  </a:lnTo>
                  <a:lnTo>
                    <a:pt x="12763" y="7010"/>
                  </a:lnTo>
                  <a:lnTo>
                    <a:pt x="12683" y="7007"/>
                  </a:lnTo>
                  <a:lnTo>
                    <a:pt x="12602" y="7003"/>
                  </a:lnTo>
                  <a:lnTo>
                    <a:pt x="12524" y="6997"/>
                  </a:lnTo>
                  <a:lnTo>
                    <a:pt x="12446" y="6990"/>
                  </a:lnTo>
                  <a:lnTo>
                    <a:pt x="12370" y="6980"/>
                  </a:lnTo>
                  <a:lnTo>
                    <a:pt x="12296" y="6970"/>
                  </a:lnTo>
                  <a:lnTo>
                    <a:pt x="12222" y="6958"/>
                  </a:lnTo>
                  <a:lnTo>
                    <a:pt x="12150" y="6944"/>
                  </a:lnTo>
                  <a:lnTo>
                    <a:pt x="12080" y="6929"/>
                  </a:lnTo>
                  <a:lnTo>
                    <a:pt x="12011" y="6913"/>
                  </a:lnTo>
                  <a:lnTo>
                    <a:pt x="11943" y="6896"/>
                  </a:lnTo>
                  <a:lnTo>
                    <a:pt x="11875" y="6877"/>
                  </a:lnTo>
                  <a:lnTo>
                    <a:pt x="11810" y="6858"/>
                  </a:lnTo>
                  <a:lnTo>
                    <a:pt x="11745" y="6838"/>
                  </a:lnTo>
                  <a:lnTo>
                    <a:pt x="11683" y="6816"/>
                  </a:lnTo>
                  <a:lnTo>
                    <a:pt x="11622" y="6794"/>
                  </a:lnTo>
                  <a:lnTo>
                    <a:pt x="11562" y="6770"/>
                  </a:lnTo>
                  <a:lnTo>
                    <a:pt x="11503" y="6746"/>
                  </a:lnTo>
                  <a:lnTo>
                    <a:pt x="11445" y="6722"/>
                  </a:lnTo>
                  <a:lnTo>
                    <a:pt x="11388" y="6696"/>
                  </a:lnTo>
                  <a:lnTo>
                    <a:pt x="11334" y="6670"/>
                  </a:lnTo>
                  <a:lnTo>
                    <a:pt x="11280" y="6643"/>
                  </a:lnTo>
                  <a:lnTo>
                    <a:pt x="11227" y="6617"/>
                  </a:lnTo>
                  <a:lnTo>
                    <a:pt x="11177" y="6589"/>
                  </a:lnTo>
                  <a:lnTo>
                    <a:pt x="11127" y="6561"/>
                  </a:lnTo>
                  <a:lnTo>
                    <a:pt x="11079" y="6532"/>
                  </a:lnTo>
                  <a:lnTo>
                    <a:pt x="11031" y="6504"/>
                  </a:lnTo>
                  <a:lnTo>
                    <a:pt x="10986" y="6476"/>
                  </a:lnTo>
                  <a:lnTo>
                    <a:pt x="10941" y="6446"/>
                  </a:lnTo>
                  <a:lnTo>
                    <a:pt x="10898" y="6417"/>
                  </a:lnTo>
                  <a:lnTo>
                    <a:pt x="10856" y="6388"/>
                  </a:lnTo>
                  <a:lnTo>
                    <a:pt x="10815" y="6358"/>
                  </a:lnTo>
                  <a:lnTo>
                    <a:pt x="10776" y="6329"/>
                  </a:lnTo>
                  <a:lnTo>
                    <a:pt x="10738" y="6300"/>
                  </a:lnTo>
                  <a:lnTo>
                    <a:pt x="10701" y="6272"/>
                  </a:lnTo>
                  <a:lnTo>
                    <a:pt x="10666" y="6243"/>
                  </a:lnTo>
                  <a:lnTo>
                    <a:pt x="10632" y="6215"/>
                  </a:lnTo>
                  <a:lnTo>
                    <a:pt x="10599" y="6186"/>
                  </a:lnTo>
                  <a:lnTo>
                    <a:pt x="10568" y="6159"/>
                  </a:lnTo>
                  <a:lnTo>
                    <a:pt x="10537" y="6131"/>
                  </a:lnTo>
                  <a:lnTo>
                    <a:pt x="10508" y="6105"/>
                  </a:lnTo>
                  <a:lnTo>
                    <a:pt x="10480" y="6079"/>
                  </a:lnTo>
                  <a:lnTo>
                    <a:pt x="10454" y="6053"/>
                  </a:lnTo>
                  <a:lnTo>
                    <a:pt x="10429" y="6028"/>
                  </a:lnTo>
                  <a:lnTo>
                    <a:pt x="10405" y="6005"/>
                  </a:lnTo>
                  <a:lnTo>
                    <a:pt x="10383" y="5982"/>
                  </a:lnTo>
                  <a:lnTo>
                    <a:pt x="10361" y="5959"/>
                  </a:lnTo>
                  <a:lnTo>
                    <a:pt x="10341" y="5938"/>
                  </a:lnTo>
                  <a:lnTo>
                    <a:pt x="10323" y="5917"/>
                  </a:lnTo>
                  <a:lnTo>
                    <a:pt x="10305" y="5898"/>
                  </a:lnTo>
                  <a:lnTo>
                    <a:pt x="10290" y="5879"/>
                  </a:lnTo>
                  <a:lnTo>
                    <a:pt x="10274" y="5863"/>
                  </a:lnTo>
                  <a:lnTo>
                    <a:pt x="10261" y="5846"/>
                  </a:lnTo>
                  <a:lnTo>
                    <a:pt x="10250" y="5832"/>
                  </a:lnTo>
                  <a:lnTo>
                    <a:pt x="10238" y="5818"/>
                  </a:lnTo>
                  <a:lnTo>
                    <a:pt x="10229" y="5806"/>
                  </a:lnTo>
                  <a:lnTo>
                    <a:pt x="10221" y="5796"/>
                  </a:lnTo>
                  <a:lnTo>
                    <a:pt x="10213" y="5786"/>
                  </a:lnTo>
                  <a:lnTo>
                    <a:pt x="10207" y="5778"/>
                  </a:lnTo>
                  <a:lnTo>
                    <a:pt x="10203" y="5773"/>
                  </a:lnTo>
                  <a:lnTo>
                    <a:pt x="10200" y="5768"/>
                  </a:lnTo>
                  <a:lnTo>
                    <a:pt x="10198" y="5766"/>
                  </a:lnTo>
                  <a:lnTo>
                    <a:pt x="10197" y="5765"/>
                  </a:lnTo>
                  <a:lnTo>
                    <a:pt x="10197" y="5766"/>
                  </a:lnTo>
                  <a:lnTo>
                    <a:pt x="10197" y="5770"/>
                  </a:lnTo>
                  <a:lnTo>
                    <a:pt x="10196" y="5776"/>
                  </a:lnTo>
                  <a:lnTo>
                    <a:pt x="10194" y="5785"/>
                  </a:lnTo>
                  <a:lnTo>
                    <a:pt x="10193" y="5797"/>
                  </a:lnTo>
                  <a:lnTo>
                    <a:pt x="10191" y="5810"/>
                  </a:lnTo>
                  <a:lnTo>
                    <a:pt x="10189" y="5826"/>
                  </a:lnTo>
                  <a:lnTo>
                    <a:pt x="10187" y="5844"/>
                  </a:lnTo>
                  <a:lnTo>
                    <a:pt x="10185" y="5864"/>
                  </a:lnTo>
                  <a:lnTo>
                    <a:pt x="10182" y="5885"/>
                  </a:lnTo>
                  <a:lnTo>
                    <a:pt x="10179" y="5909"/>
                  </a:lnTo>
                  <a:lnTo>
                    <a:pt x="10177" y="5935"/>
                  </a:lnTo>
                  <a:lnTo>
                    <a:pt x="10175" y="5963"/>
                  </a:lnTo>
                  <a:lnTo>
                    <a:pt x="10172" y="5991"/>
                  </a:lnTo>
                  <a:lnTo>
                    <a:pt x="10170" y="6021"/>
                  </a:lnTo>
                  <a:lnTo>
                    <a:pt x="10168" y="6053"/>
                  </a:lnTo>
                  <a:lnTo>
                    <a:pt x="10165" y="6086"/>
                  </a:lnTo>
                  <a:lnTo>
                    <a:pt x="10163" y="6121"/>
                  </a:lnTo>
                  <a:lnTo>
                    <a:pt x="10162" y="6157"/>
                  </a:lnTo>
                  <a:lnTo>
                    <a:pt x="10160" y="6194"/>
                  </a:lnTo>
                  <a:lnTo>
                    <a:pt x="10159" y="6231"/>
                  </a:lnTo>
                  <a:lnTo>
                    <a:pt x="10158" y="6271"/>
                  </a:lnTo>
                  <a:lnTo>
                    <a:pt x="10157" y="6351"/>
                  </a:lnTo>
                  <a:lnTo>
                    <a:pt x="10157" y="6434"/>
                  </a:lnTo>
                  <a:lnTo>
                    <a:pt x="10159" y="6520"/>
                  </a:lnTo>
                  <a:lnTo>
                    <a:pt x="10163" y="6607"/>
                  </a:lnTo>
                  <a:lnTo>
                    <a:pt x="10170" y="6696"/>
                  </a:lnTo>
                  <a:lnTo>
                    <a:pt x="10179" y="6784"/>
                  </a:lnTo>
                  <a:lnTo>
                    <a:pt x="10192" y="6872"/>
                  </a:lnTo>
                  <a:lnTo>
                    <a:pt x="10207" y="6959"/>
                  </a:lnTo>
                  <a:lnTo>
                    <a:pt x="10226" y="7044"/>
                  </a:lnTo>
                  <a:lnTo>
                    <a:pt x="10249" y="7128"/>
                  </a:lnTo>
                  <a:lnTo>
                    <a:pt x="10262" y="7168"/>
                  </a:lnTo>
                  <a:lnTo>
                    <a:pt x="10275" y="7207"/>
                  </a:lnTo>
                  <a:lnTo>
                    <a:pt x="10291" y="7246"/>
                  </a:lnTo>
                  <a:lnTo>
                    <a:pt x="10306" y="7283"/>
                  </a:lnTo>
                  <a:lnTo>
                    <a:pt x="10324" y="7320"/>
                  </a:lnTo>
                  <a:lnTo>
                    <a:pt x="10342" y="7355"/>
                  </a:lnTo>
                  <a:lnTo>
                    <a:pt x="10361" y="7389"/>
                  </a:lnTo>
                  <a:lnTo>
                    <a:pt x="10383" y="7422"/>
                  </a:lnTo>
                  <a:lnTo>
                    <a:pt x="10404" y="7454"/>
                  </a:lnTo>
                  <a:lnTo>
                    <a:pt x="10427" y="7484"/>
                  </a:lnTo>
                  <a:lnTo>
                    <a:pt x="10452" y="7512"/>
                  </a:lnTo>
                  <a:lnTo>
                    <a:pt x="10478" y="7539"/>
                  </a:lnTo>
                  <a:lnTo>
                    <a:pt x="10506" y="7564"/>
                  </a:lnTo>
                  <a:lnTo>
                    <a:pt x="10535" y="7587"/>
                  </a:lnTo>
                  <a:lnTo>
                    <a:pt x="10564" y="7609"/>
                  </a:lnTo>
                  <a:lnTo>
                    <a:pt x="10596" y="7627"/>
                  </a:lnTo>
                  <a:lnTo>
                    <a:pt x="10629" y="7645"/>
                  </a:lnTo>
                  <a:lnTo>
                    <a:pt x="10665" y="7660"/>
                  </a:lnTo>
                  <a:lnTo>
                    <a:pt x="10702" y="7672"/>
                  </a:lnTo>
                  <a:lnTo>
                    <a:pt x="10740" y="7683"/>
                  </a:lnTo>
                  <a:lnTo>
                    <a:pt x="10779" y="7691"/>
                  </a:lnTo>
                  <a:lnTo>
                    <a:pt x="10820" y="7697"/>
                  </a:lnTo>
                  <a:lnTo>
                    <a:pt x="10882" y="7697"/>
                  </a:lnTo>
                  <a:lnTo>
                    <a:pt x="10923" y="7695"/>
                  </a:lnTo>
                  <a:lnTo>
                    <a:pt x="10962" y="7690"/>
                  </a:lnTo>
                  <a:lnTo>
                    <a:pt x="11000" y="7683"/>
                  </a:lnTo>
                  <a:lnTo>
                    <a:pt x="11037" y="7671"/>
                  </a:lnTo>
                  <a:lnTo>
                    <a:pt x="11073" y="7658"/>
                  </a:lnTo>
                  <a:lnTo>
                    <a:pt x="11108" y="7643"/>
                  </a:lnTo>
                  <a:lnTo>
                    <a:pt x="11142" y="7624"/>
                  </a:lnTo>
                  <a:lnTo>
                    <a:pt x="11175" y="7604"/>
                  </a:lnTo>
                  <a:lnTo>
                    <a:pt x="11206" y="7583"/>
                  </a:lnTo>
                  <a:lnTo>
                    <a:pt x="11235" y="7559"/>
                  </a:lnTo>
                  <a:lnTo>
                    <a:pt x="11264" y="7535"/>
                  </a:lnTo>
                  <a:lnTo>
                    <a:pt x="11291" y="7510"/>
                  </a:lnTo>
                  <a:lnTo>
                    <a:pt x="11318" y="7483"/>
                  </a:lnTo>
                  <a:lnTo>
                    <a:pt x="11343" y="7456"/>
                  </a:lnTo>
                  <a:lnTo>
                    <a:pt x="11367" y="7428"/>
                  </a:lnTo>
                  <a:lnTo>
                    <a:pt x="11389" y="7401"/>
                  </a:lnTo>
                  <a:lnTo>
                    <a:pt x="11411" y="7373"/>
                  </a:lnTo>
                  <a:lnTo>
                    <a:pt x="11431" y="7346"/>
                  </a:lnTo>
                  <a:lnTo>
                    <a:pt x="11449" y="7318"/>
                  </a:lnTo>
                  <a:lnTo>
                    <a:pt x="11467" y="7292"/>
                  </a:lnTo>
                  <a:lnTo>
                    <a:pt x="11483" y="7267"/>
                  </a:lnTo>
                  <a:lnTo>
                    <a:pt x="11498" y="7242"/>
                  </a:lnTo>
                  <a:lnTo>
                    <a:pt x="11511" y="7219"/>
                  </a:lnTo>
                  <a:lnTo>
                    <a:pt x="11522" y="7198"/>
                  </a:lnTo>
                  <a:lnTo>
                    <a:pt x="11534" y="7177"/>
                  </a:lnTo>
                  <a:lnTo>
                    <a:pt x="11543" y="7159"/>
                  </a:lnTo>
                  <a:lnTo>
                    <a:pt x="11550" y="7144"/>
                  </a:lnTo>
                  <a:lnTo>
                    <a:pt x="11558" y="7130"/>
                  </a:lnTo>
                  <a:lnTo>
                    <a:pt x="11562" y="7119"/>
                  </a:lnTo>
                  <a:lnTo>
                    <a:pt x="11566" y="7111"/>
                  </a:lnTo>
                  <a:lnTo>
                    <a:pt x="11568" y="7106"/>
                  </a:lnTo>
                  <a:lnTo>
                    <a:pt x="11569" y="7105"/>
                  </a:lnTo>
                  <a:lnTo>
                    <a:pt x="11724" y="7136"/>
                  </a:lnTo>
                  <a:lnTo>
                    <a:pt x="11724" y="7136"/>
                  </a:lnTo>
                  <a:lnTo>
                    <a:pt x="11724" y="7138"/>
                  </a:lnTo>
                  <a:lnTo>
                    <a:pt x="11723" y="7142"/>
                  </a:lnTo>
                  <a:lnTo>
                    <a:pt x="11721" y="7146"/>
                  </a:lnTo>
                  <a:lnTo>
                    <a:pt x="11720" y="7152"/>
                  </a:lnTo>
                  <a:lnTo>
                    <a:pt x="11718" y="7158"/>
                  </a:lnTo>
                  <a:lnTo>
                    <a:pt x="11714" y="7167"/>
                  </a:lnTo>
                  <a:lnTo>
                    <a:pt x="11712" y="7176"/>
                  </a:lnTo>
                  <a:lnTo>
                    <a:pt x="11705" y="7197"/>
                  </a:lnTo>
                  <a:lnTo>
                    <a:pt x="11696" y="7222"/>
                  </a:lnTo>
                  <a:lnTo>
                    <a:pt x="11686" y="7250"/>
                  </a:lnTo>
                  <a:lnTo>
                    <a:pt x="11674" y="7282"/>
                  </a:lnTo>
                  <a:lnTo>
                    <a:pt x="11660" y="7316"/>
                  </a:lnTo>
                  <a:lnTo>
                    <a:pt x="11644" y="7352"/>
                  </a:lnTo>
                  <a:lnTo>
                    <a:pt x="11627" y="7391"/>
                  </a:lnTo>
                  <a:lnTo>
                    <a:pt x="11607" y="7431"/>
                  </a:lnTo>
                  <a:lnTo>
                    <a:pt x="11586" y="7474"/>
                  </a:lnTo>
                  <a:lnTo>
                    <a:pt x="11563" y="7516"/>
                  </a:lnTo>
                  <a:lnTo>
                    <a:pt x="11538" y="7559"/>
                  </a:lnTo>
                  <a:lnTo>
                    <a:pt x="11510" y="7603"/>
                  </a:lnTo>
                  <a:lnTo>
                    <a:pt x="11480" y="7647"/>
                  </a:lnTo>
                  <a:lnTo>
                    <a:pt x="11449" y="7690"/>
                  </a:lnTo>
                  <a:lnTo>
                    <a:pt x="11415" y="7733"/>
                  </a:lnTo>
                  <a:lnTo>
                    <a:pt x="11379" y="7774"/>
                  </a:lnTo>
                  <a:lnTo>
                    <a:pt x="11341" y="7816"/>
                  </a:lnTo>
                  <a:lnTo>
                    <a:pt x="11299" y="7854"/>
                  </a:lnTo>
                  <a:lnTo>
                    <a:pt x="11257" y="7891"/>
                  </a:lnTo>
                  <a:lnTo>
                    <a:pt x="11212" y="7925"/>
                  </a:lnTo>
                  <a:lnTo>
                    <a:pt x="11164" y="7956"/>
                  </a:lnTo>
                  <a:lnTo>
                    <a:pt x="11114" y="7985"/>
                  </a:lnTo>
                  <a:lnTo>
                    <a:pt x="11061" y="8009"/>
                  </a:lnTo>
                  <a:lnTo>
                    <a:pt x="11005" y="8031"/>
                  </a:lnTo>
                  <a:lnTo>
                    <a:pt x="10977" y="8040"/>
                  </a:lnTo>
                  <a:lnTo>
                    <a:pt x="10947" y="8047"/>
                  </a:lnTo>
                  <a:lnTo>
                    <a:pt x="10917" y="8055"/>
                  </a:lnTo>
                  <a:lnTo>
                    <a:pt x="10888" y="8061"/>
                  </a:lnTo>
                  <a:lnTo>
                    <a:pt x="10856" y="8065"/>
                  </a:lnTo>
                  <a:lnTo>
                    <a:pt x="10824" y="8068"/>
                  </a:lnTo>
                  <a:lnTo>
                    <a:pt x="10792" y="8070"/>
                  </a:lnTo>
                  <a:lnTo>
                    <a:pt x="10759" y="8071"/>
                  </a:lnTo>
                  <a:lnTo>
                    <a:pt x="10711" y="8069"/>
                  </a:lnTo>
                  <a:lnTo>
                    <a:pt x="10665" y="8065"/>
                  </a:lnTo>
                  <a:lnTo>
                    <a:pt x="10618" y="8058"/>
                  </a:lnTo>
                  <a:lnTo>
                    <a:pt x="10572" y="8047"/>
                  </a:lnTo>
                  <a:lnTo>
                    <a:pt x="10524" y="8034"/>
                  </a:lnTo>
                  <a:lnTo>
                    <a:pt x="10478" y="8019"/>
                  </a:lnTo>
                  <a:lnTo>
                    <a:pt x="10431" y="7999"/>
                  </a:lnTo>
                  <a:lnTo>
                    <a:pt x="10384" y="7977"/>
                  </a:lnTo>
                  <a:lnTo>
                    <a:pt x="10331" y="7952"/>
                  </a:lnTo>
                  <a:lnTo>
                    <a:pt x="10276" y="7924"/>
                  </a:lnTo>
                  <a:lnTo>
                    <a:pt x="10222" y="7892"/>
                  </a:lnTo>
                  <a:lnTo>
                    <a:pt x="10166" y="7857"/>
                  </a:lnTo>
                  <a:lnTo>
                    <a:pt x="10109" y="7821"/>
                  </a:lnTo>
                  <a:lnTo>
                    <a:pt x="10053" y="7781"/>
                  </a:lnTo>
                  <a:lnTo>
                    <a:pt x="9999" y="7739"/>
                  </a:lnTo>
                  <a:lnTo>
                    <a:pt x="9944" y="7696"/>
                  </a:lnTo>
                  <a:lnTo>
                    <a:pt x="9890" y="7652"/>
                  </a:lnTo>
                  <a:lnTo>
                    <a:pt x="9839" y="7607"/>
                  </a:lnTo>
                  <a:lnTo>
                    <a:pt x="9788" y="7560"/>
                  </a:lnTo>
                  <a:lnTo>
                    <a:pt x="9740" y="7513"/>
                  </a:lnTo>
                  <a:lnTo>
                    <a:pt x="9694" y="7465"/>
                  </a:lnTo>
                  <a:lnTo>
                    <a:pt x="9651" y="7417"/>
                  </a:lnTo>
                  <a:lnTo>
                    <a:pt x="9611" y="7370"/>
                  </a:lnTo>
                  <a:lnTo>
                    <a:pt x="9573" y="7323"/>
                  </a:lnTo>
                  <a:lnTo>
                    <a:pt x="9524" y="7310"/>
                  </a:lnTo>
                  <a:lnTo>
                    <a:pt x="9475" y="7295"/>
                  </a:lnTo>
                  <a:lnTo>
                    <a:pt x="9426" y="7279"/>
                  </a:lnTo>
                  <a:lnTo>
                    <a:pt x="9377" y="7260"/>
                  </a:lnTo>
                  <a:lnTo>
                    <a:pt x="9330" y="7241"/>
                  </a:lnTo>
                  <a:lnTo>
                    <a:pt x="9282" y="7219"/>
                  </a:lnTo>
                  <a:lnTo>
                    <a:pt x="9236" y="7197"/>
                  </a:lnTo>
                  <a:lnTo>
                    <a:pt x="9189" y="7173"/>
                  </a:lnTo>
                  <a:lnTo>
                    <a:pt x="9145" y="7148"/>
                  </a:lnTo>
                  <a:lnTo>
                    <a:pt x="9101" y="7123"/>
                  </a:lnTo>
                  <a:lnTo>
                    <a:pt x="9057" y="7098"/>
                  </a:lnTo>
                  <a:lnTo>
                    <a:pt x="9016" y="7071"/>
                  </a:lnTo>
                  <a:lnTo>
                    <a:pt x="8975" y="7044"/>
                  </a:lnTo>
                  <a:lnTo>
                    <a:pt x="8935" y="7017"/>
                  </a:lnTo>
                  <a:lnTo>
                    <a:pt x="8897" y="6991"/>
                  </a:lnTo>
                  <a:lnTo>
                    <a:pt x="8861" y="6965"/>
                  </a:lnTo>
                  <a:lnTo>
                    <a:pt x="8826" y="6938"/>
                  </a:lnTo>
                  <a:lnTo>
                    <a:pt x="8793" y="6912"/>
                  </a:lnTo>
                  <a:lnTo>
                    <a:pt x="8761" y="6888"/>
                  </a:lnTo>
                  <a:lnTo>
                    <a:pt x="8731" y="6864"/>
                  </a:lnTo>
                  <a:lnTo>
                    <a:pt x="8703" y="6841"/>
                  </a:lnTo>
                  <a:lnTo>
                    <a:pt x="8677" y="6819"/>
                  </a:lnTo>
                  <a:lnTo>
                    <a:pt x="8654" y="6798"/>
                  </a:lnTo>
                  <a:lnTo>
                    <a:pt x="8632" y="6779"/>
                  </a:lnTo>
                  <a:lnTo>
                    <a:pt x="8612" y="6762"/>
                  </a:lnTo>
                  <a:lnTo>
                    <a:pt x="8595" y="6746"/>
                  </a:lnTo>
                  <a:lnTo>
                    <a:pt x="8580" y="6733"/>
                  </a:lnTo>
                  <a:lnTo>
                    <a:pt x="8568" y="6721"/>
                  </a:lnTo>
                  <a:lnTo>
                    <a:pt x="8559" y="6711"/>
                  </a:lnTo>
                  <a:lnTo>
                    <a:pt x="8551" y="6705"/>
                  </a:lnTo>
                  <a:lnTo>
                    <a:pt x="8547" y="6701"/>
                  </a:lnTo>
                  <a:lnTo>
                    <a:pt x="8545" y="6699"/>
                  </a:lnTo>
                  <a:lnTo>
                    <a:pt x="8546" y="6701"/>
                  </a:lnTo>
                  <a:lnTo>
                    <a:pt x="8547" y="6706"/>
                  </a:lnTo>
                  <a:lnTo>
                    <a:pt x="8549" y="6716"/>
                  </a:lnTo>
                  <a:lnTo>
                    <a:pt x="8553" y="6728"/>
                  </a:lnTo>
                  <a:lnTo>
                    <a:pt x="8559" y="6743"/>
                  </a:lnTo>
                  <a:lnTo>
                    <a:pt x="8565" y="6762"/>
                  </a:lnTo>
                  <a:lnTo>
                    <a:pt x="8574" y="6784"/>
                  </a:lnTo>
                  <a:lnTo>
                    <a:pt x="8584" y="6808"/>
                  </a:lnTo>
                  <a:lnTo>
                    <a:pt x="8597" y="6836"/>
                  </a:lnTo>
                  <a:lnTo>
                    <a:pt x="8612" y="6867"/>
                  </a:lnTo>
                  <a:lnTo>
                    <a:pt x="8630" y="6900"/>
                  </a:lnTo>
                  <a:lnTo>
                    <a:pt x="8651" y="6936"/>
                  </a:lnTo>
                  <a:lnTo>
                    <a:pt x="8674" y="6975"/>
                  </a:lnTo>
                  <a:lnTo>
                    <a:pt x="8701" y="7015"/>
                  </a:lnTo>
                  <a:lnTo>
                    <a:pt x="8730" y="7059"/>
                  </a:lnTo>
                  <a:lnTo>
                    <a:pt x="8764" y="7105"/>
                  </a:lnTo>
                  <a:lnTo>
                    <a:pt x="8812" y="7163"/>
                  </a:lnTo>
                  <a:lnTo>
                    <a:pt x="8862" y="7218"/>
                  </a:lnTo>
                  <a:lnTo>
                    <a:pt x="8914" y="7272"/>
                  </a:lnTo>
                  <a:lnTo>
                    <a:pt x="8966" y="7323"/>
                  </a:lnTo>
                  <a:lnTo>
                    <a:pt x="9019" y="7373"/>
                  </a:lnTo>
                  <a:lnTo>
                    <a:pt x="9071" y="7419"/>
                  </a:lnTo>
                  <a:lnTo>
                    <a:pt x="9121" y="7462"/>
                  </a:lnTo>
                  <a:lnTo>
                    <a:pt x="9169" y="7501"/>
                  </a:lnTo>
                  <a:lnTo>
                    <a:pt x="9214" y="7539"/>
                  </a:lnTo>
                  <a:lnTo>
                    <a:pt x="9235" y="7555"/>
                  </a:lnTo>
                  <a:lnTo>
                    <a:pt x="9255" y="7570"/>
                  </a:lnTo>
                  <a:lnTo>
                    <a:pt x="9275" y="7585"/>
                  </a:lnTo>
                  <a:lnTo>
                    <a:pt x="9293" y="7598"/>
                  </a:lnTo>
                  <a:lnTo>
                    <a:pt x="9309" y="7611"/>
                  </a:lnTo>
                  <a:lnTo>
                    <a:pt x="9325" y="7622"/>
                  </a:lnTo>
                  <a:lnTo>
                    <a:pt x="9338" y="7631"/>
                  </a:lnTo>
                  <a:lnTo>
                    <a:pt x="9350" y="7641"/>
                  </a:lnTo>
                  <a:lnTo>
                    <a:pt x="9362" y="7648"/>
                  </a:lnTo>
                  <a:lnTo>
                    <a:pt x="9370" y="7654"/>
                  </a:lnTo>
                  <a:lnTo>
                    <a:pt x="9377" y="7659"/>
                  </a:lnTo>
                  <a:lnTo>
                    <a:pt x="9382" y="7662"/>
                  </a:lnTo>
                  <a:lnTo>
                    <a:pt x="9386" y="7665"/>
                  </a:lnTo>
                  <a:lnTo>
                    <a:pt x="9387" y="7665"/>
                  </a:lnTo>
                  <a:lnTo>
                    <a:pt x="9387" y="7666"/>
                  </a:lnTo>
                  <a:lnTo>
                    <a:pt x="9386" y="7670"/>
                  </a:lnTo>
                  <a:lnTo>
                    <a:pt x="9382" y="7677"/>
                  </a:lnTo>
                  <a:lnTo>
                    <a:pt x="9379" y="7684"/>
                  </a:lnTo>
                  <a:lnTo>
                    <a:pt x="9376" y="7694"/>
                  </a:lnTo>
                  <a:lnTo>
                    <a:pt x="9371" y="7706"/>
                  </a:lnTo>
                  <a:lnTo>
                    <a:pt x="9366" y="7721"/>
                  </a:lnTo>
                  <a:lnTo>
                    <a:pt x="9360" y="7737"/>
                  </a:lnTo>
                  <a:lnTo>
                    <a:pt x="9352" y="7756"/>
                  </a:lnTo>
                  <a:lnTo>
                    <a:pt x="9344" y="7775"/>
                  </a:lnTo>
                  <a:lnTo>
                    <a:pt x="9336" y="7797"/>
                  </a:lnTo>
                  <a:lnTo>
                    <a:pt x="9327" y="7821"/>
                  </a:lnTo>
                  <a:lnTo>
                    <a:pt x="9317" y="7845"/>
                  </a:lnTo>
                  <a:lnTo>
                    <a:pt x="9307" y="7872"/>
                  </a:lnTo>
                  <a:lnTo>
                    <a:pt x="9296" y="7901"/>
                  </a:lnTo>
                  <a:lnTo>
                    <a:pt x="9284" y="7930"/>
                  </a:lnTo>
                  <a:lnTo>
                    <a:pt x="9272" y="7962"/>
                  </a:lnTo>
                  <a:lnTo>
                    <a:pt x="9260" y="7994"/>
                  </a:lnTo>
                  <a:lnTo>
                    <a:pt x="9246" y="8027"/>
                  </a:lnTo>
                  <a:lnTo>
                    <a:pt x="9232" y="8062"/>
                  </a:lnTo>
                  <a:lnTo>
                    <a:pt x="9217" y="8098"/>
                  </a:lnTo>
                  <a:lnTo>
                    <a:pt x="9203" y="8135"/>
                  </a:lnTo>
                  <a:lnTo>
                    <a:pt x="9172" y="8211"/>
                  </a:lnTo>
                  <a:lnTo>
                    <a:pt x="9139" y="8291"/>
                  </a:lnTo>
                  <a:lnTo>
                    <a:pt x="9105" y="8374"/>
                  </a:lnTo>
                  <a:lnTo>
                    <a:pt x="9070" y="8459"/>
                  </a:lnTo>
                  <a:lnTo>
                    <a:pt x="9032" y="8546"/>
                  </a:lnTo>
                  <a:lnTo>
                    <a:pt x="8994" y="8635"/>
                  </a:lnTo>
                  <a:lnTo>
                    <a:pt x="8956" y="8723"/>
                  </a:lnTo>
                  <a:lnTo>
                    <a:pt x="8878" y="8901"/>
                  </a:lnTo>
                  <a:lnTo>
                    <a:pt x="8837" y="8989"/>
                  </a:lnTo>
                  <a:lnTo>
                    <a:pt x="8797" y="9075"/>
                  </a:lnTo>
                  <a:lnTo>
                    <a:pt x="8757" y="9161"/>
                  </a:lnTo>
                  <a:lnTo>
                    <a:pt x="8717" y="9243"/>
                  </a:lnTo>
                  <a:lnTo>
                    <a:pt x="8676" y="9323"/>
                  </a:lnTo>
                  <a:lnTo>
                    <a:pt x="8637" y="9399"/>
                  </a:lnTo>
                  <a:lnTo>
                    <a:pt x="8617" y="9435"/>
                  </a:lnTo>
                  <a:lnTo>
                    <a:pt x="8599" y="9471"/>
                  </a:lnTo>
                  <a:lnTo>
                    <a:pt x="8579" y="9505"/>
                  </a:lnTo>
                  <a:lnTo>
                    <a:pt x="8561" y="9539"/>
                  </a:lnTo>
                  <a:lnTo>
                    <a:pt x="8542" y="9571"/>
                  </a:lnTo>
                  <a:lnTo>
                    <a:pt x="8524" y="9601"/>
                  </a:lnTo>
                  <a:lnTo>
                    <a:pt x="8506" y="9631"/>
                  </a:lnTo>
                  <a:lnTo>
                    <a:pt x="8488" y="9658"/>
                  </a:lnTo>
                  <a:lnTo>
                    <a:pt x="8471" y="9684"/>
                  </a:lnTo>
                  <a:lnTo>
                    <a:pt x="8453" y="9709"/>
                  </a:lnTo>
                  <a:lnTo>
                    <a:pt x="8437" y="9733"/>
                  </a:lnTo>
                  <a:lnTo>
                    <a:pt x="8420" y="9753"/>
                  </a:lnTo>
                  <a:lnTo>
                    <a:pt x="8388" y="9794"/>
                  </a:lnTo>
                  <a:lnTo>
                    <a:pt x="8354" y="9835"/>
                  </a:lnTo>
                  <a:lnTo>
                    <a:pt x="8284" y="9913"/>
                  </a:lnTo>
                  <a:lnTo>
                    <a:pt x="8210" y="9990"/>
                  </a:lnTo>
                  <a:lnTo>
                    <a:pt x="8132" y="10065"/>
                  </a:lnTo>
                  <a:lnTo>
                    <a:pt x="8052" y="10138"/>
                  </a:lnTo>
                  <a:lnTo>
                    <a:pt x="7969" y="10212"/>
                  </a:lnTo>
                  <a:lnTo>
                    <a:pt x="7885" y="10283"/>
                  </a:lnTo>
                  <a:lnTo>
                    <a:pt x="7798" y="10354"/>
                  </a:lnTo>
                  <a:lnTo>
                    <a:pt x="7709" y="10423"/>
                  </a:lnTo>
                  <a:lnTo>
                    <a:pt x="7620" y="10493"/>
                  </a:lnTo>
                  <a:lnTo>
                    <a:pt x="7440" y="10630"/>
                  </a:lnTo>
                  <a:lnTo>
                    <a:pt x="7258" y="10768"/>
                  </a:lnTo>
                  <a:lnTo>
                    <a:pt x="7169" y="10837"/>
                  </a:lnTo>
                  <a:lnTo>
                    <a:pt x="7080" y="10907"/>
                  </a:lnTo>
                  <a:lnTo>
                    <a:pt x="7046" y="10935"/>
                  </a:lnTo>
                  <a:lnTo>
                    <a:pt x="7013" y="10960"/>
                  </a:lnTo>
                  <a:lnTo>
                    <a:pt x="6981" y="10984"/>
                  </a:lnTo>
                  <a:lnTo>
                    <a:pt x="6951" y="11007"/>
                  </a:lnTo>
                  <a:lnTo>
                    <a:pt x="6921" y="11026"/>
                  </a:lnTo>
                  <a:lnTo>
                    <a:pt x="6894" y="11044"/>
                  </a:lnTo>
                  <a:lnTo>
                    <a:pt x="6866" y="11060"/>
                  </a:lnTo>
                  <a:lnTo>
                    <a:pt x="6839" y="11074"/>
                  </a:lnTo>
                  <a:lnTo>
                    <a:pt x="6813" y="11086"/>
                  </a:lnTo>
                  <a:lnTo>
                    <a:pt x="6788" y="11097"/>
                  </a:lnTo>
                  <a:lnTo>
                    <a:pt x="6763" y="11106"/>
                  </a:lnTo>
                  <a:lnTo>
                    <a:pt x="6739" y="11113"/>
                  </a:lnTo>
                  <a:lnTo>
                    <a:pt x="6715" y="11118"/>
                  </a:lnTo>
                  <a:lnTo>
                    <a:pt x="6691" y="11122"/>
                  </a:lnTo>
                  <a:lnTo>
                    <a:pt x="6667" y="11124"/>
                  </a:lnTo>
                  <a:lnTo>
                    <a:pt x="6645" y="11125"/>
                  </a:lnTo>
                  <a:lnTo>
                    <a:pt x="6627" y="11124"/>
                  </a:lnTo>
                  <a:lnTo>
                    <a:pt x="6610" y="11123"/>
                  </a:lnTo>
                  <a:lnTo>
                    <a:pt x="6592" y="11120"/>
                  </a:lnTo>
                  <a:lnTo>
                    <a:pt x="6576" y="11116"/>
                  </a:lnTo>
                  <a:lnTo>
                    <a:pt x="6558" y="11111"/>
                  </a:lnTo>
                  <a:lnTo>
                    <a:pt x="6541" y="11105"/>
                  </a:lnTo>
                  <a:lnTo>
                    <a:pt x="6524" y="11097"/>
                  </a:lnTo>
                  <a:lnTo>
                    <a:pt x="6506" y="11089"/>
                  </a:lnTo>
                  <a:lnTo>
                    <a:pt x="6489" y="11080"/>
                  </a:lnTo>
                  <a:lnTo>
                    <a:pt x="6471" y="11070"/>
                  </a:lnTo>
                  <a:lnTo>
                    <a:pt x="6454" y="11057"/>
                  </a:lnTo>
                  <a:lnTo>
                    <a:pt x="6436" y="11044"/>
                  </a:lnTo>
                  <a:lnTo>
                    <a:pt x="6418" y="11030"/>
                  </a:lnTo>
                  <a:lnTo>
                    <a:pt x="6399" y="11015"/>
                  </a:lnTo>
                  <a:lnTo>
                    <a:pt x="6379" y="10998"/>
                  </a:lnTo>
                  <a:lnTo>
                    <a:pt x="6360" y="10981"/>
                  </a:lnTo>
                  <a:lnTo>
                    <a:pt x="6340" y="10961"/>
                  </a:lnTo>
                  <a:lnTo>
                    <a:pt x="6320" y="10942"/>
                  </a:lnTo>
                  <a:lnTo>
                    <a:pt x="6299" y="10920"/>
                  </a:lnTo>
                  <a:lnTo>
                    <a:pt x="6277" y="10898"/>
                  </a:lnTo>
                  <a:lnTo>
                    <a:pt x="6255" y="10874"/>
                  </a:lnTo>
                  <a:lnTo>
                    <a:pt x="6232" y="10849"/>
                  </a:lnTo>
                  <a:lnTo>
                    <a:pt x="6208" y="10823"/>
                  </a:lnTo>
                  <a:lnTo>
                    <a:pt x="6184" y="10796"/>
                  </a:lnTo>
                  <a:lnTo>
                    <a:pt x="6160" y="10768"/>
                  </a:lnTo>
                  <a:lnTo>
                    <a:pt x="6134" y="10738"/>
                  </a:lnTo>
                  <a:lnTo>
                    <a:pt x="6107" y="10707"/>
                  </a:lnTo>
                  <a:lnTo>
                    <a:pt x="6079" y="10674"/>
                  </a:lnTo>
                  <a:lnTo>
                    <a:pt x="6050" y="10641"/>
                  </a:lnTo>
                  <a:lnTo>
                    <a:pt x="6021" y="10606"/>
                  </a:lnTo>
                  <a:lnTo>
                    <a:pt x="5990" y="10570"/>
                  </a:lnTo>
                  <a:lnTo>
                    <a:pt x="5958" y="10533"/>
                  </a:lnTo>
                  <a:lnTo>
                    <a:pt x="5938" y="10505"/>
                  </a:lnTo>
                  <a:lnTo>
                    <a:pt x="5917" y="10478"/>
                  </a:lnTo>
                  <a:lnTo>
                    <a:pt x="5897" y="10453"/>
                  </a:lnTo>
                  <a:lnTo>
                    <a:pt x="5880" y="10427"/>
                  </a:lnTo>
                  <a:lnTo>
                    <a:pt x="5846" y="10377"/>
                  </a:lnTo>
                  <a:lnTo>
                    <a:pt x="5817" y="10330"/>
                  </a:lnTo>
                  <a:lnTo>
                    <a:pt x="5791" y="10286"/>
                  </a:lnTo>
                  <a:lnTo>
                    <a:pt x="5769" y="10242"/>
                  </a:lnTo>
                  <a:lnTo>
                    <a:pt x="5751" y="10202"/>
                  </a:lnTo>
                  <a:lnTo>
                    <a:pt x="5735" y="10163"/>
                  </a:lnTo>
                  <a:lnTo>
                    <a:pt x="5724" y="10127"/>
                  </a:lnTo>
                  <a:lnTo>
                    <a:pt x="5715" y="10092"/>
                  </a:lnTo>
                  <a:lnTo>
                    <a:pt x="5708" y="10059"/>
                  </a:lnTo>
                  <a:lnTo>
                    <a:pt x="5705" y="10027"/>
                  </a:lnTo>
                  <a:lnTo>
                    <a:pt x="5705" y="9997"/>
                  </a:lnTo>
                  <a:lnTo>
                    <a:pt x="5706" y="9969"/>
                  </a:lnTo>
                  <a:lnTo>
                    <a:pt x="5710" y="9943"/>
                  </a:lnTo>
                  <a:lnTo>
                    <a:pt x="5718" y="9917"/>
                  </a:lnTo>
                  <a:lnTo>
                    <a:pt x="5726" y="9893"/>
                  </a:lnTo>
                  <a:lnTo>
                    <a:pt x="5735" y="9870"/>
                  </a:lnTo>
                  <a:lnTo>
                    <a:pt x="5748" y="9848"/>
                  </a:lnTo>
                  <a:lnTo>
                    <a:pt x="5761" y="9827"/>
                  </a:lnTo>
                  <a:lnTo>
                    <a:pt x="5776" y="9808"/>
                  </a:lnTo>
                  <a:lnTo>
                    <a:pt x="5792" y="9788"/>
                  </a:lnTo>
                  <a:lnTo>
                    <a:pt x="5810" y="9770"/>
                  </a:lnTo>
                  <a:lnTo>
                    <a:pt x="5827" y="9752"/>
                  </a:lnTo>
                  <a:lnTo>
                    <a:pt x="5866" y="9719"/>
                  </a:lnTo>
                  <a:lnTo>
                    <a:pt x="5907" y="9688"/>
                  </a:lnTo>
                  <a:lnTo>
                    <a:pt x="5949" y="9658"/>
                  </a:lnTo>
                  <a:lnTo>
                    <a:pt x="5990" y="9628"/>
                  </a:lnTo>
                  <a:lnTo>
                    <a:pt x="6073" y="9583"/>
                  </a:lnTo>
                  <a:lnTo>
                    <a:pt x="6156" y="9541"/>
                  </a:lnTo>
                  <a:lnTo>
                    <a:pt x="6197" y="9520"/>
                  </a:lnTo>
                  <a:lnTo>
                    <a:pt x="6237" y="9500"/>
                  </a:lnTo>
                  <a:lnTo>
                    <a:pt x="6276" y="9480"/>
                  </a:lnTo>
                  <a:lnTo>
                    <a:pt x="6313" y="9462"/>
                  </a:lnTo>
                  <a:lnTo>
                    <a:pt x="6348" y="9442"/>
                  </a:lnTo>
                  <a:lnTo>
                    <a:pt x="6383" y="9424"/>
                  </a:lnTo>
                  <a:lnTo>
                    <a:pt x="6413" y="9406"/>
                  </a:lnTo>
                  <a:lnTo>
                    <a:pt x="6441" y="9387"/>
                  </a:lnTo>
                  <a:lnTo>
                    <a:pt x="6466" y="9370"/>
                  </a:lnTo>
                  <a:lnTo>
                    <a:pt x="6488" y="9352"/>
                  </a:lnTo>
                  <a:lnTo>
                    <a:pt x="6505" y="9335"/>
                  </a:lnTo>
                  <a:lnTo>
                    <a:pt x="6514" y="9326"/>
                  </a:lnTo>
                  <a:lnTo>
                    <a:pt x="6520" y="9317"/>
                  </a:lnTo>
                  <a:lnTo>
                    <a:pt x="6525" y="9307"/>
                  </a:lnTo>
                  <a:lnTo>
                    <a:pt x="6530" y="9295"/>
                  </a:lnTo>
                  <a:lnTo>
                    <a:pt x="6535" y="9279"/>
                  </a:lnTo>
                  <a:lnTo>
                    <a:pt x="6538" y="9262"/>
                  </a:lnTo>
                  <a:lnTo>
                    <a:pt x="6543" y="9242"/>
                  </a:lnTo>
                  <a:lnTo>
                    <a:pt x="6546" y="9222"/>
                  </a:lnTo>
                  <a:lnTo>
                    <a:pt x="6549" y="9198"/>
                  </a:lnTo>
                  <a:lnTo>
                    <a:pt x="6551" y="9173"/>
                  </a:lnTo>
                  <a:lnTo>
                    <a:pt x="6553" y="9147"/>
                  </a:lnTo>
                  <a:lnTo>
                    <a:pt x="6555" y="9120"/>
                  </a:lnTo>
                  <a:lnTo>
                    <a:pt x="6556" y="9092"/>
                  </a:lnTo>
                  <a:lnTo>
                    <a:pt x="6557" y="9062"/>
                  </a:lnTo>
                  <a:lnTo>
                    <a:pt x="6558" y="9001"/>
                  </a:lnTo>
                  <a:lnTo>
                    <a:pt x="6559" y="8939"/>
                  </a:lnTo>
                  <a:lnTo>
                    <a:pt x="6558" y="8877"/>
                  </a:lnTo>
                  <a:lnTo>
                    <a:pt x="6558" y="8815"/>
                  </a:lnTo>
                  <a:lnTo>
                    <a:pt x="6556" y="8755"/>
                  </a:lnTo>
                  <a:lnTo>
                    <a:pt x="6556" y="8726"/>
                  </a:lnTo>
                  <a:lnTo>
                    <a:pt x="6555" y="8699"/>
                  </a:lnTo>
                  <a:lnTo>
                    <a:pt x="6554" y="8673"/>
                  </a:lnTo>
                  <a:lnTo>
                    <a:pt x="6554" y="8648"/>
                  </a:lnTo>
                  <a:lnTo>
                    <a:pt x="6553" y="8625"/>
                  </a:lnTo>
                  <a:lnTo>
                    <a:pt x="6552" y="8604"/>
                  </a:lnTo>
                  <a:lnTo>
                    <a:pt x="6552" y="8584"/>
                  </a:lnTo>
                  <a:lnTo>
                    <a:pt x="6552" y="8567"/>
                  </a:lnTo>
                  <a:lnTo>
                    <a:pt x="6551" y="8551"/>
                  </a:lnTo>
                  <a:lnTo>
                    <a:pt x="6551" y="8538"/>
                  </a:lnTo>
                  <a:lnTo>
                    <a:pt x="6548" y="8561"/>
                  </a:lnTo>
                  <a:lnTo>
                    <a:pt x="6543" y="8586"/>
                  </a:lnTo>
                  <a:lnTo>
                    <a:pt x="6537" y="8612"/>
                  </a:lnTo>
                  <a:lnTo>
                    <a:pt x="6530" y="8638"/>
                  </a:lnTo>
                  <a:lnTo>
                    <a:pt x="6522" y="8664"/>
                  </a:lnTo>
                  <a:lnTo>
                    <a:pt x="6512" y="8691"/>
                  </a:lnTo>
                  <a:lnTo>
                    <a:pt x="6500" y="8718"/>
                  </a:lnTo>
                  <a:lnTo>
                    <a:pt x="6488" y="8746"/>
                  </a:lnTo>
                  <a:lnTo>
                    <a:pt x="6474" y="8773"/>
                  </a:lnTo>
                  <a:lnTo>
                    <a:pt x="6458" y="8800"/>
                  </a:lnTo>
                  <a:lnTo>
                    <a:pt x="6441" y="8827"/>
                  </a:lnTo>
                  <a:lnTo>
                    <a:pt x="6422" y="8855"/>
                  </a:lnTo>
                  <a:lnTo>
                    <a:pt x="6401" y="8882"/>
                  </a:lnTo>
                  <a:lnTo>
                    <a:pt x="6379" y="8907"/>
                  </a:lnTo>
                  <a:lnTo>
                    <a:pt x="6355" y="8933"/>
                  </a:lnTo>
                  <a:lnTo>
                    <a:pt x="6329" y="8959"/>
                  </a:lnTo>
                  <a:lnTo>
                    <a:pt x="6301" y="8984"/>
                  </a:lnTo>
                  <a:lnTo>
                    <a:pt x="6271" y="9006"/>
                  </a:lnTo>
                  <a:lnTo>
                    <a:pt x="6239" y="9029"/>
                  </a:lnTo>
                  <a:lnTo>
                    <a:pt x="6205" y="9052"/>
                  </a:lnTo>
                  <a:lnTo>
                    <a:pt x="6169" y="9071"/>
                  </a:lnTo>
                  <a:lnTo>
                    <a:pt x="6131" y="9091"/>
                  </a:lnTo>
                  <a:lnTo>
                    <a:pt x="6089" y="9109"/>
                  </a:lnTo>
                  <a:lnTo>
                    <a:pt x="6047" y="9126"/>
                  </a:lnTo>
                  <a:lnTo>
                    <a:pt x="6002" y="9140"/>
                  </a:lnTo>
                  <a:lnTo>
                    <a:pt x="5954" y="9154"/>
                  </a:lnTo>
                  <a:lnTo>
                    <a:pt x="5905" y="9165"/>
                  </a:lnTo>
                  <a:lnTo>
                    <a:pt x="5852" y="9174"/>
                  </a:lnTo>
                  <a:lnTo>
                    <a:pt x="5796" y="9182"/>
                  </a:lnTo>
                  <a:lnTo>
                    <a:pt x="5739" y="9188"/>
                  </a:lnTo>
                  <a:lnTo>
                    <a:pt x="5678" y="9192"/>
                  </a:lnTo>
                  <a:lnTo>
                    <a:pt x="5616" y="9193"/>
                  </a:lnTo>
                  <a:lnTo>
                    <a:pt x="5554" y="9193"/>
                  </a:lnTo>
                  <a:lnTo>
                    <a:pt x="5477" y="9188"/>
                  </a:lnTo>
                  <a:lnTo>
                    <a:pt x="5403" y="9180"/>
                  </a:lnTo>
                  <a:lnTo>
                    <a:pt x="5334" y="9170"/>
                  </a:lnTo>
                  <a:lnTo>
                    <a:pt x="5267" y="9158"/>
                  </a:lnTo>
                  <a:lnTo>
                    <a:pt x="5204" y="9142"/>
                  </a:lnTo>
                  <a:lnTo>
                    <a:pt x="5144" y="9126"/>
                  </a:lnTo>
                  <a:lnTo>
                    <a:pt x="5086" y="9106"/>
                  </a:lnTo>
                  <a:lnTo>
                    <a:pt x="5032" y="9085"/>
                  </a:lnTo>
                  <a:lnTo>
                    <a:pt x="4982" y="9062"/>
                  </a:lnTo>
                  <a:lnTo>
                    <a:pt x="4934" y="9037"/>
                  </a:lnTo>
                  <a:lnTo>
                    <a:pt x="4889" y="9012"/>
                  </a:lnTo>
                  <a:lnTo>
                    <a:pt x="4847" y="8985"/>
                  </a:lnTo>
                  <a:lnTo>
                    <a:pt x="4807" y="8957"/>
                  </a:lnTo>
                  <a:lnTo>
                    <a:pt x="4771" y="8928"/>
                  </a:lnTo>
                  <a:lnTo>
                    <a:pt x="4736" y="8899"/>
                  </a:lnTo>
                  <a:lnTo>
                    <a:pt x="4704" y="8869"/>
                  </a:lnTo>
                  <a:lnTo>
                    <a:pt x="4675" y="8839"/>
                  </a:lnTo>
                  <a:lnTo>
                    <a:pt x="4647" y="8809"/>
                  </a:lnTo>
                  <a:lnTo>
                    <a:pt x="4622" y="8779"/>
                  </a:lnTo>
                  <a:lnTo>
                    <a:pt x="4600" y="8749"/>
                  </a:lnTo>
                  <a:lnTo>
                    <a:pt x="4579" y="8720"/>
                  </a:lnTo>
                  <a:lnTo>
                    <a:pt x="4560" y="8691"/>
                  </a:lnTo>
                  <a:lnTo>
                    <a:pt x="4543" y="8663"/>
                  </a:lnTo>
                  <a:lnTo>
                    <a:pt x="4528" y="8636"/>
                  </a:lnTo>
                  <a:lnTo>
                    <a:pt x="4515" y="8610"/>
                  </a:lnTo>
                  <a:lnTo>
                    <a:pt x="4503" y="8585"/>
                  </a:lnTo>
                  <a:lnTo>
                    <a:pt x="4492" y="8562"/>
                  </a:lnTo>
                  <a:lnTo>
                    <a:pt x="4484" y="8541"/>
                  </a:lnTo>
                  <a:lnTo>
                    <a:pt x="4477" y="8521"/>
                  </a:lnTo>
                  <a:lnTo>
                    <a:pt x="4471" y="8504"/>
                  </a:lnTo>
                  <a:lnTo>
                    <a:pt x="4467" y="8488"/>
                  </a:lnTo>
                  <a:lnTo>
                    <a:pt x="4462" y="8476"/>
                  </a:lnTo>
                  <a:lnTo>
                    <a:pt x="4465" y="8501"/>
                  </a:lnTo>
                  <a:lnTo>
                    <a:pt x="4469" y="8528"/>
                  </a:lnTo>
                  <a:lnTo>
                    <a:pt x="4471" y="8558"/>
                  </a:lnTo>
                  <a:lnTo>
                    <a:pt x="4473" y="8590"/>
                  </a:lnTo>
                  <a:lnTo>
                    <a:pt x="4475" y="8625"/>
                  </a:lnTo>
                  <a:lnTo>
                    <a:pt x="4477" y="8661"/>
                  </a:lnTo>
                  <a:lnTo>
                    <a:pt x="4479" y="8699"/>
                  </a:lnTo>
                  <a:lnTo>
                    <a:pt x="4480" y="8740"/>
                  </a:lnTo>
                  <a:lnTo>
                    <a:pt x="4482" y="8780"/>
                  </a:lnTo>
                  <a:lnTo>
                    <a:pt x="4483" y="8822"/>
                  </a:lnTo>
                  <a:lnTo>
                    <a:pt x="4485" y="8910"/>
                  </a:lnTo>
                  <a:lnTo>
                    <a:pt x="4486" y="8998"/>
                  </a:lnTo>
                  <a:lnTo>
                    <a:pt x="4486" y="9088"/>
                  </a:lnTo>
                  <a:lnTo>
                    <a:pt x="4486" y="9175"/>
                  </a:lnTo>
                  <a:lnTo>
                    <a:pt x="4485" y="9219"/>
                  </a:lnTo>
                  <a:lnTo>
                    <a:pt x="4485" y="9262"/>
                  </a:lnTo>
                  <a:lnTo>
                    <a:pt x="4484" y="9303"/>
                  </a:lnTo>
                  <a:lnTo>
                    <a:pt x="4483" y="9342"/>
                  </a:lnTo>
                  <a:lnTo>
                    <a:pt x="4482" y="9381"/>
                  </a:lnTo>
                  <a:lnTo>
                    <a:pt x="4480" y="9418"/>
                  </a:lnTo>
                  <a:lnTo>
                    <a:pt x="4479" y="9453"/>
                  </a:lnTo>
                  <a:lnTo>
                    <a:pt x="4477" y="9486"/>
                  </a:lnTo>
                  <a:lnTo>
                    <a:pt x="4475" y="9516"/>
                  </a:lnTo>
                  <a:lnTo>
                    <a:pt x="4473" y="9545"/>
                  </a:lnTo>
                  <a:lnTo>
                    <a:pt x="4471" y="9571"/>
                  </a:lnTo>
                  <a:lnTo>
                    <a:pt x="4469" y="9592"/>
                  </a:lnTo>
                  <a:lnTo>
                    <a:pt x="4465" y="9612"/>
                  </a:lnTo>
                  <a:lnTo>
                    <a:pt x="4462" y="9628"/>
                  </a:lnTo>
                  <a:lnTo>
                    <a:pt x="4459" y="9642"/>
                  </a:lnTo>
                  <a:lnTo>
                    <a:pt x="4454" y="9656"/>
                  </a:lnTo>
                  <a:lnTo>
                    <a:pt x="4448" y="9673"/>
                  </a:lnTo>
                  <a:lnTo>
                    <a:pt x="4441" y="9691"/>
                  </a:lnTo>
                  <a:lnTo>
                    <a:pt x="4431" y="9712"/>
                  </a:lnTo>
                  <a:lnTo>
                    <a:pt x="4422" y="9734"/>
                  </a:lnTo>
                  <a:lnTo>
                    <a:pt x="4412" y="9756"/>
                  </a:lnTo>
                  <a:lnTo>
                    <a:pt x="4400" y="9781"/>
                  </a:lnTo>
                  <a:lnTo>
                    <a:pt x="4388" y="9806"/>
                  </a:lnTo>
                  <a:lnTo>
                    <a:pt x="4376" y="9832"/>
                  </a:lnTo>
                  <a:lnTo>
                    <a:pt x="4349" y="9887"/>
                  </a:lnTo>
                  <a:lnTo>
                    <a:pt x="4320" y="9945"/>
                  </a:lnTo>
                  <a:lnTo>
                    <a:pt x="4291" y="10002"/>
                  </a:lnTo>
                  <a:lnTo>
                    <a:pt x="4262" y="10061"/>
                  </a:lnTo>
                  <a:lnTo>
                    <a:pt x="4234" y="10118"/>
                  </a:lnTo>
                  <a:lnTo>
                    <a:pt x="4207" y="10173"/>
                  </a:lnTo>
                  <a:lnTo>
                    <a:pt x="4194" y="10199"/>
                  </a:lnTo>
                  <a:lnTo>
                    <a:pt x="4183" y="10225"/>
                  </a:lnTo>
                  <a:lnTo>
                    <a:pt x="4171" y="10249"/>
                  </a:lnTo>
                  <a:lnTo>
                    <a:pt x="4160" y="10272"/>
                  </a:lnTo>
                  <a:lnTo>
                    <a:pt x="4151" y="10294"/>
                  </a:lnTo>
                  <a:lnTo>
                    <a:pt x="4142" y="10313"/>
                  </a:lnTo>
                  <a:lnTo>
                    <a:pt x="4135" y="10332"/>
                  </a:lnTo>
                  <a:lnTo>
                    <a:pt x="4129" y="10350"/>
                  </a:lnTo>
                  <a:lnTo>
                    <a:pt x="4124" y="10364"/>
                  </a:lnTo>
                  <a:lnTo>
                    <a:pt x="4120" y="10376"/>
                  </a:lnTo>
                  <a:lnTo>
                    <a:pt x="4118" y="10389"/>
                  </a:lnTo>
                  <a:lnTo>
                    <a:pt x="4116" y="10402"/>
                  </a:lnTo>
                  <a:lnTo>
                    <a:pt x="4113" y="10418"/>
                  </a:lnTo>
                  <a:lnTo>
                    <a:pt x="4112" y="10433"/>
                  </a:lnTo>
                  <a:lnTo>
                    <a:pt x="4110" y="10467"/>
                  </a:lnTo>
                  <a:lnTo>
                    <a:pt x="4108" y="10504"/>
                  </a:lnTo>
                  <a:lnTo>
                    <a:pt x="4107" y="10544"/>
                  </a:lnTo>
                  <a:lnTo>
                    <a:pt x="4106" y="10585"/>
                  </a:lnTo>
                  <a:lnTo>
                    <a:pt x="4104" y="10629"/>
                  </a:lnTo>
                  <a:lnTo>
                    <a:pt x="4100" y="10673"/>
                  </a:lnTo>
                  <a:lnTo>
                    <a:pt x="4095" y="10716"/>
                  </a:lnTo>
                  <a:lnTo>
                    <a:pt x="4088" y="10759"/>
                  </a:lnTo>
                  <a:lnTo>
                    <a:pt x="4076" y="10802"/>
                  </a:lnTo>
                  <a:lnTo>
                    <a:pt x="4063" y="10841"/>
                  </a:lnTo>
                  <a:lnTo>
                    <a:pt x="4055" y="10860"/>
                  </a:lnTo>
                  <a:lnTo>
                    <a:pt x="4045" y="10879"/>
                  </a:lnTo>
                  <a:lnTo>
                    <a:pt x="4035" y="10896"/>
                  </a:lnTo>
                  <a:lnTo>
                    <a:pt x="4024" y="10913"/>
                  </a:lnTo>
                  <a:lnTo>
                    <a:pt x="4010" y="10928"/>
                  </a:lnTo>
                  <a:lnTo>
                    <a:pt x="3996" y="10943"/>
                  </a:lnTo>
                  <a:lnTo>
                    <a:pt x="3981" y="10956"/>
                  </a:lnTo>
                  <a:lnTo>
                    <a:pt x="3964" y="10969"/>
                  </a:lnTo>
                  <a:lnTo>
                    <a:pt x="3951" y="10975"/>
                  </a:lnTo>
                  <a:lnTo>
                    <a:pt x="3938" y="10981"/>
                  </a:lnTo>
                  <a:lnTo>
                    <a:pt x="3922" y="10986"/>
                  </a:lnTo>
                  <a:lnTo>
                    <a:pt x="3906" y="10992"/>
                  </a:lnTo>
                  <a:lnTo>
                    <a:pt x="3888" y="10997"/>
                  </a:lnTo>
                  <a:lnTo>
                    <a:pt x="3869" y="11003"/>
                  </a:lnTo>
                  <a:lnTo>
                    <a:pt x="3849" y="11008"/>
                  </a:lnTo>
                  <a:lnTo>
                    <a:pt x="3828" y="11012"/>
                  </a:lnTo>
                  <a:lnTo>
                    <a:pt x="3805" y="11016"/>
                  </a:lnTo>
                  <a:lnTo>
                    <a:pt x="3782" y="11020"/>
                  </a:lnTo>
                  <a:lnTo>
                    <a:pt x="3732" y="11026"/>
                  </a:lnTo>
                  <a:lnTo>
                    <a:pt x="3678" y="11029"/>
                  </a:lnTo>
                  <a:lnTo>
                    <a:pt x="3621" y="11031"/>
                  </a:lnTo>
                  <a:lnTo>
                    <a:pt x="3556" y="11029"/>
                  </a:lnTo>
                  <a:lnTo>
                    <a:pt x="3490" y="11025"/>
                  </a:lnTo>
                  <a:lnTo>
                    <a:pt x="3423" y="11019"/>
                  </a:lnTo>
                  <a:lnTo>
                    <a:pt x="3355" y="11010"/>
                  </a:lnTo>
                  <a:lnTo>
                    <a:pt x="3286" y="10998"/>
                  </a:lnTo>
                  <a:lnTo>
                    <a:pt x="3215" y="10984"/>
                  </a:lnTo>
                  <a:lnTo>
                    <a:pt x="3145" y="10969"/>
                  </a:lnTo>
                  <a:lnTo>
                    <a:pt x="3075" y="10950"/>
                  </a:lnTo>
                  <a:lnTo>
                    <a:pt x="3005" y="10930"/>
                  </a:lnTo>
                  <a:lnTo>
                    <a:pt x="2936" y="10909"/>
                  </a:lnTo>
                  <a:lnTo>
                    <a:pt x="2865" y="10886"/>
                  </a:lnTo>
                  <a:lnTo>
                    <a:pt x="2796" y="10861"/>
                  </a:lnTo>
                  <a:lnTo>
                    <a:pt x="2728" y="10836"/>
                  </a:lnTo>
                  <a:lnTo>
                    <a:pt x="2661" y="10808"/>
                  </a:lnTo>
                  <a:lnTo>
                    <a:pt x="2595" y="10780"/>
                  </a:lnTo>
                  <a:lnTo>
                    <a:pt x="2531" y="10751"/>
                  </a:lnTo>
                  <a:lnTo>
                    <a:pt x="2507" y="10741"/>
                  </a:lnTo>
                  <a:lnTo>
                    <a:pt x="2482" y="10732"/>
                  </a:lnTo>
                  <a:lnTo>
                    <a:pt x="2457" y="10721"/>
                  </a:lnTo>
                  <a:lnTo>
                    <a:pt x="2429" y="10712"/>
                  </a:lnTo>
                  <a:lnTo>
                    <a:pt x="2374" y="10693"/>
                  </a:lnTo>
                  <a:lnTo>
                    <a:pt x="2348" y="10681"/>
                  </a:lnTo>
                  <a:lnTo>
                    <a:pt x="2322" y="10670"/>
                  </a:lnTo>
                  <a:lnTo>
                    <a:pt x="2298" y="10658"/>
                  </a:lnTo>
                  <a:lnTo>
                    <a:pt x="2276" y="10643"/>
                  </a:lnTo>
                  <a:lnTo>
                    <a:pt x="2256" y="10629"/>
                  </a:lnTo>
                  <a:lnTo>
                    <a:pt x="2240" y="10611"/>
                  </a:lnTo>
                  <a:lnTo>
                    <a:pt x="2226" y="10593"/>
                  </a:lnTo>
                  <a:lnTo>
                    <a:pt x="2221" y="10583"/>
                  </a:lnTo>
                  <a:lnTo>
                    <a:pt x="2216" y="10573"/>
                  </a:lnTo>
                  <a:lnTo>
                    <a:pt x="2213" y="10562"/>
                  </a:lnTo>
                  <a:lnTo>
                    <a:pt x="2211" y="10550"/>
                  </a:lnTo>
                  <a:lnTo>
                    <a:pt x="2210" y="10538"/>
                  </a:lnTo>
                  <a:lnTo>
                    <a:pt x="2211" y="10525"/>
                  </a:lnTo>
                  <a:lnTo>
                    <a:pt x="2214" y="10490"/>
                  </a:lnTo>
                  <a:lnTo>
                    <a:pt x="2219" y="10452"/>
                  </a:lnTo>
                  <a:lnTo>
                    <a:pt x="2225" y="10411"/>
                  </a:lnTo>
                  <a:lnTo>
                    <a:pt x="2233" y="10369"/>
                  </a:lnTo>
                  <a:lnTo>
                    <a:pt x="2241" y="10326"/>
                  </a:lnTo>
                  <a:lnTo>
                    <a:pt x="2250" y="10281"/>
                  </a:lnTo>
                  <a:lnTo>
                    <a:pt x="2260" y="10234"/>
                  </a:lnTo>
                  <a:lnTo>
                    <a:pt x="2271" y="10187"/>
                  </a:lnTo>
                  <a:lnTo>
                    <a:pt x="2296" y="10091"/>
                  </a:lnTo>
                  <a:lnTo>
                    <a:pt x="2321" y="9993"/>
                  </a:lnTo>
                  <a:lnTo>
                    <a:pt x="2349" y="9895"/>
                  </a:lnTo>
                  <a:lnTo>
                    <a:pt x="2377" y="9801"/>
                  </a:lnTo>
                  <a:lnTo>
                    <a:pt x="2391" y="9754"/>
                  </a:lnTo>
                  <a:lnTo>
                    <a:pt x="2405" y="9709"/>
                  </a:lnTo>
                  <a:lnTo>
                    <a:pt x="2418" y="9666"/>
                  </a:lnTo>
                  <a:lnTo>
                    <a:pt x="2432" y="9623"/>
                  </a:lnTo>
                  <a:lnTo>
                    <a:pt x="2444" y="9583"/>
                  </a:lnTo>
                  <a:lnTo>
                    <a:pt x="2457" y="9545"/>
                  </a:lnTo>
                  <a:lnTo>
                    <a:pt x="2469" y="9509"/>
                  </a:lnTo>
                  <a:lnTo>
                    <a:pt x="2479" y="9476"/>
                  </a:lnTo>
                  <a:lnTo>
                    <a:pt x="2490" y="9445"/>
                  </a:lnTo>
                  <a:lnTo>
                    <a:pt x="2499" y="9417"/>
                  </a:lnTo>
                  <a:lnTo>
                    <a:pt x="2508" y="9393"/>
                  </a:lnTo>
                  <a:lnTo>
                    <a:pt x="2515" y="9372"/>
                  </a:lnTo>
                  <a:lnTo>
                    <a:pt x="2522" y="9355"/>
                  </a:lnTo>
                  <a:lnTo>
                    <a:pt x="2526" y="9340"/>
                  </a:lnTo>
                  <a:lnTo>
                    <a:pt x="2528" y="9335"/>
                  </a:lnTo>
                  <a:lnTo>
                    <a:pt x="2530" y="9331"/>
                  </a:lnTo>
                  <a:lnTo>
                    <a:pt x="2531" y="9327"/>
                  </a:lnTo>
                  <a:lnTo>
                    <a:pt x="2532" y="9325"/>
                  </a:lnTo>
                  <a:lnTo>
                    <a:pt x="2531" y="9325"/>
                  </a:lnTo>
                  <a:lnTo>
                    <a:pt x="2530" y="9322"/>
                  </a:lnTo>
                  <a:lnTo>
                    <a:pt x="2528" y="9318"/>
                  </a:lnTo>
                  <a:lnTo>
                    <a:pt x="2525" y="9313"/>
                  </a:lnTo>
                  <a:lnTo>
                    <a:pt x="2521" y="9307"/>
                  </a:lnTo>
                  <a:lnTo>
                    <a:pt x="2515" y="9300"/>
                  </a:lnTo>
                  <a:lnTo>
                    <a:pt x="2509" y="9291"/>
                  </a:lnTo>
                  <a:lnTo>
                    <a:pt x="2503" y="9280"/>
                  </a:lnTo>
                  <a:lnTo>
                    <a:pt x="2496" y="9269"/>
                  </a:lnTo>
                  <a:lnTo>
                    <a:pt x="2488" y="9256"/>
                  </a:lnTo>
                  <a:lnTo>
                    <a:pt x="2479" y="9242"/>
                  </a:lnTo>
                  <a:lnTo>
                    <a:pt x="2469" y="9227"/>
                  </a:lnTo>
                  <a:lnTo>
                    <a:pt x="2460" y="9211"/>
                  </a:lnTo>
                  <a:lnTo>
                    <a:pt x="2448" y="9194"/>
                  </a:lnTo>
                  <a:lnTo>
                    <a:pt x="2437" y="9175"/>
                  </a:lnTo>
                  <a:lnTo>
                    <a:pt x="2425" y="9156"/>
                  </a:lnTo>
                  <a:lnTo>
                    <a:pt x="2399" y="9113"/>
                  </a:lnTo>
                  <a:lnTo>
                    <a:pt x="2371" y="9068"/>
                  </a:lnTo>
                  <a:lnTo>
                    <a:pt x="2341" y="9019"/>
                  </a:lnTo>
                  <a:lnTo>
                    <a:pt x="2310" y="8966"/>
                  </a:lnTo>
                  <a:lnTo>
                    <a:pt x="2276" y="8910"/>
                  </a:lnTo>
                  <a:lnTo>
                    <a:pt x="2242" y="8851"/>
                  </a:lnTo>
                  <a:lnTo>
                    <a:pt x="2206" y="8789"/>
                  </a:lnTo>
                  <a:lnTo>
                    <a:pt x="2169" y="8725"/>
                  </a:lnTo>
                  <a:lnTo>
                    <a:pt x="2131" y="8658"/>
                  </a:lnTo>
                  <a:lnTo>
                    <a:pt x="2093" y="8590"/>
                  </a:lnTo>
                  <a:lnTo>
                    <a:pt x="2054" y="8520"/>
                  </a:lnTo>
                  <a:lnTo>
                    <a:pt x="2015" y="8448"/>
                  </a:lnTo>
                  <a:lnTo>
                    <a:pt x="1976" y="8375"/>
                  </a:lnTo>
                  <a:lnTo>
                    <a:pt x="1937" y="8300"/>
                  </a:lnTo>
                  <a:lnTo>
                    <a:pt x="1860" y="8148"/>
                  </a:lnTo>
                  <a:lnTo>
                    <a:pt x="1823" y="8072"/>
                  </a:lnTo>
                  <a:lnTo>
                    <a:pt x="1786" y="7995"/>
                  </a:lnTo>
                  <a:lnTo>
                    <a:pt x="1750" y="7918"/>
                  </a:lnTo>
                  <a:lnTo>
                    <a:pt x="1716" y="7841"/>
                  </a:lnTo>
                  <a:lnTo>
                    <a:pt x="1683" y="7765"/>
                  </a:lnTo>
                  <a:lnTo>
                    <a:pt x="1652" y="7689"/>
                  </a:lnTo>
                  <a:lnTo>
                    <a:pt x="1622" y="7615"/>
                  </a:lnTo>
                  <a:lnTo>
                    <a:pt x="1596" y="7541"/>
                  </a:lnTo>
                  <a:lnTo>
                    <a:pt x="1571" y="7466"/>
                  </a:lnTo>
                  <a:lnTo>
                    <a:pt x="1548" y="7391"/>
                  </a:lnTo>
                  <a:lnTo>
                    <a:pt x="1530" y="7314"/>
                  </a:lnTo>
                  <a:lnTo>
                    <a:pt x="1512" y="7236"/>
                  </a:lnTo>
                  <a:lnTo>
                    <a:pt x="1498" y="7156"/>
                  </a:lnTo>
                  <a:lnTo>
                    <a:pt x="1485" y="7076"/>
                  </a:lnTo>
                  <a:lnTo>
                    <a:pt x="1476" y="6996"/>
                  </a:lnTo>
                  <a:lnTo>
                    <a:pt x="1468" y="6915"/>
                  </a:lnTo>
                  <a:lnTo>
                    <a:pt x="1461" y="6835"/>
                  </a:lnTo>
                  <a:lnTo>
                    <a:pt x="1457" y="6755"/>
                  </a:lnTo>
                  <a:lnTo>
                    <a:pt x="1454" y="6675"/>
                  </a:lnTo>
                  <a:lnTo>
                    <a:pt x="1452" y="6597"/>
                  </a:lnTo>
                  <a:lnTo>
                    <a:pt x="1452" y="6520"/>
                  </a:lnTo>
                  <a:lnTo>
                    <a:pt x="1454" y="6444"/>
                  </a:lnTo>
                  <a:lnTo>
                    <a:pt x="1456" y="6370"/>
                  </a:lnTo>
                  <a:lnTo>
                    <a:pt x="1459" y="6298"/>
                  </a:lnTo>
                  <a:lnTo>
                    <a:pt x="1464" y="6228"/>
                  </a:lnTo>
                  <a:lnTo>
                    <a:pt x="1468" y="6161"/>
                  </a:lnTo>
                  <a:lnTo>
                    <a:pt x="1474" y="6098"/>
                  </a:lnTo>
                  <a:lnTo>
                    <a:pt x="1479" y="6036"/>
                  </a:lnTo>
                  <a:lnTo>
                    <a:pt x="1485" y="5978"/>
                  </a:lnTo>
                  <a:lnTo>
                    <a:pt x="1491" y="5923"/>
                  </a:lnTo>
                  <a:lnTo>
                    <a:pt x="1494" y="5899"/>
                  </a:lnTo>
                  <a:lnTo>
                    <a:pt x="1498" y="5874"/>
                  </a:lnTo>
                  <a:lnTo>
                    <a:pt x="1501" y="5850"/>
                  </a:lnTo>
                  <a:lnTo>
                    <a:pt x="1504" y="5828"/>
                  </a:lnTo>
                  <a:lnTo>
                    <a:pt x="1507" y="5806"/>
                  </a:lnTo>
                  <a:lnTo>
                    <a:pt x="1510" y="5785"/>
                  </a:lnTo>
                  <a:lnTo>
                    <a:pt x="1512" y="5767"/>
                  </a:lnTo>
                  <a:lnTo>
                    <a:pt x="1515" y="5748"/>
                  </a:lnTo>
                  <a:lnTo>
                    <a:pt x="1518" y="5732"/>
                  </a:lnTo>
                  <a:lnTo>
                    <a:pt x="1520" y="5716"/>
                  </a:lnTo>
                  <a:lnTo>
                    <a:pt x="1522" y="5702"/>
                  </a:lnTo>
                  <a:lnTo>
                    <a:pt x="1524" y="5690"/>
                  </a:lnTo>
                  <a:lnTo>
                    <a:pt x="1526" y="5678"/>
                  </a:lnTo>
                  <a:lnTo>
                    <a:pt x="1529" y="5668"/>
                  </a:lnTo>
                  <a:lnTo>
                    <a:pt x="1530" y="5660"/>
                  </a:lnTo>
                  <a:lnTo>
                    <a:pt x="1531" y="5653"/>
                  </a:lnTo>
                  <a:lnTo>
                    <a:pt x="1532" y="5647"/>
                  </a:lnTo>
                  <a:lnTo>
                    <a:pt x="1533" y="5643"/>
                  </a:lnTo>
                  <a:lnTo>
                    <a:pt x="1534" y="5641"/>
                  </a:lnTo>
                  <a:lnTo>
                    <a:pt x="1534" y="5640"/>
                  </a:lnTo>
                  <a:lnTo>
                    <a:pt x="1533" y="5640"/>
                  </a:lnTo>
                  <a:lnTo>
                    <a:pt x="1530" y="5642"/>
                  </a:lnTo>
                  <a:lnTo>
                    <a:pt x="1523" y="5645"/>
                  </a:lnTo>
                  <a:lnTo>
                    <a:pt x="1516" y="5649"/>
                  </a:lnTo>
                  <a:lnTo>
                    <a:pt x="1506" y="5655"/>
                  </a:lnTo>
                  <a:lnTo>
                    <a:pt x="1493" y="5660"/>
                  </a:lnTo>
                  <a:lnTo>
                    <a:pt x="1480" y="5665"/>
                  </a:lnTo>
                  <a:lnTo>
                    <a:pt x="1464" y="5671"/>
                  </a:lnTo>
                  <a:lnTo>
                    <a:pt x="1445" y="5677"/>
                  </a:lnTo>
                  <a:lnTo>
                    <a:pt x="1423" y="5682"/>
                  </a:lnTo>
                  <a:lnTo>
                    <a:pt x="1401" y="5688"/>
                  </a:lnTo>
                  <a:lnTo>
                    <a:pt x="1376" y="5693"/>
                  </a:lnTo>
                  <a:lnTo>
                    <a:pt x="1348" y="5697"/>
                  </a:lnTo>
                  <a:lnTo>
                    <a:pt x="1318" y="5700"/>
                  </a:lnTo>
                  <a:lnTo>
                    <a:pt x="1287" y="5702"/>
                  </a:lnTo>
                  <a:lnTo>
                    <a:pt x="1253" y="5702"/>
                  </a:lnTo>
                  <a:lnTo>
                    <a:pt x="1216" y="5701"/>
                  </a:lnTo>
                  <a:lnTo>
                    <a:pt x="1177" y="5697"/>
                  </a:lnTo>
                  <a:lnTo>
                    <a:pt x="1134" y="5691"/>
                  </a:lnTo>
                  <a:lnTo>
                    <a:pt x="1089" y="5682"/>
                  </a:lnTo>
                  <a:lnTo>
                    <a:pt x="1041" y="5673"/>
                  </a:lnTo>
                  <a:lnTo>
                    <a:pt x="990" y="5663"/>
                  </a:lnTo>
                  <a:lnTo>
                    <a:pt x="936" y="5651"/>
                  </a:lnTo>
                  <a:lnTo>
                    <a:pt x="879" y="5640"/>
                  </a:lnTo>
                  <a:lnTo>
                    <a:pt x="848" y="5624"/>
                  </a:lnTo>
                  <a:lnTo>
                    <a:pt x="818" y="5606"/>
                  </a:lnTo>
                  <a:lnTo>
                    <a:pt x="791" y="5587"/>
                  </a:lnTo>
                  <a:lnTo>
                    <a:pt x="766" y="5564"/>
                  </a:lnTo>
                  <a:lnTo>
                    <a:pt x="742" y="5541"/>
                  </a:lnTo>
                  <a:lnTo>
                    <a:pt x="720" y="5516"/>
                  </a:lnTo>
                  <a:lnTo>
                    <a:pt x="700" y="5490"/>
                  </a:lnTo>
                  <a:lnTo>
                    <a:pt x="681" y="5462"/>
                  </a:lnTo>
                  <a:lnTo>
                    <a:pt x="663" y="5434"/>
                  </a:lnTo>
                  <a:lnTo>
                    <a:pt x="647" y="5404"/>
                  </a:lnTo>
                  <a:lnTo>
                    <a:pt x="632" y="5374"/>
                  </a:lnTo>
                  <a:lnTo>
                    <a:pt x="619" y="5345"/>
                  </a:lnTo>
                  <a:lnTo>
                    <a:pt x="608" y="5314"/>
                  </a:lnTo>
                  <a:lnTo>
                    <a:pt x="596" y="5284"/>
                  </a:lnTo>
                  <a:lnTo>
                    <a:pt x="587" y="5253"/>
                  </a:lnTo>
                  <a:lnTo>
                    <a:pt x="579" y="5223"/>
                  </a:lnTo>
                  <a:lnTo>
                    <a:pt x="564" y="5164"/>
                  </a:lnTo>
                  <a:lnTo>
                    <a:pt x="559" y="5136"/>
                  </a:lnTo>
                  <a:lnTo>
                    <a:pt x="554" y="5109"/>
                  </a:lnTo>
                  <a:lnTo>
                    <a:pt x="550" y="5083"/>
                  </a:lnTo>
                  <a:lnTo>
                    <a:pt x="546" y="5058"/>
                  </a:lnTo>
                  <a:lnTo>
                    <a:pt x="544" y="5034"/>
                  </a:lnTo>
                  <a:lnTo>
                    <a:pt x="541" y="5013"/>
                  </a:lnTo>
                  <a:lnTo>
                    <a:pt x="540" y="4993"/>
                  </a:lnTo>
                  <a:lnTo>
                    <a:pt x="538" y="4976"/>
                  </a:lnTo>
                  <a:lnTo>
                    <a:pt x="538" y="4960"/>
                  </a:lnTo>
                  <a:lnTo>
                    <a:pt x="536" y="4947"/>
                  </a:lnTo>
                  <a:lnTo>
                    <a:pt x="536" y="4937"/>
                  </a:lnTo>
                  <a:lnTo>
                    <a:pt x="535" y="4929"/>
                  </a:lnTo>
                  <a:lnTo>
                    <a:pt x="535" y="4924"/>
                  </a:lnTo>
                  <a:lnTo>
                    <a:pt x="535" y="4923"/>
                  </a:lnTo>
                  <a:lnTo>
                    <a:pt x="535" y="4922"/>
                  </a:lnTo>
                  <a:lnTo>
                    <a:pt x="533" y="4921"/>
                  </a:lnTo>
                  <a:lnTo>
                    <a:pt x="530" y="4920"/>
                  </a:lnTo>
                  <a:lnTo>
                    <a:pt x="526" y="4917"/>
                  </a:lnTo>
                  <a:lnTo>
                    <a:pt x="516" y="4909"/>
                  </a:lnTo>
                  <a:lnTo>
                    <a:pt x="503" y="4899"/>
                  </a:lnTo>
                  <a:lnTo>
                    <a:pt x="488" y="4884"/>
                  </a:lnTo>
                  <a:lnTo>
                    <a:pt x="471" y="4866"/>
                  </a:lnTo>
                  <a:lnTo>
                    <a:pt x="455" y="4844"/>
                  </a:lnTo>
                  <a:lnTo>
                    <a:pt x="438" y="4818"/>
                  </a:lnTo>
                  <a:lnTo>
                    <a:pt x="430" y="4804"/>
                  </a:lnTo>
                  <a:lnTo>
                    <a:pt x="423" y="4788"/>
                  </a:lnTo>
                  <a:lnTo>
                    <a:pt x="416" y="4772"/>
                  </a:lnTo>
                  <a:lnTo>
                    <a:pt x="410" y="4754"/>
                  </a:lnTo>
                  <a:lnTo>
                    <a:pt x="404" y="4736"/>
                  </a:lnTo>
                  <a:lnTo>
                    <a:pt x="399" y="4716"/>
                  </a:lnTo>
                  <a:lnTo>
                    <a:pt x="395" y="4696"/>
                  </a:lnTo>
                  <a:lnTo>
                    <a:pt x="391" y="4673"/>
                  </a:lnTo>
                  <a:lnTo>
                    <a:pt x="389" y="4650"/>
                  </a:lnTo>
                  <a:lnTo>
                    <a:pt x="388" y="4627"/>
                  </a:lnTo>
                  <a:lnTo>
                    <a:pt x="388" y="4601"/>
                  </a:lnTo>
                  <a:lnTo>
                    <a:pt x="390" y="4574"/>
                  </a:lnTo>
                  <a:lnTo>
                    <a:pt x="393" y="4546"/>
                  </a:lnTo>
                  <a:lnTo>
                    <a:pt x="397" y="4517"/>
                  </a:lnTo>
                  <a:lnTo>
                    <a:pt x="403" y="4488"/>
                  </a:lnTo>
                  <a:lnTo>
                    <a:pt x="412" y="4456"/>
                  </a:lnTo>
                  <a:lnTo>
                    <a:pt x="421" y="4424"/>
                  </a:lnTo>
                  <a:lnTo>
                    <a:pt x="433" y="4392"/>
                  </a:lnTo>
                  <a:lnTo>
                    <a:pt x="449" y="4361"/>
                  </a:lnTo>
                  <a:lnTo>
                    <a:pt x="465" y="4329"/>
                  </a:lnTo>
                  <a:lnTo>
                    <a:pt x="484" y="4298"/>
                  </a:lnTo>
                  <a:lnTo>
                    <a:pt x="503" y="4268"/>
                  </a:lnTo>
                  <a:lnTo>
                    <a:pt x="525" y="4238"/>
                  </a:lnTo>
                  <a:lnTo>
                    <a:pt x="548" y="4209"/>
                  </a:lnTo>
                  <a:lnTo>
                    <a:pt x="573" y="4181"/>
                  </a:lnTo>
                  <a:lnTo>
                    <a:pt x="597" y="4152"/>
                  </a:lnTo>
                  <a:lnTo>
                    <a:pt x="650" y="4098"/>
                  </a:lnTo>
                  <a:lnTo>
                    <a:pt x="704" y="4048"/>
                  </a:lnTo>
                  <a:lnTo>
                    <a:pt x="758" y="4000"/>
                  </a:lnTo>
                  <a:lnTo>
                    <a:pt x="785" y="3978"/>
                  </a:lnTo>
                  <a:lnTo>
                    <a:pt x="811" y="3957"/>
                  </a:lnTo>
                  <a:lnTo>
                    <a:pt x="837" y="3936"/>
                  </a:lnTo>
                  <a:lnTo>
                    <a:pt x="863" y="3918"/>
                  </a:lnTo>
                  <a:lnTo>
                    <a:pt x="886" y="3900"/>
                  </a:lnTo>
                  <a:lnTo>
                    <a:pt x="909" y="3884"/>
                  </a:lnTo>
                  <a:lnTo>
                    <a:pt x="931" y="3870"/>
                  </a:lnTo>
                  <a:lnTo>
                    <a:pt x="950" y="3855"/>
                  </a:lnTo>
                  <a:lnTo>
                    <a:pt x="969" y="3843"/>
                  </a:lnTo>
                  <a:lnTo>
                    <a:pt x="986" y="3832"/>
                  </a:lnTo>
                  <a:lnTo>
                    <a:pt x="1000" y="3823"/>
                  </a:lnTo>
                  <a:lnTo>
                    <a:pt x="1012" y="3815"/>
                  </a:lnTo>
                  <a:lnTo>
                    <a:pt x="1022" y="3810"/>
                  </a:lnTo>
                  <a:lnTo>
                    <a:pt x="1029" y="3805"/>
                  </a:lnTo>
                  <a:lnTo>
                    <a:pt x="1033" y="3803"/>
                  </a:lnTo>
                  <a:lnTo>
                    <a:pt x="1035" y="3802"/>
                  </a:lnTo>
                  <a:lnTo>
                    <a:pt x="1034" y="3803"/>
                  </a:lnTo>
                  <a:lnTo>
                    <a:pt x="1033" y="3805"/>
                  </a:lnTo>
                  <a:lnTo>
                    <a:pt x="1032" y="3809"/>
                  </a:lnTo>
                  <a:lnTo>
                    <a:pt x="1030" y="3814"/>
                  </a:lnTo>
                  <a:lnTo>
                    <a:pt x="1027" y="3821"/>
                  </a:lnTo>
                  <a:lnTo>
                    <a:pt x="1024" y="3830"/>
                  </a:lnTo>
                  <a:lnTo>
                    <a:pt x="1020" y="3841"/>
                  </a:lnTo>
                  <a:lnTo>
                    <a:pt x="1015" y="3852"/>
                  </a:lnTo>
                  <a:lnTo>
                    <a:pt x="1011" y="3865"/>
                  </a:lnTo>
                  <a:lnTo>
                    <a:pt x="1007" y="3881"/>
                  </a:lnTo>
                  <a:lnTo>
                    <a:pt x="1002" y="3897"/>
                  </a:lnTo>
                  <a:lnTo>
                    <a:pt x="997" y="3915"/>
                  </a:lnTo>
                  <a:lnTo>
                    <a:pt x="992" y="3933"/>
                  </a:lnTo>
                  <a:lnTo>
                    <a:pt x="987" y="3954"/>
                  </a:lnTo>
                  <a:lnTo>
                    <a:pt x="981" y="3977"/>
                  </a:lnTo>
                  <a:lnTo>
                    <a:pt x="976" y="4000"/>
                  </a:lnTo>
                  <a:lnTo>
                    <a:pt x="971" y="4025"/>
                  </a:lnTo>
                  <a:lnTo>
                    <a:pt x="966" y="4051"/>
                  </a:lnTo>
                  <a:lnTo>
                    <a:pt x="962" y="4079"/>
                  </a:lnTo>
                  <a:lnTo>
                    <a:pt x="957" y="4107"/>
                  </a:lnTo>
                  <a:lnTo>
                    <a:pt x="953" y="4137"/>
                  </a:lnTo>
                  <a:lnTo>
                    <a:pt x="949" y="4168"/>
                  </a:lnTo>
                  <a:lnTo>
                    <a:pt x="945" y="4201"/>
                  </a:lnTo>
                  <a:lnTo>
                    <a:pt x="942" y="4235"/>
                  </a:lnTo>
                  <a:lnTo>
                    <a:pt x="940" y="4270"/>
                  </a:lnTo>
                  <a:lnTo>
                    <a:pt x="938" y="4306"/>
                  </a:lnTo>
                  <a:lnTo>
                    <a:pt x="937" y="4344"/>
                  </a:lnTo>
                  <a:lnTo>
                    <a:pt x="936" y="4382"/>
                  </a:lnTo>
                  <a:lnTo>
                    <a:pt x="936" y="4423"/>
                  </a:lnTo>
                  <a:lnTo>
                    <a:pt x="937" y="4464"/>
                  </a:lnTo>
                  <a:lnTo>
                    <a:pt x="938" y="4506"/>
                  </a:lnTo>
                  <a:lnTo>
                    <a:pt x="941" y="4549"/>
                  </a:lnTo>
                  <a:lnTo>
                    <a:pt x="943" y="4575"/>
                  </a:lnTo>
                  <a:lnTo>
                    <a:pt x="943" y="4599"/>
                  </a:lnTo>
                  <a:lnTo>
                    <a:pt x="943" y="4621"/>
                  </a:lnTo>
                  <a:lnTo>
                    <a:pt x="940" y="4643"/>
                  </a:lnTo>
                  <a:lnTo>
                    <a:pt x="937" y="4664"/>
                  </a:lnTo>
                  <a:lnTo>
                    <a:pt x="933" y="4682"/>
                  </a:lnTo>
                  <a:lnTo>
                    <a:pt x="927" y="4700"/>
                  </a:lnTo>
                  <a:lnTo>
                    <a:pt x="921" y="4716"/>
                  </a:lnTo>
                  <a:lnTo>
                    <a:pt x="912" y="4732"/>
                  </a:lnTo>
                  <a:lnTo>
                    <a:pt x="904" y="4746"/>
                  </a:lnTo>
                  <a:lnTo>
                    <a:pt x="896" y="4758"/>
                  </a:lnTo>
                  <a:lnTo>
                    <a:pt x="885" y="4771"/>
                  </a:lnTo>
                  <a:lnTo>
                    <a:pt x="866" y="4792"/>
                  </a:lnTo>
                  <a:lnTo>
                    <a:pt x="844" y="4810"/>
                  </a:lnTo>
                  <a:lnTo>
                    <a:pt x="821" y="4824"/>
                  </a:lnTo>
                  <a:lnTo>
                    <a:pt x="801" y="4836"/>
                  </a:lnTo>
                  <a:lnTo>
                    <a:pt x="780" y="4845"/>
                  </a:lnTo>
                  <a:lnTo>
                    <a:pt x="762" y="4851"/>
                  </a:lnTo>
                  <a:lnTo>
                    <a:pt x="746" y="4856"/>
                  </a:lnTo>
                  <a:lnTo>
                    <a:pt x="740" y="4857"/>
                  </a:lnTo>
                  <a:lnTo>
                    <a:pt x="734" y="4858"/>
                  </a:lnTo>
                  <a:lnTo>
                    <a:pt x="730" y="4859"/>
                  </a:lnTo>
                  <a:lnTo>
                    <a:pt x="725" y="4860"/>
                  </a:lnTo>
                  <a:lnTo>
                    <a:pt x="723" y="4860"/>
                  </a:lnTo>
                  <a:lnTo>
                    <a:pt x="723" y="4860"/>
                  </a:lnTo>
                  <a:lnTo>
                    <a:pt x="723" y="4861"/>
                  </a:lnTo>
                  <a:lnTo>
                    <a:pt x="724" y="4865"/>
                  </a:lnTo>
                  <a:lnTo>
                    <a:pt x="726" y="4869"/>
                  </a:lnTo>
                  <a:lnTo>
                    <a:pt x="728" y="4874"/>
                  </a:lnTo>
                  <a:lnTo>
                    <a:pt x="733" y="4881"/>
                  </a:lnTo>
                  <a:lnTo>
                    <a:pt x="737" y="4889"/>
                  </a:lnTo>
                  <a:lnTo>
                    <a:pt x="741" y="4899"/>
                  </a:lnTo>
                  <a:lnTo>
                    <a:pt x="747" y="4910"/>
                  </a:lnTo>
                  <a:lnTo>
                    <a:pt x="760" y="4933"/>
                  </a:lnTo>
                  <a:lnTo>
                    <a:pt x="777" y="4959"/>
                  </a:lnTo>
                  <a:lnTo>
                    <a:pt x="798" y="4987"/>
                  </a:lnTo>
                  <a:lnTo>
                    <a:pt x="820" y="5017"/>
                  </a:lnTo>
                  <a:lnTo>
                    <a:pt x="847" y="5046"/>
                  </a:lnTo>
                  <a:lnTo>
                    <a:pt x="877" y="5074"/>
                  </a:lnTo>
                  <a:lnTo>
                    <a:pt x="910" y="5100"/>
                  </a:lnTo>
                  <a:lnTo>
                    <a:pt x="946" y="5124"/>
                  </a:lnTo>
                  <a:lnTo>
                    <a:pt x="966" y="5134"/>
                  </a:lnTo>
                  <a:lnTo>
                    <a:pt x="987" y="5144"/>
                  </a:lnTo>
                  <a:lnTo>
                    <a:pt x="1008" y="5152"/>
                  </a:lnTo>
                  <a:lnTo>
                    <a:pt x="1030" y="5159"/>
                  </a:lnTo>
                  <a:lnTo>
                    <a:pt x="1054" y="5164"/>
                  </a:lnTo>
                  <a:lnTo>
                    <a:pt x="1077" y="5168"/>
                  </a:lnTo>
                  <a:lnTo>
                    <a:pt x="1102" y="5171"/>
                  </a:lnTo>
                  <a:lnTo>
                    <a:pt x="1128" y="5173"/>
                  </a:lnTo>
                  <a:lnTo>
                    <a:pt x="1190" y="5173"/>
                  </a:lnTo>
                  <a:lnTo>
                    <a:pt x="1219" y="5168"/>
                  </a:lnTo>
                  <a:lnTo>
                    <a:pt x="1247" y="5163"/>
                  </a:lnTo>
                  <a:lnTo>
                    <a:pt x="1275" y="5155"/>
                  </a:lnTo>
                  <a:lnTo>
                    <a:pt x="1301" y="5146"/>
                  </a:lnTo>
                  <a:lnTo>
                    <a:pt x="1328" y="5133"/>
                  </a:lnTo>
                  <a:lnTo>
                    <a:pt x="1355" y="5120"/>
                  </a:lnTo>
                  <a:lnTo>
                    <a:pt x="1382" y="5104"/>
                  </a:lnTo>
                  <a:lnTo>
                    <a:pt x="1409" y="5085"/>
                  </a:lnTo>
                  <a:lnTo>
                    <a:pt x="1436" y="5064"/>
                  </a:lnTo>
                  <a:lnTo>
                    <a:pt x="1464" y="5041"/>
                  </a:lnTo>
                  <a:lnTo>
                    <a:pt x="1492" y="5015"/>
                  </a:lnTo>
                  <a:lnTo>
                    <a:pt x="1521" y="4986"/>
                  </a:lnTo>
                  <a:lnTo>
                    <a:pt x="1551" y="4955"/>
                  </a:lnTo>
                  <a:lnTo>
                    <a:pt x="1583" y="4921"/>
                  </a:lnTo>
                  <a:lnTo>
                    <a:pt x="1616" y="4885"/>
                  </a:lnTo>
                  <a:lnTo>
                    <a:pt x="1650" y="4845"/>
                  </a:lnTo>
                  <a:lnTo>
                    <a:pt x="1686" y="4803"/>
                  </a:lnTo>
                  <a:lnTo>
                    <a:pt x="1724" y="4757"/>
                  </a:lnTo>
                  <a:lnTo>
                    <a:pt x="1763" y="4709"/>
                  </a:lnTo>
                  <a:lnTo>
                    <a:pt x="1805" y="4657"/>
                  </a:lnTo>
                  <a:lnTo>
                    <a:pt x="1850" y="4603"/>
                  </a:lnTo>
                  <a:lnTo>
                    <a:pt x="1896" y="4544"/>
                  </a:lnTo>
                  <a:lnTo>
                    <a:pt x="1945" y="4483"/>
                  </a:lnTo>
                  <a:lnTo>
                    <a:pt x="1997" y="4419"/>
                  </a:lnTo>
                  <a:lnTo>
                    <a:pt x="2052" y="4351"/>
                  </a:lnTo>
                  <a:lnTo>
                    <a:pt x="2110" y="4278"/>
                  </a:lnTo>
                  <a:lnTo>
                    <a:pt x="2171" y="4203"/>
                  </a:lnTo>
                  <a:lnTo>
                    <a:pt x="2236" y="4124"/>
                  </a:lnTo>
                  <a:lnTo>
                    <a:pt x="2304" y="4042"/>
                  </a:lnTo>
                  <a:lnTo>
                    <a:pt x="2375" y="3955"/>
                  </a:lnTo>
                  <a:lnTo>
                    <a:pt x="2451" y="3864"/>
                  </a:lnTo>
                  <a:lnTo>
                    <a:pt x="2491" y="3818"/>
                  </a:lnTo>
                  <a:lnTo>
                    <a:pt x="2531" y="3770"/>
                  </a:lnTo>
                  <a:lnTo>
                    <a:pt x="2565" y="3730"/>
                  </a:lnTo>
                  <a:lnTo>
                    <a:pt x="2601" y="3692"/>
                  </a:lnTo>
                  <a:lnTo>
                    <a:pt x="2638" y="3655"/>
                  </a:lnTo>
                  <a:lnTo>
                    <a:pt x="2676" y="3619"/>
                  </a:lnTo>
                  <a:lnTo>
                    <a:pt x="2717" y="3583"/>
                  </a:lnTo>
                  <a:lnTo>
                    <a:pt x="2757" y="3548"/>
                  </a:lnTo>
                  <a:lnTo>
                    <a:pt x="2799" y="3514"/>
                  </a:lnTo>
                  <a:lnTo>
                    <a:pt x="2843" y="3481"/>
                  </a:lnTo>
                  <a:lnTo>
                    <a:pt x="2931" y="3417"/>
                  </a:lnTo>
                  <a:lnTo>
                    <a:pt x="3024" y="3357"/>
                  </a:lnTo>
                  <a:lnTo>
                    <a:pt x="3119" y="3299"/>
                  </a:lnTo>
                  <a:lnTo>
                    <a:pt x="3217" y="3244"/>
                  </a:lnTo>
                  <a:lnTo>
                    <a:pt x="3318" y="3193"/>
                  </a:lnTo>
                  <a:lnTo>
                    <a:pt x="3420" y="3144"/>
                  </a:lnTo>
                  <a:lnTo>
                    <a:pt x="3522" y="3098"/>
                  </a:lnTo>
                  <a:lnTo>
                    <a:pt x="3625" y="3055"/>
                  </a:lnTo>
                  <a:lnTo>
                    <a:pt x="3727" y="3015"/>
                  </a:lnTo>
                  <a:lnTo>
                    <a:pt x="3830" y="2976"/>
                  </a:lnTo>
                  <a:lnTo>
                    <a:pt x="3931" y="2941"/>
                  </a:lnTo>
                  <a:lnTo>
                    <a:pt x="4031" y="2908"/>
                  </a:lnTo>
                  <a:lnTo>
                    <a:pt x="4128" y="2879"/>
                  </a:lnTo>
                  <a:lnTo>
                    <a:pt x="4223" y="2851"/>
                  </a:lnTo>
                  <a:lnTo>
                    <a:pt x="4315" y="2825"/>
                  </a:lnTo>
                  <a:lnTo>
                    <a:pt x="4359" y="2814"/>
                  </a:lnTo>
                  <a:lnTo>
                    <a:pt x="4403" y="2802"/>
                  </a:lnTo>
                  <a:lnTo>
                    <a:pt x="4445" y="2792"/>
                  </a:lnTo>
                  <a:lnTo>
                    <a:pt x="4487" y="2782"/>
                  </a:lnTo>
                  <a:lnTo>
                    <a:pt x="4527" y="2771"/>
                  </a:lnTo>
                  <a:lnTo>
                    <a:pt x="4567" y="2762"/>
                  </a:lnTo>
                  <a:lnTo>
                    <a:pt x="4604" y="2754"/>
                  </a:lnTo>
                  <a:lnTo>
                    <a:pt x="4640" y="2746"/>
                  </a:lnTo>
                  <a:lnTo>
                    <a:pt x="4675" y="2739"/>
                  </a:lnTo>
                  <a:lnTo>
                    <a:pt x="4709" y="2731"/>
                  </a:lnTo>
                  <a:lnTo>
                    <a:pt x="4741" y="2724"/>
                  </a:lnTo>
                  <a:lnTo>
                    <a:pt x="4771" y="2719"/>
                  </a:lnTo>
                  <a:lnTo>
                    <a:pt x="4800" y="2713"/>
                  </a:lnTo>
                  <a:lnTo>
                    <a:pt x="4827" y="2708"/>
                  </a:lnTo>
                  <a:lnTo>
                    <a:pt x="4853" y="2702"/>
                  </a:lnTo>
                  <a:lnTo>
                    <a:pt x="4875" y="2698"/>
                  </a:lnTo>
                  <a:lnTo>
                    <a:pt x="4897" y="2695"/>
                  </a:lnTo>
                  <a:lnTo>
                    <a:pt x="4917" y="2691"/>
                  </a:lnTo>
                  <a:lnTo>
                    <a:pt x="4934" y="2688"/>
                  </a:lnTo>
                  <a:lnTo>
                    <a:pt x="4949" y="2686"/>
                  </a:lnTo>
                  <a:lnTo>
                    <a:pt x="4962" y="2684"/>
                  </a:lnTo>
                  <a:lnTo>
                    <a:pt x="4973" y="2682"/>
                  </a:lnTo>
                  <a:lnTo>
                    <a:pt x="4982" y="2681"/>
                  </a:lnTo>
                  <a:lnTo>
                    <a:pt x="4988" y="2680"/>
                  </a:lnTo>
                  <a:lnTo>
                    <a:pt x="4992" y="2679"/>
                  </a:lnTo>
                  <a:lnTo>
                    <a:pt x="4993" y="2679"/>
                  </a:lnTo>
                  <a:lnTo>
                    <a:pt x="4991" y="2681"/>
                  </a:lnTo>
                  <a:lnTo>
                    <a:pt x="4986" y="2686"/>
                  </a:lnTo>
                  <a:lnTo>
                    <a:pt x="4978" y="2695"/>
                  </a:lnTo>
                  <a:lnTo>
                    <a:pt x="4967" y="2708"/>
                  </a:lnTo>
                  <a:lnTo>
                    <a:pt x="4953" y="2723"/>
                  </a:lnTo>
                  <a:lnTo>
                    <a:pt x="4936" y="2742"/>
                  </a:lnTo>
                  <a:lnTo>
                    <a:pt x="4918" y="2762"/>
                  </a:lnTo>
                  <a:lnTo>
                    <a:pt x="4897" y="2785"/>
                  </a:lnTo>
                  <a:lnTo>
                    <a:pt x="4873" y="2811"/>
                  </a:lnTo>
                  <a:lnTo>
                    <a:pt x="4848" y="2838"/>
                  </a:lnTo>
                  <a:lnTo>
                    <a:pt x="4822" y="2868"/>
                  </a:lnTo>
                  <a:lnTo>
                    <a:pt x="4794" y="2899"/>
                  </a:lnTo>
                  <a:lnTo>
                    <a:pt x="4765" y="2932"/>
                  </a:lnTo>
                  <a:lnTo>
                    <a:pt x="4734" y="2966"/>
                  </a:lnTo>
                  <a:lnTo>
                    <a:pt x="4702" y="3001"/>
                  </a:lnTo>
                  <a:lnTo>
                    <a:pt x="4670" y="3037"/>
                  </a:lnTo>
                  <a:lnTo>
                    <a:pt x="4603" y="3111"/>
                  </a:lnTo>
                  <a:lnTo>
                    <a:pt x="4535" y="3188"/>
                  </a:lnTo>
                  <a:lnTo>
                    <a:pt x="4468" y="3263"/>
                  </a:lnTo>
                  <a:lnTo>
                    <a:pt x="4401" y="3337"/>
                  </a:lnTo>
                  <a:lnTo>
                    <a:pt x="4369" y="3372"/>
                  </a:lnTo>
                  <a:lnTo>
                    <a:pt x="4339" y="3407"/>
                  </a:lnTo>
                  <a:lnTo>
                    <a:pt x="4309" y="3440"/>
                  </a:lnTo>
                  <a:lnTo>
                    <a:pt x="4280" y="3473"/>
                  </a:lnTo>
                  <a:lnTo>
                    <a:pt x="4253" y="3503"/>
                  </a:lnTo>
                  <a:lnTo>
                    <a:pt x="4227" y="3532"/>
                  </a:lnTo>
                  <a:lnTo>
                    <a:pt x="4204" y="3558"/>
                  </a:lnTo>
                  <a:lnTo>
                    <a:pt x="4183" y="3583"/>
                  </a:lnTo>
                  <a:lnTo>
                    <a:pt x="4164" y="3607"/>
                  </a:lnTo>
                  <a:lnTo>
                    <a:pt x="4143" y="3634"/>
                  </a:lnTo>
                  <a:lnTo>
                    <a:pt x="4121" y="3661"/>
                  </a:lnTo>
                  <a:lnTo>
                    <a:pt x="4097" y="3691"/>
                  </a:lnTo>
                  <a:lnTo>
                    <a:pt x="4071" y="3723"/>
                  </a:lnTo>
                  <a:lnTo>
                    <a:pt x="4044" y="3756"/>
                  </a:lnTo>
                  <a:lnTo>
                    <a:pt x="4016" y="3791"/>
                  </a:lnTo>
                  <a:lnTo>
                    <a:pt x="3988" y="3828"/>
                  </a:lnTo>
                  <a:lnTo>
                    <a:pt x="3958" y="3865"/>
                  </a:lnTo>
                  <a:lnTo>
                    <a:pt x="3927" y="3905"/>
                  </a:lnTo>
                  <a:lnTo>
                    <a:pt x="3897" y="3945"/>
                  </a:lnTo>
                  <a:lnTo>
                    <a:pt x="3866" y="3987"/>
                  </a:lnTo>
                  <a:lnTo>
                    <a:pt x="3834" y="4029"/>
                  </a:lnTo>
                  <a:lnTo>
                    <a:pt x="3803" y="4073"/>
                  </a:lnTo>
                  <a:lnTo>
                    <a:pt x="3742" y="4163"/>
                  </a:lnTo>
                  <a:lnTo>
                    <a:pt x="3684" y="4257"/>
                  </a:lnTo>
                  <a:lnTo>
                    <a:pt x="3656" y="4305"/>
                  </a:lnTo>
                  <a:lnTo>
                    <a:pt x="3629" y="4354"/>
                  </a:lnTo>
                  <a:lnTo>
                    <a:pt x="3605" y="4402"/>
                  </a:lnTo>
                  <a:lnTo>
                    <a:pt x="3581" y="4451"/>
                  </a:lnTo>
                  <a:lnTo>
                    <a:pt x="3558" y="4502"/>
                  </a:lnTo>
                  <a:lnTo>
                    <a:pt x="3538" y="4551"/>
                  </a:lnTo>
                  <a:lnTo>
                    <a:pt x="3520" y="4602"/>
                  </a:lnTo>
                  <a:lnTo>
                    <a:pt x="3504" y="4652"/>
                  </a:lnTo>
                  <a:lnTo>
                    <a:pt x="3491" y="4703"/>
                  </a:lnTo>
                  <a:lnTo>
                    <a:pt x="3480" y="4753"/>
                  </a:lnTo>
                  <a:lnTo>
                    <a:pt x="3471" y="4804"/>
                  </a:lnTo>
                  <a:lnTo>
                    <a:pt x="3466" y="4854"/>
                  </a:lnTo>
                  <a:lnTo>
                    <a:pt x="3464" y="4905"/>
                  </a:lnTo>
                  <a:lnTo>
                    <a:pt x="3465" y="4954"/>
                  </a:lnTo>
                  <a:lnTo>
                    <a:pt x="3469" y="4984"/>
                  </a:lnTo>
                  <a:lnTo>
                    <a:pt x="3474" y="5014"/>
                  </a:lnTo>
                  <a:lnTo>
                    <a:pt x="3482" y="5045"/>
                  </a:lnTo>
                  <a:lnTo>
                    <a:pt x="3491" y="5076"/>
                  </a:lnTo>
                  <a:lnTo>
                    <a:pt x="3501" y="5107"/>
                  </a:lnTo>
                  <a:lnTo>
                    <a:pt x="3513" y="5139"/>
                  </a:lnTo>
                  <a:lnTo>
                    <a:pt x="3526" y="5170"/>
                  </a:lnTo>
                  <a:lnTo>
                    <a:pt x="3541" y="5202"/>
                  </a:lnTo>
                  <a:lnTo>
                    <a:pt x="3557" y="5234"/>
                  </a:lnTo>
                  <a:lnTo>
                    <a:pt x="3574" y="5267"/>
                  </a:lnTo>
                  <a:lnTo>
                    <a:pt x="3591" y="5300"/>
                  </a:lnTo>
                  <a:lnTo>
                    <a:pt x="3611" y="5333"/>
                  </a:lnTo>
                  <a:lnTo>
                    <a:pt x="3651" y="5399"/>
                  </a:lnTo>
                  <a:lnTo>
                    <a:pt x="3695" y="5465"/>
                  </a:lnTo>
                  <a:lnTo>
                    <a:pt x="3742" y="5530"/>
                  </a:lnTo>
                  <a:lnTo>
                    <a:pt x="3790" y="5595"/>
                  </a:lnTo>
                  <a:lnTo>
                    <a:pt x="3840" y="5659"/>
                  </a:lnTo>
                  <a:lnTo>
                    <a:pt x="3890" y="5722"/>
                  </a:lnTo>
                  <a:lnTo>
                    <a:pt x="3941" y="5782"/>
                  </a:lnTo>
                  <a:lnTo>
                    <a:pt x="3992" y="5841"/>
                  </a:lnTo>
                  <a:lnTo>
                    <a:pt x="4041" y="5898"/>
                  </a:lnTo>
                  <a:lnTo>
                    <a:pt x="4089" y="5951"/>
                  </a:lnTo>
                  <a:lnTo>
                    <a:pt x="4117" y="5986"/>
                  </a:lnTo>
                  <a:lnTo>
                    <a:pt x="4141" y="6020"/>
                  </a:lnTo>
                  <a:lnTo>
                    <a:pt x="4164" y="6052"/>
                  </a:lnTo>
                  <a:lnTo>
                    <a:pt x="4184" y="6084"/>
                  </a:lnTo>
                  <a:lnTo>
                    <a:pt x="4201" y="6114"/>
                  </a:lnTo>
                  <a:lnTo>
                    <a:pt x="4217" y="6142"/>
                  </a:lnTo>
                  <a:lnTo>
                    <a:pt x="4230" y="6169"/>
                  </a:lnTo>
                  <a:lnTo>
                    <a:pt x="4240" y="6193"/>
                  </a:lnTo>
                  <a:lnTo>
                    <a:pt x="4250" y="6215"/>
                  </a:lnTo>
                  <a:lnTo>
                    <a:pt x="4258" y="6236"/>
                  </a:lnTo>
                  <a:lnTo>
                    <a:pt x="4264" y="6253"/>
                  </a:lnTo>
                  <a:lnTo>
                    <a:pt x="4268" y="6267"/>
                  </a:lnTo>
                  <a:lnTo>
                    <a:pt x="4272" y="6279"/>
                  </a:lnTo>
                  <a:lnTo>
                    <a:pt x="4275" y="6287"/>
                  </a:lnTo>
                  <a:lnTo>
                    <a:pt x="4276" y="6293"/>
                  </a:lnTo>
                  <a:lnTo>
                    <a:pt x="4276" y="6294"/>
                  </a:lnTo>
                  <a:lnTo>
                    <a:pt x="3902" y="6856"/>
                  </a:lnTo>
                  <a:lnTo>
                    <a:pt x="3902" y="6856"/>
                  </a:lnTo>
                  <a:lnTo>
                    <a:pt x="3904" y="6858"/>
                  </a:lnTo>
                  <a:lnTo>
                    <a:pt x="3906" y="6861"/>
                  </a:lnTo>
                  <a:lnTo>
                    <a:pt x="3909" y="6865"/>
                  </a:lnTo>
                  <a:lnTo>
                    <a:pt x="3914" y="6870"/>
                  </a:lnTo>
                  <a:lnTo>
                    <a:pt x="3919" y="6877"/>
                  </a:lnTo>
                  <a:lnTo>
                    <a:pt x="3926" y="6884"/>
                  </a:lnTo>
                  <a:lnTo>
                    <a:pt x="3932" y="6893"/>
                  </a:lnTo>
                  <a:lnTo>
                    <a:pt x="3948" y="6912"/>
                  </a:lnTo>
                  <a:lnTo>
                    <a:pt x="3968" y="6936"/>
                  </a:lnTo>
                  <a:lnTo>
                    <a:pt x="3992" y="6963"/>
                  </a:lnTo>
                  <a:lnTo>
                    <a:pt x="4017" y="6993"/>
                  </a:lnTo>
                  <a:lnTo>
                    <a:pt x="4045" y="7025"/>
                  </a:lnTo>
                  <a:lnTo>
                    <a:pt x="4077" y="7059"/>
                  </a:lnTo>
                  <a:lnTo>
                    <a:pt x="4110" y="7095"/>
                  </a:lnTo>
                  <a:lnTo>
                    <a:pt x="4147" y="7133"/>
                  </a:lnTo>
                  <a:lnTo>
                    <a:pt x="4185" y="7173"/>
                  </a:lnTo>
                  <a:lnTo>
                    <a:pt x="4225" y="7213"/>
                  </a:lnTo>
                  <a:lnTo>
                    <a:pt x="4267" y="7254"/>
                  </a:lnTo>
                  <a:lnTo>
                    <a:pt x="4311" y="7295"/>
                  </a:lnTo>
                  <a:lnTo>
                    <a:pt x="4356" y="7338"/>
                  </a:lnTo>
                  <a:lnTo>
                    <a:pt x="4403" y="7379"/>
                  </a:lnTo>
                  <a:lnTo>
                    <a:pt x="4451" y="7419"/>
                  </a:lnTo>
                  <a:lnTo>
                    <a:pt x="4500" y="7459"/>
                  </a:lnTo>
                  <a:lnTo>
                    <a:pt x="4550" y="7498"/>
                  </a:lnTo>
                  <a:lnTo>
                    <a:pt x="4601" y="7535"/>
                  </a:lnTo>
                  <a:lnTo>
                    <a:pt x="4652" y="7571"/>
                  </a:lnTo>
                  <a:lnTo>
                    <a:pt x="4704" y="7604"/>
                  </a:lnTo>
                  <a:lnTo>
                    <a:pt x="4756" y="7635"/>
                  </a:lnTo>
                  <a:lnTo>
                    <a:pt x="4808" y="7664"/>
                  </a:lnTo>
                  <a:lnTo>
                    <a:pt x="4861" y="7690"/>
                  </a:lnTo>
                  <a:lnTo>
                    <a:pt x="4912" y="7712"/>
                  </a:lnTo>
                  <a:lnTo>
                    <a:pt x="4965" y="7730"/>
                  </a:lnTo>
                  <a:lnTo>
                    <a:pt x="4991" y="7737"/>
                  </a:lnTo>
                  <a:lnTo>
                    <a:pt x="5017" y="7744"/>
                  </a:lnTo>
                  <a:lnTo>
                    <a:pt x="5042" y="7750"/>
                  </a:lnTo>
                  <a:lnTo>
                    <a:pt x="5067" y="7754"/>
                  </a:lnTo>
                  <a:lnTo>
                    <a:pt x="5092" y="7757"/>
                  </a:lnTo>
                  <a:lnTo>
                    <a:pt x="5117" y="7759"/>
                  </a:lnTo>
                  <a:lnTo>
                    <a:pt x="5163" y="7758"/>
                  </a:lnTo>
                  <a:lnTo>
                    <a:pt x="5210" y="7755"/>
                  </a:lnTo>
                  <a:lnTo>
                    <a:pt x="5256" y="7750"/>
                  </a:lnTo>
                  <a:lnTo>
                    <a:pt x="5302" y="7742"/>
                  </a:lnTo>
                  <a:lnTo>
                    <a:pt x="5347" y="7733"/>
                  </a:lnTo>
                  <a:lnTo>
                    <a:pt x="5393" y="7723"/>
                  </a:lnTo>
                  <a:lnTo>
                    <a:pt x="5437" y="7711"/>
                  </a:lnTo>
                  <a:lnTo>
                    <a:pt x="5482" y="7696"/>
                  </a:lnTo>
                  <a:lnTo>
                    <a:pt x="5527" y="7681"/>
                  </a:lnTo>
                  <a:lnTo>
                    <a:pt x="5571" y="7664"/>
                  </a:lnTo>
                  <a:lnTo>
                    <a:pt x="5616" y="7646"/>
                  </a:lnTo>
                  <a:lnTo>
                    <a:pt x="5660" y="7626"/>
                  </a:lnTo>
                  <a:lnTo>
                    <a:pt x="5704" y="7605"/>
                  </a:lnTo>
                  <a:lnTo>
                    <a:pt x="5749" y="7584"/>
                  </a:lnTo>
                  <a:lnTo>
                    <a:pt x="5838" y="7538"/>
                  </a:lnTo>
                  <a:lnTo>
                    <a:pt x="5927" y="7487"/>
                  </a:lnTo>
                  <a:lnTo>
                    <a:pt x="6017" y="7435"/>
                  </a:lnTo>
                  <a:lnTo>
                    <a:pt x="6108" y="7381"/>
                  </a:lnTo>
                  <a:lnTo>
                    <a:pt x="6200" y="7325"/>
                  </a:lnTo>
                  <a:lnTo>
                    <a:pt x="6293" y="7269"/>
                  </a:lnTo>
                  <a:lnTo>
                    <a:pt x="6388" y="7213"/>
                  </a:lnTo>
                  <a:lnTo>
                    <a:pt x="6484" y="7158"/>
                  </a:lnTo>
                  <a:lnTo>
                    <a:pt x="6582" y="7105"/>
                  </a:lnTo>
                  <a:lnTo>
                    <a:pt x="6618" y="7087"/>
                  </a:lnTo>
                  <a:lnTo>
                    <a:pt x="6653" y="7072"/>
                  </a:lnTo>
                  <a:lnTo>
                    <a:pt x="6690" y="7059"/>
                  </a:lnTo>
                  <a:lnTo>
                    <a:pt x="6727" y="7045"/>
                  </a:lnTo>
                  <a:lnTo>
                    <a:pt x="6764" y="7034"/>
                  </a:lnTo>
                  <a:lnTo>
                    <a:pt x="6803" y="7025"/>
                  </a:lnTo>
                  <a:lnTo>
                    <a:pt x="6840" y="7015"/>
                  </a:lnTo>
                  <a:lnTo>
                    <a:pt x="6878" y="7007"/>
                  </a:lnTo>
                  <a:lnTo>
                    <a:pt x="6916" y="7001"/>
                  </a:lnTo>
                  <a:lnTo>
                    <a:pt x="6954" y="6995"/>
                  </a:lnTo>
                  <a:lnTo>
                    <a:pt x="7029" y="6986"/>
                  </a:lnTo>
                  <a:lnTo>
                    <a:pt x="7103" y="6981"/>
                  </a:lnTo>
                  <a:lnTo>
                    <a:pt x="7174" y="6980"/>
                  </a:lnTo>
                  <a:lnTo>
                    <a:pt x="7237" y="6981"/>
                  </a:lnTo>
                  <a:lnTo>
                    <a:pt x="7298" y="6984"/>
                  </a:lnTo>
                  <a:lnTo>
                    <a:pt x="7356" y="6988"/>
                  </a:lnTo>
                  <a:lnTo>
                    <a:pt x="7411" y="6995"/>
                  </a:lnTo>
                  <a:lnTo>
                    <a:pt x="7463" y="7002"/>
                  </a:lnTo>
                  <a:lnTo>
                    <a:pt x="7512" y="7009"/>
                  </a:lnTo>
                  <a:lnTo>
                    <a:pt x="7557" y="7018"/>
                  </a:lnTo>
                  <a:lnTo>
                    <a:pt x="7599" y="7027"/>
                  </a:lnTo>
                  <a:lnTo>
                    <a:pt x="7618" y="7031"/>
                  </a:lnTo>
                  <a:lnTo>
                    <a:pt x="7636" y="7035"/>
                  </a:lnTo>
                  <a:lnTo>
                    <a:pt x="7653" y="7040"/>
                  </a:lnTo>
                  <a:lnTo>
                    <a:pt x="7669" y="7044"/>
                  </a:lnTo>
                  <a:lnTo>
                    <a:pt x="7684" y="7048"/>
                  </a:lnTo>
                  <a:lnTo>
                    <a:pt x="7698" y="7051"/>
                  </a:lnTo>
                  <a:lnTo>
                    <a:pt x="7710" y="7055"/>
                  </a:lnTo>
                  <a:lnTo>
                    <a:pt x="7721" y="7059"/>
                  </a:lnTo>
                  <a:lnTo>
                    <a:pt x="7732" y="7062"/>
                  </a:lnTo>
                  <a:lnTo>
                    <a:pt x="7741" y="7065"/>
                  </a:lnTo>
                  <a:lnTo>
                    <a:pt x="7748" y="7067"/>
                  </a:lnTo>
                  <a:lnTo>
                    <a:pt x="7754" y="7069"/>
                  </a:lnTo>
                  <a:lnTo>
                    <a:pt x="7760" y="7071"/>
                  </a:lnTo>
                  <a:lnTo>
                    <a:pt x="7763" y="7072"/>
                  </a:lnTo>
                  <a:lnTo>
                    <a:pt x="7766" y="7073"/>
                  </a:lnTo>
                  <a:lnTo>
                    <a:pt x="7766" y="7073"/>
                  </a:lnTo>
                  <a:lnTo>
                    <a:pt x="7766" y="7073"/>
                  </a:lnTo>
                  <a:lnTo>
                    <a:pt x="7767" y="7071"/>
                  </a:lnTo>
                  <a:lnTo>
                    <a:pt x="7768" y="7069"/>
                  </a:lnTo>
                  <a:lnTo>
                    <a:pt x="7769" y="7065"/>
                  </a:lnTo>
                  <a:lnTo>
                    <a:pt x="7772" y="7054"/>
                  </a:lnTo>
                  <a:lnTo>
                    <a:pt x="7775" y="7040"/>
                  </a:lnTo>
                  <a:lnTo>
                    <a:pt x="7780" y="7021"/>
                  </a:lnTo>
                  <a:lnTo>
                    <a:pt x="7786" y="7000"/>
                  </a:lnTo>
                  <a:lnTo>
                    <a:pt x="7794" y="6974"/>
                  </a:lnTo>
                  <a:lnTo>
                    <a:pt x="7801" y="6945"/>
                  </a:lnTo>
                  <a:lnTo>
                    <a:pt x="7809" y="6913"/>
                  </a:lnTo>
                  <a:lnTo>
                    <a:pt x="7817" y="6879"/>
                  </a:lnTo>
                  <a:lnTo>
                    <a:pt x="7827" y="6841"/>
                  </a:lnTo>
                  <a:lnTo>
                    <a:pt x="7837" y="6800"/>
                  </a:lnTo>
                  <a:lnTo>
                    <a:pt x="7847" y="6758"/>
                  </a:lnTo>
                  <a:lnTo>
                    <a:pt x="7858" y="6711"/>
                  </a:lnTo>
                  <a:lnTo>
                    <a:pt x="7868" y="6664"/>
                  </a:lnTo>
                  <a:lnTo>
                    <a:pt x="7879" y="6614"/>
                  </a:lnTo>
                  <a:lnTo>
                    <a:pt x="7890" y="6562"/>
                  </a:lnTo>
                  <a:lnTo>
                    <a:pt x="7901" y="6507"/>
                  </a:lnTo>
                  <a:lnTo>
                    <a:pt x="7912" y="6452"/>
                  </a:lnTo>
                  <a:lnTo>
                    <a:pt x="7923" y="6395"/>
                  </a:lnTo>
                  <a:lnTo>
                    <a:pt x="7933" y="6336"/>
                  </a:lnTo>
                  <a:lnTo>
                    <a:pt x="7943" y="6276"/>
                  </a:lnTo>
                  <a:lnTo>
                    <a:pt x="7954" y="6215"/>
                  </a:lnTo>
                  <a:lnTo>
                    <a:pt x="7963" y="6153"/>
                  </a:lnTo>
                  <a:lnTo>
                    <a:pt x="7981" y="6026"/>
                  </a:lnTo>
                  <a:lnTo>
                    <a:pt x="7996" y="5899"/>
                  </a:lnTo>
                  <a:lnTo>
                    <a:pt x="8007" y="5769"/>
                  </a:lnTo>
                  <a:lnTo>
                    <a:pt x="8012" y="5704"/>
                  </a:lnTo>
                  <a:lnTo>
                    <a:pt x="8016" y="5640"/>
                  </a:lnTo>
                  <a:lnTo>
                    <a:pt x="8017" y="5597"/>
                  </a:lnTo>
                  <a:lnTo>
                    <a:pt x="8017" y="5555"/>
                  </a:lnTo>
                  <a:lnTo>
                    <a:pt x="8017" y="5513"/>
                  </a:lnTo>
                  <a:lnTo>
                    <a:pt x="8016" y="5473"/>
                  </a:lnTo>
                  <a:lnTo>
                    <a:pt x="8012" y="5397"/>
                  </a:lnTo>
                  <a:lnTo>
                    <a:pt x="8004" y="5323"/>
                  </a:lnTo>
                  <a:lnTo>
                    <a:pt x="7996" y="5253"/>
                  </a:lnTo>
                  <a:lnTo>
                    <a:pt x="7986" y="5186"/>
                  </a:lnTo>
                  <a:lnTo>
                    <a:pt x="7972" y="5121"/>
                  </a:lnTo>
                  <a:lnTo>
                    <a:pt x="7959" y="5058"/>
                  </a:lnTo>
                  <a:lnTo>
                    <a:pt x="7943" y="4997"/>
                  </a:lnTo>
                  <a:lnTo>
                    <a:pt x="7927" y="4938"/>
                  </a:lnTo>
                  <a:lnTo>
                    <a:pt x="7892" y="4820"/>
                  </a:lnTo>
                  <a:lnTo>
                    <a:pt x="7855" y="4704"/>
                  </a:lnTo>
                  <a:lnTo>
                    <a:pt x="7835" y="4644"/>
                  </a:lnTo>
                  <a:lnTo>
                    <a:pt x="7817" y="4584"/>
                  </a:lnTo>
                  <a:lnTo>
                    <a:pt x="7799" y="4523"/>
                  </a:lnTo>
                  <a:lnTo>
                    <a:pt x="7781" y="4460"/>
                  </a:lnTo>
                  <a:lnTo>
                    <a:pt x="7765" y="4395"/>
                  </a:lnTo>
                  <a:lnTo>
                    <a:pt x="7750" y="4327"/>
                  </a:lnTo>
                  <a:lnTo>
                    <a:pt x="7736" y="4256"/>
                  </a:lnTo>
                  <a:lnTo>
                    <a:pt x="7723" y="4183"/>
                  </a:lnTo>
                  <a:lnTo>
                    <a:pt x="7713" y="4104"/>
                  </a:lnTo>
                  <a:lnTo>
                    <a:pt x="7709" y="4064"/>
                  </a:lnTo>
                  <a:lnTo>
                    <a:pt x="7705" y="4023"/>
                  </a:lnTo>
                  <a:lnTo>
                    <a:pt x="7701" y="3981"/>
                  </a:lnTo>
                  <a:lnTo>
                    <a:pt x="7698" y="3936"/>
                  </a:lnTo>
                  <a:lnTo>
                    <a:pt x="7696" y="3892"/>
                  </a:lnTo>
                  <a:lnTo>
                    <a:pt x="7695" y="3846"/>
                  </a:lnTo>
                  <a:lnTo>
                    <a:pt x="7694" y="3798"/>
                  </a:lnTo>
                  <a:lnTo>
                    <a:pt x="7694" y="3750"/>
                  </a:lnTo>
                  <a:lnTo>
                    <a:pt x="7694" y="3700"/>
                  </a:lnTo>
                  <a:lnTo>
                    <a:pt x="7695" y="3648"/>
                  </a:lnTo>
                  <a:lnTo>
                    <a:pt x="7697" y="3596"/>
                  </a:lnTo>
                  <a:lnTo>
                    <a:pt x="7700" y="3541"/>
                  </a:lnTo>
                  <a:lnTo>
                    <a:pt x="7703" y="3484"/>
                  </a:lnTo>
                  <a:lnTo>
                    <a:pt x="7708" y="3427"/>
                  </a:lnTo>
                  <a:lnTo>
                    <a:pt x="7713" y="3367"/>
                  </a:lnTo>
                  <a:lnTo>
                    <a:pt x="7719" y="3306"/>
                  </a:lnTo>
                  <a:lnTo>
                    <a:pt x="7727" y="3243"/>
                  </a:lnTo>
                  <a:lnTo>
                    <a:pt x="7735" y="3178"/>
                  </a:lnTo>
                  <a:lnTo>
                    <a:pt x="7715" y="3213"/>
                  </a:lnTo>
                  <a:lnTo>
                    <a:pt x="7695" y="3250"/>
                  </a:lnTo>
                  <a:lnTo>
                    <a:pt x="7675" y="3289"/>
                  </a:lnTo>
                  <a:lnTo>
                    <a:pt x="7655" y="3328"/>
                  </a:lnTo>
                  <a:lnTo>
                    <a:pt x="7637" y="3368"/>
                  </a:lnTo>
                  <a:lnTo>
                    <a:pt x="7618" y="3410"/>
                  </a:lnTo>
                  <a:lnTo>
                    <a:pt x="7601" y="3453"/>
                  </a:lnTo>
                  <a:lnTo>
                    <a:pt x="7584" y="3499"/>
                  </a:lnTo>
                  <a:lnTo>
                    <a:pt x="7568" y="3545"/>
                  </a:lnTo>
                  <a:lnTo>
                    <a:pt x="7552" y="3592"/>
                  </a:lnTo>
                  <a:lnTo>
                    <a:pt x="7538" y="3643"/>
                  </a:lnTo>
                  <a:lnTo>
                    <a:pt x="7524" y="3694"/>
                  </a:lnTo>
                  <a:lnTo>
                    <a:pt x="7512" y="3747"/>
                  </a:lnTo>
                  <a:lnTo>
                    <a:pt x="7501" y="3803"/>
                  </a:lnTo>
                  <a:lnTo>
                    <a:pt x="7490" y="3859"/>
                  </a:lnTo>
                  <a:lnTo>
                    <a:pt x="7482" y="3918"/>
                  </a:lnTo>
                  <a:lnTo>
                    <a:pt x="7475" y="3979"/>
                  </a:lnTo>
                  <a:lnTo>
                    <a:pt x="7469" y="4042"/>
                  </a:lnTo>
                  <a:lnTo>
                    <a:pt x="7464" y="4107"/>
                  </a:lnTo>
                  <a:lnTo>
                    <a:pt x="7461" y="4174"/>
                  </a:lnTo>
                  <a:lnTo>
                    <a:pt x="7460" y="4243"/>
                  </a:lnTo>
                  <a:lnTo>
                    <a:pt x="7461" y="4316"/>
                  </a:lnTo>
                  <a:lnTo>
                    <a:pt x="7463" y="4390"/>
                  </a:lnTo>
                  <a:lnTo>
                    <a:pt x="7467" y="4466"/>
                  </a:lnTo>
                  <a:lnTo>
                    <a:pt x="7474" y="4545"/>
                  </a:lnTo>
                  <a:lnTo>
                    <a:pt x="7482" y="4627"/>
                  </a:lnTo>
                  <a:lnTo>
                    <a:pt x="7493" y="4711"/>
                  </a:lnTo>
                  <a:lnTo>
                    <a:pt x="7506" y="4798"/>
                  </a:lnTo>
                  <a:lnTo>
                    <a:pt x="7520" y="4887"/>
                  </a:lnTo>
                  <a:lnTo>
                    <a:pt x="7538" y="4980"/>
                  </a:lnTo>
                  <a:lnTo>
                    <a:pt x="7557" y="5075"/>
                  </a:lnTo>
                  <a:lnTo>
                    <a:pt x="7579" y="5173"/>
                  </a:lnTo>
                  <a:lnTo>
                    <a:pt x="7592" y="5228"/>
                  </a:lnTo>
                  <a:lnTo>
                    <a:pt x="7603" y="5287"/>
                  </a:lnTo>
                  <a:lnTo>
                    <a:pt x="7611" y="5346"/>
                  </a:lnTo>
                  <a:lnTo>
                    <a:pt x="7616" y="5405"/>
                  </a:lnTo>
                  <a:lnTo>
                    <a:pt x="7619" y="5466"/>
                  </a:lnTo>
                  <a:lnTo>
                    <a:pt x="7620" y="5528"/>
                  </a:lnTo>
                  <a:lnTo>
                    <a:pt x="7619" y="5589"/>
                  </a:lnTo>
                  <a:lnTo>
                    <a:pt x="7616" y="5651"/>
                  </a:lnTo>
                  <a:lnTo>
                    <a:pt x="7611" y="5713"/>
                  </a:lnTo>
                  <a:lnTo>
                    <a:pt x="7605" y="5774"/>
                  </a:lnTo>
                  <a:lnTo>
                    <a:pt x="7598" y="5836"/>
                  </a:lnTo>
                  <a:lnTo>
                    <a:pt x="7588" y="5896"/>
                  </a:lnTo>
                  <a:lnTo>
                    <a:pt x="7579" y="5955"/>
                  </a:lnTo>
                  <a:lnTo>
                    <a:pt x="7568" y="6014"/>
                  </a:lnTo>
                  <a:lnTo>
                    <a:pt x="7556" y="6071"/>
                  </a:lnTo>
                  <a:lnTo>
                    <a:pt x="7544" y="6126"/>
                  </a:lnTo>
                  <a:lnTo>
                    <a:pt x="7531" y="6181"/>
                  </a:lnTo>
                  <a:lnTo>
                    <a:pt x="7519" y="6232"/>
                  </a:lnTo>
                  <a:lnTo>
                    <a:pt x="7506" y="6282"/>
                  </a:lnTo>
                  <a:lnTo>
                    <a:pt x="7492" y="6329"/>
                  </a:lnTo>
                  <a:lnTo>
                    <a:pt x="7480" y="6375"/>
                  </a:lnTo>
                  <a:lnTo>
                    <a:pt x="7467" y="6417"/>
                  </a:lnTo>
                  <a:lnTo>
                    <a:pt x="7455" y="6456"/>
                  </a:lnTo>
                  <a:lnTo>
                    <a:pt x="7444" y="6491"/>
                  </a:lnTo>
                  <a:lnTo>
                    <a:pt x="7432" y="6524"/>
                  </a:lnTo>
                  <a:lnTo>
                    <a:pt x="7423" y="6553"/>
                  </a:lnTo>
                  <a:lnTo>
                    <a:pt x="7414" y="6578"/>
                  </a:lnTo>
                  <a:lnTo>
                    <a:pt x="7411" y="6589"/>
                  </a:lnTo>
                  <a:lnTo>
                    <a:pt x="7407" y="6598"/>
                  </a:lnTo>
                  <a:lnTo>
                    <a:pt x="7403" y="6607"/>
                  </a:lnTo>
                  <a:lnTo>
                    <a:pt x="7400" y="6615"/>
                  </a:lnTo>
                  <a:lnTo>
                    <a:pt x="7398" y="6622"/>
                  </a:lnTo>
                  <a:lnTo>
                    <a:pt x="7396" y="6627"/>
                  </a:lnTo>
                  <a:lnTo>
                    <a:pt x="7394" y="6631"/>
                  </a:lnTo>
                  <a:lnTo>
                    <a:pt x="7393" y="6634"/>
                  </a:lnTo>
                  <a:lnTo>
                    <a:pt x="7393" y="6636"/>
                  </a:lnTo>
                  <a:lnTo>
                    <a:pt x="7392" y="6637"/>
                  </a:lnTo>
                  <a:lnTo>
                    <a:pt x="7391" y="6636"/>
                  </a:lnTo>
                  <a:lnTo>
                    <a:pt x="7388" y="6635"/>
                  </a:lnTo>
                  <a:lnTo>
                    <a:pt x="7383" y="6634"/>
                  </a:lnTo>
                  <a:lnTo>
                    <a:pt x="7376" y="6632"/>
                  </a:lnTo>
                  <a:lnTo>
                    <a:pt x="7366" y="6630"/>
                  </a:lnTo>
                  <a:lnTo>
                    <a:pt x="7355" y="6627"/>
                  </a:lnTo>
                  <a:lnTo>
                    <a:pt x="7342" y="6625"/>
                  </a:lnTo>
                  <a:lnTo>
                    <a:pt x="7326" y="6622"/>
                  </a:lnTo>
                  <a:lnTo>
                    <a:pt x="7310" y="6619"/>
                  </a:lnTo>
                  <a:lnTo>
                    <a:pt x="7291" y="6616"/>
                  </a:lnTo>
                  <a:lnTo>
                    <a:pt x="7270" y="6614"/>
                  </a:lnTo>
                  <a:lnTo>
                    <a:pt x="7248" y="6610"/>
                  </a:lnTo>
                  <a:lnTo>
                    <a:pt x="7224" y="6609"/>
                  </a:lnTo>
                  <a:lnTo>
                    <a:pt x="7199" y="6607"/>
                  </a:lnTo>
                  <a:lnTo>
                    <a:pt x="7171" y="6606"/>
                  </a:lnTo>
                  <a:lnTo>
                    <a:pt x="7143" y="6606"/>
                  </a:lnTo>
                  <a:lnTo>
                    <a:pt x="7125" y="6606"/>
                  </a:lnTo>
                  <a:lnTo>
                    <a:pt x="7105" y="6606"/>
                  </a:lnTo>
                  <a:lnTo>
                    <a:pt x="7084" y="6606"/>
                  </a:lnTo>
                  <a:lnTo>
                    <a:pt x="7063" y="6606"/>
                  </a:lnTo>
                  <a:lnTo>
                    <a:pt x="7039" y="6607"/>
                  </a:lnTo>
                  <a:lnTo>
                    <a:pt x="7015" y="6607"/>
                  </a:lnTo>
                  <a:lnTo>
                    <a:pt x="6964" y="6610"/>
                  </a:lnTo>
                  <a:lnTo>
                    <a:pt x="6910" y="6614"/>
                  </a:lnTo>
                  <a:lnTo>
                    <a:pt x="6854" y="6619"/>
                  </a:lnTo>
                  <a:lnTo>
                    <a:pt x="6796" y="6627"/>
                  </a:lnTo>
                  <a:lnTo>
                    <a:pt x="6738" y="6637"/>
                  </a:lnTo>
                  <a:lnTo>
                    <a:pt x="6693" y="6648"/>
                  </a:lnTo>
                  <a:lnTo>
                    <a:pt x="6648" y="6660"/>
                  </a:lnTo>
                  <a:lnTo>
                    <a:pt x="6600" y="6675"/>
                  </a:lnTo>
                  <a:lnTo>
                    <a:pt x="6552" y="6692"/>
                  </a:lnTo>
                  <a:lnTo>
                    <a:pt x="6503" y="6711"/>
                  </a:lnTo>
                  <a:lnTo>
                    <a:pt x="6453" y="6733"/>
                  </a:lnTo>
                  <a:lnTo>
                    <a:pt x="6402" y="6756"/>
                  </a:lnTo>
                  <a:lnTo>
                    <a:pt x="6351" y="6779"/>
                  </a:lnTo>
                  <a:lnTo>
                    <a:pt x="6299" y="6805"/>
                  </a:lnTo>
                  <a:lnTo>
                    <a:pt x="6246" y="6832"/>
                  </a:lnTo>
                  <a:lnTo>
                    <a:pt x="6141" y="6889"/>
                  </a:lnTo>
                  <a:lnTo>
                    <a:pt x="6036" y="6947"/>
                  </a:lnTo>
                  <a:lnTo>
                    <a:pt x="5931" y="7007"/>
                  </a:lnTo>
                  <a:lnTo>
                    <a:pt x="5829" y="7067"/>
                  </a:lnTo>
                  <a:lnTo>
                    <a:pt x="5729" y="7124"/>
                  </a:lnTo>
                  <a:lnTo>
                    <a:pt x="5681" y="7152"/>
                  </a:lnTo>
                  <a:lnTo>
                    <a:pt x="5633" y="7179"/>
                  </a:lnTo>
                  <a:lnTo>
                    <a:pt x="5587" y="7205"/>
                  </a:lnTo>
                  <a:lnTo>
                    <a:pt x="5541" y="7228"/>
                  </a:lnTo>
                  <a:lnTo>
                    <a:pt x="5498" y="7251"/>
                  </a:lnTo>
                  <a:lnTo>
                    <a:pt x="5455" y="7273"/>
                  </a:lnTo>
                  <a:lnTo>
                    <a:pt x="5415" y="7292"/>
                  </a:lnTo>
                  <a:lnTo>
                    <a:pt x="5377" y="7309"/>
                  </a:lnTo>
                  <a:lnTo>
                    <a:pt x="5340" y="7324"/>
                  </a:lnTo>
                  <a:lnTo>
                    <a:pt x="5305" y="7337"/>
                  </a:lnTo>
                  <a:lnTo>
                    <a:pt x="5273" y="7347"/>
                  </a:lnTo>
                  <a:lnTo>
                    <a:pt x="5242" y="7354"/>
                  </a:lnTo>
                  <a:lnTo>
                    <a:pt x="5180" y="7354"/>
                  </a:lnTo>
                  <a:lnTo>
                    <a:pt x="5142" y="7352"/>
                  </a:lnTo>
                  <a:lnTo>
                    <a:pt x="5105" y="7349"/>
                  </a:lnTo>
                  <a:lnTo>
                    <a:pt x="5066" y="7343"/>
                  </a:lnTo>
                  <a:lnTo>
                    <a:pt x="5030" y="7334"/>
                  </a:lnTo>
                  <a:lnTo>
                    <a:pt x="4993" y="7323"/>
                  </a:lnTo>
                  <a:lnTo>
                    <a:pt x="4957" y="7311"/>
                  </a:lnTo>
                  <a:lnTo>
                    <a:pt x="4922" y="7296"/>
                  </a:lnTo>
                  <a:lnTo>
                    <a:pt x="4887" y="7281"/>
                  </a:lnTo>
                  <a:lnTo>
                    <a:pt x="4853" y="7264"/>
                  </a:lnTo>
                  <a:lnTo>
                    <a:pt x="4820" y="7245"/>
                  </a:lnTo>
                  <a:lnTo>
                    <a:pt x="4755" y="7206"/>
                  </a:lnTo>
                  <a:lnTo>
                    <a:pt x="4725" y="7185"/>
                  </a:lnTo>
                  <a:lnTo>
                    <a:pt x="4695" y="7164"/>
                  </a:lnTo>
                  <a:lnTo>
                    <a:pt x="4666" y="7142"/>
                  </a:lnTo>
                  <a:lnTo>
                    <a:pt x="4638" y="7120"/>
                  </a:lnTo>
                  <a:lnTo>
                    <a:pt x="4611" y="7099"/>
                  </a:lnTo>
                  <a:lnTo>
                    <a:pt x="4586" y="7076"/>
                  </a:lnTo>
                  <a:lnTo>
                    <a:pt x="4563" y="7055"/>
                  </a:lnTo>
                  <a:lnTo>
                    <a:pt x="4540" y="7034"/>
                  </a:lnTo>
                  <a:lnTo>
                    <a:pt x="4519" y="7014"/>
                  </a:lnTo>
                  <a:lnTo>
                    <a:pt x="4500" y="6995"/>
                  </a:lnTo>
                  <a:lnTo>
                    <a:pt x="4481" y="6976"/>
                  </a:lnTo>
                  <a:lnTo>
                    <a:pt x="4465" y="6960"/>
                  </a:lnTo>
                  <a:lnTo>
                    <a:pt x="4450" y="6943"/>
                  </a:lnTo>
                  <a:lnTo>
                    <a:pt x="4438" y="6930"/>
                  </a:lnTo>
                  <a:lnTo>
                    <a:pt x="4426" y="6917"/>
                  </a:lnTo>
                  <a:lnTo>
                    <a:pt x="4417" y="6906"/>
                  </a:lnTo>
                  <a:lnTo>
                    <a:pt x="4410" y="6898"/>
                  </a:lnTo>
                  <a:lnTo>
                    <a:pt x="4405" y="6892"/>
                  </a:lnTo>
                  <a:lnTo>
                    <a:pt x="4401" y="6888"/>
                  </a:lnTo>
                  <a:lnTo>
                    <a:pt x="4400" y="6887"/>
                  </a:lnTo>
                  <a:lnTo>
                    <a:pt x="5242" y="5142"/>
                  </a:lnTo>
                  <a:lnTo>
                    <a:pt x="4525" y="5983"/>
                  </a:lnTo>
                  <a:lnTo>
                    <a:pt x="4524" y="5981"/>
                  </a:lnTo>
                  <a:lnTo>
                    <a:pt x="4522" y="5977"/>
                  </a:lnTo>
                  <a:lnTo>
                    <a:pt x="4518" y="5970"/>
                  </a:lnTo>
                  <a:lnTo>
                    <a:pt x="4513" y="5959"/>
                  </a:lnTo>
                  <a:lnTo>
                    <a:pt x="4506" y="5946"/>
                  </a:lnTo>
                  <a:lnTo>
                    <a:pt x="4497" y="5931"/>
                  </a:lnTo>
                  <a:lnTo>
                    <a:pt x="4487" y="5911"/>
                  </a:lnTo>
                  <a:lnTo>
                    <a:pt x="4475" y="5889"/>
                  </a:lnTo>
                  <a:lnTo>
                    <a:pt x="4460" y="5865"/>
                  </a:lnTo>
                  <a:lnTo>
                    <a:pt x="4445" y="5837"/>
                  </a:lnTo>
                  <a:lnTo>
                    <a:pt x="4426" y="5806"/>
                  </a:lnTo>
                  <a:lnTo>
                    <a:pt x="4407" y="5772"/>
                  </a:lnTo>
                  <a:lnTo>
                    <a:pt x="4385" y="5736"/>
                  </a:lnTo>
                  <a:lnTo>
                    <a:pt x="4361" y="5697"/>
                  </a:lnTo>
                  <a:lnTo>
                    <a:pt x="4335" y="5654"/>
                  </a:lnTo>
                  <a:lnTo>
                    <a:pt x="4307" y="5608"/>
                  </a:lnTo>
                  <a:lnTo>
                    <a:pt x="4276" y="5562"/>
                  </a:lnTo>
                  <a:lnTo>
                    <a:pt x="4241" y="5517"/>
                  </a:lnTo>
                  <a:lnTo>
                    <a:pt x="4205" y="5471"/>
                  </a:lnTo>
                  <a:lnTo>
                    <a:pt x="4168" y="5426"/>
                  </a:lnTo>
                  <a:lnTo>
                    <a:pt x="4091" y="5336"/>
                  </a:lnTo>
                  <a:lnTo>
                    <a:pt x="4053" y="5292"/>
                  </a:lnTo>
                  <a:lnTo>
                    <a:pt x="4014" y="5247"/>
                  </a:lnTo>
                  <a:lnTo>
                    <a:pt x="3979" y="5201"/>
                  </a:lnTo>
                  <a:lnTo>
                    <a:pt x="3946" y="5155"/>
                  </a:lnTo>
                  <a:lnTo>
                    <a:pt x="3916" y="5109"/>
                  </a:lnTo>
                  <a:lnTo>
                    <a:pt x="3903" y="5085"/>
                  </a:lnTo>
                  <a:lnTo>
                    <a:pt x="3890" y="5061"/>
                  </a:lnTo>
                  <a:lnTo>
                    <a:pt x="3879" y="5037"/>
                  </a:lnTo>
                  <a:lnTo>
                    <a:pt x="3870" y="5013"/>
                  </a:lnTo>
                  <a:lnTo>
                    <a:pt x="3861" y="4988"/>
                  </a:lnTo>
                  <a:lnTo>
                    <a:pt x="3853" y="4963"/>
                  </a:lnTo>
                  <a:lnTo>
                    <a:pt x="3847" y="4938"/>
                  </a:lnTo>
                  <a:lnTo>
                    <a:pt x="3843" y="4913"/>
                  </a:lnTo>
                  <a:lnTo>
                    <a:pt x="3841" y="4887"/>
                  </a:lnTo>
                  <a:lnTo>
                    <a:pt x="3840" y="4860"/>
                  </a:lnTo>
                  <a:lnTo>
                    <a:pt x="3841" y="4833"/>
                  </a:lnTo>
                  <a:lnTo>
                    <a:pt x="3846" y="4803"/>
                  </a:lnTo>
                  <a:lnTo>
                    <a:pt x="3853" y="4770"/>
                  </a:lnTo>
                  <a:lnTo>
                    <a:pt x="3864" y="4734"/>
                  </a:lnTo>
                  <a:lnTo>
                    <a:pt x="3877" y="4696"/>
                  </a:lnTo>
                  <a:lnTo>
                    <a:pt x="3893" y="4655"/>
                  </a:lnTo>
                  <a:lnTo>
                    <a:pt x="3910" y="4612"/>
                  </a:lnTo>
                  <a:lnTo>
                    <a:pt x="3931" y="4568"/>
                  </a:lnTo>
                  <a:lnTo>
                    <a:pt x="3954" y="4522"/>
                  </a:lnTo>
                  <a:lnTo>
                    <a:pt x="3979" y="4473"/>
                  </a:lnTo>
                  <a:lnTo>
                    <a:pt x="4007" y="4423"/>
                  </a:lnTo>
                  <a:lnTo>
                    <a:pt x="4037" y="4371"/>
                  </a:lnTo>
                  <a:lnTo>
                    <a:pt x="4068" y="4319"/>
                  </a:lnTo>
                  <a:lnTo>
                    <a:pt x="4102" y="4264"/>
                  </a:lnTo>
                  <a:lnTo>
                    <a:pt x="4137" y="4208"/>
                  </a:lnTo>
                  <a:lnTo>
                    <a:pt x="4174" y="4152"/>
                  </a:lnTo>
                  <a:lnTo>
                    <a:pt x="4214" y="4094"/>
                  </a:lnTo>
                  <a:lnTo>
                    <a:pt x="4254" y="4036"/>
                  </a:lnTo>
                  <a:lnTo>
                    <a:pt x="4295" y="3978"/>
                  </a:lnTo>
                  <a:lnTo>
                    <a:pt x="4339" y="3918"/>
                  </a:lnTo>
                  <a:lnTo>
                    <a:pt x="4383" y="3858"/>
                  </a:lnTo>
                  <a:lnTo>
                    <a:pt x="4428" y="3798"/>
                  </a:lnTo>
                  <a:lnTo>
                    <a:pt x="4476" y="3738"/>
                  </a:lnTo>
                  <a:lnTo>
                    <a:pt x="4523" y="3678"/>
                  </a:lnTo>
                  <a:lnTo>
                    <a:pt x="4621" y="3557"/>
                  </a:lnTo>
                  <a:lnTo>
                    <a:pt x="4723" y="3439"/>
                  </a:lnTo>
                  <a:lnTo>
                    <a:pt x="4826" y="3323"/>
                  </a:lnTo>
                  <a:lnTo>
                    <a:pt x="4877" y="3265"/>
                  </a:lnTo>
                  <a:lnTo>
                    <a:pt x="4930" y="3209"/>
                  </a:lnTo>
                  <a:lnTo>
                    <a:pt x="5030" y="3097"/>
                  </a:lnTo>
                  <a:lnTo>
                    <a:pt x="5129" y="2984"/>
                  </a:lnTo>
                  <a:lnTo>
                    <a:pt x="5229" y="2870"/>
                  </a:lnTo>
                  <a:lnTo>
                    <a:pt x="5329" y="2758"/>
                  </a:lnTo>
                  <a:lnTo>
                    <a:pt x="5426" y="2648"/>
                  </a:lnTo>
                  <a:lnTo>
                    <a:pt x="5522" y="2541"/>
                  </a:lnTo>
                  <a:lnTo>
                    <a:pt x="5568" y="2489"/>
                  </a:lnTo>
                  <a:lnTo>
                    <a:pt x="5614" y="2438"/>
                  </a:lnTo>
                  <a:lnTo>
                    <a:pt x="5661" y="2388"/>
                  </a:lnTo>
                  <a:lnTo>
                    <a:pt x="5705" y="2340"/>
                  </a:lnTo>
                  <a:lnTo>
                    <a:pt x="5750" y="2294"/>
                  </a:lnTo>
                  <a:lnTo>
                    <a:pt x="5793" y="2248"/>
                  </a:lnTo>
                  <a:lnTo>
                    <a:pt x="5835" y="2205"/>
                  </a:lnTo>
                  <a:lnTo>
                    <a:pt x="5877" y="2164"/>
                  </a:lnTo>
                  <a:lnTo>
                    <a:pt x="5917" y="2125"/>
                  </a:lnTo>
                  <a:lnTo>
                    <a:pt x="5956" y="2089"/>
                  </a:lnTo>
                  <a:lnTo>
                    <a:pt x="5993" y="2054"/>
                  </a:lnTo>
                  <a:lnTo>
                    <a:pt x="6030" y="2022"/>
                  </a:lnTo>
                  <a:lnTo>
                    <a:pt x="6066" y="1992"/>
                  </a:lnTo>
                  <a:lnTo>
                    <a:pt x="6100" y="1965"/>
                  </a:lnTo>
                  <a:lnTo>
                    <a:pt x="6132" y="1941"/>
                  </a:lnTo>
                  <a:lnTo>
                    <a:pt x="6163" y="1920"/>
                  </a:lnTo>
                  <a:lnTo>
                    <a:pt x="6193" y="1902"/>
                  </a:lnTo>
                  <a:lnTo>
                    <a:pt x="6220" y="1888"/>
                  </a:lnTo>
                  <a:lnTo>
                    <a:pt x="6246" y="1876"/>
                  </a:lnTo>
                  <a:lnTo>
                    <a:pt x="6270" y="1869"/>
                  </a:lnTo>
                  <a:lnTo>
                    <a:pt x="6863" y="1775"/>
                  </a:lnTo>
                  <a:lnTo>
                    <a:pt x="6919" y="1767"/>
                  </a:lnTo>
                  <a:lnTo>
                    <a:pt x="6975" y="1758"/>
                  </a:lnTo>
                  <a:lnTo>
                    <a:pt x="7029" y="1749"/>
                  </a:lnTo>
                  <a:lnTo>
                    <a:pt x="7080" y="1739"/>
                  </a:lnTo>
                  <a:lnTo>
                    <a:pt x="7130" y="1730"/>
                  </a:lnTo>
                  <a:lnTo>
                    <a:pt x="7177" y="1721"/>
                  </a:lnTo>
                  <a:lnTo>
                    <a:pt x="7223" y="1712"/>
                  </a:lnTo>
                  <a:lnTo>
                    <a:pt x="7266" y="1702"/>
                  </a:lnTo>
                  <a:lnTo>
                    <a:pt x="7309" y="1693"/>
                  </a:lnTo>
                  <a:lnTo>
                    <a:pt x="7348" y="1684"/>
                  </a:lnTo>
                  <a:lnTo>
                    <a:pt x="7386" y="1674"/>
                  </a:lnTo>
                  <a:lnTo>
                    <a:pt x="7422" y="1665"/>
                  </a:lnTo>
                  <a:lnTo>
                    <a:pt x="7456" y="1657"/>
                  </a:lnTo>
                  <a:lnTo>
                    <a:pt x="7489" y="1648"/>
                  </a:lnTo>
                  <a:lnTo>
                    <a:pt x="7519" y="1639"/>
                  </a:lnTo>
                  <a:lnTo>
                    <a:pt x="7548" y="1631"/>
                  </a:lnTo>
                  <a:lnTo>
                    <a:pt x="7575" y="1623"/>
                  </a:lnTo>
                  <a:lnTo>
                    <a:pt x="7600" y="1616"/>
                  </a:lnTo>
                  <a:lnTo>
                    <a:pt x="7623" y="1609"/>
                  </a:lnTo>
                  <a:lnTo>
                    <a:pt x="7645" y="1601"/>
                  </a:lnTo>
                  <a:lnTo>
                    <a:pt x="7665" y="1595"/>
                  </a:lnTo>
                  <a:lnTo>
                    <a:pt x="7682" y="1589"/>
                  </a:lnTo>
                  <a:lnTo>
                    <a:pt x="7698" y="1584"/>
                  </a:lnTo>
                  <a:lnTo>
                    <a:pt x="7712" y="1579"/>
                  </a:lnTo>
                  <a:lnTo>
                    <a:pt x="7726" y="1574"/>
                  </a:lnTo>
                  <a:lnTo>
                    <a:pt x="7736" y="1569"/>
                  </a:lnTo>
                  <a:lnTo>
                    <a:pt x="7745" y="1566"/>
                  </a:lnTo>
                  <a:lnTo>
                    <a:pt x="7752" y="1563"/>
                  </a:lnTo>
                  <a:lnTo>
                    <a:pt x="7759" y="1560"/>
                  </a:lnTo>
                  <a:lnTo>
                    <a:pt x="7763" y="1559"/>
                  </a:lnTo>
                  <a:lnTo>
                    <a:pt x="7765" y="1558"/>
                  </a:lnTo>
                  <a:lnTo>
                    <a:pt x="7766" y="1557"/>
                  </a:lnTo>
                  <a:lnTo>
                    <a:pt x="6769" y="1589"/>
                  </a:lnTo>
                  <a:lnTo>
                    <a:pt x="6771" y="1588"/>
                  </a:lnTo>
                  <a:lnTo>
                    <a:pt x="6774" y="1585"/>
                  </a:lnTo>
                  <a:lnTo>
                    <a:pt x="6777" y="1581"/>
                  </a:lnTo>
                  <a:lnTo>
                    <a:pt x="6781" y="1575"/>
                  </a:lnTo>
                  <a:lnTo>
                    <a:pt x="6786" y="1567"/>
                  </a:lnTo>
                  <a:lnTo>
                    <a:pt x="6792" y="1558"/>
                  </a:lnTo>
                  <a:lnTo>
                    <a:pt x="6800" y="1548"/>
                  </a:lnTo>
                  <a:lnTo>
                    <a:pt x="6807" y="1535"/>
                  </a:lnTo>
                  <a:lnTo>
                    <a:pt x="6816" y="1522"/>
                  </a:lnTo>
                  <a:lnTo>
                    <a:pt x="6825" y="1507"/>
                  </a:lnTo>
                  <a:lnTo>
                    <a:pt x="6836" y="1491"/>
                  </a:lnTo>
                  <a:lnTo>
                    <a:pt x="6847" y="1474"/>
                  </a:lnTo>
                  <a:lnTo>
                    <a:pt x="6860" y="1455"/>
                  </a:lnTo>
                  <a:lnTo>
                    <a:pt x="6874" y="1436"/>
                  </a:lnTo>
                  <a:lnTo>
                    <a:pt x="6888" y="1415"/>
                  </a:lnTo>
                  <a:lnTo>
                    <a:pt x="6904" y="1394"/>
                  </a:lnTo>
                  <a:lnTo>
                    <a:pt x="6920" y="1372"/>
                  </a:lnTo>
                  <a:lnTo>
                    <a:pt x="6938" y="1348"/>
                  </a:lnTo>
                  <a:lnTo>
                    <a:pt x="6958" y="1324"/>
                  </a:lnTo>
                  <a:lnTo>
                    <a:pt x="6977" y="1300"/>
                  </a:lnTo>
                  <a:lnTo>
                    <a:pt x="6999" y="1274"/>
                  </a:lnTo>
                  <a:lnTo>
                    <a:pt x="7020" y="1248"/>
                  </a:lnTo>
                  <a:lnTo>
                    <a:pt x="7044" y="1221"/>
                  </a:lnTo>
                  <a:lnTo>
                    <a:pt x="7069" y="1194"/>
                  </a:lnTo>
                  <a:lnTo>
                    <a:pt x="7095" y="1167"/>
                  </a:lnTo>
                  <a:lnTo>
                    <a:pt x="7122" y="1139"/>
                  </a:lnTo>
                  <a:lnTo>
                    <a:pt x="7150" y="1110"/>
                  </a:lnTo>
                  <a:lnTo>
                    <a:pt x="7179" y="1081"/>
                  </a:lnTo>
                  <a:lnTo>
                    <a:pt x="7210" y="1052"/>
                  </a:lnTo>
                  <a:lnTo>
                    <a:pt x="7242" y="1023"/>
                  </a:lnTo>
                  <a:lnTo>
                    <a:pt x="7275" y="995"/>
                  </a:lnTo>
                  <a:lnTo>
                    <a:pt x="7311" y="966"/>
                  </a:lnTo>
                  <a:lnTo>
                    <a:pt x="7347" y="936"/>
                  </a:lnTo>
                  <a:lnTo>
                    <a:pt x="7384" y="907"/>
                  </a:lnTo>
                  <a:lnTo>
                    <a:pt x="7423" y="878"/>
                  </a:lnTo>
                  <a:lnTo>
                    <a:pt x="7463" y="849"/>
                  </a:lnTo>
                  <a:lnTo>
                    <a:pt x="7505" y="821"/>
                  </a:lnTo>
                  <a:lnTo>
                    <a:pt x="7548" y="792"/>
                  </a:lnTo>
                  <a:lnTo>
                    <a:pt x="7592" y="764"/>
                  </a:lnTo>
                  <a:lnTo>
                    <a:pt x="7639" y="736"/>
                  </a:lnTo>
                  <a:lnTo>
                    <a:pt x="7686" y="709"/>
                  </a:lnTo>
                  <a:lnTo>
                    <a:pt x="7735" y="683"/>
                  </a:lnTo>
                  <a:lnTo>
                    <a:pt x="7785" y="657"/>
                  </a:lnTo>
                  <a:lnTo>
                    <a:pt x="7838" y="631"/>
                  </a:lnTo>
                  <a:lnTo>
                    <a:pt x="7892" y="606"/>
                  </a:lnTo>
                  <a:lnTo>
                    <a:pt x="7946" y="583"/>
                  </a:lnTo>
                  <a:lnTo>
                    <a:pt x="8003" y="559"/>
                  </a:lnTo>
                  <a:lnTo>
                    <a:pt x="8062" y="536"/>
                  </a:lnTo>
                  <a:lnTo>
                    <a:pt x="8122" y="516"/>
                  </a:lnTo>
                  <a:lnTo>
                    <a:pt x="8184" y="495"/>
                  </a:lnTo>
                  <a:lnTo>
                    <a:pt x="8247" y="476"/>
                  </a:lnTo>
                  <a:lnTo>
                    <a:pt x="8312" y="457"/>
                  </a:lnTo>
                  <a:lnTo>
                    <a:pt x="8379" y="439"/>
                  </a:lnTo>
                  <a:lnTo>
                    <a:pt x="8447" y="424"/>
                  </a:lnTo>
                  <a:lnTo>
                    <a:pt x="8517" y="409"/>
                  </a:lnTo>
                  <a:lnTo>
                    <a:pt x="8590" y="395"/>
                  </a:lnTo>
                  <a:lnTo>
                    <a:pt x="8663" y="384"/>
                  </a:lnTo>
                  <a:lnTo>
                    <a:pt x="8739" y="373"/>
                  </a:lnTo>
                  <a:lnTo>
                    <a:pt x="8817" y="363"/>
                  </a:lnTo>
                  <a:lnTo>
                    <a:pt x="8895" y="356"/>
                  </a:lnTo>
                  <a:lnTo>
                    <a:pt x="8977" y="350"/>
                  </a:lnTo>
                  <a:lnTo>
                    <a:pt x="9059" y="346"/>
                  </a:lnTo>
                  <a:lnTo>
                    <a:pt x="9144" y="343"/>
                  </a:lnTo>
                  <a:lnTo>
                    <a:pt x="9231" y="342"/>
                  </a:lnTo>
                  <a:lnTo>
                    <a:pt x="9231" y="342"/>
                  </a:lnTo>
                  <a:close/>
                  <a:moveTo>
                    <a:pt x="13524" y="1924"/>
                  </a:moveTo>
                  <a:lnTo>
                    <a:pt x="13549" y="1924"/>
                  </a:lnTo>
                  <a:lnTo>
                    <a:pt x="13574" y="1921"/>
                  </a:lnTo>
                  <a:lnTo>
                    <a:pt x="13600" y="1918"/>
                  </a:lnTo>
                  <a:lnTo>
                    <a:pt x="13628" y="1912"/>
                  </a:lnTo>
                  <a:lnTo>
                    <a:pt x="13657" y="1905"/>
                  </a:lnTo>
                  <a:lnTo>
                    <a:pt x="13688" y="1896"/>
                  </a:lnTo>
                  <a:lnTo>
                    <a:pt x="13719" y="1886"/>
                  </a:lnTo>
                  <a:lnTo>
                    <a:pt x="13750" y="1873"/>
                  </a:lnTo>
                  <a:lnTo>
                    <a:pt x="13783" y="1860"/>
                  </a:lnTo>
                  <a:lnTo>
                    <a:pt x="13816" y="1843"/>
                  </a:lnTo>
                  <a:lnTo>
                    <a:pt x="13849" y="1826"/>
                  </a:lnTo>
                  <a:lnTo>
                    <a:pt x="13883" y="1806"/>
                  </a:lnTo>
                  <a:lnTo>
                    <a:pt x="13918" y="1785"/>
                  </a:lnTo>
                  <a:lnTo>
                    <a:pt x="13954" y="1760"/>
                  </a:lnTo>
                  <a:lnTo>
                    <a:pt x="13988" y="1734"/>
                  </a:lnTo>
                  <a:lnTo>
                    <a:pt x="14023" y="1706"/>
                  </a:lnTo>
                  <a:lnTo>
                    <a:pt x="14046" y="1688"/>
                  </a:lnTo>
                  <a:lnTo>
                    <a:pt x="14069" y="1669"/>
                  </a:lnTo>
                  <a:lnTo>
                    <a:pt x="14114" y="1628"/>
                  </a:lnTo>
                  <a:lnTo>
                    <a:pt x="14156" y="1585"/>
                  </a:lnTo>
                  <a:lnTo>
                    <a:pt x="14195" y="1539"/>
                  </a:lnTo>
                  <a:lnTo>
                    <a:pt x="14233" y="1490"/>
                  </a:lnTo>
                  <a:lnTo>
                    <a:pt x="14267" y="1442"/>
                  </a:lnTo>
                  <a:lnTo>
                    <a:pt x="14299" y="1392"/>
                  </a:lnTo>
                  <a:lnTo>
                    <a:pt x="14327" y="1344"/>
                  </a:lnTo>
                  <a:lnTo>
                    <a:pt x="14351" y="1296"/>
                  </a:lnTo>
                  <a:lnTo>
                    <a:pt x="14362" y="1273"/>
                  </a:lnTo>
                  <a:lnTo>
                    <a:pt x="14372" y="1250"/>
                  </a:lnTo>
                  <a:lnTo>
                    <a:pt x="14381" y="1228"/>
                  </a:lnTo>
                  <a:lnTo>
                    <a:pt x="14388" y="1207"/>
                  </a:lnTo>
                  <a:lnTo>
                    <a:pt x="14394" y="1187"/>
                  </a:lnTo>
                  <a:lnTo>
                    <a:pt x="14401" y="1167"/>
                  </a:lnTo>
                  <a:lnTo>
                    <a:pt x="14405" y="1148"/>
                  </a:lnTo>
                  <a:lnTo>
                    <a:pt x="14407" y="1131"/>
                  </a:lnTo>
                  <a:lnTo>
                    <a:pt x="14409" y="1114"/>
                  </a:lnTo>
                  <a:lnTo>
                    <a:pt x="14409" y="1099"/>
                  </a:lnTo>
                  <a:lnTo>
                    <a:pt x="14409" y="1085"/>
                  </a:lnTo>
                  <a:lnTo>
                    <a:pt x="14406" y="1072"/>
                  </a:lnTo>
                  <a:lnTo>
                    <a:pt x="14403" y="1062"/>
                  </a:lnTo>
                  <a:lnTo>
                    <a:pt x="14397" y="1051"/>
                  </a:lnTo>
                  <a:lnTo>
                    <a:pt x="14397" y="1050"/>
                  </a:lnTo>
                  <a:lnTo>
                    <a:pt x="14396" y="1047"/>
                  </a:lnTo>
                  <a:lnTo>
                    <a:pt x="14395" y="1042"/>
                  </a:lnTo>
                  <a:lnTo>
                    <a:pt x="14393" y="1036"/>
                  </a:lnTo>
                  <a:lnTo>
                    <a:pt x="14389" y="1031"/>
                  </a:lnTo>
                  <a:lnTo>
                    <a:pt x="14384" y="1026"/>
                  </a:lnTo>
                  <a:lnTo>
                    <a:pt x="14377" y="1022"/>
                  </a:lnTo>
                  <a:lnTo>
                    <a:pt x="14366" y="1020"/>
                  </a:lnTo>
                  <a:lnTo>
                    <a:pt x="14357" y="1021"/>
                  </a:lnTo>
                  <a:lnTo>
                    <a:pt x="14348" y="1025"/>
                  </a:lnTo>
                  <a:lnTo>
                    <a:pt x="14339" y="1030"/>
                  </a:lnTo>
                  <a:lnTo>
                    <a:pt x="14328" y="1036"/>
                  </a:lnTo>
                  <a:lnTo>
                    <a:pt x="14318" y="1044"/>
                  </a:lnTo>
                  <a:lnTo>
                    <a:pt x="14307" y="1053"/>
                  </a:lnTo>
                  <a:lnTo>
                    <a:pt x="14296" y="1065"/>
                  </a:lnTo>
                  <a:lnTo>
                    <a:pt x="14285" y="1077"/>
                  </a:lnTo>
                  <a:lnTo>
                    <a:pt x="14273" y="1090"/>
                  </a:lnTo>
                  <a:lnTo>
                    <a:pt x="14260" y="1105"/>
                  </a:lnTo>
                  <a:lnTo>
                    <a:pt x="14248" y="1120"/>
                  </a:lnTo>
                  <a:lnTo>
                    <a:pt x="14234" y="1137"/>
                  </a:lnTo>
                  <a:lnTo>
                    <a:pt x="14208" y="1173"/>
                  </a:lnTo>
                  <a:lnTo>
                    <a:pt x="14180" y="1211"/>
                  </a:lnTo>
                  <a:lnTo>
                    <a:pt x="14150" y="1252"/>
                  </a:lnTo>
                  <a:lnTo>
                    <a:pt x="14118" y="1293"/>
                  </a:lnTo>
                  <a:lnTo>
                    <a:pt x="14085" y="1335"/>
                  </a:lnTo>
                  <a:lnTo>
                    <a:pt x="14051" y="1376"/>
                  </a:lnTo>
                  <a:lnTo>
                    <a:pt x="14014" y="1415"/>
                  </a:lnTo>
                  <a:lnTo>
                    <a:pt x="13977" y="1453"/>
                  </a:lnTo>
                  <a:lnTo>
                    <a:pt x="13939" y="1488"/>
                  </a:lnTo>
                  <a:lnTo>
                    <a:pt x="13918" y="1505"/>
                  </a:lnTo>
                  <a:lnTo>
                    <a:pt x="13899" y="1519"/>
                  </a:lnTo>
                  <a:lnTo>
                    <a:pt x="13863" y="1548"/>
                  </a:lnTo>
                  <a:lnTo>
                    <a:pt x="13823" y="1575"/>
                  </a:lnTo>
                  <a:lnTo>
                    <a:pt x="13783" y="1600"/>
                  </a:lnTo>
                  <a:lnTo>
                    <a:pt x="13742" y="1624"/>
                  </a:lnTo>
                  <a:lnTo>
                    <a:pt x="13701" y="1646"/>
                  </a:lnTo>
                  <a:lnTo>
                    <a:pt x="13658" y="1666"/>
                  </a:lnTo>
                  <a:lnTo>
                    <a:pt x="13618" y="1685"/>
                  </a:lnTo>
                  <a:lnTo>
                    <a:pt x="13579" y="1702"/>
                  </a:lnTo>
                  <a:lnTo>
                    <a:pt x="13543" y="1718"/>
                  </a:lnTo>
                  <a:lnTo>
                    <a:pt x="13509" y="1731"/>
                  </a:lnTo>
                  <a:lnTo>
                    <a:pt x="13478" y="1742"/>
                  </a:lnTo>
                  <a:lnTo>
                    <a:pt x="13464" y="1747"/>
                  </a:lnTo>
                  <a:lnTo>
                    <a:pt x="13452" y="1752"/>
                  </a:lnTo>
                  <a:lnTo>
                    <a:pt x="13440" y="1756"/>
                  </a:lnTo>
                  <a:lnTo>
                    <a:pt x="13430" y="1759"/>
                  </a:lnTo>
                  <a:lnTo>
                    <a:pt x="13421" y="1762"/>
                  </a:lnTo>
                  <a:lnTo>
                    <a:pt x="13414" y="1764"/>
                  </a:lnTo>
                  <a:lnTo>
                    <a:pt x="13407" y="1766"/>
                  </a:lnTo>
                  <a:lnTo>
                    <a:pt x="13403" y="1767"/>
                  </a:lnTo>
                  <a:lnTo>
                    <a:pt x="13401" y="1768"/>
                  </a:lnTo>
                  <a:lnTo>
                    <a:pt x="13400" y="1768"/>
                  </a:lnTo>
                  <a:lnTo>
                    <a:pt x="13399" y="1768"/>
                  </a:lnTo>
                  <a:lnTo>
                    <a:pt x="13397" y="1768"/>
                  </a:lnTo>
                  <a:lnTo>
                    <a:pt x="13391" y="1770"/>
                  </a:lnTo>
                  <a:lnTo>
                    <a:pt x="13382" y="1773"/>
                  </a:lnTo>
                  <a:lnTo>
                    <a:pt x="13378" y="1776"/>
                  </a:lnTo>
                  <a:lnTo>
                    <a:pt x="13372" y="1781"/>
                  </a:lnTo>
                  <a:lnTo>
                    <a:pt x="13368" y="1785"/>
                  </a:lnTo>
                  <a:lnTo>
                    <a:pt x="13365" y="1791"/>
                  </a:lnTo>
                  <a:lnTo>
                    <a:pt x="13362" y="1799"/>
                  </a:lnTo>
                  <a:lnTo>
                    <a:pt x="13361" y="1808"/>
                  </a:lnTo>
                  <a:lnTo>
                    <a:pt x="13360" y="1819"/>
                  </a:lnTo>
                  <a:lnTo>
                    <a:pt x="13361" y="1831"/>
                  </a:lnTo>
                  <a:lnTo>
                    <a:pt x="13364" y="1845"/>
                  </a:lnTo>
                  <a:lnTo>
                    <a:pt x="13369" y="1862"/>
                  </a:lnTo>
                  <a:lnTo>
                    <a:pt x="13381" y="1873"/>
                  </a:lnTo>
                  <a:lnTo>
                    <a:pt x="13393" y="1885"/>
                  </a:lnTo>
                  <a:lnTo>
                    <a:pt x="13407" y="1895"/>
                  </a:lnTo>
                  <a:lnTo>
                    <a:pt x="13423" y="1905"/>
                  </a:lnTo>
                  <a:lnTo>
                    <a:pt x="13443" y="1912"/>
                  </a:lnTo>
                  <a:lnTo>
                    <a:pt x="13453" y="1916"/>
                  </a:lnTo>
                  <a:lnTo>
                    <a:pt x="13465" y="1919"/>
                  </a:lnTo>
                  <a:lnTo>
                    <a:pt x="13478" y="1921"/>
                  </a:lnTo>
                  <a:lnTo>
                    <a:pt x="13492" y="1923"/>
                  </a:lnTo>
                  <a:lnTo>
                    <a:pt x="13508" y="1924"/>
                  </a:lnTo>
                  <a:lnTo>
                    <a:pt x="13524" y="1924"/>
                  </a:lnTo>
                  <a:lnTo>
                    <a:pt x="13524" y="1924"/>
                  </a:lnTo>
                  <a:close/>
                  <a:moveTo>
                    <a:pt x="8857" y="3146"/>
                  </a:moveTo>
                  <a:lnTo>
                    <a:pt x="8858" y="3145"/>
                  </a:lnTo>
                  <a:lnTo>
                    <a:pt x="8860" y="3140"/>
                  </a:lnTo>
                  <a:lnTo>
                    <a:pt x="8864" y="3133"/>
                  </a:lnTo>
                  <a:lnTo>
                    <a:pt x="8869" y="3123"/>
                  </a:lnTo>
                  <a:lnTo>
                    <a:pt x="8877" y="3109"/>
                  </a:lnTo>
                  <a:lnTo>
                    <a:pt x="8885" y="3094"/>
                  </a:lnTo>
                  <a:lnTo>
                    <a:pt x="8893" y="3076"/>
                  </a:lnTo>
                  <a:lnTo>
                    <a:pt x="8904" y="3057"/>
                  </a:lnTo>
                  <a:lnTo>
                    <a:pt x="8916" y="3035"/>
                  </a:lnTo>
                  <a:lnTo>
                    <a:pt x="8928" y="3011"/>
                  </a:lnTo>
                  <a:lnTo>
                    <a:pt x="8942" y="2987"/>
                  </a:lnTo>
                  <a:lnTo>
                    <a:pt x="8956" y="2961"/>
                  </a:lnTo>
                  <a:lnTo>
                    <a:pt x="8971" y="2934"/>
                  </a:lnTo>
                  <a:lnTo>
                    <a:pt x="8987" y="2905"/>
                  </a:lnTo>
                  <a:lnTo>
                    <a:pt x="9021" y="2847"/>
                  </a:lnTo>
                  <a:lnTo>
                    <a:pt x="9057" y="2786"/>
                  </a:lnTo>
                  <a:lnTo>
                    <a:pt x="9094" y="2725"/>
                  </a:lnTo>
                  <a:lnTo>
                    <a:pt x="9134" y="2665"/>
                  </a:lnTo>
                  <a:lnTo>
                    <a:pt x="9173" y="2608"/>
                  </a:lnTo>
                  <a:lnTo>
                    <a:pt x="9192" y="2580"/>
                  </a:lnTo>
                  <a:lnTo>
                    <a:pt x="9212" y="2554"/>
                  </a:lnTo>
                  <a:lnTo>
                    <a:pt x="9232" y="2529"/>
                  </a:lnTo>
                  <a:lnTo>
                    <a:pt x="9250" y="2506"/>
                  </a:lnTo>
                  <a:lnTo>
                    <a:pt x="9270" y="2483"/>
                  </a:lnTo>
                  <a:lnTo>
                    <a:pt x="9288" y="2464"/>
                  </a:lnTo>
                  <a:lnTo>
                    <a:pt x="9307" y="2446"/>
                  </a:lnTo>
                  <a:lnTo>
                    <a:pt x="9325" y="2430"/>
                  </a:lnTo>
                  <a:lnTo>
                    <a:pt x="9345" y="2413"/>
                  </a:lnTo>
                  <a:lnTo>
                    <a:pt x="9367" y="2397"/>
                  </a:lnTo>
                  <a:lnTo>
                    <a:pt x="9412" y="2368"/>
                  </a:lnTo>
                  <a:lnTo>
                    <a:pt x="9460" y="2343"/>
                  </a:lnTo>
                  <a:lnTo>
                    <a:pt x="9509" y="2321"/>
                  </a:lnTo>
                  <a:lnTo>
                    <a:pt x="9559" y="2304"/>
                  </a:lnTo>
                  <a:lnTo>
                    <a:pt x="9607" y="2288"/>
                  </a:lnTo>
                  <a:lnTo>
                    <a:pt x="9656" y="2276"/>
                  </a:lnTo>
                  <a:lnTo>
                    <a:pt x="9702" y="2266"/>
                  </a:lnTo>
                  <a:lnTo>
                    <a:pt x="9747" y="2259"/>
                  </a:lnTo>
                  <a:lnTo>
                    <a:pt x="9787" y="2252"/>
                  </a:lnTo>
                  <a:lnTo>
                    <a:pt x="9806" y="2250"/>
                  </a:lnTo>
                  <a:lnTo>
                    <a:pt x="9823" y="2248"/>
                  </a:lnTo>
                  <a:lnTo>
                    <a:pt x="9840" y="2247"/>
                  </a:lnTo>
                  <a:lnTo>
                    <a:pt x="9855" y="2246"/>
                  </a:lnTo>
                  <a:lnTo>
                    <a:pt x="9869" y="2245"/>
                  </a:lnTo>
                  <a:lnTo>
                    <a:pt x="9881" y="2244"/>
                  </a:lnTo>
                  <a:lnTo>
                    <a:pt x="9891" y="2243"/>
                  </a:lnTo>
                  <a:lnTo>
                    <a:pt x="9901" y="2243"/>
                  </a:lnTo>
                  <a:lnTo>
                    <a:pt x="9908" y="2243"/>
                  </a:lnTo>
                  <a:lnTo>
                    <a:pt x="9913" y="2243"/>
                  </a:lnTo>
                  <a:lnTo>
                    <a:pt x="9916" y="2243"/>
                  </a:lnTo>
                  <a:lnTo>
                    <a:pt x="9917" y="2243"/>
                  </a:lnTo>
                  <a:lnTo>
                    <a:pt x="9916" y="2243"/>
                  </a:lnTo>
                  <a:lnTo>
                    <a:pt x="9913" y="2242"/>
                  </a:lnTo>
                  <a:lnTo>
                    <a:pt x="9909" y="2241"/>
                  </a:lnTo>
                  <a:lnTo>
                    <a:pt x="9903" y="2239"/>
                  </a:lnTo>
                  <a:lnTo>
                    <a:pt x="9895" y="2237"/>
                  </a:lnTo>
                  <a:lnTo>
                    <a:pt x="9886" y="2234"/>
                  </a:lnTo>
                  <a:lnTo>
                    <a:pt x="9876" y="2232"/>
                  </a:lnTo>
                  <a:lnTo>
                    <a:pt x="9865" y="2229"/>
                  </a:lnTo>
                  <a:lnTo>
                    <a:pt x="9851" y="2225"/>
                  </a:lnTo>
                  <a:lnTo>
                    <a:pt x="9837" y="2221"/>
                  </a:lnTo>
                  <a:lnTo>
                    <a:pt x="9821" y="2217"/>
                  </a:lnTo>
                  <a:lnTo>
                    <a:pt x="9805" y="2213"/>
                  </a:lnTo>
                  <a:lnTo>
                    <a:pt x="9770" y="2205"/>
                  </a:lnTo>
                  <a:lnTo>
                    <a:pt x="9730" y="2197"/>
                  </a:lnTo>
                  <a:lnTo>
                    <a:pt x="9688" y="2187"/>
                  </a:lnTo>
                  <a:lnTo>
                    <a:pt x="9643" y="2179"/>
                  </a:lnTo>
                  <a:lnTo>
                    <a:pt x="9596" y="2171"/>
                  </a:lnTo>
                  <a:lnTo>
                    <a:pt x="9549" y="2164"/>
                  </a:lnTo>
                  <a:lnTo>
                    <a:pt x="9500" y="2159"/>
                  </a:lnTo>
                  <a:lnTo>
                    <a:pt x="9452" y="2153"/>
                  </a:lnTo>
                  <a:lnTo>
                    <a:pt x="9403" y="2150"/>
                  </a:lnTo>
                  <a:lnTo>
                    <a:pt x="9356" y="2149"/>
                  </a:lnTo>
                  <a:lnTo>
                    <a:pt x="9320" y="2149"/>
                  </a:lnTo>
                  <a:lnTo>
                    <a:pt x="9286" y="2150"/>
                  </a:lnTo>
                  <a:lnTo>
                    <a:pt x="9252" y="2152"/>
                  </a:lnTo>
                  <a:lnTo>
                    <a:pt x="9219" y="2158"/>
                  </a:lnTo>
                  <a:lnTo>
                    <a:pt x="9188" y="2165"/>
                  </a:lnTo>
                  <a:lnTo>
                    <a:pt x="9173" y="2170"/>
                  </a:lnTo>
                  <a:lnTo>
                    <a:pt x="9158" y="2176"/>
                  </a:lnTo>
                  <a:lnTo>
                    <a:pt x="9145" y="2183"/>
                  </a:lnTo>
                  <a:lnTo>
                    <a:pt x="9132" y="2192"/>
                  </a:lnTo>
                  <a:lnTo>
                    <a:pt x="9118" y="2201"/>
                  </a:lnTo>
                  <a:lnTo>
                    <a:pt x="9107" y="2212"/>
                  </a:lnTo>
                  <a:lnTo>
                    <a:pt x="9100" y="2217"/>
                  </a:lnTo>
                  <a:lnTo>
                    <a:pt x="9092" y="2222"/>
                  </a:lnTo>
                  <a:lnTo>
                    <a:pt x="9078" y="2238"/>
                  </a:lnTo>
                  <a:lnTo>
                    <a:pt x="9064" y="2256"/>
                  </a:lnTo>
                  <a:lnTo>
                    <a:pt x="9051" y="2279"/>
                  </a:lnTo>
                  <a:lnTo>
                    <a:pt x="9039" y="2305"/>
                  </a:lnTo>
                  <a:lnTo>
                    <a:pt x="9025" y="2333"/>
                  </a:lnTo>
                  <a:lnTo>
                    <a:pt x="9014" y="2364"/>
                  </a:lnTo>
                  <a:lnTo>
                    <a:pt x="9002" y="2398"/>
                  </a:lnTo>
                  <a:lnTo>
                    <a:pt x="8990" y="2433"/>
                  </a:lnTo>
                  <a:lnTo>
                    <a:pt x="8980" y="2470"/>
                  </a:lnTo>
                  <a:lnTo>
                    <a:pt x="8970" y="2509"/>
                  </a:lnTo>
                  <a:lnTo>
                    <a:pt x="8959" y="2549"/>
                  </a:lnTo>
                  <a:lnTo>
                    <a:pt x="8941" y="2630"/>
                  </a:lnTo>
                  <a:lnTo>
                    <a:pt x="8923" y="2714"/>
                  </a:lnTo>
                  <a:lnTo>
                    <a:pt x="8909" y="2796"/>
                  </a:lnTo>
                  <a:lnTo>
                    <a:pt x="8901" y="2836"/>
                  </a:lnTo>
                  <a:lnTo>
                    <a:pt x="8895" y="2876"/>
                  </a:lnTo>
                  <a:lnTo>
                    <a:pt x="8889" y="2913"/>
                  </a:lnTo>
                  <a:lnTo>
                    <a:pt x="8884" y="2949"/>
                  </a:lnTo>
                  <a:lnTo>
                    <a:pt x="8879" y="2983"/>
                  </a:lnTo>
                  <a:lnTo>
                    <a:pt x="8875" y="3014"/>
                  </a:lnTo>
                  <a:lnTo>
                    <a:pt x="8870" y="3042"/>
                  </a:lnTo>
                  <a:lnTo>
                    <a:pt x="8867" y="3068"/>
                  </a:lnTo>
                  <a:lnTo>
                    <a:pt x="8864" y="3091"/>
                  </a:lnTo>
                  <a:lnTo>
                    <a:pt x="8861" y="3110"/>
                  </a:lnTo>
                  <a:lnTo>
                    <a:pt x="8860" y="3126"/>
                  </a:lnTo>
                  <a:lnTo>
                    <a:pt x="8859" y="3132"/>
                  </a:lnTo>
                  <a:lnTo>
                    <a:pt x="8858" y="3137"/>
                  </a:lnTo>
                  <a:lnTo>
                    <a:pt x="8858" y="3141"/>
                  </a:lnTo>
                  <a:lnTo>
                    <a:pt x="8858" y="3144"/>
                  </a:lnTo>
                  <a:lnTo>
                    <a:pt x="8857" y="3146"/>
                  </a:lnTo>
                  <a:lnTo>
                    <a:pt x="8857" y="3146"/>
                  </a:lnTo>
                  <a:lnTo>
                    <a:pt x="8857" y="3146"/>
                  </a:lnTo>
                  <a:close/>
                  <a:moveTo>
                    <a:pt x="9387" y="3926"/>
                  </a:moveTo>
                  <a:lnTo>
                    <a:pt x="9389" y="3924"/>
                  </a:lnTo>
                  <a:lnTo>
                    <a:pt x="9393" y="3920"/>
                  </a:lnTo>
                  <a:lnTo>
                    <a:pt x="9399" y="3914"/>
                  </a:lnTo>
                  <a:lnTo>
                    <a:pt x="9407" y="3906"/>
                  </a:lnTo>
                  <a:lnTo>
                    <a:pt x="9418" y="3895"/>
                  </a:lnTo>
                  <a:lnTo>
                    <a:pt x="9430" y="3883"/>
                  </a:lnTo>
                  <a:lnTo>
                    <a:pt x="9443" y="3870"/>
                  </a:lnTo>
                  <a:lnTo>
                    <a:pt x="9457" y="3856"/>
                  </a:lnTo>
                  <a:lnTo>
                    <a:pt x="9488" y="3825"/>
                  </a:lnTo>
                  <a:lnTo>
                    <a:pt x="9519" y="3794"/>
                  </a:lnTo>
                  <a:lnTo>
                    <a:pt x="9548" y="3764"/>
                  </a:lnTo>
                  <a:lnTo>
                    <a:pt x="9561" y="3751"/>
                  </a:lnTo>
                  <a:lnTo>
                    <a:pt x="9573" y="3739"/>
                  </a:lnTo>
                  <a:lnTo>
                    <a:pt x="9597" y="3717"/>
                  </a:lnTo>
                  <a:lnTo>
                    <a:pt x="9620" y="3699"/>
                  </a:lnTo>
                  <a:lnTo>
                    <a:pt x="9641" y="3682"/>
                  </a:lnTo>
                  <a:lnTo>
                    <a:pt x="9659" y="3669"/>
                  </a:lnTo>
                  <a:lnTo>
                    <a:pt x="9676" y="3658"/>
                  </a:lnTo>
                  <a:lnTo>
                    <a:pt x="9682" y="3654"/>
                  </a:lnTo>
                  <a:lnTo>
                    <a:pt x="9688" y="3651"/>
                  </a:lnTo>
                  <a:lnTo>
                    <a:pt x="9692" y="3648"/>
                  </a:lnTo>
                  <a:lnTo>
                    <a:pt x="9696" y="3647"/>
                  </a:lnTo>
                  <a:lnTo>
                    <a:pt x="9698" y="3646"/>
                  </a:lnTo>
                  <a:lnTo>
                    <a:pt x="9698" y="3645"/>
                  </a:lnTo>
                  <a:lnTo>
                    <a:pt x="9699" y="3652"/>
                  </a:lnTo>
                  <a:lnTo>
                    <a:pt x="9700" y="3659"/>
                  </a:lnTo>
                  <a:lnTo>
                    <a:pt x="9702" y="3669"/>
                  </a:lnTo>
                  <a:lnTo>
                    <a:pt x="9705" y="3679"/>
                  </a:lnTo>
                  <a:lnTo>
                    <a:pt x="9714" y="3702"/>
                  </a:lnTo>
                  <a:lnTo>
                    <a:pt x="9719" y="3714"/>
                  </a:lnTo>
                  <a:lnTo>
                    <a:pt x="9726" y="3727"/>
                  </a:lnTo>
                  <a:lnTo>
                    <a:pt x="9733" y="3741"/>
                  </a:lnTo>
                  <a:lnTo>
                    <a:pt x="9743" y="3754"/>
                  </a:lnTo>
                  <a:lnTo>
                    <a:pt x="9753" y="3768"/>
                  </a:lnTo>
                  <a:lnTo>
                    <a:pt x="9764" y="3781"/>
                  </a:lnTo>
                  <a:lnTo>
                    <a:pt x="9777" y="3794"/>
                  </a:lnTo>
                  <a:lnTo>
                    <a:pt x="9791" y="3808"/>
                  </a:lnTo>
                  <a:lnTo>
                    <a:pt x="9807" y="3820"/>
                  </a:lnTo>
                  <a:lnTo>
                    <a:pt x="9823" y="3832"/>
                  </a:lnTo>
                  <a:lnTo>
                    <a:pt x="9846" y="3854"/>
                  </a:lnTo>
                  <a:lnTo>
                    <a:pt x="9869" y="3875"/>
                  </a:lnTo>
                  <a:lnTo>
                    <a:pt x="9889" y="3893"/>
                  </a:lnTo>
                  <a:lnTo>
                    <a:pt x="9910" y="3910"/>
                  </a:lnTo>
                  <a:lnTo>
                    <a:pt x="9929" y="3924"/>
                  </a:lnTo>
                  <a:lnTo>
                    <a:pt x="9947" y="3936"/>
                  </a:lnTo>
                  <a:lnTo>
                    <a:pt x="9964" y="3948"/>
                  </a:lnTo>
                  <a:lnTo>
                    <a:pt x="9979" y="3957"/>
                  </a:lnTo>
                  <a:lnTo>
                    <a:pt x="9993" y="3965"/>
                  </a:lnTo>
                  <a:lnTo>
                    <a:pt x="10005" y="3971"/>
                  </a:lnTo>
                  <a:lnTo>
                    <a:pt x="10016" y="3978"/>
                  </a:lnTo>
                  <a:lnTo>
                    <a:pt x="10025" y="3982"/>
                  </a:lnTo>
                  <a:lnTo>
                    <a:pt x="10032" y="3985"/>
                  </a:lnTo>
                  <a:lnTo>
                    <a:pt x="10037" y="3987"/>
                  </a:lnTo>
                  <a:lnTo>
                    <a:pt x="10040" y="3988"/>
                  </a:lnTo>
                  <a:lnTo>
                    <a:pt x="10041" y="3988"/>
                  </a:lnTo>
                  <a:lnTo>
                    <a:pt x="10040" y="3989"/>
                  </a:lnTo>
                  <a:lnTo>
                    <a:pt x="10037" y="3992"/>
                  </a:lnTo>
                  <a:lnTo>
                    <a:pt x="10033" y="3997"/>
                  </a:lnTo>
                  <a:lnTo>
                    <a:pt x="10027" y="4004"/>
                  </a:lnTo>
                  <a:lnTo>
                    <a:pt x="10018" y="4013"/>
                  </a:lnTo>
                  <a:lnTo>
                    <a:pt x="10010" y="4023"/>
                  </a:lnTo>
                  <a:lnTo>
                    <a:pt x="10001" y="4034"/>
                  </a:lnTo>
                  <a:lnTo>
                    <a:pt x="9990" y="4047"/>
                  </a:lnTo>
                  <a:lnTo>
                    <a:pt x="9980" y="4060"/>
                  </a:lnTo>
                  <a:lnTo>
                    <a:pt x="9970" y="4074"/>
                  </a:lnTo>
                  <a:lnTo>
                    <a:pt x="9949" y="4106"/>
                  </a:lnTo>
                  <a:lnTo>
                    <a:pt x="9932" y="4140"/>
                  </a:lnTo>
                  <a:lnTo>
                    <a:pt x="9923" y="4158"/>
                  </a:lnTo>
                  <a:lnTo>
                    <a:pt x="9917" y="4175"/>
                  </a:lnTo>
                  <a:lnTo>
                    <a:pt x="9895" y="4211"/>
                  </a:lnTo>
                  <a:lnTo>
                    <a:pt x="9876" y="4249"/>
                  </a:lnTo>
                  <a:lnTo>
                    <a:pt x="9859" y="4286"/>
                  </a:lnTo>
                  <a:lnTo>
                    <a:pt x="9853" y="4303"/>
                  </a:lnTo>
                  <a:lnTo>
                    <a:pt x="9847" y="4320"/>
                  </a:lnTo>
                  <a:lnTo>
                    <a:pt x="9841" y="4335"/>
                  </a:lnTo>
                  <a:lnTo>
                    <a:pt x="9837" y="4350"/>
                  </a:lnTo>
                  <a:lnTo>
                    <a:pt x="9833" y="4362"/>
                  </a:lnTo>
                  <a:lnTo>
                    <a:pt x="9828" y="4372"/>
                  </a:lnTo>
                  <a:lnTo>
                    <a:pt x="9826" y="4381"/>
                  </a:lnTo>
                  <a:lnTo>
                    <a:pt x="9824" y="4388"/>
                  </a:lnTo>
                  <a:lnTo>
                    <a:pt x="9823" y="4392"/>
                  </a:lnTo>
                  <a:lnTo>
                    <a:pt x="9823" y="4394"/>
                  </a:lnTo>
                  <a:lnTo>
                    <a:pt x="9823" y="4393"/>
                  </a:lnTo>
                  <a:lnTo>
                    <a:pt x="9826" y="4391"/>
                  </a:lnTo>
                  <a:lnTo>
                    <a:pt x="9829" y="4387"/>
                  </a:lnTo>
                  <a:lnTo>
                    <a:pt x="9835" y="4381"/>
                  </a:lnTo>
                  <a:lnTo>
                    <a:pt x="9841" y="4374"/>
                  </a:lnTo>
                  <a:lnTo>
                    <a:pt x="9848" y="4366"/>
                  </a:lnTo>
                  <a:lnTo>
                    <a:pt x="9856" y="4357"/>
                  </a:lnTo>
                  <a:lnTo>
                    <a:pt x="9867" y="4346"/>
                  </a:lnTo>
                  <a:lnTo>
                    <a:pt x="9877" y="4335"/>
                  </a:lnTo>
                  <a:lnTo>
                    <a:pt x="9889" y="4322"/>
                  </a:lnTo>
                  <a:lnTo>
                    <a:pt x="9903" y="4308"/>
                  </a:lnTo>
                  <a:lnTo>
                    <a:pt x="9917" y="4293"/>
                  </a:lnTo>
                  <a:lnTo>
                    <a:pt x="9948" y="4261"/>
                  </a:lnTo>
                  <a:lnTo>
                    <a:pt x="9983" y="4226"/>
                  </a:lnTo>
                  <a:lnTo>
                    <a:pt x="10021" y="4188"/>
                  </a:lnTo>
                  <a:lnTo>
                    <a:pt x="10062" y="4149"/>
                  </a:lnTo>
                  <a:lnTo>
                    <a:pt x="10106" y="4107"/>
                  </a:lnTo>
                  <a:lnTo>
                    <a:pt x="10153" y="4064"/>
                  </a:lnTo>
                  <a:lnTo>
                    <a:pt x="10200" y="4022"/>
                  </a:lnTo>
                  <a:lnTo>
                    <a:pt x="10250" y="3979"/>
                  </a:lnTo>
                  <a:lnTo>
                    <a:pt x="10301" y="3936"/>
                  </a:lnTo>
                  <a:lnTo>
                    <a:pt x="10353" y="3894"/>
                  </a:lnTo>
                  <a:lnTo>
                    <a:pt x="10429" y="3838"/>
                  </a:lnTo>
                  <a:lnTo>
                    <a:pt x="10505" y="3785"/>
                  </a:lnTo>
                  <a:lnTo>
                    <a:pt x="10578" y="3736"/>
                  </a:lnTo>
                  <a:lnTo>
                    <a:pt x="10651" y="3690"/>
                  </a:lnTo>
                  <a:lnTo>
                    <a:pt x="10720" y="3648"/>
                  </a:lnTo>
                  <a:lnTo>
                    <a:pt x="10787" y="3610"/>
                  </a:lnTo>
                  <a:lnTo>
                    <a:pt x="10819" y="3592"/>
                  </a:lnTo>
                  <a:lnTo>
                    <a:pt x="10851" y="3575"/>
                  </a:lnTo>
                  <a:lnTo>
                    <a:pt x="10881" y="3559"/>
                  </a:lnTo>
                  <a:lnTo>
                    <a:pt x="10910" y="3544"/>
                  </a:lnTo>
                  <a:lnTo>
                    <a:pt x="10938" y="3530"/>
                  </a:lnTo>
                  <a:lnTo>
                    <a:pt x="10965" y="3517"/>
                  </a:lnTo>
                  <a:lnTo>
                    <a:pt x="10990" y="3505"/>
                  </a:lnTo>
                  <a:lnTo>
                    <a:pt x="11014" y="3494"/>
                  </a:lnTo>
                  <a:lnTo>
                    <a:pt x="11036" y="3482"/>
                  </a:lnTo>
                  <a:lnTo>
                    <a:pt x="11057" y="3473"/>
                  </a:lnTo>
                  <a:lnTo>
                    <a:pt x="11076" y="3465"/>
                  </a:lnTo>
                  <a:lnTo>
                    <a:pt x="11094" y="3456"/>
                  </a:lnTo>
                  <a:lnTo>
                    <a:pt x="11110" y="3449"/>
                  </a:lnTo>
                  <a:lnTo>
                    <a:pt x="11123" y="3444"/>
                  </a:lnTo>
                  <a:lnTo>
                    <a:pt x="11135" y="3439"/>
                  </a:lnTo>
                  <a:lnTo>
                    <a:pt x="11146" y="3435"/>
                  </a:lnTo>
                  <a:lnTo>
                    <a:pt x="11153" y="3432"/>
                  </a:lnTo>
                  <a:lnTo>
                    <a:pt x="11159" y="3430"/>
                  </a:lnTo>
                  <a:lnTo>
                    <a:pt x="11162" y="3428"/>
                  </a:lnTo>
                  <a:lnTo>
                    <a:pt x="11163" y="3428"/>
                  </a:lnTo>
                  <a:lnTo>
                    <a:pt x="11162" y="3428"/>
                  </a:lnTo>
                  <a:lnTo>
                    <a:pt x="11158" y="3428"/>
                  </a:lnTo>
                  <a:lnTo>
                    <a:pt x="11151" y="3428"/>
                  </a:lnTo>
                  <a:lnTo>
                    <a:pt x="11142" y="3429"/>
                  </a:lnTo>
                  <a:lnTo>
                    <a:pt x="11131" y="3430"/>
                  </a:lnTo>
                  <a:lnTo>
                    <a:pt x="11118" y="3431"/>
                  </a:lnTo>
                  <a:lnTo>
                    <a:pt x="11102" y="3433"/>
                  </a:lnTo>
                  <a:lnTo>
                    <a:pt x="11086" y="3435"/>
                  </a:lnTo>
                  <a:lnTo>
                    <a:pt x="11067" y="3439"/>
                  </a:lnTo>
                  <a:lnTo>
                    <a:pt x="11048" y="3443"/>
                  </a:lnTo>
                  <a:lnTo>
                    <a:pt x="11027" y="3447"/>
                  </a:lnTo>
                  <a:lnTo>
                    <a:pt x="11005" y="3453"/>
                  </a:lnTo>
                  <a:lnTo>
                    <a:pt x="10984" y="3461"/>
                  </a:lnTo>
                  <a:lnTo>
                    <a:pt x="10961" y="3469"/>
                  </a:lnTo>
                  <a:lnTo>
                    <a:pt x="10937" y="3479"/>
                  </a:lnTo>
                  <a:lnTo>
                    <a:pt x="10914" y="3489"/>
                  </a:lnTo>
                  <a:lnTo>
                    <a:pt x="10892" y="3496"/>
                  </a:lnTo>
                  <a:lnTo>
                    <a:pt x="10872" y="3501"/>
                  </a:lnTo>
                  <a:lnTo>
                    <a:pt x="10853" y="3507"/>
                  </a:lnTo>
                  <a:lnTo>
                    <a:pt x="10837" y="3512"/>
                  </a:lnTo>
                  <a:lnTo>
                    <a:pt x="10823" y="3518"/>
                  </a:lnTo>
                  <a:lnTo>
                    <a:pt x="10810" y="3523"/>
                  </a:lnTo>
                  <a:lnTo>
                    <a:pt x="10799" y="3528"/>
                  </a:lnTo>
                  <a:lnTo>
                    <a:pt x="10789" y="3533"/>
                  </a:lnTo>
                  <a:lnTo>
                    <a:pt x="10781" y="3537"/>
                  </a:lnTo>
                  <a:lnTo>
                    <a:pt x="10775" y="3541"/>
                  </a:lnTo>
                  <a:lnTo>
                    <a:pt x="10769" y="3544"/>
                  </a:lnTo>
                  <a:lnTo>
                    <a:pt x="10765" y="3547"/>
                  </a:lnTo>
                  <a:lnTo>
                    <a:pt x="10762" y="3549"/>
                  </a:lnTo>
                  <a:lnTo>
                    <a:pt x="10760" y="3550"/>
                  </a:lnTo>
                  <a:lnTo>
                    <a:pt x="10759" y="3552"/>
                  </a:lnTo>
                  <a:lnTo>
                    <a:pt x="10759" y="3550"/>
                  </a:lnTo>
                  <a:lnTo>
                    <a:pt x="10759" y="3545"/>
                  </a:lnTo>
                  <a:lnTo>
                    <a:pt x="10757" y="3537"/>
                  </a:lnTo>
                  <a:lnTo>
                    <a:pt x="10756" y="3525"/>
                  </a:lnTo>
                  <a:lnTo>
                    <a:pt x="10754" y="3512"/>
                  </a:lnTo>
                  <a:lnTo>
                    <a:pt x="10751" y="3496"/>
                  </a:lnTo>
                  <a:lnTo>
                    <a:pt x="10748" y="3478"/>
                  </a:lnTo>
                  <a:lnTo>
                    <a:pt x="10743" y="3459"/>
                  </a:lnTo>
                  <a:lnTo>
                    <a:pt x="10736" y="3437"/>
                  </a:lnTo>
                  <a:lnTo>
                    <a:pt x="10728" y="3415"/>
                  </a:lnTo>
                  <a:lnTo>
                    <a:pt x="10717" y="3392"/>
                  </a:lnTo>
                  <a:lnTo>
                    <a:pt x="10706" y="3368"/>
                  </a:lnTo>
                  <a:lnTo>
                    <a:pt x="10691" y="3343"/>
                  </a:lnTo>
                  <a:lnTo>
                    <a:pt x="10675" y="3319"/>
                  </a:lnTo>
                  <a:lnTo>
                    <a:pt x="10655" y="3295"/>
                  </a:lnTo>
                  <a:lnTo>
                    <a:pt x="10634" y="3271"/>
                  </a:lnTo>
                  <a:lnTo>
                    <a:pt x="10615" y="3249"/>
                  </a:lnTo>
                  <a:lnTo>
                    <a:pt x="10597" y="3229"/>
                  </a:lnTo>
                  <a:lnTo>
                    <a:pt x="10579" y="3210"/>
                  </a:lnTo>
                  <a:lnTo>
                    <a:pt x="10560" y="3195"/>
                  </a:lnTo>
                  <a:lnTo>
                    <a:pt x="10542" y="3180"/>
                  </a:lnTo>
                  <a:lnTo>
                    <a:pt x="10523" y="3167"/>
                  </a:lnTo>
                  <a:lnTo>
                    <a:pt x="10506" y="3157"/>
                  </a:lnTo>
                  <a:lnTo>
                    <a:pt x="10489" y="3146"/>
                  </a:lnTo>
                  <a:lnTo>
                    <a:pt x="10474" y="3139"/>
                  </a:lnTo>
                  <a:lnTo>
                    <a:pt x="10460" y="3132"/>
                  </a:lnTo>
                  <a:lnTo>
                    <a:pt x="10447" y="3127"/>
                  </a:lnTo>
                  <a:lnTo>
                    <a:pt x="10436" y="3123"/>
                  </a:lnTo>
                  <a:lnTo>
                    <a:pt x="10427" y="3120"/>
                  </a:lnTo>
                  <a:lnTo>
                    <a:pt x="10421" y="3118"/>
                  </a:lnTo>
                  <a:lnTo>
                    <a:pt x="10417" y="3117"/>
                  </a:lnTo>
                  <a:lnTo>
                    <a:pt x="10416" y="3116"/>
                  </a:lnTo>
                  <a:lnTo>
                    <a:pt x="10416" y="3114"/>
                  </a:lnTo>
                  <a:lnTo>
                    <a:pt x="10418" y="3110"/>
                  </a:lnTo>
                  <a:lnTo>
                    <a:pt x="10419" y="3107"/>
                  </a:lnTo>
                  <a:lnTo>
                    <a:pt x="10422" y="3104"/>
                  </a:lnTo>
                  <a:lnTo>
                    <a:pt x="10426" y="3100"/>
                  </a:lnTo>
                  <a:lnTo>
                    <a:pt x="10431" y="3096"/>
                  </a:lnTo>
                  <a:lnTo>
                    <a:pt x="10437" y="3092"/>
                  </a:lnTo>
                  <a:lnTo>
                    <a:pt x="10446" y="3087"/>
                  </a:lnTo>
                  <a:lnTo>
                    <a:pt x="10456" y="3082"/>
                  </a:lnTo>
                  <a:lnTo>
                    <a:pt x="10468" y="3076"/>
                  </a:lnTo>
                  <a:lnTo>
                    <a:pt x="10482" y="3071"/>
                  </a:lnTo>
                  <a:lnTo>
                    <a:pt x="10499" y="3065"/>
                  </a:lnTo>
                  <a:lnTo>
                    <a:pt x="10518" y="3059"/>
                  </a:lnTo>
                  <a:lnTo>
                    <a:pt x="10540" y="3054"/>
                  </a:lnTo>
                  <a:lnTo>
                    <a:pt x="10562" y="3048"/>
                  </a:lnTo>
                  <a:lnTo>
                    <a:pt x="10584" y="3041"/>
                  </a:lnTo>
                  <a:lnTo>
                    <a:pt x="10604" y="3036"/>
                  </a:lnTo>
                  <a:lnTo>
                    <a:pt x="10622" y="3030"/>
                  </a:lnTo>
                  <a:lnTo>
                    <a:pt x="10639" y="3025"/>
                  </a:lnTo>
                  <a:lnTo>
                    <a:pt x="10654" y="3020"/>
                  </a:lnTo>
                  <a:lnTo>
                    <a:pt x="10668" y="3016"/>
                  </a:lnTo>
                  <a:lnTo>
                    <a:pt x="10680" y="3010"/>
                  </a:lnTo>
                  <a:lnTo>
                    <a:pt x="10691" y="3006"/>
                  </a:lnTo>
                  <a:lnTo>
                    <a:pt x="10701" y="3002"/>
                  </a:lnTo>
                  <a:lnTo>
                    <a:pt x="10709" y="2999"/>
                  </a:lnTo>
                  <a:lnTo>
                    <a:pt x="10715" y="2996"/>
                  </a:lnTo>
                  <a:lnTo>
                    <a:pt x="10720" y="2994"/>
                  </a:lnTo>
                  <a:lnTo>
                    <a:pt x="10724" y="2993"/>
                  </a:lnTo>
                  <a:lnTo>
                    <a:pt x="10727" y="2992"/>
                  </a:lnTo>
                  <a:lnTo>
                    <a:pt x="10728" y="2991"/>
                  </a:lnTo>
                  <a:lnTo>
                    <a:pt x="10723" y="2991"/>
                  </a:lnTo>
                  <a:lnTo>
                    <a:pt x="10718" y="2991"/>
                  </a:lnTo>
                  <a:lnTo>
                    <a:pt x="10710" y="2991"/>
                  </a:lnTo>
                  <a:lnTo>
                    <a:pt x="10702" y="2992"/>
                  </a:lnTo>
                  <a:lnTo>
                    <a:pt x="10690" y="2992"/>
                  </a:lnTo>
                  <a:lnTo>
                    <a:pt x="10679" y="2993"/>
                  </a:lnTo>
                  <a:lnTo>
                    <a:pt x="10665" y="2994"/>
                  </a:lnTo>
                  <a:lnTo>
                    <a:pt x="10650" y="2995"/>
                  </a:lnTo>
                  <a:lnTo>
                    <a:pt x="10634" y="2997"/>
                  </a:lnTo>
                  <a:lnTo>
                    <a:pt x="10615" y="2999"/>
                  </a:lnTo>
                  <a:lnTo>
                    <a:pt x="10595" y="3001"/>
                  </a:lnTo>
                  <a:lnTo>
                    <a:pt x="10576" y="3004"/>
                  </a:lnTo>
                  <a:lnTo>
                    <a:pt x="10554" y="3008"/>
                  </a:lnTo>
                  <a:lnTo>
                    <a:pt x="10530" y="3013"/>
                  </a:lnTo>
                  <a:lnTo>
                    <a:pt x="10507" y="3017"/>
                  </a:lnTo>
                  <a:lnTo>
                    <a:pt x="10482" y="3023"/>
                  </a:lnTo>
                  <a:lnTo>
                    <a:pt x="10428" y="3035"/>
                  </a:lnTo>
                  <a:lnTo>
                    <a:pt x="10371" y="3052"/>
                  </a:lnTo>
                  <a:lnTo>
                    <a:pt x="10312" y="3072"/>
                  </a:lnTo>
                  <a:lnTo>
                    <a:pt x="10281" y="3084"/>
                  </a:lnTo>
                  <a:lnTo>
                    <a:pt x="10250" y="3096"/>
                  </a:lnTo>
                  <a:lnTo>
                    <a:pt x="10217" y="3110"/>
                  </a:lnTo>
                  <a:lnTo>
                    <a:pt x="10185" y="3125"/>
                  </a:lnTo>
                  <a:lnTo>
                    <a:pt x="10150" y="3141"/>
                  </a:lnTo>
                  <a:lnTo>
                    <a:pt x="10117" y="3158"/>
                  </a:lnTo>
                  <a:lnTo>
                    <a:pt x="10083" y="3176"/>
                  </a:lnTo>
                  <a:lnTo>
                    <a:pt x="10048" y="3197"/>
                  </a:lnTo>
                  <a:lnTo>
                    <a:pt x="10014" y="3217"/>
                  </a:lnTo>
                  <a:lnTo>
                    <a:pt x="9979" y="3240"/>
                  </a:lnTo>
                  <a:lnTo>
                    <a:pt x="9944" y="3262"/>
                  </a:lnTo>
                  <a:lnTo>
                    <a:pt x="9911" y="3284"/>
                  </a:lnTo>
                  <a:lnTo>
                    <a:pt x="9878" y="3308"/>
                  </a:lnTo>
                  <a:lnTo>
                    <a:pt x="9846" y="3333"/>
                  </a:lnTo>
                  <a:lnTo>
                    <a:pt x="9785" y="3384"/>
                  </a:lnTo>
                  <a:lnTo>
                    <a:pt x="9728" y="3439"/>
                  </a:lnTo>
                  <a:lnTo>
                    <a:pt x="9676" y="3496"/>
                  </a:lnTo>
                  <a:lnTo>
                    <a:pt x="9651" y="3524"/>
                  </a:lnTo>
                  <a:lnTo>
                    <a:pt x="9627" y="3553"/>
                  </a:lnTo>
                  <a:lnTo>
                    <a:pt x="9604" y="3581"/>
                  </a:lnTo>
                  <a:lnTo>
                    <a:pt x="9583" y="3610"/>
                  </a:lnTo>
                  <a:lnTo>
                    <a:pt x="9562" y="3638"/>
                  </a:lnTo>
                  <a:lnTo>
                    <a:pt x="9542" y="3665"/>
                  </a:lnTo>
                  <a:lnTo>
                    <a:pt x="9524" y="3691"/>
                  </a:lnTo>
                  <a:lnTo>
                    <a:pt x="9507" y="3717"/>
                  </a:lnTo>
                  <a:lnTo>
                    <a:pt x="9491" y="3743"/>
                  </a:lnTo>
                  <a:lnTo>
                    <a:pt x="9475" y="3767"/>
                  </a:lnTo>
                  <a:lnTo>
                    <a:pt x="9462" y="3789"/>
                  </a:lnTo>
                  <a:lnTo>
                    <a:pt x="9449" y="3811"/>
                  </a:lnTo>
                  <a:lnTo>
                    <a:pt x="9437" y="3831"/>
                  </a:lnTo>
                  <a:lnTo>
                    <a:pt x="9427" y="3850"/>
                  </a:lnTo>
                  <a:lnTo>
                    <a:pt x="9418" y="3866"/>
                  </a:lnTo>
                  <a:lnTo>
                    <a:pt x="9409" y="3881"/>
                  </a:lnTo>
                  <a:lnTo>
                    <a:pt x="9403" y="3894"/>
                  </a:lnTo>
                  <a:lnTo>
                    <a:pt x="9397" y="3906"/>
                  </a:lnTo>
                  <a:lnTo>
                    <a:pt x="9393" y="3914"/>
                  </a:lnTo>
                  <a:lnTo>
                    <a:pt x="9390" y="3921"/>
                  </a:lnTo>
                  <a:lnTo>
                    <a:pt x="9388" y="3924"/>
                  </a:lnTo>
                  <a:lnTo>
                    <a:pt x="9387" y="3926"/>
                  </a:lnTo>
                  <a:lnTo>
                    <a:pt x="9387" y="3926"/>
                  </a:lnTo>
                  <a:close/>
                  <a:moveTo>
                    <a:pt x="9231" y="0"/>
                  </a:moveTo>
                  <a:lnTo>
                    <a:pt x="9134" y="1"/>
                  </a:lnTo>
                  <a:lnTo>
                    <a:pt x="9040" y="4"/>
                  </a:lnTo>
                  <a:lnTo>
                    <a:pt x="8947" y="8"/>
                  </a:lnTo>
                  <a:lnTo>
                    <a:pt x="8856" y="15"/>
                  </a:lnTo>
                  <a:lnTo>
                    <a:pt x="8767" y="23"/>
                  </a:lnTo>
                  <a:lnTo>
                    <a:pt x="8680" y="34"/>
                  </a:lnTo>
                  <a:lnTo>
                    <a:pt x="8596" y="46"/>
                  </a:lnTo>
                  <a:lnTo>
                    <a:pt x="8513" y="59"/>
                  </a:lnTo>
                  <a:lnTo>
                    <a:pt x="8433" y="75"/>
                  </a:lnTo>
                  <a:lnTo>
                    <a:pt x="8354" y="91"/>
                  </a:lnTo>
                  <a:lnTo>
                    <a:pt x="8277" y="110"/>
                  </a:lnTo>
                  <a:lnTo>
                    <a:pt x="8202" y="129"/>
                  </a:lnTo>
                  <a:lnTo>
                    <a:pt x="8129" y="150"/>
                  </a:lnTo>
                  <a:lnTo>
                    <a:pt x="8058" y="172"/>
                  </a:lnTo>
                  <a:lnTo>
                    <a:pt x="7989" y="195"/>
                  </a:lnTo>
                  <a:lnTo>
                    <a:pt x="7921" y="219"/>
                  </a:lnTo>
                  <a:lnTo>
                    <a:pt x="7856" y="245"/>
                  </a:lnTo>
                  <a:lnTo>
                    <a:pt x="7792" y="272"/>
                  </a:lnTo>
                  <a:lnTo>
                    <a:pt x="7730" y="298"/>
                  </a:lnTo>
                  <a:lnTo>
                    <a:pt x="7669" y="326"/>
                  </a:lnTo>
                  <a:lnTo>
                    <a:pt x="7610" y="355"/>
                  </a:lnTo>
                  <a:lnTo>
                    <a:pt x="7553" y="385"/>
                  </a:lnTo>
                  <a:lnTo>
                    <a:pt x="7497" y="416"/>
                  </a:lnTo>
                  <a:lnTo>
                    <a:pt x="7444" y="447"/>
                  </a:lnTo>
                  <a:lnTo>
                    <a:pt x="7392" y="478"/>
                  </a:lnTo>
                  <a:lnTo>
                    <a:pt x="7342" y="510"/>
                  </a:lnTo>
                  <a:lnTo>
                    <a:pt x="7293" y="542"/>
                  </a:lnTo>
                  <a:lnTo>
                    <a:pt x="7246" y="575"/>
                  </a:lnTo>
                  <a:lnTo>
                    <a:pt x="7200" y="608"/>
                  </a:lnTo>
                  <a:lnTo>
                    <a:pt x="7157" y="641"/>
                  </a:lnTo>
                  <a:lnTo>
                    <a:pt x="7113" y="675"/>
                  </a:lnTo>
                  <a:lnTo>
                    <a:pt x="7073" y="708"/>
                  </a:lnTo>
                  <a:lnTo>
                    <a:pt x="7034" y="742"/>
                  </a:lnTo>
                  <a:lnTo>
                    <a:pt x="6996" y="775"/>
                  </a:lnTo>
                  <a:lnTo>
                    <a:pt x="6960" y="809"/>
                  </a:lnTo>
                  <a:lnTo>
                    <a:pt x="6924" y="842"/>
                  </a:lnTo>
                  <a:lnTo>
                    <a:pt x="6890" y="875"/>
                  </a:lnTo>
                  <a:lnTo>
                    <a:pt x="6858" y="908"/>
                  </a:lnTo>
                  <a:lnTo>
                    <a:pt x="6827" y="941"/>
                  </a:lnTo>
                  <a:lnTo>
                    <a:pt x="6799" y="973"/>
                  </a:lnTo>
                  <a:lnTo>
                    <a:pt x="6771" y="1005"/>
                  </a:lnTo>
                  <a:lnTo>
                    <a:pt x="6744" y="1036"/>
                  </a:lnTo>
                  <a:lnTo>
                    <a:pt x="6718" y="1067"/>
                  </a:lnTo>
                  <a:lnTo>
                    <a:pt x="6694" y="1097"/>
                  </a:lnTo>
                  <a:lnTo>
                    <a:pt x="6672" y="1127"/>
                  </a:lnTo>
                  <a:lnTo>
                    <a:pt x="6650" y="1154"/>
                  </a:lnTo>
                  <a:lnTo>
                    <a:pt x="6629" y="1182"/>
                  </a:lnTo>
                  <a:lnTo>
                    <a:pt x="6611" y="1209"/>
                  </a:lnTo>
                  <a:lnTo>
                    <a:pt x="6593" y="1235"/>
                  </a:lnTo>
                  <a:lnTo>
                    <a:pt x="6576" y="1259"/>
                  </a:lnTo>
                  <a:lnTo>
                    <a:pt x="6560" y="1283"/>
                  </a:lnTo>
                  <a:lnTo>
                    <a:pt x="6547" y="1306"/>
                  </a:lnTo>
                  <a:lnTo>
                    <a:pt x="6533" y="1327"/>
                  </a:lnTo>
                  <a:lnTo>
                    <a:pt x="6521" y="1347"/>
                  </a:lnTo>
                  <a:lnTo>
                    <a:pt x="6509" y="1365"/>
                  </a:lnTo>
                  <a:lnTo>
                    <a:pt x="6500" y="1383"/>
                  </a:lnTo>
                  <a:lnTo>
                    <a:pt x="6491" y="1399"/>
                  </a:lnTo>
                  <a:lnTo>
                    <a:pt x="6484" y="1414"/>
                  </a:lnTo>
                  <a:lnTo>
                    <a:pt x="6476" y="1426"/>
                  </a:lnTo>
                  <a:lnTo>
                    <a:pt x="6471" y="1438"/>
                  </a:lnTo>
                  <a:lnTo>
                    <a:pt x="6466" y="1447"/>
                  </a:lnTo>
                  <a:lnTo>
                    <a:pt x="6462" y="1454"/>
                  </a:lnTo>
                  <a:lnTo>
                    <a:pt x="6460" y="1460"/>
                  </a:lnTo>
                  <a:lnTo>
                    <a:pt x="6458" y="1464"/>
                  </a:lnTo>
                  <a:lnTo>
                    <a:pt x="6431" y="1476"/>
                  </a:lnTo>
                  <a:lnTo>
                    <a:pt x="6402" y="1487"/>
                  </a:lnTo>
                  <a:lnTo>
                    <a:pt x="6373" y="1496"/>
                  </a:lnTo>
                  <a:lnTo>
                    <a:pt x="6343" y="1506"/>
                  </a:lnTo>
                  <a:lnTo>
                    <a:pt x="6311" y="1513"/>
                  </a:lnTo>
                  <a:lnTo>
                    <a:pt x="6278" y="1519"/>
                  </a:lnTo>
                  <a:lnTo>
                    <a:pt x="6244" y="1523"/>
                  </a:lnTo>
                  <a:lnTo>
                    <a:pt x="6208" y="1526"/>
                  </a:lnTo>
                  <a:lnTo>
                    <a:pt x="6161" y="1540"/>
                  </a:lnTo>
                  <a:lnTo>
                    <a:pt x="6114" y="1557"/>
                  </a:lnTo>
                  <a:lnTo>
                    <a:pt x="6090" y="1567"/>
                  </a:lnTo>
                  <a:lnTo>
                    <a:pt x="6067" y="1579"/>
                  </a:lnTo>
                  <a:lnTo>
                    <a:pt x="6043" y="1591"/>
                  </a:lnTo>
                  <a:lnTo>
                    <a:pt x="6018" y="1604"/>
                  </a:lnTo>
                  <a:lnTo>
                    <a:pt x="5994" y="1619"/>
                  </a:lnTo>
                  <a:lnTo>
                    <a:pt x="5970" y="1634"/>
                  </a:lnTo>
                  <a:lnTo>
                    <a:pt x="5945" y="1651"/>
                  </a:lnTo>
                  <a:lnTo>
                    <a:pt x="5919" y="1668"/>
                  </a:lnTo>
                  <a:lnTo>
                    <a:pt x="5893" y="1688"/>
                  </a:lnTo>
                  <a:lnTo>
                    <a:pt x="5867" y="1708"/>
                  </a:lnTo>
                  <a:lnTo>
                    <a:pt x="5842" y="1729"/>
                  </a:lnTo>
                  <a:lnTo>
                    <a:pt x="5815" y="1752"/>
                  </a:lnTo>
                  <a:lnTo>
                    <a:pt x="5787" y="1776"/>
                  </a:lnTo>
                  <a:lnTo>
                    <a:pt x="5759" y="1801"/>
                  </a:lnTo>
                  <a:lnTo>
                    <a:pt x="5731" y="1828"/>
                  </a:lnTo>
                  <a:lnTo>
                    <a:pt x="5702" y="1856"/>
                  </a:lnTo>
                  <a:lnTo>
                    <a:pt x="5673" y="1886"/>
                  </a:lnTo>
                  <a:lnTo>
                    <a:pt x="5643" y="1917"/>
                  </a:lnTo>
                  <a:lnTo>
                    <a:pt x="5612" y="1948"/>
                  </a:lnTo>
                  <a:lnTo>
                    <a:pt x="5581" y="1981"/>
                  </a:lnTo>
                  <a:lnTo>
                    <a:pt x="5549" y="2017"/>
                  </a:lnTo>
                  <a:lnTo>
                    <a:pt x="5516" y="2054"/>
                  </a:lnTo>
                  <a:lnTo>
                    <a:pt x="5483" y="2092"/>
                  </a:lnTo>
                  <a:lnTo>
                    <a:pt x="5449" y="2131"/>
                  </a:lnTo>
                  <a:lnTo>
                    <a:pt x="5414" y="2172"/>
                  </a:lnTo>
                  <a:lnTo>
                    <a:pt x="5379" y="2215"/>
                  </a:lnTo>
                  <a:lnTo>
                    <a:pt x="5342" y="2260"/>
                  </a:lnTo>
                  <a:lnTo>
                    <a:pt x="5305" y="2305"/>
                  </a:lnTo>
                  <a:lnTo>
                    <a:pt x="4961" y="2368"/>
                  </a:lnTo>
                  <a:lnTo>
                    <a:pt x="4957" y="2368"/>
                  </a:lnTo>
                  <a:lnTo>
                    <a:pt x="4951" y="2368"/>
                  </a:lnTo>
                  <a:lnTo>
                    <a:pt x="4942" y="2369"/>
                  </a:lnTo>
                  <a:lnTo>
                    <a:pt x="4932" y="2370"/>
                  </a:lnTo>
                  <a:lnTo>
                    <a:pt x="4920" y="2371"/>
                  </a:lnTo>
                  <a:lnTo>
                    <a:pt x="4904" y="2373"/>
                  </a:lnTo>
                  <a:lnTo>
                    <a:pt x="4888" y="2375"/>
                  </a:lnTo>
                  <a:lnTo>
                    <a:pt x="4869" y="2378"/>
                  </a:lnTo>
                  <a:lnTo>
                    <a:pt x="4848" y="2380"/>
                  </a:lnTo>
                  <a:lnTo>
                    <a:pt x="4826" y="2384"/>
                  </a:lnTo>
                  <a:lnTo>
                    <a:pt x="4802" y="2387"/>
                  </a:lnTo>
                  <a:lnTo>
                    <a:pt x="4776" y="2391"/>
                  </a:lnTo>
                  <a:lnTo>
                    <a:pt x="4748" y="2397"/>
                  </a:lnTo>
                  <a:lnTo>
                    <a:pt x="4719" y="2402"/>
                  </a:lnTo>
                  <a:lnTo>
                    <a:pt x="4688" y="2407"/>
                  </a:lnTo>
                  <a:lnTo>
                    <a:pt x="4656" y="2413"/>
                  </a:lnTo>
                  <a:lnTo>
                    <a:pt x="4622" y="2419"/>
                  </a:lnTo>
                  <a:lnTo>
                    <a:pt x="4587" y="2426"/>
                  </a:lnTo>
                  <a:lnTo>
                    <a:pt x="4550" y="2435"/>
                  </a:lnTo>
                  <a:lnTo>
                    <a:pt x="4512" y="2443"/>
                  </a:lnTo>
                  <a:lnTo>
                    <a:pt x="4473" y="2451"/>
                  </a:lnTo>
                  <a:lnTo>
                    <a:pt x="4432" y="2460"/>
                  </a:lnTo>
                  <a:lnTo>
                    <a:pt x="4390" y="2471"/>
                  </a:lnTo>
                  <a:lnTo>
                    <a:pt x="4347" y="2481"/>
                  </a:lnTo>
                  <a:lnTo>
                    <a:pt x="4303" y="2492"/>
                  </a:lnTo>
                  <a:lnTo>
                    <a:pt x="4258" y="2505"/>
                  </a:lnTo>
                  <a:lnTo>
                    <a:pt x="4165" y="2530"/>
                  </a:lnTo>
                  <a:lnTo>
                    <a:pt x="4068" y="2558"/>
                  </a:lnTo>
                  <a:lnTo>
                    <a:pt x="3968" y="2590"/>
                  </a:lnTo>
                  <a:lnTo>
                    <a:pt x="3865" y="2624"/>
                  </a:lnTo>
                  <a:lnTo>
                    <a:pt x="3759" y="2662"/>
                  </a:lnTo>
                  <a:lnTo>
                    <a:pt x="3652" y="2702"/>
                  </a:lnTo>
                  <a:lnTo>
                    <a:pt x="3544" y="2747"/>
                  </a:lnTo>
                  <a:lnTo>
                    <a:pt x="3433" y="2795"/>
                  </a:lnTo>
                  <a:lnTo>
                    <a:pt x="3322" y="2846"/>
                  </a:lnTo>
                  <a:lnTo>
                    <a:pt x="3210" y="2901"/>
                  </a:lnTo>
                  <a:lnTo>
                    <a:pt x="3099" y="2960"/>
                  </a:lnTo>
                  <a:lnTo>
                    <a:pt x="2987" y="3023"/>
                  </a:lnTo>
                  <a:lnTo>
                    <a:pt x="2931" y="3056"/>
                  </a:lnTo>
                  <a:lnTo>
                    <a:pt x="2877" y="3090"/>
                  </a:lnTo>
                  <a:lnTo>
                    <a:pt x="2822" y="3125"/>
                  </a:lnTo>
                  <a:lnTo>
                    <a:pt x="2767" y="3161"/>
                  </a:lnTo>
                  <a:lnTo>
                    <a:pt x="2713" y="3198"/>
                  </a:lnTo>
                  <a:lnTo>
                    <a:pt x="2659" y="3236"/>
                  </a:lnTo>
                  <a:lnTo>
                    <a:pt x="2605" y="3275"/>
                  </a:lnTo>
                  <a:lnTo>
                    <a:pt x="2553" y="3315"/>
                  </a:lnTo>
                  <a:lnTo>
                    <a:pt x="2501" y="3358"/>
                  </a:lnTo>
                  <a:lnTo>
                    <a:pt x="2449" y="3400"/>
                  </a:lnTo>
                  <a:lnTo>
                    <a:pt x="2398" y="3444"/>
                  </a:lnTo>
                  <a:lnTo>
                    <a:pt x="2348" y="3489"/>
                  </a:lnTo>
                  <a:lnTo>
                    <a:pt x="2299" y="3536"/>
                  </a:lnTo>
                  <a:lnTo>
                    <a:pt x="2250" y="3583"/>
                  </a:lnTo>
                  <a:lnTo>
                    <a:pt x="2217" y="3616"/>
                  </a:lnTo>
                  <a:lnTo>
                    <a:pt x="2184" y="3650"/>
                  </a:lnTo>
                  <a:lnTo>
                    <a:pt x="2150" y="3687"/>
                  </a:lnTo>
                  <a:lnTo>
                    <a:pt x="2116" y="3725"/>
                  </a:lnTo>
                  <a:lnTo>
                    <a:pt x="2081" y="3764"/>
                  </a:lnTo>
                  <a:lnTo>
                    <a:pt x="2046" y="3805"/>
                  </a:lnTo>
                  <a:lnTo>
                    <a:pt x="1973" y="3888"/>
                  </a:lnTo>
                  <a:lnTo>
                    <a:pt x="1901" y="3975"/>
                  </a:lnTo>
                  <a:lnTo>
                    <a:pt x="1829" y="4063"/>
                  </a:lnTo>
                  <a:lnTo>
                    <a:pt x="1759" y="4151"/>
                  </a:lnTo>
                  <a:lnTo>
                    <a:pt x="1690" y="4236"/>
                  </a:lnTo>
                  <a:lnTo>
                    <a:pt x="1657" y="4278"/>
                  </a:lnTo>
                  <a:lnTo>
                    <a:pt x="1625" y="4320"/>
                  </a:lnTo>
                  <a:lnTo>
                    <a:pt x="1593" y="4360"/>
                  </a:lnTo>
                  <a:lnTo>
                    <a:pt x="1563" y="4399"/>
                  </a:lnTo>
                  <a:lnTo>
                    <a:pt x="1533" y="4436"/>
                  </a:lnTo>
                  <a:lnTo>
                    <a:pt x="1505" y="4472"/>
                  </a:lnTo>
                  <a:lnTo>
                    <a:pt x="1478" y="4506"/>
                  </a:lnTo>
                  <a:lnTo>
                    <a:pt x="1453" y="4538"/>
                  </a:lnTo>
                  <a:lnTo>
                    <a:pt x="1429" y="4568"/>
                  </a:lnTo>
                  <a:lnTo>
                    <a:pt x="1407" y="4596"/>
                  </a:lnTo>
                  <a:lnTo>
                    <a:pt x="1387" y="4621"/>
                  </a:lnTo>
                  <a:lnTo>
                    <a:pt x="1369" y="4644"/>
                  </a:lnTo>
                  <a:lnTo>
                    <a:pt x="1352" y="4664"/>
                  </a:lnTo>
                  <a:lnTo>
                    <a:pt x="1338" y="4681"/>
                  </a:lnTo>
                  <a:lnTo>
                    <a:pt x="1325" y="4695"/>
                  </a:lnTo>
                  <a:lnTo>
                    <a:pt x="1315" y="4705"/>
                  </a:lnTo>
                  <a:lnTo>
                    <a:pt x="1315" y="4699"/>
                  </a:lnTo>
                  <a:lnTo>
                    <a:pt x="1315" y="4689"/>
                  </a:lnTo>
                  <a:lnTo>
                    <a:pt x="1315" y="4678"/>
                  </a:lnTo>
                  <a:lnTo>
                    <a:pt x="1315" y="4666"/>
                  </a:lnTo>
                  <a:lnTo>
                    <a:pt x="1315" y="4651"/>
                  </a:lnTo>
                  <a:lnTo>
                    <a:pt x="1316" y="4636"/>
                  </a:lnTo>
                  <a:lnTo>
                    <a:pt x="1316" y="4618"/>
                  </a:lnTo>
                  <a:lnTo>
                    <a:pt x="1316" y="4599"/>
                  </a:lnTo>
                  <a:lnTo>
                    <a:pt x="1316" y="4579"/>
                  </a:lnTo>
                  <a:lnTo>
                    <a:pt x="1317" y="4558"/>
                  </a:lnTo>
                  <a:lnTo>
                    <a:pt x="1317" y="4535"/>
                  </a:lnTo>
                  <a:lnTo>
                    <a:pt x="1318" y="4511"/>
                  </a:lnTo>
                  <a:lnTo>
                    <a:pt x="1320" y="4462"/>
                  </a:lnTo>
                  <a:lnTo>
                    <a:pt x="1322" y="4410"/>
                  </a:lnTo>
                  <a:lnTo>
                    <a:pt x="1325" y="4356"/>
                  </a:lnTo>
                  <a:lnTo>
                    <a:pt x="1329" y="4300"/>
                  </a:lnTo>
                  <a:lnTo>
                    <a:pt x="1334" y="4244"/>
                  </a:lnTo>
                  <a:lnTo>
                    <a:pt x="1341" y="4189"/>
                  </a:lnTo>
                  <a:lnTo>
                    <a:pt x="1348" y="4135"/>
                  </a:lnTo>
                  <a:lnTo>
                    <a:pt x="1356" y="4083"/>
                  </a:lnTo>
                  <a:lnTo>
                    <a:pt x="1366" y="4033"/>
                  </a:lnTo>
                  <a:lnTo>
                    <a:pt x="1372" y="4011"/>
                  </a:lnTo>
                  <a:lnTo>
                    <a:pt x="1378" y="3988"/>
                  </a:lnTo>
                  <a:lnTo>
                    <a:pt x="1398" y="3917"/>
                  </a:lnTo>
                  <a:lnTo>
                    <a:pt x="1421" y="3848"/>
                  </a:lnTo>
                  <a:lnTo>
                    <a:pt x="1447" y="3779"/>
                  </a:lnTo>
                  <a:lnTo>
                    <a:pt x="1474" y="3711"/>
                  </a:lnTo>
                  <a:lnTo>
                    <a:pt x="1503" y="3644"/>
                  </a:lnTo>
                  <a:lnTo>
                    <a:pt x="1534" y="3578"/>
                  </a:lnTo>
                  <a:lnTo>
                    <a:pt x="1566" y="3512"/>
                  </a:lnTo>
                  <a:lnTo>
                    <a:pt x="1600" y="3446"/>
                  </a:lnTo>
                  <a:lnTo>
                    <a:pt x="1634" y="3381"/>
                  </a:lnTo>
                  <a:lnTo>
                    <a:pt x="1670" y="3316"/>
                  </a:lnTo>
                  <a:lnTo>
                    <a:pt x="1743" y="3186"/>
                  </a:lnTo>
                  <a:lnTo>
                    <a:pt x="1820" y="3054"/>
                  </a:lnTo>
                  <a:lnTo>
                    <a:pt x="1897" y="2921"/>
                  </a:lnTo>
                  <a:lnTo>
                    <a:pt x="1780" y="2979"/>
                  </a:lnTo>
                  <a:lnTo>
                    <a:pt x="1665" y="3037"/>
                  </a:lnTo>
                  <a:lnTo>
                    <a:pt x="1547" y="3096"/>
                  </a:lnTo>
                  <a:lnTo>
                    <a:pt x="1487" y="3127"/>
                  </a:lnTo>
                  <a:lnTo>
                    <a:pt x="1425" y="3158"/>
                  </a:lnTo>
                  <a:lnTo>
                    <a:pt x="1363" y="3191"/>
                  </a:lnTo>
                  <a:lnTo>
                    <a:pt x="1298" y="3224"/>
                  </a:lnTo>
                  <a:lnTo>
                    <a:pt x="1232" y="3259"/>
                  </a:lnTo>
                  <a:lnTo>
                    <a:pt x="1164" y="3296"/>
                  </a:lnTo>
                  <a:lnTo>
                    <a:pt x="1093" y="3334"/>
                  </a:lnTo>
                  <a:lnTo>
                    <a:pt x="1020" y="3374"/>
                  </a:lnTo>
                  <a:lnTo>
                    <a:pt x="944" y="3415"/>
                  </a:lnTo>
                  <a:lnTo>
                    <a:pt x="865" y="3460"/>
                  </a:lnTo>
                  <a:lnTo>
                    <a:pt x="797" y="3496"/>
                  </a:lnTo>
                  <a:lnTo>
                    <a:pt x="731" y="3534"/>
                  </a:lnTo>
                  <a:lnTo>
                    <a:pt x="664" y="3573"/>
                  </a:lnTo>
                  <a:lnTo>
                    <a:pt x="600" y="3615"/>
                  </a:lnTo>
                  <a:lnTo>
                    <a:pt x="538" y="3658"/>
                  </a:lnTo>
                  <a:lnTo>
                    <a:pt x="477" y="3705"/>
                  </a:lnTo>
                  <a:lnTo>
                    <a:pt x="418" y="3754"/>
                  </a:lnTo>
                  <a:lnTo>
                    <a:pt x="362" y="3807"/>
                  </a:lnTo>
                  <a:lnTo>
                    <a:pt x="308" y="3862"/>
                  </a:lnTo>
                  <a:lnTo>
                    <a:pt x="259" y="3921"/>
                  </a:lnTo>
                  <a:lnTo>
                    <a:pt x="211" y="3984"/>
                  </a:lnTo>
                  <a:lnTo>
                    <a:pt x="190" y="4017"/>
                  </a:lnTo>
                  <a:lnTo>
                    <a:pt x="168" y="4051"/>
                  </a:lnTo>
                  <a:lnTo>
                    <a:pt x="148" y="4086"/>
                  </a:lnTo>
                  <a:lnTo>
                    <a:pt x="129" y="4122"/>
                  </a:lnTo>
                  <a:lnTo>
                    <a:pt x="111" y="4159"/>
                  </a:lnTo>
                  <a:lnTo>
                    <a:pt x="94" y="4197"/>
                  </a:lnTo>
                  <a:lnTo>
                    <a:pt x="78" y="4236"/>
                  </a:lnTo>
                  <a:lnTo>
                    <a:pt x="63" y="4277"/>
                  </a:lnTo>
                  <a:lnTo>
                    <a:pt x="49" y="4319"/>
                  </a:lnTo>
                  <a:lnTo>
                    <a:pt x="37" y="4362"/>
                  </a:lnTo>
                  <a:lnTo>
                    <a:pt x="29" y="4394"/>
                  </a:lnTo>
                  <a:lnTo>
                    <a:pt x="21" y="4425"/>
                  </a:lnTo>
                  <a:lnTo>
                    <a:pt x="15" y="4456"/>
                  </a:lnTo>
                  <a:lnTo>
                    <a:pt x="11" y="4485"/>
                  </a:lnTo>
                  <a:lnTo>
                    <a:pt x="3" y="4542"/>
                  </a:lnTo>
                  <a:lnTo>
                    <a:pt x="0" y="4597"/>
                  </a:lnTo>
                  <a:lnTo>
                    <a:pt x="0" y="4649"/>
                  </a:lnTo>
                  <a:lnTo>
                    <a:pt x="3" y="4699"/>
                  </a:lnTo>
                  <a:lnTo>
                    <a:pt x="9" y="4746"/>
                  </a:lnTo>
                  <a:lnTo>
                    <a:pt x="17" y="4790"/>
                  </a:lnTo>
                  <a:lnTo>
                    <a:pt x="30" y="4834"/>
                  </a:lnTo>
                  <a:lnTo>
                    <a:pt x="43" y="4874"/>
                  </a:lnTo>
                  <a:lnTo>
                    <a:pt x="59" y="4913"/>
                  </a:lnTo>
                  <a:lnTo>
                    <a:pt x="77" y="4949"/>
                  </a:lnTo>
                  <a:lnTo>
                    <a:pt x="96" y="4984"/>
                  </a:lnTo>
                  <a:lnTo>
                    <a:pt x="117" y="5018"/>
                  </a:lnTo>
                  <a:lnTo>
                    <a:pt x="139" y="5049"/>
                  </a:lnTo>
                  <a:lnTo>
                    <a:pt x="162" y="5079"/>
                  </a:lnTo>
                  <a:lnTo>
                    <a:pt x="165" y="5104"/>
                  </a:lnTo>
                  <a:lnTo>
                    <a:pt x="169" y="5128"/>
                  </a:lnTo>
                  <a:lnTo>
                    <a:pt x="173" y="5154"/>
                  </a:lnTo>
                  <a:lnTo>
                    <a:pt x="178" y="5182"/>
                  </a:lnTo>
                  <a:lnTo>
                    <a:pt x="191" y="5238"/>
                  </a:lnTo>
                  <a:lnTo>
                    <a:pt x="206" y="5298"/>
                  </a:lnTo>
                  <a:lnTo>
                    <a:pt x="225" y="5360"/>
                  </a:lnTo>
                  <a:lnTo>
                    <a:pt x="246" y="5424"/>
                  </a:lnTo>
                  <a:lnTo>
                    <a:pt x="272" y="5487"/>
                  </a:lnTo>
                  <a:lnTo>
                    <a:pt x="287" y="5519"/>
                  </a:lnTo>
                  <a:lnTo>
                    <a:pt x="302" y="5551"/>
                  </a:lnTo>
                  <a:lnTo>
                    <a:pt x="319" y="5581"/>
                  </a:lnTo>
                  <a:lnTo>
                    <a:pt x="336" y="5612"/>
                  </a:lnTo>
                  <a:lnTo>
                    <a:pt x="356" y="5643"/>
                  </a:lnTo>
                  <a:lnTo>
                    <a:pt x="375" y="5673"/>
                  </a:lnTo>
                  <a:lnTo>
                    <a:pt x="397" y="5702"/>
                  </a:lnTo>
                  <a:lnTo>
                    <a:pt x="420" y="5730"/>
                  </a:lnTo>
                  <a:lnTo>
                    <a:pt x="444" y="5758"/>
                  </a:lnTo>
                  <a:lnTo>
                    <a:pt x="468" y="5784"/>
                  </a:lnTo>
                  <a:lnTo>
                    <a:pt x="495" y="5810"/>
                  </a:lnTo>
                  <a:lnTo>
                    <a:pt x="523" y="5835"/>
                  </a:lnTo>
                  <a:lnTo>
                    <a:pt x="553" y="5858"/>
                  </a:lnTo>
                  <a:lnTo>
                    <a:pt x="584" y="5879"/>
                  </a:lnTo>
                  <a:lnTo>
                    <a:pt x="616" y="5900"/>
                  </a:lnTo>
                  <a:lnTo>
                    <a:pt x="650" y="5918"/>
                  </a:lnTo>
                  <a:lnTo>
                    <a:pt x="686" y="5936"/>
                  </a:lnTo>
                  <a:lnTo>
                    <a:pt x="723" y="5951"/>
                  </a:lnTo>
                  <a:lnTo>
                    <a:pt x="751" y="5963"/>
                  </a:lnTo>
                  <a:lnTo>
                    <a:pt x="779" y="5974"/>
                  </a:lnTo>
                  <a:lnTo>
                    <a:pt x="805" y="5983"/>
                  </a:lnTo>
                  <a:lnTo>
                    <a:pt x="830" y="5992"/>
                  </a:lnTo>
                  <a:lnTo>
                    <a:pt x="877" y="6009"/>
                  </a:lnTo>
                  <a:lnTo>
                    <a:pt x="922" y="6021"/>
                  </a:lnTo>
                  <a:lnTo>
                    <a:pt x="965" y="6032"/>
                  </a:lnTo>
                  <a:lnTo>
                    <a:pt x="1008" y="6039"/>
                  </a:lnTo>
                  <a:lnTo>
                    <a:pt x="1052" y="6043"/>
                  </a:lnTo>
                  <a:lnTo>
                    <a:pt x="1097" y="6045"/>
                  </a:lnTo>
                  <a:lnTo>
                    <a:pt x="1094" y="6086"/>
                  </a:lnTo>
                  <a:lnTo>
                    <a:pt x="1091" y="6129"/>
                  </a:lnTo>
                  <a:lnTo>
                    <a:pt x="1089" y="6173"/>
                  </a:lnTo>
                  <a:lnTo>
                    <a:pt x="1086" y="6218"/>
                  </a:lnTo>
                  <a:lnTo>
                    <a:pt x="1081" y="6311"/>
                  </a:lnTo>
                  <a:lnTo>
                    <a:pt x="1077" y="6408"/>
                  </a:lnTo>
                  <a:lnTo>
                    <a:pt x="1075" y="6507"/>
                  </a:lnTo>
                  <a:lnTo>
                    <a:pt x="1075" y="6609"/>
                  </a:lnTo>
                  <a:lnTo>
                    <a:pt x="1077" y="6714"/>
                  </a:lnTo>
                  <a:lnTo>
                    <a:pt x="1082" y="6821"/>
                  </a:lnTo>
                  <a:lnTo>
                    <a:pt x="1089" y="6928"/>
                  </a:lnTo>
                  <a:lnTo>
                    <a:pt x="1099" y="7035"/>
                  </a:lnTo>
                  <a:lnTo>
                    <a:pt x="1114" y="7143"/>
                  </a:lnTo>
                  <a:lnTo>
                    <a:pt x="1123" y="7197"/>
                  </a:lnTo>
                  <a:lnTo>
                    <a:pt x="1132" y="7250"/>
                  </a:lnTo>
                  <a:lnTo>
                    <a:pt x="1142" y="7304"/>
                  </a:lnTo>
                  <a:lnTo>
                    <a:pt x="1155" y="7356"/>
                  </a:lnTo>
                  <a:lnTo>
                    <a:pt x="1168" y="7410"/>
                  </a:lnTo>
                  <a:lnTo>
                    <a:pt x="1182" y="7461"/>
                  </a:lnTo>
                  <a:lnTo>
                    <a:pt x="1198" y="7514"/>
                  </a:lnTo>
                  <a:lnTo>
                    <a:pt x="1215" y="7564"/>
                  </a:lnTo>
                  <a:lnTo>
                    <a:pt x="1233" y="7616"/>
                  </a:lnTo>
                  <a:lnTo>
                    <a:pt x="1253" y="7665"/>
                  </a:lnTo>
                  <a:lnTo>
                    <a:pt x="1277" y="7727"/>
                  </a:lnTo>
                  <a:lnTo>
                    <a:pt x="1301" y="7789"/>
                  </a:lnTo>
                  <a:lnTo>
                    <a:pt x="1354" y="7912"/>
                  </a:lnTo>
                  <a:lnTo>
                    <a:pt x="1410" y="8037"/>
                  </a:lnTo>
                  <a:lnTo>
                    <a:pt x="1468" y="8161"/>
                  </a:lnTo>
                  <a:lnTo>
                    <a:pt x="1528" y="8282"/>
                  </a:lnTo>
                  <a:lnTo>
                    <a:pt x="1589" y="8402"/>
                  </a:lnTo>
                  <a:lnTo>
                    <a:pt x="1650" y="8518"/>
                  </a:lnTo>
                  <a:lnTo>
                    <a:pt x="1681" y="8576"/>
                  </a:lnTo>
                  <a:lnTo>
                    <a:pt x="1712" y="8631"/>
                  </a:lnTo>
                  <a:lnTo>
                    <a:pt x="1743" y="8686"/>
                  </a:lnTo>
                  <a:lnTo>
                    <a:pt x="1773" y="8741"/>
                  </a:lnTo>
                  <a:lnTo>
                    <a:pt x="1803" y="8793"/>
                  </a:lnTo>
                  <a:lnTo>
                    <a:pt x="1833" y="8844"/>
                  </a:lnTo>
                  <a:lnTo>
                    <a:pt x="1862" y="8893"/>
                  </a:lnTo>
                  <a:lnTo>
                    <a:pt x="1890" y="8941"/>
                  </a:lnTo>
                  <a:lnTo>
                    <a:pt x="1918" y="8988"/>
                  </a:lnTo>
                  <a:lnTo>
                    <a:pt x="1946" y="9033"/>
                  </a:lnTo>
                  <a:lnTo>
                    <a:pt x="1971" y="9075"/>
                  </a:lnTo>
                  <a:lnTo>
                    <a:pt x="1997" y="9117"/>
                  </a:lnTo>
                  <a:lnTo>
                    <a:pt x="2021" y="9156"/>
                  </a:lnTo>
                  <a:lnTo>
                    <a:pt x="2045" y="9193"/>
                  </a:lnTo>
                  <a:lnTo>
                    <a:pt x="2066" y="9227"/>
                  </a:lnTo>
                  <a:lnTo>
                    <a:pt x="2088" y="9260"/>
                  </a:lnTo>
                  <a:lnTo>
                    <a:pt x="2108" y="9290"/>
                  </a:lnTo>
                  <a:lnTo>
                    <a:pt x="2125" y="9317"/>
                  </a:lnTo>
                  <a:lnTo>
                    <a:pt x="2121" y="9342"/>
                  </a:lnTo>
                  <a:lnTo>
                    <a:pt x="2115" y="9371"/>
                  </a:lnTo>
                  <a:lnTo>
                    <a:pt x="2108" y="9404"/>
                  </a:lnTo>
                  <a:lnTo>
                    <a:pt x="2099" y="9439"/>
                  </a:lnTo>
                  <a:lnTo>
                    <a:pt x="2089" y="9477"/>
                  </a:lnTo>
                  <a:lnTo>
                    <a:pt x="2078" y="9518"/>
                  </a:lnTo>
                  <a:lnTo>
                    <a:pt x="2065" y="9562"/>
                  </a:lnTo>
                  <a:lnTo>
                    <a:pt x="2052" y="9607"/>
                  </a:lnTo>
                  <a:lnTo>
                    <a:pt x="2037" y="9653"/>
                  </a:lnTo>
                  <a:lnTo>
                    <a:pt x="2023" y="9703"/>
                  </a:lnTo>
                  <a:lnTo>
                    <a:pt x="2008" y="9752"/>
                  </a:lnTo>
                  <a:lnTo>
                    <a:pt x="1991" y="9804"/>
                  </a:lnTo>
                  <a:lnTo>
                    <a:pt x="1958" y="9908"/>
                  </a:lnTo>
                  <a:lnTo>
                    <a:pt x="1925" y="10014"/>
                  </a:lnTo>
                  <a:lnTo>
                    <a:pt x="1893" y="10119"/>
                  </a:lnTo>
                  <a:lnTo>
                    <a:pt x="1876" y="10170"/>
                  </a:lnTo>
                  <a:lnTo>
                    <a:pt x="1862" y="10221"/>
                  </a:lnTo>
                  <a:lnTo>
                    <a:pt x="1848" y="10270"/>
                  </a:lnTo>
                  <a:lnTo>
                    <a:pt x="1833" y="10319"/>
                  </a:lnTo>
                  <a:lnTo>
                    <a:pt x="1821" y="10365"/>
                  </a:lnTo>
                  <a:lnTo>
                    <a:pt x="1808" y="10409"/>
                  </a:lnTo>
                  <a:lnTo>
                    <a:pt x="1797" y="10452"/>
                  </a:lnTo>
                  <a:lnTo>
                    <a:pt x="1788" y="10492"/>
                  </a:lnTo>
                  <a:lnTo>
                    <a:pt x="1779" y="10528"/>
                  </a:lnTo>
                  <a:lnTo>
                    <a:pt x="1773" y="10562"/>
                  </a:lnTo>
                  <a:lnTo>
                    <a:pt x="1768" y="10593"/>
                  </a:lnTo>
                  <a:lnTo>
                    <a:pt x="1764" y="10620"/>
                  </a:lnTo>
                  <a:lnTo>
                    <a:pt x="1763" y="10644"/>
                  </a:lnTo>
                  <a:lnTo>
                    <a:pt x="1763" y="10654"/>
                  </a:lnTo>
                  <a:lnTo>
                    <a:pt x="1763" y="10664"/>
                  </a:lnTo>
                  <a:lnTo>
                    <a:pt x="1766" y="10683"/>
                  </a:lnTo>
                  <a:lnTo>
                    <a:pt x="1772" y="10704"/>
                  </a:lnTo>
                  <a:lnTo>
                    <a:pt x="1780" y="10724"/>
                  </a:lnTo>
                  <a:lnTo>
                    <a:pt x="1792" y="10745"/>
                  </a:lnTo>
                  <a:lnTo>
                    <a:pt x="1805" y="10766"/>
                  </a:lnTo>
                  <a:lnTo>
                    <a:pt x="1822" y="10786"/>
                  </a:lnTo>
                  <a:lnTo>
                    <a:pt x="1840" y="10807"/>
                  </a:lnTo>
                  <a:lnTo>
                    <a:pt x="1861" y="10829"/>
                  </a:lnTo>
                  <a:lnTo>
                    <a:pt x="1884" y="10849"/>
                  </a:lnTo>
                  <a:lnTo>
                    <a:pt x="1909" y="10870"/>
                  </a:lnTo>
                  <a:lnTo>
                    <a:pt x="1936" y="10891"/>
                  </a:lnTo>
                  <a:lnTo>
                    <a:pt x="1966" y="10912"/>
                  </a:lnTo>
                  <a:lnTo>
                    <a:pt x="1997" y="10933"/>
                  </a:lnTo>
                  <a:lnTo>
                    <a:pt x="2030" y="10954"/>
                  </a:lnTo>
                  <a:lnTo>
                    <a:pt x="2065" y="10975"/>
                  </a:lnTo>
                  <a:lnTo>
                    <a:pt x="2101" y="10995"/>
                  </a:lnTo>
                  <a:lnTo>
                    <a:pt x="2140" y="11015"/>
                  </a:lnTo>
                  <a:lnTo>
                    <a:pt x="2179" y="11036"/>
                  </a:lnTo>
                  <a:lnTo>
                    <a:pt x="2219" y="11055"/>
                  </a:lnTo>
                  <a:lnTo>
                    <a:pt x="2261" y="11076"/>
                  </a:lnTo>
                  <a:lnTo>
                    <a:pt x="2305" y="11095"/>
                  </a:lnTo>
                  <a:lnTo>
                    <a:pt x="2349" y="11114"/>
                  </a:lnTo>
                  <a:lnTo>
                    <a:pt x="2395" y="11133"/>
                  </a:lnTo>
                  <a:lnTo>
                    <a:pt x="2441" y="11152"/>
                  </a:lnTo>
                  <a:lnTo>
                    <a:pt x="2536" y="11188"/>
                  </a:lnTo>
                  <a:lnTo>
                    <a:pt x="2634" y="11223"/>
                  </a:lnTo>
                  <a:lnTo>
                    <a:pt x="2734" y="11256"/>
                  </a:lnTo>
                  <a:lnTo>
                    <a:pt x="2836" y="11287"/>
                  </a:lnTo>
                  <a:lnTo>
                    <a:pt x="2939" y="11316"/>
                  </a:lnTo>
                  <a:lnTo>
                    <a:pt x="3041" y="11342"/>
                  </a:lnTo>
                  <a:lnTo>
                    <a:pt x="3143" y="11367"/>
                  </a:lnTo>
                  <a:lnTo>
                    <a:pt x="3243" y="11389"/>
                  </a:lnTo>
                  <a:lnTo>
                    <a:pt x="3341" y="11407"/>
                  </a:lnTo>
                  <a:lnTo>
                    <a:pt x="3437" y="11424"/>
                  </a:lnTo>
                  <a:lnTo>
                    <a:pt x="3529" y="11436"/>
                  </a:lnTo>
                  <a:lnTo>
                    <a:pt x="3574" y="11441"/>
                  </a:lnTo>
                  <a:lnTo>
                    <a:pt x="3618" y="11445"/>
                  </a:lnTo>
                  <a:lnTo>
                    <a:pt x="3660" y="11449"/>
                  </a:lnTo>
                  <a:lnTo>
                    <a:pt x="3702" y="11452"/>
                  </a:lnTo>
                  <a:lnTo>
                    <a:pt x="3741" y="11453"/>
                  </a:lnTo>
                  <a:lnTo>
                    <a:pt x="3779" y="11453"/>
                  </a:lnTo>
                  <a:lnTo>
                    <a:pt x="3816" y="11453"/>
                  </a:lnTo>
                  <a:lnTo>
                    <a:pt x="3851" y="11452"/>
                  </a:lnTo>
                  <a:lnTo>
                    <a:pt x="3884" y="11449"/>
                  </a:lnTo>
                  <a:lnTo>
                    <a:pt x="3916" y="11445"/>
                  </a:lnTo>
                  <a:lnTo>
                    <a:pt x="3946" y="11440"/>
                  </a:lnTo>
                  <a:lnTo>
                    <a:pt x="3974" y="11435"/>
                  </a:lnTo>
                  <a:lnTo>
                    <a:pt x="4000" y="11428"/>
                  </a:lnTo>
                  <a:lnTo>
                    <a:pt x="4024" y="11420"/>
                  </a:lnTo>
                  <a:lnTo>
                    <a:pt x="4045" y="11410"/>
                  </a:lnTo>
                  <a:lnTo>
                    <a:pt x="4064" y="11400"/>
                  </a:lnTo>
                  <a:lnTo>
                    <a:pt x="4080" y="11389"/>
                  </a:lnTo>
                  <a:lnTo>
                    <a:pt x="4095" y="11376"/>
                  </a:lnTo>
                  <a:lnTo>
                    <a:pt x="4122" y="11347"/>
                  </a:lnTo>
                  <a:lnTo>
                    <a:pt x="4147" y="11317"/>
                  </a:lnTo>
                  <a:lnTo>
                    <a:pt x="4170" y="11287"/>
                  </a:lnTo>
                  <a:lnTo>
                    <a:pt x="4192" y="11256"/>
                  </a:lnTo>
                  <a:lnTo>
                    <a:pt x="4213" y="11224"/>
                  </a:lnTo>
                  <a:lnTo>
                    <a:pt x="4232" y="11192"/>
                  </a:lnTo>
                  <a:lnTo>
                    <a:pt x="4250" y="11159"/>
                  </a:lnTo>
                  <a:lnTo>
                    <a:pt x="4266" y="11126"/>
                  </a:lnTo>
                  <a:lnTo>
                    <a:pt x="4282" y="11093"/>
                  </a:lnTo>
                  <a:lnTo>
                    <a:pt x="4296" y="11060"/>
                  </a:lnTo>
                  <a:lnTo>
                    <a:pt x="4309" y="11027"/>
                  </a:lnTo>
                  <a:lnTo>
                    <a:pt x="4321" y="10994"/>
                  </a:lnTo>
                  <a:lnTo>
                    <a:pt x="4331" y="10961"/>
                  </a:lnTo>
                  <a:lnTo>
                    <a:pt x="4341" y="10928"/>
                  </a:lnTo>
                  <a:lnTo>
                    <a:pt x="4358" y="10862"/>
                  </a:lnTo>
                  <a:lnTo>
                    <a:pt x="4371" y="10799"/>
                  </a:lnTo>
                  <a:lnTo>
                    <a:pt x="4381" y="10737"/>
                  </a:lnTo>
                  <a:lnTo>
                    <a:pt x="4389" y="10677"/>
                  </a:lnTo>
                  <a:lnTo>
                    <a:pt x="4394" y="10621"/>
                  </a:lnTo>
                  <a:lnTo>
                    <a:pt x="4396" y="10595"/>
                  </a:lnTo>
                  <a:lnTo>
                    <a:pt x="4397" y="10569"/>
                  </a:lnTo>
                  <a:lnTo>
                    <a:pt x="4398" y="10544"/>
                  </a:lnTo>
                  <a:lnTo>
                    <a:pt x="4399" y="10521"/>
                  </a:lnTo>
                  <a:lnTo>
                    <a:pt x="4400" y="10498"/>
                  </a:lnTo>
                  <a:lnTo>
                    <a:pt x="4400" y="10477"/>
                  </a:lnTo>
                  <a:lnTo>
                    <a:pt x="4400" y="10458"/>
                  </a:lnTo>
                  <a:lnTo>
                    <a:pt x="4400" y="10439"/>
                  </a:lnTo>
                  <a:lnTo>
                    <a:pt x="4400" y="10376"/>
                  </a:lnTo>
                  <a:lnTo>
                    <a:pt x="4405" y="10369"/>
                  </a:lnTo>
                  <a:lnTo>
                    <a:pt x="4410" y="10359"/>
                  </a:lnTo>
                  <a:lnTo>
                    <a:pt x="4416" y="10346"/>
                  </a:lnTo>
                  <a:lnTo>
                    <a:pt x="4423" y="10332"/>
                  </a:lnTo>
                  <a:lnTo>
                    <a:pt x="4431" y="10315"/>
                  </a:lnTo>
                  <a:lnTo>
                    <a:pt x="4441" y="10295"/>
                  </a:lnTo>
                  <a:lnTo>
                    <a:pt x="4451" y="10274"/>
                  </a:lnTo>
                  <a:lnTo>
                    <a:pt x="4462" y="10251"/>
                  </a:lnTo>
                  <a:lnTo>
                    <a:pt x="4474" y="10227"/>
                  </a:lnTo>
                  <a:lnTo>
                    <a:pt x="4487" y="10200"/>
                  </a:lnTo>
                  <a:lnTo>
                    <a:pt x="4500" y="10173"/>
                  </a:lnTo>
                  <a:lnTo>
                    <a:pt x="4513" y="10146"/>
                  </a:lnTo>
                  <a:lnTo>
                    <a:pt x="4540" y="10087"/>
                  </a:lnTo>
                  <a:lnTo>
                    <a:pt x="4568" y="10026"/>
                  </a:lnTo>
                  <a:lnTo>
                    <a:pt x="4596" y="9964"/>
                  </a:lnTo>
                  <a:lnTo>
                    <a:pt x="4621" y="9904"/>
                  </a:lnTo>
                  <a:lnTo>
                    <a:pt x="4646" y="9845"/>
                  </a:lnTo>
                  <a:lnTo>
                    <a:pt x="4658" y="9817"/>
                  </a:lnTo>
                  <a:lnTo>
                    <a:pt x="4668" y="9789"/>
                  </a:lnTo>
                  <a:lnTo>
                    <a:pt x="4677" y="9763"/>
                  </a:lnTo>
                  <a:lnTo>
                    <a:pt x="4686" y="9739"/>
                  </a:lnTo>
                  <a:lnTo>
                    <a:pt x="4694" y="9716"/>
                  </a:lnTo>
                  <a:lnTo>
                    <a:pt x="4700" y="9694"/>
                  </a:lnTo>
                  <a:lnTo>
                    <a:pt x="4705" y="9675"/>
                  </a:lnTo>
                  <a:lnTo>
                    <a:pt x="4709" y="9657"/>
                  </a:lnTo>
                  <a:lnTo>
                    <a:pt x="4711" y="9642"/>
                  </a:lnTo>
                  <a:lnTo>
                    <a:pt x="4712" y="9628"/>
                  </a:lnTo>
                  <a:lnTo>
                    <a:pt x="4713" y="9604"/>
                  </a:lnTo>
                  <a:lnTo>
                    <a:pt x="4717" y="9576"/>
                  </a:lnTo>
                  <a:lnTo>
                    <a:pt x="4722" y="9546"/>
                  </a:lnTo>
                  <a:lnTo>
                    <a:pt x="4728" y="9512"/>
                  </a:lnTo>
                  <a:lnTo>
                    <a:pt x="4734" y="9476"/>
                  </a:lnTo>
                  <a:lnTo>
                    <a:pt x="4739" y="9436"/>
                  </a:lnTo>
                  <a:lnTo>
                    <a:pt x="4742" y="9394"/>
                  </a:lnTo>
                  <a:lnTo>
                    <a:pt x="4743" y="9348"/>
                  </a:lnTo>
                  <a:lnTo>
                    <a:pt x="4779" y="9366"/>
                  </a:lnTo>
                  <a:lnTo>
                    <a:pt x="4816" y="9382"/>
                  </a:lnTo>
                  <a:lnTo>
                    <a:pt x="4855" y="9398"/>
                  </a:lnTo>
                  <a:lnTo>
                    <a:pt x="4894" y="9412"/>
                  </a:lnTo>
                  <a:lnTo>
                    <a:pt x="4935" y="9426"/>
                  </a:lnTo>
                  <a:lnTo>
                    <a:pt x="4976" y="9439"/>
                  </a:lnTo>
                  <a:lnTo>
                    <a:pt x="5020" y="9450"/>
                  </a:lnTo>
                  <a:lnTo>
                    <a:pt x="5063" y="9462"/>
                  </a:lnTo>
                  <a:lnTo>
                    <a:pt x="5107" y="9471"/>
                  </a:lnTo>
                  <a:lnTo>
                    <a:pt x="5152" y="9479"/>
                  </a:lnTo>
                  <a:lnTo>
                    <a:pt x="5197" y="9486"/>
                  </a:lnTo>
                  <a:lnTo>
                    <a:pt x="5243" y="9493"/>
                  </a:lnTo>
                  <a:lnTo>
                    <a:pt x="5289" y="9498"/>
                  </a:lnTo>
                  <a:lnTo>
                    <a:pt x="5336" y="9502"/>
                  </a:lnTo>
                  <a:lnTo>
                    <a:pt x="5382" y="9504"/>
                  </a:lnTo>
                  <a:lnTo>
                    <a:pt x="5429" y="9504"/>
                  </a:lnTo>
                  <a:lnTo>
                    <a:pt x="5406" y="9540"/>
                  </a:lnTo>
                  <a:lnTo>
                    <a:pt x="5382" y="9575"/>
                  </a:lnTo>
                  <a:lnTo>
                    <a:pt x="5361" y="9613"/>
                  </a:lnTo>
                  <a:lnTo>
                    <a:pt x="5340" y="9652"/>
                  </a:lnTo>
                  <a:lnTo>
                    <a:pt x="5320" y="9694"/>
                  </a:lnTo>
                  <a:lnTo>
                    <a:pt x="5311" y="9717"/>
                  </a:lnTo>
                  <a:lnTo>
                    <a:pt x="5302" y="9741"/>
                  </a:lnTo>
                  <a:lnTo>
                    <a:pt x="5293" y="9765"/>
                  </a:lnTo>
                  <a:lnTo>
                    <a:pt x="5286" y="9791"/>
                  </a:lnTo>
                  <a:lnTo>
                    <a:pt x="5279" y="9819"/>
                  </a:lnTo>
                  <a:lnTo>
                    <a:pt x="5273" y="9847"/>
                  </a:lnTo>
                  <a:lnTo>
                    <a:pt x="5269" y="9894"/>
                  </a:lnTo>
                  <a:lnTo>
                    <a:pt x="5268" y="9942"/>
                  </a:lnTo>
                  <a:lnTo>
                    <a:pt x="5270" y="9991"/>
                  </a:lnTo>
                  <a:lnTo>
                    <a:pt x="5274" y="10041"/>
                  </a:lnTo>
                  <a:lnTo>
                    <a:pt x="5282" y="10091"/>
                  </a:lnTo>
                  <a:lnTo>
                    <a:pt x="5294" y="10142"/>
                  </a:lnTo>
                  <a:lnTo>
                    <a:pt x="5309" y="10195"/>
                  </a:lnTo>
                  <a:lnTo>
                    <a:pt x="5327" y="10249"/>
                  </a:lnTo>
                  <a:lnTo>
                    <a:pt x="5350" y="10303"/>
                  </a:lnTo>
                  <a:lnTo>
                    <a:pt x="5376" y="10359"/>
                  </a:lnTo>
                  <a:lnTo>
                    <a:pt x="5406" y="10415"/>
                  </a:lnTo>
                  <a:lnTo>
                    <a:pt x="5440" y="10473"/>
                  </a:lnTo>
                  <a:lnTo>
                    <a:pt x="5477" y="10533"/>
                  </a:lnTo>
                  <a:lnTo>
                    <a:pt x="5498" y="10564"/>
                  </a:lnTo>
                  <a:lnTo>
                    <a:pt x="5519" y="10594"/>
                  </a:lnTo>
                  <a:lnTo>
                    <a:pt x="5542" y="10625"/>
                  </a:lnTo>
                  <a:lnTo>
                    <a:pt x="5565" y="10656"/>
                  </a:lnTo>
                  <a:lnTo>
                    <a:pt x="5590" y="10687"/>
                  </a:lnTo>
                  <a:lnTo>
                    <a:pt x="5616" y="10719"/>
                  </a:lnTo>
                  <a:lnTo>
                    <a:pt x="5651" y="10763"/>
                  </a:lnTo>
                  <a:lnTo>
                    <a:pt x="5685" y="10805"/>
                  </a:lnTo>
                  <a:lnTo>
                    <a:pt x="5718" y="10846"/>
                  </a:lnTo>
                  <a:lnTo>
                    <a:pt x="5751" y="10886"/>
                  </a:lnTo>
                  <a:lnTo>
                    <a:pt x="5783" y="10924"/>
                  </a:lnTo>
                  <a:lnTo>
                    <a:pt x="5815" y="10962"/>
                  </a:lnTo>
                  <a:lnTo>
                    <a:pt x="5846" y="10998"/>
                  </a:lnTo>
                  <a:lnTo>
                    <a:pt x="5877" y="11033"/>
                  </a:lnTo>
                  <a:lnTo>
                    <a:pt x="5907" y="11067"/>
                  </a:lnTo>
                  <a:lnTo>
                    <a:pt x="5937" y="11100"/>
                  </a:lnTo>
                  <a:lnTo>
                    <a:pt x="5966" y="11131"/>
                  </a:lnTo>
                  <a:lnTo>
                    <a:pt x="5995" y="11162"/>
                  </a:lnTo>
                  <a:lnTo>
                    <a:pt x="6024" y="11190"/>
                  </a:lnTo>
                  <a:lnTo>
                    <a:pt x="6053" y="11218"/>
                  </a:lnTo>
                  <a:lnTo>
                    <a:pt x="6082" y="11244"/>
                  </a:lnTo>
                  <a:lnTo>
                    <a:pt x="6111" y="11269"/>
                  </a:lnTo>
                  <a:lnTo>
                    <a:pt x="6139" y="11292"/>
                  </a:lnTo>
                  <a:lnTo>
                    <a:pt x="6168" y="11315"/>
                  </a:lnTo>
                  <a:lnTo>
                    <a:pt x="6196" y="11335"/>
                  </a:lnTo>
                  <a:lnTo>
                    <a:pt x="6225" y="11354"/>
                  </a:lnTo>
                  <a:lnTo>
                    <a:pt x="6252" y="11372"/>
                  </a:lnTo>
                  <a:lnTo>
                    <a:pt x="6281" y="11388"/>
                  </a:lnTo>
                  <a:lnTo>
                    <a:pt x="6310" y="11403"/>
                  </a:lnTo>
                  <a:lnTo>
                    <a:pt x="6339" y="11417"/>
                  </a:lnTo>
                  <a:lnTo>
                    <a:pt x="6368" y="11428"/>
                  </a:lnTo>
                  <a:lnTo>
                    <a:pt x="6398" y="11438"/>
                  </a:lnTo>
                  <a:lnTo>
                    <a:pt x="6427" y="11448"/>
                  </a:lnTo>
                  <a:lnTo>
                    <a:pt x="6458" y="11455"/>
                  </a:lnTo>
                  <a:lnTo>
                    <a:pt x="6488" y="11460"/>
                  </a:lnTo>
                  <a:lnTo>
                    <a:pt x="6519" y="11464"/>
                  </a:lnTo>
                  <a:lnTo>
                    <a:pt x="6550" y="11466"/>
                  </a:lnTo>
                  <a:lnTo>
                    <a:pt x="6582" y="11467"/>
                  </a:lnTo>
                  <a:lnTo>
                    <a:pt x="6628" y="11466"/>
                  </a:lnTo>
                  <a:lnTo>
                    <a:pt x="6674" y="11460"/>
                  </a:lnTo>
                  <a:lnTo>
                    <a:pt x="6719" y="11452"/>
                  </a:lnTo>
                  <a:lnTo>
                    <a:pt x="6763" y="11440"/>
                  </a:lnTo>
                  <a:lnTo>
                    <a:pt x="6807" y="11427"/>
                  </a:lnTo>
                  <a:lnTo>
                    <a:pt x="6849" y="11410"/>
                  </a:lnTo>
                  <a:lnTo>
                    <a:pt x="6891" y="11391"/>
                  </a:lnTo>
                  <a:lnTo>
                    <a:pt x="6933" y="11370"/>
                  </a:lnTo>
                  <a:lnTo>
                    <a:pt x="6973" y="11348"/>
                  </a:lnTo>
                  <a:lnTo>
                    <a:pt x="7013" y="11323"/>
                  </a:lnTo>
                  <a:lnTo>
                    <a:pt x="7052" y="11297"/>
                  </a:lnTo>
                  <a:lnTo>
                    <a:pt x="7091" y="11270"/>
                  </a:lnTo>
                  <a:lnTo>
                    <a:pt x="7165" y="11214"/>
                  </a:lnTo>
                  <a:lnTo>
                    <a:pt x="7236" y="11156"/>
                  </a:lnTo>
                  <a:lnTo>
                    <a:pt x="7271" y="11131"/>
                  </a:lnTo>
                  <a:lnTo>
                    <a:pt x="7306" y="11105"/>
                  </a:lnTo>
                  <a:lnTo>
                    <a:pt x="7342" y="11076"/>
                  </a:lnTo>
                  <a:lnTo>
                    <a:pt x="7377" y="11047"/>
                  </a:lnTo>
                  <a:lnTo>
                    <a:pt x="7412" y="11018"/>
                  </a:lnTo>
                  <a:lnTo>
                    <a:pt x="7447" y="10989"/>
                  </a:lnTo>
                  <a:lnTo>
                    <a:pt x="7482" y="10962"/>
                  </a:lnTo>
                  <a:lnTo>
                    <a:pt x="7517" y="10938"/>
                  </a:lnTo>
                  <a:lnTo>
                    <a:pt x="7658" y="10820"/>
                  </a:lnTo>
                  <a:lnTo>
                    <a:pt x="7802" y="10703"/>
                  </a:lnTo>
                  <a:lnTo>
                    <a:pt x="7944" y="10583"/>
                  </a:lnTo>
                  <a:lnTo>
                    <a:pt x="8086" y="10462"/>
                  </a:lnTo>
                  <a:lnTo>
                    <a:pt x="8156" y="10401"/>
                  </a:lnTo>
                  <a:lnTo>
                    <a:pt x="8224" y="10338"/>
                  </a:lnTo>
                  <a:lnTo>
                    <a:pt x="8292" y="10274"/>
                  </a:lnTo>
                  <a:lnTo>
                    <a:pt x="8358" y="10210"/>
                  </a:lnTo>
                  <a:lnTo>
                    <a:pt x="8423" y="10145"/>
                  </a:lnTo>
                  <a:lnTo>
                    <a:pt x="8487" y="10078"/>
                  </a:lnTo>
                  <a:lnTo>
                    <a:pt x="8548" y="10010"/>
                  </a:lnTo>
                  <a:lnTo>
                    <a:pt x="8608" y="9941"/>
                  </a:lnTo>
                  <a:lnTo>
                    <a:pt x="8623" y="9921"/>
                  </a:lnTo>
                  <a:lnTo>
                    <a:pt x="8638" y="9900"/>
                  </a:lnTo>
                  <a:lnTo>
                    <a:pt x="8653" y="9878"/>
                  </a:lnTo>
                  <a:lnTo>
                    <a:pt x="8668" y="9855"/>
                  </a:lnTo>
                  <a:lnTo>
                    <a:pt x="8685" y="9831"/>
                  </a:lnTo>
                  <a:lnTo>
                    <a:pt x="8700" y="9807"/>
                  </a:lnTo>
                  <a:lnTo>
                    <a:pt x="8733" y="9754"/>
                  </a:lnTo>
                  <a:lnTo>
                    <a:pt x="8766" y="9698"/>
                  </a:lnTo>
                  <a:lnTo>
                    <a:pt x="8799" y="9638"/>
                  </a:lnTo>
                  <a:lnTo>
                    <a:pt x="8834" y="9575"/>
                  </a:lnTo>
                  <a:lnTo>
                    <a:pt x="8868" y="9510"/>
                  </a:lnTo>
                  <a:lnTo>
                    <a:pt x="8903" y="9442"/>
                  </a:lnTo>
                  <a:lnTo>
                    <a:pt x="8939" y="9372"/>
                  </a:lnTo>
                  <a:lnTo>
                    <a:pt x="8975" y="9300"/>
                  </a:lnTo>
                  <a:lnTo>
                    <a:pt x="9010" y="9227"/>
                  </a:lnTo>
                  <a:lnTo>
                    <a:pt x="9045" y="9153"/>
                  </a:lnTo>
                  <a:lnTo>
                    <a:pt x="9080" y="9076"/>
                  </a:lnTo>
                  <a:lnTo>
                    <a:pt x="9149" y="8924"/>
                  </a:lnTo>
                  <a:lnTo>
                    <a:pt x="9217" y="8770"/>
                  </a:lnTo>
                  <a:lnTo>
                    <a:pt x="9250" y="8694"/>
                  </a:lnTo>
                  <a:lnTo>
                    <a:pt x="9282" y="8619"/>
                  </a:lnTo>
                  <a:lnTo>
                    <a:pt x="9313" y="8545"/>
                  </a:lnTo>
                  <a:lnTo>
                    <a:pt x="9343" y="8473"/>
                  </a:lnTo>
                  <a:lnTo>
                    <a:pt x="9373" y="8402"/>
                  </a:lnTo>
                  <a:lnTo>
                    <a:pt x="9401" y="8333"/>
                  </a:lnTo>
                  <a:lnTo>
                    <a:pt x="9428" y="8266"/>
                  </a:lnTo>
                  <a:lnTo>
                    <a:pt x="9454" y="8201"/>
                  </a:lnTo>
                  <a:lnTo>
                    <a:pt x="9477" y="8139"/>
                  </a:lnTo>
                  <a:lnTo>
                    <a:pt x="9500" y="8081"/>
                  </a:lnTo>
                  <a:lnTo>
                    <a:pt x="9522" y="8026"/>
                  </a:lnTo>
                  <a:lnTo>
                    <a:pt x="9540" y="7974"/>
                  </a:lnTo>
                  <a:lnTo>
                    <a:pt x="9550" y="7951"/>
                  </a:lnTo>
                  <a:lnTo>
                    <a:pt x="9558" y="7927"/>
                  </a:lnTo>
                  <a:lnTo>
                    <a:pt x="9566" y="7905"/>
                  </a:lnTo>
                  <a:lnTo>
                    <a:pt x="9573" y="7884"/>
                  </a:lnTo>
                  <a:lnTo>
                    <a:pt x="9644" y="7942"/>
                  </a:lnTo>
                  <a:lnTo>
                    <a:pt x="9714" y="7999"/>
                  </a:lnTo>
                  <a:lnTo>
                    <a:pt x="9784" y="8055"/>
                  </a:lnTo>
                  <a:lnTo>
                    <a:pt x="9819" y="8080"/>
                  </a:lnTo>
                  <a:lnTo>
                    <a:pt x="9854" y="8106"/>
                  </a:lnTo>
                  <a:lnTo>
                    <a:pt x="9889" y="8130"/>
                  </a:lnTo>
                  <a:lnTo>
                    <a:pt x="9924" y="8153"/>
                  </a:lnTo>
                  <a:lnTo>
                    <a:pt x="9960" y="8175"/>
                  </a:lnTo>
                  <a:lnTo>
                    <a:pt x="9995" y="8195"/>
                  </a:lnTo>
                  <a:lnTo>
                    <a:pt x="10030" y="8213"/>
                  </a:lnTo>
                  <a:lnTo>
                    <a:pt x="10065" y="8231"/>
                  </a:lnTo>
                  <a:lnTo>
                    <a:pt x="10100" y="8245"/>
                  </a:lnTo>
                  <a:lnTo>
                    <a:pt x="10135" y="8258"/>
                  </a:lnTo>
                  <a:lnTo>
                    <a:pt x="10205" y="8281"/>
                  </a:lnTo>
                  <a:lnTo>
                    <a:pt x="10274" y="8304"/>
                  </a:lnTo>
                  <a:lnTo>
                    <a:pt x="10344" y="8324"/>
                  </a:lnTo>
                  <a:lnTo>
                    <a:pt x="10412" y="8343"/>
                  </a:lnTo>
                  <a:lnTo>
                    <a:pt x="10478" y="8359"/>
                  </a:lnTo>
                  <a:lnTo>
                    <a:pt x="10511" y="8366"/>
                  </a:lnTo>
                  <a:lnTo>
                    <a:pt x="10543" y="8372"/>
                  </a:lnTo>
                  <a:lnTo>
                    <a:pt x="10574" y="8376"/>
                  </a:lnTo>
                  <a:lnTo>
                    <a:pt x="10605" y="8380"/>
                  </a:lnTo>
                  <a:lnTo>
                    <a:pt x="10636" y="8382"/>
                  </a:lnTo>
                  <a:lnTo>
                    <a:pt x="10665" y="8382"/>
                  </a:lnTo>
                  <a:lnTo>
                    <a:pt x="10706" y="8382"/>
                  </a:lnTo>
                  <a:lnTo>
                    <a:pt x="10745" y="8380"/>
                  </a:lnTo>
                  <a:lnTo>
                    <a:pt x="10785" y="8377"/>
                  </a:lnTo>
                  <a:lnTo>
                    <a:pt x="10825" y="8372"/>
                  </a:lnTo>
                  <a:lnTo>
                    <a:pt x="10863" y="8367"/>
                  </a:lnTo>
                  <a:lnTo>
                    <a:pt x="10901" y="8359"/>
                  </a:lnTo>
                  <a:lnTo>
                    <a:pt x="10938" y="8351"/>
                  </a:lnTo>
                  <a:lnTo>
                    <a:pt x="10975" y="8342"/>
                  </a:lnTo>
                  <a:lnTo>
                    <a:pt x="11011" y="8331"/>
                  </a:lnTo>
                  <a:lnTo>
                    <a:pt x="11048" y="8318"/>
                  </a:lnTo>
                  <a:lnTo>
                    <a:pt x="11083" y="8305"/>
                  </a:lnTo>
                  <a:lnTo>
                    <a:pt x="11118" y="8290"/>
                  </a:lnTo>
                  <a:lnTo>
                    <a:pt x="11152" y="8274"/>
                  </a:lnTo>
                  <a:lnTo>
                    <a:pt x="11186" y="8258"/>
                  </a:lnTo>
                  <a:lnTo>
                    <a:pt x="11220" y="8239"/>
                  </a:lnTo>
                  <a:lnTo>
                    <a:pt x="11253" y="8218"/>
                  </a:lnTo>
                  <a:lnTo>
                    <a:pt x="11286" y="8198"/>
                  </a:lnTo>
                  <a:lnTo>
                    <a:pt x="11318" y="8175"/>
                  </a:lnTo>
                  <a:lnTo>
                    <a:pt x="11349" y="8151"/>
                  </a:lnTo>
                  <a:lnTo>
                    <a:pt x="11381" y="8127"/>
                  </a:lnTo>
                  <a:lnTo>
                    <a:pt x="11412" y="8101"/>
                  </a:lnTo>
                  <a:lnTo>
                    <a:pt x="11442" y="8073"/>
                  </a:lnTo>
                  <a:lnTo>
                    <a:pt x="11472" y="8044"/>
                  </a:lnTo>
                  <a:lnTo>
                    <a:pt x="11502" y="8014"/>
                  </a:lnTo>
                  <a:lnTo>
                    <a:pt x="11531" y="7982"/>
                  </a:lnTo>
                  <a:lnTo>
                    <a:pt x="11560" y="7951"/>
                  </a:lnTo>
                  <a:lnTo>
                    <a:pt x="11587" y="7917"/>
                  </a:lnTo>
                  <a:lnTo>
                    <a:pt x="11616" y="7882"/>
                  </a:lnTo>
                  <a:lnTo>
                    <a:pt x="11643" y="7844"/>
                  </a:lnTo>
                  <a:lnTo>
                    <a:pt x="11671" y="7807"/>
                  </a:lnTo>
                  <a:lnTo>
                    <a:pt x="11698" y="7768"/>
                  </a:lnTo>
                  <a:lnTo>
                    <a:pt x="11724" y="7728"/>
                  </a:lnTo>
                  <a:lnTo>
                    <a:pt x="11746" y="7693"/>
                  </a:lnTo>
                  <a:lnTo>
                    <a:pt x="11768" y="7658"/>
                  </a:lnTo>
                  <a:lnTo>
                    <a:pt x="11788" y="7623"/>
                  </a:lnTo>
                  <a:lnTo>
                    <a:pt x="11806" y="7589"/>
                  </a:lnTo>
                  <a:lnTo>
                    <a:pt x="11824" y="7555"/>
                  </a:lnTo>
                  <a:lnTo>
                    <a:pt x="11839" y="7522"/>
                  </a:lnTo>
                  <a:lnTo>
                    <a:pt x="11855" y="7490"/>
                  </a:lnTo>
                  <a:lnTo>
                    <a:pt x="11868" y="7459"/>
                  </a:lnTo>
                  <a:lnTo>
                    <a:pt x="11881" y="7429"/>
                  </a:lnTo>
                  <a:lnTo>
                    <a:pt x="11893" y="7401"/>
                  </a:lnTo>
                  <a:lnTo>
                    <a:pt x="11903" y="7373"/>
                  </a:lnTo>
                  <a:lnTo>
                    <a:pt x="11913" y="7347"/>
                  </a:lnTo>
                  <a:lnTo>
                    <a:pt x="11921" y="7322"/>
                  </a:lnTo>
                  <a:lnTo>
                    <a:pt x="11929" y="7300"/>
                  </a:lnTo>
                  <a:lnTo>
                    <a:pt x="11936" y="7279"/>
                  </a:lnTo>
                  <a:lnTo>
                    <a:pt x="11943" y="7260"/>
                  </a:lnTo>
                  <a:lnTo>
                    <a:pt x="12038" y="7282"/>
                  </a:lnTo>
                  <a:lnTo>
                    <a:pt x="12135" y="7302"/>
                  </a:lnTo>
                  <a:lnTo>
                    <a:pt x="12235" y="7317"/>
                  </a:lnTo>
                  <a:lnTo>
                    <a:pt x="12336" y="7330"/>
                  </a:lnTo>
                  <a:lnTo>
                    <a:pt x="12439" y="7341"/>
                  </a:lnTo>
                  <a:lnTo>
                    <a:pt x="12543" y="7348"/>
                  </a:lnTo>
                  <a:lnTo>
                    <a:pt x="12648" y="7352"/>
                  </a:lnTo>
                  <a:lnTo>
                    <a:pt x="12753" y="7354"/>
                  </a:lnTo>
                  <a:lnTo>
                    <a:pt x="12846" y="7354"/>
                  </a:lnTo>
                  <a:lnTo>
                    <a:pt x="12899" y="7353"/>
                  </a:lnTo>
                  <a:lnTo>
                    <a:pt x="12951" y="7351"/>
                  </a:lnTo>
                  <a:lnTo>
                    <a:pt x="13004" y="7347"/>
                  </a:lnTo>
                  <a:lnTo>
                    <a:pt x="13056" y="7341"/>
                  </a:lnTo>
                  <a:lnTo>
                    <a:pt x="13109" y="7334"/>
                  </a:lnTo>
                  <a:lnTo>
                    <a:pt x="13161" y="7324"/>
                  </a:lnTo>
                  <a:lnTo>
                    <a:pt x="13213" y="7314"/>
                  </a:lnTo>
                  <a:lnTo>
                    <a:pt x="13265" y="7303"/>
                  </a:lnTo>
                  <a:lnTo>
                    <a:pt x="13318" y="7288"/>
                  </a:lnTo>
                  <a:lnTo>
                    <a:pt x="13369" y="7274"/>
                  </a:lnTo>
                  <a:lnTo>
                    <a:pt x="13421" y="7257"/>
                  </a:lnTo>
                  <a:lnTo>
                    <a:pt x="13472" y="7239"/>
                  </a:lnTo>
                  <a:lnTo>
                    <a:pt x="13524" y="7219"/>
                  </a:lnTo>
                  <a:lnTo>
                    <a:pt x="13575" y="7198"/>
                  </a:lnTo>
                  <a:lnTo>
                    <a:pt x="13625" y="7175"/>
                  </a:lnTo>
                  <a:lnTo>
                    <a:pt x="13676" y="7151"/>
                  </a:lnTo>
                  <a:lnTo>
                    <a:pt x="13726" y="7125"/>
                  </a:lnTo>
                  <a:lnTo>
                    <a:pt x="13776" y="7099"/>
                  </a:lnTo>
                  <a:lnTo>
                    <a:pt x="13826" y="7070"/>
                  </a:lnTo>
                  <a:lnTo>
                    <a:pt x="13875" y="7040"/>
                  </a:lnTo>
                  <a:lnTo>
                    <a:pt x="13925" y="7009"/>
                  </a:lnTo>
                  <a:lnTo>
                    <a:pt x="13973" y="6976"/>
                  </a:lnTo>
                  <a:lnTo>
                    <a:pt x="14022" y="6942"/>
                  </a:lnTo>
                  <a:lnTo>
                    <a:pt x="14069" y="6907"/>
                  </a:lnTo>
                  <a:lnTo>
                    <a:pt x="14117" y="6870"/>
                  </a:lnTo>
                  <a:lnTo>
                    <a:pt x="14164" y="6832"/>
                  </a:lnTo>
                  <a:lnTo>
                    <a:pt x="14211" y="6792"/>
                  </a:lnTo>
                  <a:lnTo>
                    <a:pt x="14256" y="6752"/>
                  </a:lnTo>
                  <a:lnTo>
                    <a:pt x="14302" y="6709"/>
                  </a:lnTo>
                  <a:lnTo>
                    <a:pt x="14347" y="6666"/>
                  </a:lnTo>
                  <a:lnTo>
                    <a:pt x="14392" y="6621"/>
                  </a:lnTo>
                  <a:lnTo>
                    <a:pt x="14436" y="6574"/>
                  </a:lnTo>
                  <a:lnTo>
                    <a:pt x="14502" y="6500"/>
                  </a:lnTo>
                  <a:lnTo>
                    <a:pt x="14566" y="6424"/>
                  </a:lnTo>
                  <a:lnTo>
                    <a:pt x="14629" y="6345"/>
                  </a:lnTo>
                  <a:lnTo>
                    <a:pt x="14689" y="6264"/>
                  </a:lnTo>
                  <a:lnTo>
                    <a:pt x="14746" y="6181"/>
                  </a:lnTo>
                  <a:lnTo>
                    <a:pt x="14802" y="6095"/>
                  </a:lnTo>
                  <a:lnTo>
                    <a:pt x="14856" y="6008"/>
                  </a:lnTo>
                  <a:lnTo>
                    <a:pt x="14907" y="5918"/>
                  </a:lnTo>
                  <a:lnTo>
                    <a:pt x="14957" y="5826"/>
                  </a:lnTo>
                  <a:lnTo>
                    <a:pt x="15004" y="5732"/>
                  </a:lnTo>
                  <a:lnTo>
                    <a:pt x="15050" y="5636"/>
                  </a:lnTo>
                  <a:lnTo>
                    <a:pt x="15092" y="5539"/>
                  </a:lnTo>
                  <a:lnTo>
                    <a:pt x="15133" y="5439"/>
                  </a:lnTo>
                  <a:lnTo>
                    <a:pt x="15172" y="5337"/>
                  </a:lnTo>
                  <a:lnTo>
                    <a:pt x="15208" y="5234"/>
                  </a:lnTo>
                  <a:lnTo>
                    <a:pt x="15242" y="5129"/>
                  </a:lnTo>
                  <a:lnTo>
                    <a:pt x="15274" y="5023"/>
                  </a:lnTo>
                  <a:lnTo>
                    <a:pt x="15303" y="4914"/>
                  </a:lnTo>
                  <a:lnTo>
                    <a:pt x="15331" y="4804"/>
                  </a:lnTo>
                  <a:lnTo>
                    <a:pt x="15355" y="4693"/>
                  </a:lnTo>
                  <a:lnTo>
                    <a:pt x="15377" y="4579"/>
                  </a:lnTo>
                  <a:lnTo>
                    <a:pt x="15398" y="4464"/>
                  </a:lnTo>
                  <a:lnTo>
                    <a:pt x="15415" y="4348"/>
                  </a:lnTo>
                  <a:lnTo>
                    <a:pt x="15431" y="4230"/>
                  </a:lnTo>
                  <a:lnTo>
                    <a:pt x="15443" y="4111"/>
                  </a:lnTo>
                  <a:lnTo>
                    <a:pt x="15454" y="3990"/>
                  </a:lnTo>
                  <a:lnTo>
                    <a:pt x="15462" y="3868"/>
                  </a:lnTo>
                  <a:lnTo>
                    <a:pt x="15467" y="3745"/>
                  </a:lnTo>
                  <a:lnTo>
                    <a:pt x="15470" y="3621"/>
                  </a:lnTo>
                  <a:lnTo>
                    <a:pt x="15471" y="3496"/>
                  </a:lnTo>
                  <a:lnTo>
                    <a:pt x="15469" y="3369"/>
                  </a:lnTo>
                  <a:lnTo>
                    <a:pt x="15464" y="3240"/>
                  </a:lnTo>
                  <a:lnTo>
                    <a:pt x="15460" y="3150"/>
                  </a:lnTo>
                  <a:lnTo>
                    <a:pt x="15455" y="3060"/>
                  </a:lnTo>
                  <a:lnTo>
                    <a:pt x="15448" y="2971"/>
                  </a:lnTo>
                  <a:lnTo>
                    <a:pt x="15441" y="2885"/>
                  </a:lnTo>
                  <a:lnTo>
                    <a:pt x="15435" y="2799"/>
                  </a:lnTo>
                  <a:lnTo>
                    <a:pt x="15427" y="2716"/>
                  </a:lnTo>
                  <a:lnTo>
                    <a:pt x="15418" y="2633"/>
                  </a:lnTo>
                  <a:lnTo>
                    <a:pt x="15409" y="2553"/>
                  </a:lnTo>
                  <a:lnTo>
                    <a:pt x="15400" y="2475"/>
                  </a:lnTo>
                  <a:lnTo>
                    <a:pt x="15390" y="2397"/>
                  </a:lnTo>
                  <a:lnTo>
                    <a:pt x="15379" y="2321"/>
                  </a:lnTo>
                  <a:lnTo>
                    <a:pt x="15369" y="2246"/>
                  </a:lnTo>
                  <a:lnTo>
                    <a:pt x="15356" y="2174"/>
                  </a:lnTo>
                  <a:lnTo>
                    <a:pt x="15345" y="2102"/>
                  </a:lnTo>
                  <a:lnTo>
                    <a:pt x="15332" y="2032"/>
                  </a:lnTo>
                  <a:lnTo>
                    <a:pt x="15319" y="1964"/>
                  </a:lnTo>
                  <a:lnTo>
                    <a:pt x="15306" y="1897"/>
                  </a:lnTo>
                  <a:lnTo>
                    <a:pt x="15291" y="1832"/>
                  </a:lnTo>
                  <a:lnTo>
                    <a:pt x="15277" y="1768"/>
                  </a:lnTo>
                  <a:lnTo>
                    <a:pt x="15261" y="1705"/>
                  </a:lnTo>
                  <a:lnTo>
                    <a:pt x="15247" y="1645"/>
                  </a:lnTo>
                  <a:lnTo>
                    <a:pt x="15231" y="1585"/>
                  </a:lnTo>
                  <a:lnTo>
                    <a:pt x="15214" y="1527"/>
                  </a:lnTo>
                  <a:lnTo>
                    <a:pt x="15197" y="1471"/>
                  </a:lnTo>
                  <a:lnTo>
                    <a:pt x="15181" y="1415"/>
                  </a:lnTo>
                  <a:lnTo>
                    <a:pt x="15163" y="1361"/>
                  </a:lnTo>
                  <a:lnTo>
                    <a:pt x="15146" y="1310"/>
                  </a:lnTo>
                  <a:lnTo>
                    <a:pt x="15127" y="1258"/>
                  </a:lnTo>
                  <a:lnTo>
                    <a:pt x="15109" y="1210"/>
                  </a:lnTo>
                  <a:lnTo>
                    <a:pt x="15090" y="1162"/>
                  </a:lnTo>
                  <a:lnTo>
                    <a:pt x="15071" y="1115"/>
                  </a:lnTo>
                  <a:lnTo>
                    <a:pt x="15051" y="1071"/>
                  </a:lnTo>
                  <a:lnTo>
                    <a:pt x="15031" y="1027"/>
                  </a:lnTo>
                  <a:lnTo>
                    <a:pt x="15011" y="985"/>
                  </a:lnTo>
                  <a:lnTo>
                    <a:pt x="14991" y="944"/>
                  </a:lnTo>
                  <a:lnTo>
                    <a:pt x="14969" y="905"/>
                  </a:lnTo>
                  <a:lnTo>
                    <a:pt x="14949" y="867"/>
                  </a:lnTo>
                  <a:lnTo>
                    <a:pt x="14927" y="831"/>
                  </a:lnTo>
                  <a:lnTo>
                    <a:pt x="14905" y="796"/>
                  </a:lnTo>
                  <a:lnTo>
                    <a:pt x="14884" y="763"/>
                  </a:lnTo>
                  <a:lnTo>
                    <a:pt x="14862" y="731"/>
                  </a:lnTo>
                  <a:lnTo>
                    <a:pt x="14839" y="700"/>
                  </a:lnTo>
                  <a:lnTo>
                    <a:pt x="14817" y="670"/>
                  </a:lnTo>
                  <a:lnTo>
                    <a:pt x="14794" y="642"/>
                  </a:lnTo>
                  <a:lnTo>
                    <a:pt x="14771" y="617"/>
                  </a:lnTo>
                  <a:lnTo>
                    <a:pt x="14748" y="591"/>
                  </a:lnTo>
                  <a:lnTo>
                    <a:pt x="14725" y="567"/>
                  </a:lnTo>
                  <a:lnTo>
                    <a:pt x="14702" y="546"/>
                  </a:lnTo>
                  <a:lnTo>
                    <a:pt x="14678" y="524"/>
                  </a:lnTo>
                  <a:lnTo>
                    <a:pt x="14654" y="504"/>
                  </a:lnTo>
                  <a:lnTo>
                    <a:pt x="14630" y="487"/>
                  </a:lnTo>
                  <a:lnTo>
                    <a:pt x="14606" y="469"/>
                  </a:lnTo>
                  <a:lnTo>
                    <a:pt x="14582" y="454"/>
                  </a:lnTo>
                  <a:lnTo>
                    <a:pt x="14557" y="440"/>
                  </a:lnTo>
                  <a:lnTo>
                    <a:pt x="14534" y="427"/>
                  </a:lnTo>
                  <a:lnTo>
                    <a:pt x="14509" y="416"/>
                  </a:lnTo>
                  <a:lnTo>
                    <a:pt x="14484" y="405"/>
                  </a:lnTo>
                  <a:lnTo>
                    <a:pt x="14459" y="397"/>
                  </a:lnTo>
                  <a:lnTo>
                    <a:pt x="14435" y="390"/>
                  </a:lnTo>
                  <a:lnTo>
                    <a:pt x="14410" y="384"/>
                  </a:lnTo>
                  <a:lnTo>
                    <a:pt x="14385" y="380"/>
                  </a:lnTo>
                  <a:lnTo>
                    <a:pt x="14360" y="376"/>
                  </a:lnTo>
                  <a:lnTo>
                    <a:pt x="14336" y="374"/>
                  </a:lnTo>
                  <a:lnTo>
                    <a:pt x="14311" y="374"/>
                  </a:lnTo>
                  <a:lnTo>
                    <a:pt x="14280" y="374"/>
                  </a:lnTo>
                  <a:lnTo>
                    <a:pt x="14251" y="377"/>
                  </a:lnTo>
                  <a:lnTo>
                    <a:pt x="14223" y="381"/>
                  </a:lnTo>
                  <a:lnTo>
                    <a:pt x="14170" y="393"/>
                  </a:lnTo>
                  <a:lnTo>
                    <a:pt x="14121" y="409"/>
                  </a:lnTo>
                  <a:lnTo>
                    <a:pt x="14074" y="428"/>
                  </a:lnTo>
                  <a:lnTo>
                    <a:pt x="14031" y="450"/>
                  </a:lnTo>
                  <a:lnTo>
                    <a:pt x="13990" y="473"/>
                  </a:lnTo>
                  <a:lnTo>
                    <a:pt x="13953" y="500"/>
                  </a:lnTo>
                  <a:lnTo>
                    <a:pt x="13917" y="529"/>
                  </a:lnTo>
                  <a:lnTo>
                    <a:pt x="13885" y="559"/>
                  </a:lnTo>
                  <a:lnTo>
                    <a:pt x="13855" y="590"/>
                  </a:lnTo>
                  <a:lnTo>
                    <a:pt x="13828" y="622"/>
                  </a:lnTo>
                  <a:lnTo>
                    <a:pt x="13802" y="654"/>
                  </a:lnTo>
                  <a:lnTo>
                    <a:pt x="13779" y="686"/>
                  </a:lnTo>
                  <a:lnTo>
                    <a:pt x="13757" y="718"/>
                  </a:lnTo>
                  <a:lnTo>
                    <a:pt x="13737" y="748"/>
                  </a:lnTo>
                  <a:lnTo>
                    <a:pt x="13719" y="778"/>
                  </a:lnTo>
                  <a:lnTo>
                    <a:pt x="13706" y="803"/>
                  </a:lnTo>
                  <a:lnTo>
                    <a:pt x="13690" y="829"/>
                  </a:lnTo>
                  <a:lnTo>
                    <a:pt x="13674" y="857"/>
                  </a:lnTo>
                  <a:lnTo>
                    <a:pt x="13656" y="883"/>
                  </a:lnTo>
                  <a:lnTo>
                    <a:pt x="13639" y="909"/>
                  </a:lnTo>
                  <a:lnTo>
                    <a:pt x="13622" y="932"/>
                  </a:lnTo>
                  <a:lnTo>
                    <a:pt x="13615" y="942"/>
                  </a:lnTo>
                  <a:lnTo>
                    <a:pt x="13607" y="951"/>
                  </a:lnTo>
                  <a:lnTo>
                    <a:pt x="13600" y="959"/>
                  </a:lnTo>
                  <a:lnTo>
                    <a:pt x="13594" y="966"/>
                  </a:lnTo>
                  <a:lnTo>
                    <a:pt x="13559" y="987"/>
                  </a:lnTo>
                  <a:lnTo>
                    <a:pt x="13524" y="1007"/>
                  </a:lnTo>
                  <a:lnTo>
                    <a:pt x="13489" y="1025"/>
                  </a:lnTo>
                  <a:lnTo>
                    <a:pt x="13454" y="1040"/>
                  </a:lnTo>
                  <a:lnTo>
                    <a:pt x="13419" y="1053"/>
                  </a:lnTo>
                  <a:lnTo>
                    <a:pt x="13384" y="1067"/>
                  </a:lnTo>
                  <a:lnTo>
                    <a:pt x="13314" y="1090"/>
                  </a:lnTo>
                  <a:lnTo>
                    <a:pt x="13266" y="1112"/>
                  </a:lnTo>
                  <a:lnTo>
                    <a:pt x="13214" y="1134"/>
                  </a:lnTo>
                  <a:lnTo>
                    <a:pt x="13162" y="1157"/>
                  </a:lnTo>
                  <a:lnTo>
                    <a:pt x="13135" y="1170"/>
                  </a:lnTo>
                  <a:lnTo>
                    <a:pt x="13107" y="1183"/>
                  </a:lnTo>
                  <a:lnTo>
                    <a:pt x="13079" y="1199"/>
                  </a:lnTo>
                  <a:lnTo>
                    <a:pt x="13051" y="1216"/>
                  </a:lnTo>
                  <a:lnTo>
                    <a:pt x="13022" y="1235"/>
                  </a:lnTo>
                  <a:lnTo>
                    <a:pt x="12993" y="1256"/>
                  </a:lnTo>
                  <a:lnTo>
                    <a:pt x="12965" y="1280"/>
                  </a:lnTo>
                  <a:lnTo>
                    <a:pt x="12936" y="1307"/>
                  </a:lnTo>
                  <a:lnTo>
                    <a:pt x="12907" y="1337"/>
                  </a:lnTo>
                  <a:lnTo>
                    <a:pt x="12878" y="1371"/>
                  </a:lnTo>
                  <a:lnTo>
                    <a:pt x="12858" y="1391"/>
                  </a:lnTo>
                  <a:lnTo>
                    <a:pt x="12840" y="1412"/>
                  </a:lnTo>
                  <a:lnTo>
                    <a:pt x="12823" y="1433"/>
                  </a:lnTo>
                  <a:lnTo>
                    <a:pt x="12809" y="1455"/>
                  </a:lnTo>
                  <a:lnTo>
                    <a:pt x="12795" y="1477"/>
                  </a:lnTo>
                  <a:lnTo>
                    <a:pt x="12783" y="1499"/>
                  </a:lnTo>
                  <a:lnTo>
                    <a:pt x="12772" y="1522"/>
                  </a:lnTo>
                  <a:lnTo>
                    <a:pt x="12762" y="1545"/>
                  </a:lnTo>
                  <a:lnTo>
                    <a:pt x="12754" y="1568"/>
                  </a:lnTo>
                  <a:lnTo>
                    <a:pt x="12747" y="1591"/>
                  </a:lnTo>
                  <a:lnTo>
                    <a:pt x="12741" y="1615"/>
                  </a:lnTo>
                  <a:lnTo>
                    <a:pt x="12735" y="1638"/>
                  </a:lnTo>
                  <a:lnTo>
                    <a:pt x="12729" y="1688"/>
                  </a:lnTo>
                  <a:lnTo>
                    <a:pt x="12725" y="1736"/>
                  </a:lnTo>
                  <a:lnTo>
                    <a:pt x="12726" y="1787"/>
                  </a:lnTo>
                  <a:lnTo>
                    <a:pt x="12728" y="1837"/>
                  </a:lnTo>
                  <a:lnTo>
                    <a:pt x="12734" y="1889"/>
                  </a:lnTo>
                  <a:lnTo>
                    <a:pt x="12742" y="1940"/>
                  </a:lnTo>
                  <a:lnTo>
                    <a:pt x="12751" y="1992"/>
                  </a:lnTo>
                  <a:lnTo>
                    <a:pt x="12761" y="2044"/>
                  </a:lnTo>
                  <a:lnTo>
                    <a:pt x="12784" y="2149"/>
                  </a:lnTo>
                  <a:lnTo>
                    <a:pt x="12795" y="2203"/>
                  </a:lnTo>
                  <a:lnTo>
                    <a:pt x="12809" y="2260"/>
                  </a:lnTo>
                  <a:lnTo>
                    <a:pt x="12821" y="2318"/>
                  </a:lnTo>
                  <a:lnTo>
                    <a:pt x="12835" y="2379"/>
                  </a:lnTo>
                  <a:lnTo>
                    <a:pt x="12847" y="2444"/>
                  </a:lnTo>
                  <a:lnTo>
                    <a:pt x="12859" y="2511"/>
                  </a:lnTo>
                  <a:lnTo>
                    <a:pt x="12871" y="2582"/>
                  </a:lnTo>
                  <a:lnTo>
                    <a:pt x="12881" y="2656"/>
                  </a:lnTo>
                  <a:lnTo>
                    <a:pt x="12891" y="2733"/>
                  </a:lnTo>
                  <a:lnTo>
                    <a:pt x="12900" y="2815"/>
                  </a:lnTo>
                  <a:lnTo>
                    <a:pt x="12903" y="2858"/>
                  </a:lnTo>
                  <a:lnTo>
                    <a:pt x="12906" y="2901"/>
                  </a:lnTo>
                  <a:lnTo>
                    <a:pt x="12909" y="2946"/>
                  </a:lnTo>
                  <a:lnTo>
                    <a:pt x="12911" y="2991"/>
                  </a:lnTo>
                  <a:lnTo>
                    <a:pt x="12913" y="3037"/>
                  </a:lnTo>
                  <a:lnTo>
                    <a:pt x="12914" y="3085"/>
                  </a:lnTo>
                  <a:lnTo>
                    <a:pt x="12915" y="3134"/>
                  </a:lnTo>
                  <a:lnTo>
                    <a:pt x="12915" y="3184"/>
                  </a:lnTo>
                  <a:lnTo>
                    <a:pt x="12914" y="3235"/>
                  </a:lnTo>
                  <a:lnTo>
                    <a:pt x="12913" y="3288"/>
                  </a:lnTo>
                  <a:lnTo>
                    <a:pt x="12911" y="3341"/>
                  </a:lnTo>
                  <a:lnTo>
                    <a:pt x="12909" y="3396"/>
                  </a:lnTo>
                  <a:lnTo>
                    <a:pt x="12901" y="3396"/>
                  </a:lnTo>
                  <a:lnTo>
                    <a:pt x="12890" y="3396"/>
                  </a:lnTo>
                  <a:lnTo>
                    <a:pt x="12869" y="3392"/>
                  </a:lnTo>
                  <a:lnTo>
                    <a:pt x="12843" y="3384"/>
                  </a:lnTo>
                  <a:lnTo>
                    <a:pt x="12815" y="3375"/>
                  </a:lnTo>
                  <a:lnTo>
                    <a:pt x="12785" y="3362"/>
                  </a:lnTo>
                  <a:lnTo>
                    <a:pt x="12754" y="3345"/>
                  </a:lnTo>
                  <a:lnTo>
                    <a:pt x="12722" y="3326"/>
                  </a:lnTo>
                  <a:lnTo>
                    <a:pt x="12690" y="3303"/>
                  </a:lnTo>
                  <a:lnTo>
                    <a:pt x="12690" y="3302"/>
                  </a:lnTo>
                  <a:lnTo>
                    <a:pt x="12688" y="3300"/>
                  </a:lnTo>
                  <a:lnTo>
                    <a:pt x="12685" y="3296"/>
                  </a:lnTo>
                  <a:lnTo>
                    <a:pt x="12681" y="3291"/>
                  </a:lnTo>
                  <a:lnTo>
                    <a:pt x="12676" y="3284"/>
                  </a:lnTo>
                  <a:lnTo>
                    <a:pt x="12669" y="3276"/>
                  </a:lnTo>
                  <a:lnTo>
                    <a:pt x="12662" y="3268"/>
                  </a:lnTo>
                  <a:lnTo>
                    <a:pt x="12654" y="3258"/>
                  </a:lnTo>
                  <a:lnTo>
                    <a:pt x="12636" y="3236"/>
                  </a:lnTo>
                  <a:lnTo>
                    <a:pt x="12615" y="3210"/>
                  </a:lnTo>
                  <a:lnTo>
                    <a:pt x="12591" y="3184"/>
                  </a:lnTo>
                  <a:lnTo>
                    <a:pt x="12566" y="3155"/>
                  </a:lnTo>
                  <a:lnTo>
                    <a:pt x="12539" y="3125"/>
                  </a:lnTo>
                  <a:lnTo>
                    <a:pt x="12511" y="3096"/>
                  </a:lnTo>
                  <a:lnTo>
                    <a:pt x="12482" y="3067"/>
                  </a:lnTo>
                  <a:lnTo>
                    <a:pt x="12454" y="3039"/>
                  </a:lnTo>
                  <a:lnTo>
                    <a:pt x="12426" y="3015"/>
                  </a:lnTo>
                  <a:lnTo>
                    <a:pt x="12398" y="2992"/>
                  </a:lnTo>
                  <a:lnTo>
                    <a:pt x="12384" y="2983"/>
                  </a:lnTo>
                  <a:lnTo>
                    <a:pt x="12372" y="2973"/>
                  </a:lnTo>
                  <a:lnTo>
                    <a:pt x="12360" y="2966"/>
                  </a:lnTo>
                  <a:lnTo>
                    <a:pt x="12347" y="2960"/>
                  </a:lnTo>
                  <a:lnTo>
                    <a:pt x="12370" y="2947"/>
                  </a:lnTo>
                  <a:lnTo>
                    <a:pt x="12390" y="2931"/>
                  </a:lnTo>
                  <a:lnTo>
                    <a:pt x="12408" y="2914"/>
                  </a:lnTo>
                  <a:lnTo>
                    <a:pt x="12426" y="2893"/>
                  </a:lnTo>
                  <a:lnTo>
                    <a:pt x="12443" y="2872"/>
                  </a:lnTo>
                  <a:lnTo>
                    <a:pt x="12462" y="2850"/>
                  </a:lnTo>
                  <a:lnTo>
                    <a:pt x="12481" y="2827"/>
                  </a:lnTo>
                  <a:lnTo>
                    <a:pt x="12503" y="2803"/>
                  </a:lnTo>
                  <a:lnTo>
                    <a:pt x="12519" y="2762"/>
                  </a:lnTo>
                  <a:lnTo>
                    <a:pt x="12531" y="2721"/>
                  </a:lnTo>
                  <a:lnTo>
                    <a:pt x="12539" y="2678"/>
                  </a:lnTo>
                  <a:lnTo>
                    <a:pt x="12544" y="2634"/>
                  </a:lnTo>
                  <a:lnTo>
                    <a:pt x="12546" y="2590"/>
                  </a:lnTo>
                  <a:lnTo>
                    <a:pt x="12544" y="2545"/>
                  </a:lnTo>
                  <a:lnTo>
                    <a:pt x="12539" y="2500"/>
                  </a:lnTo>
                  <a:lnTo>
                    <a:pt x="12531" y="2453"/>
                  </a:lnTo>
                  <a:lnTo>
                    <a:pt x="12519" y="2406"/>
                  </a:lnTo>
                  <a:lnTo>
                    <a:pt x="12503" y="2358"/>
                  </a:lnTo>
                  <a:lnTo>
                    <a:pt x="12486" y="2310"/>
                  </a:lnTo>
                  <a:lnTo>
                    <a:pt x="12464" y="2261"/>
                  </a:lnTo>
                  <a:lnTo>
                    <a:pt x="12439" y="2210"/>
                  </a:lnTo>
                  <a:lnTo>
                    <a:pt x="12411" y="2160"/>
                  </a:lnTo>
                  <a:lnTo>
                    <a:pt x="12381" y="2108"/>
                  </a:lnTo>
                  <a:lnTo>
                    <a:pt x="12347" y="2056"/>
                  </a:lnTo>
                  <a:lnTo>
                    <a:pt x="12327" y="2030"/>
                  </a:lnTo>
                  <a:lnTo>
                    <a:pt x="12306" y="2006"/>
                  </a:lnTo>
                  <a:lnTo>
                    <a:pt x="12285" y="1982"/>
                  </a:lnTo>
                  <a:lnTo>
                    <a:pt x="12265" y="1961"/>
                  </a:lnTo>
                  <a:lnTo>
                    <a:pt x="12243" y="1939"/>
                  </a:lnTo>
                  <a:lnTo>
                    <a:pt x="12222" y="1920"/>
                  </a:lnTo>
                  <a:lnTo>
                    <a:pt x="12179" y="1882"/>
                  </a:lnTo>
                  <a:lnTo>
                    <a:pt x="12136" y="1848"/>
                  </a:lnTo>
                  <a:lnTo>
                    <a:pt x="12092" y="1816"/>
                  </a:lnTo>
                  <a:lnTo>
                    <a:pt x="12048" y="1786"/>
                  </a:lnTo>
                  <a:lnTo>
                    <a:pt x="12005" y="1758"/>
                  </a:lnTo>
                  <a:lnTo>
                    <a:pt x="11960" y="1730"/>
                  </a:lnTo>
                  <a:lnTo>
                    <a:pt x="11917" y="1703"/>
                  </a:lnTo>
                  <a:lnTo>
                    <a:pt x="11830" y="1650"/>
                  </a:lnTo>
                  <a:lnTo>
                    <a:pt x="11787" y="1622"/>
                  </a:lnTo>
                  <a:lnTo>
                    <a:pt x="11744" y="1592"/>
                  </a:lnTo>
                  <a:lnTo>
                    <a:pt x="11703" y="1561"/>
                  </a:lnTo>
                  <a:lnTo>
                    <a:pt x="11662" y="1526"/>
                  </a:lnTo>
                  <a:lnTo>
                    <a:pt x="11628" y="1498"/>
                  </a:lnTo>
                  <a:lnTo>
                    <a:pt x="11594" y="1470"/>
                  </a:lnTo>
                  <a:lnTo>
                    <a:pt x="11577" y="1454"/>
                  </a:lnTo>
                  <a:lnTo>
                    <a:pt x="11562" y="1438"/>
                  </a:lnTo>
                  <a:lnTo>
                    <a:pt x="11548" y="1421"/>
                  </a:lnTo>
                  <a:lnTo>
                    <a:pt x="11537" y="1402"/>
                  </a:lnTo>
                  <a:lnTo>
                    <a:pt x="11510" y="1365"/>
                  </a:lnTo>
                  <a:lnTo>
                    <a:pt x="11479" y="1325"/>
                  </a:lnTo>
                  <a:lnTo>
                    <a:pt x="11447" y="1282"/>
                  </a:lnTo>
                  <a:lnTo>
                    <a:pt x="11412" y="1237"/>
                  </a:lnTo>
                  <a:lnTo>
                    <a:pt x="11374" y="1189"/>
                  </a:lnTo>
                  <a:lnTo>
                    <a:pt x="11334" y="1139"/>
                  </a:lnTo>
                  <a:lnTo>
                    <a:pt x="11290" y="1087"/>
                  </a:lnTo>
                  <a:lnTo>
                    <a:pt x="11245" y="1034"/>
                  </a:lnTo>
                  <a:lnTo>
                    <a:pt x="11196" y="979"/>
                  </a:lnTo>
                  <a:lnTo>
                    <a:pt x="11146" y="924"/>
                  </a:lnTo>
                  <a:lnTo>
                    <a:pt x="11092" y="867"/>
                  </a:lnTo>
                  <a:lnTo>
                    <a:pt x="11036" y="810"/>
                  </a:lnTo>
                  <a:lnTo>
                    <a:pt x="10977" y="754"/>
                  </a:lnTo>
                  <a:lnTo>
                    <a:pt x="10916" y="696"/>
                  </a:lnTo>
                  <a:lnTo>
                    <a:pt x="10852" y="639"/>
                  </a:lnTo>
                  <a:lnTo>
                    <a:pt x="10785" y="584"/>
                  </a:lnTo>
                  <a:lnTo>
                    <a:pt x="10716" y="529"/>
                  </a:lnTo>
                  <a:lnTo>
                    <a:pt x="10644" y="474"/>
                  </a:lnTo>
                  <a:lnTo>
                    <a:pt x="10570" y="423"/>
                  </a:lnTo>
                  <a:lnTo>
                    <a:pt x="10492" y="371"/>
                  </a:lnTo>
                  <a:lnTo>
                    <a:pt x="10413" y="323"/>
                  </a:lnTo>
                  <a:lnTo>
                    <a:pt x="10330" y="277"/>
                  </a:lnTo>
                  <a:lnTo>
                    <a:pt x="10244" y="233"/>
                  </a:lnTo>
                  <a:lnTo>
                    <a:pt x="10157" y="192"/>
                  </a:lnTo>
                  <a:lnTo>
                    <a:pt x="10066" y="154"/>
                  </a:lnTo>
                  <a:lnTo>
                    <a:pt x="9973" y="120"/>
                  </a:lnTo>
                  <a:lnTo>
                    <a:pt x="9877" y="89"/>
                  </a:lnTo>
                  <a:lnTo>
                    <a:pt x="9827" y="75"/>
                  </a:lnTo>
                  <a:lnTo>
                    <a:pt x="9778" y="62"/>
                  </a:lnTo>
                  <a:lnTo>
                    <a:pt x="9727" y="50"/>
                  </a:lnTo>
                  <a:lnTo>
                    <a:pt x="9677" y="40"/>
                  </a:lnTo>
                  <a:lnTo>
                    <a:pt x="9625" y="30"/>
                  </a:lnTo>
                  <a:lnTo>
                    <a:pt x="9572" y="21"/>
                  </a:lnTo>
                  <a:lnTo>
                    <a:pt x="9520" y="14"/>
                  </a:lnTo>
                  <a:lnTo>
                    <a:pt x="9465" y="8"/>
                  </a:lnTo>
                  <a:lnTo>
                    <a:pt x="9411" y="3"/>
                  </a:lnTo>
                  <a:lnTo>
                    <a:pt x="9356" y="0"/>
                  </a:lnTo>
                  <a:lnTo>
                    <a:pt x="9231" y="0"/>
                  </a:lnTo>
                  <a:lnTo>
                    <a:pt x="9231" y="0"/>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ysClr val="windowText" lastClr="000000"/>
                </a:solidFill>
                <a:effectLst/>
                <a:uLnTx/>
                <a:uFillTx/>
              </a:endParaRPr>
            </a:p>
          </p:txBody>
        </p:sp>
        <p:sp>
          <p:nvSpPr>
            <p:cNvPr id="70" name="Freeform 45"/>
            <p:cNvSpPr>
              <a:spLocks/>
            </p:cNvSpPr>
            <p:nvPr/>
          </p:nvSpPr>
          <p:spPr bwMode="auto">
            <a:xfrm>
              <a:off x="1971675" y="4108451"/>
              <a:ext cx="220662" cy="225424"/>
            </a:xfrm>
            <a:custGeom>
              <a:avLst/>
              <a:gdLst>
                <a:gd name="T0" fmla="*/ 2086 w 2090"/>
                <a:gd name="T1" fmla="*/ 1 h 2119"/>
                <a:gd name="T2" fmla="*/ 2063 w 2090"/>
                <a:gd name="T3" fmla="*/ 8 h 2119"/>
                <a:gd name="T4" fmla="*/ 2023 w 2090"/>
                <a:gd name="T5" fmla="*/ 20 h 2119"/>
                <a:gd name="T6" fmla="*/ 1964 w 2090"/>
                <a:gd name="T7" fmla="*/ 35 h 2119"/>
                <a:gd name="T8" fmla="*/ 1887 w 2090"/>
                <a:gd name="T9" fmla="*/ 53 h 2119"/>
                <a:gd name="T10" fmla="*/ 1790 w 2090"/>
                <a:gd name="T11" fmla="*/ 73 h 2119"/>
                <a:gd name="T12" fmla="*/ 1673 w 2090"/>
                <a:gd name="T13" fmla="*/ 96 h 2119"/>
                <a:gd name="T14" fmla="*/ 1536 w 2090"/>
                <a:gd name="T15" fmla="*/ 119 h 2119"/>
                <a:gd name="T16" fmla="*/ 1298 w 2090"/>
                <a:gd name="T17" fmla="*/ 152 h 2119"/>
                <a:gd name="T18" fmla="*/ 1061 w 2090"/>
                <a:gd name="T19" fmla="*/ 171 h 2119"/>
                <a:gd name="T20" fmla="*/ 859 w 2090"/>
                <a:gd name="T21" fmla="*/ 192 h 2119"/>
                <a:gd name="T22" fmla="*/ 693 w 2090"/>
                <a:gd name="T23" fmla="*/ 233 h 2119"/>
                <a:gd name="T24" fmla="*/ 515 w 2090"/>
                <a:gd name="T25" fmla="*/ 347 h 2119"/>
                <a:gd name="T26" fmla="*/ 365 w 2090"/>
                <a:gd name="T27" fmla="*/ 513 h 2119"/>
                <a:gd name="T28" fmla="*/ 248 w 2090"/>
                <a:gd name="T29" fmla="*/ 723 h 2119"/>
                <a:gd name="T30" fmla="*/ 150 w 2090"/>
                <a:gd name="T31" fmla="*/ 986 h 2119"/>
                <a:gd name="T32" fmla="*/ 77 w 2090"/>
                <a:gd name="T33" fmla="*/ 1239 h 2119"/>
                <a:gd name="T34" fmla="*/ 19 w 2090"/>
                <a:gd name="T35" fmla="*/ 1600 h 2119"/>
                <a:gd name="T36" fmla="*/ 7 w 2090"/>
                <a:gd name="T37" fmla="*/ 1765 h 2119"/>
                <a:gd name="T38" fmla="*/ 1 w 2090"/>
                <a:gd name="T39" fmla="*/ 1907 h 2119"/>
                <a:gd name="T40" fmla="*/ 1 w 2090"/>
                <a:gd name="T41" fmla="*/ 2019 h 2119"/>
                <a:gd name="T42" fmla="*/ 2 w 2090"/>
                <a:gd name="T43" fmla="*/ 2093 h 2119"/>
                <a:gd name="T44" fmla="*/ 3 w 2090"/>
                <a:gd name="T45" fmla="*/ 2119 h 2119"/>
                <a:gd name="T46" fmla="*/ 5 w 2090"/>
                <a:gd name="T47" fmla="*/ 2110 h 2119"/>
                <a:gd name="T48" fmla="*/ 12 w 2090"/>
                <a:gd name="T49" fmla="*/ 2082 h 2119"/>
                <a:gd name="T50" fmla="*/ 40 w 2090"/>
                <a:gd name="T51" fmla="*/ 1983 h 2119"/>
                <a:gd name="T52" fmla="*/ 83 w 2090"/>
                <a:gd name="T53" fmla="*/ 1837 h 2119"/>
                <a:gd name="T54" fmla="*/ 139 w 2090"/>
                <a:gd name="T55" fmla="*/ 1659 h 2119"/>
                <a:gd name="T56" fmla="*/ 260 w 2090"/>
                <a:gd name="T57" fmla="*/ 1325 h 2119"/>
                <a:gd name="T58" fmla="*/ 337 w 2090"/>
                <a:gd name="T59" fmla="*/ 1145 h 2119"/>
                <a:gd name="T60" fmla="*/ 419 w 2090"/>
                <a:gd name="T61" fmla="*/ 997 h 2119"/>
                <a:gd name="T62" fmla="*/ 481 w 2090"/>
                <a:gd name="T63" fmla="*/ 901 h 2119"/>
                <a:gd name="T64" fmla="*/ 565 w 2090"/>
                <a:gd name="T65" fmla="*/ 784 h 2119"/>
                <a:gd name="T66" fmla="*/ 636 w 2090"/>
                <a:gd name="T67" fmla="*/ 701 h 2119"/>
                <a:gd name="T68" fmla="*/ 679 w 2090"/>
                <a:gd name="T69" fmla="*/ 662 h 2119"/>
                <a:gd name="T70" fmla="*/ 687 w 2090"/>
                <a:gd name="T71" fmla="*/ 656 h 2119"/>
                <a:gd name="T72" fmla="*/ 675 w 2090"/>
                <a:gd name="T73" fmla="*/ 694 h 2119"/>
                <a:gd name="T74" fmla="*/ 657 w 2090"/>
                <a:gd name="T75" fmla="*/ 770 h 2119"/>
                <a:gd name="T76" fmla="*/ 648 w 2090"/>
                <a:gd name="T77" fmla="*/ 863 h 2119"/>
                <a:gd name="T78" fmla="*/ 663 w 2090"/>
                <a:gd name="T79" fmla="*/ 987 h 2119"/>
                <a:gd name="T80" fmla="*/ 699 w 2090"/>
                <a:gd name="T81" fmla="*/ 1175 h 2119"/>
                <a:gd name="T82" fmla="*/ 741 w 2090"/>
                <a:gd name="T83" fmla="*/ 1322 h 2119"/>
                <a:gd name="T84" fmla="*/ 767 w 2090"/>
                <a:gd name="T85" fmla="*/ 1395 h 2119"/>
                <a:gd name="T86" fmla="*/ 778 w 2090"/>
                <a:gd name="T87" fmla="*/ 1424 h 2119"/>
                <a:gd name="T88" fmla="*/ 782 w 2090"/>
                <a:gd name="T89" fmla="*/ 1434 h 2119"/>
                <a:gd name="T90" fmla="*/ 783 w 2090"/>
                <a:gd name="T91" fmla="*/ 1407 h 2119"/>
                <a:gd name="T92" fmla="*/ 790 w 2090"/>
                <a:gd name="T93" fmla="*/ 1337 h 2119"/>
                <a:gd name="T94" fmla="*/ 803 w 2090"/>
                <a:gd name="T95" fmla="*/ 1231 h 2119"/>
                <a:gd name="T96" fmla="*/ 824 w 2090"/>
                <a:gd name="T97" fmla="*/ 1102 h 2119"/>
                <a:gd name="T98" fmla="*/ 900 w 2090"/>
                <a:gd name="T99" fmla="*/ 816 h 2119"/>
                <a:gd name="T100" fmla="*/ 974 w 2090"/>
                <a:gd name="T101" fmla="*/ 647 h 2119"/>
                <a:gd name="T102" fmla="*/ 1055 w 2090"/>
                <a:gd name="T103" fmla="*/ 533 h 2119"/>
                <a:gd name="T104" fmla="*/ 1165 w 2090"/>
                <a:gd name="T105" fmla="*/ 433 h 2119"/>
                <a:gd name="T106" fmla="*/ 1295 w 2090"/>
                <a:gd name="T107" fmla="*/ 351 h 2119"/>
                <a:gd name="T108" fmla="*/ 1560 w 2090"/>
                <a:gd name="T109" fmla="*/ 249 h 2119"/>
                <a:gd name="T110" fmla="*/ 1736 w 2090"/>
                <a:gd name="T111" fmla="*/ 184 h 2119"/>
                <a:gd name="T112" fmla="*/ 1907 w 2090"/>
                <a:gd name="T113" fmla="*/ 101 h 2119"/>
                <a:gd name="T114" fmla="*/ 2012 w 2090"/>
                <a:gd name="T115" fmla="*/ 45 h 2119"/>
                <a:gd name="T116" fmla="*/ 2060 w 2090"/>
                <a:gd name="T117" fmla="*/ 18 h 2119"/>
                <a:gd name="T118" fmla="*/ 2087 w 2090"/>
                <a:gd name="T119" fmla="*/ 2 h 2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090" h="2119">
                  <a:moveTo>
                    <a:pt x="2090" y="0"/>
                  </a:moveTo>
                  <a:lnTo>
                    <a:pt x="2090" y="0"/>
                  </a:lnTo>
                  <a:lnTo>
                    <a:pt x="2088" y="1"/>
                  </a:lnTo>
                  <a:lnTo>
                    <a:pt x="2086" y="1"/>
                  </a:lnTo>
                  <a:lnTo>
                    <a:pt x="2082" y="3"/>
                  </a:lnTo>
                  <a:lnTo>
                    <a:pt x="2077" y="4"/>
                  </a:lnTo>
                  <a:lnTo>
                    <a:pt x="2070" y="6"/>
                  </a:lnTo>
                  <a:lnTo>
                    <a:pt x="2063" y="8"/>
                  </a:lnTo>
                  <a:lnTo>
                    <a:pt x="2055" y="10"/>
                  </a:lnTo>
                  <a:lnTo>
                    <a:pt x="2046" y="13"/>
                  </a:lnTo>
                  <a:lnTo>
                    <a:pt x="2034" y="17"/>
                  </a:lnTo>
                  <a:lnTo>
                    <a:pt x="2023" y="20"/>
                  </a:lnTo>
                  <a:lnTo>
                    <a:pt x="2009" y="23"/>
                  </a:lnTo>
                  <a:lnTo>
                    <a:pt x="1996" y="27"/>
                  </a:lnTo>
                  <a:lnTo>
                    <a:pt x="1981" y="31"/>
                  </a:lnTo>
                  <a:lnTo>
                    <a:pt x="1964" y="35"/>
                  </a:lnTo>
                  <a:lnTo>
                    <a:pt x="1946" y="39"/>
                  </a:lnTo>
                  <a:lnTo>
                    <a:pt x="1928" y="43"/>
                  </a:lnTo>
                  <a:lnTo>
                    <a:pt x="1907" y="48"/>
                  </a:lnTo>
                  <a:lnTo>
                    <a:pt x="1887" y="53"/>
                  </a:lnTo>
                  <a:lnTo>
                    <a:pt x="1864" y="58"/>
                  </a:lnTo>
                  <a:lnTo>
                    <a:pt x="1840" y="63"/>
                  </a:lnTo>
                  <a:lnTo>
                    <a:pt x="1815" y="68"/>
                  </a:lnTo>
                  <a:lnTo>
                    <a:pt x="1790" y="73"/>
                  </a:lnTo>
                  <a:lnTo>
                    <a:pt x="1762" y="79"/>
                  </a:lnTo>
                  <a:lnTo>
                    <a:pt x="1733" y="85"/>
                  </a:lnTo>
                  <a:lnTo>
                    <a:pt x="1704" y="90"/>
                  </a:lnTo>
                  <a:lnTo>
                    <a:pt x="1673" y="96"/>
                  </a:lnTo>
                  <a:lnTo>
                    <a:pt x="1640" y="102"/>
                  </a:lnTo>
                  <a:lnTo>
                    <a:pt x="1607" y="107"/>
                  </a:lnTo>
                  <a:lnTo>
                    <a:pt x="1572" y="113"/>
                  </a:lnTo>
                  <a:lnTo>
                    <a:pt x="1536" y="119"/>
                  </a:lnTo>
                  <a:lnTo>
                    <a:pt x="1498" y="125"/>
                  </a:lnTo>
                  <a:lnTo>
                    <a:pt x="1429" y="135"/>
                  </a:lnTo>
                  <a:lnTo>
                    <a:pt x="1362" y="144"/>
                  </a:lnTo>
                  <a:lnTo>
                    <a:pt x="1298" y="152"/>
                  </a:lnTo>
                  <a:lnTo>
                    <a:pt x="1235" y="158"/>
                  </a:lnTo>
                  <a:lnTo>
                    <a:pt x="1175" y="163"/>
                  </a:lnTo>
                  <a:lnTo>
                    <a:pt x="1118" y="167"/>
                  </a:lnTo>
                  <a:lnTo>
                    <a:pt x="1061" y="171"/>
                  </a:lnTo>
                  <a:lnTo>
                    <a:pt x="1007" y="175"/>
                  </a:lnTo>
                  <a:lnTo>
                    <a:pt x="957" y="180"/>
                  </a:lnTo>
                  <a:lnTo>
                    <a:pt x="907" y="185"/>
                  </a:lnTo>
                  <a:lnTo>
                    <a:pt x="859" y="192"/>
                  </a:lnTo>
                  <a:lnTo>
                    <a:pt x="815" y="199"/>
                  </a:lnTo>
                  <a:lnTo>
                    <a:pt x="772" y="208"/>
                  </a:lnTo>
                  <a:lnTo>
                    <a:pt x="731" y="219"/>
                  </a:lnTo>
                  <a:lnTo>
                    <a:pt x="693" y="233"/>
                  </a:lnTo>
                  <a:lnTo>
                    <a:pt x="657" y="249"/>
                  </a:lnTo>
                  <a:lnTo>
                    <a:pt x="606" y="279"/>
                  </a:lnTo>
                  <a:lnTo>
                    <a:pt x="559" y="312"/>
                  </a:lnTo>
                  <a:lnTo>
                    <a:pt x="515" y="347"/>
                  </a:lnTo>
                  <a:lnTo>
                    <a:pt x="473" y="384"/>
                  </a:lnTo>
                  <a:lnTo>
                    <a:pt x="435" y="424"/>
                  </a:lnTo>
                  <a:lnTo>
                    <a:pt x="399" y="468"/>
                  </a:lnTo>
                  <a:lnTo>
                    <a:pt x="365" y="513"/>
                  </a:lnTo>
                  <a:lnTo>
                    <a:pt x="334" y="561"/>
                  </a:lnTo>
                  <a:lnTo>
                    <a:pt x="304" y="612"/>
                  </a:lnTo>
                  <a:lnTo>
                    <a:pt x="275" y="667"/>
                  </a:lnTo>
                  <a:lnTo>
                    <a:pt x="248" y="723"/>
                  </a:lnTo>
                  <a:lnTo>
                    <a:pt x="224" y="784"/>
                  </a:lnTo>
                  <a:lnTo>
                    <a:pt x="199" y="848"/>
                  </a:lnTo>
                  <a:lnTo>
                    <a:pt x="174" y="915"/>
                  </a:lnTo>
                  <a:lnTo>
                    <a:pt x="150" y="986"/>
                  </a:lnTo>
                  <a:lnTo>
                    <a:pt x="128" y="1060"/>
                  </a:lnTo>
                  <a:lnTo>
                    <a:pt x="113" y="1104"/>
                  </a:lnTo>
                  <a:lnTo>
                    <a:pt x="100" y="1149"/>
                  </a:lnTo>
                  <a:lnTo>
                    <a:pt x="77" y="1239"/>
                  </a:lnTo>
                  <a:lnTo>
                    <a:pt x="57" y="1331"/>
                  </a:lnTo>
                  <a:lnTo>
                    <a:pt x="42" y="1423"/>
                  </a:lnTo>
                  <a:lnTo>
                    <a:pt x="29" y="1512"/>
                  </a:lnTo>
                  <a:lnTo>
                    <a:pt x="19" y="1600"/>
                  </a:lnTo>
                  <a:lnTo>
                    <a:pt x="15" y="1643"/>
                  </a:lnTo>
                  <a:lnTo>
                    <a:pt x="12" y="1684"/>
                  </a:lnTo>
                  <a:lnTo>
                    <a:pt x="9" y="1725"/>
                  </a:lnTo>
                  <a:lnTo>
                    <a:pt x="7" y="1765"/>
                  </a:lnTo>
                  <a:lnTo>
                    <a:pt x="5" y="1803"/>
                  </a:lnTo>
                  <a:lnTo>
                    <a:pt x="3" y="1839"/>
                  </a:lnTo>
                  <a:lnTo>
                    <a:pt x="2" y="1874"/>
                  </a:lnTo>
                  <a:lnTo>
                    <a:pt x="1" y="1907"/>
                  </a:lnTo>
                  <a:lnTo>
                    <a:pt x="1" y="1939"/>
                  </a:lnTo>
                  <a:lnTo>
                    <a:pt x="0" y="1967"/>
                  </a:lnTo>
                  <a:lnTo>
                    <a:pt x="0" y="1994"/>
                  </a:lnTo>
                  <a:lnTo>
                    <a:pt x="1" y="2019"/>
                  </a:lnTo>
                  <a:lnTo>
                    <a:pt x="1" y="2042"/>
                  </a:lnTo>
                  <a:lnTo>
                    <a:pt x="1" y="2061"/>
                  </a:lnTo>
                  <a:lnTo>
                    <a:pt x="1" y="2079"/>
                  </a:lnTo>
                  <a:lnTo>
                    <a:pt x="2" y="2093"/>
                  </a:lnTo>
                  <a:lnTo>
                    <a:pt x="2" y="2104"/>
                  </a:lnTo>
                  <a:lnTo>
                    <a:pt x="3" y="2113"/>
                  </a:lnTo>
                  <a:lnTo>
                    <a:pt x="3" y="2117"/>
                  </a:lnTo>
                  <a:lnTo>
                    <a:pt x="3" y="2119"/>
                  </a:lnTo>
                  <a:lnTo>
                    <a:pt x="3" y="2119"/>
                  </a:lnTo>
                  <a:lnTo>
                    <a:pt x="4" y="2117"/>
                  </a:lnTo>
                  <a:lnTo>
                    <a:pt x="4" y="2114"/>
                  </a:lnTo>
                  <a:lnTo>
                    <a:pt x="5" y="2110"/>
                  </a:lnTo>
                  <a:lnTo>
                    <a:pt x="7" y="2104"/>
                  </a:lnTo>
                  <a:lnTo>
                    <a:pt x="8" y="2098"/>
                  </a:lnTo>
                  <a:lnTo>
                    <a:pt x="10" y="2091"/>
                  </a:lnTo>
                  <a:lnTo>
                    <a:pt x="12" y="2082"/>
                  </a:lnTo>
                  <a:lnTo>
                    <a:pt x="18" y="2062"/>
                  </a:lnTo>
                  <a:lnTo>
                    <a:pt x="24" y="2040"/>
                  </a:lnTo>
                  <a:lnTo>
                    <a:pt x="32" y="2013"/>
                  </a:lnTo>
                  <a:lnTo>
                    <a:pt x="40" y="1983"/>
                  </a:lnTo>
                  <a:lnTo>
                    <a:pt x="49" y="1950"/>
                  </a:lnTo>
                  <a:lnTo>
                    <a:pt x="59" y="1914"/>
                  </a:lnTo>
                  <a:lnTo>
                    <a:pt x="71" y="1877"/>
                  </a:lnTo>
                  <a:lnTo>
                    <a:pt x="83" y="1837"/>
                  </a:lnTo>
                  <a:lnTo>
                    <a:pt x="96" y="1794"/>
                  </a:lnTo>
                  <a:lnTo>
                    <a:pt x="110" y="1751"/>
                  </a:lnTo>
                  <a:lnTo>
                    <a:pt x="123" y="1706"/>
                  </a:lnTo>
                  <a:lnTo>
                    <a:pt x="139" y="1659"/>
                  </a:lnTo>
                  <a:lnTo>
                    <a:pt x="171" y="1565"/>
                  </a:lnTo>
                  <a:lnTo>
                    <a:pt x="205" y="1468"/>
                  </a:lnTo>
                  <a:lnTo>
                    <a:pt x="241" y="1372"/>
                  </a:lnTo>
                  <a:lnTo>
                    <a:pt x="260" y="1325"/>
                  </a:lnTo>
                  <a:lnTo>
                    <a:pt x="278" y="1277"/>
                  </a:lnTo>
                  <a:lnTo>
                    <a:pt x="298" y="1232"/>
                  </a:lnTo>
                  <a:lnTo>
                    <a:pt x="317" y="1189"/>
                  </a:lnTo>
                  <a:lnTo>
                    <a:pt x="337" y="1145"/>
                  </a:lnTo>
                  <a:lnTo>
                    <a:pt x="358" y="1105"/>
                  </a:lnTo>
                  <a:lnTo>
                    <a:pt x="377" y="1066"/>
                  </a:lnTo>
                  <a:lnTo>
                    <a:pt x="398" y="1030"/>
                  </a:lnTo>
                  <a:lnTo>
                    <a:pt x="419" y="997"/>
                  </a:lnTo>
                  <a:lnTo>
                    <a:pt x="438" y="966"/>
                  </a:lnTo>
                  <a:lnTo>
                    <a:pt x="453" y="944"/>
                  </a:lnTo>
                  <a:lnTo>
                    <a:pt x="467" y="922"/>
                  </a:lnTo>
                  <a:lnTo>
                    <a:pt x="481" y="901"/>
                  </a:lnTo>
                  <a:lnTo>
                    <a:pt x="494" y="881"/>
                  </a:lnTo>
                  <a:lnTo>
                    <a:pt x="520" y="845"/>
                  </a:lnTo>
                  <a:lnTo>
                    <a:pt x="544" y="813"/>
                  </a:lnTo>
                  <a:lnTo>
                    <a:pt x="565" y="784"/>
                  </a:lnTo>
                  <a:lnTo>
                    <a:pt x="586" y="758"/>
                  </a:lnTo>
                  <a:lnTo>
                    <a:pt x="604" y="736"/>
                  </a:lnTo>
                  <a:lnTo>
                    <a:pt x="622" y="717"/>
                  </a:lnTo>
                  <a:lnTo>
                    <a:pt x="636" y="701"/>
                  </a:lnTo>
                  <a:lnTo>
                    <a:pt x="650" y="687"/>
                  </a:lnTo>
                  <a:lnTo>
                    <a:pt x="661" y="677"/>
                  </a:lnTo>
                  <a:lnTo>
                    <a:pt x="671" y="669"/>
                  </a:lnTo>
                  <a:lnTo>
                    <a:pt x="679" y="662"/>
                  </a:lnTo>
                  <a:lnTo>
                    <a:pt x="684" y="657"/>
                  </a:lnTo>
                  <a:lnTo>
                    <a:pt x="687" y="655"/>
                  </a:lnTo>
                  <a:lnTo>
                    <a:pt x="688" y="654"/>
                  </a:lnTo>
                  <a:lnTo>
                    <a:pt x="687" y="656"/>
                  </a:lnTo>
                  <a:lnTo>
                    <a:pt x="685" y="661"/>
                  </a:lnTo>
                  <a:lnTo>
                    <a:pt x="683" y="670"/>
                  </a:lnTo>
                  <a:lnTo>
                    <a:pt x="679" y="681"/>
                  </a:lnTo>
                  <a:lnTo>
                    <a:pt x="675" y="694"/>
                  </a:lnTo>
                  <a:lnTo>
                    <a:pt x="670" y="711"/>
                  </a:lnTo>
                  <a:lnTo>
                    <a:pt x="665" y="728"/>
                  </a:lnTo>
                  <a:lnTo>
                    <a:pt x="661" y="748"/>
                  </a:lnTo>
                  <a:lnTo>
                    <a:pt x="657" y="770"/>
                  </a:lnTo>
                  <a:lnTo>
                    <a:pt x="653" y="791"/>
                  </a:lnTo>
                  <a:lnTo>
                    <a:pt x="650" y="815"/>
                  </a:lnTo>
                  <a:lnTo>
                    <a:pt x="649" y="839"/>
                  </a:lnTo>
                  <a:lnTo>
                    <a:pt x="648" y="863"/>
                  </a:lnTo>
                  <a:lnTo>
                    <a:pt x="649" y="887"/>
                  </a:lnTo>
                  <a:lnTo>
                    <a:pt x="652" y="912"/>
                  </a:lnTo>
                  <a:lnTo>
                    <a:pt x="657" y="935"/>
                  </a:lnTo>
                  <a:lnTo>
                    <a:pt x="663" y="987"/>
                  </a:lnTo>
                  <a:lnTo>
                    <a:pt x="672" y="1037"/>
                  </a:lnTo>
                  <a:lnTo>
                    <a:pt x="680" y="1085"/>
                  </a:lnTo>
                  <a:lnTo>
                    <a:pt x="689" y="1131"/>
                  </a:lnTo>
                  <a:lnTo>
                    <a:pt x="699" y="1175"/>
                  </a:lnTo>
                  <a:lnTo>
                    <a:pt x="710" y="1216"/>
                  </a:lnTo>
                  <a:lnTo>
                    <a:pt x="720" y="1255"/>
                  </a:lnTo>
                  <a:lnTo>
                    <a:pt x="731" y="1290"/>
                  </a:lnTo>
                  <a:lnTo>
                    <a:pt x="741" y="1322"/>
                  </a:lnTo>
                  <a:lnTo>
                    <a:pt x="750" y="1349"/>
                  </a:lnTo>
                  <a:lnTo>
                    <a:pt x="759" y="1374"/>
                  </a:lnTo>
                  <a:lnTo>
                    <a:pt x="762" y="1385"/>
                  </a:lnTo>
                  <a:lnTo>
                    <a:pt x="767" y="1395"/>
                  </a:lnTo>
                  <a:lnTo>
                    <a:pt x="770" y="1404"/>
                  </a:lnTo>
                  <a:lnTo>
                    <a:pt x="773" y="1411"/>
                  </a:lnTo>
                  <a:lnTo>
                    <a:pt x="776" y="1418"/>
                  </a:lnTo>
                  <a:lnTo>
                    <a:pt x="778" y="1424"/>
                  </a:lnTo>
                  <a:lnTo>
                    <a:pt x="779" y="1428"/>
                  </a:lnTo>
                  <a:lnTo>
                    <a:pt x="781" y="1431"/>
                  </a:lnTo>
                  <a:lnTo>
                    <a:pt x="781" y="1433"/>
                  </a:lnTo>
                  <a:lnTo>
                    <a:pt x="782" y="1434"/>
                  </a:lnTo>
                  <a:lnTo>
                    <a:pt x="782" y="1432"/>
                  </a:lnTo>
                  <a:lnTo>
                    <a:pt x="782" y="1427"/>
                  </a:lnTo>
                  <a:lnTo>
                    <a:pt x="783" y="1418"/>
                  </a:lnTo>
                  <a:lnTo>
                    <a:pt x="783" y="1407"/>
                  </a:lnTo>
                  <a:lnTo>
                    <a:pt x="784" y="1394"/>
                  </a:lnTo>
                  <a:lnTo>
                    <a:pt x="786" y="1377"/>
                  </a:lnTo>
                  <a:lnTo>
                    <a:pt x="788" y="1358"/>
                  </a:lnTo>
                  <a:lnTo>
                    <a:pt x="790" y="1337"/>
                  </a:lnTo>
                  <a:lnTo>
                    <a:pt x="792" y="1313"/>
                  </a:lnTo>
                  <a:lnTo>
                    <a:pt x="795" y="1288"/>
                  </a:lnTo>
                  <a:lnTo>
                    <a:pt x="799" y="1261"/>
                  </a:lnTo>
                  <a:lnTo>
                    <a:pt x="803" y="1231"/>
                  </a:lnTo>
                  <a:lnTo>
                    <a:pt x="808" y="1201"/>
                  </a:lnTo>
                  <a:lnTo>
                    <a:pt x="813" y="1169"/>
                  </a:lnTo>
                  <a:lnTo>
                    <a:pt x="818" y="1136"/>
                  </a:lnTo>
                  <a:lnTo>
                    <a:pt x="824" y="1102"/>
                  </a:lnTo>
                  <a:lnTo>
                    <a:pt x="839" y="1032"/>
                  </a:lnTo>
                  <a:lnTo>
                    <a:pt x="856" y="960"/>
                  </a:lnTo>
                  <a:lnTo>
                    <a:pt x="876" y="888"/>
                  </a:lnTo>
                  <a:lnTo>
                    <a:pt x="900" y="816"/>
                  </a:lnTo>
                  <a:lnTo>
                    <a:pt x="927" y="746"/>
                  </a:lnTo>
                  <a:lnTo>
                    <a:pt x="942" y="712"/>
                  </a:lnTo>
                  <a:lnTo>
                    <a:pt x="958" y="679"/>
                  </a:lnTo>
                  <a:lnTo>
                    <a:pt x="974" y="647"/>
                  </a:lnTo>
                  <a:lnTo>
                    <a:pt x="993" y="617"/>
                  </a:lnTo>
                  <a:lnTo>
                    <a:pt x="1011" y="588"/>
                  </a:lnTo>
                  <a:lnTo>
                    <a:pt x="1031" y="561"/>
                  </a:lnTo>
                  <a:lnTo>
                    <a:pt x="1055" y="533"/>
                  </a:lnTo>
                  <a:lnTo>
                    <a:pt x="1080" y="506"/>
                  </a:lnTo>
                  <a:lnTo>
                    <a:pt x="1107" y="480"/>
                  </a:lnTo>
                  <a:lnTo>
                    <a:pt x="1136" y="455"/>
                  </a:lnTo>
                  <a:lnTo>
                    <a:pt x="1165" y="433"/>
                  </a:lnTo>
                  <a:lnTo>
                    <a:pt x="1196" y="410"/>
                  </a:lnTo>
                  <a:lnTo>
                    <a:pt x="1228" y="389"/>
                  </a:lnTo>
                  <a:lnTo>
                    <a:pt x="1261" y="370"/>
                  </a:lnTo>
                  <a:lnTo>
                    <a:pt x="1295" y="351"/>
                  </a:lnTo>
                  <a:lnTo>
                    <a:pt x="1330" y="334"/>
                  </a:lnTo>
                  <a:lnTo>
                    <a:pt x="1403" y="302"/>
                  </a:lnTo>
                  <a:lnTo>
                    <a:pt x="1481" y="274"/>
                  </a:lnTo>
                  <a:lnTo>
                    <a:pt x="1560" y="249"/>
                  </a:lnTo>
                  <a:lnTo>
                    <a:pt x="1603" y="236"/>
                  </a:lnTo>
                  <a:lnTo>
                    <a:pt x="1646" y="221"/>
                  </a:lnTo>
                  <a:lnTo>
                    <a:pt x="1690" y="203"/>
                  </a:lnTo>
                  <a:lnTo>
                    <a:pt x="1736" y="184"/>
                  </a:lnTo>
                  <a:lnTo>
                    <a:pt x="1780" y="164"/>
                  </a:lnTo>
                  <a:lnTo>
                    <a:pt x="1825" y="143"/>
                  </a:lnTo>
                  <a:lnTo>
                    <a:pt x="1867" y="122"/>
                  </a:lnTo>
                  <a:lnTo>
                    <a:pt x="1907" y="101"/>
                  </a:lnTo>
                  <a:lnTo>
                    <a:pt x="1945" y="81"/>
                  </a:lnTo>
                  <a:lnTo>
                    <a:pt x="1981" y="63"/>
                  </a:lnTo>
                  <a:lnTo>
                    <a:pt x="1996" y="54"/>
                  </a:lnTo>
                  <a:lnTo>
                    <a:pt x="2012" y="45"/>
                  </a:lnTo>
                  <a:lnTo>
                    <a:pt x="2026" y="37"/>
                  </a:lnTo>
                  <a:lnTo>
                    <a:pt x="2038" y="30"/>
                  </a:lnTo>
                  <a:lnTo>
                    <a:pt x="2050" y="24"/>
                  </a:lnTo>
                  <a:lnTo>
                    <a:pt x="2060" y="18"/>
                  </a:lnTo>
                  <a:lnTo>
                    <a:pt x="2069" y="12"/>
                  </a:lnTo>
                  <a:lnTo>
                    <a:pt x="2077" y="8"/>
                  </a:lnTo>
                  <a:lnTo>
                    <a:pt x="2083" y="4"/>
                  </a:lnTo>
                  <a:lnTo>
                    <a:pt x="2087" y="2"/>
                  </a:lnTo>
                  <a:lnTo>
                    <a:pt x="2090" y="0"/>
                  </a:lnTo>
                  <a:lnTo>
                    <a:pt x="2090" y="0"/>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ysClr val="windowText" lastClr="000000"/>
                </a:solidFill>
                <a:effectLst/>
                <a:uLnTx/>
                <a:uFillTx/>
              </a:endParaRPr>
            </a:p>
          </p:txBody>
        </p:sp>
      </p:grpSp>
      <p:grpSp>
        <p:nvGrpSpPr>
          <p:cNvPr id="49" name="Group 48"/>
          <p:cNvGrpSpPr/>
          <p:nvPr/>
        </p:nvGrpSpPr>
        <p:grpSpPr>
          <a:xfrm>
            <a:off x="3432506" y="1512824"/>
            <a:ext cx="762461" cy="759186"/>
            <a:chOff x="2148168" y="645460"/>
            <a:chExt cx="2587625" cy="2576512"/>
          </a:xfrm>
        </p:grpSpPr>
        <p:sp>
          <p:nvSpPr>
            <p:cNvPr id="50" name="Freeform 19"/>
            <p:cNvSpPr>
              <a:spLocks noEditPoints="1"/>
            </p:cNvSpPr>
            <p:nvPr/>
          </p:nvSpPr>
          <p:spPr bwMode="auto">
            <a:xfrm>
              <a:off x="2364068" y="861360"/>
              <a:ext cx="2154238" cy="2149475"/>
            </a:xfrm>
            <a:custGeom>
              <a:avLst/>
              <a:gdLst>
                <a:gd name="T0" fmla="*/ 14609 w 16392"/>
                <a:gd name="T1" fmla="*/ 16392 h 16392"/>
                <a:gd name="T2" fmla="*/ 1782 w 16392"/>
                <a:gd name="T3" fmla="*/ 16392 h 16392"/>
                <a:gd name="T4" fmla="*/ 0 w 16392"/>
                <a:gd name="T5" fmla="*/ 14610 h 16392"/>
                <a:gd name="T6" fmla="*/ 0 w 16392"/>
                <a:gd name="T7" fmla="*/ 1782 h 16392"/>
                <a:gd name="T8" fmla="*/ 1782 w 16392"/>
                <a:gd name="T9" fmla="*/ 0 h 16392"/>
                <a:gd name="T10" fmla="*/ 14609 w 16392"/>
                <a:gd name="T11" fmla="*/ 0 h 16392"/>
                <a:gd name="T12" fmla="*/ 16392 w 16392"/>
                <a:gd name="T13" fmla="*/ 1782 h 16392"/>
                <a:gd name="T14" fmla="*/ 16392 w 16392"/>
                <a:gd name="T15" fmla="*/ 14610 h 16392"/>
                <a:gd name="T16" fmla="*/ 14609 w 16392"/>
                <a:gd name="T17" fmla="*/ 16392 h 16392"/>
                <a:gd name="T18" fmla="*/ 1782 w 16392"/>
                <a:gd name="T19" fmla="*/ 1175 h 16392"/>
                <a:gd name="T20" fmla="*/ 1194 w 16392"/>
                <a:gd name="T21" fmla="*/ 1763 h 16392"/>
                <a:gd name="T22" fmla="*/ 1194 w 16392"/>
                <a:gd name="T23" fmla="*/ 14590 h 16392"/>
                <a:gd name="T24" fmla="*/ 1782 w 16392"/>
                <a:gd name="T25" fmla="*/ 15178 h 16392"/>
                <a:gd name="T26" fmla="*/ 14609 w 16392"/>
                <a:gd name="T27" fmla="*/ 15178 h 16392"/>
                <a:gd name="T28" fmla="*/ 15197 w 16392"/>
                <a:gd name="T29" fmla="*/ 14590 h 16392"/>
                <a:gd name="T30" fmla="*/ 15197 w 16392"/>
                <a:gd name="T31" fmla="*/ 1763 h 16392"/>
                <a:gd name="T32" fmla="*/ 14609 w 16392"/>
                <a:gd name="T33" fmla="*/ 1175 h 16392"/>
                <a:gd name="T34" fmla="*/ 1782 w 16392"/>
                <a:gd name="T35" fmla="*/ 1175 h 16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6392" h="16392">
                  <a:moveTo>
                    <a:pt x="14609" y="16392"/>
                  </a:moveTo>
                  <a:lnTo>
                    <a:pt x="1782" y="16392"/>
                  </a:lnTo>
                  <a:cubicBezTo>
                    <a:pt x="803" y="16392"/>
                    <a:pt x="0" y="15589"/>
                    <a:pt x="0" y="14610"/>
                  </a:cubicBezTo>
                  <a:lnTo>
                    <a:pt x="0" y="1782"/>
                  </a:lnTo>
                  <a:cubicBezTo>
                    <a:pt x="0" y="803"/>
                    <a:pt x="803" y="0"/>
                    <a:pt x="1782" y="0"/>
                  </a:cubicBezTo>
                  <a:lnTo>
                    <a:pt x="14609" y="0"/>
                  </a:lnTo>
                  <a:cubicBezTo>
                    <a:pt x="15589" y="0"/>
                    <a:pt x="16392" y="803"/>
                    <a:pt x="16392" y="1782"/>
                  </a:cubicBezTo>
                  <a:lnTo>
                    <a:pt x="16392" y="14610"/>
                  </a:lnTo>
                  <a:cubicBezTo>
                    <a:pt x="16392" y="15589"/>
                    <a:pt x="15589" y="16392"/>
                    <a:pt x="14609" y="16392"/>
                  </a:cubicBezTo>
                  <a:close/>
                  <a:moveTo>
                    <a:pt x="1782" y="1175"/>
                  </a:moveTo>
                  <a:cubicBezTo>
                    <a:pt x="1449" y="1175"/>
                    <a:pt x="1194" y="1449"/>
                    <a:pt x="1194" y="1763"/>
                  </a:cubicBezTo>
                  <a:lnTo>
                    <a:pt x="1194" y="14590"/>
                  </a:lnTo>
                  <a:cubicBezTo>
                    <a:pt x="1194" y="14923"/>
                    <a:pt x="1469" y="15178"/>
                    <a:pt x="1782" y="15178"/>
                  </a:cubicBezTo>
                  <a:lnTo>
                    <a:pt x="14609" y="15178"/>
                  </a:lnTo>
                  <a:cubicBezTo>
                    <a:pt x="14942" y="15178"/>
                    <a:pt x="15197" y="14904"/>
                    <a:pt x="15197" y="14590"/>
                  </a:cubicBezTo>
                  <a:lnTo>
                    <a:pt x="15197" y="1763"/>
                  </a:lnTo>
                  <a:cubicBezTo>
                    <a:pt x="15197" y="1430"/>
                    <a:pt x="14923" y="1175"/>
                    <a:pt x="14609" y="1175"/>
                  </a:cubicBezTo>
                  <a:lnTo>
                    <a:pt x="1782" y="1175"/>
                  </a:lnTo>
                  <a:close/>
                </a:path>
              </a:pathLst>
            </a:custGeom>
            <a:solidFill>
              <a:srgbClr val="A0A1A2"/>
            </a:solidFill>
            <a:ln w="0">
              <a:noFill/>
              <a:prstDash val="solid"/>
              <a:round/>
              <a:headEnd/>
              <a:tailEnd/>
            </a:ln>
          </p:spPr>
          <p:txBody>
            <a:bodyPr vert="horz" wrap="square" lIns="91427" tIns="45713" rIns="91427" bIns="4571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ysClr val="windowText" lastClr="000000"/>
                </a:solidFill>
                <a:effectLst/>
                <a:uLnTx/>
                <a:uFillTx/>
              </a:endParaRPr>
            </a:p>
          </p:txBody>
        </p:sp>
        <p:sp>
          <p:nvSpPr>
            <p:cNvPr id="51" name="Freeform 20"/>
            <p:cNvSpPr>
              <a:spLocks/>
            </p:cNvSpPr>
            <p:nvPr/>
          </p:nvSpPr>
          <p:spPr bwMode="auto">
            <a:xfrm>
              <a:off x="2860955" y="645460"/>
              <a:ext cx="758825" cy="220662"/>
            </a:xfrm>
            <a:custGeom>
              <a:avLst/>
              <a:gdLst>
                <a:gd name="T0" fmla="*/ 2683 w 5778"/>
                <a:gd name="T1" fmla="*/ 235 h 1684"/>
                <a:gd name="T2" fmla="*/ 1293 w 5778"/>
                <a:gd name="T3" fmla="*/ 176 h 1684"/>
                <a:gd name="T4" fmla="*/ 275 w 5778"/>
                <a:gd name="T5" fmla="*/ 1116 h 1684"/>
                <a:gd name="T6" fmla="*/ 0 w 5778"/>
                <a:gd name="T7" fmla="*/ 1684 h 1684"/>
                <a:gd name="T8" fmla="*/ 5778 w 5778"/>
                <a:gd name="T9" fmla="*/ 1684 h 1684"/>
                <a:gd name="T10" fmla="*/ 2683 w 5778"/>
                <a:gd name="T11" fmla="*/ 235 h 1684"/>
              </a:gdLst>
              <a:ahLst/>
              <a:cxnLst>
                <a:cxn ang="0">
                  <a:pos x="T0" y="T1"/>
                </a:cxn>
                <a:cxn ang="0">
                  <a:pos x="T2" y="T3"/>
                </a:cxn>
                <a:cxn ang="0">
                  <a:pos x="T4" y="T5"/>
                </a:cxn>
                <a:cxn ang="0">
                  <a:pos x="T6" y="T7"/>
                </a:cxn>
                <a:cxn ang="0">
                  <a:pos x="T8" y="T9"/>
                </a:cxn>
                <a:cxn ang="0">
                  <a:pos x="T10" y="T11"/>
                </a:cxn>
              </a:cxnLst>
              <a:rect l="0" t="0" r="r" b="b"/>
              <a:pathLst>
                <a:path w="5778" h="1684">
                  <a:moveTo>
                    <a:pt x="2683" y="235"/>
                  </a:moveTo>
                  <a:cubicBezTo>
                    <a:pt x="2253" y="39"/>
                    <a:pt x="1743" y="0"/>
                    <a:pt x="1293" y="176"/>
                  </a:cubicBezTo>
                  <a:cubicBezTo>
                    <a:pt x="843" y="333"/>
                    <a:pt x="471" y="666"/>
                    <a:pt x="275" y="1116"/>
                  </a:cubicBezTo>
                  <a:lnTo>
                    <a:pt x="0" y="1684"/>
                  </a:lnTo>
                  <a:lnTo>
                    <a:pt x="5778" y="1684"/>
                  </a:lnTo>
                  <a:lnTo>
                    <a:pt x="2683" y="235"/>
                  </a:lnTo>
                  <a:close/>
                </a:path>
              </a:pathLst>
            </a:custGeom>
            <a:solidFill>
              <a:srgbClr val="7A7A7A"/>
            </a:solidFill>
            <a:ln w="0">
              <a:noFill/>
              <a:prstDash val="solid"/>
              <a:round/>
              <a:headEnd/>
              <a:tailEnd/>
            </a:ln>
          </p:spPr>
          <p:txBody>
            <a:bodyPr vert="horz" wrap="square" lIns="91427" tIns="45713" rIns="91427" bIns="4571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ysClr val="windowText" lastClr="000000"/>
                </a:solidFill>
                <a:effectLst/>
                <a:uLnTx/>
                <a:uFillTx/>
              </a:endParaRPr>
            </a:p>
          </p:txBody>
        </p:sp>
        <p:sp>
          <p:nvSpPr>
            <p:cNvPr id="52" name="Freeform 21"/>
            <p:cNvSpPr>
              <a:spLocks/>
            </p:cNvSpPr>
            <p:nvPr/>
          </p:nvSpPr>
          <p:spPr bwMode="auto">
            <a:xfrm>
              <a:off x="4515130" y="1356660"/>
              <a:ext cx="220663" cy="760412"/>
            </a:xfrm>
            <a:custGeom>
              <a:avLst/>
              <a:gdLst>
                <a:gd name="T0" fmla="*/ 1508 w 1684"/>
                <a:gd name="T1" fmla="*/ 1292 h 5797"/>
                <a:gd name="T2" fmla="*/ 568 w 1684"/>
                <a:gd name="T3" fmla="*/ 274 h 5797"/>
                <a:gd name="T4" fmla="*/ 0 w 1684"/>
                <a:gd name="T5" fmla="*/ 0 h 5797"/>
                <a:gd name="T6" fmla="*/ 0 w 1684"/>
                <a:gd name="T7" fmla="*/ 5797 h 5797"/>
                <a:gd name="T8" fmla="*/ 1449 w 1684"/>
                <a:gd name="T9" fmla="*/ 2702 h 5797"/>
                <a:gd name="T10" fmla="*/ 1508 w 1684"/>
                <a:gd name="T11" fmla="*/ 1292 h 5797"/>
              </a:gdLst>
              <a:ahLst/>
              <a:cxnLst>
                <a:cxn ang="0">
                  <a:pos x="T0" y="T1"/>
                </a:cxn>
                <a:cxn ang="0">
                  <a:pos x="T2" y="T3"/>
                </a:cxn>
                <a:cxn ang="0">
                  <a:pos x="T4" y="T5"/>
                </a:cxn>
                <a:cxn ang="0">
                  <a:pos x="T6" y="T7"/>
                </a:cxn>
                <a:cxn ang="0">
                  <a:pos x="T8" y="T9"/>
                </a:cxn>
                <a:cxn ang="0">
                  <a:pos x="T10" y="T11"/>
                </a:cxn>
              </a:cxnLst>
              <a:rect l="0" t="0" r="r" b="b"/>
              <a:pathLst>
                <a:path w="1684" h="5797">
                  <a:moveTo>
                    <a:pt x="1508" y="1292"/>
                  </a:moveTo>
                  <a:cubicBezTo>
                    <a:pt x="1351" y="842"/>
                    <a:pt x="1018" y="470"/>
                    <a:pt x="568" y="274"/>
                  </a:cubicBezTo>
                  <a:lnTo>
                    <a:pt x="0" y="0"/>
                  </a:lnTo>
                  <a:lnTo>
                    <a:pt x="0" y="5797"/>
                  </a:lnTo>
                  <a:lnTo>
                    <a:pt x="1449" y="2702"/>
                  </a:lnTo>
                  <a:cubicBezTo>
                    <a:pt x="1665" y="2252"/>
                    <a:pt x="1684" y="1762"/>
                    <a:pt x="1508" y="1292"/>
                  </a:cubicBezTo>
                  <a:close/>
                </a:path>
              </a:pathLst>
            </a:custGeom>
            <a:solidFill>
              <a:srgbClr val="7A7A7A"/>
            </a:solidFill>
            <a:ln w="0">
              <a:noFill/>
              <a:prstDash val="solid"/>
              <a:round/>
              <a:headEnd/>
              <a:tailEnd/>
            </a:ln>
          </p:spPr>
          <p:txBody>
            <a:bodyPr vert="horz" wrap="square" lIns="91427" tIns="45713" rIns="91427" bIns="4571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ysClr val="windowText" lastClr="000000"/>
                </a:solidFill>
                <a:effectLst/>
                <a:uLnTx/>
                <a:uFillTx/>
              </a:endParaRPr>
            </a:p>
          </p:txBody>
        </p:sp>
        <p:sp>
          <p:nvSpPr>
            <p:cNvPr id="54" name="Freeform 22"/>
            <p:cNvSpPr>
              <a:spLocks/>
            </p:cNvSpPr>
            <p:nvPr/>
          </p:nvSpPr>
          <p:spPr bwMode="auto">
            <a:xfrm>
              <a:off x="2148168" y="1934510"/>
              <a:ext cx="222250" cy="758825"/>
            </a:xfrm>
            <a:custGeom>
              <a:avLst/>
              <a:gdLst>
                <a:gd name="T0" fmla="*/ 235 w 1684"/>
                <a:gd name="T1" fmla="*/ 3095 h 5778"/>
                <a:gd name="T2" fmla="*/ 176 w 1684"/>
                <a:gd name="T3" fmla="*/ 4485 h 5778"/>
                <a:gd name="T4" fmla="*/ 1116 w 1684"/>
                <a:gd name="T5" fmla="*/ 5503 h 5778"/>
                <a:gd name="T6" fmla="*/ 1684 w 1684"/>
                <a:gd name="T7" fmla="*/ 5778 h 5778"/>
                <a:gd name="T8" fmla="*/ 1684 w 1684"/>
                <a:gd name="T9" fmla="*/ 0 h 5778"/>
                <a:gd name="T10" fmla="*/ 235 w 1684"/>
                <a:gd name="T11" fmla="*/ 3095 h 5778"/>
              </a:gdLst>
              <a:ahLst/>
              <a:cxnLst>
                <a:cxn ang="0">
                  <a:pos x="T0" y="T1"/>
                </a:cxn>
                <a:cxn ang="0">
                  <a:pos x="T2" y="T3"/>
                </a:cxn>
                <a:cxn ang="0">
                  <a:pos x="T4" y="T5"/>
                </a:cxn>
                <a:cxn ang="0">
                  <a:pos x="T6" y="T7"/>
                </a:cxn>
                <a:cxn ang="0">
                  <a:pos x="T8" y="T9"/>
                </a:cxn>
                <a:cxn ang="0">
                  <a:pos x="T10" y="T11"/>
                </a:cxn>
              </a:cxnLst>
              <a:rect l="0" t="0" r="r" b="b"/>
              <a:pathLst>
                <a:path w="1684" h="5778">
                  <a:moveTo>
                    <a:pt x="235" y="3095"/>
                  </a:moveTo>
                  <a:cubicBezTo>
                    <a:pt x="39" y="3525"/>
                    <a:pt x="0" y="4035"/>
                    <a:pt x="176" y="4485"/>
                  </a:cubicBezTo>
                  <a:cubicBezTo>
                    <a:pt x="333" y="4935"/>
                    <a:pt x="666" y="5308"/>
                    <a:pt x="1116" y="5503"/>
                  </a:cubicBezTo>
                  <a:lnTo>
                    <a:pt x="1684" y="5778"/>
                  </a:lnTo>
                  <a:lnTo>
                    <a:pt x="1684" y="0"/>
                  </a:lnTo>
                  <a:lnTo>
                    <a:pt x="235" y="3095"/>
                  </a:lnTo>
                  <a:close/>
                </a:path>
              </a:pathLst>
            </a:custGeom>
            <a:solidFill>
              <a:srgbClr val="7A7A7A"/>
            </a:solidFill>
            <a:ln w="0">
              <a:noFill/>
              <a:prstDash val="solid"/>
              <a:round/>
              <a:headEnd/>
              <a:tailEnd/>
            </a:ln>
          </p:spPr>
          <p:txBody>
            <a:bodyPr vert="horz" wrap="square" lIns="91427" tIns="45713" rIns="91427" bIns="4571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ysClr val="windowText" lastClr="000000"/>
                </a:solidFill>
                <a:effectLst/>
                <a:uLnTx/>
                <a:uFillTx/>
              </a:endParaRPr>
            </a:p>
          </p:txBody>
        </p:sp>
        <p:sp>
          <p:nvSpPr>
            <p:cNvPr id="55" name="Freeform 23"/>
            <p:cNvSpPr>
              <a:spLocks/>
            </p:cNvSpPr>
            <p:nvPr/>
          </p:nvSpPr>
          <p:spPr bwMode="auto">
            <a:xfrm>
              <a:off x="3440393" y="3009247"/>
              <a:ext cx="758825" cy="212725"/>
            </a:xfrm>
            <a:custGeom>
              <a:avLst/>
              <a:gdLst>
                <a:gd name="T0" fmla="*/ 3094 w 5777"/>
                <a:gd name="T1" fmla="*/ 1450 h 1626"/>
                <a:gd name="T2" fmla="*/ 3858 w 5777"/>
                <a:gd name="T3" fmla="*/ 1626 h 1626"/>
                <a:gd name="T4" fmla="*/ 4485 w 5777"/>
                <a:gd name="T5" fmla="*/ 1508 h 1626"/>
                <a:gd name="T6" fmla="*/ 5503 w 5777"/>
                <a:gd name="T7" fmla="*/ 568 h 1626"/>
                <a:gd name="T8" fmla="*/ 5777 w 5777"/>
                <a:gd name="T9" fmla="*/ 0 h 1626"/>
                <a:gd name="T10" fmla="*/ 0 w 5777"/>
                <a:gd name="T11" fmla="*/ 0 h 1626"/>
                <a:gd name="T12" fmla="*/ 3094 w 5777"/>
                <a:gd name="T13" fmla="*/ 1450 h 1626"/>
              </a:gdLst>
              <a:ahLst/>
              <a:cxnLst>
                <a:cxn ang="0">
                  <a:pos x="T0" y="T1"/>
                </a:cxn>
                <a:cxn ang="0">
                  <a:pos x="T2" y="T3"/>
                </a:cxn>
                <a:cxn ang="0">
                  <a:pos x="T4" y="T5"/>
                </a:cxn>
                <a:cxn ang="0">
                  <a:pos x="T6" y="T7"/>
                </a:cxn>
                <a:cxn ang="0">
                  <a:pos x="T8" y="T9"/>
                </a:cxn>
                <a:cxn ang="0">
                  <a:pos x="T10" y="T11"/>
                </a:cxn>
                <a:cxn ang="0">
                  <a:pos x="T12" y="T13"/>
                </a:cxn>
              </a:cxnLst>
              <a:rect l="0" t="0" r="r" b="b"/>
              <a:pathLst>
                <a:path w="5777" h="1626">
                  <a:moveTo>
                    <a:pt x="3094" y="1450"/>
                  </a:moveTo>
                  <a:cubicBezTo>
                    <a:pt x="3329" y="1567"/>
                    <a:pt x="3603" y="1626"/>
                    <a:pt x="3858" y="1626"/>
                  </a:cubicBezTo>
                  <a:cubicBezTo>
                    <a:pt x="4073" y="1626"/>
                    <a:pt x="4269" y="1587"/>
                    <a:pt x="4485" y="1508"/>
                  </a:cubicBezTo>
                  <a:cubicBezTo>
                    <a:pt x="4935" y="1352"/>
                    <a:pt x="5307" y="1019"/>
                    <a:pt x="5503" y="568"/>
                  </a:cubicBezTo>
                  <a:lnTo>
                    <a:pt x="5777" y="0"/>
                  </a:lnTo>
                  <a:lnTo>
                    <a:pt x="0" y="0"/>
                  </a:lnTo>
                  <a:lnTo>
                    <a:pt x="3094" y="1450"/>
                  </a:lnTo>
                  <a:close/>
                </a:path>
              </a:pathLst>
            </a:custGeom>
            <a:solidFill>
              <a:srgbClr val="7A7A7A"/>
            </a:solidFill>
            <a:ln w="0">
              <a:noFill/>
              <a:prstDash val="solid"/>
              <a:round/>
              <a:headEnd/>
              <a:tailEnd/>
            </a:ln>
          </p:spPr>
          <p:txBody>
            <a:bodyPr vert="horz" wrap="square" lIns="91427" tIns="45713" rIns="91427" bIns="4571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ysClr val="windowText" lastClr="000000"/>
                </a:solidFill>
                <a:effectLst/>
                <a:uLnTx/>
                <a:uFillTx/>
              </a:endParaRPr>
            </a:p>
          </p:txBody>
        </p:sp>
        <p:sp>
          <p:nvSpPr>
            <p:cNvPr id="57" name="Freeform 24"/>
            <p:cNvSpPr>
              <a:spLocks/>
            </p:cNvSpPr>
            <p:nvPr/>
          </p:nvSpPr>
          <p:spPr bwMode="auto">
            <a:xfrm>
              <a:off x="2521230" y="1015347"/>
              <a:ext cx="1839913" cy="1836737"/>
            </a:xfrm>
            <a:custGeom>
              <a:avLst/>
              <a:gdLst>
                <a:gd name="T0" fmla="*/ 588 w 14003"/>
                <a:gd name="T1" fmla="*/ 0 h 14003"/>
                <a:gd name="T2" fmla="*/ 0 w 14003"/>
                <a:gd name="T3" fmla="*/ 588 h 14003"/>
                <a:gd name="T4" fmla="*/ 0 w 14003"/>
                <a:gd name="T5" fmla="*/ 13415 h 14003"/>
                <a:gd name="T6" fmla="*/ 588 w 14003"/>
                <a:gd name="T7" fmla="*/ 14003 h 14003"/>
                <a:gd name="T8" fmla="*/ 13415 w 14003"/>
                <a:gd name="T9" fmla="*/ 14003 h 14003"/>
                <a:gd name="T10" fmla="*/ 14003 w 14003"/>
                <a:gd name="T11" fmla="*/ 13415 h 14003"/>
                <a:gd name="T12" fmla="*/ 14003 w 14003"/>
                <a:gd name="T13" fmla="*/ 588 h 14003"/>
                <a:gd name="T14" fmla="*/ 13415 w 14003"/>
                <a:gd name="T15" fmla="*/ 0 h 14003"/>
                <a:gd name="T16" fmla="*/ 588 w 14003"/>
                <a:gd name="T17" fmla="*/ 0 h 140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003" h="14003">
                  <a:moveTo>
                    <a:pt x="588" y="0"/>
                  </a:moveTo>
                  <a:cubicBezTo>
                    <a:pt x="255" y="0"/>
                    <a:pt x="0" y="274"/>
                    <a:pt x="0" y="588"/>
                  </a:cubicBezTo>
                  <a:lnTo>
                    <a:pt x="0" y="13415"/>
                  </a:lnTo>
                  <a:cubicBezTo>
                    <a:pt x="0" y="13748"/>
                    <a:pt x="275" y="14003"/>
                    <a:pt x="588" y="14003"/>
                  </a:cubicBezTo>
                  <a:lnTo>
                    <a:pt x="13415" y="14003"/>
                  </a:lnTo>
                  <a:cubicBezTo>
                    <a:pt x="13748" y="14003"/>
                    <a:pt x="14003" y="13729"/>
                    <a:pt x="14003" y="13415"/>
                  </a:cubicBezTo>
                  <a:lnTo>
                    <a:pt x="14003" y="588"/>
                  </a:lnTo>
                  <a:cubicBezTo>
                    <a:pt x="14003" y="255"/>
                    <a:pt x="13729" y="0"/>
                    <a:pt x="13415" y="0"/>
                  </a:cubicBezTo>
                  <a:lnTo>
                    <a:pt x="588" y="0"/>
                  </a:lnTo>
                  <a:close/>
                </a:path>
              </a:pathLst>
            </a:custGeom>
            <a:solidFill>
              <a:srgbClr val="FFFFFF"/>
            </a:solidFill>
            <a:ln w="0">
              <a:noFill/>
              <a:prstDash val="solid"/>
              <a:round/>
              <a:headEnd/>
              <a:tailEnd/>
            </a:ln>
          </p:spPr>
          <p:txBody>
            <a:bodyPr vert="horz" wrap="square" lIns="91427" tIns="45713" rIns="91427" bIns="4571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ysClr val="windowText" lastClr="000000"/>
                </a:solidFill>
                <a:effectLst/>
                <a:uLnTx/>
                <a:uFillTx/>
              </a:endParaRPr>
            </a:p>
          </p:txBody>
        </p:sp>
        <p:sp>
          <p:nvSpPr>
            <p:cNvPr id="60" name="Freeform 25"/>
            <p:cNvSpPr>
              <a:spLocks/>
            </p:cNvSpPr>
            <p:nvPr/>
          </p:nvSpPr>
          <p:spPr bwMode="auto">
            <a:xfrm>
              <a:off x="3046693" y="1288397"/>
              <a:ext cx="792163" cy="1311275"/>
            </a:xfrm>
            <a:custGeom>
              <a:avLst/>
              <a:gdLst>
                <a:gd name="T0" fmla="*/ 5836 w 6031"/>
                <a:gd name="T1" fmla="*/ 3721 h 10008"/>
                <a:gd name="T2" fmla="*/ 3348 w 6031"/>
                <a:gd name="T3" fmla="*/ 3721 h 10008"/>
                <a:gd name="T4" fmla="*/ 4386 w 6031"/>
                <a:gd name="T5" fmla="*/ 255 h 10008"/>
                <a:gd name="T6" fmla="*/ 4288 w 6031"/>
                <a:gd name="T7" fmla="*/ 20 h 10008"/>
                <a:gd name="T8" fmla="*/ 4210 w 6031"/>
                <a:gd name="T9" fmla="*/ 0 h 10008"/>
                <a:gd name="T10" fmla="*/ 4053 w 6031"/>
                <a:gd name="T11" fmla="*/ 78 h 10008"/>
                <a:gd name="T12" fmla="*/ 39 w 6031"/>
                <a:gd name="T13" fmla="*/ 5934 h 10008"/>
                <a:gd name="T14" fmla="*/ 19 w 6031"/>
                <a:gd name="T15" fmla="*/ 6130 h 10008"/>
                <a:gd name="T16" fmla="*/ 195 w 6031"/>
                <a:gd name="T17" fmla="*/ 6228 h 10008"/>
                <a:gd name="T18" fmla="*/ 2604 w 6031"/>
                <a:gd name="T19" fmla="*/ 6228 h 10008"/>
                <a:gd name="T20" fmla="*/ 1527 w 6031"/>
                <a:gd name="T21" fmla="*/ 9753 h 10008"/>
                <a:gd name="T22" fmla="*/ 1625 w 6031"/>
                <a:gd name="T23" fmla="*/ 9988 h 10008"/>
                <a:gd name="T24" fmla="*/ 1703 w 6031"/>
                <a:gd name="T25" fmla="*/ 10008 h 10008"/>
                <a:gd name="T26" fmla="*/ 1860 w 6031"/>
                <a:gd name="T27" fmla="*/ 9929 h 10008"/>
                <a:gd name="T28" fmla="*/ 5992 w 6031"/>
                <a:gd name="T29" fmla="*/ 4015 h 10008"/>
                <a:gd name="T30" fmla="*/ 6031 w 6031"/>
                <a:gd name="T31" fmla="*/ 3897 h 10008"/>
                <a:gd name="T32" fmla="*/ 5836 w 6031"/>
                <a:gd name="T33" fmla="*/ 3721 h 100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031" h="10008">
                  <a:moveTo>
                    <a:pt x="5836" y="3721"/>
                  </a:moveTo>
                  <a:lnTo>
                    <a:pt x="3348" y="3721"/>
                  </a:lnTo>
                  <a:lnTo>
                    <a:pt x="4386" y="255"/>
                  </a:lnTo>
                  <a:cubicBezTo>
                    <a:pt x="4406" y="157"/>
                    <a:pt x="4367" y="59"/>
                    <a:pt x="4288" y="20"/>
                  </a:cubicBezTo>
                  <a:cubicBezTo>
                    <a:pt x="4269" y="0"/>
                    <a:pt x="4230" y="0"/>
                    <a:pt x="4210" y="0"/>
                  </a:cubicBezTo>
                  <a:cubicBezTo>
                    <a:pt x="4151" y="0"/>
                    <a:pt x="4093" y="39"/>
                    <a:pt x="4053" y="78"/>
                  </a:cubicBezTo>
                  <a:lnTo>
                    <a:pt x="39" y="5934"/>
                  </a:lnTo>
                  <a:cubicBezTo>
                    <a:pt x="0" y="5993"/>
                    <a:pt x="0" y="6071"/>
                    <a:pt x="19" y="6130"/>
                  </a:cubicBezTo>
                  <a:cubicBezTo>
                    <a:pt x="58" y="6189"/>
                    <a:pt x="117" y="6228"/>
                    <a:pt x="195" y="6228"/>
                  </a:cubicBezTo>
                  <a:lnTo>
                    <a:pt x="2604" y="6228"/>
                  </a:lnTo>
                  <a:lnTo>
                    <a:pt x="1527" y="9753"/>
                  </a:lnTo>
                  <a:cubicBezTo>
                    <a:pt x="1508" y="9851"/>
                    <a:pt x="1547" y="9949"/>
                    <a:pt x="1625" y="9988"/>
                  </a:cubicBezTo>
                  <a:cubicBezTo>
                    <a:pt x="1645" y="10008"/>
                    <a:pt x="1684" y="10008"/>
                    <a:pt x="1703" y="10008"/>
                  </a:cubicBezTo>
                  <a:cubicBezTo>
                    <a:pt x="1762" y="10008"/>
                    <a:pt x="1821" y="9968"/>
                    <a:pt x="1860" y="9929"/>
                  </a:cubicBezTo>
                  <a:lnTo>
                    <a:pt x="5992" y="4015"/>
                  </a:lnTo>
                  <a:cubicBezTo>
                    <a:pt x="6012" y="3976"/>
                    <a:pt x="6031" y="3936"/>
                    <a:pt x="6031" y="3897"/>
                  </a:cubicBezTo>
                  <a:cubicBezTo>
                    <a:pt x="6031" y="3799"/>
                    <a:pt x="5933" y="3721"/>
                    <a:pt x="5836" y="3721"/>
                  </a:cubicBezTo>
                  <a:close/>
                </a:path>
              </a:pathLst>
            </a:custGeom>
            <a:solidFill>
              <a:srgbClr val="59B4D9"/>
            </a:solidFill>
            <a:ln w="0">
              <a:noFill/>
              <a:prstDash val="solid"/>
              <a:round/>
              <a:headEnd/>
              <a:tailEnd/>
            </a:ln>
          </p:spPr>
          <p:txBody>
            <a:bodyPr vert="horz" wrap="square" lIns="91427" tIns="45713" rIns="91427" bIns="4571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ysClr val="windowText" lastClr="000000"/>
                </a:solidFill>
                <a:effectLst/>
                <a:uLnTx/>
                <a:uFillTx/>
              </a:endParaRPr>
            </a:p>
          </p:txBody>
        </p:sp>
      </p:grpSp>
      <p:sp>
        <p:nvSpPr>
          <p:cNvPr id="2" name="Title 1"/>
          <p:cNvSpPr>
            <a:spLocks noGrp="1"/>
          </p:cNvSpPr>
          <p:nvPr>
            <p:ph type="title"/>
          </p:nvPr>
        </p:nvSpPr>
        <p:spPr/>
        <p:txBody>
          <a:bodyPr/>
          <a:lstStyle/>
          <a:p>
            <a:r>
              <a:rPr lang="en-US" dirty="0"/>
              <a:t>Leveraging Azure Active Directory</a:t>
            </a:r>
          </a:p>
        </p:txBody>
      </p:sp>
      <p:pic>
        <p:nvPicPr>
          <p:cNvPr id="53" name="Picture 52" descr="... Server 2012, Extendiendo Soporte de dispositivos en Active Directory"/>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428331" y="2151570"/>
            <a:ext cx="1134696" cy="1120689"/>
          </a:xfrm>
          <a:prstGeom prst="rect">
            <a:avLst/>
          </a:prstGeom>
          <a:effectLst/>
        </p:spPr>
      </p:pic>
      <p:pic>
        <p:nvPicPr>
          <p:cNvPr id="56" name="Picture 55"/>
          <p:cNvPicPr>
            <a:picLocks noChangeAspect="1"/>
          </p:cNvPicPr>
          <p:nvPr/>
        </p:nvPicPr>
        <p:blipFill>
          <a:blip r:embed="rId3">
            <a:extLst>
              <a:ext uri="{BEBA8EAE-BF5A-486C-A8C5-ECC9F3942E4B}">
                <a14:imgProps xmlns:a14="http://schemas.microsoft.com/office/drawing/2010/main">
                  <a14:imgLayer r:embed="rId4">
                    <a14:imgEffect>
                      <a14:backgroundRemoval t="625" b="99375" l="3704" r="96914"/>
                    </a14:imgEffect>
                  </a14:imgLayer>
                </a14:imgProps>
              </a:ext>
            </a:extLst>
          </a:blip>
          <a:stretch>
            <a:fillRect/>
          </a:stretch>
        </p:blipFill>
        <p:spPr>
          <a:xfrm>
            <a:off x="6428331" y="4895949"/>
            <a:ext cx="1134696" cy="1120688"/>
          </a:xfrm>
          <a:prstGeom prst="rect">
            <a:avLst/>
          </a:prstGeom>
        </p:spPr>
      </p:pic>
      <p:sp>
        <p:nvSpPr>
          <p:cNvPr id="59" name="TextBox 58"/>
          <p:cNvSpPr txBox="1"/>
          <p:nvPr/>
        </p:nvSpPr>
        <p:spPr>
          <a:xfrm>
            <a:off x="3100949" y="2210238"/>
            <a:ext cx="1428069" cy="474323"/>
          </a:xfrm>
          <a:prstGeom prst="rect">
            <a:avLst/>
          </a:prstGeom>
          <a:noFill/>
        </p:spPr>
        <p:txBody>
          <a:bodyPr wrap="none" lIns="179285" tIns="143428" rIns="179285" bIns="143428" rtlCol="0">
            <a:spAutoFit/>
          </a:bodyPr>
          <a:lstStyle/>
          <a:p>
            <a:pPr marL="0" marR="0" lvl="0" indent="0" algn="ctr" defTabSz="914225"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chemeClr val="tx2"/>
                </a:solidFill>
                <a:effectLst/>
                <a:uLnTx/>
                <a:uFillTx/>
              </a:rPr>
              <a:t>Data Lake Store</a:t>
            </a:r>
          </a:p>
        </p:txBody>
      </p:sp>
      <p:sp>
        <p:nvSpPr>
          <p:cNvPr id="62" name="TextBox 61"/>
          <p:cNvSpPr txBox="1"/>
          <p:nvPr/>
        </p:nvSpPr>
        <p:spPr>
          <a:xfrm>
            <a:off x="3294912" y="5722892"/>
            <a:ext cx="1040142" cy="455857"/>
          </a:xfrm>
          <a:prstGeom prst="rect">
            <a:avLst/>
          </a:prstGeom>
          <a:noFill/>
        </p:spPr>
        <p:txBody>
          <a:bodyPr wrap="none" lIns="179285" tIns="143428" rIns="179285" bIns="143428" rtlCol="0">
            <a:spAutoFit/>
          </a:bodyPr>
          <a:lstStyle/>
          <a:p>
            <a:pPr marL="0" marR="0" lvl="0" indent="0" defTabSz="896386" eaLnBrk="1" fontAlgn="auto" latinLnBrk="0" hangingPunct="1">
              <a:lnSpc>
                <a:spcPct val="90000"/>
              </a:lnSpc>
              <a:spcBef>
                <a:spcPts val="0"/>
              </a:spcBef>
              <a:spcAft>
                <a:spcPts val="588"/>
              </a:spcAft>
              <a:buClrTx/>
              <a:buSzTx/>
              <a:buFontTx/>
              <a:buNone/>
              <a:tabLst/>
              <a:defRPr/>
            </a:pPr>
            <a:r>
              <a:rPr kumimoji="0" lang="en-US" sz="1200" b="0" i="0" u="none" strike="noStrike" kern="0" cap="none" spc="0" normalizeH="0" baseline="0" noProof="0" dirty="0">
                <a:ln>
                  <a:noFill/>
                </a:ln>
                <a:solidFill>
                  <a:schemeClr val="tx2"/>
                </a:solidFill>
                <a:effectLst/>
                <a:uLnTx/>
                <a:uFillTx/>
              </a:rPr>
              <a:t>HDInsight</a:t>
            </a:r>
            <a:endParaRPr kumimoji="0" lang="en-US" sz="1176" b="0" i="0" u="none" strike="noStrike" kern="0" cap="none" spc="0" normalizeH="0" baseline="0" noProof="0" dirty="0">
              <a:ln>
                <a:noFill/>
              </a:ln>
              <a:gradFill>
                <a:gsLst>
                  <a:gs pos="2917">
                    <a:prstClr val="black"/>
                  </a:gs>
                  <a:gs pos="30000">
                    <a:prstClr val="black"/>
                  </a:gs>
                </a:gsLst>
                <a:lin ang="5400000" scaled="0"/>
              </a:gradFill>
              <a:effectLst/>
              <a:uLnTx/>
              <a:uFillTx/>
              <a:latin typeface="Segoe UI Light"/>
            </a:endParaRPr>
          </a:p>
        </p:txBody>
      </p:sp>
      <p:sp>
        <p:nvSpPr>
          <p:cNvPr id="65" name="TextBox 64"/>
          <p:cNvSpPr txBox="1"/>
          <p:nvPr/>
        </p:nvSpPr>
        <p:spPr>
          <a:xfrm>
            <a:off x="3100949" y="3883672"/>
            <a:ext cx="1428069" cy="474323"/>
          </a:xfrm>
          <a:prstGeom prst="rect">
            <a:avLst/>
          </a:prstGeom>
          <a:noFill/>
        </p:spPr>
        <p:txBody>
          <a:bodyPr wrap="none" lIns="179285" tIns="143428" rIns="179285" bIns="143428" rtlCol="0">
            <a:spAutoFit/>
          </a:bodyPr>
          <a:lstStyle/>
          <a:p>
            <a:pPr marL="0" marR="0" lvl="0" indent="0" algn="ctr" defTabSz="914225"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chemeClr val="tx2"/>
                </a:solidFill>
                <a:effectLst/>
                <a:uLnTx/>
                <a:uFillTx/>
              </a:rPr>
              <a:t>Data Lake Store</a:t>
            </a:r>
          </a:p>
        </p:txBody>
      </p:sp>
      <p:sp>
        <p:nvSpPr>
          <p:cNvPr id="74" name="Oval 73"/>
          <p:cNvSpPr>
            <a:spLocks noChangeAspect="1"/>
          </p:cNvSpPr>
          <p:nvPr/>
        </p:nvSpPr>
        <p:spPr bwMode="auto">
          <a:xfrm>
            <a:off x="3105147" y="3090171"/>
            <a:ext cx="324239" cy="324239"/>
          </a:xfrm>
          <a:prstGeom prst="ellipse">
            <a:avLst/>
          </a:prstGeom>
          <a:solidFill>
            <a:srgbClr val="002050"/>
          </a:solidFill>
          <a:ln w="12700"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eaLnBrk="1" fontAlgn="base" latinLnBrk="0" hangingPunct="1">
              <a:lnSpc>
                <a:spcPct val="100000"/>
              </a:lnSpc>
              <a:spcBef>
                <a:spcPct val="0"/>
              </a:spcBef>
              <a:spcAft>
                <a:spcPct val="0"/>
              </a:spcAft>
              <a:buClrTx/>
              <a:buSzTx/>
              <a:buFontTx/>
              <a:buNone/>
              <a:tabLst/>
              <a:defRPr/>
            </a:pPr>
            <a:r>
              <a:rPr kumimoji="0" lang="en-US" sz="1800" b="1" i="0" u="none" strike="noStrike" kern="0" cap="none" spc="0" normalizeH="0" baseline="0" noProof="0" dirty="0">
                <a:ln>
                  <a:noFill/>
                </a:ln>
                <a:gradFill>
                  <a:gsLst>
                    <a:gs pos="5439">
                      <a:srgbClr val="F8F8F8"/>
                    </a:gs>
                    <a:gs pos="10000">
                      <a:srgbClr val="F8F8F8"/>
                    </a:gs>
                  </a:gsLst>
                  <a:lin ang="5400000" scaled="0"/>
                </a:gradFill>
                <a:effectLst/>
                <a:uLnTx/>
                <a:uFillTx/>
                <a:ea typeface="Segoe UI Black" panose="020B0A02040204020203" pitchFamily="34" charset="0"/>
                <a:cs typeface="Segoe UI Black" panose="020B0A02040204020203" pitchFamily="34" charset="0"/>
              </a:rPr>
              <a:t>4</a:t>
            </a:r>
            <a:endParaRPr kumimoji="0" lang="en-US" sz="1600" b="1" i="0" u="none" strike="noStrike" kern="0" cap="none" spc="0" normalizeH="0" baseline="0" noProof="0" dirty="0">
              <a:ln>
                <a:noFill/>
              </a:ln>
              <a:gradFill>
                <a:gsLst>
                  <a:gs pos="5439">
                    <a:srgbClr val="F8F8F8"/>
                  </a:gs>
                  <a:gs pos="10000">
                    <a:srgbClr val="F8F8F8"/>
                  </a:gs>
                </a:gsLst>
                <a:lin ang="5400000" scaled="0"/>
              </a:gradFill>
              <a:effectLst/>
              <a:uLnTx/>
              <a:uFillTx/>
              <a:ea typeface="Segoe UI Black" panose="020B0A02040204020203" pitchFamily="34" charset="0"/>
              <a:cs typeface="Segoe UI Black" panose="020B0A02040204020203" pitchFamily="34" charset="0"/>
            </a:endParaRPr>
          </a:p>
        </p:txBody>
      </p:sp>
      <p:cxnSp>
        <p:nvCxnSpPr>
          <p:cNvPr id="78" name="Straight Connector 77"/>
          <p:cNvCxnSpPr/>
          <p:nvPr/>
        </p:nvCxnSpPr>
        <p:spPr>
          <a:xfrm>
            <a:off x="7980829" y="1516652"/>
            <a:ext cx="0" cy="4206240"/>
          </a:xfrm>
          <a:prstGeom prst="line">
            <a:avLst/>
          </a:prstGeom>
          <a:noFill/>
          <a:ln w="6350" cap="flat" cmpd="sng" algn="ctr">
            <a:solidFill>
              <a:sysClr val="windowText" lastClr="000000"/>
            </a:solidFill>
            <a:prstDash val="solid"/>
            <a:miter lim="800000"/>
            <a:headEnd type="none"/>
            <a:tailEnd type="none"/>
          </a:ln>
          <a:effectLst/>
        </p:spPr>
      </p:cxnSp>
      <p:sp>
        <p:nvSpPr>
          <p:cNvPr id="80" name="Oval 79"/>
          <p:cNvSpPr>
            <a:spLocks noChangeAspect="1"/>
          </p:cNvSpPr>
          <p:nvPr/>
        </p:nvSpPr>
        <p:spPr bwMode="auto">
          <a:xfrm>
            <a:off x="8351748" y="2608382"/>
            <a:ext cx="324239" cy="324239"/>
          </a:xfrm>
          <a:prstGeom prst="ellipse">
            <a:avLst/>
          </a:prstGeom>
          <a:solidFill>
            <a:srgbClr val="002050"/>
          </a:solidFill>
          <a:ln w="12700"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eaLnBrk="1" fontAlgn="base" latinLnBrk="0" hangingPunct="1">
              <a:lnSpc>
                <a:spcPct val="100000"/>
              </a:lnSpc>
              <a:spcBef>
                <a:spcPct val="0"/>
              </a:spcBef>
              <a:spcAft>
                <a:spcPct val="0"/>
              </a:spcAft>
              <a:buClrTx/>
              <a:buSzTx/>
              <a:buFontTx/>
              <a:buNone/>
              <a:tabLst/>
              <a:defRPr/>
            </a:pPr>
            <a:r>
              <a:rPr kumimoji="0" lang="en-US" sz="1800" b="1" i="0" u="none" strike="noStrike" kern="0" cap="none" spc="0" normalizeH="0" baseline="0" noProof="0" dirty="0">
                <a:ln>
                  <a:noFill/>
                </a:ln>
                <a:gradFill>
                  <a:gsLst>
                    <a:gs pos="5439">
                      <a:srgbClr val="F8F8F8"/>
                    </a:gs>
                    <a:gs pos="10000">
                      <a:srgbClr val="F8F8F8"/>
                    </a:gs>
                  </a:gsLst>
                  <a:lin ang="5400000" scaled="0"/>
                </a:gradFill>
                <a:effectLst/>
                <a:uLnTx/>
                <a:uFillTx/>
                <a:ea typeface="Segoe UI Black" panose="020B0A02040204020203" pitchFamily="34" charset="0"/>
                <a:cs typeface="Segoe UI Black" panose="020B0A02040204020203" pitchFamily="34" charset="0"/>
              </a:rPr>
              <a:t>2</a:t>
            </a:r>
            <a:endParaRPr kumimoji="0" lang="en-US" sz="1600" b="1" i="0" u="none" strike="noStrike" kern="0" cap="none" spc="0" normalizeH="0" baseline="0" noProof="0" dirty="0">
              <a:ln>
                <a:noFill/>
              </a:ln>
              <a:gradFill>
                <a:gsLst>
                  <a:gs pos="5439">
                    <a:srgbClr val="F8F8F8"/>
                  </a:gs>
                  <a:gs pos="10000">
                    <a:srgbClr val="F8F8F8"/>
                  </a:gs>
                </a:gsLst>
                <a:lin ang="5400000" scaled="0"/>
              </a:gradFill>
              <a:effectLst/>
              <a:uLnTx/>
              <a:uFillTx/>
              <a:ea typeface="Segoe UI Black" panose="020B0A02040204020203" pitchFamily="34" charset="0"/>
              <a:cs typeface="Segoe UI Black" panose="020B0A02040204020203" pitchFamily="34" charset="0"/>
            </a:endParaRPr>
          </a:p>
        </p:txBody>
      </p:sp>
      <p:sp>
        <p:nvSpPr>
          <p:cNvPr id="81" name="TextBox 80"/>
          <p:cNvSpPr txBox="1"/>
          <p:nvPr/>
        </p:nvSpPr>
        <p:spPr>
          <a:xfrm>
            <a:off x="8855557" y="2499522"/>
            <a:ext cx="3261939" cy="534056"/>
          </a:xfrm>
          <a:prstGeom prst="rect">
            <a:avLst/>
          </a:prstGeom>
          <a:noFill/>
        </p:spPr>
        <p:txBody>
          <a:bodyPr wrap="square" lIns="179285" tIns="143428" rIns="179285" bIns="143428" rtlCol="0">
            <a:spAutoFit/>
          </a:bodyPr>
          <a:lstStyle/>
          <a:p>
            <a:pPr marL="0" marR="0" lvl="0" indent="0" defTabSz="896386" eaLnBrk="1" fontAlgn="auto" latinLnBrk="0" hangingPunct="1">
              <a:lnSpc>
                <a:spcPct val="90000"/>
              </a:lnSpc>
              <a:spcBef>
                <a:spcPts val="0"/>
              </a:spcBef>
              <a:spcAft>
                <a:spcPts val="588"/>
              </a:spcAft>
              <a:buClrTx/>
              <a:buSzTx/>
              <a:buFontTx/>
              <a:buNone/>
              <a:tabLst/>
              <a:defRPr/>
            </a:pPr>
            <a:r>
              <a:rPr kumimoji="0" lang="en-US" sz="1765" b="0" i="0" u="none" strike="noStrike" kern="0" cap="none" spc="0" normalizeH="0" baseline="0" noProof="0" dirty="0">
                <a:ln>
                  <a:noFill/>
                </a:ln>
                <a:gradFill>
                  <a:gsLst>
                    <a:gs pos="2917">
                      <a:prstClr val="black"/>
                    </a:gs>
                    <a:gs pos="30000">
                      <a:prstClr val="black"/>
                    </a:gs>
                  </a:gsLst>
                  <a:lin ang="5400000" scaled="0"/>
                </a:gradFill>
                <a:effectLst/>
                <a:uLnTx/>
                <a:uFillTx/>
                <a:latin typeface="Segoe UI Light"/>
              </a:rPr>
              <a:t>Add users to AAD Tenant</a:t>
            </a:r>
          </a:p>
        </p:txBody>
      </p:sp>
      <p:sp>
        <p:nvSpPr>
          <p:cNvPr id="83" name="Oval 82"/>
          <p:cNvSpPr>
            <a:spLocks noChangeAspect="1"/>
          </p:cNvSpPr>
          <p:nvPr/>
        </p:nvSpPr>
        <p:spPr bwMode="auto">
          <a:xfrm>
            <a:off x="8351748" y="1728982"/>
            <a:ext cx="324239" cy="324239"/>
          </a:xfrm>
          <a:prstGeom prst="ellipse">
            <a:avLst/>
          </a:prstGeom>
          <a:solidFill>
            <a:srgbClr val="002050"/>
          </a:solidFill>
          <a:ln w="12700"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eaLnBrk="1" fontAlgn="base" latinLnBrk="0" hangingPunct="1">
              <a:lnSpc>
                <a:spcPct val="100000"/>
              </a:lnSpc>
              <a:spcBef>
                <a:spcPct val="0"/>
              </a:spcBef>
              <a:spcAft>
                <a:spcPct val="0"/>
              </a:spcAft>
              <a:buClrTx/>
              <a:buSzTx/>
              <a:buFontTx/>
              <a:buNone/>
              <a:tabLst/>
              <a:defRPr/>
            </a:pPr>
            <a:r>
              <a:rPr kumimoji="0" lang="en-US" sz="1800" b="1" i="0" u="none" strike="noStrike" kern="0" cap="none" spc="0" normalizeH="0" baseline="0" noProof="0" dirty="0">
                <a:ln>
                  <a:noFill/>
                </a:ln>
                <a:gradFill>
                  <a:gsLst>
                    <a:gs pos="5439">
                      <a:srgbClr val="F8F8F8"/>
                    </a:gs>
                    <a:gs pos="10000">
                      <a:srgbClr val="F8F8F8"/>
                    </a:gs>
                  </a:gsLst>
                  <a:lin ang="5400000" scaled="0"/>
                </a:gradFill>
                <a:effectLst/>
                <a:uLnTx/>
                <a:uFillTx/>
                <a:ea typeface="Segoe UI Black" panose="020B0A02040204020203" pitchFamily="34" charset="0"/>
                <a:cs typeface="Segoe UI Black" panose="020B0A02040204020203" pitchFamily="34" charset="0"/>
              </a:rPr>
              <a:t>1</a:t>
            </a:r>
            <a:endParaRPr kumimoji="0" lang="en-US" sz="1600" b="1" i="0" u="none" strike="noStrike" kern="0" cap="none" spc="0" normalizeH="0" baseline="0" noProof="0" dirty="0">
              <a:ln>
                <a:noFill/>
              </a:ln>
              <a:gradFill>
                <a:gsLst>
                  <a:gs pos="5439">
                    <a:srgbClr val="F8F8F8"/>
                  </a:gs>
                  <a:gs pos="10000">
                    <a:srgbClr val="F8F8F8"/>
                  </a:gs>
                </a:gsLst>
                <a:lin ang="5400000" scaled="0"/>
              </a:gradFill>
              <a:effectLst/>
              <a:uLnTx/>
              <a:uFillTx/>
              <a:ea typeface="Segoe UI Black" panose="020B0A02040204020203" pitchFamily="34" charset="0"/>
              <a:cs typeface="Segoe UI Black" panose="020B0A02040204020203" pitchFamily="34" charset="0"/>
            </a:endParaRPr>
          </a:p>
        </p:txBody>
      </p:sp>
      <p:sp>
        <p:nvSpPr>
          <p:cNvPr id="84" name="TextBox 83"/>
          <p:cNvSpPr txBox="1"/>
          <p:nvPr/>
        </p:nvSpPr>
        <p:spPr>
          <a:xfrm>
            <a:off x="8855557" y="1510290"/>
            <a:ext cx="3261939" cy="778454"/>
          </a:xfrm>
          <a:prstGeom prst="rect">
            <a:avLst/>
          </a:prstGeom>
          <a:noFill/>
        </p:spPr>
        <p:txBody>
          <a:bodyPr wrap="square" lIns="179285" tIns="143428" rIns="179285" bIns="143428" rtlCol="0">
            <a:spAutoFit/>
          </a:bodyPr>
          <a:lstStyle/>
          <a:p>
            <a:pPr marL="0" marR="0" lvl="0" indent="0" defTabSz="896386" eaLnBrk="1" fontAlgn="auto" latinLnBrk="0" hangingPunct="1">
              <a:lnSpc>
                <a:spcPct val="90000"/>
              </a:lnSpc>
              <a:spcBef>
                <a:spcPts val="0"/>
              </a:spcBef>
              <a:spcAft>
                <a:spcPts val="588"/>
              </a:spcAft>
              <a:buClrTx/>
              <a:buSzTx/>
              <a:buFontTx/>
              <a:buNone/>
              <a:tabLst/>
              <a:defRPr/>
            </a:pPr>
            <a:r>
              <a:rPr kumimoji="0" lang="en-US" sz="1765" b="0" i="0" u="none" strike="noStrike" kern="0" cap="none" spc="0" normalizeH="0" baseline="0" noProof="0" dirty="0">
                <a:ln>
                  <a:noFill/>
                </a:ln>
                <a:gradFill>
                  <a:gsLst>
                    <a:gs pos="2917">
                      <a:prstClr val="black"/>
                    </a:gs>
                    <a:gs pos="30000">
                      <a:prstClr val="black"/>
                    </a:gs>
                  </a:gsLst>
                  <a:lin ang="5400000" scaled="0"/>
                </a:gradFill>
                <a:effectLst/>
                <a:uLnTx/>
                <a:uFillTx/>
                <a:latin typeface="Segoe UI Light"/>
              </a:rPr>
              <a:t>Create ADDS instance in separate VNET</a:t>
            </a:r>
          </a:p>
        </p:txBody>
      </p:sp>
      <p:sp>
        <p:nvSpPr>
          <p:cNvPr id="86" name="Oval 85"/>
          <p:cNvSpPr>
            <a:spLocks noChangeAspect="1"/>
          </p:cNvSpPr>
          <p:nvPr/>
        </p:nvSpPr>
        <p:spPr bwMode="auto">
          <a:xfrm>
            <a:off x="8351748" y="3487782"/>
            <a:ext cx="324239" cy="324239"/>
          </a:xfrm>
          <a:prstGeom prst="ellipse">
            <a:avLst/>
          </a:prstGeom>
          <a:solidFill>
            <a:srgbClr val="002050"/>
          </a:solidFill>
          <a:ln w="12700"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eaLnBrk="1" fontAlgn="base" latinLnBrk="0" hangingPunct="1">
              <a:lnSpc>
                <a:spcPct val="100000"/>
              </a:lnSpc>
              <a:spcBef>
                <a:spcPct val="0"/>
              </a:spcBef>
              <a:spcAft>
                <a:spcPct val="0"/>
              </a:spcAft>
              <a:buClrTx/>
              <a:buSzTx/>
              <a:buFontTx/>
              <a:buNone/>
              <a:tabLst/>
              <a:defRPr/>
            </a:pPr>
            <a:r>
              <a:rPr kumimoji="0" lang="en-US" sz="1800" b="1" i="0" u="none" strike="noStrike" kern="0" cap="none" spc="0" normalizeH="0" baseline="0" noProof="0" dirty="0">
                <a:ln>
                  <a:noFill/>
                </a:ln>
                <a:gradFill>
                  <a:gsLst>
                    <a:gs pos="5439">
                      <a:srgbClr val="F8F8F8"/>
                    </a:gs>
                    <a:gs pos="10000">
                      <a:srgbClr val="F8F8F8"/>
                    </a:gs>
                  </a:gsLst>
                  <a:lin ang="5400000" scaled="0"/>
                </a:gradFill>
                <a:effectLst/>
                <a:uLnTx/>
                <a:uFillTx/>
                <a:ea typeface="Segoe UI Black" panose="020B0A02040204020203" pitchFamily="34" charset="0"/>
                <a:cs typeface="Segoe UI Black" panose="020B0A02040204020203" pitchFamily="34" charset="0"/>
              </a:rPr>
              <a:t>3</a:t>
            </a:r>
            <a:endParaRPr kumimoji="0" lang="en-US" sz="1600" b="1" i="0" u="none" strike="noStrike" kern="0" cap="none" spc="0" normalizeH="0" baseline="0" noProof="0" dirty="0">
              <a:ln>
                <a:noFill/>
              </a:ln>
              <a:gradFill>
                <a:gsLst>
                  <a:gs pos="5439">
                    <a:srgbClr val="F8F8F8"/>
                  </a:gs>
                  <a:gs pos="10000">
                    <a:srgbClr val="F8F8F8"/>
                  </a:gs>
                </a:gsLst>
                <a:lin ang="5400000" scaled="0"/>
              </a:gradFill>
              <a:effectLst/>
              <a:uLnTx/>
              <a:uFillTx/>
              <a:ea typeface="Segoe UI Black" panose="020B0A02040204020203" pitchFamily="34" charset="0"/>
              <a:cs typeface="Segoe UI Black" panose="020B0A02040204020203" pitchFamily="34" charset="0"/>
            </a:endParaRPr>
          </a:p>
        </p:txBody>
      </p:sp>
      <p:sp>
        <p:nvSpPr>
          <p:cNvPr id="87" name="TextBox 86"/>
          <p:cNvSpPr txBox="1"/>
          <p:nvPr/>
        </p:nvSpPr>
        <p:spPr>
          <a:xfrm>
            <a:off x="8855557" y="3382342"/>
            <a:ext cx="3261939" cy="529278"/>
          </a:xfrm>
          <a:prstGeom prst="rect">
            <a:avLst/>
          </a:prstGeom>
          <a:noFill/>
        </p:spPr>
        <p:txBody>
          <a:bodyPr wrap="square" lIns="179285" tIns="143428" rIns="179285" bIns="143428" rtlCol="0">
            <a:spAutoFit/>
          </a:bodyPr>
          <a:lstStyle/>
          <a:p>
            <a:pPr marL="0" marR="0" lvl="0" indent="0" defTabSz="896386" eaLnBrk="1" fontAlgn="auto" latinLnBrk="0" hangingPunct="1">
              <a:lnSpc>
                <a:spcPct val="90000"/>
              </a:lnSpc>
              <a:spcBef>
                <a:spcPts val="0"/>
              </a:spcBef>
              <a:spcAft>
                <a:spcPts val="588"/>
              </a:spcAft>
              <a:buClrTx/>
              <a:buSzTx/>
              <a:buFontTx/>
              <a:buNone/>
              <a:tabLst/>
              <a:defRPr/>
            </a:pPr>
            <a:r>
              <a:rPr kumimoji="0" lang="en-US" sz="1765" b="0" i="0" u="none" strike="noStrike" kern="0" cap="none" spc="0" normalizeH="0" baseline="0" noProof="0" dirty="0">
                <a:ln>
                  <a:noFill/>
                </a:ln>
                <a:gradFill>
                  <a:gsLst>
                    <a:gs pos="2917">
                      <a:prstClr val="black"/>
                    </a:gs>
                    <a:gs pos="30000">
                      <a:prstClr val="black"/>
                    </a:gs>
                  </a:gsLst>
                  <a:lin ang="5400000" scaled="0"/>
                </a:gradFill>
                <a:effectLst/>
                <a:uLnTx/>
                <a:uFillTx/>
                <a:latin typeface="Segoe UI Light"/>
              </a:rPr>
              <a:t>Add users to ADLA RBAC roles</a:t>
            </a:r>
          </a:p>
        </p:txBody>
      </p:sp>
      <p:sp>
        <p:nvSpPr>
          <p:cNvPr id="89" name="Oval 88"/>
          <p:cNvSpPr>
            <a:spLocks noChangeAspect="1"/>
          </p:cNvSpPr>
          <p:nvPr/>
        </p:nvSpPr>
        <p:spPr bwMode="auto">
          <a:xfrm>
            <a:off x="8351748" y="4367182"/>
            <a:ext cx="324239" cy="324239"/>
          </a:xfrm>
          <a:prstGeom prst="ellipse">
            <a:avLst/>
          </a:prstGeom>
          <a:solidFill>
            <a:srgbClr val="002050"/>
          </a:solidFill>
          <a:ln w="12700"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eaLnBrk="1" fontAlgn="base" latinLnBrk="0" hangingPunct="1">
              <a:lnSpc>
                <a:spcPct val="100000"/>
              </a:lnSpc>
              <a:spcBef>
                <a:spcPct val="0"/>
              </a:spcBef>
              <a:spcAft>
                <a:spcPct val="0"/>
              </a:spcAft>
              <a:buClrTx/>
              <a:buSzTx/>
              <a:buFontTx/>
              <a:buNone/>
              <a:tabLst/>
              <a:defRPr/>
            </a:pPr>
            <a:r>
              <a:rPr kumimoji="0" lang="en-US" sz="1800" b="1" i="0" u="none" strike="noStrike" kern="0" cap="none" spc="0" normalizeH="0" baseline="0" noProof="0" dirty="0">
                <a:ln>
                  <a:noFill/>
                </a:ln>
                <a:gradFill>
                  <a:gsLst>
                    <a:gs pos="5439">
                      <a:srgbClr val="F8F8F8"/>
                    </a:gs>
                    <a:gs pos="10000">
                      <a:srgbClr val="F8F8F8"/>
                    </a:gs>
                  </a:gsLst>
                  <a:lin ang="5400000" scaled="0"/>
                </a:gradFill>
                <a:effectLst/>
                <a:uLnTx/>
                <a:uFillTx/>
                <a:ea typeface="Segoe UI Black" panose="020B0A02040204020203" pitchFamily="34" charset="0"/>
                <a:cs typeface="Segoe UI Black" panose="020B0A02040204020203" pitchFamily="34" charset="0"/>
              </a:rPr>
              <a:t>4</a:t>
            </a:r>
            <a:endParaRPr kumimoji="0" lang="en-US" sz="1600" b="1" i="0" u="none" strike="noStrike" kern="0" cap="none" spc="0" normalizeH="0" baseline="0" noProof="0" dirty="0">
              <a:ln>
                <a:noFill/>
              </a:ln>
              <a:gradFill>
                <a:gsLst>
                  <a:gs pos="5439">
                    <a:srgbClr val="F8F8F8"/>
                  </a:gs>
                  <a:gs pos="10000">
                    <a:srgbClr val="F8F8F8"/>
                  </a:gs>
                </a:gsLst>
                <a:lin ang="5400000" scaled="0"/>
              </a:gradFill>
              <a:effectLst/>
              <a:uLnTx/>
              <a:uFillTx/>
              <a:ea typeface="Segoe UI Black" panose="020B0A02040204020203" pitchFamily="34" charset="0"/>
              <a:cs typeface="Segoe UI Black" panose="020B0A02040204020203" pitchFamily="34" charset="0"/>
            </a:endParaRPr>
          </a:p>
        </p:txBody>
      </p:sp>
      <p:sp>
        <p:nvSpPr>
          <p:cNvPr id="90" name="TextBox 89"/>
          <p:cNvSpPr txBox="1"/>
          <p:nvPr/>
        </p:nvSpPr>
        <p:spPr>
          <a:xfrm>
            <a:off x="8855557" y="4148135"/>
            <a:ext cx="3261939" cy="778454"/>
          </a:xfrm>
          <a:prstGeom prst="rect">
            <a:avLst/>
          </a:prstGeom>
          <a:noFill/>
        </p:spPr>
        <p:txBody>
          <a:bodyPr wrap="square" lIns="179285" tIns="143428" rIns="179285" bIns="143428" rtlCol="0">
            <a:spAutoFit/>
          </a:bodyPr>
          <a:lstStyle/>
          <a:p>
            <a:pPr marL="0" marR="0" lvl="0" indent="0" defTabSz="896386" eaLnBrk="1" fontAlgn="auto" latinLnBrk="0" hangingPunct="1">
              <a:lnSpc>
                <a:spcPct val="90000"/>
              </a:lnSpc>
              <a:spcBef>
                <a:spcPts val="0"/>
              </a:spcBef>
              <a:spcAft>
                <a:spcPts val="588"/>
              </a:spcAft>
              <a:buClrTx/>
              <a:buSzTx/>
              <a:buFontTx/>
              <a:buNone/>
              <a:tabLst/>
              <a:defRPr/>
            </a:pPr>
            <a:r>
              <a:rPr kumimoji="0" lang="en-US" sz="1765" b="0" i="0" u="none" strike="noStrike" kern="0" cap="none" spc="0" normalizeH="0" baseline="0" noProof="0" dirty="0">
                <a:ln>
                  <a:noFill/>
                </a:ln>
                <a:gradFill>
                  <a:gsLst>
                    <a:gs pos="2917">
                      <a:prstClr val="black"/>
                    </a:gs>
                    <a:gs pos="30000">
                      <a:prstClr val="black"/>
                    </a:gs>
                  </a:gsLst>
                  <a:lin ang="5400000" scaled="0"/>
                </a:gradFill>
                <a:effectLst/>
                <a:uLnTx/>
                <a:uFillTx/>
                <a:latin typeface="Segoe UI Light"/>
              </a:rPr>
              <a:t>Add users to ADLS RBAC roles &amp; file system ACLs</a:t>
            </a:r>
          </a:p>
        </p:txBody>
      </p:sp>
      <p:sp>
        <p:nvSpPr>
          <p:cNvPr id="93" name="TextBox 92"/>
          <p:cNvSpPr txBox="1"/>
          <p:nvPr/>
        </p:nvSpPr>
        <p:spPr>
          <a:xfrm>
            <a:off x="8855557" y="5021288"/>
            <a:ext cx="3261939" cy="778454"/>
          </a:xfrm>
          <a:prstGeom prst="rect">
            <a:avLst/>
          </a:prstGeom>
          <a:noFill/>
        </p:spPr>
        <p:txBody>
          <a:bodyPr wrap="square" lIns="179285" tIns="143428" rIns="179285" bIns="143428" rtlCol="0">
            <a:spAutoFit/>
          </a:bodyPr>
          <a:lstStyle/>
          <a:p>
            <a:pPr marL="0" marR="0" lvl="0" indent="0" defTabSz="896386" eaLnBrk="1" fontAlgn="auto" latinLnBrk="0" hangingPunct="1">
              <a:lnSpc>
                <a:spcPct val="90000"/>
              </a:lnSpc>
              <a:spcBef>
                <a:spcPts val="0"/>
              </a:spcBef>
              <a:spcAft>
                <a:spcPts val="588"/>
              </a:spcAft>
              <a:buClrTx/>
              <a:buSzTx/>
              <a:buFontTx/>
              <a:buNone/>
              <a:tabLst/>
              <a:defRPr/>
            </a:pPr>
            <a:r>
              <a:rPr kumimoji="0" lang="en-US" sz="1765" b="0" i="0" u="none" strike="noStrike" kern="0" cap="none" spc="0" normalizeH="0" baseline="0" noProof="0" dirty="0">
                <a:ln>
                  <a:noFill/>
                </a:ln>
                <a:gradFill>
                  <a:gsLst>
                    <a:gs pos="2917">
                      <a:prstClr val="black"/>
                    </a:gs>
                    <a:gs pos="30000">
                      <a:prstClr val="black"/>
                    </a:gs>
                  </a:gsLst>
                  <a:lin ang="5400000" scaled="0"/>
                </a:gradFill>
                <a:effectLst/>
                <a:uLnTx/>
                <a:uFillTx/>
                <a:latin typeface="Segoe UI Light"/>
              </a:rPr>
              <a:t>Join HDInsight cluster to ADDS instance</a:t>
            </a:r>
          </a:p>
        </p:txBody>
      </p:sp>
      <p:pic>
        <p:nvPicPr>
          <p:cNvPr id="103" name="Picture 102"/>
          <p:cNvPicPr>
            <a:picLocks noChangeAspect="1"/>
          </p:cNvPicPr>
          <p:nvPr/>
        </p:nvPicPr>
        <p:blipFill>
          <a:blip r:embed="rId5"/>
          <a:stretch>
            <a:fillRect/>
          </a:stretch>
        </p:blipFill>
        <p:spPr>
          <a:xfrm>
            <a:off x="319774" y="4932313"/>
            <a:ext cx="1056133" cy="1066800"/>
          </a:xfrm>
          <a:prstGeom prst="rect">
            <a:avLst/>
          </a:prstGeom>
        </p:spPr>
      </p:pic>
      <p:pic>
        <p:nvPicPr>
          <p:cNvPr id="104" name="Picture 103"/>
          <p:cNvPicPr>
            <a:picLocks noChangeAspect="1"/>
          </p:cNvPicPr>
          <p:nvPr/>
        </p:nvPicPr>
        <p:blipFill>
          <a:blip r:embed="rId6"/>
          <a:stretch>
            <a:fillRect/>
          </a:stretch>
        </p:blipFill>
        <p:spPr>
          <a:xfrm>
            <a:off x="369404" y="1397608"/>
            <a:ext cx="1056133" cy="1066800"/>
          </a:xfrm>
          <a:prstGeom prst="rect">
            <a:avLst/>
          </a:prstGeom>
        </p:spPr>
      </p:pic>
      <p:pic>
        <p:nvPicPr>
          <p:cNvPr id="105" name="Picture 104"/>
          <p:cNvPicPr>
            <a:picLocks noChangeAspect="1"/>
          </p:cNvPicPr>
          <p:nvPr/>
        </p:nvPicPr>
        <p:blipFill>
          <a:blip r:embed="rId7"/>
          <a:stretch>
            <a:fillRect/>
          </a:stretch>
        </p:blipFill>
        <p:spPr>
          <a:xfrm>
            <a:off x="361310" y="3164960"/>
            <a:ext cx="1056133" cy="1066800"/>
          </a:xfrm>
          <a:prstGeom prst="rect">
            <a:avLst/>
          </a:prstGeom>
        </p:spPr>
      </p:pic>
      <p:cxnSp>
        <p:nvCxnSpPr>
          <p:cNvPr id="106" name="Straight Arrow Connector 105"/>
          <p:cNvCxnSpPr/>
          <p:nvPr/>
        </p:nvCxnSpPr>
        <p:spPr>
          <a:xfrm>
            <a:off x="5358039" y="2813691"/>
            <a:ext cx="914400" cy="0"/>
          </a:xfrm>
          <a:prstGeom prst="straightConnector1">
            <a:avLst/>
          </a:prstGeom>
          <a:ln w="38100" cmpd="sng">
            <a:solidFill>
              <a:schemeClr val="accent1"/>
            </a:solidFill>
            <a:prstDash val="sysDash"/>
            <a:headEnd type="none"/>
            <a:tailEnd type="triangle" w="lg" len="med"/>
          </a:ln>
        </p:spPr>
        <p:style>
          <a:lnRef idx="1">
            <a:schemeClr val="accent1"/>
          </a:lnRef>
          <a:fillRef idx="0">
            <a:schemeClr val="accent1"/>
          </a:fillRef>
          <a:effectRef idx="0">
            <a:schemeClr val="accent1"/>
          </a:effectRef>
          <a:fontRef idx="minor">
            <a:schemeClr val="tx1"/>
          </a:fontRef>
        </p:style>
      </p:cxnSp>
      <p:grpSp>
        <p:nvGrpSpPr>
          <p:cNvPr id="107" name="Group 106"/>
          <p:cNvGrpSpPr/>
          <p:nvPr/>
        </p:nvGrpSpPr>
        <p:grpSpPr>
          <a:xfrm>
            <a:off x="4250659" y="1931008"/>
            <a:ext cx="1067086" cy="1765367"/>
            <a:chOff x="2516027" y="1964052"/>
            <a:chExt cx="271724" cy="4592592"/>
          </a:xfrm>
        </p:grpSpPr>
        <p:cxnSp>
          <p:nvCxnSpPr>
            <p:cNvPr id="108" name="Straight Connector 107"/>
            <p:cNvCxnSpPr/>
            <p:nvPr/>
          </p:nvCxnSpPr>
          <p:spPr>
            <a:xfrm>
              <a:off x="2787751" y="1971989"/>
              <a:ext cx="0" cy="4584655"/>
            </a:xfrm>
            <a:prstGeom prst="line">
              <a:avLst/>
            </a:prstGeom>
            <a:ln w="38100" cap="sq">
              <a:solidFill>
                <a:schemeClr val="accent1"/>
              </a:solidFill>
              <a:prstDash val="sysDash"/>
              <a:miter lim="800000"/>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109" name="Group 108"/>
            <p:cNvGrpSpPr/>
            <p:nvPr/>
          </p:nvGrpSpPr>
          <p:grpSpPr>
            <a:xfrm flipH="1">
              <a:off x="2516027" y="1964052"/>
              <a:ext cx="271344" cy="4592591"/>
              <a:chOff x="778955" y="2315543"/>
              <a:chExt cx="120487" cy="2675519"/>
            </a:xfrm>
          </p:grpSpPr>
          <p:cxnSp>
            <p:nvCxnSpPr>
              <p:cNvPr id="110" name="Straight Connector 109"/>
              <p:cNvCxnSpPr/>
              <p:nvPr/>
            </p:nvCxnSpPr>
            <p:spPr>
              <a:xfrm>
                <a:off x="785855" y="2315543"/>
                <a:ext cx="99580" cy="0"/>
              </a:xfrm>
              <a:prstGeom prst="line">
                <a:avLst/>
              </a:prstGeom>
              <a:ln w="38100" cap="sq">
                <a:solidFill>
                  <a:schemeClr val="accent1"/>
                </a:solidFill>
                <a:prstDash val="sysDash"/>
                <a:miter lim="800000"/>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11" name="Straight Connector 110"/>
              <p:cNvCxnSpPr/>
              <p:nvPr/>
            </p:nvCxnSpPr>
            <p:spPr>
              <a:xfrm>
                <a:off x="778955" y="4991062"/>
                <a:ext cx="120487" cy="0"/>
              </a:xfrm>
              <a:prstGeom prst="line">
                <a:avLst/>
              </a:prstGeom>
              <a:ln w="38100" cap="sq">
                <a:solidFill>
                  <a:schemeClr val="accent1"/>
                </a:solidFill>
                <a:prstDash val="sysDash"/>
                <a:miter lim="800000"/>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cxnSp>
        <p:nvCxnSpPr>
          <p:cNvPr id="112" name="Straight Arrow Connector 111"/>
          <p:cNvCxnSpPr/>
          <p:nvPr/>
        </p:nvCxnSpPr>
        <p:spPr>
          <a:xfrm>
            <a:off x="1521081" y="1931008"/>
            <a:ext cx="1828800" cy="0"/>
          </a:xfrm>
          <a:prstGeom prst="straightConnector1">
            <a:avLst/>
          </a:prstGeom>
          <a:ln w="38100" cmpd="sng">
            <a:solidFill>
              <a:schemeClr val="accent1"/>
            </a:solidFill>
            <a:prstDash val="sysDash"/>
            <a:headEnd type="none"/>
            <a:tailEnd type="triangle" w="lg" len="med"/>
          </a:ln>
        </p:spPr>
        <p:style>
          <a:lnRef idx="1">
            <a:schemeClr val="accent1"/>
          </a:lnRef>
          <a:fillRef idx="0">
            <a:schemeClr val="accent1"/>
          </a:fillRef>
          <a:effectRef idx="0">
            <a:schemeClr val="accent1"/>
          </a:effectRef>
          <a:fontRef idx="minor">
            <a:schemeClr val="tx1"/>
          </a:fontRef>
        </p:style>
      </p:cxnSp>
      <p:cxnSp>
        <p:nvCxnSpPr>
          <p:cNvPr id="113" name="Straight Arrow Connector 112"/>
          <p:cNvCxnSpPr/>
          <p:nvPr/>
        </p:nvCxnSpPr>
        <p:spPr>
          <a:xfrm>
            <a:off x="1521081" y="3698361"/>
            <a:ext cx="1828800" cy="0"/>
          </a:xfrm>
          <a:prstGeom prst="straightConnector1">
            <a:avLst/>
          </a:prstGeom>
          <a:ln w="38100" cmpd="sng">
            <a:solidFill>
              <a:schemeClr val="accent1"/>
            </a:solidFill>
            <a:prstDash val="sysDash"/>
            <a:headEnd type="none"/>
            <a:tailEnd type="triangle" w="lg" len="med"/>
          </a:ln>
        </p:spPr>
        <p:style>
          <a:lnRef idx="1">
            <a:schemeClr val="accent1"/>
          </a:lnRef>
          <a:fillRef idx="0">
            <a:schemeClr val="accent1"/>
          </a:fillRef>
          <a:effectRef idx="0">
            <a:schemeClr val="accent1"/>
          </a:effectRef>
          <a:fontRef idx="minor">
            <a:schemeClr val="tx1"/>
          </a:fontRef>
        </p:style>
      </p:cxnSp>
      <p:cxnSp>
        <p:nvCxnSpPr>
          <p:cNvPr id="114" name="Straight Arrow Connector 113"/>
          <p:cNvCxnSpPr/>
          <p:nvPr/>
        </p:nvCxnSpPr>
        <p:spPr>
          <a:xfrm>
            <a:off x="1521081" y="5465713"/>
            <a:ext cx="1828800" cy="0"/>
          </a:xfrm>
          <a:prstGeom prst="straightConnector1">
            <a:avLst/>
          </a:prstGeom>
          <a:ln w="38100" cmpd="sng">
            <a:solidFill>
              <a:schemeClr val="accent1"/>
            </a:solidFill>
            <a:prstDash val="sysDash"/>
            <a:headEnd type="none"/>
            <a:tailEnd type="triangle" w="lg" len="med"/>
          </a:ln>
        </p:spPr>
        <p:style>
          <a:lnRef idx="1">
            <a:schemeClr val="accent1"/>
          </a:lnRef>
          <a:fillRef idx="0">
            <a:schemeClr val="accent1"/>
          </a:fillRef>
          <a:effectRef idx="0">
            <a:schemeClr val="accent1"/>
          </a:effectRef>
          <a:fontRef idx="minor">
            <a:schemeClr val="tx1"/>
          </a:fontRef>
        </p:style>
      </p:cxnSp>
      <p:sp>
        <p:nvSpPr>
          <p:cNvPr id="118" name="Rectangle 117"/>
          <p:cNvSpPr/>
          <p:nvPr/>
        </p:nvSpPr>
        <p:spPr>
          <a:xfrm>
            <a:off x="1427942" y="1951222"/>
            <a:ext cx="1263012" cy="2769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spAutoFit/>
          </a:bodyPr>
          <a:lstStyle/>
          <a:p>
            <a:pPr marL="0" marR="0" lvl="0" indent="0" defTabSz="914225"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chemeClr val="tx1"/>
                </a:solidFill>
                <a:effectLst/>
                <a:uLnTx/>
                <a:uFillTx/>
              </a:rPr>
              <a:t>OAuth token</a:t>
            </a:r>
          </a:p>
        </p:txBody>
      </p:sp>
      <p:sp>
        <p:nvSpPr>
          <p:cNvPr id="119" name="Rectangle 118"/>
          <p:cNvSpPr/>
          <p:nvPr/>
        </p:nvSpPr>
        <p:spPr>
          <a:xfrm>
            <a:off x="1427942" y="3714392"/>
            <a:ext cx="1263012" cy="2769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spAutoFit/>
          </a:bodyPr>
          <a:lstStyle/>
          <a:p>
            <a:pPr marL="0" marR="0" lvl="0" indent="0" defTabSz="914225"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chemeClr val="tx1"/>
                </a:solidFill>
                <a:effectLst/>
                <a:uLnTx/>
                <a:uFillTx/>
              </a:rPr>
              <a:t>OAuth token</a:t>
            </a:r>
          </a:p>
        </p:txBody>
      </p:sp>
      <p:sp>
        <p:nvSpPr>
          <p:cNvPr id="120" name="Rectangle 119"/>
          <p:cNvSpPr/>
          <p:nvPr/>
        </p:nvSpPr>
        <p:spPr>
          <a:xfrm>
            <a:off x="1427942" y="5487210"/>
            <a:ext cx="1733339" cy="2769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p>
            <a:pPr marL="0" marR="0" lvl="0" indent="0" defTabSz="914225"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chemeClr val="tx1"/>
                </a:solidFill>
                <a:effectLst/>
                <a:uLnTx/>
                <a:uFillTx/>
              </a:rPr>
              <a:t>Basic </a:t>
            </a:r>
            <a:r>
              <a:rPr kumimoji="0" lang="en-US" sz="1200" b="0" i="0" u="none" strike="noStrike" kern="0" cap="none" spc="0" normalizeH="0" baseline="0" noProof="0" dirty="0" err="1">
                <a:ln>
                  <a:noFill/>
                </a:ln>
                <a:solidFill>
                  <a:schemeClr val="tx1"/>
                </a:solidFill>
                <a:effectLst/>
                <a:uLnTx/>
                <a:uFillTx/>
              </a:rPr>
              <a:t>auth</a:t>
            </a:r>
            <a:r>
              <a:rPr kumimoji="0" lang="en-US" sz="1200" b="0" i="0" u="none" strike="noStrike" kern="0" cap="none" spc="0" normalizeH="0" baseline="0" noProof="0" dirty="0">
                <a:ln>
                  <a:noFill/>
                </a:ln>
                <a:solidFill>
                  <a:schemeClr val="tx1"/>
                </a:solidFill>
                <a:effectLst/>
                <a:uLnTx/>
                <a:uFillTx/>
              </a:rPr>
              <a:t> (HTTPS)</a:t>
            </a:r>
          </a:p>
        </p:txBody>
      </p:sp>
      <p:sp>
        <p:nvSpPr>
          <p:cNvPr id="121" name="Freeform 5"/>
          <p:cNvSpPr>
            <a:spLocks noEditPoints="1"/>
          </p:cNvSpPr>
          <p:nvPr/>
        </p:nvSpPr>
        <p:spPr bwMode="auto">
          <a:xfrm>
            <a:off x="3430333" y="3345834"/>
            <a:ext cx="769301" cy="605436"/>
          </a:xfrm>
          <a:custGeom>
            <a:avLst/>
            <a:gdLst>
              <a:gd name="T0" fmla="*/ 3752 w 5983"/>
              <a:gd name="T1" fmla="*/ 2549 h 4697"/>
              <a:gd name="T2" fmla="*/ 2693 w 5983"/>
              <a:gd name="T3" fmla="*/ 4063 h 4697"/>
              <a:gd name="T4" fmla="*/ 2651 w 5983"/>
              <a:gd name="T5" fmla="*/ 4087 h 4697"/>
              <a:gd name="T6" fmla="*/ 2627 w 5983"/>
              <a:gd name="T7" fmla="*/ 4081 h 4697"/>
              <a:gd name="T8" fmla="*/ 2603 w 5983"/>
              <a:gd name="T9" fmla="*/ 4021 h 4697"/>
              <a:gd name="T10" fmla="*/ 2878 w 5983"/>
              <a:gd name="T11" fmla="*/ 3117 h 4697"/>
              <a:gd name="T12" fmla="*/ 2262 w 5983"/>
              <a:gd name="T13" fmla="*/ 3117 h 4697"/>
              <a:gd name="T14" fmla="*/ 2214 w 5983"/>
              <a:gd name="T15" fmla="*/ 3087 h 4697"/>
              <a:gd name="T16" fmla="*/ 2220 w 5983"/>
              <a:gd name="T17" fmla="*/ 3034 h 4697"/>
              <a:gd name="T18" fmla="*/ 3249 w 5983"/>
              <a:gd name="T19" fmla="*/ 1538 h 4697"/>
              <a:gd name="T20" fmla="*/ 3291 w 5983"/>
              <a:gd name="T21" fmla="*/ 1514 h 4697"/>
              <a:gd name="T22" fmla="*/ 3315 w 5983"/>
              <a:gd name="T23" fmla="*/ 1520 h 4697"/>
              <a:gd name="T24" fmla="*/ 3339 w 5983"/>
              <a:gd name="T25" fmla="*/ 1580 h 4697"/>
              <a:gd name="T26" fmla="*/ 3075 w 5983"/>
              <a:gd name="T27" fmla="*/ 2465 h 4697"/>
              <a:gd name="T28" fmla="*/ 3710 w 5983"/>
              <a:gd name="T29" fmla="*/ 2465 h 4697"/>
              <a:gd name="T30" fmla="*/ 3763 w 5983"/>
              <a:gd name="T31" fmla="*/ 2519 h 4697"/>
              <a:gd name="T32" fmla="*/ 3752 w 5983"/>
              <a:gd name="T33" fmla="*/ 2549 h 4697"/>
              <a:gd name="T34" fmla="*/ 5750 w 5983"/>
              <a:gd name="T35" fmla="*/ 754 h 4697"/>
              <a:gd name="T36" fmla="*/ 0 w 5983"/>
              <a:gd name="T37" fmla="*/ 754 h 4697"/>
              <a:gd name="T38" fmla="*/ 0 w 5983"/>
              <a:gd name="T39" fmla="*/ 4326 h 4697"/>
              <a:gd name="T40" fmla="*/ 371 w 5983"/>
              <a:gd name="T41" fmla="*/ 4697 h 4697"/>
              <a:gd name="T42" fmla="*/ 5612 w 5983"/>
              <a:gd name="T43" fmla="*/ 4697 h 4697"/>
              <a:gd name="T44" fmla="*/ 5983 w 5983"/>
              <a:gd name="T45" fmla="*/ 4326 h 4697"/>
              <a:gd name="T46" fmla="*/ 5983 w 5983"/>
              <a:gd name="T47" fmla="*/ 1095 h 4697"/>
              <a:gd name="T48" fmla="*/ 5750 w 5983"/>
              <a:gd name="T49" fmla="*/ 754 h 4697"/>
              <a:gd name="T50" fmla="*/ 3536 w 5983"/>
              <a:gd name="T51" fmla="*/ 485 h 4697"/>
              <a:gd name="T52" fmla="*/ 3363 w 5983"/>
              <a:gd name="T53" fmla="*/ 186 h 4697"/>
              <a:gd name="T54" fmla="*/ 3040 w 5983"/>
              <a:gd name="T55" fmla="*/ 0 h 4697"/>
              <a:gd name="T56" fmla="*/ 371 w 5983"/>
              <a:gd name="T57" fmla="*/ 0 h 4697"/>
              <a:gd name="T58" fmla="*/ 0 w 5983"/>
              <a:gd name="T59" fmla="*/ 371 h 4697"/>
              <a:gd name="T60" fmla="*/ 0 w 5983"/>
              <a:gd name="T61" fmla="*/ 563 h 4697"/>
              <a:gd name="T62" fmla="*/ 3602 w 5983"/>
              <a:gd name="T63" fmla="*/ 563 h 4697"/>
              <a:gd name="T64" fmla="*/ 3536 w 5983"/>
              <a:gd name="T65" fmla="*/ 485 h 46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983" h="4697">
                <a:moveTo>
                  <a:pt x="3752" y="2549"/>
                </a:moveTo>
                <a:lnTo>
                  <a:pt x="2693" y="4063"/>
                </a:lnTo>
                <a:cubicBezTo>
                  <a:pt x="2681" y="4075"/>
                  <a:pt x="2669" y="4087"/>
                  <a:pt x="2651" y="4087"/>
                </a:cubicBezTo>
                <a:cubicBezTo>
                  <a:pt x="2645" y="4087"/>
                  <a:pt x="2633" y="4087"/>
                  <a:pt x="2627" y="4081"/>
                </a:cubicBezTo>
                <a:cubicBezTo>
                  <a:pt x="2603" y="4069"/>
                  <a:pt x="2591" y="4045"/>
                  <a:pt x="2603" y="4021"/>
                </a:cubicBezTo>
                <a:lnTo>
                  <a:pt x="2878" y="3117"/>
                </a:lnTo>
                <a:lnTo>
                  <a:pt x="2262" y="3117"/>
                </a:lnTo>
                <a:cubicBezTo>
                  <a:pt x="2244" y="3117"/>
                  <a:pt x="2226" y="3105"/>
                  <a:pt x="2214" y="3087"/>
                </a:cubicBezTo>
                <a:cubicBezTo>
                  <a:pt x="2208" y="3070"/>
                  <a:pt x="2208" y="3052"/>
                  <a:pt x="2220" y="3034"/>
                </a:cubicBezTo>
                <a:lnTo>
                  <a:pt x="3249" y="1538"/>
                </a:lnTo>
                <a:cubicBezTo>
                  <a:pt x="3261" y="1526"/>
                  <a:pt x="3273" y="1514"/>
                  <a:pt x="3291" y="1514"/>
                </a:cubicBezTo>
                <a:cubicBezTo>
                  <a:pt x="3297" y="1514"/>
                  <a:pt x="3303" y="1514"/>
                  <a:pt x="3315" y="1520"/>
                </a:cubicBezTo>
                <a:cubicBezTo>
                  <a:pt x="3339" y="1532"/>
                  <a:pt x="3351" y="1556"/>
                  <a:pt x="3339" y="1580"/>
                </a:cubicBezTo>
                <a:lnTo>
                  <a:pt x="3075" y="2465"/>
                </a:lnTo>
                <a:lnTo>
                  <a:pt x="3710" y="2465"/>
                </a:lnTo>
                <a:cubicBezTo>
                  <a:pt x="3740" y="2465"/>
                  <a:pt x="3763" y="2489"/>
                  <a:pt x="3763" y="2519"/>
                </a:cubicBezTo>
                <a:cubicBezTo>
                  <a:pt x="3763" y="2531"/>
                  <a:pt x="3758" y="2537"/>
                  <a:pt x="3752" y="2549"/>
                </a:cubicBezTo>
                <a:close/>
                <a:moveTo>
                  <a:pt x="5750" y="754"/>
                </a:moveTo>
                <a:lnTo>
                  <a:pt x="0" y="754"/>
                </a:lnTo>
                <a:lnTo>
                  <a:pt x="0" y="4326"/>
                </a:lnTo>
                <a:cubicBezTo>
                  <a:pt x="0" y="4529"/>
                  <a:pt x="168" y="4697"/>
                  <a:pt x="371" y="4697"/>
                </a:cubicBezTo>
                <a:lnTo>
                  <a:pt x="5612" y="4697"/>
                </a:lnTo>
                <a:cubicBezTo>
                  <a:pt x="5816" y="4697"/>
                  <a:pt x="5983" y="4529"/>
                  <a:pt x="5983" y="4326"/>
                </a:cubicBezTo>
                <a:lnTo>
                  <a:pt x="5983" y="1095"/>
                </a:lnTo>
                <a:cubicBezTo>
                  <a:pt x="5983" y="946"/>
                  <a:pt x="5887" y="814"/>
                  <a:pt x="5750" y="754"/>
                </a:cubicBezTo>
                <a:close/>
                <a:moveTo>
                  <a:pt x="3536" y="485"/>
                </a:moveTo>
                <a:lnTo>
                  <a:pt x="3363" y="186"/>
                </a:lnTo>
                <a:cubicBezTo>
                  <a:pt x="3297" y="72"/>
                  <a:pt x="3171" y="0"/>
                  <a:pt x="3040" y="0"/>
                </a:cubicBezTo>
                <a:lnTo>
                  <a:pt x="371" y="0"/>
                </a:lnTo>
                <a:cubicBezTo>
                  <a:pt x="168" y="0"/>
                  <a:pt x="0" y="168"/>
                  <a:pt x="0" y="371"/>
                </a:cubicBezTo>
                <a:lnTo>
                  <a:pt x="0" y="563"/>
                </a:lnTo>
                <a:lnTo>
                  <a:pt x="3602" y="563"/>
                </a:lnTo>
                <a:cubicBezTo>
                  <a:pt x="3572" y="545"/>
                  <a:pt x="3554" y="515"/>
                  <a:pt x="3536" y="485"/>
                </a:cubicBezTo>
                <a:close/>
              </a:path>
            </a:pathLst>
          </a:custGeom>
          <a:solidFill>
            <a:schemeClr val="accent1"/>
          </a:solidFill>
          <a:ln w="0">
            <a:noFill/>
            <a:prstDash val="solid"/>
            <a:round/>
            <a:headEnd/>
            <a:tailEnd/>
          </a:ln>
        </p:spPr>
        <p:txBody>
          <a:bodyPr vert="horz" wrap="square" lIns="74702" tIns="37351" rIns="74702" bIns="37351" numCol="1" anchor="t" anchorCtr="0" compatLnSpc="1">
            <a:prstTxWarp prst="textNoShape">
              <a:avLst/>
            </a:prstTxWarp>
          </a:bodyPr>
          <a:lstStyle/>
          <a:p>
            <a:pPr marL="0" marR="0" lvl="0" indent="0" defTabSz="896350" eaLnBrk="1" fontAlgn="base" latinLnBrk="0" hangingPunct="1">
              <a:lnSpc>
                <a:spcPct val="100000"/>
              </a:lnSpc>
              <a:spcBef>
                <a:spcPct val="0"/>
              </a:spcBef>
              <a:spcAft>
                <a:spcPct val="0"/>
              </a:spcAft>
              <a:buClrTx/>
              <a:buSzTx/>
              <a:buFontTx/>
              <a:buNone/>
              <a:tabLst/>
              <a:defRPr/>
            </a:pPr>
            <a:endParaRPr kumimoji="0" lang="en-US" sz="2353" b="0" i="0" u="none" strike="noStrike" kern="0" cap="none" spc="0" normalizeH="0" baseline="0" noProof="0">
              <a:ln>
                <a:noFill/>
              </a:ln>
              <a:solidFill>
                <a:prstClr val="white"/>
              </a:solidFill>
              <a:effectLst/>
              <a:uLnTx/>
              <a:uFillTx/>
            </a:endParaRPr>
          </a:p>
        </p:txBody>
      </p:sp>
      <p:sp>
        <p:nvSpPr>
          <p:cNvPr id="122" name="Rectangle 121"/>
          <p:cNvSpPr/>
          <p:nvPr/>
        </p:nvSpPr>
        <p:spPr>
          <a:xfrm>
            <a:off x="4204779" y="1951222"/>
            <a:ext cx="1263012" cy="2769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spAutoFit/>
          </a:bodyPr>
          <a:lstStyle/>
          <a:p>
            <a:pPr marL="0" marR="0" lvl="0" indent="0" defTabSz="914225"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chemeClr val="tx1"/>
                </a:solidFill>
                <a:effectLst/>
                <a:uLnTx/>
                <a:uFillTx/>
              </a:rPr>
              <a:t>Graph APIs</a:t>
            </a:r>
          </a:p>
        </p:txBody>
      </p:sp>
      <p:sp>
        <p:nvSpPr>
          <p:cNvPr id="123" name="Rectangle 122"/>
          <p:cNvSpPr/>
          <p:nvPr/>
        </p:nvSpPr>
        <p:spPr>
          <a:xfrm>
            <a:off x="4204779" y="3714392"/>
            <a:ext cx="1263012" cy="2769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spAutoFit/>
          </a:bodyPr>
          <a:lstStyle/>
          <a:p>
            <a:pPr marL="0" marR="0" lvl="0" indent="0" defTabSz="914225"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chemeClr val="tx1"/>
                </a:solidFill>
                <a:effectLst/>
                <a:uLnTx/>
                <a:uFillTx/>
              </a:rPr>
              <a:t>Graph APIs</a:t>
            </a:r>
          </a:p>
        </p:txBody>
      </p:sp>
      <p:cxnSp>
        <p:nvCxnSpPr>
          <p:cNvPr id="124" name="Straight Arrow Connector 123"/>
          <p:cNvCxnSpPr/>
          <p:nvPr/>
        </p:nvCxnSpPr>
        <p:spPr>
          <a:xfrm>
            <a:off x="6998077" y="3811571"/>
            <a:ext cx="0" cy="1005840"/>
          </a:xfrm>
          <a:prstGeom prst="straightConnector1">
            <a:avLst/>
          </a:prstGeom>
          <a:ln w="38100" cmpd="sng">
            <a:solidFill>
              <a:schemeClr val="accent1"/>
            </a:solidFill>
            <a:prstDash val="sysDash"/>
            <a:headEnd type="none"/>
            <a:tailEnd type="triangle" w="lg" len="med"/>
          </a:ln>
        </p:spPr>
        <p:style>
          <a:lnRef idx="1">
            <a:schemeClr val="accent1"/>
          </a:lnRef>
          <a:fillRef idx="0">
            <a:schemeClr val="accent1"/>
          </a:fillRef>
          <a:effectRef idx="0">
            <a:schemeClr val="accent1"/>
          </a:effectRef>
          <a:fontRef idx="minor">
            <a:schemeClr val="tx1"/>
          </a:fontRef>
        </p:style>
      </p:cxnSp>
      <p:cxnSp>
        <p:nvCxnSpPr>
          <p:cNvPr id="125" name="Straight Arrow Connector 124"/>
          <p:cNvCxnSpPr/>
          <p:nvPr/>
        </p:nvCxnSpPr>
        <p:spPr>
          <a:xfrm>
            <a:off x="4252373" y="5465713"/>
            <a:ext cx="2011680" cy="0"/>
          </a:xfrm>
          <a:prstGeom prst="straightConnector1">
            <a:avLst/>
          </a:prstGeom>
          <a:ln w="38100" cmpd="sng">
            <a:solidFill>
              <a:schemeClr val="accent1"/>
            </a:solidFill>
            <a:prstDash val="sysDash"/>
            <a:headEnd type="none"/>
            <a:tailEnd type="triangle" w="lg" len="med"/>
          </a:ln>
        </p:spPr>
        <p:style>
          <a:lnRef idx="1">
            <a:schemeClr val="accent1"/>
          </a:lnRef>
          <a:fillRef idx="0">
            <a:schemeClr val="accent1"/>
          </a:fillRef>
          <a:effectRef idx="0">
            <a:schemeClr val="accent1"/>
          </a:effectRef>
          <a:fontRef idx="minor">
            <a:schemeClr val="tx1"/>
          </a:fontRef>
        </p:style>
      </p:cxnSp>
      <p:sp>
        <p:nvSpPr>
          <p:cNvPr id="126" name="Rectangle 125"/>
          <p:cNvSpPr/>
          <p:nvPr/>
        </p:nvSpPr>
        <p:spPr>
          <a:xfrm>
            <a:off x="6364173" y="3239601"/>
            <a:ext cx="1263012" cy="46166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spAutoFit/>
          </a:bodyPr>
          <a:lstStyle/>
          <a:p>
            <a:pPr marL="0" marR="0" lvl="0" indent="0" algn="ctr" defTabSz="914225"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chemeClr val="tx2"/>
                </a:solidFill>
                <a:effectLst/>
                <a:uLnTx/>
                <a:uFillTx/>
              </a:rPr>
              <a:t>Azure active directory tenant</a:t>
            </a:r>
          </a:p>
        </p:txBody>
      </p:sp>
      <p:sp>
        <p:nvSpPr>
          <p:cNvPr id="127" name="Rectangle 126"/>
          <p:cNvSpPr/>
          <p:nvPr/>
        </p:nvSpPr>
        <p:spPr>
          <a:xfrm>
            <a:off x="6098317" y="6008205"/>
            <a:ext cx="1794723" cy="46166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p>
            <a:pPr marL="0" marR="0" lvl="0" indent="0" algn="ctr" defTabSz="914225"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chemeClr val="tx2"/>
                </a:solidFill>
                <a:effectLst/>
                <a:uLnTx/>
                <a:uFillTx/>
              </a:rPr>
              <a:t>Azure directory domain services instance</a:t>
            </a:r>
          </a:p>
        </p:txBody>
      </p:sp>
      <p:sp>
        <p:nvSpPr>
          <p:cNvPr id="128" name="Oval 127"/>
          <p:cNvSpPr>
            <a:spLocks noChangeAspect="1"/>
          </p:cNvSpPr>
          <p:nvPr/>
        </p:nvSpPr>
        <p:spPr bwMode="auto">
          <a:xfrm>
            <a:off x="6193911" y="2266019"/>
            <a:ext cx="324239" cy="324239"/>
          </a:xfrm>
          <a:prstGeom prst="ellipse">
            <a:avLst/>
          </a:prstGeom>
          <a:solidFill>
            <a:srgbClr val="002050"/>
          </a:solidFill>
          <a:ln w="12700"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eaLnBrk="1" fontAlgn="base" latinLnBrk="0" hangingPunct="1">
              <a:lnSpc>
                <a:spcPct val="100000"/>
              </a:lnSpc>
              <a:spcBef>
                <a:spcPct val="0"/>
              </a:spcBef>
              <a:spcAft>
                <a:spcPct val="0"/>
              </a:spcAft>
              <a:buClrTx/>
              <a:buSzTx/>
              <a:buFontTx/>
              <a:buNone/>
              <a:tabLst/>
              <a:defRPr/>
            </a:pPr>
            <a:r>
              <a:rPr kumimoji="0" lang="en-US" sz="1800" b="1" i="0" u="none" strike="noStrike" kern="0" cap="none" spc="0" normalizeH="0" baseline="0" noProof="0" dirty="0">
                <a:ln>
                  <a:noFill/>
                </a:ln>
                <a:gradFill>
                  <a:gsLst>
                    <a:gs pos="5439">
                      <a:srgbClr val="F8F8F8"/>
                    </a:gs>
                    <a:gs pos="10000">
                      <a:srgbClr val="F8F8F8"/>
                    </a:gs>
                  </a:gsLst>
                  <a:lin ang="5400000" scaled="0"/>
                </a:gradFill>
                <a:effectLst/>
                <a:uLnTx/>
                <a:uFillTx/>
                <a:ea typeface="Segoe UI Black" panose="020B0A02040204020203" pitchFamily="34" charset="0"/>
                <a:cs typeface="Segoe UI Black" panose="020B0A02040204020203" pitchFamily="34" charset="0"/>
              </a:rPr>
              <a:t>2</a:t>
            </a:r>
            <a:endParaRPr kumimoji="0" lang="en-US" sz="1600" b="1" i="0" u="none" strike="noStrike" kern="0" cap="none" spc="0" normalizeH="0" baseline="0" noProof="0" dirty="0">
              <a:ln>
                <a:noFill/>
              </a:ln>
              <a:gradFill>
                <a:gsLst>
                  <a:gs pos="5439">
                    <a:srgbClr val="F8F8F8"/>
                  </a:gs>
                  <a:gs pos="10000">
                    <a:srgbClr val="F8F8F8"/>
                  </a:gs>
                </a:gsLst>
                <a:lin ang="5400000" scaled="0"/>
              </a:gradFill>
              <a:effectLst/>
              <a:uLnTx/>
              <a:uFillTx/>
              <a:ea typeface="Segoe UI Black" panose="020B0A02040204020203" pitchFamily="34" charset="0"/>
              <a:cs typeface="Segoe UI Black" panose="020B0A02040204020203" pitchFamily="34" charset="0"/>
            </a:endParaRPr>
          </a:p>
        </p:txBody>
      </p:sp>
      <p:sp>
        <p:nvSpPr>
          <p:cNvPr id="129" name="Oval 128"/>
          <p:cNvSpPr>
            <a:spLocks noChangeAspect="1"/>
          </p:cNvSpPr>
          <p:nvPr/>
        </p:nvSpPr>
        <p:spPr bwMode="auto">
          <a:xfrm>
            <a:off x="6193911" y="4905098"/>
            <a:ext cx="324239" cy="324239"/>
          </a:xfrm>
          <a:prstGeom prst="ellipse">
            <a:avLst/>
          </a:prstGeom>
          <a:solidFill>
            <a:srgbClr val="002050"/>
          </a:solidFill>
          <a:ln w="12700"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eaLnBrk="1" fontAlgn="base" latinLnBrk="0" hangingPunct="1">
              <a:lnSpc>
                <a:spcPct val="100000"/>
              </a:lnSpc>
              <a:spcBef>
                <a:spcPct val="0"/>
              </a:spcBef>
              <a:spcAft>
                <a:spcPct val="0"/>
              </a:spcAft>
              <a:buClrTx/>
              <a:buSzTx/>
              <a:buFontTx/>
              <a:buNone/>
              <a:tabLst/>
              <a:defRPr/>
            </a:pPr>
            <a:r>
              <a:rPr kumimoji="0" lang="en-US" sz="1800" b="1" i="0" u="none" strike="noStrike" kern="0" cap="none" spc="0" normalizeH="0" baseline="0" noProof="0" dirty="0">
                <a:ln>
                  <a:noFill/>
                </a:ln>
                <a:gradFill>
                  <a:gsLst>
                    <a:gs pos="5439">
                      <a:srgbClr val="F8F8F8"/>
                    </a:gs>
                    <a:gs pos="10000">
                      <a:srgbClr val="F8F8F8"/>
                    </a:gs>
                  </a:gsLst>
                  <a:lin ang="5400000" scaled="0"/>
                </a:gradFill>
                <a:effectLst/>
                <a:uLnTx/>
                <a:uFillTx/>
                <a:ea typeface="Segoe UI Black" panose="020B0A02040204020203" pitchFamily="34" charset="0"/>
                <a:cs typeface="Segoe UI Black" panose="020B0A02040204020203" pitchFamily="34" charset="0"/>
              </a:rPr>
              <a:t>1</a:t>
            </a:r>
            <a:endParaRPr kumimoji="0" lang="en-US" sz="1600" b="1" i="0" u="none" strike="noStrike" kern="0" cap="none" spc="0" normalizeH="0" baseline="0" noProof="0" dirty="0">
              <a:ln>
                <a:noFill/>
              </a:ln>
              <a:gradFill>
                <a:gsLst>
                  <a:gs pos="5439">
                    <a:srgbClr val="F8F8F8"/>
                  </a:gs>
                  <a:gs pos="10000">
                    <a:srgbClr val="F8F8F8"/>
                  </a:gs>
                </a:gsLst>
                <a:lin ang="5400000" scaled="0"/>
              </a:gradFill>
              <a:effectLst/>
              <a:uLnTx/>
              <a:uFillTx/>
              <a:ea typeface="Segoe UI Black" panose="020B0A02040204020203" pitchFamily="34" charset="0"/>
              <a:cs typeface="Segoe UI Black" panose="020B0A02040204020203" pitchFamily="34" charset="0"/>
            </a:endParaRPr>
          </a:p>
        </p:txBody>
      </p:sp>
      <p:sp>
        <p:nvSpPr>
          <p:cNvPr id="130" name="Oval 129"/>
          <p:cNvSpPr>
            <a:spLocks noChangeAspect="1"/>
          </p:cNvSpPr>
          <p:nvPr/>
        </p:nvSpPr>
        <p:spPr bwMode="auto">
          <a:xfrm>
            <a:off x="3105147" y="1275243"/>
            <a:ext cx="324239" cy="324239"/>
          </a:xfrm>
          <a:prstGeom prst="ellipse">
            <a:avLst/>
          </a:prstGeom>
          <a:solidFill>
            <a:srgbClr val="002050"/>
          </a:solidFill>
          <a:ln w="12700"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eaLnBrk="1" fontAlgn="base" latinLnBrk="0" hangingPunct="1">
              <a:lnSpc>
                <a:spcPct val="100000"/>
              </a:lnSpc>
              <a:spcBef>
                <a:spcPct val="0"/>
              </a:spcBef>
              <a:spcAft>
                <a:spcPct val="0"/>
              </a:spcAft>
              <a:buClrTx/>
              <a:buSzTx/>
              <a:buFontTx/>
              <a:buNone/>
              <a:tabLst/>
              <a:defRPr/>
            </a:pPr>
            <a:r>
              <a:rPr kumimoji="0" lang="en-US" sz="1800" b="1" i="0" u="none" strike="noStrike" kern="0" cap="none" spc="0" normalizeH="0" baseline="0" noProof="0" dirty="0">
                <a:ln>
                  <a:noFill/>
                </a:ln>
                <a:gradFill>
                  <a:gsLst>
                    <a:gs pos="5439">
                      <a:srgbClr val="F8F8F8"/>
                    </a:gs>
                    <a:gs pos="10000">
                      <a:srgbClr val="F8F8F8"/>
                    </a:gs>
                  </a:gsLst>
                  <a:lin ang="5400000" scaled="0"/>
                </a:gradFill>
                <a:effectLst/>
                <a:uLnTx/>
                <a:uFillTx/>
                <a:ea typeface="Segoe UI Black" panose="020B0A02040204020203" pitchFamily="34" charset="0"/>
                <a:cs typeface="Segoe UI Black" panose="020B0A02040204020203" pitchFamily="34" charset="0"/>
              </a:rPr>
              <a:t>3</a:t>
            </a:r>
            <a:endParaRPr kumimoji="0" lang="en-US" sz="1600" b="1" i="0" u="none" strike="noStrike" kern="0" cap="none" spc="0" normalizeH="0" baseline="0" noProof="0" dirty="0">
              <a:ln>
                <a:noFill/>
              </a:ln>
              <a:gradFill>
                <a:gsLst>
                  <a:gs pos="5439">
                    <a:srgbClr val="F8F8F8"/>
                  </a:gs>
                  <a:gs pos="10000">
                    <a:srgbClr val="F8F8F8"/>
                  </a:gs>
                </a:gsLst>
                <a:lin ang="5400000" scaled="0"/>
              </a:gradFill>
              <a:effectLst/>
              <a:uLnTx/>
              <a:uFillTx/>
              <a:ea typeface="Segoe UI Black" panose="020B0A02040204020203" pitchFamily="34" charset="0"/>
              <a:cs typeface="Segoe UI Black" panose="020B0A02040204020203" pitchFamily="34" charset="0"/>
            </a:endParaRPr>
          </a:p>
        </p:txBody>
      </p:sp>
      <p:sp>
        <p:nvSpPr>
          <p:cNvPr id="132" name="Oval 131"/>
          <p:cNvSpPr>
            <a:spLocks noChangeAspect="1"/>
          </p:cNvSpPr>
          <p:nvPr/>
        </p:nvSpPr>
        <p:spPr bwMode="auto">
          <a:xfrm>
            <a:off x="3105147" y="4905098"/>
            <a:ext cx="324239" cy="324239"/>
          </a:xfrm>
          <a:prstGeom prst="ellipse">
            <a:avLst/>
          </a:prstGeom>
          <a:solidFill>
            <a:srgbClr val="002050"/>
          </a:solidFill>
          <a:ln w="12700"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eaLnBrk="1" fontAlgn="base" latinLnBrk="0" hangingPunct="1">
              <a:lnSpc>
                <a:spcPct val="100000"/>
              </a:lnSpc>
              <a:spcBef>
                <a:spcPct val="0"/>
              </a:spcBef>
              <a:spcAft>
                <a:spcPct val="0"/>
              </a:spcAft>
              <a:buClrTx/>
              <a:buSzTx/>
              <a:buFontTx/>
              <a:buNone/>
              <a:tabLst/>
              <a:defRPr/>
            </a:pPr>
            <a:r>
              <a:rPr kumimoji="0" lang="en-US" sz="1800" b="1" i="0" u="none" strike="noStrike" kern="0" cap="none" spc="0" normalizeH="0" baseline="0" noProof="0" dirty="0">
                <a:ln>
                  <a:noFill/>
                </a:ln>
                <a:gradFill>
                  <a:gsLst>
                    <a:gs pos="5439">
                      <a:srgbClr val="F8F8F8"/>
                    </a:gs>
                    <a:gs pos="10000">
                      <a:srgbClr val="F8F8F8"/>
                    </a:gs>
                  </a:gsLst>
                  <a:lin ang="5400000" scaled="0"/>
                </a:gradFill>
                <a:effectLst/>
                <a:uLnTx/>
                <a:uFillTx/>
                <a:ea typeface="Segoe UI Black" panose="020B0A02040204020203" pitchFamily="34" charset="0"/>
                <a:cs typeface="Segoe UI Black" panose="020B0A02040204020203" pitchFamily="34" charset="0"/>
              </a:rPr>
              <a:t>5</a:t>
            </a:r>
            <a:endParaRPr kumimoji="0" lang="en-US" sz="1600" b="1" i="0" u="none" strike="noStrike" kern="0" cap="none" spc="0" normalizeH="0" baseline="0" noProof="0" dirty="0">
              <a:ln>
                <a:noFill/>
              </a:ln>
              <a:gradFill>
                <a:gsLst>
                  <a:gs pos="5439">
                    <a:srgbClr val="F8F8F8"/>
                  </a:gs>
                  <a:gs pos="10000">
                    <a:srgbClr val="F8F8F8"/>
                  </a:gs>
                </a:gsLst>
                <a:lin ang="5400000" scaled="0"/>
              </a:gradFill>
              <a:effectLst/>
              <a:uLnTx/>
              <a:uFillTx/>
              <a:ea typeface="Segoe UI Black" panose="020B0A02040204020203" pitchFamily="34" charset="0"/>
              <a:cs typeface="Segoe UI Black" panose="020B0A02040204020203" pitchFamily="34" charset="0"/>
            </a:endParaRPr>
          </a:p>
        </p:txBody>
      </p:sp>
      <p:sp>
        <p:nvSpPr>
          <p:cNvPr id="134" name="Oval 133"/>
          <p:cNvSpPr>
            <a:spLocks noChangeAspect="1"/>
          </p:cNvSpPr>
          <p:nvPr/>
        </p:nvSpPr>
        <p:spPr bwMode="auto">
          <a:xfrm>
            <a:off x="8351748" y="5246581"/>
            <a:ext cx="324239" cy="324239"/>
          </a:xfrm>
          <a:prstGeom prst="ellipse">
            <a:avLst/>
          </a:prstGeom>
          <a:solidFill>
            <a:srgbClr val="002050"/>
          </a:solidFill>
          <a:ln w="12700"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eaLnBrk="1" fontAlgn="base" latinLnBrk="0" hangingPunct="1">
              <a:lnSpc>
                <a:spcPct val="100000"/>
              </a:lnSpc>
              <a:spcBef>
                <a:spcPct val="0"/>
              </a:spcBef>
              <a:spcAft>
                <a:spcPct val="0"/>
              </a:spcAft>
              <a:buClrTx/>
              <a:buSzTx/>
              <a:buFontTx/>
              <a:buNone/>
              <a:tabLst/>
              <a:defRPr/>
            </a:pPr>
            <a:r>
              <a:rPr kumimoji="0" lang="en-US" sz="1800" b="1" i="0" u="none" strike="noStrike" kern="0" cap="none" spc="0" normalizeH="0" baseline="0" noProof="0" dirty="0">
                <a:ln>
                  <a:noFill/>
                </a:ln>
                <a:gradFill>
                  <a:gsLst>
                    <a:gs pos="5439">
                      <a:srgbClr val="F8F8F8"/>
                    </a:gs>
                    <a:gs pos="10000">
                      <a:srgbClr val="F8F8F8"/>
                    </a:gs>
                  </a:gsLst>
                  <a:lin ang="5400000" scaled="0"/>
                </a:gradFill>
                <a:effectLst/>
                <a:uLnTx/>
                <a:uFillTx/>
                <a:ea typeface="Segoe UI Black" panose="020B0A02040204020203" pitchFamily="34" charset="0"/>
                <a:cs typeface="Segoe UI Black" panose="020B0A02040204020203" pitchFamily="34" charset="0"/>
              </a:rPr>
              <a:t>5</a:t>
            </a:r>
            <a:endParaRPr kumimoji="0" lang="en-US" sz="1600" b="1" i="0" u="none" strike="noStrike" kern="0" cap="none" spc="0" normalizeH="0" baseline="0" noProof="0" dirty="0">
              <a:ln>
                <a:noFill/>
              </a:ln>
              <a:gradFill>
                <a:gsLst>
                  <a:gs pos="5439">
                    <a:srgbClr val="F8F8F8"/>
                  </a:gs>
                  <a:gs pos="10000">
                    <a:srgbClr val="F8F8F8"/>
                  </a:gs>
                </a:gsLst>
                <a:lin ang="5400000" scaled="0"/>
              </a:gradFill>
              <a:effectLst/>
              <a:uLnTx/>
              <a:uFillTx/>
              <a:ea typeface="Segoe UI Black" panose="020B0A02040204020203" pitchFamily="34" charset="0"/>
              <a:cs typeface="Segoe UI Black" panose="020B0A02040204020203" pitchFamily="34" charset="0"/>
            </a:endParaRPr>
          </a:p>
        </p:txBody>
      </p:sp>
      <p:sp>
        <p:nvSpPr>
          <p:cNvPr id="150" name="Rectangle 149"/>
          <p:cNvSpPr/>
          <p:nvPr/>
        </p:nvSpPr>
        <p:spPr>
          <a:xfrm>
            <a:off x="4204779" y="5487210"/>
            <a:ext cx="1474493" cy="2769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p>
            <a:pPr marL="0" marR="0" lvl="0" indent="0" defTabSz="914225"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chemeClr val="tx1"/>
                </a:solidFill>
                <a:effectLst/>
                <a:uLnTx/>
                <a:uFillTx/>
              </a:rPr>
              <a:t>Kerberos, LDAPS</a:t>
            </a:r>
          </a:p>
        </p:txBody>
      </p:sp>
    </p:spTree>
    <p:extLst>
      <p:ext uri="{BB962C8B-B14F-4D97-AF65-F5344CB8AC3E}">
        <p14:creationId xmlns:p14="http://schemas.microsoft.com/office/powerpoint/2010/main" val="67213958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13"/>
          <p:cNvPicPr>
            <a:picLocks noChangeAspect="1"/>
          </p:cNvPicPr>
          <p:nvPr/>
        </p:nvPicPr>
        <p:blipFill>
          <a:blip r:embed="rId5"/>
          <a:stretch>
            <a:fillRect/>
          </a:stretch>
        </p:blipFill>
        <p:spPr>
          <a:xfrm>
            <a:off x="4463143" y="1265377"/>
            <a:ext cx="7459619" cy="2749713"/>
          </a:xfrm>
          <a:prstGeom prst="rect">
            <a:avLst/>
          </a:prstGeom>
        </p:spPr>
      </p:pic>
      <p:graphicFrame>
        <p:nvGraphicFramePr>
          <p:cNvPr id="2" name="Object 1"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2472" name="think-cell Slide" r:id="rId6" imgW="378" imgH="379" progId="TCLayout.ActiveDocument.1">
                  <p:embed/>
                </p:oleObj>
              </mc:Choice>
              <mc:Fallback>
                <p:oleObj name="think-cell Slide" r:id="rId6" imgW="378" imgH="379" progId="TCLayout.ActiveDocument.1">
                  <p:embed/>
                  <p:pic>
                    <p:nvPicPr>
                      <p:cNvPr id="2" name="Object 1"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13" name="Text Placeholder 12"/>
          <p:cNvSpPr>
            <a:spLocks noGrp="1"/>
          </p:cNvSpPr>
          <p:nvPr>
            <p:ph type="body" sz="quarter" idx="10"/>
          </p:nvPr>
        </p:nvSpPr>
        <p:spPr>
          <a:xfrm>
            <a:off x="269240" y="1265377"/>
            <a:ext cx="4244704" cy="3927229"/>
          </a:xfrm>
        </p:spPr>
        <p:txBody>
          <a:bodyPr/>
          <a:lstStyle/>
          <a:p>
            <a:pPr marL="347472" indent="-292608">
              <a:spcBef>
                <a:spcPts val="600"/>
              </a:spcBef>
              <a:spcAft>
                <a:spcPts val="600"/>
              </a:spcAft>
              <a:buClr>
                <a:srgbClr val="50B347"/>
              </a:buClr>
              <a:buSzPct val="100000"/>
              <a:buBlip>
                <a:blip r:embed="rId8"/>
              </a:buBlip>
              <a:tabLst>
                <a:tab pos="658368" algn="l"/>
              </a:tabLst>
            </a:pPr>
            <a:r>
              <a:rPr lang="en-US" sz="2000" dirty="0">
                <a:solidFill>
                  <a:srgbClr val="505050"/>
                </a:solidFill>
                <a:ea typeface="Segoe UI" pitchFamily="34" charset="0"/>
                <a:cs typeface="Segoe UI" pitchFamily="34" charset="0"/>
              </a:rPr>
              <a:t>Each file and directory is associated with an owner and a group</a:t>
            </a:r>
          </a:p>
          <a:p>
            <a:pPr marL="347472" indent="-292608">
              <a:spcBef>
                <a:spcPts val="600"/>
              </a:spcBef>
              <a:spcAft>
                <a:spcPts val="600"/>
              </a:spcAft>
              <a:buClr>
                <a:srgbClr val="50B347"/>
              </a:buClr>
              <a:buSzPct val="100000"/>
              <a:buBlip>
                <a:blip r:embed="rId8"/>
              </a:buBlip>
              <a:tabLst>
                <a:tab pos="658368" algn="l"/>
              </a:tabLst>
            </a:pPr>
            <a:r>
              <a:rPr lang="en-US" sz="2000" dirty="0">
                <a:solidFill>
                  <a:srgbClr val="505050"/>
                </a:solidFill>
                <a:ea typeface="Segoe UI" pitchFamily="34" charset="0"/>
                <a:cs typeface="Segoe UI" pitchFamily="34" charset="0"/>
              </a:rPr>
              <a:t>Files or directories have separate permissions (read(r), write(w), execute(x)) for owners, members of the group, and for all other users</a:t>
            </a:r>
          </a:p>
          <a:p>
            <a:pPr marL="347472" indent="-292608">
              <a:spcBef>
                <a:spcPts val="600"/>
              </a:spcBef>
              <a:spcAft>
                <a:spcPts val="600"/>
              </a:spcAft>
              <a:buClr>
                <a:srgbClr val="50B347"/>
              </a:buClr>
              <a:buSzPct val="100000"/>
              <a:buBlip>
                <a:blip r:embed="rId8"/>
              </a:buBlip>
              <a:tabLst>
                <a:tab pos="658368" algn="l"/>
              </a:tabLst>
            </a:pPr>
            <a:r>
              <a:rPr lang="en-US" sz="2000" dirty="0">
                <a:solidFill>
                  <a:srgbClr val="505050"/>
                </a:solidFill>
                <a:ea typeface="Segoe UI" pitchFamily="34" charset="0"/>
                <a:cs typeface="Segoe UI" pitchFamily="34" charset="0"/>
              </a:rPr>
              <a:t>Fine-grained access control lists (ACLs) rules can be specified for specific named users or named groups</a:t>
            </a:r>
            <a:endParaRPr lang="en-US" sz="3200" dirty="0">
              <a:solidFill>
                <a:srgbClr val="505050"/>
              </a:solidFill>
              <a:ea typeface="Segoe UI" pitchFamily="34" charset="0"/>
              <a:cs typeface="Segoe UI" pitchFamily="34" charset="0"/>
            </a:endParaRPr>
          </a:p>
        </p:txBody>
      </p:sp>
      <p:sp>
        <p:nvSpPr>
          <p:cNvPr id="3" name="Title 2"/>
          <p:cNvSpPr>
            <a:spLocks noGrp="1"/>
          </p:cNvSpPr>
          <p:nvPr>
            <p:ph type="title"/>
          </p:nvPr>
        </p:nvSpPr>
        <p:spPr/>
        <p:txBody>
          <a:bodyPr/>
          <a:lstStyle/>
          <a:p>
            <a:r>
              <a:rPr lang="en-US" dirty="0"/>
              <a:t>ADL Store security: </a:t>
            </a:r>
            <a:r>
              <a:rPr lang="en-US" dirty="0">
                <a:solidFill>
                  <a:schemeClr val="accent2"/>
                </a:solidFill>
              </a:rPr>
              <a:t>Role-based access </a:t>
            </a:r>
            <a:endParaRPr lang="en-US" dirty="0"/>
          </a:p>
        </p:txBody>
      </p:sp>
      <p:sp>
        <p:nvSpPr>
          <p:cNvPr id="21" name="Oval 20"/>
          <p:cNvSpPr/>
          <p:nvPr/>
        </p:nvSpPr>
        <p:spPr bwMode="auto">
          <a:xfrm>
            <a:off x="9942785" y="1815580"/>
            <a:ext cx="946010" cy="965720"/>
          </a:xfrm>
          <a:prstGeom prst="ellipse">
            <a:avLst/>
          </a:prstGeom>
          <a:ln w="57150">
            <a:solidFill>
              <a:schemeClr val="accent5"/>
            </a:solidFill>
            <a:prstDash val="sysDot"/>
            <a:headEnd type="none" w="med" len="sm"/>
            <a:tailEnd type="triangle" w="med" len="sm"/>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tx1"/>
              </a:solidFill>
              <a:effectLst/>
              <a:uLnTx/>
              <a:uFillTx/>
            </a:endParaRPr>
          </a:p>
        </p:txBody>
      </p:sp>
      <p:sp>
        <p:nvSpPr>
          <p:cNvPr id="4" name="Slide Number Placeholder 3"/>
          <p:cNvSpPr>
            <a:spLocks noGrp="1"/>
          </p:cNvSpPr>
          <p:nvPr>
            <p:ph type="sldNum" sz="quarter" idx="4"/>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75FAD755-3BD0-2447-A9DF-109DAABEFD99}"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7</a:t>
            </a:fld>
            <a:endParaRPr kumimoji="0" lang="en-US" sz="1800" b="0" i="0" u="none" strike="noStrike" kern="0" cap="none" spc="0" normalizeH="0" baseline="0" noProof="0" dirty="0">
              <a:ln>
                <a:noFill/>
              </a:ln>
              <a:solidFill>
                <a:sysClr val="windowText" lastClr="000000"/>
              </a:solidFill>
              <a:effectLst/>
              <a:uLnTx/>
              <a:uFillTx/>
            </a:endParaRPr>
          </a:p>
        </p:txBody>
      </p:sp>
      <p:pic>
        <p:nvPicPr>
          <p:cNvPr id="5" name="Picture 4"/>
          <p:cNvPicPr>
            <a:picLocks noChangeAspect="1"/>
          </p:cNvPicPr>
          <p:nvPr/>
        </p:nvPicPr>
        <p:blipFill>
          <a:blip r:embed="rId9"/>
          <a:stretch>
            <a:fillRect/>
          </a:stretch>
        </p:blipFill>
        <p:spPr>
          <a:xfrm>
            <a:off x="6716263" y="3174087"/>
            <a:ext cx="5285595" cy="2728632"/>
          </a:xfrm>
          <a:prstGeom prst="rect">
            <a:avLst/>
          </a:prstGeom>
        </p:spPr>
      </p:pic>
    </p:spTree>
    <p:extLst>
      <p:ext uri="{BB962C8B-B14F-4D97-AF65-F5344CB8AC3E}">
        <p14:creationId xmlns:p14="http://schemas.microsoft.com/office/powerpoint/2010/main" val="231538071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3">
                                            <p:txEl>
                                              <p:pRg st="0" end="0"/>
                                            </p:txEl>
                                          </p:spTgt>
                                        </p:tgtEl>
                                        <p:attrNameLst>
                                          <p:attrName>style.visibility</p:attrName>
                                        </p:attrNameLst>
                                      </p:cBhvr>
                                      <p:to>
                                        <p:strVal val="visible"/>
                                      </p:to>
                                    </p:set>
                                    <p:animEffect transition="in" filter="fade">
                                      <p:cBhvr>
                                        <p:cTn id="7" dur="500"/>
                                        <p:tgtEl>
                                          <p:spTgt spid="13">
                                            <p:txEl>
                                              <p:pRg st="0" end="0"/>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3">
                                            <p:txEl>
                                              <p:pRg st="1" end="1"/>
                                            </p:txEl>
                                          </p:spTgt>
                                        </p:tgtEl>
                                        <p:attrNameLst>
                                          <p:attrName>style.visibility</p:attrName>
                                        </p:attrNameLst>
                                      </p:cBhvr>
                                      <p:to>
                                        <p:strVal val="visible"/>
                                      </p:to>
                                    </p:set>
                                    <p:animEffect transition="in" filter="fade">
                                      <p:cBhvr>
                                        <p:cTn id="10" dur="500"/>
                                        <p:tgtEl>
                                          <p:spTgt spid="13">
                                            <p:txEl>
                                              <p:pRg st="1" end="1"/>
                                            </p:txEl>
                                          </p:spTgt>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13">
                                            <p:txEl>
                                              <p:pRg st="2" end="2"/>
                                            </p:txEl>
                                          </p:spTgt>
                                        </p:tgtEl>
                                        <p:attrNameLst>
                                          <p:attrName>style.visibility</p:attrName>
                                        </p:attrNameLst>
                                      </p:cBhvr>
                                      <p:to>
                                        <p:strVal val="visible"/>
                                      </p:to>
                                    </p:set>
                                    <p:animEffect transition="in" filter="fade">
                                      <p:cBhvr>
                                        <p:cTn id="13" dur="500"/>
                                        <p:tgtEl>
                                          <p:spTgt spid="13">
                                            <p:txEl>
                                              <p:pRg st="2" end="2"/>
                                            </p:txEl>
                                          </p:spTgt>
                                        </p:tgtEl>
                                      </p:cBhvr>
                                    </p:animEffect>
                                  </p:childTnLst>
                                </p:cTn>
                              </p:par>
                            </p:childTnLst>
                          </p:cTn>
                        </p:par>
                        <p:par>
                          <p:cTn id="14" fill="hold">
                            <p:stCondLst>
                              <p:cond delay="500"/>
                            </p:stCondLst>
                            <p:childTnLst>
                              <p:par>
                                <p:cTn id="15" presetID="10" presetClass="entr" presetSubtype="0" fill="hold" nodeType="afterEffect">
                                  <p:stCondLst>
                                    <p:cond delay="0"/>
                                  </p:stCondLst>
                                  <p:childTnLst>
                                    <p:set>
                                      <p:cBhvr>
                                        <p:cTn id="16" dur="1" fill="hold">
                                          <p:stCondLst>
                                            <p:cond delay="0"/>
                                          </p:stCondLst>
                                        </p:cTn>
                                        <p:tgtEl>
                                          <p:spTgt spid="14"/>
                                        </p:tgtEl>
                                        <p:attrNameLst>
                                          <p:attrName>style.visibility</p:attrName>
                                        </p:attrNameLst>
                                      </p:cBhvr>
                                      <p:to>
                                        <p:strVal val="visible"/>
                                      </p:to>
                                    </p:set>
                                    <p:animEffect transition="in" filter="fade">
                                      <p:cBhvr>
                                        <p:cTn id="17" dur="500"/>
                                        <p:tgtEl>
                                          <p:spTgt spid="14"/>
                                        </p:tgtEl>
                                      </p:cBhvr>
                                    </p:animEffect>
                                  </p:childTnLst>
                                </p:cTn>
                              </p:par>
                            </p:childTnLst>
                          </p:cTn>
                        </p:par>
                        <p:par>
                          <p:cTn id="18" fill="hold">
                            <p:stCondLst>
                              <p:cond delay="1000"/>
                            </p:stCondLst>
                            <p:childTnLst>
                              <p:par>
                                <p:cTn id="19" presetID="21" presetClass="entr" presetSubtype="1" fill="hold" grpId="0" nodeType="afterEffect">
                                  <p:stCondLst>
                                    <p:cond delay="0"/>
                                  </p:stCondLst>
                                  <p:childTnLst>
                                    <p:set>
                                      <p:cBhvr>
                                        <p:cTn id="20" dur="1" fill="hold">
                                          <p:stCondLst>
                                            <p:cond delay="0"/>
                                          </p:stCondLst>
                                        </p:cTn>
                                        <p:tgtEl>
                                          <p:spTgt spid="21"/>
                                        </p:tgtEl>
                                        <p:attrNameLst>
                                          <p:attrName>style.visibility</p:attrName>
                                        </p:attrNameLst>
                                      </p:cBhvr>
                                      <p:to>
                                        <p:strVal val="visible"/>
                                      </p:to>
                                    </p:set>
                                    <p:animEffect transition="in" filter="wheel(1)">
                                      <p:cBhvr>
                                        <p:cTn id="21" dur="1250"/>
                                        <p:tgtEl>
                                          <p:spTgt spid="21"/>
                                        </p:tgtEl>
                                      </p:cBhvr>
                                    </p:animEffect>
                                  </p:childTnLst>
                                </p:cTn>
                              </p:par>
                            </p:childTnLst>
                          </p:cTn>
                        </p:par>
                        <p:par>
                          <p:cTn id="22" fill="hold">
                            <p:stCondLst>
                              <p:cond delay="2250"/>
                            </p:stCondLst>
                            <p:childTnLst>
                              <p:par>
                                <p:cTn id="23" presetID="10" presetClass="entr" presetSubtype="0" fill="hold" nodeType="afterEffect">
                                  <p:stCondLst>
                                    <p:cond delay="0"/>
                                  </p:stCondLst>
                                  <p:childTnLst>
                                    <p:set>
                                      <p:cBhvr>
                                        <p:cTn id="24" dur="1" fill="hold">
                                          <p:stCondLst>
                                            <p:cond delay="0"/>
                                          </p:stCondLst>
                                        </p:cTn>
                                        <p:tgtEl>
                                          <p:spTgt spid="5"/>
                                        </p:tgtEl>
                                        <p:attrNameLst>
                                          <p:attrName>style.visibility</p:attrName>
                                        </p:attrNameLst>
                                      </p:cBhvr>
                                      <p:to>
                                        <p:strVal val="visible"/>
                                      </p:to>
                                    </p:set>
                                    <p:animEffect transition="in" filter="fade">
                                      <p:cBhvr>
                                        <p:cTn id="25"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build="p"/>
      <p:bldP spid="21" grpId="0" animBg="1"/>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1" name="Rectangle 90"/>
          <p:cNvSpPr/>
          <p:nvPr/>
        </p:nvSpPr>
        <p:spPr bwMode="auto">
          <a:xfrm>
            <a:off x="7602209" y="2072049"/>
            <a:ext cx="2749968" cy="1601706"/>
          </a:xfrm>
          <a:prstGeom prst="rect">
            <a:avLst/>
          </a:prstGeom>
          <a:solidFill>
            <a:schemeClr val="tx2"/>
          </a:solidFill>
          <a:ln w="25400">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91440" rIns="91440" bIns="91440" numCol="1" rtlCol="0" anchor="t" anchorCtr="0" compatLnSpc="1">
            <a:prstTxWarp prst="textNoShape">
              <a:avLst/>
            </a:prstTxWarp>
          </a:bodyPr>
          <a:lstStyle/>
          <a:p>
            <a:pPr marL="0" marR="0" lvl="0" indent="0" algn="ctr" defTabSz="913908" eaLnBrk="1" fontAlgn="base" latinLnBrk="0" hangingPunct="1">
              <a:lnSpc>
                <a:spcPct val="100000"/>
              </a:lnSpc>
              <a:spcBef>
                <a:spcPct val="0"/>
              </a:spcBef>
              <a:spcAft>
                <a:spcPct val="0"/>
              </a:spcAft>
              <a:buClrTx/>
              <a:buSzTx/>
              <a:buFontTx/>
              <a:buNone/>
              <a:tabLst/>
              <a:defRPr/>
            </a:pPr>
            <a:endParaRPr kumimoji="0" lang="en-US" sz="1568"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charset="0"/>
              <a:ea typeface="Segoe UI Semibold" charset="0"/>
              <a:cs typeface="Segoe UI Semibold" charset="0"/>
            </a:endParaRPr>
          </a:p>
        </p:txBody>
      </p:sp>
      <p:sp>
        <p:nvSpPr>
          <p:cNvPr id="93" name="Rectangle 92"/>
          <p:cNvSpPr/>
          <p:nvPr/>
        </p:nvSpPr>
        <p:spPr bwMode="auto">
          <a:xfrm>
            <a:off x="4642580" y="2072048"/>
            <a:ext cx="2749968" cy="1601706"/>
          </a:xfrm>
          <a:prstGeom prst="rect">
            <a:avLst/>
          </a:prstGeom>
          <a:solidFill>
            <a:schemeClr val="accent2"/>
          </a:solidFill>
          <a:ln w="25400">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91440" rIns="91440" bIns="91440" numCol="1" rtlCol="0" anchor="t" anchorCtr="0" compatLnSpc="1">
            <a:prstTxWarp prst="textNoShape">
              <a:avLst/>
            </a:prstTxWarp>
          </a:bodyPr>
          <a:lstStyle/>
          <a:p>
            <a:pPr marL="0" marR="0" lvl="0" indent="0" algn="ctr" defTabSz="913908" eaLnBrk="1" fontAlgn="base" latinLnBrk="0" hangingPunct="1">
              <a:lnSpc>
                <a:spcPct val="100000"/>
              </a:lnSpc>
              <a:spcBef>
                <a:spcPct val="0"/>
              </a:spcBef>
              <a:spcAft>
                <a:spcPct val="0"/>
              </a:spcAft>
              <a:buClrTx/>
              <a:buSzTx/>
              <a:buFontTx/>
              <a:buNone/>
              <a:tabLst/>
              <a:defRPr/>
            </a:pPr>
            <a:endParaRPr kumimoji="0" lang="en-US" sz="1568"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charset="0"/>
              <a:ea typeface="Segoe UI Semibold" charset="0"/>
              <a:cs typeface="Segoe UI Semibold" charset="0"/>
            </a:endParaRPr>
          </a:p>
        </p:txBody>
      </p:sp>
      <p:sp>
        <p:nvSpPr>
          <p:cNvPr id="92" name="Rectangle 91"/>
          <p:cNvSpPr/>
          <p:nvPr/>
        </p:nvSpPr>
        <p:spPr bwMode="auto">
          <a:xfrm>
            <a:off x="6056247" y="4619082"/>
            <a:ext cx="2749968" cy="1601706"/>
          </a:xfrm>
          <a:prstGeom prst="rect">
            <a:avLst/>
          </a:prstGeom>
          <a:solidFill>
            <a:schemeClr val="tx2"/>
          </a:solidFill>
          <a:ln w="25400">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45713" rIns="91440" bIns="91440" numCol="1" rtlCol="0" anchor="b" anchorCtr="0" compatLnSpc="1">
            <a:prstTxWarp prst="textNoShape">
              <a:avLst/>
            </a:prstTxWarp>
          </a:bodyPr>
          <a:lstStyle/>
          <a:p>
            <a:pPr marL="0" marR="0" lvl="0" indent="0" algn="ctr" defTabSz="913908" eaLnBrk="1" fontAlgn="base" latinLnBrk="0" hangingPunct="1">
              <a:lnSpc>
                <a:spcPct val="100000"/>
              </a:lnSpc>
              <a:spcBef>
                <a:spcPct val="0"/>
              </a:spcBef>
              <a:spcAft>
                <a:spcPct val="0"/>
              </a:spcAft>
              <a:buClrTx/>
              <a:buSzTx/>
              <a:buFontTx/>
              <a:buNone/>
              <a:tabLst/>
              <a:defRPr/>
            </a:pPr>
            <a:endParaRPr kumimoji="0" lang="en-US" sz="1568"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charset="0"/>
              <a:ea typeface="Segoe UI Semibold" charset="0"/>
              <a:cs typeface="Segoe UI Semibold" charset="0"/>
            </a:endParaRPr>
          </a:p>
        </p:txBody>
      </p:sp>
      <p:sp>
        <p:nvSpPr>
          <p:cNvPr id="94" name="Rectangle 93"/>
          <p:cNvSpPr/>
          <p:nvPr/>
        </p:nvSpPr>
        <p:spPr bwMode="auto">
          <a:xfrm>
            <a:off x="9115095" y="4619083"/>
            <a:ext cx="2749968" cy="1601706"/>
          </a:xfrm>
          <a:prstGeom prst="rect">
            <a:avLst/>
          </a:prstGeom>
          <a:solidFill>
            <a:schemeClr val="accent2"/>
          </a:solidFill>
          <a:ln w="25400">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45713" rIns="91440" bIns="91440" numCol="1" rtlCol="0" anchor="b" anchorCtr="0" compatLnSpc="1">
            <a:prstTxWarp prst="textNoShape">
              <a:avLst/>
            </a:prstTxWarp>
          </a:bodyPr>
          <a:lstStyle/>
          <a:p>
            <a:pPr marL="0" marR="0" lvl="0" indent="0" algn="ctr" defTabSz="913908" eaLnBrk="1" fontAlgn="base" latinLnBrk="0" hangingPunct="1">
              <a:lnSpc>
                <a:spcPct val="100000"/>
              </a:lnSpc>
              <a:spcBef>
                <a:spcPct val="0"/>
              </a:spcBef>
              <a:spcAft>
                <a:spcPct val="0"/>
              </a:spcAft>
              <a:buClrTx/>
              <a:buSzTx/>
              <a:buFontTx/>
              <a:buNone/>
              <a:tabLst/>
              <a:defRPr/>
            </a:pPr>
            <a:endParaRPr kumimoji="0" lang="en-US" sz="1568"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charset="0"/>
              <a:ea typeface="Segoe UI Semibold" charset="0"/>
              <a:cs typeface="Segoe UI Semibold" charset="0"/>
            </a:endParaRPr>
          </a:p>
        </p:txBody>
      </p:sp>
      <p:sp>
        <p:nvSpPr>
          <p:cNvPr id="6" name="Text Placeholder 5"/>
          <p:cNvSpPr>
            <a:spLocks noGrp="1"/>
          </p:cNvSpPr>
          <p:nvPr>
            <p:ph type="body" sz="quarter" idx="10"/>
          </p:nvPr>
        </p:nvSpPr>
        <p:spPr>
          <a:xfrm>
            <a:off x="269240" y="1653662"/>
            <a:ext cx="3892732" cy="2932880"/>
          </a:xfrm>
        </p:spPr>
        <p:txBody>
          <a:bodyPr/>
          <a:lstStyle/>
          <a:p>
            <a:r>
              <a:rPr lang="en-US" sz="1770" dirty="0"/>
              <a:t>Generate default ACLs for files and folders</a:t>
            </a:r>
          </a:p>
          <a:p>
            <a:r>
              <a:rPr lang="en-US" sz="1770" dirty="0"/>
              <a:t>Customize for fine-tuned control</a:t>
            </a:r>
          </a:p>
          <a:p>
            <a:r>
              <a:rPr lang="en-US" sz="1770" dirty="0"/>
              <a:t>Access ACLs control how a user can access to the file or folder</a:t>
            </a:r>
          </a:p>
          <a:p>
            <a:r>
              <a:rPr lang="en-US" sz="1770" dirty="0"/>
              <a:t>Default ACLs used to construct the Access ACL of new children</a:t>
            </a:r>
          </a:p>
          <a:p>
            <a:r>
              <a:rPr lang="en-US" sz="1770" dirty="0"/>
              <a:t>Default ACLs copied to the Default ACL of new child folders</a:t>
            </a:r>
          </a:p>
        </p:txBody>
      </p:sp>
      <p:sp>
        <p:nvSpPr>
          <p:cNvPr id="2" name="Title 1"/>
          <p:cNvSpPr>
            <a:spLocks noGrp="1"/>
          </p:cNvSpPr>
          <p:nvPr>
            <p:ph type="title"/>
          </p:nvPr>
        </p:nvSpPr>
        <p:spPr/>
        <p:txBody>
          <a:bodyPr/>
          <a:lstStyle/>
          <a:p>
            <a:r>
              <a:rPr lang="en-US"/>
              <a:t>Granular control of file and folder access</a:t>
            </a:r>
            <a:endParaRPr lang="en-US" dirty="0"/>
          </a:p>
        </p:txBody>
      </p:sp>
      <p:sp>
        <p:nvSpPr>
          <p:cNvPr id="9" name="Rectangle 8"/>
          <p:cNvSpPr/>
          <p:nvPr/>
        </p:nvSpPr>
        <p:spPr>
          <a:xfrm>
            <a:off x="269240" y="1017478"/>
            <a:ext cx="8984928" cy="418191"/>
          </a:xfrm>
          <a:prstGeom prst="rect">
            <a:avLst/>
          </a:prstGeom>
        </p:spPr>
        <p:txBody>
          <a:bodyPr wrap="square">
            <a:spAutoFit/>
          </a:bodyPr>
          <a:lstStyle/>
          <a:p>
            <a:pPr marL="0" marR="0" lvl="0" indent="0" defTabSz="895710" eaLnBrk="1" fontAlgn="auto" latinLnBrk="0" hangingPunct="1">
              <a:lnSpc>
                <a:spcPct val="90000"/>
              </a:lnSpc>
              <a:spcBef>
                <a:spcPts val="1174"/>
              </a:spcBef>
              <a:spcAft>
                <a:spcPts val="0"/>
              </a:spcAft>
              <a:buClrTx/>
              <a:buSzTx/>
              <a:buFontTx/>
              <a:buNone/>
              <a:tabLst/>
              <a:defRPr/>
            </a:pPr>
            <a:r>
              <a:rPr kumimoji="0" lang="en-US" sz="2353" b="0" i="0" u="none" strike="noStrike" kern="0" cap="none" spc="0" normalizeH="0" baseline="0" noProof="0" dirty="0">
                <a:ln>
                  <a:noFill/>
                </a:ln>
                <a:solidFill>
                  <a:schemeClr val="accent1"/>
                </a:solidFill>
                <a:effectLst/>
                <a:uLnTx/>
                <a:uFillTx/>
                <a:latin typeface="Segoe UI Semilight" panose="020B0402040204020203" pitchFamily="34" charset="0"/>
                <a:ea typeface="Segoe UI" pitchFamily="34" charset="0"/>
                <a:cs typeface="Segoe UI Semilight" panose="020B0402040204020203" pitchFamily="34" charset="0"/>
              </a:rPr>
              <a:t>POSIX-Style ACLs with full compatibility with HDFS/</a:t>
            </a:r>
            <a:r>
              <a:rPr kumimoji="0" lang="en-US" sz="2353" b="0" i="0" u="none" strike="noStrike" kern="0" cap="none" spc="0" normalizeH="0" baseline="0" noProof="0" dirty="0" err="1">
                <a:ln>
                  <a:noFill/>
                </a:ln>
                <a:solidFill>
                  <a:schemeClr val="accent1"/>
                </a:solidFill>
                <a:effectLst/>
                <a:uLnTx/>
                <a:uFillTx/>
                <a:latin typeface="Segoe UI Semilight" panose="020B0402040204020203" pitchFamily="34" charset="0"/>
                <a:ea typeface="Segoe UI" pitchFamily="34" charset="0"/>
                <a:cs typeface="Segoe UI Semilight" panose="020B0402040204020203" pitchFamily="34" charset="0"/>
              </a:rPr>
              <a:t>WebHDFS</a:t>
            </a:r>
            <a:endParaRPr kumimoji="0" lang="en-US" sz="2353" b="0" i="0" u="none" strike="noStrike" kern="0" cap="none" spc="0" normalizeH="0" baseline="0" noProof="0" dirty="0">
              <a:ln>
                <a:noFill/>
              </a:ln>
              <a:solidFill>
                <a:schemeClr val="accent1"/>
              </a:solidFill>
              <a:effectLst/>
              <a:uLnTx/>
              <a:uFillTx/>
              <a:latin typeface="Segoe UI Semilight" panose="020B0402040204020203" pitchFamily="34" charset="0"/>
              <a:ea typeface="Segoe UI" pitchFamily="34" charset="0"/>
              <a:cs typeface="Segoe UI Semilight" panose="020B0402040204020203" pitchFamily="34" charset="0"/>
            </a:endParaRPr>
          </a:p>
        </p:txBody>
      </p:sp>
      <p:grpSp>
        <p:nvGrpSpPr>
          <p:cNvPr id="68" name="Group 67"/>
          <p:cNvGrpSpPr/>
          <p:nvPr/>
        </p:nvGrpSpPr>
        <p:grpSpPr>
          <a:xfrm>
            <a:off x="9573450" y="2448082"/>
            <a:ext cx="624819" cy="793345"/>
            <a:chOff x="10633084" y="2852743"/>
            <a:chExt cx="623888" cy="792163"/>
          </a:xfrm>
        </p:grpSpPr>
        <p:sp>
          <p:nvSpPr>
            <p:cNvPr id="69" name="Freeform 613"/>
            <p:cNvSpPr>
              <a:spLocks/>
            </p:cNvSpPr>
            <p:nvPr/>
          </p:nvSpPr>
          <p:spPr bwMode="auto">
            <a:xfrm>
              <a:off x="10633084" y="2852743"/>
              <a:ext cx="623888" cy="692151"/>
            </a:xfrm>
            <a:custGeom>
              <a:avLst/>
              <a:gdLst>
                <a:gd name="T0" fmla="*/ 174 w 182"/>
                <a:gd name="T1" fmla="*/ 14 h 203"/>
                <a:gd name="T2" fmla="*/ 164 w 182"/>
                <a:gd name="T3" fmla="*/ 14 h 203"/>
                <a:gd name="T4" fmla="*/ 144 w 182"/>
                <a:gd name="T5" fmla="*/ 0 h 203"/>
                <a:gd name="T6" fmla="*/ 20 w 182"/>
                <a:gd name="T7" fmla="*/ 0 h 203"/>
                <a:gd name="T8" fmla="*/ 0 w 182"/>
                <a:gd name="T9" fmla="*/ 20 h 203"/>
                <a:gd name="T10" fmla="*/ 0 w 182"/>
                <a:gd name="T11" fmla="*/ 183 h 203"/>
                <a:gd name="T12" fmla="*/ 20 w 182"/>
                <a:gd name="T13" fmla="*/ 203 h 203"/>
                <a:gd name="T14" fmla="*/ 144 w 182"/>
                <a:gd name="T15" fmla="*/ 203 h 203"/>
                <a:gd name="T16" fmla="*/ 165 w 182"/>
                <a:gd name="T17" fmla="*/ 183 h 203"/>
                <a:gd name="T18" fmla="*/ 165 w 182"/>
                <a:gd name="T19" fmla="*/ 91 h 203"/>
                <a:gd name="T20" fmla="*/ 174 w 182"/>
                <a:gd name="T21" fmla="*/ 91 h 203"/>
                <a:gd name="T22" fmla="*/ 182 w 182"/>
                <a:gd name="T23" fmla="*/ 83 h 203"/>
                <a:gd name="T24" fmla="*/ 182 w 182"/>
                <a:gd name="T25" fmla="*/ 22 h 203"/>
                <a:gd name="T26" fmla="*/ 174 w 182"/>
                <a:gd name="T27" fmla="*/ 14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82" h="203">
                  <a:moveTo>
                    <a:pt x="174" y="14"/>
                  </a:moveTo>
                  <a:cubicBezTo>
                    <a:pt x="164" y="14"/>
                    <a:pt x="164" y="14"/>
                    <a:pt x="164" y="14"/>
                  </a:cubicBezTo>
                  <a:cubicBezTo>
                    <a:pt x="161" y="6"/>
                    <a:pt x="153" y="0"/>
                    <a:pt x="144" y="0"/>
                  </a:cubicBezTo>
                  <a:cubicBezTo>
                    <a:pt x="20" y="0"/>
                    <a:pt x="20" y="0"/>
                    <a:pt x="20" y="0"/>
                  </a:cubicBezTo>
                  <a:cubicBezTo>
                    <a:pt x="9" y="0"/>
                    <a:pt x="0" y="9"/>
                    <a:pt x="0" y="20"/>
                  </a:cubicBezTo>
                  <a:cubicBezTo>
                    <a:pt x="0" y="183"/>
                    <a:pt x="0" y="183"/>
                    <a:pt x="0" y="183"/>
                  </a:cubicBezTo>
                  <a:cubicBezTo>
                    <a:pt x="0" y="194"/>
                    <a:pt x="9" y="203"/>
                    <a:pt x="20" y="203"/>
                  </a:cubicBezTo>
                  <a:cubicBezTo>
                    <a:pt x="144" y="203"/>
                    <a:pt x="144" y="203"/>
                    <a:pt x="144" y="203"/>
                  </a:cubicBezTo>
                  <a:cubicBezTo>
                    <a:pt x="156" y="203"/>
                    <a:pt x="165" y="194"/>
                    <a:pt x="165" y="183"/>
                  </a:cubicBezTo>
                  <a:cubicBezTo>
                    <a:pt x="165" y="91"/>
                    <a:pt x="165" y="91"/>
                    <a:pt x="165" y="91"/>
                  </a:cubicBezTo>
                  <a:cubicBezTo>
                    <a:pt x="174" y="91"/>
                    <a:pt x="174" y="91"/>
                    <a:pt x="174" y="91"/>
                  </a:cubicBezTo>
                  <a:cubicBezTo>
                    <a:pt x="178" y="91"/>
                    <a:pt x="182" y="87"/>
                    <a:pt x="182" y="83"/>
                  </a:cubicBezTo>
                  <a:cubicBezTo>
                    <a:pt x="182" y="22"/>
                    <a:pt x="182" y="22"/>
                    <a:pt x="182" y="22"/>
                  </a:cubicBezTo>
                  <a:cubicBezTo>
                    <a:pt x="182" y="18"/>
                    <a:pt x="178" y="14"/>
                    <a:pt x="174" y="14"/>
                  </a:cubicBezTo>
                  <a:close/>
                </a:path>
              </a:pathLst>
            </a:custGeom>
            <a:solidFill>
              <a:srgbClr val="E5A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0" name="Rectangle 614"/>
            <p:cNvSpPr>
              <a:spLocks noChangeArrowheads="1"/>
            </p:cNvSpPr>
            <p:nvPr/>
          </p:nvSpPr>
          <p:spPr bwMode="auto">
            <a:xfrm>
              <a:off x="10698172" y="2908305"/>
              <a:ext cx="455613" cy="60325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1" name="Freeform 615"/>
            <p:cNvSpPr>
              <a:spLocks/>
            </p:cNvSpPr>
            <p:nvPr/>
          </p:nvSpPr>
          <p:spPr bwMode="auto">
            <a:xfrm>
              <a:off x="10633084" y="2860680"/>
              <a:ext cx="479425" cy="784226"/>
            </a:xfrm>
            <a:custGeom>
              <a:avLst/>
              <a:gdLst>
                <a:gd name="T0" fmla="*/ 140 w 140"/>
                <a:gd name="T1" fmla="*/ 212 h 230"/>
                <a:gd name="T2" fmla="*/ 123 w 140"/>
                <a:gd name="T3" fmla="*/ 228 h 230"/>
                <a:gd name="T4" fmla="*/ 17 w 140"/>
                <a:gd name="T5" fmla="*/ 205 h 230"/>
                <a:gd name="T6" fmla="*/ 0 w 140"/>
                <a:gd name="T7" fmla="*/ 181 h 230"/>
                <a:gd name="T8" fmla="*/ 0 w 140"/>
                <a:gd name="T9" fmla="*/ 18 h 230"/>
                <a:gd name="T10" fmla="*/ 17 w 140"/>
                <a:gd name="T11" fmla="*/ 2 h 230"/>
                <a:gd name="T12" fmla="*/ 123 w 140"/>
                <a:gd name="T13" fmla="*/ 25 h 230"/>
                <a:gd name="T14" fmla="*/ 140 w 140"/>
                <a:gd name="T15" fmla="*/ 49 h 230"/>
                <a:gd name="T16" fmla="*/ 140 w 140"/>
                <a:gd name="T17" fmla="*/ 212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0" h="230">
                  <a:moveTo>
                    <a:pt x="140" y="212"/>
                  </a:moveTo>
                  <a:cubicBezTo>
                    <a:pt x="140" y="223"/>
                    <a:pt x="132" y="230"/>
                    <a:pt x="123" y="228"/>
                  </a:cubicBezTo>
                  <a:cubicBezTo>
                    <a:pt x="17" y="205"/>
                    <a:pt x="17" y="205"/>
                    <a:pt x="17" y="205"/>
                  </a:cubicBezTo>
                  <a:cubicBezTo>
                    <a:pt x="8" y="203"/>
                    <a:pt x="0" y="192"/>
                    <a:pt x="0" y="181"/>
                  </a:cubicBezTo>
                  <a:cubicBezTo>
                    <a:pt x="0" y="18"/>
                    <a:pt x="0" y="18"/>
                    <a:pt x="0" y="18"/>
                  </a:cubicBezTo>
                  <a:cubicBezTo>
                    <a:pt x="0" y="7"/>
                    <a:pt x="8" y="0"/>
                    <a:pt x="17" y="2"/>
                  </a:cubicBezTo>
                  <a:cubicBezTo>
                    <a:pt x="123" y="25"/>
                    <a:pt x="123" y="25"/>
                    <a:pt x="123" y="25"/>
                  </a:cubicBezTo>
                  <a:cubicBezTo>
                    <a:pt x="132" y="28"/>
                    <a:pt x="140" y="38"/>
                    <a:pt x="140" y="49"/>
                  </a:cubicBezTo>
                  <a:lnTo>
                    <a:pt x="140" y="212"/>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cxnSp>
        <p:nvCxnSpPr>
          <p:cNvPr id="99" name="Straight Connector 98"/>
          <p:cNvCxnSpPr/>
          <p:nvPr/>
        </p:nvCxnSpPr>
        <p:spPr>
          <a:xfrm>
            <a:off x="8128754" y="3342309"/>
            <a:ext cx="0" cy="1639720"/>
          </a:xfrm>
          <a:prstGeom prst="line">
            <a:avLst/>
          </a:prstGeom>
          <a:ln w="38100" cap="sq">
            <a:solidFill>
              <a:schemeClr val="accent1"/>
            </a:solidFill>
            <a:prstDash val="sysDash"/>
            <a:miter lim="800000"/>
            <a:headEnd type="none" w="med" len="med"/>
            <a:tailEnd type="triangle" w="lg" len="med"/>
          </a:ln>
        </p:spPr>
        <p:style>
          <a:lnRef idx="1">
            <a:schemeClr val="accent1"/>
          </a:lnRef>
          <a:fillRef idx="0">
            <a:schemeClr val="accent1"/>
          </a:fillRef>
          <a:effectRef idx="0">
            <a:schemeClr val="accent1"/>
          </a:effectRef>
          <a:fontRef idx="minor">
            <a:schemeClr val="tx1"/>
          </a:fontRef>
        </p:style>
      </p:cxnSp>
      <p:grpSp>
        <p:nvGrpSpPr>
          <p:cNvPr id="108" name="Group 107"/>
          <p:cNvGrpSpPr/>
          <p:nvPr/>
        </p:nvGrpSpPr>
        <p:grpSpPr>
          <a:xfrm>
            <a:off x="6335470" y="5026188"/>
            <a:ext cx="666492" cy="846258"/>
            <a:chOff x="10633084" y="2852743"/>
            <a:chExt cx="623888" cy="792163"/>
          </a:xfrm>
        </p:grpSpPr>
        <p:sp>
          <p:nvSpPr>
            <p:cNvPr id="109" name="Freeform 613"/>
            <p:cNvSpPr>
              <a:spLocks/>
            </p:cNvSpPr>
            <p:nvPr/>
          </p:nvSpPr>
          <p:spPr bwMode="auto">
            <a:xfrm>
              <a:off x="10633084" y="2852743"/>
              <a:ext cx="623888" cy="692151"/>
            </a:xfrm>
            <a:custGeom>
              <a:avLst/>
              <a:gdLst>
                <a:gd name="T0" fmla="*/ 174 w 182"/>
                <a:gd name="T1" fmla="*/ 14 h 203"/>
                <a:gd name="T2" fmla="*/ 164 w 182"/>
                <a:gd name="T3" fmla="*/ 14 h 203"/>
                <a:gd name="T4" fmla="*/ 144 w 182"/>
                <a:gd name="T5" fmla="*/ 0 h 203"/>
                <a:gd name="T6" fmla="*/ 20 w 182"/>
                <a:gd name="T7" fmla="*/ 0 h 203"/>
                <a:gd name="T8" fmla="*/ 0 w 182"/>
                <a:gd name="T9" fmla="*/ 20 h 203"/>
                <a:gd name="T10" fmla="*/ 0 w 182"/>
                <a:gd name="T11" fmla="*/ 183 h 203"/>
                <a:gd name="T12" fmla="*/ 20 w 182"/>
                <a:gd name="T13" fmla="*/ 203 h 203"/>
                <a:gd name="T14" fmla="*/ 144 w 182"/>
                <a:gd name="T15" fmla="*/ 203 h 203"/>
                <a:gd name="T16" fmla="*/ 165 w 182"/>
                <a:gd name="T17" fmla="*/ 183 h 203"/>
                <a:gd name="T18" fmla="*/ 165 w 182"/>
                <a:gd name="T19" fmla="*/ 91 h 203"/>
                <a:gd name="T20" fmla="*/ 174 w 182"/>
                <a:gd name="T21" fmla="*/ 91 h 203"/>
                <a:gd name="T22" fmla="*/ 182 w 182"/>
                <a:gd name="T23" fmla="*/ 83 h 203"/>
                <a:gd name="T24" fmla="*/ 182 w 182"/>
                <a:gd name="T25" fmla="*/ 22 h 203"/>
                <a:gd name="T26" fmla="*/ 174 w 182"/>
                <a:gd name="T27" fmla="*/ 14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82" h="203">
                  <a:moveTo>
                    <a:pt x="174" y="14"/>
                  </a:moveTo>
                  <a:cubicBezTo>
                    <a:pt x="164" y="14"/>
                    <a:pt x="164" y="14"/>
                    <a:pt x="164" y="14"/>
                  </a:cubicBezTo>
                  <a:cubicBezTo>
                    <a:pt x="161" y="6"/>
                    <a:pt x="153" y="0"/>
                    <a:pt x="144" y="0"/>
                  </a:cubicBezTo>
                  <a:cubicBezTo>
                    <a:pt x="20" y="0"/>
                    <a:pt x="20" y="0"/>
                    <a:pt x="20" y="0"/>
                  </a:cubicBezTo>
                  <a:cubicBezTo>
                    <a:pt x="9" y="0"/>
                    <a:pt x="0" y="9"/>
                    <a:pt x="0" y="20"/>
                  </a:cubicBezTo>
                  <a:cubicBezTo>
                    <a:pt x="0" y="183"/>
                    <a:pt x="0" y="183"/>
                    <a:pt x="0" y="183"/>
                  </a:cubicBezTo>
                  <a:cubicBezTo>
                    <a:pt x="0" y="194"/>
                    <a:pt x="9" y="203"/>
                    <a:pt x="20" y="203"/>
                  </a:cubicBezTo>
                  <a:cubicBezTo>
                    <a:pt x="144" y="203"/>
                    <a:pt x="144" y="203"/>
                    <a:pt x="144" y="203"/>
                  </a:cubicBezTo>
                  <a:cubicBezTo>
                    <a:pt x="156" y="203"/>
                    <a:pt x="165" y="194"/>
                    <a:pt x="165" y="183"/>
                  </a:cubicBezTo>
                  <a:cubicBezTo>
                    <a:pt x="165" y="91"/>
                    <a:pt x="165" y="91"/>
                    <a:pt x="165" y="91"/>
                  </a:cubicBezTo>
                  <a:cubicBezTo>
                    <a:pt x="174" y="91"/>
                    <a:pt x="174" y="91"/>
                    <a:pt x="174" y="91"/>
                  </a:cubicBezTo>
                  <a:cubicBezTo>
                    <a:pt x="178" y="91"/>
                    <a:pt x="182" y="87"/>
                    <a:pt x="182" y="83"/>
                  </a:cubicBezTo>
                  <a:cubicBezTo>
                    <a:pt x="182" y="22"/>
                    <a:pt x="182" y="22"/>
                    <a:pt x="182" y="22"/>
                  </a:cubicBezTo>
                  <a:cubicBezTo>
                    <a:pt x="182" y="18"/>
                    <a:pt x="178" y="14"/>
                    <a:pt x="174" y="14"/>
                  </a:cubicBezTo>
                  <a:close/>
                </a:path>
              </a:pathLst>
            </a:custGeom>
            <a:solidFill>
              <a:srgbClr val="E5A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10" name="Rectangle 614"/>
            <p:cNvSpPr>
              <a:spLocks noChangeArrowheads="1"/>
            </p:cNvSpPr>
            <p:nvPr/>
          </p:nvSpPr>
          <p:spPr bwMode="auto">
            <a:xfrm>
              <a:off x="10698172" y="2908305"/>
              <a:ext cx="455613" cy="60325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11" name="Freeform 615"/>
            <p:cNvSpPr>
              <a:spLocks/>
            </p:cNvSpPr>
            <p:nvPr/>
          </p:nvSpPr>
          <p:spPr bwMode="auto">
            <a:xfrm>
              <a:off x="10633084" y="2860680"/>
              <a:ext cx="479425" cy="784226"/>
            </a:xfrm>
            <a:custGeom>
              <a:avLst/>
              <a:gdLst>
                <a:gd name="T0" fmla="*/ 140 w 140"/>
                <a:gd name="T1" fmla="*/ 212 h 230"/>
                <a:gd name="T2" fmla="*/ 123 w 140"/>
                <a:gd name="T3" fmla="*/ 228 h 230"/>
                <a:gd name="T4" fmla="*/ 17 w 140"/>
                <a:gd name="T5" fmla="*/ 205 h 230"/>
                <a:gd name="T6" fmla="*/ 0 w 140"/>
                <a:gd name="T7" fmla="*/ 181 h 230"/>
                <a:gd name="T8" fmla="*/ 0 w 140"/>
                <a:gd name="T9" fmla="*/ 18 h 230"/>
                <a:gd name="T10" fmla="*/ 17 w 140"/>
                <a:gd name="T11" fmla="*/ 2 h 230"/>
                <a:gd name="T12" fmla="*/ 123 w 140"/>
                <a:gd name="T13" fmla="*/ 25 h 230"/>
                <a:gd name="T14" fmla="*/ 140 w 140"/>
                <a:gd name="T15" fmla="*/ 49 h 230"/>
                <a:gd name="T16" fmla="*/ 140 w 140"/>
                <a:gd name="T17" fmla="*/ 212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0" h="230">
                  <a:moveTo>
                    <a:pt x="140" y="212"/>
                  </a:moveTo>
                  <a:cubicBezTo>
                    <a:pt x="140" y="223"/>
                    <a:pt x="132" y="230"/>
                    <a:pt x="123" y="228"/>
                  </a:cubicBezTo>
                  <a:cubicBezTo>
                    <a:pt x="17" y="205"/>
                    <a:pt x="17" y="205"/>
                    <a:pt x="17" y="205"/>
                  </a:cubicBezTo>
                  <a:cubicBezTo>
                    <a:pt x="8" y="203"/>
                    <a:pt x="0" y="192"/>
                    <a:pt x="0" y="181"/>
                  </a:cubicBezTo>
                  <a:cubicBezTo>
                    <a:pt x="0" y="18"/>
                    <a:pt x="0" y="18"/>
                    <a:pt x="0" y="18"/>
                  </a:cubicBezTo>
                  <a:cubicBezTo>
                    <a:pt x="0" y="7"/>
                    <a:pt x="8" y="0"/>
                    <a:pt x="17" y="2"/>
                  </a:cubicBezTo>
                  <a:cubicBezTo>
                    <a:pt x="123" y="25"/>
                    <a:pt x="123" y="25"/>
                    <a:pt x="123" y="25"/>
                  </a:cubicBezTo>
                  <a:cubicBezTo>
                    <a:pt x="132" y="28"/>
                    <a:pt x="140" y="38"/>
                    <a:pt x="140" y="49"/>
                  </a:cubicBezTo>
                  <a:lnTo>
                    <a:pt x="140" y="212"/>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grpSp>
        <p:nvGrpSpPr>
          <p:cNvPr id="112" name="Group 111"/>
          <p:cNvGrpSpPr/>
          <p:nvPr/>
        </p:nvGrpSpPr>
        <p:grpSpPr>
          <a:xfrm>
            <a:off x="10975875" y="5047232"/>
            <a:ext cx="573476" cy="761306"/>
            <a:chOff x="11712585" y="2944817"/>
            <a:chExt cx="455613" cy="604838"/>
          </a:xfrm>
        </p:grpSpPr>
        <p:sp>
          <p:nvSpPr>
            <p:cNvPr id="113" name="Freeform 80"/>
            <p:cNvSpPr>
              <a:spLocks/>
            </p:cNvSpPr>
            <p:nvPr/>
          </p:nvSpPr>
          <p:spPr bwMode="auto">
            <a:xfrm>
              <a:off x="11712585" y="2944817"/>
              <a:ext cx="455613" cy="604838"/>
            </a:xfrm>
            <a:custGeom>
              <a:avLst/>
              <a:gdLst>
                <a:gd name="T0" fmla="*/ 287 w 287"/>
                <a:gd name="T1" fmla="*/ 381 h 381"/>
                <a:gd name="T2" fmla="*/ 0 w 287"/>
                <a:gd name="T3" fmla="*/ 381 h 381"/>
                <a:gd name="T4" fmla="*/ 0 w 287"/>
                <a:gd name="T5" fmla="*/ 86 h 381"/>
                <a:gd name="T6" fmla="*/ 91 w 287"/>
                <a:gd name="T7" fmla="*/ 0 h 381"/>
                <a:gd name="T8" fmla="*/ 287 w 287"/>
                <a:gd name="T9" fmla="*/ 0 h 381"/>
                <a:gd name="T10" fmla="*/ 287 w 287"/>
                <a:gd name="T11" fmla="*/ 381 h 381"/>
              </a:gdLst>
              <a:ahLst/>
              <a:cxnLst>
                <a:cxn ang="0">
                  <a:pos x="T0" y="T1"/>
                </a:cxn>
                <a:cxn ang="0">
                  <a:pos x="T2" y="T3"/>
                </a:cxn>
                <a:cxn ang="0">
                  <a:pos x="T4" y="T5"/>
                </a:cxn>
                <a:cxn ang="0">
                  <a:pos x="T6" y="T7"/>
                </a:cxn>
                <a:cxn ang="0">
                  <a:pos x="T8" y="T9"/>
                </a:cxn>
                <a:cxn ang="0">
                  <a:pos x="T10" y="T11"/>
                </a:cxn>
              </a:cxnLst>
              <a:rect l="0" t="0" r="r" b="b"/>
              <a:pathLst>
                <a:path w="287" h="381">
                  <a:moveTo>
                    <a:pt x="287" y="381"/>
                  </a:moveTo>
                  <a:lnTo>
                    <a:pt x="0" y="381"/>
                  </a:lnTo>
                  <a:lnTo>
                    <a:pt x="0" y="86"/>
                  </a:lnTo>
                  <a:lnTo>
                    <a:pt x="91" y="0"/>
                  </a:lnTo>
                  <a:lnTo>
                    <a:pt x="287" y="0"/>
                  </a:lnTo>
                  <a:lnTo>
                    <a:pt x="287" y="38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14" name="Freeform 81"/>
            <p:cNvSpPr>
              <a:spLocks/>
            </p:cNvSpPr>
            <p:nvPr/>
          </p:nvSpPr>
          <p:spPr bwMode="auto">
            <a:xfrm>
              <a:off x="11712585" y="2944817"/>
              <a:ext cx="144463" cy="136525"/>
            </a:xfrm>
            <a:custGeom>
              <a:avLst/>
              <a:gdLst>
                <a:gd name="T0" fmla="*/ 91 w 91"/>
                <a:gd name="T1" fmla="*/ 86 h 86"/>
                <a:gd name="T2" fmla="*/ 0 w 91"/>
                <a:gd name="T3" fmla="*/ 86 h 86"/>
                <a:gd name="T4" fmla="*/ 91 w 91"/>
                <a:gd name="T5" fmla="*/ 0 h 86"/>
                <a:gd name="T6" fmla="*/ 91 w 91"/>
                <a:gd name="T7" fmla="*/ 86 h 86"/>
              </a:gdLst>
              <a:ahLst/>
              <a:cxnLst>
                <a:cxn ang="0">
                  <a:pos x="T0" y="T1"/>
                </a:cxn>
                <a:cxn ang="0">
                  <a:pos x="T2" y="T3"/>
                </a:cxn>
                <a:cxn ang="0">
                  <a:pos x="T4" y="T5"/>
                </a:cxn>
                <a:cxn ang="0">
                  <a:pos x="T6" y="T7"/>
                </a:cxn>
              </a:cxnLst>
              <a:rect l="0" t="0" r="r" b="b"/>
              <a:pathLst>
                <a:path w="91" h="86">
                  <a:moveTo>
                    <a:pt x="91" y="86"/>
                  </a:moveTo>
                  <a:lnTo>
                    <a:pt x="0" y="86"/>
                  </a:lnTo>
                  <a:lnTo>
                    <a:pt x="91" y="0"/>
                  </a:lnTo>
                  <a:lnTo>
                    <a:pt x="91" y="86"/>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15" name="Freeform 82"/>
            <p:cNvSpPr>
              <a:spLocks/>
            </p:cNvSpPr>
            <p:nvPr/>
          </p:nvSpPr>
          <p:spPr bwMode="auto">
            <a:xfrm>
              <a:off x="11760210" y="3113093"/>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16" name="Freeform 83"/>
            <p:cNvSpPr>
              <a:spLocks/>
            </p:cNvSpPr>
            <p:nvPr/>
          </p:nvSpPr>
          <p:spPr bwMode="auto">
            <a:xfrm>
              <a:off x="11760210" y="3160718"/>
              <a:ext cx="153988" cy="9525"/>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3"/>
                    <a:pt x="45" y="2"/>
                  </a:cubicBezTo>
                  <a:cubicBezTo>
                    <a:pt x="45" y="1"/>
                    <a:pt x="44" y="0"/>
                    <a:pt x="43" y="0"/>
                  </a:cubicBezTo>
                  <a:cubicBezTo>
                    <a:pt x="1" y="0"/>
                    <a:pt x="1" y="0"/>
                    <a:pt x="1" y="0"/>
                  </a:cubicBezTo>
                  <a:cubicBezTo>
                    <a:pt x="0" y="0"/>
                    <a:pt x="0" y="1"/>
                    <a:pt x="0" y="2"/>
                  </a:cubicBezTo>
                  <a:cubicBezTo>
                    <a:pt x="0" y="3"/>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17" name="Freeform 84"/>
            <p:cNvSpPr>
              <a:spLocks/>
            </p:cNvSpPr>
            <p:nvPr/>
          </p:nvSpPr>
          <p:spPr bwMode="auto">
            <a:xfrm>
              <a:off x="11760210" y="3211518"/>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0"/>
                    <a:pt x="44" y="0"/>
                    <a:pt x="43" y="0"/>
                  </a:cubicBezTo>
                  <a:cubicBezTo>
                    <a:pt x="1" y="0"/>
                    <a:pt x="1" y="0"/>
                    <a:pt x="1" y="0"/>
                  </a:cubicBezTo>
                  <a:cubicBezTo>
                    <a:pt x="0" y="0"/>
                    <a:pt x="0" y="0"/>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18" name="Freeform 85"/>
            <p:cNvSpPr>
              <a:spLocks/>
            </p:cNvSpPr>
            <p:nvPr/>
          </p:nvSpPr>
          <p:spPr bwMode="auto">
            <a:xfrm>
              <a:off x="11760210" y="3259143"/>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19" name="Freeform 86"/>
            <p:cNvSpPr>
              <a:spLocks/>
            </p:cNvSpPr>
            <p:nvPr/>
          </p:nvSpPr>
          <p:spPr bwMode="auto">
            <a:xfrm>
              <a:off x="11760210" y="3405193"/>
              <a:ext cx="153988" cy="11113"/>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2"/>
                  </a:cubicBezTo>
                  <a:cubicBezTo>
                    <a:pt x="45" y="1"/>
                    <a:pt x="44" y="0"/>
                    <a:pt x="43" y="0"/>
                  </a:cubicBezTo>
                  <a:cubicBezTo>
                    <a:pt x="1" y="0"/>
                    <a:pt x="1" y="0"/>
                    <a:pt x="1" y="0"/>
                  </a:cubicBezTo>
                  <a:cubicBezTo>
                    <a:pt x="0" y="0"/>
                    <a:pt x="0" y="1"/>
                    <a:pt x="0" y="2"/>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20" name="Freeform 87"/>
            <p:cNvSpPr>
              <a:spLocks/>
            </p:cNvSpPr>
            <p:nvPr/>
          </p:nvSpPr>
          <p:spPr bwMode="auto">
            <a:xfrm>
              <a:off x="11760210" y="3457581"/>
              <a:ext cx="153988" cy="6350"/>
            </a:xfrm>
            <a:custGeom>
              <a:avLst/>
              <a:gdLst>
                <a:gd name="T0" fmla="*/ 1 w 45"/>
                <a:gd name="T1" fmla="*/ 2 h 2"/>
                <a:gd name="T2" fmla="*/ 43 w 45"/>
                <a:gd name="T3" fmla="*/ 2 h 2"/>
                <a:gd name="T4" fmla="*/ 45 w 45"/>
                <a:gd name="T5" fmla="*/ 1 h 2"/>
                <a:gd name="T6" fmla="*/ 43 w 45"/>
                <a:gd name="T7" fmla="*/ 0 h 2"/>
                <a:gd name="T8" fmla="*/ 1 w 45"/>
                <a:gd name="T9" fmla="*/ 0 h 2"/>
                <a:gd name="T10" fmla="*/ 0 w 45"/>
                <a:gd name="T11" fmla="*/ 1 h 2"/>
                <a:gd name="T12" fmla="*/ 1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1" y="2"/>
                  </a:moveTo>
                  <a:cubicBezTo>
                    <a:pt x="43" y="2"/>
                    <a:pt x="43" y="2"/>
                    <a:pt x="43" y="2"/>
                  </a:cubicBezTo>
                  <a:cubicBezTo>
                    <a:pt x="44" y="2"/>
                    <a:pt x="45" y="2"/>
                    <a:pt x="45" y="1"/>
                  </a:cubicBezTo>
                  <a:cubicBezTo>
                    <a:pt x="45" y="0"/>
                    <a:pt x="44" y="0"/>
                    <a:pt x="43" y="0"/>
                  </a:cubicBezTo>
                  <a:cubicBezTo>
                    <a:pt x="1" y="0"/>
                    <a:pt x="1" y="0"/>
                    <a:pt x="1" y="0"/>
                  </a:cubicBezTo>
                  <a:cubicBezTo>
                    <a:pt x="0" y="0"/>
                    <a:pt x="0" y="0"/>
                    <a:pt x="0" y="1"/>
                  </a:cubicBezTo>
                  <a:cubicBezTo>
                    <a:pt x="0" y="2"/>
                    <a:pt x="0" y="2"/>
                    <a:pt x="1"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21" name="Freeform 88"/>
            <p:cNvSpPr>
              <a:spLocks/>
            </p:cNvSpPr>
            <p:nvPr/>
          </p:nvSpPr>
          <p:spPr bwMode="auto">
            <a:xfrm>
              <a:off x="11969760" y="3065468"/>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22" name="Freeform 89"/>
            <p:cNvSpPr>
              <a:spLocks/>
            </p:cNvSpPr>
            <p:nvPr/>
          </p:nvSpPr>
          <p:spPr bwMode="auto">
            <a:xfrm>
              <a:off x="11969760" y="3013080"/>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23" name="Freeform 90"/>
            <p:cNvSpPr>
              <a:spLocks/>
            </p:cNvSpPr>
            <p:nvPr/>
          </p:nvSpPr>
          <p:spPr bwMode="auto">
            <a:xfrm>
              <a:off x="11969760" y="3259143"/>
              <a:ext cx="153988" cy="9525"/>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1"/>
                    <a:pt x="45" y="0"/>
                    <a:pt x="44" y="0"/>
                  </a:cubicBezTo>
                  <a:cubicBezTo>
                    <a:pt x="2" y="0"/>
                    <a:pt x="2" y="0"/>
                    <a:pt x="2" y="0"/>
                  </a:cubicBezTo>
                  <a:cubicBezTo>
                    <a:pt x="1" y="0"/>
                    <a:pt x="0" y="1"/>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24" name="Freeform 91"/>
            <p:cNvSpPr>
              <a:spLocks/>
            </p:cNvSpPr>
            <p:nvPr/>
          </p:nvSpPr>
          <p:spPr bwMode="auto">
            <a:xfrm>
              <a:off x="11969760" y="3306768"/>
              <a:ext cx="153988" cy="9525"/>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3"/>
                    <a:pt x="45" y="2"/>
                  </a:cubicBezTo>
                  <a:cubicBezTo>
                    <a:pt x="45" y="1"/>
                    <a:pt x="45" y="0"/>
                    <a:pt x="44" y="0"/>
                  </a:cubicBezTo>
                  <a:cubicBezTo>
                    <a:pt x="2" y="0"/>
                    <a:pt x="2" y="0"/>
                    <a:pt x="2" y="0"/>
                  </a:cubicBezTo>
                  <a:cubicBezTo>
                    <a:pt x="1" y="0"/>
                    <a:pt x="0" y="1"/>
                    <a:pt x="0" y="2"/>
                  </a:cubicBezTo>
                  <a:cubicBezTo>
                    <a:pt x="0" y="3"/>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25" name="Freeform 92"/>
            <p:cNvSpPr>
              <a:spLocks/>
            </p:cNvSpPr>
            <p:nvPr/>
          </p:nvSpPr>
          <p:spPr bwMode="auto">
            <a:xfrm>
              <a:off x="11969760" y="3357568"/>
              <a:ext cx="153988" cy="11113"/>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0"/>
                    <a:pt x="45" y="0"/>
                    <a:pt x="44" y="0"/>
                  </a:cubicBezTo>
                  <a:cubicBezTo>
                    <a:pt x="2" y="0"/>
                    <a:pt x="2" y="0"/>
                    <a:pt x="2" y="0"/>
                  </a:cubicBezTo>
                  <a:cubicBezTo>
                    <a:pt x="1" y="0"/>
                    <a:pt x="0" y="0"/>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26" name="Freeform 93"/>
            <p:cNvSpPr>
              <a:spLocks/>
            </p:cNvSpPr>
            <p:nvPr/>
          </p:nvSpPr>
          <p:spPr bwMode="auto">
            <a:xfrm>
              <a:off x="11969760" y="3405193"/>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27" name="Freeform 94"/>
            <p:cNvSpPr>
              <a:spLocks/>
            </p:cNvSpPr>
            <p:nvPr/>
          </p:nvSpPr>
          <p:spPr bwMode="auto">
            <a:xfrm>
              <a:off x="11969760" y="3457581"/>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28" name="Rectangle 95"/>
            <p:cNvSpPr>
              <a:spLocks noChangeArrowheads="1"/>
            </p:cNvSpPr>
            <p:nvPr/>
          </p:nvSpPr>
          <p:spPr bwMode="auto">
            <a:xfrm>
              <a:off x="11976110" y="3092455"/>
              <a:ext cx="144463" cy="146050"/>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29" name="Rectangle 96"/>
            <p:cNvSpPr>
              <a:spLocks noChangeArrowheads="1"/>
            </p:cNvSpPr>
            <p:nvPr/>
          </p:nvSpPr>
          <p:spPr bwMode="auto">
            <a:xfrm>
              <a:off x="11760210" y="3286131"/>
              <a:ext cx="147638" cy="98425"/>
            </a:xfrm>
            <a:prstGeom prst="rect">
              <a:avLst/>
            </a:prstGeom>
            <a:solidFill>
              <a:srgbClr val="40CD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cxnSp>
        <p:nvCxnSpPr>
          <p:cNvPr id="131" name="Straight Connector 130"/>
          <p:cNvCxnSpPr>
            <a:stCxn id="135" idx="1"/>
            <a:endCxn id="139" idx="3"/>
          </p:cNvCxnSpPr>
          <p:nvPr/>
        </p:nvCxnSpPr>
        <p:spPr>
          <a:xfrm flipH="1">
            <a:off x="7037643" y="2707698"/>
            <a:ext cx="1394757" cy="0"/>
          </a:xfrm>
          <a:prstGeom prst="line">
            <a:avLst/>
          </a:prstGeom>
          <a:ln w="38100" cap="sq">
            <a:solidFill>
              <a:schemeClr val="accent1"/>
            </a:solidFill>
            <a:prstDash val="sysDash"/>
            <a:miter lim="800000"/>
            <a:headEnd type="triangle" w="lg" len="med"/>
            <a:tailEnd type="triangle" w="lg" len="med"/>
          </a:ln>
        </p:spPr>
        <p:style>
          <a:lnRef idx="1">
            <a:schemeClr val="accent1"/>
          </a:lnRef>
          <a:fillRef idx="0">
            <a:schemeClr val="accent1"/>
          </a:fillRef>
          <a:effectRef idx="0">
            <a:schemeClr val="accent1"/>
          </a:effectRef>
          <a:fontRef idx="minor">
            <a:schemeClr val="tx1"/>
          </a:fontRef>
        </p:style>
      </p:cxnSp>
      <p:sp>
        <p:nvSpPr>
          <p:cNvPr id="134" name="TextBox 133"/>
          <p:cNvSpPr txBox="1"/>
          <p:nvPr/>
        </p:nvSpPr>
        <p:spPr>
          <a:xfrm>
            <a:off x="7735021" y="2963136"/>
            <a:ext cx="1056678" cy="313932"/>
          </a:xfrm>
          <a:prstGeom prst="rect">
            <a:avLst/>
          </a:prstGeom>
          <a:noFill/>
        </p:spPr>
        <p:txBody>
          <a:bodyPr wrap="square" lIns="91440" tIns="73152" rIns="91440" bIns="73152" rtlCol="0">
            <a:spAutoFit/>
          </a:body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US" sz="1200" b="0" i="0" u="none" strike="noStrike" kern="0" cap="none" spc="0" normalizeH="0" baseline="0" noProof="0" dirty="0">
                <a:ln>
                  <a:noFill/>
                </a:ln>
                <a:solidFill>
                  <a:schemeClr val="bg1"/>
                </a:solidFill>
                <a:effectLst/>
                <a:uLnTx/>
                <a:uFillTx/>
              </a:rPr>
              <a:t>Default ACLS</a:t>
            </a:r>
          </a:p>
        </p:txBody>
      </p:sp>
      <p:sp>
        <p:nvSpPr>
          <p:cNvPr id="135" name="TextBox 134"/>
          <p:cNvSpPr txBox="1"/>
          <p:nvPr/>
        </p:nvSpPr>
        <p:spPr>
          <a:xfrm>
            <a:off x="8432400" y="2550732"/>
            <a:ext cx="1056678" cy="313932"/>
          </a:xfrm>
          <a:prstGeom prst="rect">
            <a:avLst/>
          </a:prstGeom>
          <a:noFill/>
        </p:spPr>
        <p:txBody>
          <a:bodyPr wrap="square" lIns="91440" tIns="73152" rIns="91440" bIns="73152" rtlCol="0">
            <a:spAutoFit/>
          </a:body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US" sz="1200" b="0" i="0" u="none" strike="noStrike" kern="0" cap="none" spc="0" normalizeH="0" baseline="0" noProof="0" dirty="0">
                <a:ln>
                  <a:noFill/>
                </a:ln>
                <a:solidFill>
                  <a:schemeClr val="bg1"/>
                </a:solidFill>
                <a:effectLst/>
                <a:uLnTx/>
                <a:uFillTx/>
              </a:rPr>
              <a:t>Access ACLS</a:t>
            </a:r>
          </a:p>
        </p:txBody>
      </p:sp>
      <p:sp>
        <p:nvSpPr>
          <p:cNvPr id="136" name="TextBox 135"/>
          <p:cNvSpPr txBox="1"/>
          <p:nvPr/>
        </p:nvSpPr>
        <p:spPr>
          <a:xfrm>
            <a:off x="7360636" y="5032197"/>
            <a:ext cx="1056678" cy="313932"/>
          </a:xfrm>
          <a:prstGeom prst="rect">
            <a:avLst/>
          </a:prstGeom>
          <a:noFill/>
        </p:spPr>
        <p:txBody>
          <a:bodyPr wrap="square" lIns="91440" tIns="73152" rIns="91440" bIns="73152" rtlCol="0">
            <a:spAutoFit/>
          </a:body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US" sz="1200" b="0" i="0" u="none" strike="noStrike" kern="0" cap="none" spc="0" normalizeH="0" baseline="0" noProof="0" dirty="0">
                <a:ln>
                  <a:noFill/>
                </a:ln>
                <a:solidFill>
                  <a:schemeClr val="bg1"/>
                </a:solidFill>
                <a:effectLst/>
                <a:uLnTx/>
                <a:uFillTx/>
              </a:rPr>
              <a:t>Default ACLS</a:t>
            </a:r>
          </a:p>
        </p:txBody>
      </p:sp>
      <p:sp>
        <p:nvSpPr>
          <p:cNvPr id="137" name="TextBox 136"/>
          <p:cNvSpPr txBox="1"/>
          <p:nvPr/>
        </p:nvSpPr>
        <p:spPr>
          <a:xfrm>
            <a:off x="7399119" y="5543642"/>
            <a:ext cx="1056678" cy="313932"/>
          </a:xfrm>
          <a:prstGeom prst="rect">
            <a:avLst/>
          </a:prstGeom>
          <a:noFill/>
        </p:spPr>
        <p:txBody>
          <a:bodyPr wrap="square" lIns="91440" tIns="73152" rIns="91440" bIns="73152" rtlCol="0">
            <a:spAutoFit/>
          </a:body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US" sz="1200" b="0" i="0" u="none" strike="noStrike" kern="0" cap="none" spc="0" normalizeH="0" baseline="0" noProof="0" dirty="0">
                <a:ln>
                  <a:noFill/>
                </a:ln>
                <a:solidFill>
                  <a:schemeClr val="bg1"/>
                </a:solidFill>
                <a:effectLst/>
                <a:uLnTx/>
                <a:uFillTx/>
              </a:rPr>
              <a:t>Access ACLS</a:t>
            </a:r>
          </a:p>
        </p:txBody>
      </p:sp>
      <p:sp>
        <p:nvSpPr>
          <p:cNvPr id="138" name="TextBox 137"/>
          <p:cNvSpPr txBox="1"/>
          <p:nvPr/>
        </p:nvSpPr>
        <p:spPr>
          <a:xfrm>
            <a:off x="9432952" y="5543642"/>
            <a:ext cx="1056678" cy="313932"/>
          </a:xfrm>
          <a:prstGeom prst="rect">
            <a:avLst/>
          </a:prstGeom>
          <a:noFill/>
        </p:spPr>
        <p:txBody>
          <a:bodyPr wrap="square" lIns="91440" tIns="73152" rIns="91440" bIns="73152" rtlCol="0">
            <a:spAutoFit/>
          </a:body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US" sz="1200" b="0" i="0" u="none" strike="noStrike" kern="0" cap="none" spc="0" normalizeH="0" baseline="0" noProof="0" dirty="0">
                <a:ln>
                  <a:noFill/>
                </a:ln>
                <a:solidFill>
                  <a:schemeClr val="bg1"/>
                </a:solidFill>
                <a:effectLst/>
                <a:uLnTx/>
                <a:uFillTx/>
              </a:rPr>
              <a:t>Access ACLS</a:t>
            </a:r>
          </a:p>
        </p:txBody>
      </p:sp>
      <p:sp>
        <p:nvSpPr>
          <p:cNvPr id="139" name="TextBox 138"/>
          <p:cNvSpPr txBox="1"/>
          <p:nvPr/>
        </p:nvSpPr>
        <p:spPr>
          <a:xfrm>
            <a:off x="5980965" y="2550732"/>
            <a:ext cx="1056678" cy="313932"/>
          </a:xfrm>
          <a:prstGeom prst="rect">
            <a:avLst/>
          </a:prstGeom>
          <a:noFill/>
        </p:spPr>
        <p:txBody>
          <a:bodyPr wrap="square" lIns="91440" tIns="73152" rIns="91440" bIns="73152" rtlCol="0">
            <a:spAutoFit/>
          </a:body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US" sz="1200" b="0" i="0" u="none" strike="noStrike" kern="0" cap="none" spc="0" normalizeH="0" baseline="0" noProof="0" dirty="0">
                <a:ln>
                  <a:noFill/>
                </a:ln>
                <a:solidFill>
                  <a:schemeClr val="bg1"/>
                </a:solidFill>
                <a:effectLst/>
                <a:uLnTx/>
                <a:uFillTx/>
              </a:rPr>
              <a:t>Access ACLS</a:t>
            </a:r>
          </a:p>
        </p:txBody>
      </p:sp>
      <p:cxnSp>
        <p:nvCxnSpPr>
          <p:cNvPr id="146" name="Straight Connector 145"/>
          <p:cNvCxnSpPr/>
          <p:nvPr/>
        </p:nvCxnSpPr>
        <p:spPr>
          <a:xfrm>
            <a:off x="8955980" y="2891640"/>
            <a:ext cx="1" cy="2801005"/>
          </a:xfrm>
          <a:prstGeom prst="line">
            <a:avLst/>
          </a:prstGeom>
          <a:ln w="38100" cap="sq">
            <a:solidFill>
              <a:schemeClr val="accent1"/>
            </a:solidFill>
            <a:prstDash val="sysDash"/>
            <a:miter lim="800000"/>
            <a:headEnd type="none" w="med" len="med"/>
            <a:tailEnd type="none" w="lg" len="med"/>
          </a:ln>
        </p:spPr>
        <p:style>
          <a:lnRef idx="1">
            <a:schemeClr val="accent1"/>
          </a:lnRef>
          <a:fillRef idx="0">
            <a:schemeClr val="accent1"/>
          </a:fillRef>
          <a:effectRef idx="0">
            <a:schemeClr val="accent1"/>
          </a:effectRef>
          <a:fontRef idx="minor">
            <a:schemeClr val="tx1"/>
          </a:fontRef>
        </p:style>
      </p:cxnSp>
      <p:cxnSp>
        <p:nvCxnSpPr>
          <p:cNvPr id="154" name="Straight Connector 153"/>
          <p:cNvCxnSpPr>
            <a:stCxn id="138" idx="1"/>
            <a:endCxn id="137" idx="3"/>
          </p:cNvCxnSpPr>
          <p:nvPr/>
        </p:nvCxnSpPr>
        <p:spPr>
          <a:xfrm flipH="1">
            <a:off x="8455797" y="5700608"/>
            <a:ext cx="977155" cy="0"/>
          </a:xfrm>
          <a:prstGeom prst="line">
            <a:avLst/>
          </a:prstGeom>
          <a:ln w="38100" cap="sq">
            <a:solidFill>
              <a:schemeClr val="accent1"/>
            </a:solidFill>
            <a:prstDash val="sysDash"/>
            <a:miter lim="800000"/>
            <a:headEnd type="triangle" w="lg" len="med"/>
            <a:tailEnd type="triangle" w="lg" len="med"/>
          </a:ln>
        </p:spPr>
        <p:style>
          <a:lnRef idx="1">
            <a:schemeClr val="accent1"/>
          </a:lnRef>
          <a:fillRef idx="0">
            <a:schemeClr val="accent1"/>
          </a:fillRef>
          <a:effectRef idx="0">
            <a:schemeClr val="accent1"/>
          </a:effectRef>
          <a:fontRef idx="minor">
            <a:schemeClr val="tx1"/>
          </a:fontRef>
        </p:style>
      </p:cxnSp>
      <p:grpSp>
        <p:nvGrpSpPr>
          <p:cNvPr id="158" name="Group 157"/>
          <p:cNvGrpSpPr/>
          <p:nvPr/>
        </p:nvGrpSpPr>
        <p:grpSpPr>
          <a:xfrm>
            <a:off x="4879150" y="2484011"/>
            <a:ext cx="573476" cy="761306"/>
            <a:chOff x="11712585" y="2944817"/>
            <a:chExt cx="455613" cy="604838"/>
          </a:xfrm>
        </p:grpSpPr>
        <p:sp>
          <p:nvSpPr>
            <p:cNvPr id="159" name="Freeform 80"/>
            <p:cNvSpPr>
              <a:spLocks/>
            </p:cNvSpPr>
            <p:nvPr/>
          </p:nvSpPr>
          <p:spPr bwMode="auto">
            <a:xfrm>
              <a:off x="11712585" y="2944817"/>
              <a:ext cx="455613" cy="604838"/>
            </a:xfrm>
            <a:custGeom>
              <a:avLst/>
              <a:gdLst>
                <a:gd name="T0" fmla="*/ 287 w 287"/>
                <a:gd name="T1" fmla="*/ 381 h 381"/>
                <a:gd name="T2" fmla="*/ 0 w 287"/>
                <a:gd name="T3" fmla="*/ 381 h 381"/>
                <a:gd name="T4" fmla="*/ 0 w 287"/>
                <a:gd name="T5" fmla="*/ 86 h 381"/>
                <a:gd name="T6" fmla="*/ 91 w 287"/>
                <a:gd name="T7" fmla="*/ 0 h 381"/>
                <a:gd name="T8" fmla="*/ 287 w 287"/>
                <a:gd name="T9" fmla="*/ 0 h 381"/>
                <a:gd name="T10" fmla="*/ 287 w 287"/>
                <a:gd name="T11" fmla="*/ 381 h 381"/>
              </a:gdLst>
              <a:ahLst/>
              <a:cxnLst>
                <a:cxn ang="0">
                  <a:pos x="T0" y="T1"/>
                </a:cxn>
                <a:cxn ang="0">
                  <a:pos x="T2" y="T3"/>
                </a:cxn>
                <a:cxn ang="0">
                  <a:pos x="T4" y="T5"/>
                </a:cxn>
                <a:cxn ang="0">
                  <a:pos x="T6" y="T7"/>
                </a:cxn>
                <a:cxn ang="0">
                  <a:pos x="T8" y="T9"/>
                </a:cxn>
                <a:cxn ang="0">
                  <a:pos x="T10" y="T11"/>
                </a:cxn>
              </a:cxnLst>
              <a:rect l="0" t="0" r="r" b="b"/>
              <a:pathLst>
                <a:path w="287" h="381">
                  <a:moveTo>
                    <a:pt x="287" y="381"/>
                  </a:moveTo>
                  <a:lnTo>
                    <a:pt x="0" y="381"/>
                  </a:lnTo>
                  <a:lnTo>
                    <a:pt x="0" y="86"/>
                  </a:lnTo>
                  <a:lnTo>
                    <a:pt x="91" y="0"/>
                  </a:lnTo>
                  <a:lnTo>
                    <a:pt x="287" y="0"/>
                  </a:lnTo>
                  <a:lnTo>
                    <a:pt x="287" y="38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60" name="Freeform 81"/>
            <p:cNvSpPr>
              <a:spLocks/>
            </p:cNvSpPr>
            <p:nvPr/>
          </p:nvSpPr>
          <p:spPr bwMode="auto">
            <a:xfrm>
              <a:off x="11712585" y="2944817"/>
              <a:ext cx="144463" cy="136525"/>
            </a:xfrm>
            <a:custGeom>
              <a:avLst/>
              <a:gdLst>
                <a:gd name="T0" fmla="*/ 91 w 91"/>
                <a:gd name="T1" fmla="*/ 86 h 86"/>
                <a:gd name="T2" fmla="*/ 0 w 91"/>
                <a:gd name="T3" fmla="*/ 86 h 86"/>
                <a:gd name="T4" fmla="*/ 91 w 91"/>
                <a:gd name="T5" fmla="*/ 0 h 86"/>
                <a:gd name="T6" fmla="*/ 91 w 91"/>
                <a:gd name="T7" fmla="*/ 86 h 86"/>
              </a:gdLst>
              <a:ahLst/>
              <a:cxnLst>
                <a:cxn ang="0">
                  <a:pos x="T0" y="T1"/>
                </a:cxn>
                <a:cxn ang="0">
                  <a:pos x="T2" y="T3"/>
                </a:cxn>
                <a:cxn ang="0">
                  <a:pos x="T4" y="T5"/>
                </a:cxn>
                <a:cxn ang="0">
                  <a:pos x="T6" y="T7"/>
                </a:cxn>
              </a:cxnLst>
              <a:rect l="0" t="0" r="r" b="b"/>
              <a:pathLst>
                <a:path w="91" h="86">
                  <a:moveTo>
                    <a:pt x="91" y="86"/>
                  </a:moveTo>
                  <a:lnTo>
                    <a:pt x="0" y="86"/>
                  </a:lnTo>
                  <a:lnTo>
                    <a:pt x="91" y="0"/>
                  </a:lnTo>
                  <a:lnTo>
                    <a:pt x="91" y="86"/>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61" name="Freeform 82"/>
            <p:cNvSpPr>
              <a:spLocks/>
            </p:cNvSpPr>
            <p:nvPr/>
          </p:nvSpPr>
          <p:spPr bwMode="auto">
            <a:xfrm>
              <a:off x="11760210" y="3113093"/>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62" name="Freeform 83"/>
            <p:cNvSpPr>
              <a:spLocks/>
            </p:cNvSpPr>
            <p:nvPr/>
          </p:nvSpPr>
          <p:spPr bwMode="auto">
            <a:xfrm>
              <a:off x="11760210" y="3160718"/>
              <a:ext cx="153988" cy="9525"/>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3"/>
                    <a:pt x="45" y="2"/>
                  </a:cubicBezTo>
                  <a:cubicBezTo>
                    <a:pt x="45" y="1"/>
                    <a:pt x="44" y="0"/>
                    <a:pt x="43" y="0"/>
                  </a:cubicBezTo>
                  <a:cubicBezTo>
                    <a:pt x="1" y="0"/>
                    <a:pt x="1" y="0"/>
                    <a:pt x="1" y="0"/>
                  </a:cubicBezTo>
                  <a:cubicBezTo>
                    <a:pt x="0" y="0"/>
                    <a:pt x="0" y="1"/>
                    <a:pt x="0" y="2"/>
                  </a:cubicBezTo>
                  <a:cubicBezTo>
                    <a:pt x="0" y="3"/>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63" name="Freeform 84"/>
            <p:cNvSpPr>
              <a:spLocks/>
            </p:cNvSpPr>
            <p:nvPr/>
          </p:nvSpPr>
          <p:spPr bwMode="auto">
            <a:xfrm>
              <a:off x="11760210" y="3211518"/>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0"/>
                    <a:pt x="44" y="0"/>
                    <a:pt x="43" y="0"/>
                  </a:cubicBezTo>
                  <a:cubicBezTo>
                    <a:pt x="1" y="0"/>
                    <a:pt x="1" y="0"/>
                    <a:pt x="1" y="0"/>
                  </a:cubicBezTo>
                  <a:cubicBezTo>
                    <a:pt x="0" y="0"/>
                    <a:pt x="0" y="0"/>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64" name="Freeform 85"/>
            <p:cNvSpPr>
              <a:spLocks/>
            </p:cNvSpPr>
            <p:nvPr/>
          </p:nvSpPr>
          <p:spPr bwMode="auto">
            <a:xfrm>
              <a:off x="11760210" y="3259143"/>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65" name="Freeform 86"/>
            <p:cNvSpPr>
              <a:spLocks/>
            </p:cNvSpPr>
            <p:nvPr/>
          </p:nvSpPr>
          <p:spPr bwMode="auto">
            <a:xfrm>
              <a:off x="11760210" y="3405193"/>
              <a:ext cx="153988" cy="11113"/>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2"/>
                  </a:cubicBezTo>
                  <a:cubicBezTo>
                    <a:pt x="45" y="1"/>
                    <a:pt x="44" y="0"/>
                    <a:pt x="43" y="0"/>
                  </a:cubicBezTo>
                  <a:cubicBezTo>
                    <a:pt x="1" y="0"/>
                    <a:pt x="1" y="0"/>
                    <a:pt x="1" y="0"/>
                  </a:cubicBezTo>
                  <a:cubicBezTo>
                    <a:pt x="0" y="0"/>
                    <a:pt x="0" y="1"/>
                    <a:pt x="0" y="2"/>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66" name="Freeform 87"/>
            <p:cNvSpPr>
              <a:spLocks/>
            </p:cNvSpPr>
            <p:nvPr/>
          </p:nvSpPr>
          <p:spPr bwMode="auto">
            <a:xfrm>
              <a:off x="11760210" y="3457581"/>
              <a:ext cx="153988" cy="6350"/>
            </a:xfrm>
            <a:custGeom>
              <a:avLst/>
              <a:gdLst>
                <a:gd name="T0" fmla="*/ 1 w 45"/>
                <a:gd name="T1" fmla="*/ 2 h 2"/>
                <a:gd name="T2" fmla="*/ 43 w 45"/>
                <a:gd name="T3" fmla="*/ 2 h 2"/>
                <a:gd name="T4" fmla="*/ 45 w 45"/>
                <a:gd name="T5" fmla="*/ 1 h 2"/>
                <a:gd name="T6" fmla="*/ 43 w 45"/>
                <a:gd name="T7" fmla="*/ 0 h 2"/>
                <a:gd name="T8" fmla="*/ 1 w 45"/>
                <a:gd name="T9" fmla="*/ 0 h 2"/>
                <a:gd name="T10" fmla="*/ 0 w 45"/>
                <a:gd name="T11" fmla="*/ 1 h 2"/>
                <a:gd name="T12" fmla="*/ 1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1" y="2"/>
                  </a:moveTo>
                  <a:cubicBezTo>
                    <a:pt x="43" y="2"/>
                    <a:pt x="43" y="2"/>
                    <a:pt x="43" y="2"/>
                  </a:cubicBezTo>
                  <a:cubicBezTo>
                    <a:pt x="44" y="2"/>
                    <a:pt x="45" y="2"/>
                    <a:pt x="45" y="1"/>
                  </a:cubicBezTo>
                  <a:cubicBezTo>
                    <a:pt x="45" y="0"/>
                    <a:pt x="44" y="0"/>
                    <a:pt x="43" y="0"/>
                  </a:cubicBezTo>
                  <a:cubicBezTo>
                    <a:pt x="1" y="0"/>
                    <a:pt x="1" y="0"/>
                    <a:pt x="1" y="0"/>
                  </a:cubicBezTo>
                  <a:cubicBezTo>
                    <a:pt x="0" y="0"/>
                    <a:pt x="0" y="0"/>
                    <a:pt x="0" y="1"/>
                  </a:cubicBezTo>
                  <a:cubicBezTo>
                    <a:pt x="0" y="2"/>
                    <a:pt x="0" y="2"/>
                    <a:pt x="1"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67" name="Freeform 88"/>
            <p:cNvSpPr>
              <a:spLocks/>
            </p:cNvSpPr>
            <p:nvPr/>
          </p:nvSpPr>
          <p:spPr bwMode="auto">
            <a:xfrm>
              <a:off x="11969760" y="3065468"/>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68" name="Freeform 89"/>
            <p:cNvSpPr>
              <a:spLocks/>
            </p:cNvSpPr>
            <p:nvPr/>
          </p:nvSpPr>
          <p:spPr bwMode="auto">
            <a:xfrm>
              <a:off x="11969760" y="3013080"/>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69" name="Freeform 90"/>
            <p:cNvSpPr>
              <a:spLocks/>
            </p:cNvSpPr>
            <p:nvPr/>
          </p:nvSpPr>
          <p:spPr bwMode="auto">
            <a:xfrm>
              <a:off x="11969760" y="3259143"/>
              <a:ext cx="153988" cy="9525"/>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1"/>
                    <a:pt x="45" y="0"/>
                    <a:pt x="44" y="0"/>
                  </a:cubicBezTo>
                  <a:cubicBezTo>
                    <a:pt x="2" y="0"/>
                    <a:pt x="2" y="0"/>
                    <a:pt x="2" y="0"/>
                  </a:cubicBezTo>
                  <a:cubicBezTo>
                    <a:pt x="1" y="0"/>
                    <a:pt x="0" y="1"/>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70" name="Freeform 91"/>
            <p:cNvSpPr>
              <a:spLocks/>
            </p:cNvSpPr>
            <p:nvPr/>
          </p:nvSpPr>
          <p:spPr bwMode="auto">
            <a:xfrm>
              <a:off x="11969760" y="3306768"/>
              <a:ext cx="153988" cy="9525"/>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3"/>
                    <a:pt x="45" y="2"/>
                  </a:cubicBezTo>
                  <a:cubicBezTo>
                    <a:pt x="45" y="1"/>
                    <a:pt x="45" y="0"/>
                    <a:pt x="44" y="0"/>
                  </a:cubicBezTo>
                  <a:cubicBezTo>
                    <a:pt x="2" y="0"/>
                    <a:pt x="2" y="0"/>
                    <a:pt x="2" y="0"/>
                  </a:cubicBezTo>
                  <a:cubicBezTo>
                    <a:pt x="1" y="0"/>
                    <a:pt x="0" y="1"/>
                    <a:pt x="0" y="2"/>
                  </a:cubicBezTo>
                  <a:cubicBezTo>
                    <a:pt x="0" y="3"/>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71" name="Freeform 92"/>
            <p:cNvSpPr>
              <a:spLocks/>
            </p:cNvSpPr>
            <p:nvPr/>
          </p:nvSpPr>
          <p:spPr bwMode="auto">
            <a:xfrm>
              <a:off x="11969760" y="3357568"/>
              <a:ext cx="153988" cy="11113"/>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0"/>
                    <a:pt x="45" y="0"/>
                    <a:pt x="44" y="0"/>
                  </a:cubicBezTo>
                  <a:cubicBezTo>
                    <a:pt x="2" y="0"/>
                    <a:pt x="2" y="0"/>
                    <a:pt x="2" y="0"/>
                  </a:cubicBezTo>
                  <a:cubicBezTo>
                    <a:pt x="1" y="0"/>
                    <a:pt x="0" y="0"/>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72" name="Freeform 93"/>
            <p:cNvSpPr>
              <a:spLocks/>
            </p:cNvSpPr>
            <p:nvPr/>
          </p:nvSpPr>
          <p:spPr bwMode="auto">
            <a:xfrm>
              <a:off x="11969760" y="3405193"/>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73" name="Freeform 94"/>
            <p:cNvSpPr>
              <a:spLocks/>
            </p:cNvSpPr>
            <p:nvPr/>
          </p:nvSpPr>
          <p:spPr bwMode="auto">
            <a:xfrm>
              <a:off x="11969760" y="3457581"/>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74" name="Rectangle 95"/>
            <p:cNvSpPr>
              <a:spLocks noChangeArrowheads="1"/>
            </p:cNvSpPr>
            <p:nvPr/>
          </p:nvSpPr>
          <p:spPr bwMode="auto">
            <a:xfrm>
              <a:off x="11976110" y="3092455"/>
              <a:ext cx="144463" cy="146050"/>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75" name="Rectangle 96"/>
            <p:cNvSpPr>
              <a:spLocks noChangeArrowheads="1"/>
            </p:cNvSpPr>
            <p:nvPr/>
          </p:nvSpPr>
          <p:spPr bwMode="auto">
            <a:xfrm>
              <a:off x="11760210" y="3286131"/>
              <a:ext cx="147638" cy="98425"/>
            </a:xfrm>
            <a:prstGeom prst="rect">
              <a:avLst/>
            </a:prstGeom>
            <a:solidFill>
              <a:srgbClr val="40CD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sp>
        <p:nvSpPr>
          <p:cNvPr id="3" name="TextBox 2"/>
          <p:cNvSpPr txBox="1"/>
          <p:nvPr/>
        </p:nvSpPr>
        <p:spPr>
          <a:xfrm>
            <a:off x="4648579" y="1731456"/>
            <a:ext cx="1513276" cy="341632"/>
          </a:xfrm>
          <a:prstGeom prst="rect">
            <a:avLst/>
          </a:prstGeom>
          <a:noFill/>
        </p:spPr>
        <p:txBody>
          <a:bodyPr wrap="square" lIns="91440" tIns="73152" rIns="91440" bIns="73152" rtlCol="0">
            <a:spAutoFit/>
          </a:body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US" sz="1400" b="1" i="0" u="none" strike="noStrike" kern="0" cap="none" spc="0" normalizeH="0" baseline="0" noProof="0" dirty="0">
                <a:ln>
                  <a:noFill/>
                </a:ln>
                <a:solidFill>
                  <a:schemeClr val="accent2"/>
                </a:solidFill>
                <a:effectLst/>
                <a:uLnTx/>
                <a:uFillTx/>
              </a:rPr>
              <a:t>Child File</a:t>
            </a:r>
          </a:p>
        </p:txBody>
      </p:sp>
      <p:sp>
        <p:nvSpPr>
          <p:cNvPr id="64" name="TextBox 63"/>
          <p:cNvSpPr txBox="1"/>
          <p:nvPr/>
        </p:nvSpPr>
        <p:spPr>
          <a:xfrm>
            <a:off x="7608208" y="1731456"/>
            <a:ext cx="1513276" cy="341632"/>
          </a:xfrm>
          <a:prstGeom prst="rect">
            <a:avLst/>
          </a:prstGeom>
          <a:noFill/>
        </p:spPr>
        <p:txBody>
          <a:bodyPr wrap="square" lIns="91440" tIns="73152" rIns="91440" bIns="73152" rtlCol="0">
            <a:spAutoFit/>
          </a:body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US" sz="1400" b="1" i="0" u="none" strike="noStrike" kern="0" cap="none" spc="0" normalizeH="0" baseline="0" noProof="0" dirty="0">
                <a:ln>
                  <a:noFill/>
                </a:ln>
                <a:solidFill>
                  <a:schemeClr val="tx2"/>
                </a:solidFill>
                <a:effectLst/>
                <a:uLnTx/>
                <a:uFillTx/>
              </a:rPr>
              <a:t>Folder</a:t>
            </a:r>
          </a:p>
        </p:txBody>
      </p:sp>
      <p:sp>
        <p:nvSpPr>
          <p:cNvPr id="65" name="TextBox 64"/>
          <p:cNvSpPr txBox="1"/>
          <p:nvPr/>
        </p:nvSpPr>
        <p:spPr>
          <a:xfrm>
            <a:off x="6062246" y="4275063"/>
            <a:ext cx="2017324" cy="341632"/>
          </a:xfrm>
          <a:prstGeom prst="rect">
            <a:avLst/>
          </a:prstGeom>
          <a:noFill/>
        </p:spPr>
        <p:txBody>
          <a:bodyPr wrap="square" lIns="91440" tIns="73152" rIns="91440" bIns="73152" rtlCol="0">
            <a:spAutoFit/>
          </a:body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US" sz="1400" b="1" i="0" u="none" strike="noStrike" kern="0" cap="none" spc="0" normalizeH="0" baseline="0" noProof="0" dirty="0">
                <a:ln>
                  <a:noFill/>
                </a:ln>
                <a:solidFill>
                  <a:schemeClr val="tx2"/>
                </a:solidFill>
                <a:effectLst/>
                <a:uLnTx/>
                <a:uFillTx/>
              </a:rPr>
              <a:t>New Child Folder</a:t>
            </a:r>
          </a:p>
        </p:txBody>
      </p:sp>
      <p:sp>
        <p:nvSpPr>
          <p:cNvPr id="66" name="TextBox 65"/>
          <p:cNvSpPr txBox="1"/>
          <p:nvPr/>
        </p:nvSpPr>
        <p:spPr>
          <a:xfrm>
            <a:off x="9135220" y="4275063"/>
            <a:ext cx="1749500" cy="341632"/>
          </a:xfrm>
          <a:prstGeom prst="rect">
            <a:avLst/>
          </a:prstGeom>
          <a:noFill/>
        </p:spPr>
        <p:txBody>
          <a:bodyPr wrap="square" lIns="91440" tIns="73152" rIns="91440" bIns="73152" rtlCol="0">
            <a:spAutoFit/>
          </a:body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US" sz="1400" b="1" i="0" u="none" strike="noStrike" kern="0" cap="none" spc="0" normalizeH="0" baseline="0" noProof="0" dirty="0">
                <a:ln>
                  <a:noFill/>
                </a:ln>
                <a:solidFill>
                  <a:schemeClr val="accent2"/>
                </a:solidFill>
                <a:effectLst/>
                <a:uLnTx/>
                <a:uFillTx/>
              </a:rPr>
              <a:t>New Child File</a:t>
            </a:r>
          </a:p>
        </p:txBody>
      </p:sp>
    </p:spTree>
    <p:extLst>
      <p:ext uri="{BB962C8B-B14F-4D97-AF65-F5344CB8AC3E}">
        <p14:creationId xmlns:p14="http://schemas.microsoft.com/office/powerpoint/2010/main" val="251265669"/>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
          <p:cNvGrpSpPr/>
          <p:nvPr/>
        </p:nvGrpSpPr>
        <p:grpSpPr>
          <a:xfrm>
            <a:off x="4976600" y="2488240"/>
            <a:ext cx="575304" cy="1512070"/>
            <a:chOff x="4880432" y="2431995"/>
            <a:chExt cx="575304" cy="1512070"/>
          </a:xfrm>
        </p:grpSpPr>
        <p:sp>
          <p:nvSpPr>
            <p:cNvPr id="105" name="Freeform 76"/>
            <p:cNvSpPr>
              <a:spLocks/>
            </p:cNvSpPr>
            <p:nvPr/>
          </p:nvSpPr>
          <p:spPr bwMode="auto">
            <a:xfrm>
              <a:off x="5340673" y="3914368"/>
              <a:ext cx="48116" cy="29697"/>
            </a:xfrm>
            <a:custGeom>
              <a:avLst/>
              <a:gdLst>
                <a:gd name="T0" fmla="*/ 0 w 24"/>
                <a:gd name="T1" fmla="*/ 13 h 13"/>
                <a:gd name="T2" fmla="*/ 8 w 24"/>
                <a:gd name="T3" fmla="*/ 13 h 13"/>
                <a:gd name="T4" fmla="*/ 24 w 24"/>
                <a:gd name="T5" fmla="*/ 11 h 13"/>
                <a:gd name="T6" fmla="*/ 24 w 24"/>
                <a:gd name="T7" fmla="*/ 0 h 13"/>
                <a:gd name="T8" fmla="*/ 0 w 24"/>
                <a:gd name="T9" fmla="*/ 0 h 13"/>
                <a:gd name="T10" fmla="*/ 0 w 24"/>
                <a:gd name="T11" fmla="*/ 13 h 13"/>
              </a:gdLst>
              <a:ahLst/>
              <a:cxnLst>
                <a:cxn ang="0">
                  <a:pos x="T0" y="T1"/>
                </a:cxn>
                <a:cxn ang="0">
                  <a:pos x="T2" y="T3"/>
                </a:cxn>
                <a:cxn ang="0">
                  <a:pos x="T4" y="T5"/>
                </a:cxn>
                <a:cxn ang="0">
                  <a:pos x="T6" y="T7"/>
                </a:cxn>
                <a:cxn ang="0">
                  <a:pos x="T8" y="T9"/>
                </a:cxn>
                <a:cxn ang="0">
                  <a:pos x="T10" y="T11"/>
                </a:cxn>
              </a:cxnLst>
              <a:rect l="0" t="0" r="r" b="b"/>
              <a:pathLst>
                <a:path w="24" h="13">
                  <a:moveTo>
                    <a:pt x="0" y="13"/>
                  </a:moveTo>
                  <a:cubicBezTo>
                    <a:pt x="8" y="13"/>
                    <a:pt x="8" y="13"/>
                    <a:pt x="8" y="13"/>
                  </a:cubicBezTo>
                  <a:cubicBezTo>
                    <a:pt x="14" y="13"/>
                    <a:pt x="19" y="13"/>
                    <a:pt x="24" y="11"/>
                  </a:cubicBezTo>
                  <a:cubicBezTo>
                    <a:pt x="24" y="0"/>
                    <a:pt x="24" y="0"/>
                    <a:pt x="24" y="0"/>
                  </a:cubicBezTo>
                  <a:cubicBezTo>
                    <a:pt x="0" y="0"/>
                    <a:pt x="0" y="0"/>
                    <a:pt x="0" y="0"/>
                  </a:cubicBezTo>
                  <a:lnTo>
                    <a:pt x="0" y="13"/>
                  </a:lnTo>
                  <a:close/>
                </a:path>
              </a:pathLst>
            </a:custGeom>
            <a:solidFill>
              <a:srgbClr val="68217A"/>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06" name="Freeform 77"/>
            <p:cNvSpPr>
              <a:spLocks/>
            </p:cNvSpPr>
            <p:nvPr/>
          </p:nvSpPr>
          <p:spPr bwMode="auto">
            <a:xfrm>
              <a:off x="4949465" y="3914368"/>
              <a:ext cx="43933" cy="29697"/>
            </a:xfrm>
            <a:custGeom>
              <a:avLst/>
              <a:gdLst>
                <a:gd name="T0" fmla="*/ 23 w 23"/>
                <a:gd name="T1" fmla="*/ 13 h 13"/>
                <a:gd name="T2" fmla="*/ 16 w 23"/>
                <a:gd name="T3" fmla="*/ 13 h 13"/>
                <a:gd name="T4" fmla="*/ 0 w 23"/>
                <a:gd name="T5" fmla="*/ 11 h 13"/>
                <a:gd name="T6" fmla="*/ 0 w 23"/>
                <a:gd name="T7" fmla="*/ 0 h 13"/>
                <a:gd name="T8" fmla="*/ 23 w 23"/>
                <a:gd name="T9" fmla="*/ 0 h 13"/>
                <a:gd name="T10" fmla="*/ 23 w 23"/>
                <a:gd name="T11" fmla="*/ 13 h 13"/>
              </a:gdLst>
              <a:ahLst/>
              <a:cxnLst>
                <a:cxn ang="0">
                  <a:pos x="T0" y="T1"/>
                </a:cxn>
                <a:cxn ang="0">
                  <a:pos x="T2" y="T3"/>
                </a:cxn>
                <a:cxn ang="0">
                  <a:pos x="T4" y="T5"/>
                </a:cxn>
                <a:cxn ang="0">
                  <a:pos x="T6" y="T7"/>
                </a:cxn>
                <a:cxn ang="0">
                  <a:pos x="T8" y="T9"/>
                </a:cxn>
                <a:cxn ang="0">
                  <a:pos x="T10" y="T11"/>
                </a:cxn>
              </a:cxnLst>
              <a:rect l="0" t="0" r="r" b="b"/>
              <a:pathLst>
                <a:path w="23" h="13">
                  <a:moveTo>
                    <a:pt x="23" y="13"/>
                  </a:moveTo>
                  <a:cubicBezTo>
                    <a:pt x="16" y="13"/>
                    <a:pt x="16" y="13"/>
                    <a:pt x="16" y="13"/>
                  </a:cubicBezTo>
                  <a:cubicBezTo>
                    <a:pt x="10" y="13"/>
                    <a:pt x="5" y="13"/>
                    <a:pt x="0" y="11"/>
                  </a:cubicBezTo>
                  <a:cubicBezTo>
                    <a:pt x="0" y="0"/>
                    <a:pt x="0" y="0"/>
                    <a:pt x="0" y="0"/>
                  </a:cubicBezTo>
                  <a:cubicBezTo>
                    <a:pt x="23" y="0"/>
                    <a:pt x="23" y="0"/>
                    <a:pt x="23" y="0"/>
                  </a:cubicBezTo>
                  <a:lnTo>
                    <a:pt x="23" y="13"/>
                  </a:lnTo>
                  <a:close/>
                </a:path>
              </a:pathLst>
            </a:custGeom>
            <a:solidFill>
              <a:srgbClr val="68217A"/>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07" name="Freeform 79"/>
            <p:cNvSpPr>
              <a:spLocks/>
            </p:cNvSpPr>
            <p:nvPr/>
          </p:nvSpPr>
          <p:spPr bwMode="auto">
            <a:xfrm>
              <a:off x="4880432" y="2431995"/>
              <a:ext cx="575304" cy="1497222"/>
            </a:xfrm>
            <a:custGeom>
              <a:avLst/>
              <a:gdLst>
                <a:gd name="T0" fmla="*/ 294 w 294"/>
                <a:gd name="T1" fmla="*/ 602 h 652"/>
                <a:gd name="T2" fmla="*/ 244 w 294"/>
                <a:gd name="T3" fmla="*/ 652 h 652"/>
                <a:gd name="T4" fmla="*/ 51 w 294"/>
                <a:gd name="T5" fmla="*/ 652 h 652"/>
                <a:gd name="T6" fmla="*/ 0 w 294"/>
                <a:gd name="T7" fmla="*/ 602 h 652"/>
                <a:gd name="T8" fmla="*/ 0 w 294"/>
                <a:gd name="T9" fmla="*/ 50 h 652"/>
                <a:gd name="T10" fmla="*/ 51 w 294"/>
                <a:gd name="T11" fmla="*/ 0 h 652"/>
                <a:gd name="T12" fmla="*/ 244 w 294"/>
                <a:gd name="T13" fmla="*/ 0 h 652"/>
                <a:gd name="T14" fmla="*/ 294 w 294"/>
                <a:gd name="T15" fmla="*/ 50 h 652"/>
                <a:gd name="T16" fmla="*/ 294 w 294"/>
                <a:gd name="T17" fmla="*/ 602 h 6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4" h="652">
                  <a:moveTo>
                    <a:pt x="294" y="602"/>
                  </a:moveTo>
                  <a:cubicBezTo>
                    <a:pt x="294" y="602"/>
                    <a:pt x="294" y="652"/>
                    <a:pt x="244" y="652"/>
                  </a:cubicBezTo>
                  <a:cubicBezTo>
                    <a:pt x="51" y="652"/>
                    <a:pt x="51" y="652"/>
                    <a:pt x="51" y="652"/>
                  </a:cubicBezTo>
                  <a:cubicBezTo>
                    <a:pt x="51" y="652"/>
                    <a:pt x="0" y="652"/>
                    <a:pt x="0" y="602"/>
                  </a:cubicBezTo>
                  <a:cubicBezTo>
                    <a:pt x="0" y="50"/>
                    <a:pt x="0" y="50"/>
                    <a:pt x="0" y="50"/>
                  </a:cubicBezTo>
                  <a:cubicBezTo>
                    <a:pt x="0" y="50"/>
                    <a:pt x="0" y="0"/>
                    <a:pt x="51" y="0"/>
                  </a:cubicBezTo>
                  <a:cubicBezTo>
                    <a:pt x="244" y="0"/>
                    <a:pt x="244" y="0"/>
                    <a:pt x="244" y="0"/>
                  </a:cubicBezTo>
                  <a:cubicBezTo>
                    <a:pt x="244" y="0"/>
                    <a:pt x="294" y="0"/>
                    <a:pt x="294" y="50"/>
                  </a:cubicBezTo>
                  <a:lnTo>
                    <a:pt x="294" y="602"/>
                  </a:lnTo>
                  <a:close/>
                </a:path>
              </a:pathLst>
            </a:custGeom>
            <a:solidFill>
              <a:srgbClr val="68217A"/>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30" name="Oval 81"/>
            <p:cNvSpPr>
              <a:spLocks noChangeArrowheads="1"/>
            </p:cNvSpPr>
            <p:nvPr/>
          </p:nvSpPr>
          <p:spPr bwMode="auto">
            <a:xfrm>
              <a:off x="5146115" y="2719063"/>
              <a:ext cx="46024" cy="45720"/>
            </a:xfrm>
            <a:prstGeom prst="ellipse">
              <a:avLst/>
            </a:prstGeom>
            <a:solidFill>
              <a:srgbClr val="A8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32" name="Freeform 83"/>
            <p:cNvSpPr>
              <a:spLocks/>
            </p:cNvSpPr>
            <p:nvPr/>
          </p:nvSpPr>
          <p:spPr bwMode="auto">
            <a:xfrm>
              <a:off x="5116829" y="2855176"/>
              <a:ext cx="118872" cy="118872"/>
            </a:xfrm>
            <a:custGeom>
              <a:avLst/>
              <a:gdLst>
                <a:gd name="T0" fmla="*/ 43 w 52"/>
                <a:gd name="T1" fmla="*/ 42 h 52"/>
                <a:gd name="T2" fmla="*/ 10 w 52"/>
                <a:gd name="T3" fmla="*/ 42 h 52"/>
                <a:gd name="T4" fmla="*/ 10 w 52"/>
                <a:gd name="T5" fmla="*/ 9 h 52"/>
                <a:gd name="T6" fmla="*/ 43 w 52"/>
                <a:gd name="T7" fmla="*/ 9 h 52"/>
                <a:gd name="T8" fmla="*/ 43 w 52"/>
                <a:gd name="T9" fmla="*/ 42 h 52"/>
              </a:gdLst>
              <a:ahLst/>
              <a:cxnLst>
                <a:cxn ang="0">
                  <a:pos x="T0" y="T1"/>
                </a:cxn>
                <a:cxn ang="0">
                  <a:pos x="T2" y="T3"/>
                </a:cxn>
                <a:cxn ang="0">
                  <a:pos x="T4" y="T5"/>
                </a:cxn>
                <a:cxn ang="0">
                  <a:pos x="T6" y="T7"/>
                </a:cxn>
                <a:cxn ang="0">
                  <a:pos x="T8" y="T9"/>
                </a:cxn>
              </a:cxnLst>
              <a:rect l="0" t="0" r="r" b="b"/>
              <a:pathLst>
                <a:path w="52" h="52">
                  <a:moveTo>
                    <a:pt x="43" y="42"/>
                  </a:moveTo>
                  <a:cubicBezTo>
                    <a:pt x="34" y="52"/>
                    <a:pt x="19" y="52"/>
                    <a:pt x="10" y="42"/>
                  </a:cubicBezTo>
                  <a:cubicBezTo>
                    <a:pt x="0" y="33"/>
                    <a:pt x="0" y="18"/>
                    <a:pt x="10" y="9"/>
                  </a:cubicBezTo>
                  <a:cubicBezTo>
                    <a:pt x="19" y="0"/>
                    <a:pt x="34" y="0"/>
                    <a:pt x="43" y="9"/>
                  </a:cubicBezTo>
                  <a:cubicBezTo>
                    <a:pt x="52" y="18"/>
                    <a:pt x="52" y="33"/>
                    <a:pt x="43" y="42"/>
                  </a:cubicBezTo>
                  <a:close/>
                </a:path>
              </a:pathLst>
            </a:custGeom>
            <a:solidFill>
              <a:srgbClr val="FF8C00"/>
            </a:solidFill>
            <a:ln w="11113" cap="flat">
              <a:solidFill>
                <a:srgbClr val="505050"/>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40" name="Freeform 85"/>
            <p:cNvSpPr>
              <a:spLocks/>
            </p:cNvSpPr>
            <p:nvPr/>
          </p:nvSpPr>
          <p:spPr bwMode="auto">
            <a:xfrm>
              <a:off x="4972477" y="2855176"/>
              <a:ext cx="118872" cy="118872"/>
            </a:xfrm>
            <a:custGeom>
              <a:avLst/>
              <a:gdLst>
                <a:gd name="T0" fmla="*/ 43 w 52"/>
                <a:gd name="T1" fmla="*/ 42 h 52"/>
                <a:gd name="T2" fmla="*/ 10 w 52"/>
                <a:gd name="T3" fmla="*/ 42 h 52"/>
                <a:gd name="T4" fmla="*/ 10 w 52"/>
                <a:gd name="T5" fmla="*/ 9 h 52"/>
                <a:gd name="T6" fmla="*/ 43 w 52"/>
                <a:gd name="T7" fmla="*/ 9 h 52"/>
                <a:gd name="T8" fmla="*/ 43 w 52"/>
                <a:gd name="T9" fmla="*/ 42 h 52"/>
              </a:gdLst>
              <a:ahLst/>
              <a:cxnLst>
                <a:cxn ang="0">
                  <a:pos x="T0" y="T1"/>
                </a:cxn>
                <a:cxn ang="0">
                  <a:pos x="T2" y="T3"/>
                </a:cxn>
                <a:cxn ang="0">
                  <a:pos x="T4" y="T5"/>
                </a:cxn>
                <a:cxn ang="0">
                  <a:pos x="T6" y="T7"/>
                </a:cxn>
                <a:cxn ang="0">
                  <a:pos x="T8" y="T9"/>
                </a:cxn>
              </a:cxnLst>
              <a:rect l="0" t="0" r="r" b="b"/>
              <a:pathLst>
                <a:path w="52" h="52">
                  <a:moveTo>
                    <a:pt x="43" y="42"/>
                  </a:moveTo>
                  <a:cubicBezTo>
                    <a:pt x="34" y="52"/>
                    <a:pt x="19" y="52"/>
                    <a:pt x="10" y="42"/>
                  </a:cubicBezTo>
                  <a:cubicBezTo>
                    <a:pt x="0" y="33"/>
                    <a:pt x="0" y="18"/>
                    <a:pt x="10" y="9"/>
                  </a:cubicBezTo>
                  <a:cubicBezTo>
                    <a:pt x="19" y="0"/>
                    <a:pt x="34" y="0"/>
                    <a:pt x="43" y="9"/>
                  </a:cubicBezTo>
                  <a:cubicBezTo>
                    <a:pt x="52" y="18"/>
                    <a:pt x="52" y="33"/>
                    <a:pt x="43" y="42"/>
                  </a:cubicBezTo>
                  <a:close/>
                </a:path>
              </a:pathLst>
            </a:custGeom>
            <a:solidFill>
              <a:srgbClr val="FFA940"/>
            </a:solidFill>
            <a:ln w="11113" cap="flat">
              <a:solidFill>
                <a:srgbClr val="505050"/>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52" name="Rectangle 150"/>
            <p:cNvSpPr>
              <a:spLocks noChangeArrowheads="1"/>
            </p:cNvSpPr>
            <p:nvPr/>
          </p:nvSpPr>
          <p:spPr bwMode="auto">
            <a:xfrm>
              <a:off x="4949465" y="3579976"/>
              <a:ext cx="439322" cy="7900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53" name="Rectangle 151"/>
            <p:cNvSpPr>
              <a:spLocks noChangeArrowheads="1"/>
            </p:cNvSpPr>
            <p:nvPr/>
          </p:nvSpPr>
          <p:spPr bwMode="auto">
            <a:xfrm>
              <a:off x="4949465" y="3704012"/>
              <a:ext cx="439322" cy="14849"/>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55" name="Rectangle 152"/>
            <p:cNvSpPr>
              <a:spLocks noChangeArrowheads="1"/>
            </p:cNvSpPr>
            <p:nvPr/>
          </p:nvSpPr>
          <p:spPr bwMode="auto">
            <a:xfrm>
              <a:off x="4949465" y="3738659"/>
              <a:ext cx="439322" cy="12376"/>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56" name="Rectangle 153"/>
            <p:cNvSpPr>
              <a:spLocks noChangeArrowheads="1"/>
            </p:cNvSpPr>
            <p:nvPr/>
          </p:nvSpPr>
          <p:spPr bwMode="auto">
            <a:xfrm>
              <a:off x="4949465" y="3773306"/>
              <a:ext cx="439322" cy="12376"/>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57" name="Rectangle 150"/>
            <p:cNvSpPr>
              <a:spLocks noChangeArrowheads="1"/>
            </p:cNvSpPr>
            <p:nvPr/>
          </p:nvSpPr>
          <p:spPr bwMode="auto">
            <a:xfrm>
              <a:off x="4949465" y="2579192"/>
              <a:ext cx="439322" cy="7900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94" name="Freeform 83"/>
            <p:cNvSpPr>
              <a:spLocks/>
            </p:cNvSpPr>
            <p:nvPr/>
          </p:nvSpPr>
          <p:spPr bwMode="auto">
            <a:xfrm>
              <a:off x="5263460" y="2855176"/>
              <a:ext cx="118872" cy="118872"/>
            </a:xfrm>
            <a:custGeom>
              <a:avLst/>
              <a:gdLst>
                <a:gd name="T0" fmla="*/ 43 w 52"/>
                <a:gd name="T1" fmla="*/ 42 h 52"/>
                <a:gd name="T2" fmla="*/ 10 w 52"/>
                <a:gd name="T3" fmla="*/ 42 h 52"/>
                <a:gd name="T4" fmla="*/ 10 w 52"/>
                <a:gd name="T5" fmla="*/ 9 h 52"/>
                <a:gd name="T6" fmla="*/ 43 w 52"/>
                <a:gd name="T7" fmla="*/ 9 h 52"/>
                <a:gd name="T8" fmla="*/ 43 w 52"/>
                <a:gd name="T9" fmla="*/ 42 h 52"/>
              </a:gdLst>
              <a:ahLst/>
              <a:cxnLst>
                <a:cxn ang="0">
                  <a:pos x="T0" y="T1"/>
                </a:cxn>
                <a:cxn ang="0">
                  <a:pos x="T2" y="T3"/>
                </a:cxn>
                <a:cxn ang="0">
                  <a:pos x="T4" y="T5"/>
                </a:cxn>
                <a:cxn ang="0">
                  <a:pos x="T6" y="T7"/>
                </a:cxn>
                <a:cxn ang="0">
                  <a:pos x="T8" y="T9"/>
                </a:cxn>
              </a:cxnLst>
              <a:rect l="0" t="0" r="r" b="b"/>
              <a:pathLst>
                <a:path w="52" h="52">
                  <a:moveTo>
                    <a:pt x="43" y="42"/>
                  </a:moveTo>
                  <a:cubicBezTo>
                    <a:pt x="34" y="52"/>
                    <a:pt x="19" y="52"/>
                    <a:pt x="10" y="42"/>
                  </a:cubicBezTo>
                  <a:cubicBezTo>
                    <a:pt x="0" y="33"/>
                    <a:pt x="0" y="18"/>
                    <a:pt x="10" y="9"/>
                  </a:cubicBezTo>
                  <a:cubicBezTo>
                    <a:pt x="19" y="0"/>
                    <a:pt x="34" y="0"/>
                    <a:pt x="43" y="9"/>
                  </a:cubicBezTo>
                  <a:cubicBezTo>
                    <a:pt x="52" y="18"/>
                    <a:pt x="52" y="33"/>
                    <a:pt x="43" y="42"/>
                  </a:cubicBezTo>
                  <a:close/>
                </a:path>
              </a:pathLst>
            </a:custGeom>
            <a:solidFill>
              <a:srgbClr val="FF8C00"/>
            </a:solidFill>
            <a:ln w="11113" cap="flat">
              <a:solidFill>
                <a:srgbClr val="505050"/>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sp>
        <p:nvSpPr>
          <p:cNvPr id="6" name="Text Placeholder 5"/>
          <p:cNvSpPr>
            <a:spLocks noGrp="1"/>
          </p:cNvSpPr>
          <p:nvPr>
            <p:ph type="body" sz="quarter" idx="10"/>
          </p:nvPr>
        </p:nvSpPr>
        <p:spPr>
          <a:xfrm>
            <a:off x="269240" y="1468577"/>
            <a:ext cx="3892732" cy="1446550"/>
          </a:xfrm>
        </p:spPr>
        <p:txBody>
          <a:bodyPr/>
          <a:lstStyle/>
          <a:p>
            <a:pPr defTabSz="896386"/>
            <a:r>
              <a:rPr lang="en-US" sz="1800" kern="0" dirty="0">
                <a:gradFill>
                  <a:gsLst>
                    <a:gs pos="1250">
                      <a:srgbClr val="505050"/>
                    </a:gs>
                    <a:gs pos="100000">
                      <a:srgbClr val="505050"/>
                    </a:gs>
                  </a:gsLst>
                  <a:lin ang="5400000" scaled="0"/>
                </a:gradFill>
              </a:rPr>
              <a:t>Access rights based on IP range</a:t>
            </a:r>
          </a:p>
          <a:p>
            <a:pPr defTabSz="896386"/>
            <a:r>
              <a:rPr lang="en-US" sz="1800" kern="0" dirty="0">
                <a:gradFill>
                  <a:gsLst>
                    <a:gs pos="1250">
                      <a:srgbClr val="505050"/>
                    </a:gs>
                    <a:gs pos="100000">
                      <a:srgbClr val="505050"/>
                    </a:gs>
                  </a:gsLst>
                  <a:lin ang="5400000" scaled="0"/>
                </a:gradFill>
              </a:rPr>
              <a:t>Applies to traffic from inside or outside Azure</a:t>
            </a:r>
          </a:p>
          <a:p>
            <a:pPr defTabSz="896386"/>
            <a:r>
              <a:rPr lang="en-US" sz="1800" kern="0" dirty="0">
                <a:gradFill>
                  <a:gsLst>
                    <a:gs pos="1250">
                      <a:srgbClr val="505050"/>
                    </a:gs>
                    <a:gs pos="100000">
                      <a:srgbClr val="505050"/>
                    </a:gs>
                  </a:gsLst>
                  <a:lin ang="5400000" scaled="0"/>
                </a:gradFill>
              </a:rPr>
              <a:t>Cannot be used to filter VNETs</a:t>
            </a:r>
          </a:p>
        </p:txBody>
      </p:sp>
      <p:sp>
        <p:nvSpPr>
          <p:cNvPr id="2" name="Title 1"/>
          <p:cNvSpPr>
            <a:spLocks noGrp="1"/>
          </p:cNvSpPr>
          <p:nvPr>
            <p:ph type="title"/>
          </p:nvPr>
        </p:nvSpPr>
        <p:spPr/>
        <p:txBody>
          <a:bodyPr/>
          <a:lstStyle/>
          <a:p>
            <a:r>
              <a:rPr lang="en-US" dirty="0"/>
              <a:t>IP address ACLs</a:t>
            </a:r>
          </a:p>
        </p:txBody>
      </p:sp>
      <p:sp>
        <p:nvSpPr>
          <p:cNvPr id="67" name="TextBox 66"/>
          <p:cNvSpPr txBox="1"/>
          <p:nvPr/>
        </p:nvSpPr>
        <p:spPr>
          <a:xfrm>
            <a:off x="2225387" y="6078662"/>
            <a:ext cx="1390027" cy="479709"/>
          </a:xfrm>
          <a:prstGeom prst="rect">
            <a:avLst/>
          </a:prstGeom>
          <a:noFill/>
        </p:spPr>
        <p:txBody>
          <a:bodyPr wrap="square" lIns="179285" tIns="143428" rIns="179285" bIns="143428" rtlCol="0">
            <a:spAutoFit/>
          </a:bodyPr>
          <a:lstStyle/>
          <a:p>
            <a:pPr marL="0" marR="0" lvl="0" indent="0" algn="ctr" defTabSz="896386" eaLnBrk="1" fontAlgn="auto" latinLnBrk="0" hangingPunct="1">
              <a:lnSpc>
                <a:spcPct val="90000"/>
              </a:lnSpc>
              <a:spcBef>
                <a:spcPts val="0"/>
              </a:spcBef>
              <a:spcAft>
                <a:spcPts val="588"/>
              </a:spcAft>
              <a:buClrTx/>
              <a:buSzTx/>
              <a:buFontTx/>
              <a:buNone/>
              <a:tabLst/>
              <a:defRPr/>
            </a:pPr>
            <a:r>
              <a:rPr kumimoji="0" lang="en-US" sz="1372" b="0" i="0" u="none" strike="noStrike" kern="0" cap="none" spc="0" normalizeH="0" baseline="0" noProof="0" dirty="0">
                <a:ln>
                  <a:noFill/>
                </a:ln>
                <a:gradFill>
                  <a:gsLst>
                    <a:gs pos="2917">
                      <a:schemeClr val="tx1"/>
                    </a:gs>
                    <a:gs pos="30000">
                      <a:schemeClr val="tx1"/>
                    </a:gs>
                  </a:gsLst>
                  <a:lin ang="5400000" scaled="0"/>
                </a:gradFill>
                <a:effectLst/>
                <a:uLnTx/>
                <a:uFillTx/>
              </a:rPr>
              <a:t>64.34.55.130</a:t>
            </a:r>
          </a:p>
        </p:txBody>
      </p:sp>
      <p:sp>
        <p:nvSpPr>
          <p:cNvPr id="72" name="TextBox 71"/>
          <p:cNvSpPr txBox="1"/>
          <p:nvPr/>
        </p:nvSpPr>
        <p:spPr>
          <a:xfrm>
            <a:off x="4538660" y="4037900"/>
            <a:ext cx="1315330" cy="479745"/>
          </a:xfrm>
          <a:prstGeom prst="rect">
            <a:avLst/>
          </a:prstGeom>
          <a:noFill/>
        </p:spPr>
        <p:txBody>
          <a:bodyPr wrap="square" lIns="179285" tIns="143428" rIns="179285" bIns="143428" rtlCol="0">
            <a:spAutoFit/>
          </a:bodyPr>
          <a:lstStyle/>
          <a:p>
            <a:pPr marL="0" marR="0" lvl="0" indent="0" algn="ctr" defTabSz="896386" eaLnBrk="1" fontAlgn="auto" latinLnBrk="0" hangingPunct="1">
              <a:lnSpc>
                <a:spcPct val="90000"/>
              </a:lnSpc>
              <a:spcBef>
                <a:spcPts val="0"/>
              </a:spcBef>
              <a:spcAft>
                <a:spcPts val="588"/>
              </a:spcAft>
              <a:buClrTx/>
              <a:buSzTx/>
              <a:buFontTx/>
              <a:buNone/>
              <a:tabLst/>
              <a:defRPr/>
            </a:pPr>
            <a:r>
              <a:rPr kumimoji="0" lang="en-US" sz="1372" b="0" i="0" u="none" strike="noStrike" kern="0" cap="none" spc="0" normalizeH="0" baseline="0" noProof="0" dirty="0">
                <a:ln>
                  <a:noFill/>
                </a:ln>
                <a:gradFill>
                  <a:gsLst>
                    <a:gs pos="2917">
                      <a:schemeClr val="tx1"/>
                    </a:gs>
                    <a:gs pos="30000">
                      <a:schemeClr val="tx1"/>
                    </a:gs>
                  </a:gsLst>
                  <a:lin ang="5400000" scaled="0"/>
                </a:gradFill>
                <a:effectLst/>
                <a:uLnTx/>
                <a:uFillTx/>
              </a:rPr>
              <a:t>15.23.1.5</a:t>
            </a:r>
          </a:p>
        </p:txBody>
      </p:sp>
      <p:sp>
        <p:nvSpPr>
          <p:cNvPr id="74" name="Rectangle 73"/>
          <p:cNvSpPr/>
          <p:nvPr/>
        </p:nvSpPr>
        <p:spPr bwMode="auto">
          <a:xfrm>
            <a:off x="9066909" y="1189176"/>
            <a:ext cx="2858171" cy="5206053"/>
          </a:xfrm>
          <a:prstGeom prst="rect">
            <a:avLst/>
          </a:prstGeom>
          <a:solidFill>
            <a:srgbClr val="7FBA00"/>
          </a:solidFill>
          <a:ln w="3175">
            <a:noFill/>
          </a:ln>
          <a:effectLst/>
        </p:spPr>
        <p:txBody>
          <a:bodyPr spcFirstLastPara="0" vert="horz" wrap="square" lIns="17919" tIns="91440" rIns="17919" bIns="89592" numCol="1" spcCol="1270" anchor="t" anchorCtr="0">
            <a:noAutofit/>
          </a:bodyPr>
          <a:lstStyle/>
          <a:p>
            <a:pPr marL="0" marR="0" lvl="0" indent="0" algn="ctr" defTabSz="914132" eaLnBrk="1" fontAlgn="auto" latinLnBrk="0" hangingPunct="1">
              <a:lnSpc>
                <a:spcPct val="90000"/>
              </a:lnSpc>
              <a:spcBef>
                <a:spcPct val="0"/>
              </a:spcBef>
              <a:spcAft>
                <a:spcPts val="588"/>
              </a:spcAft>
              <a:buClrTx/>
              <a:buSzTx/>
              <a:buFontTx/>
              <a:buNone/>
              <a:tabLst/>
              <a:defRPr/>
            </a:pPr>
            <a:r>
              <a:rPr kumimoji="0" lang="en-US" sz="1800" b="0" i="0" u="none" strike="noStrike" kern="0" cap="none" spc="-29"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MS PGothic" panose="020B0600070205080204" pitchFamily="34" charset="-128"/>
                <a:cs typeface="Segoe UI Semibold" panose="020B0702040204020203" pitchFamily="34" charset="0"/>
              </a:rPr>
              <a:t>Azure Data Lake Store</a:t>
            </a:r>
          </a:p>
        </p:txBody>
      </p:sp>
      <p:sp>
        <p:nvSpPr>
          <p:cNvPr id="75" name="Freeform 5"/>
          <p:cNvSpPr>
            <a:spLocks noEditPoints="1"/>
          </p:cNvSpPr>
          <p:nvPr/>
        </p:nvSpPr>
        <p:spPr bwMode="auto">
          <a:xfrm>
            <a:off x="9630602" y="1691941"/>
            <a:ext cx="1672191" cy="1316004"/>
          </a:xfrm>
          <a:custGeom>
            <a:avLst/>
            <a:gdLst>
              <a:gd name="T0" fmla="*/ 3752 w 5983"/>
              <a:gd name="T1" fmla="*/ 2549 h 4697"/>
              <a:gd name="T2" fmla="*/ 2693 w 5983"/>
              <a:gd name="T3" fmla="*/ 4063 h 4697"/>
              <a:gd name="T4" fmla="*/ 2651 w 5983"/>
              <a:gd name="T5" fmla="*/ 4087 h 4697"/>
              <a:gd name="T6" fmla="*/ 2627 w 5983"/>
              <a:gd name="T7" fmla="*/ 4081 h 4697"/>
              <a:gd name="T8" fmla="*/ 2603 w 5983"/>
              <a:gd name="T9" fmla="*/ 4021 h 4697"/>
              <a:gd name="T10" fmla="*/ 2878 w 5983"/>
              <a:gd name="T11" fmla="*/ 3117 h 4697"/>
              <a:gd name="T12" fmla="*/ 2262 w 5983"/>
              <a:gd name="T13" fmla="*/ 3117 h 4697"/>
              <a:gd name="T14" fmla="*/ 2214 w 5983"/>
              <a:gd name="T15" fmla="*/ 3087 h 4697"/>
              <a:gd name="T16" fmla="*/ 2220 w 5983"/>
              <a:gd name="T17" fmla="*/ 3034 h 4697"/>
              <a:gd name="T18" fmla="*/ 3249 w 5983"/>
              <a:gd name="T19" fmla="*/ 1538 h 4697"/>
              <a:gd name="T20" fmla="*/ 3291 w 5983"/>
              <a:gd name="T21" fmla="*/ 1514 h 4697"/>
              <a:gd name="T22" fmla="*/ 3315 w 5983"/>
              <a:gd name="T23" fmla="*/ 1520 h 4697"/>
              <a:gd name="T24" fmla="*/ 3339 w 5983"/>
              <a:gd name="T25" fmla="*/ 1580 h 4697"/>
              <a:gd name="T26" fmla="*/ 3075 w 5983"/>
              <a:gd name="T27" fmla="*/ 2465 h 4697"/>
              <a:gd name="T28" fmla="*/ 3710 w 5983"/>
              <a:gd name="T29" fmla="*/ 2465 h 4697"/>
              <a:gd name="T30" fmla="*/ 3763 w 5983"/>
              <a:gd name="T31" fmla="*/ 2519 h 4697"/>
              <a:gd name="T32" fmla="*/ 3752 w 5983"/>
              <a:gd name="T33" fmla="*/ 2549 h 4697"/>
              <a:gd name="T34" fmla="*/ 5750 w 5983"/>
              <a:gd name="T35" fmla="*/ 754 h 4697"/>
              <a:gd name="T36" fmla="*/ 0 w 5983"/>
              <a:gd name="T37" fmla="*/ 754 h 4697"/>
              <a:gd name="T38" fmla="*/ 0 w 5983"/>
              <a:gd name="T39" fmla="*/ 4326 h 4697"/>
              <a:gd name="T40" fmla="*/ 371 w 5983"/>
              <a:gd name="T41" fmla="*/ 4697 h 4697"/>
              <a:gd name="T42" fmla="*/ 5612 w 5983"/>
              <a:gd name="T43" fmla="*/ 4697 h 4697"/>
              <a:gd name="T44" fmla="*/ 5983 w 5983"/>
              <a:gd name="T45" fmla="*/ 4326 h 4697"/>
              <a:gd name="T46" fmla="*/ 5983 w 5983"/>
              <a:gd name="T47" fmla="*/ 1095 h 4697"/>
              <a:gd name="T48" fmla="*/ 5750 w 5983"/>
              <a:gd name="T49" fmla="*/ 754 h 4697"/>
              <a:gd name="T50" fmla="*/ 3536 w 5983"/>
              <a:gd name="T51" fmla="*/ 485 h 4697"/>
              <a:gd name="T52" fmla="*/ 3363 w 5983"/>
              <a:gd name="T53" fmla="*/ 186 h 4697"/>
              <a:gd name="T54" fmla="*/ 3040 w 5983"/>
              <a:gd name="T55" fmla="*/ 0 h 4697"/>
              <a:gd name="T56" fmla="*/ 371 w 5983"/>
              <a:gd name="T57" fmla="*/ 0 h 4697"/>
              <a:gd name="T58" fmla="*/ 0 w 5983"/>
              <a:gd name="T59" fmla="*/ 371 h 4697"/>
              <a:gd name="T60" fmla="*/ 0 w 5983"/>
              <a:gd name="T61" fmla="*/ 563 h 4697"/>
              <a:gd name="T62" fmla="*/ 3602 w 5983"/>
              <a:gd name="T63" fmla="*/ 563 h 4697"/>
              <a:gd name="T64" fmla="*/ 3536 w 5983"/>
              <a:gd name="T65" fmla="*/ 485 h 46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983" h="4697">
                <a:moveTo>
                  <a:pt x="3752" y="2549"/>
                </a:moveTo>
                <a:lnTo>
                  <a:pt x="2693" y="4063"/>
                </a:lnTo>
                <a:cubicBezTo>
                  <a:pt x="2681" y="4075"/>
                  <a:pt x="2669" y="4087"/>
                  <a:pt x="2651" y="4087"/>
                </a:cubicBezTo>
                <a:cubicBezTo>
                  <a:pt x="2645" y="4087"/>
                  <a:pt x="2633" y="4087"/>
                  <a:pt x="2627" y="4081"/>
                </a:cubicBezTo>
                <a:cubicBezTo>
                  <a:pt x="2603" y="4069"/>
                  <a:pt x="2591" y="4045"/>
                  <a:pt x="2603" y="4021"/>
                </a:cubicBezTo>
                <a:lnTo>
                  <a:pt x="2878" y="3117"/>
                </a:lnTo>
                <a:lnTo>
                  <a:pt x="2262" y="3117"/>
                </a:lnTo>
                <a:cubicBezTo>
                  <a:pt x="2244" y="3117"/>
                  <a:pt x="2226" y="3105"/>
                  <a:pt x="2214" y="3087"/>
                </a:cubicBezTo>
                <a:cubicBezTo>
                  <a:pt x="2208" y="3070"/>
                  <a:pt x="2208" y="3052"/>
                  <a:pt x="2220" y="3034"/>
                </a:cubicBezTo>
                <a:lnTo>
                  <a:pt x="3249" y="1538"/>
                </a:lnTo>
                <a:cubicBezTo>
                  <a:pt x="3261" y="1526"/>
                  <a:pt x="3273" y="1514"/>
                  <a:pt x="3291" y="1514"/>
                </a:cubicBezTo>
                <a:cubicBezTo>
                  <a:pt x="3297" y="1514"/>
                  <a:pt x="3303" y="1514"/>
                  <a:pt x="3315" y="1520"/>
                </a:cubicBezTo>
                <a:cubicBezTo>
                  <a:pt x="3339" y="1532"/>
                  <a:pt x="3351" y="1556"/>
                  <a:pt x="3339" y="1580"/>
                </a:cubicBezTo>
                <a:lnTo>
                  <a:pt x="3075" y="2465"/>
                </a:lnTo>
                <a:lnTo>
                  <a:pt x="3710" y="2465"/>
                </a:lnTo>
                <a:cubicBezTo>
                  <a:pt x="3740" y="2465"/>
                  <a:pt x="3763" y="2489"/>
                  <a:pt x="3763" y="2519"/>
                </a:cubicBezTo>
                <a:cubicBezTo>
                  <a:pt x="3763" y="2531"/>
                  <a:pt x="3758" y="2537"/>
                  <a:pt x="3752" y="2549"/>
                </a:cubicBezTo>
                <a:close/>
                <a:moveTo>
                  <a:pt x="5750" y="754"/>
                </a:moveTo>
                <a:lnTo>
                  <a:pt x="0" y="754"/>
                </a:lnTo>
                <a:lnTo>
                  <a:pt x="0" y="4326"/>
                </a:lnTo>
                <a:cubicBezTo>
                  <a:pt x="0" y="4529"/>
                  <a:pt x="168" y="4697"/>
                  <a:pt x="371" y="4697"/>
                </a:cubicBezTo>
                <a:lnTo>
                  <a:pt x="5612" y="4697"/>
                </a:lnTo>
                <a:cubicBezTo>
                  <a:pt x="5816" y="4697"/>
                  <a:pt x="5983" y="4529"/>
                  <a:pt x="5983" y="4326"/>
                </a:cubicBezTo>
                <a:lnTo>
                  <a:pt x="5983" y="1095"/>
                </a:lnTo>
                <a:cubicBezTo>
                  <a:pt x="5983" y="946"/>
                  <a:pt x="5887" y="814"/>
                  <a:pt x="5750" y="754"/>
                </a:cubicBezTo>
                <a:close/>
                <a:moveTo>
                  <a:pt x="3536" y="485"/>
                </a:moveTo>
                <a:lnTo>
                  <a:pt x="3363" y="186"/>
                </a:lnTo>
                <a:cubicBezTo>
                  <a:pt x="3297" y="72"/>
                  <a:pt x="3171" y="0"/>
                  <a:pt x="3040" y="0"/>
                </a:cubicBezTo>
                <a:lnTo>
                  <a:pt x="371" y="0"/>
                </a:lnTo>
                <a:cubicBezTo>
                  <a:pt x="168" y="0"/>
                  <a:pt x="0" y="168"/>
                  <a:pt x="0" y="371"/>
                </a:cubicBezTo>
                <a:lnTo>
                  <a:pt x="0" y="563"/>
                </a:lnTo>
                <a:lnTo>
                  <a:pt x="3602" y="563"/>
                </a:lnTo>
                <a:cubicBezTo>
                  <a:pt x="3572" y="545"/>
                  <a:pt x="3554" y="515"/>
                  <a:pt x="3536" y="485"/>
                </a:cubicBezTo>
                <a:close/>
              </a:path>
            </a:pathLst>
          </a:custGeom>
          <a:solidFill>
            <a:srgbClr val="FFFFFF"/>
          </a:solidFill>
          <a:ln w="0">
            <a:noFill/>
            <a:prstDash val="solid"/>
            <a:round/>
            <a:headEnd/>
            <a:tailEnd/>
          </a:ln>
        </p:spPr>
        <p:txBody>
          <a:bodyPr vert="horz" wrap="square" lIns="74702" tIns="37351" rIns="74702" bIns="37351" numCol="1" anchor="t" anchorCtr="0" compatLnSpc="1">
            <a:prstTxWarp prst="textNoShape">
              <a:avLst/>
            </a:prstTxWarp>
          </a:bodyPr>
          <a:lstStyle/>
          <a:p>
            <a:pPr marL="0" marR="0" lvl="0" indent="0" defTabSz="896350" eaLnBrk="1" fontAlgn="base" latinLnBrk="0" hangingPunct="1">
              <a:lnSpc>
                <a:spcPct val="100000"/>
              </a:lnSpc>
              <a:spcBef>
                <a:spcPct val="0"/>
              </a:spcBef>
              <a:spcAft>
                <a:spcPct val="0"/>
              </a:spcAft>
              <a:buClrTx/>
              <a:buSzTx/>
              <a:buFontTx/>
              <a:buNone/>
              <a:tabLst/>
              <a:defRPr/>
            </a:pPr>
            <a:endParaRPr kumimoji="0" lang="en-US" sz="2353" b="0" i="0" u="none" strike="noStrike" kern="0" cap="none" spc="0" normalizeH="0" baseline="0" noProof="0" dirty="0">
              <a:ln>
                <a:noFill/>
              </a:ln>
              <a:solidFill>
                <a:prstClr val="white"/>
              </a:solidFill>
              <a:effectLst/>
              <a:uLnTx/>
              <a:uFillTx/>
            </a:endParaRPr>
          </a:p>
        </p:txBody>
      </p:sp>
      <p:sp>
        <p:nvSpPr>
          <p:cNvPr id="76" name="Rectangle 75"/>
          <p:cNvSpPr/>
          <p:nvPr/>
        </p:nvSpPr>
        <p:spPr bwMode="auto">
          <a:xfrm>
            <a:off x="9470675" y="3536417"/>
            <a:ext cx="1992050" cy="2688750"/>
          </a:xfrm>
          <a:prstGeom prst="rect">
            <a:avLst/>
          </a:prstGeom>
          <a:solidFill>
            <a:srgbClr val="ACD259"/>
          </a:solidFill>
          <a:ln w="3175">
            <a:noFill/>
          </a:ln>
          <a:effectLst/>
        </p:spPr>
        <p:txBody>
          <a:bodyPr spcFirstLastPara="0" vert="horz" wrap="square" lIns="17919" tIns="91440" rIns="17919" bIns="89592" numCol="1" spcCol="1270" anchor="b" anchorCtr="0">
            <a:noAutofit/>
          </a:bodyPr>
          <a:lstStyle/>
          <a:p>
            <a:pPr marL="0" marR="0" lvl="0" indent="0" algn="ctr" defTabSz="914132" eaLnBrk="1" fontAlgn="auto" latinLnBrk="0" hangingPunct="1">
              <a:lnSpc>
                <a:spcPct val="90000"/>
              </a:lnSpc>
              <a:spcBef>
                <a:spcPct val="0"/>
              </a:spcBef>
              <a:spcAft>
                <a:spcPts val="588"/>
              </a:spcAft>
              <a:buClrTx/>
              <a:buSzTx/>
              <a:buFontTx/>
              <a:buNone/>
              <a:tabLst/>
              <a:defRPr/>
            </a:pPr>
            <a:r>
              <a:rPr kumimoji="0" lang="en-US" sz="1800" b="0" i="0" u="none" strike="noStrike" kern="0" cap="none" spc="-29" normalizeH="0" baseline="0" noProof="0" dirty="0">
                <a:ln>
                  <a:noFill/>
                </a:ln>
                <a:solidFill>
                  <a:schemeClr val="bg1"/>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IP range whitelist</a:t>
            </a:r>
          </a:p>
        </p:txBody>
      </p:sp>
      <p:sp>
        <p:nvSpPr>
          <p:cNvPr id="77" name="Rectangle: Rounded Corners 76"/>
          <p:cNvSpPr/>
          <p:nvPr/>
        </p:nvSpPr>
        <p:spPr bwMode="auto">
          <a:xfrm>
            <a:off x="9738320" y="3792203"/>
            <a:ext cx="1456756" cy="1999369"/>
          </a:xfrm>
          <a:prstGeom prst="roundRect">
            <a:avLst/>
          </a:prstGeom>
          <a:solidFill>
            <a:srgbClr val="ACD259"/>
          </a:solidFill>
          <a:ln w="111125">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dirty="0">
              <a:ln>
                <a:noFill/>
              </a:ln>
              <a:solidFill>
                <a:schemeClr val="bg1"/>
              </a:solidFill>
              <a:effectLst/>
              <a:uLnTx/>
              <a:uFillTx/>
            </a:endParaRPr>
          </a:p>
          <a:p>
            <a:pPr marL="0" marR="0" lvl="0" indent="0" algn="ctr" defTabSz="932472" eaLnBrk="1" fontAlgn="base" latinLnBrk="0" hangingPunct="1">
              <a:lnSpc>
                <a:spcPct val="100000"/>
              </a:lnSpc>
              <a:spcBef>
                <a:spcPct val="0"/>
              </a:spcBef>
              <a:spcAft>
                <a:spcPct val="0"/>
              </a:spcAft>
              <a:buClrTx/>
              <a:buSzTx/>
              <a:buFontTx/>
              <a:buNone/>
              <a:tabLst/>
              <a:defRPr/>
            </a:pPr>
            <a:r>
              <a:rPr kumimoji="0" lang="en-US" sz="1400" b="1" i="0" u="none" strike="noStrike" kern="0" cap="none" spc="0" normalizeH="0" baseline="0" noProof="0" dirty="0">
                <a:ln>
                  <a:noFill/>
                </a:ln>
                <a:solidFill>
                  <a:schemeClr val="bg1"/>
                </a:solidFill>
                <a:effectLst/>
                <a:uLnTx/>
                <a:uFillTx/>
              </a:rPr>
              <a:t>64.34.55.130 </a:t>
            </a:r>
          </a:p>
          <a:p>
            <a:pPr marL="0" marR="0" lvl="0" indent="0" algn="ctr" defTabSz="932472" eaLnBrk="1" fontAlgn="base" latinLnBrk="0" hangingPunct="1">
              <a:lnSpc>
                <a:spcPct val="100000"/>
              </a:lnSpc>
              <a:spcBef>
                <a:spcPct val="0"/>
              </a:spcBef>
              <a:spcAft>
                <a:spcPct val="0"/>
              </a:spcAft>
              <a:buClrTx/>
              <a:buSzTx/>
              <a:buFontTx/>
              <a:buNone/>
              <a:tabLst/>
              <a:defRPr/>
            </a:pPr>
            <a:r>
              <a:rPr kumimoji="0" lang="en-US" sz="1400" b="1" i="0" u="none" strike="noStrike" kern="0" cap="none" spc="0" normalizeH="0" baseline="0" noProof="0" dirty="0">
                <a:ln>
                  <a:noFill/>
                </a:ln>
                <a:solidFill>
                  <a:schemeClr val="bg1"/>
                </a:solidFill>
                <a:effectLst/>
                <a:uLnTx/>
                <a:uFillTx/>
              </a:rPr>
              <a:t>–</a:t>
            </a:r>
          </a:p>
          <a:p>
            <a:pPr marL="0" marR="0" lvl="0" indent="0" algn="ctr" defTabSz="932472" eaLnBrk="1" fontAlgn="base" latinLnBrk="0" hangingPunct="1">
              <a:lnSpc>
                <a:spcPct val="100000"/>
              </a:lnSpc>
              <a:spcBef>
                <a:spcPct val="0"/>
              </a:spcBef>
              <a:spcAft>
                <a:spcPct val="0"/>
              </a:spcAft>
              <a:buClrTx/>
              <a:buSzTx/>
              <a:buFontTx/>
              <a:buNone/>
              <a:tabLst/>
              <a:defRPr/>
            </a:pPr>
            <a:r>
              <a:rPr kumimoji="0" lang="en-US" sz="1400" b="1" i="0" u="none" strike="noStrike" kern="0" cap="none" spc="0" normalizeH="0" baseline="0" noProof="0" dirty="0">
                <a:ln>
                  <a:noFill/>
                </a:ln>
                <a:solidFill>
                  <a:schemeClr val="bg1"/>
                </a:solidFill>
                <a:effectLst/>
                <a:uLnTx/>
                <a:uFillTx/>
              </a:rPr>
              <a:t> 64.34.55.135 </a:t>
            </a:r>
          </a:p>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dirty="0">
              <a:ln>
                <a:noFill/>
              </a:ln>
              <a:gradFill>
                <a:gsLst>
                  <a:gs pos="5439">
                    <a:srgbClr val="F8F8F8"/>
                  </a:gs>
                  <a:gs pos="10000">
                    <a:srgbClr val="F8F8F8"/>
                  </a:gs>
                </a:gsLst>
                <a:lin ang="5400000" scaled="0"/>
              </a:gradFill>
              <a:effectLst/>
              <a:uLnTx/>
              <a:uFillTx/>
            </a:endParaRPr>
          </a:p>
        </p:txBody>
      </p:sp>
      <p:cxnSp>
        <p:nvCxnSpPr>
          <p:cNvPr id="78" name="Straight Connector 77"/>
          <p:cNvCxnSpPr/>
          <p:nvPr/>
        </p:nvCxnSpPr>
        <p:spPr>
          <a:xfrm flipH="1">
            <a:off x="2920401" y="5946089"/>
            <a:ext cx="5943600" cy="0"/>
          </a:xfrm>
          <a:prstGeom prst="line">
            <a:avLst/>
          </a:prstGeom>
          <a:noFill/>
          <a:ln w="38100" cap="sq" cmpd="sng" algn="ctr">
            <a:solidFill>
              <a:srgbClr val="7FBA00"/>
            </a:solidFill>
            <a:prstDash val="sysDash"/>
            <a:miter lim="800000"/>
            <a:headEnd type="triangle" w="lg" len="med"/>
            <a:tailEnd type="triangle" w="lg" len="med"/>
          </a:ln>
          <a:effectLst/>
        </p:spPr>
      </p:cxnSp>
      <p:cxnSp>
        <p:nvCxnSpPr>
          <p:cNvPr id="79" name="Straight Connector 78"/>
          <p:cNvCxnSpPr/>
          <p:nvPr/>
        </p:nvCxnSpPr>
        <p:spPr>
          <a:xfrm rot="16200000">
            <a:off x="7208006" y="2434466"/>
            <a:ext cx="0" cy="3200400"/>
          </a:xfrm>
          <a:prstGeom prst="line">
            <a:avLst/>
          </a:prstGeom>
          <a:noFill/>
          <a:ln w="38100" cap="sq" cmpd="sng" algn="ctr">
            <a:solidFill>
              <a:srgbClr val="7FBA00"/>
            </a:solidFill>
            <a:prstDash val="sysDash"/>
            <a:miter lim="800000"/>
            <a:headEnd type="none" w="med" len="med"/>
            <a:tailEnd type="triangle" w="lg" len="med"/>
          </a:ln>
          <a:effectLst/>
        </p:spPr>
      </p:cxnSp>
      <p:sp>
        <p:nvSpPr>
          <p:cNvPr id="82" name="Oval 49"/>
          <p:cNvSpPr>
            <a:spLocks noChangeArrowheads="1"/>
          </p:cNvSpPr>
          <p:nvPr/>
        </p:nvSpPr>
        <p:spPr bwMode="auto">
          <a:xfrm>
            <a:off x="3949263" y="3962719"/>
            <a:ext cx="670752" cy="141104"/>
          </a:xfrm>
          <a:prstGeom prst="ellipse">
            <a:avLst/>
          </a:pr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83" name="Freeform 194"/>
          <p:cNvSpPr>
            <a:spLocks/>
          </p:cNvSpPr>
          <p:nvPr/>
        </p:nvSpPr>
        <p:spPr bwMode="auto">
          <a:xfrm>
            <a:off x="4417561" y="4230612"/>
            <a:ext cx="368096" cy="151328"/>
          </a:xfrm>
          <a:custGeom>
            <a:avLst/>
            <a:gdLst>
              <a:gd name="T0" fmla="*/ 3 w 180"/>
              <a:gd name="T1" fmla="*/ 74 h 74"/>
              <a:gd name="T2" fmla="*/ 0 w 180"/>
              <a:gd name="T3" fmla="*/ 54 h 74"/>
              <a:gd name="T4" fmla="*/ 177 w 180"/>
              <a:gd name="T5" fmla="*/ 0 h 74"/>
              <a:gd name="T6" fmla="*/ 180 w 180"/>
              <a:gd name="T7" fmla="*/ 27 h 74"/>
              <a:gd name="T8" fmla="*/ 3 w 180"/>
              <a:gd name="T9" fmla="*/ 74 h 74"/>
            </a:gdLst>
            <a:ahLst/>
            <a:cxnLst>
              <a:cxn ang="0">
                <a:pos x="T0" y="T1"/>
              </a:cxn>
              <a:cxn ang="0">
                <a:pos x="T2" y="T3"/>
              </a:cxn>
              <a:cxn ang="0">
                <a:pos x="T4" y="T5"/>
              </a:cxn>
              <a:cxn ang="0">
                <a:pos x="T6" y="T7"/>
              </a:cxn>
              <a:cxn ang="0">
                <a:pos x="T8" y="T9"/>
              </a:cxn>
            </a:cxnLst>
            <a:rect l="0" t="0" r="r" b="b"/>
            <a:pathLst>
              <a:path w="180" h="74">
                <a:moveTo>
                  <a:pt x="3" y="74"/>
                </a:moveTo>
                <a:lnTo>
                  <a:pt x="0" y="54"/>
                </a:lnTo>
                <a:lnTo>
                  <a:pt x="177" y="0"/>
                </a:lnTo>
                <a:lnTo>
                  <a:pt x="180" y="27"/>
                </a:lnTo>
                <a:lnTo>
                  <a:pt x="3" y="74"/>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84" name="Freeform 130"/>
          <p:cNvSpPr>
            <a:spLocks/>
          </p:cNvSpPr>
          <p:nvPr/>
        </p:nvSpPr>
        <p:spPr bwMode="auto">
          <a:xfrm>
            <a:off x="4936984" y="2925918"/>
            <a:ext cx="94069" cy="1163592"/>
          </a:xfrm>
          <a:custGeom>
            <a:avLst/>
            <a:gdLst>
              <a:gd name="T0" fmla="*/ 46 w 46"/>
              <a:gd name="T1" fmla="*/ 564 h 569"/>
              <a:gd name="T2" fmla="*/ 0 w 46"/>
              <a:gd name="T3" fmla="*/ 569 h 569"/>
              <a:gd name="T4" fmla="*/ 0 w 46"/>
              <a:gd name="T5" fmla="*/ 0 h 569"/>
              <a:gd name="T6" fmla="*/ 46 w 46"/>
              <a:gd name="T7" fmla="*/ 5 h 569"/>
              <a:gd name="T8" fmla="*/ 46 w 46"/>
              <a:gd name="T9" fmla="*/ 564 h 569"/>
            </a:gdLst>
            <a:ahLst/>
            <a:cxnLst>
              <a:cxn ang="0">
                <a:pos x="T0" y="T1"/>
              </a:cxn>
              <a:cxn ang="0">
                <a:pos x="T2" y="T3"/>
              </a:cxn>
              <a:cxn ang="0">
                <a:pos x="T4" y="T5"/>
              </a:cxn>
              <a:cxn ang="0">
                <a:pos x="T6" y="T7"/>
              </a:cxn>
              <a:cxn ang="0">
                <a:pos x="T8" y="T9"/>
              </a:cxn>
            </a:cxnLst>
            <a:rect l="0" t="0" r="r" b="b"/>
            <a:pathLst>
              <a:path w="46" h="569">
                <a:moveTo>
                  <a:pt x="46" y="564"/>
                </a:moveTo>
                <a:lnTo>
                  <a:pt x="0" y="569"/>
                </a:lnTo>
                <a:lnTo>
                  <a:pt x="0" y="0"/>
                </a:lnTo>
                <a:lnTo>
                  <a:pt x="46" y="5"/>
                </a:lnTo>
                <a:lnTo>
                  <a:pt x="46" y="564"/>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85" name="Freeform 131"/>
          <p:cNvSpPr>
            <a:spLocks/>
          </p:cNvSpPr>
          <p:nvPr/>
        </p:nvSpPr>
        <p:spPr bwMode="auto">
          <a:xfrm>
            <a:off x="3607751" y="2925918"/>
            <a:ext cx="1353773" cy="1163592"/>
          </a:xfrm>
          <a:custGeom>
            <a:avLst/>
            <a:gdLst>
              <a:gd name="T0" fmla="*/ 5 w 269"/>
              <a:gd name="T1" fmla="*/ 204 h 231"/>
              <a:gd name="T2" fmla="*/ 0 w 269"/>
              <a:gd name="T3" fmla="*/ 199 h 231"/>
              <a:gd name="T4" fmla="*/ 0 w 269"/>
              <a:gd name="T5" fmla="*/ 22 h 231"/>
              <a:gd name="T6" fmla="*/ 5 w 269"/>
              <a:gd name="T7" fmla="*/ 17 h 231"/>
              <a:gd name="T8" fmla="*/ 264 w 269"/>
              <a:gd name="T9" fmla="*/ 0 h 231"/>
              <a:gd name="T10" fmla="*/ 269 w 269"/>
              <a:gd name="T11" fmla="*/ 6 h 231"/>
              <a:gd name="T12" fmla="*/ 269 w 269"/>
              <a:gd name="T13" fmla="*/ 225 h 231"/>
              <a:gd name="T14" fmla="*/ 264 w 269"/>
              <a:gd name="T15" fmla="*/ 231 h 231"/>
              <a:gd name="T16" fmla="*/ 5 w 269"/>
              <a:gd name="T17" fmla="*/ 204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9" h="231">
                <a:moveTo>
                  <a:pt x="5" y="204"/>
                </a:moveTo>
                <a:cubicBezTo>
                  <a:pt x="3" y="204"/>
                  <a:pt x="0" y="201"/>
                  <a:pt x="0" y="199"/>
                </a:cubicBezTo>
                <a:cubicBezTo>
                  <a:pt x="0" y="22"/>
                  <a:pt x="0" y="22"/>
                  <a:pt x="0" y="22"/>
                </a:cubicBezTo>
                <a:cubicBezTo>
                  <a:pt x="0" y="20"/>
                  <a:pt x="3" y="17"/>
                  <a:pt x="5" y="17"/>
                </a:cubicBezTo>
                <a:cubicBezTo>
                  <a:pt x="264" y="0"/>
                  <a:pt x="264" y="0"/>
                  <a:pt x="264" y="0"/>
                </a:cubicBezTo>
                <a:cubicBezTo>
                  <a:pt x="267" y="0"/>
                  <a:pt x="269" y="3"/>
                  <a:pt x="269" y="6"/>
                </a:cubicBezTo>
                <a:cubicBezTo>
                  <a:pt x="269" y="225"/>
                  <a:pt x="269" y="225"/>
                  <a:pt x="269" y="225"/>
                </a:cubicBezTo>
                <a:cubicBezTo>
                  <a:pt x="269" y="228"/>
                  <a:pt x="267" y="231"/>
                  <a:pt x="264" y="231"/>
                </a:cubicBezTo>
                <a:lnTo>
                  <a:pt x="5" y="204"/>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86" name="Freeform 132"/>
          <p:cNvSpPr>
            <a:spLocks/>
          </p:cNvSpPr>
          <p:nvPr/>
        </p:nvSpPr>
        <p:spPr bwMode="auto">
          <a:xfrm>
            <a:off x="3652741" y="2981131"/>
            <a:ext cx="1257660" cy="905925"/>
          </a:xfrm>
          <a:custGeom>
            <a:avLst/>
            <a:gdLst>
              <a:gd name="T0" fmla="*/ 0 w 615"/>
              <a:gd name="T1" fmla="*/ 392 h 443"/>
              <a:gd name="T2" fmla="*/ 615 w 615"/>
              <a:gd name="T3" fmla="*/ 443 h 443"/>
              <a:gd name="T4" fmla="*/ 615 w 615"/>
              <a:gd name="T5" fmla="*/ 0 h 443"/>
              <a:gd name="T6" fmla="*/ 0 w 615"/>
              <a:gd name="T7" fmla="*/ 35 h 443"/>
              <a:gd name="T8" fmla="*/ 0 w 615"/>
              <a:gd name="T9" fmla="*/ 392 h 443"/>
            </a:gdLst>
            <a:ahLst/>
            <a:cxnLst>
              <a:cxn ang="0">
                <a:pos x="T0" y="T1"/>
              </a:cxn>
              <a:cxn ang="0">
                <a:pos x="T2" y="T3"/>
              </a:cxn>
              <a:cxn ang="0">
                <a:pos x="T4" y="T5"/>
              </a:cxn>
              <a:cxn ang="0">
                <a:pos x="T6" y="T7"/>
              </a:cxn>
              <a:cxn ang="0">
                <a:pos x="T8" y="T9"/>
              </a:cxn>
            </a:cxnLst>
            <a:rect l="0" t="0" r="r" b="b"/>
            <a:pathLst>
              <a:path w="615" h="443">
                <a:moveTo>
                  <a:pt x="0" y="392"/>
                </a:moveTo>
                <a:lnTo>
                  <a:pt x="615" y="443"/>
                </a:lnTo>
                <a:lnTo>
                  <a:pt x="615" y="0"/>
                </a:lnTo>
                <a:lnTo>
                  <a:pt x="0" y="35"/>
                </a:lnTo>
                <a:lnTo>
                  <a:pt x="0" y="392"/>
                </a:ln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87" name="Rectangle 171"/>
          <p:cNvSpPr>
            <a:spLocks noChangeArrowheads="1"/>
          </p:cNvSpPr>
          <p:nvPr/>
        </p:nvSpPr>
        <p:spPr bwMode="auto">
          <a:xfrm>
            <a:off x="4695678" y="3197899"/>
            <a:ext cx="130878" cy="7975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88" name="Freeform 172"/>
          <p:cNvSpPr>
            <a:spLocks/>
          </p:cNvSpPr>
          <p:nvPr/>
        </p:nvSpPr>
        <p:spPr bwMode="auto">
          <a:xfrm>
            <a:off x="3738629" y="3531230"/>
            <a:ext cx="110429" cy="73619"/>
          </a:xfrm>
          <a:custGeom>
            <a:avLst/>
            <a:gdLst>
              <a:gd name="T0" fmla="*/ 54 w 54"/>
              <a:gd name="T1" fmla="*/ 2 h 36"/>
              <a:gd name="T2" fmla="*/ 54 w 54"/>
              <a:gd name="T3" fmla="*/ 36 h 36"/>
              <a:gd name="T4" fmla="*/ 0 w 54"/>
              <a:gd name="T5" fmla="*/ 34 h 36"/>
              <a:gd name="T6" fmla="*/ 0 w 54"/>
              <a:gd name="T7" fmla="*/ 0 h 36"/>
              <a:gd name="T8" fmla="*/ 54 w 54"/>
              <a:gd name="T9" fmla="*/ 2 h 36"/>
            </a:gdLst>
            <a:ahLst/>
            <a:cxnLst>
              <a:cxn ang="0">
                <a:pos x="T0" y="T1"/>
              </a:cxn>
              <a:cxn ang="0">
                <a:pos x="T2" y="T3"/>
              </a:cxn>
              <a:cxn ang="0">
                <a:pos x="T4" y="T5"/>
              </a:cxn>
              <a:cxn ang="0">
                <a:pos x="T6" y="T7"/>
              </a:cxn>
              <a:cxn ang="0">
                <a:pos x="T8" y="T9"/>
              </a:cxn>
            </a:cxnLst>
            <a:rect l="0" t="0" r="r" b="b"/>
            <a:pathLst>
              <a:path w="54" h="36">
                <a:moveTo>
                  <a:pt x="54" y="2"/>
                </a:moveTo>
                <a:lnTo>
                  <a:pt x="54" y="36"/>
                </a:lnTo>
                <a:lnTo>
                  <a:pt x="0" y="34"/>
                </a:lnTo>
                <a:lnTo>
                  <a:pt x="0" y="0"/>
                </a:lnTo>
                <a:lnTo>
                  <a:pt x="54" y="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89" name="Freeform 173"/>
          <p:cNvSpPr>
            <a:spLocks/>
          </p:cNvSpPr>
          <p:nvPr/>
        </p:nvSpPr>
        <p:spPr bwMode="auto">
          <a:xfrm>
            <a:off x="3738629" y="3631433"/>
            <a:ext cx="179958" cy="79754"/>
          </a:xfrm>
          <a:custGeom>
            <a:avLst/>
            <a:gdLst>
              <a:gd name="T0" fmla="*/ 88 w 88"/>
              <a:gd name="T1" fmla="*/ 5 h 39"/>
              <a:gd name="T2" fmla="*/ 88 w 88"/>
              <a:gd name="T3" fmla="*/ 39 h 39"/>
              <a:gd name="T4" fmla="*/ 0 w 88"/>
              <a:gd name="T5" fmla="*/ 34 h 39"/>
              <a:gd name="T6" fmla="*/ 0 w 88"/>
              <a:gd name="T7" fmla="*/ 0 h 39"/>
              <a:gd name="T8" fmla="*/ 88 w 88"/>
              <a:gd name="T9" fmla="*/ 5 h 39"/>
            </a:gdLst>
            <a:ahLst/>
            <a:cxnLst>
              <a:cxn ang="0">
                <a:pos x="T0" y="T1"/>
              </a:cxn>
              <a:cxn ang="0">
                <a:pos x="T2" y="T3"/>
              </a:cxn>
              <a:cxn ang="0">
                <a:pos x="T4" y="T5"/>
              </a:cxn>
              <a:cxn ang="0">
                <a:pos x="T6" y="T7"/>
              </a:cxn>
              <a:cxn ang="0">
                <a:pos x="T8" y="T9"/>
              </a:cxn>
            </a:cxnLst>
            <a:rect l="0" t="0" r="r" b="b"/>
            <a:pathLst>
              <a:path w="88" h="39">
                <a:moveTo>
                  <a:pt x="88" y="5"/>
                </a:moveTo>
                <a:lnTo>
                  <a:pt x="88" y="39"/>
                </a:lnTo>
                <a:lnTo>
                  <a:pt x="0" y="34"/>
                </a:lnTo>
                <a:lnTo>
                  <a:pt x="0" y="0"/>
                </a:lnTo>
                <a:lnTo>
                  <a:pt x="88" y="5"/>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90" name="Freeform 174"/>
          <p:cNvSpPr>
            <a:spLocks/>
          </p:cNvSpPr>
          <p:nvPr/>
        </p:nvSpPr>
        <p:spPr bwMode="auto">
          <a:xfrm>
            <a:off x="3738629" y="3328777"/>
            <a:ext cx="226994" cy="69530"/>
          </a:xfrm>
          <a:custGeom>
            <a:avLst/>
            <a:gdLst>
              <a:gd name="T0" fmla="*/ 111 w 111"/>
              <a:gd name="T1" fmla="*/ 0 h 34"/>
              <a:gd name="T2" fmla="*/ 111 w 111"/>
              <a:gd name="T3" fmla="*/ 34 h 34"/>
              <a:gd name="T4" fmla="*/ 0 w 111"/>
              <a:gd name="T5" fmla="*/ 34 h 34"/>
              <a:gd name="T6" fmla="*/ 0 w 111"/>
              <a:gd name="T7" fmla="*/ 2 h 34"/>
              <a:gd name="T8" fmla="*/ 111 w 111"/>
              <a:gd name="T9" fmla="*/ 0 h 34"/>
            </a:gdLst>
            <a:ahLst/>
            <a:cxnLst>
              <a:cxn ang="0">
                <a:pos x="T0" y="T1"/>
              </a:cxn>
              <a:cxn ang="0">
                <a:pos x="T2" y="T3"/>
              </a:cxn>
              <a:cxn ang="0">
                <a:pos x="T4" y="T5"/>
              </a:cxn>
              <a:cxn ang="0">
                <a:pos x="T6" y="T7"/>
              </a:cxn>
              <a:cxn ang="0">
                <a:pos x="T8" y="T9"/>
              </a:cxn>
            </a:cxnLst>
            <a:rect l="0" t="0" r="r" b="b"/>
            <a:pathLst>
              <a:path w="111" h="34">
                <a:moveTo>
                  <a:pt x="111" y="0"/>
                </a:moveTo>
                <a:lnTo>
                  <a:pt x="111" y="34"/>
                </a:lnTo>
                <a:lnTo>
                  <a:pt x="0" y="34"/>
                </a:lnTo>
                <a:lnTo>
                  <a:pt x="0" y="2"/>
                </a:lnTo>
                <a:lnTo>
                  <a:pt x="111"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95" name="Rectangle 175"/>
          <p:cNvSpPr>
            <a:spLocks noChangeArrowheads="1"/>
          </p:cNvSpPr>
          <p:nvPr/>
        </p:nvSpPr>
        <p:spPr bwMode="auto">
          <a:xfrm>
            <a:off x="3965623" y="3328777"/>
            <a:ext cx="94069" cy="6953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96" name="Freeform 176"/>
          <p:cNvSpPr>
            <a:spLocks/>
          </p:cNvSpPr>
          <p:nvPr/>
        </p:nvSpPr>
        <p:spPr bwMode="auto">
          <a:xfrm>
            <a:off x="3738629" y="3112010"/>
            <a:ext cx="361961" cy="89979"/>
          </a:xfrm>
          <a:custGeom>
            <a:avLst/>
            <a:gdLst>
              <a:gd name="T0" fmla="*/ 177 w 177"/>
              <a:gd name="T1" fmla="*/ 0 h 44"/>
              <a:gd name="T2" fmla="*/ 177 w 177"/>
              <a:gd name="T3" fmla="*/ 37 h 44"/>
              <a:gd name="T4" fmla="*/ 175 w 177"/>
              <a:gd name="T5" fmla="*/ 37 h 44"/>
              <a:gd name="T6" fmla="*/ 0 w 177"/>
              <a:gd name="T7" fmla="*/ 44 h 44"/>
              <a:gd name="T8" fmla="*/ 0 w 177"/>
              <a:gd name="T9" fmla="*/ 10 h 44"/>
              <a:gd name="T10" fmla="*/ 177 w 177"/>
              <a:gd name="T11" fmla="*/ 0 h 44"/>
            </a:gdLst>
            <a:ahLst/>
            <a:cxnLst>
              <a:cxn ang="0">
                <a:pos x="T0" y="T1"/>
              </a:cxn>
              <a:cxn ang="0">
                <a:pos x="T2" y="T3"/>
              </a:cxn>
              <a:cxn ang="0">
                <a:pos x="T4" y="T5"/>
              </a:cxn>
              <a:cxn ang="0">
                <a:pos x="T6" y="T7"/>
              </a:cxn>
              <a:cxn ang="0">
                <a:pos x="T8" y="T9"/>
              </a:cxn>
              <a:cxn ang="0">
                <a:pos x="T10" y="T11"/>
              </a:cxn>
            </a:cxnLst>
            <a:rect l="0" t="0" r="r" b="b"/>
            <a:pathLst>
              <a:path w="177" h="44">
                <a:moveTo>
                  <a:pt x="177" y="0"/>
                </a:moveTo>
                <a:lnTo>
                  <a:pt x="177" y="37"/>
                </a:lnTo>
                <a:lnTo>
                  <a:pt x="175" y="37"/>
                </a:lnTo>
                <a:lnTo>
                  <a:pt x="0" y="44"/>
                </a:lnTo>
                <a:lnTo>
                  <a:pt x="0" y="10"/>
                </a:lnTo>
                <a:lnTo>
                  <a:pt x="177" y="0"/>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97" name="Freeform 177"/>
          <p:cNvSpPr>
            <a:spLocks/>
          </p:cNvSpPr>
          <p:nvPr/>
        </p:nvSpPr>
        <p:spPr bwMode="auto">
          <a:xfrm>
            <a:off x="3918587" y="3641659"/>
            <a:ext cx="267893" cy="79754"/>
          </a:xfrm>
          <a:custGeom>
            <a:avLst/>
            <a:gdLst>
              <a:gd name="T0" fmla="*/ 131 w 131"/>
              <a:gd name="T1" fmla="*/ 5 h 39"/>
              <a:gd name="T2" fmla="*/ 131 w 131"/>
              <a:gd name="T3" fmla="*/ 39 h 39"/>
              <a:gd name="T4" fmla="*/ 0 w 131"/>
              <a:gd name="T5" fmla="*/ 34 h 39"/>
              <a:gd name="T6" fmla="*/ 0 w 131"/>
              <a:gd name="T7" fmla="*/ 0 h 39"/>
              <a:gd name="T8" fmla="*/ 131 w 131"/>
              <a:gd name="T9" fmla="*/ 5 h 39"/>
            </a:gdLst>
            <a:ahLst/>
            <a:cxnLst>
              <a:cxn ang="0">
                <a:pos x="T0" y="T1"/>
              </a:cxn>
              <a:cxn ang="0">
                <a:pos x="T2" y="T3"/>
              </a:cxn>
              <a:cxn ang="0">
                <a:pos x="T4" y="T5"/>
              </a:cxn>
              <a:cxn ang="0">
                <a:pos x="T6" y="T7"/>
              </a:cxn>
              <a:cxn ang="0">
                <a:pos x="T8" y="T9"/>
              </a:cxn>
            </a:cxnLst>
            <a:rect l="0" t="0" r="r" b="b"/>
            <a:pathLst>
              <a:path w="131" h="39">
                <a:moveTo>
                  <a:pt x="131" y="5"/>
                </a:moveTo>
                <a:lnTo>
                  <a:pt x="131" y="39"/>
                </a:lnTo>
                <a:lnTo>
                  <a:pt x="0" y="34"/>
                </a:lnTo>
                <a:lnTo>
                  <a:pt x="0" y="0"/>
                </a:lnTo>
                <a:lnTo>
                  <a:pt x="131" y="5"/>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98" name="Freeform 178"/>
          <p:cNvSpPr>
            <a:spLocks/>
          </p:cNvSpPr>
          <p:nvPr/>
        </p:nvSpPr>
        <p:spPr bwMode="auto">
          <a:xfrm>
            <a:off x="3738629" y="3428981"/>
            <a:ext cx="462164" cy="75664"/>
          </a:xfrm>
          <a:custGeom>
            <a:avLst/>
            <a:gdLst>
              <a:gd name="T0" fmla="*/ 226 w 226"/>
              <a:gd name="T1" fmla="*/ 3 h 37"/>
              <a:gd name="T2" fmla="*/ 226 w 226"/>
              <a:gd name="T3" fmla="*/ 37 h 37"/>
              <a:gd name="T4" fmla="*/ 0 w 226"/>
              <a:gd name="T5" fmla="*/ 35 h 37"/>
              <a:gd name="T6" fmla="*/ 0 w 226"/>
              <a:gd name="T7" fmla="*/ 0 h 37"/>
              <a:gd name="T8" fmla="*/ 226 w 226"/>
              <a:gd name="T9" fmla="*/ 3 h 37"/>
            </a:gdLst>
            <a:ahLst/>
            <a:cxnLst>
              <a:cxn ang="0">
                <a:pos x="T0" y="T1"/>
              </a:cxn>
              <a:cxn ang="0">
                <a:pos x="T2" y="T3"/>
              </a:cxn>
              <a:cxn ang="0">
                <a:pos x="T4" y="T5"/>
              </a:cxn>
              <a:cxn ang="0">
                <a:pos x="T6" y="T7"/>
              </a:cxn>
              <a:cxn ang="0">
                <a:pos x="T8" y="T9"/>
              </a:cxn>
            </a:cxnLst>
            <a:rect l="0" t="0" r="r" b="b"/>
            <a:pathLst>
              <a:path w="226" h="37">
                <a:moveTo>
                  <a:pt x="226" y="3"/>
                </a:moveTo>
                <a:lnTo>
                  <a:pt x="226" y="37"/>
                </a:lnTo>
                <a:lnTo>
                  <a:pt x="0" y="35"/>
                </a:lnTo>
                <a:lnTo>
                  <a:pt x="0" y="0"/>
                </a:lnTo>
                <a:lnTo>
                  <a:pt x="226" y="3"/>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00" name="Freeform 179"/>
          <p:cNvSpPr>
            <a:spLocks/>
          </p:cNvSpPr>
          <p:nvPr/>
        </p:nvSpPr>
        <p:spPr bwMode="auto">
          <a:xfrm>
            <a:off x="4200794" y="3435116"/>
            <a:ext cx="306747" cy="75664"/>
          </a:xfrm>
          <a:custGeom>
            <a:avLst/>
            <a:gdLst>
              <a:gd name="T0" fmla="*/ 150 w 150"/>
              <a:gd name="T1" fmla="*/ 0 h 37"/>
              <a:gd name="T2" fmla="*/ 150 w 150"/>
              <a:gd name="T3" fmla="*/ 37 h 37"/>
              <a:gd name="T4" fmla="*/ 0 w 150"/>
              <a:gd name="T5" fmla="*/ 34 h 37"/>
              <a:gd name="T6" fmla="*/ 0 w 150"/>
              <a:gd name="T7" fmla="*/ 0 h 37"/>
              <a:gd name="T8" fmla="*/ 150 w 150"/>
              <a:gd name="T9" fmla="*/ 0 h 37"/>
            </a:gdLst>
            <a:ahLst/>
            <a:cxnLst>
              <a:cxn ang="0">
                <a:pos x="T0" y="T1"/>
              </a:cxn>
              <a:cxn ang="0">
                <a:pos x="T2" y="T3"/>
              </a:cxn>
              <a:cxn ang="0">
                <a:pos x="T4" y="T5"/>
              </a:cxn>
              <a:cxn ang="0">
                <a:pos x="T6" y="T7"/>
              </a:cxn>
              <a:cxn ang="0">
                <a:pos x="T8" y="T9"/>
              </a:cxn>
            </a:cxnLst>
            <a:rect l="0" t="0" r="r" b="b"/>
            <a:pathLst>
              <a:path w="150" h="37">
                <a:moveTo>
                  <a:pt x="150" y="0"/>
                </a:moveTo>
                <a:lnTo>
                  <a:pt x="150" y="37"/>
                </a:lnTo>
                <a:lnTo>
                  <a:pt x="0" y="34"/>
                </a:lnTo>
                <a:lnTo>
                  <a:pt x="0" y="0"/>
                </a:lnTo>
                <a:lnTo>
                  <a:pt x="150" y="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01" name="Freeform 180"/>
          <p:cNvSpPr>
            <a:spLocks/>
          </p:cNvSpPr>
          <p:nvPr/>
        </p:nvSpPr>
        <p:spPr bwMode="auto">
          <a:xfrm>
            <a:off x="3738629" y="3197899"/>
            <a:ext cx="957048" cy="100205"/>
          </a:xfrm>
          <a:custGeom>
            <a:avLst/>
            <a:gdLst>
              <a:gd name="T0" fmla="*/ 468 w 468"/>
              <a:gd name="T1" fmla="*/ 0 h 49"/>
              <a:gd name="T2" fmla="*/ 468 w 468"/>
              <a:gd name="T3" fmla="*/ 39 h 49"/>
              <a:gd name="T4" fmla="*/ 0 w 468"/>
              <a:gd name="T5" fmla="*/ 49 h 49"/>
              <a:gd name="T6" fmla="*/ 0 w 468"/>
              <a:gd name="T7" fmla="*/ 17 h 49"/>
              <a:gd name="T8" fmla="*/ 468 w 468"/>
              <a:gd name="T9" fmla="*/ 0 h 49"/>
            </a:gdLst>
            <a:ahLst/>
            <a:cxnLst>
              <a:cxn ang="0">
                <a:pos x="T0" y="T1"/>
              </a:cxn>
              <a:cxn ang="0">
                <a:pos x="T2" y="T3"/>
              </a:cxn>
              <a:cxn ang="0">
                <a:pos x="T4" y="T5"/>
              </a:cxn>
              <a:cxn ang="0">
                <a:pos x="T6" y="T7"/>
              </a:cxn>
              <a:cxn ang="0">
                <a:pos x="T8" y="T9"/>
              </a:cxn>
            </a:cxnLst>
            <a:rect l="0" t="0" r="r" b="b"/>
            <a:pathLst>
              <a:path w="468" h="49">
                <a:moveTo>
                  <a:pt x="468" y="0"/>
                </a:moveTo>
                <a:lnTo>
                  <a:pt x="468" y="39"/>
                </a:lnTo>
                <a:lnTo>
                  <a:pt x="0" y="49"/>
                </a:lnTo>
                <a:lnTo>
                  <a:pt x="0" y="17"/>
                </a:lnTo>
                <a:lnTo>
                  <a:pt x="468"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02" name="Freeform 181"/>
          <p:cNvSpPr>
            <a:spLocks/>
          </p:cNvSpPr>
          <p:nvPr/>
        </p:nvSpPr>
        <p:spPr bwMode="auto">
          <a:xfrm>
            <a:off x="3849058" y="3535320"/>
            <a:ext cx="265847" cy="75664"/>
          </a:xfrm>
          <a:custGeom>
            <a:avLst/>
            <a:gdLst>
              <a:gd name="T0" fmla="*/ 130 w 130"/>
              <a:gd name="T1" fmla="*/ 2 h 37"/>
              <a:gd name="T2" fmla="*/ 130 w 130"/>
              <a:gd name="T3" fmla="*/ 37 h 37"/>
              <a:gd name="T4" fmla="*/ 0 w 130"/>
              <a:gd name="T5" fmla="*/ 34 h 37"/>
              <a:gd name="T6" fmla="*/ 0 w 130"/>
              <a:gd name="T7" fmla="*/ 0 h 37"/>
              <a:gd name="T8" fmla="*/ 130 w 130"/>
              <a:gd name="T9" fmla="*/ 2 h 37"/>
            </a:gdLst>
            <a:ahLst/>
            <a:cxnLst>
              <a:cxn ang="0">
                <a:pos x="T0" y="T1"/>
              </a:cxn>
              <a:cxn ang="0">
                <a:pos x="T2" y="T3"/>
              </a:cxn>
              <a:cxn ang="0">
                <a:pos x="T4" y="T5"/>
              </a:cxn>
              <a:cxn ang="0">
                <a:pos x="T6" y="T7"/>
              </a:cxn>
              <a:cxn ang="0">
                <a:pos x="T8" y="T9"/>
              </a:cxn>
            </a:cxnLst>
            <a:rect l="0" t="0" r="r" b="b"/>
            <a:pathLst>
              <a:path w="130" h="37">
                <a:moveTo>
                  <a:pt x="130" y="2"/>
                </a:moveTo>
                <a:lnTo>
                  <a:pt x="130" y="37"/>
                </a:lnTo>
                <a:lnTo>
                  <a:pt x="0" y="34"/>
                </a:lnTo>
                <a:lnTo>
                  <a:pt x="0" y="0"/>
                </a:lnTo>
                <a:lnTo>
                  <a:pt x="130" y="2"/>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03" name="Freeform 182"/>
          <p:cNvSpPr>
            <a:spLocks/>
          </p:cNvSpPr>
          <p:nvPr/>
        </p:nvSpPr>
        <p:spPr bwMode="auto">
          <a:xfrm>
            <a:off x="4096501" y="3101786"/>
            <a:ext cx="200408" cy="85889"/>
          </a:xfrm>
          <a:custGeom>
            <a:avLst/>
            <a:gdLst>
              <a:gd name="T0" fmla="*/ 98 w 98"/>
              <a:gd name="T1" fmla="*/ 0 h 42"/>
              <a:gd name="T2" fmla="*/ 98 w 98"/>
              <a:gd name="T3" fmla="*/ 37 h 42"/>
              <a:gd name="T4" fmla="*/ 0 w 98"/>
              <a:gd name="T5" fmla="*/ 42 h 42"/>
              <a:gd name="T6" fmla="*/ 2 w 98"/>
              <a:gd name="T7" fmla="*/ 42 h 42"/>
              <a:gd name="T8" fmla="*/ 2 w 98"/>
              <a:gd name="T9" fmla="*/ 5 h 42"/>
              <a:gd name="T10" fmla="*/ 98 w 98"/>
              <a:gd name="T11" fmla="*/ 0 h 42"/>
            </a:gdLst>
            <a:ahLst/>
            <a:cxnLst>
              <a:cxn ang="0">
                <a:pos x="T0" y="T1"/>
              </a:cxn>
              <a:cxn ang="0">
                <a:pos x="T2" y="T3"/>
              </a:cxn>
              <a:cxn ang="0">
                <a:pos x="T4" y="T5"/>
              </a:cxn>
              <a:cxn ang="0">
                <a:pos x="T6" y="T7"/>
              </a:cxn>
              <a:cxn ang="0">
                <a:pos x="T8" y="T9"/>
              </a:cxn>
              <a:cxn ang="0">
                <a:pos x="T10" y="T11"/>
              </a:cxn>
            </a:cxnLst>
            <a:rect l="0" t="0" r="r" b="b"/>
            <a:pathLst>
              <a:path w="98" h="42">
                <a:moveTo>
                  <a:pt x="98" y="0"/>
                </a:moveTo>
                <a:lnTo>
                  <a:pt x="98" y="37"/>
                </a:lnTo>
                <a:lnTo>
                  <a:pt x="0" y="42"/>
                </a:lnTo>
                <a:lnTo>
                  <a:pt x="2" y="42"/>
                </a:lnTo>
                <a:lnTo>
                  <a:pt x="2" y="5"/>
                </a:lnTo>
                <a:lnTo>
                  <a:pt x="98" y="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04" name="Freeform 195"/>
          <p:cNvSpPr>
            <a:spLocks/>
          </p:cNvSpPr>
          <p:nvPr/>
        </p:nvSpPr>
        <p:spPr bwMode="auto">
          <a:xfrm>
            <a:off x="3456423" y="4103823"/>
            <a:ext cx="1323099" cy="278116"/>
          </a:xfrm>
          <a:custGeom>
            <a:avLst/>
            <a:gdLst>
              <a:gd name="T0" fmla="*/ 0 w 647"/>
              <a:gd name="T1" fmla="*/ 47 h 136"/>
              <a:gd name="T2" fmla="*/ 0 w 647"/>
              <a:gd name="T3" fmla="*/ 47 h 136"/>
              <a:gd name="T4" fmla="*/ 0 w 647"/>
              <a:gd name="T5" fmla="*/ 47 h 136"/>
              <a:gd name="T6" fmla="*/ 175 w 647"/>
              <a:gd name="T7" fmla="*/ 0 h 136"/>
              <a:gd name="T8" fmla="*/ 647 w 647"/>
              <a:gd name="T9" fmla="*/ 62 h 136"/>
              <a:gd name="T10" fmla="*/ 470 w 647"/>
              <a:gd name="T11" fmla="*/ 116 h 136"/>
              <a:gd name="T12" fmla="*/ 473 w 647"/>
              <a:gd name="T13" fmla="*/ 136 h 136"/>
              <a:gd name="T14" fmla="*/ 0 w 647"/>
              <a:gd name="T15" fmla="*/ 57 h 136"/>
              <a:gd name="T16" fmla="*/ 0 w 647"/>
              <a:gd name="T17" fmla="*/ 47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47" h="136">
                <a:moveTo>
                  <a:pt x="0" y="47"/>
                </a:moveTo>
                <a:lnTo>
                  <a:pt x="0" y="47"/>
                </a:lnTo>
                <a:lnTo>
                  <a:pt x="0" y="47"/>
                </a:lnTo>
                <a:lnTo>
                  <a:pt x="175" y="0"/>
                </a:lnTo>
                <a:lnTo>
                  <a:pt x="647" y="62"/>
                </a:lnTo>
                <a:lnTo>
                  <a:pt x="470" y="116"/>
                </a:lnTo>
                <a:lnTo>
                  <a:pt x="473" y="136"/>
                </a:lnTo>
                <a:lnTo>
                  <a:pt x="0" y="57"/>
                </a:lnTo>
                <a:lnTo>
                  <a:pt x="0" y="47"/>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nvGrpSpPr>
          <p:cNvPr id="9" name="Group 8"/>
          <p:cNvGrpSpPr/>
          <p:nvPr/>
        </p:nvGrpSpPr>
        <p:grpSpPr>
          <a:xfrm>
            <a:off x="471304" y="4579205"/>
            <a:ext cx="2163344" cy="1739312"/>
            <a:chOff x="471304" y="4579205"/>
            <a:chExt cx="2163344" cy="1739312"/>
          </a:xfrm>
        </p:grpSpPr>
        <p:grpSp>
          <p:nvGrpSpPr>
            <p:cNvPr id="7" name="Group 6"/>
            <p:cNvGrpSpPr/>
            <p:nvPr/>
          </p:nvGrpSpPr>
          <p:grpSpPr>
            <a:xfrm>
              <a:off x="471304" y="4579205"/>
              <a:ext cx="575303" cy="1512070"/>
              <a:chOff x="264917" y="4517645"/>
              <a:chExt cx="575303" cy="1512070"/>
            </a:xfrm>
          </p:grpSpPr>
          <p:sp>
            <p:nvSpPr>
              <p:cNvPr id="202" name="Freeform 76"/>
              <p:cNvSpPr>
                <a:spLocks/>
              </p:cNvSpPr>
              <p:nvPr/>
            </p:nvSpPr>
            <p:spPr bwMode="auto">
              <a:xfrm>
                <a:off x="725158" y="6000018"/>
                <a:ext cx="48116" cy="29697"/>
              </a:xfrm>
              <a:custGeom>
                <a:avLst/>
                <a:gdLst>
                  <a:gd name="T0" fmla="*/ 0 w 24"/>
                  <a:gd name="T1" fmla="*/ 13 h 13"/>
                  <a:gd name="T2" fmla="*/ 8 w 24"/>
                  <a:gd name="T3" fmla="*/ 13 h 13"/>
                  <a:gd name="T4" fmla="*/ 24 w 24"/>
                  <a:gd name="T5" fmla="*/ 11 h 13"/>
                  <a:gd name="T6" fmla="*/ 24 w 24"/>
                  <a:gd name="T7" fmla="*/ 0 h 13"/>
                  <a:gd name="T8" fmla="*/ 0 w 24"/>
                  <a:gd name="T9" fmla="*/ 0 h 13"/>
                  <a:gd name="T10" fmla="*/ 0 w 24"/>
                  <a:gd name="T11" fmla="*/ 13 h 13"/>
                </a:gdLst>
                <a:ahLst/>
                <a:cxnLst>
                  <a:cxn ang="0">
                    <a:pos x="T0" y="T1"/>
                  </a:cxn>
                  <a:cxn ang="0">
                    <a:pos x="T2" y="T3"/>
                  </a:cxn>
                  <a:cxn ang="0">
                    <a:pos x="T4" y="T5"/>
                  </a:cxn>
                  <a:cxn ang="0">
                    <a:pos x="T6" y="T7"/>
                  </a:cxn>
                  <a:cxn ang="0">
                    <a:pos x="T8" y="T9"/>
                  </a:cxn>
                  <a:cxn ang="0">
                    <a:pos x="T10" y="T11"/>
                  </a:cxn>
                </a:cxnLst>
                <a:rect l="0" t="0" r="r" b="b"/>
                <a:pathLst>
                  <a:path w="24" h="13">
                    <a:moveTo>
                      <a:pt x="0" y="13"/>
                    </a:moveTo>
                    <a:cubicBezTo>
                      <a:pt x="8" y="13"/>
                      <a:pt x="8" y="13"/>
                      <a:pt x="8" y="13"/>
                    </a:cubicBezTo>
                    <a:cubicBezTo>
                      <a:pt x="14" y="13"/>
                      <a:pt x="19" y="13"/>
                      <a:pt x="24" y="11"/>
                    </a:cubicBezTo>
                    <a:cubicBezTo>
                      <a:pt x="24" y="0"/>
                      <a:pt x="24" y="0"/>
                      <a:pt x="24" y="0"/>
                    </a:cubicBezTo>
                    <a:cubicBezTo>
                      <a:pt x="0" y="0"/>
                      <a:pt x="0" y="0"/>
                      <a:pt x="0" y="0"/>
                    </a:cubicBezTo>
                    <a:lnTo>
                      <a:pt x="0" y="13"/>
                    </a:lnTo>
                    <a:close/>
                  </a:path>
                </a:pathLst>
              </a:custGeom>
              <a:solidFill>
                <a:srgbClr val="D83B01"/>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03" name="Freeform 77"/>
              <p:cNvSpPr>
                <a:spLocks/>
              </p:cNvSpPr>
              <p:nvPr/>
            </p:nvSpPr>
            <p:spPr bwMode="auto">
              <a:xfrm>
                <a:off x="333950" y="6000018"/>
                <a:ext cx="43933" cy="29697"/>
              </a:xfrm>
              <a:custGeom>
                <a:avLst/>
                <a:gdLst>
                  <a:gd name="T0" fmla="*/ 23 w 23"/>
                  <a:gd name="T1" fmla="*/ 13 h 13"/>
                  <a:gd name="T2" fmla="*/ 16 w 23"/>
                  <a:gd name="T3" fmla="*/ 13 h 13"/>
                  <a:gd name="T4" fmla="*/ 0 w 23"/>
                  <a:gd name="T5" fmla="*/ 11 h 13"/>
                  <a:gd name="T6" fmla="*/ 0 w 23"/>
                  <a:gd name="T7" fmla="*/ 0 h 13"/>
                  <a:gd name="T8" fmla="*/ 23 w 23"/>
                  <a:gd name="T9" fmla="*/ 0 h 13"/>
                  <a:gd name="T10" fmla="*/ 23 w 23"/>
                  <a:gd name="T11" fmla="*/ 13 h 13"/>
                </a:gdLst>
                <a:ahLst/>
                <a:cxnLst>
                  <a:cxn ang="0">
                    <a:pos x="T0" y="T1"/>
                  </a:cxn>
                  <a:cxn ang="0">
                    <a:pos x="T2" y="T3"/>
                  </a:cxn>
                  <a:cxn ang="0">
                    <a:pos x="T4" y="T5"/>
                  </a:cxn>
                  <a:cxn ang="0">
                    <a:pos x="T6" y="T7"/>
                  </a:cxn>
                  <a:cxn ang="0">
                    <a:pos x="T8" y="T9"/>
                  </a:cxn>
                  <a:cxn ang="0">
                    <a:pos x="T10" y="T11"/>
                  </a:cxn>
                </a:cxnLst>
                <a:rect l="0" t="0" r="r" b="b"/>
                <a:pathLst>
                  <a:path w="23" h="13">
                    <a:moveTo>
                      <a:pt x="23" y="13"/>
                    </a:moveTo>
                    <a:cubicBezTo>
                      <a:pt x="16" y="13"/>
                      <a:pt x="16" y="13"/>
                      <a:pt x="16" y="13"/>
                    </a:cubicBezTo>
                    <a:cubicBezTo>
                      <a:pt x="10" y="13"/>
                      <a:pt x="5" y="13"/>
                      <a:pt x="0" y="11"/>
                    </a:cubicBezTo>
                    <a:cubicBezTo>
                      <a:pt x="0" y="0"/>
                      <a:pt x="0" y="0"/>
                      <a:pt x="0" y="0"/>
                    </a:cubicBezTo>
                    <a:cubicBezTo>
                      <a:pt x="23" y="0"/>
                      <a:pt x="23" y="0"/>
                      <a:pt x="23" y="0"/>
                    </a:cubicBezTo>
                    <a:lnTo>
                      <a:pt x="23" y="13"/>
                    </a:lnTo>
                    <a:close/>
                  </a:path>
                </a:pathLst>
              </a:custGeom>
              <a:solidFill>
                <a:srgbClr val="D83B01"/>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04" name="Freeform 79"/>
              <p:cNvSpPr>
                <a:spLocks/>
              </p:cNvSpPr>
              <p:nvPr/>
            </p:nvSpPr>
            <p:spPr bwMode="auto">
              <a:xfrm>
                <a:off x="264917" y="4517645"/>
                <a:ext cx="575303" cy="1497222"/>
              </a:xfrm>
              <a:custGeom>
                <a:avLst/>
                <a:gdLst>
                  <a:gd name="T0" fmla="*/ 294 w 294"/>
                  <a:gd name="T1" fmla="*/ 602 h 652"/>
                  <a:gd name="T2" fmla="*/ 244 w 294"/>
                  <a:gd name="T3" fmla="*/ 652 h 652"/>
                  <a:gd name="T4" fmla="*/ 51 w 294"/>
                  <a:gd name="T5" fmla="*/ 652 h 652"/>
                  <a:gd name="T6" fmla="*/ 0 w 294"/>
                  <a:gd name="T7" fmla="*/ 602 h 652"/>
                  <a:gd name="T8" fmla="*/ 0 w 294"/>
                  <a:gd name="T9" fmla="*/ 50 h 652"/>
                  <a:gd name="T10" fmla="*/ 51 w 294"/>
                  <a:gd name="T11" fmla="*/ 0 h 652"/>
                  <a:gd name="T12" fmla="*/ 244 w 294"/>
                  <a:gd name="T13" fmla="*/ 0 h 652"/>
                  <a:gd name="T14" fmla="*/ 294 w 294"/>
                  <a:gd name="T15" fmla="*/ 50 h 652"/>
                  <a:gd name="T16" fmla="*/ 294 w 294"/>
                  <a:gd name="T17" fmla="*/ 602 h 6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4" h="652">
                    <a:moveTo>
                      <a:pt x="294" y="602"/>
                    </a:moveTo>
                    <a:cubicBezTo>
                      <a:pt x="294" y="602"/>
                      <a:pt x="294" y="652"/>
                      <a:pt x="244" y="652"/>
                    </a:cubicBezTo>
                    <a:cubicBezTo>
                      <a:pt x="51" y="652"/>
                      <a:pt x="51" y="652"/>
                      <a:pt x="51" y="652"/>
                    </a:cubicBezTo>
                    <a:cubicBezTo>
                      <a:pt x="51" y="652"/>
                      <a:pt x="0" y="652"/>
                      <a:pt x="0" y="602"/>
                    </a:cubicBezTo>
                    <a:cubicBezTo>
                      <a:pt x="0" y="50"/>
                      <a:pt x="0" y="50"/>
                      <a:pt x="0" y="50"/>
                    </a:cubicBezTo>
                    <a:cubicBezTo>
                      <a:pt x="0" y="50"/>
                      <a:pt x="0" y="0"/>
                      <a:pt x="51" y="0"/>
                    </a:cubicBezTo>
                    <a:cubicBezTo>
                      <a:pt x="244" y="0"/>
                      <a:pt x="244" y="0"/>
                      <a:pt x="244" y="0"/>
                    </a:cubicBezTo>
                    <a:cubicBezTo>
                      <a:pt x="244" y="0"/>
                      <a:pt x="294" y="0"/>
                      <a:pt x="294" y="50"/>
                    </a:cubicBezTo>
                    <a:lnTo>
                      <a:pt x="294" y="602"/>
                    </a:lnTo>
                    <a:close/>
                  </a:path>
                </a:pathLst>
              </a:custGeom>
              <a:solidFill>
                <a:srgbClr val="D83B01"/>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05" name="Oval 81"/>
              <p:cNvSpPr>
                <a:spLocks noChangeArrowheads="1"/>
              </p:cNvSpPr>
              <p:nvPr/>
            </p:nvSpPr>
            <p:spPr bwMode="auto">
              <a:xfrm>
                <a:off x="529709" y="4804713"/>
                <a:ext cx="45719" cy="45719"/>
              </a:xfrm>
              <a:prstGeom prst="ellipse">
                <a:avLst/>
              </a:prstGeom>
              <a:solidFill>
                <a:srgbClr val="A8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06" name="Freeform 83"/>
              <p:cNvSpPr>
                <a:spLocks/>
              </p:cNvSpPr>
              <p:nvPr/>
            </p:nvSpPr>
            <p:spPr bwMode="auto">
              <a:xfrm>
                <a:off x="501314" y="5522091"/>
                <a:ext cx="102508" cy="104505"/>
              </a:xfrm>
              <a:custGeom>
                <a:avLst/>
                <a:gdLst>
                  <a:gd name="T0" fmla="*/ 43 w 52"/>
                  <a:gd name="T1" fmla="*/ 42 h 52"/>
                  <a:gd name="T2" fmla="*/ 10 w 52"/>
                  <a:gd name="T3" fmla="*/ 42 h 52"/>
                  <a:gd name="T4" fmla="*/ 10 w 52"/>
                  <a:gd name="T5" fmla="*/ 9 h 52"/>
                  <a:gd name="T6" fmla="*/ 43 w 52"/>
                  <a:gd name="T7" fmla="*/ 9 h 52"/>
                  <a:gd name="T8" fmla="*/ 43 w 52"/>
                  <a:gd name="T9" fmla="*/ 42 h 52"/>
                </a:gdLst>
                <a:ahLst/>
                <a:cxnLst>
                  <a:cxn ang="0">
                    <a:pos x="T0" y="T1"/>
                  </a:cxn>
                  <a:cxn ang="0">
                    <a:pos x="T2" y="T3"/>
                  </a:cxn>
                  <a:cxn ang="0">
                    <a:pos x="T4" y="T5"/>
                  </a:cxn>
                  <a:cxn ang="0">
                    <a:pos x="T6" y="T7"/>
                  </a:cxn>
                  <a:cxn ang="0">
                    <a:pos x="T8" y="T9"/>
                  </a:cxn>
                </a:cxnLst>
                <a:rect l="0" t="0" r="r" b="b"/>
                <a:pathLst>
                  <a:path w="52" h="52">
                    <a:moveTo>
                      <a:pt x="43" y="42"/>
                    </a:moveTo>
                    <a:cubicBezTo>
                      <a:pt x="34" y="52"/>
                      <a:pt x="19" y="52"/>
                      <a:pt x="10" y="42"/>
                    </a:cubicBezTo>
                    <a:cubicBezTo>
                      <a:pt x="0" y="33"/>
                      <a:pt x="0" y="18"/>
                      <a:pt x="10" y="9"/>
                    </a:cubicBezTo>
                    <a:cubicBezTo>
                      <a:pt x="19" y="0"/>
                      <a:pt x="34" y="0"/>
                      <a:pt x="43" y="9"/>
                    </a:cubicBezTo>
                    <a:cubicBezTo>
                      <a:pt x="52" y="18"/>
                      <a:pt x="52" y="33"/>
                      <a:pt x="43" y="42"/>
                    </a:cubicBezTo>
                    <a:close/>
                  </a:path>
                </a:pathLst>
              </a:custGeom>
              <a:solidFill>
                <a:srgbClr val="FF8C00"/>
              </a:solidFill>
              <a:ln w="11113" cap="flat">
                <a:solidFill>
                  <a:srgbClr val="505050"/>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07" name="Rectangle 139"/>
              <p:cNvSpPr>
                <a:spLocks noChangeArrowheads="1"/>
              </p:cNvSpPr>
              <p:nvPr/>
            </p:nvSpPr>
            <p:spPr bwMode="auto">
              <a:xfrm>
                <a:off x="367726" y="5085733"/>
                <a:ext cx="79007" cy="474045"/>
              </a:xfrm>
              <a:prstGeom prst="rect">
                <a:avLst/>
              </a:prstGeom>
              <a:solidFill>
                <a:srgbClr val="A80000"/>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08" name="Rectangle 143"/>
              <p:cNvSpPr>
                <a:spLocks noChangeArrowheads="1"/>
              </p:cNvSpPr>
              <p:nvPr/>
            </p:nvSpPr>
            <p:spPr bwMode="auto">
              <a:xfrm>
                <a:off x="654334" y="5085733"/>
                <a:ext cx="79007" cy="474045"/>
              </a:xfrm>
              <a:prstGeom prst="rect">
                <a:avLst/>
              </a:prstGeom>
              <a:solidFill>
                <a:srgbClr val="A80000"/>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09" name="Rectangle 150"/>
              <p:cNvSpPr>
                <a:spLocks noChangeArrowheads="1"/>
              </p:cNvSpPr>
              <p:nvPr/>
            </p:nvSpPr>
            <p:spPr bwMode="auto">
              <a:xfrm>
                <a:off x="332907" y="5665626"/>
                <a:ext cx="439322" cy="79007"/>
              </a:xfrm>
              <a:prstGeom prst="rect">
                <a:avLst/>
              </a:prstGeom>
              <a:solidFill>
                <a:srgbClr val="A80000"/>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10" name="Rectangle 151"/>
              <p:cNvSpPr>
                <a:spLocks noChangeArrowheads="1"/>
              </p:cNvSpPr>
              <p:nvPr/>
            </p:nvSpPr>
            <p:spPr bwMode="auto">
              <a:xfrm>
                <a:off x="332907" y="5789662"/>
                <a:ext cx="439322" cy="14849"/>
              </a:xfrm>
              <a:prstGeom prst="rect">
                <a:avLst/>
              </a:prstGeom>
              <a:solidFill>
                <a:srgbClr val="A80000"/>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11" name="Rectangle 152"/>
              <p:cNvSpPr>
                <a:spLocks noChangeArrowheads="1"/>
              </p:cNvSpPr>
              <p:nvPr/>
            </p:nvSpPr>
            <p:spPr bwMode="auto">
              <a:xfrm>
                <a:off x="332907" y="5824309"/>
                <a:ext cx="439322" cy="12376"/>
              </a:xfrm>
              <a:prstGeom prst="rect">
                <a:avLst/>
              </a:prstGeom>
              <a:solidFill>
                <a:srgbClr val="A80000"/>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12" name="Rectangle 153"/>
              <p:cNvSpPr>
                <a:spLocks noChangeArrowheads="1"/>
              </p:cNvSpPr>
              <p:nvPr/>
            </p:nvSpPr>
            <p:spPr bwMode="auto">
              <a:xfrm>
                <a:off x="332907" y="5858956"/>
                <a:ext cx="439322" cy="12376"/>
              </a:xfrm>
              <a:prstGeom prst="rect">
                <a:avLst/>
              </a:prstGeom>
              <a:solidFill>
                <a:srgbClr val="A80000"/>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13" name="Rectangle 150"/>
              <p:cNvSpPr>
                <a:spLocks noChangeArrowheads="1"/>
              </p:cNvSpPr>
              <p:nvPr/>
            </p:nvSpPr>
            <p:spPr bwMode="auto">
              <a:xfrm>
                <a:off x="332907" y="4664842"/>
                <a:ext cx="439322" cy="79007"/>
              </a:xfrm>
              <a:prstGeom prst="rect">
                <a:avLst/>
              </a:prstGeom>
              <a:solidFill>
                <a:srgbClr val="A80000"/>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grpSp>
          <p:nvGrpSpPr>
            <p:cNvPr id="8" name="Group 7"/>
            <p:cNvGrpSpPr/>
            <p:nvPr/>
          </p:nvGrpSpPr>
          <p:grpSpPr>
            <a:xfrm>
              <a:off x="981198" y="4791596"/>
              <a:ext cx="1653450" cy="1526921"/>
              <a:chOff x="981198" y="4791596"/>
              <a:chExt cx="1653450" cy="1526921"/>
            </a:xfrm>
          </p:grpSpPr>
          <p:sp>
            <p:nvSpPr>
              <p:cNvPr id="178" name="Oval 48"/>
              <p:cNvSpPr>
                <a:spLocks noChangeArrowheads="1"/>
              </p:cNvSpPr>
              <p:nvPr/>
            </p:nvSpPr>
            <p:spPr bwMode="auto">
              <a:xfrm>
                <a:off x="1384374" y="5878883"/>
                <a:ext cx="701269" cy="147975"/>
              </a:xfrm>
              <a:prstGeom prst="ellipse">
                <a:avLst/>
              </a:pr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79" name="Freeform 192"/>
              <p:cNvSpPr>
                <a:spLocks/>
              </p:cNvSpPr>
              <p:nvPr/>
            </p:nvSpPr>
            <p:spPr bwMode="auto">
              <a:xfrm>
                <a:off x="1247122" y="6159820"/>
                <a:ext cx="379586" cy="158697"/>
              </a:xfrm>
              <a:custGeom>
                <a:avLst/>
                <a:gdLst>
                  <a:gd name="T0" fmla="*/ 177 w 177"/>
                  <a:gd name="T1" fmla="*/ 74 h 74"/>
                  <a:gd name="T2" fmla="*/ 177 w 177"/>
                  <a:gd name="T3" fmla="*/ 54 h 74"/>
                  <a:gd name="T4" fmla="*/ 0 w 177"/>
                  <a:gd name="T5" fmla="*/ 0 h 74"/>
                  <a:gd name="T6" fmla="*/ 0 w 177"/>
                  <a:gd name="T7" fmla="*/ 27 h 74"/>
                  <a:gd name="T8" fmla="*/ 177 w 177"/>
                  <a:gd name="T9" fmla="*/ 74 h 74"/>
                </a:gdLst>
                <a:ahLst/>
                <a:cxnLst>
                  <a:cxn ang="0">
                    <a:pos x="T0" y="T1"/>
                  </a:cxn>
                  <a:cxn ang="0">
                    <a:pos x="T2" y="T3"/>
                  </a:cxn>
                  <a:cxn ang="0">
                    <a:pos x="T4" y="T5"/>
                  </a:cxn>
                  <a:cxn ang="0">
                    <a:pos x="T6" y="T7"/>
                  </a:cxn>
                  <a:cxn ang="0">
                    <a:pos x="T8" y="T9"/>
                  </a:cxn>
                </a:cxnLst>
                <a:rect l="0" t="0" r="r" b="b"/>
                <a:pathLst>
                  <a:path w="177" h="74">
                    <a:moveTo>
                      <a:pt x="177" y="74"/>
                    </a:moveTo>
                    <a:lnTo>
                      <a:pt x="177" y="54"/>
                    </a:lnTo>
                    <a:lnTo>
                      <a:pt x="0" y="0"/>
                    </a:lnTo>
                    <a:lnTo>
                      <a:pt x="0" y="27"/>
                    </a:lnTo>
                    <a:lnTo>
                      <a:pt x="177" y="74"/>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80" name="Freeform 127"/>
              <p:cNvSpPr>
                <a:spLocks/>
              </p:cNvSpPr>
              <p:nvPr/>
            </p:nvSpPr>
            <p:spPr bwMode="auto">
              <a:xfrm>
                <a:off x="981198" y="4791596"/>
                <a:ext cx="100795" cy="1220251"/>
              </a:xfrm>
              <a:custGeom>
                <a:avLst/>
                <a:gdLst>
                  <a:gd name="T0" fmla="*/ 0 w 47"/>
                  <a:gd name="T1" fmla="*/ 564 h 569"/>
                  <a:gd name="T2" fmla="*/ 47 w 47"/>
                  <a:gd name="T3" fmla="*/ 569 h 569"/>
                  <a:gd name="T4" fmla="*/ 47 w 47"/>
                  <a:gd name="T5" fmla="*/ 0 h 569"/>
                  <a:gd name="T6" fmla="*/ 0 w 47"/>
                  <a:gd name="T7" fmla="*/ 5 h 569"/>
                  <a:gd name="T8" fmla="*/ 0 w 47"/>
                  <a:gd name="T9" fmla="*/ 564 h 569"/>
                </a:gdLst>
                <a:ahLst/>
                <a:cxnLst>
                  <a:cxn ang="0">
                    <a:pos x="T0" y="T1"/>
                  </a:cxn>
                  <a:cxn ang="0">
                    <a:pos x="T2" y="T3"/>
                  </a:cxn>
                  <a:cxn ang="0">
                    <a:pos x="T4" y="T5"/>
                  </a:cxn>
                  <a:cxn ang="0">
                    <a:pos x="T6" y="T7"/>
                  </a:cxn>
                  <a:cxn ang="0">
                    <a:pos x="T8" y="T9"/>
                  </a:cxn>
                </a:cxnLst>
                <a:rect l="0" t="0" r="r" b="b"/>
                <a:pathLst>
                  <a:path w="47" h="569">
                    <a:moveTo>
                      <a:pt x="0" y="564"/>
                    </a:moveTo>
                    <a:lnTo>
                      <a:pt x="47" y="569"/>
                    </a:lnTo>
                    <a:lnTo>
                      <a:pt x="47" y="0"/>
                    </a:lnTo>
                    <a:lnTo>
                      <a:pt x="0" y="5"/>
                    </a:lnTo>
                    <a:lnTo>
                      <a:pt x="0" y="564"/>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81" name="Freeform 128"/>
              <p:cNvSpPr>
                <a:spLocks/>
              </p:cNvSpPr>
              <p:nvPr/>
            </p:nvSpPr>
            <p:spPr bwMode="auto">
              <a:xfrm>
                <a:off x="1056257" y="4791596"/>
                <a:ext cx="1419693" cy="1220251"/>
              </a:xfrm>
              <a:custGeom>
                <a:avLst/>
                <a:gdLst>
                  <a:gd name="T0" fmla="*/ 264 w 269"/>
                  <a:gd name="T1" fmla="*/ 204 h 231"/>
                  <a:gd name="T2" fmla="*/ 269 w 269"/>
                  <a:gd name="T3" fmla="*/ 199 h 231"/>
                  <a:gd name="T4" fmla="*/ 269 w 269"/>
                  <a:gd name="T5" fmla="*/ 22 h 231"/>
                  <a:gd name="T6" fmla="*/ 264 w 269"/>
                  <a:gd name="T7" fmla="*/ 17 h 231"/>
                  <a:gd name="T8" fmla="*/ 5 w 269"/>
                  <a:gd name="T9" fmla="*/ 0 h 231"/>
                  <a:gd name="T10" fmla="*/ 0 w 269"/>
                  <a:gd name="T11" fmla="*/ 6 h 231"/>
                  <a:gd name="T12" fmla="*/ 0 w 269"/>
                  <a:gd name="T13" fmla="*/ 225 h 231"/>
                  <a:gd name="T14" fmla="*/ 5 w 269"/>
                  <a:gd name="T15" fmla="*/ 231 h 231"/>
                  <a:gd name="T16" fmla="*/ 264 w 269"/>
                  <a:gd name="T17" fmla="*/ 204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9" h="231">
                    <a:moveTo>
                      <a:pt x="264" y="204"/>
                    </a:moveTo>
                    <a:cubicBezTo>
                      <a:pt x="267" y="204"/>
                      <a:pt x="269" y="201"/>
                      <a:pt x="269" y="199"/>
                    </a:cubicBezTo>
                    <a:cubicBezTo>
                      <a:pt x="269" y="22"/>
                      <a:pt x="269" y="22"/>
                      <a:pt x="269" y="22"/>
                    </a:cubicBezTo>
                    <a:cubicBezTo>
                      <a:pt x="269" y="20"/>
                      <a:pt x="267" y="17"/>
                      <a:pt x="264" y="17"/>
                    </a:cubicBezTo>
                    <a:cubicBezTo>
                      <a:pt x="5" y="0"/>
                      <a:pt x="5" y="0"/>
                      <a:pt x="5" y="0"/>
                    </a:cubicBezTo>
                    <a:cubicBezTo>
                      <a:pt x="2" y="0"/>
                      <a:pt x="0" y="3"/>
                      <a:pt x="0" y="6"/>
                    </a:cubicBezTo>
                    <a:cubicBezTo>
                      <a:pt x="0" y="225"/>
                      <a:pt x="0" y="225"/>
                      <a:pt x="0" y="225"/>
                    </a:cubicBezTo>
                    <a:cubicBezTo>
                      <a:pt x="0" y="228"/>
                      <a:pt x="2" y="231"/>
                      <a:pt x="5" y="231"/>
                    </a:cubicBezTo>
                    <a:lnTo>
                      <a:pt x="264" y="204"/>
                    </a:lnTo>
                    <a:close/>
                  </a:path>
                </a:pathLst>
              </a:custGeom>
              <a:solidFill>
                <a:srgbClr val="D83B01"/>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82" name="Freeform 129"/>
              <p:cNvSpPr>
                <a:spLocks/>
              </p:cNvSpPr>
              <p:nvPr/>
            </p:nvSpPr>
            <p:spPr bwMode="auto">
              <a:xfrm>
                <a:off x="1114160" y="4849499"/>
                <a:ext cx="1318900" cy="950038"/>
              </a:xfrm>
              <a:custGeom>
                <a:avLst/>
                <a:gdLst>
                  <a:gd name="T0" fmla="*/ 615 w 615"/>
                  <a:gd name="T1" fmla="*/ 392 h 443"/>
                  <a:gd name="T2" fmla="*/ 0 w 615"/>
                  <a:gd name="T3" fmla="*/ 443 h 443"/>
                  <a:gd name="T4" fmla="*/ 0 w 615"/>
                  <a:gd name="T5" fmla="*/ 0 h 443"/>
                  <a:gd name="T6" fmla="*/ 615 w 615"/>
                  <a:gd name="T7" fmla="*/ 35 h 443"/>
                  <a:gd name="T8" fmla="*/ 615 w 615"/>
                  <a:gd name="T9" fmla="*/ 392 h 443"/>
                </a:gdLst>
                <a:ahLst/>
                <a:cxnLst>
                  <a:cxn ang="0">
                    <a:pos x="T0" y="T1"/>
                  </a:cxn>
                  <a:cxn ang="0">
                    <a:pos x="T2" y="T3"/>
                  </a:cxn>
                  <a:cxn ang="0">
                    <a:pos x="T4" y="T5"/>
                  </a:cxn>
                  <a:cxn ang="0">
                    <a:pos x="T6" y="T7"/>
                  </a:cxn>
                  <a:cxn ang="0">
                    <a:pos x="T8" y="T9"/>
                  </a:cxn>
                </a:cxnLst>
                <a:rect l="0" t="0" r="r" b="b"/>
                <a:pathLst>
                  <a:path w="615" h="443">
                    <a:moveTo>
                      <a:pt x="615" y="392"/>
                    </a:moveTo>
                    <a:lnTo>
                      <a:pt x="0" y="443"/>
                    </a:lnTo>
                    <a:lnTo>
                      <a:pt x="0" y="0"/>
                    </a:lnTo>
                    <a:lnTo>
                      <a:pt x="615" y="35"/>
                    </a:lnTo>
                    <a:lnTo>
                      <a:pt x="615" y="392"/>
                    </a:ln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83" name="Freeform 133"/>
              <p:cNvSpPr>
                <a:spLocks/>
              </p:cNvSpPr>
              <p:nvPr/>
            </p:nvSpPr>
            <p:spPr bwMode="auto">
              <a:xfrm>
                <a:off x="1204232" y="5441395"/>
                <a:ext cx="68626" cy="263781"/>
              </a:xfrm>
              <a:custGeom>
                <a:avLst/>
                <a:gdLst>
                  <a:gd name="T0" fmla="*/ 32 w 32"/>
                  <a:gd name="T1" fmla="*/ 0 h 123"/>
                  <a:gd name="T2" fmla="*/ 32 w 32"/>
                  <a:gd name="T3" fmla="*/ 121 h 123"/>
                  <a:gd name="T4" fmla="*/ 0 w 32"/>
                  <a:gd name="T5" fmla="*/ 123 h 123"/>
                  <a:gd name="T6" fmla="*/ 0 w 32"/>
                  <a:gd name="T7" fmla="*/ 2 h 123"/>
                  <a:gd name="T8" fmla="*/ 32 w 32"/>
                  <a:gd name="T9" fmla="*/ 0 h 123"/>
                </a:gdLst>
                <a:ahLst/>
                <a:cxnLst>
                  <a:cxn ang="0">
                    <a:pos x="T0" y="T1"/>
                  </a:cxn>
                  <a:cxn ang="0">
                    <a:pos x="T2" y="T3"/>
                  </a:cxn>
                  <a:cxn ang="0">
                    <a:pos x="T4" y="T5"/>
                  </a:cxn>
                  <a:cxn ang="0">
                    <a:pos x="T6" y="T7"/>
                  </a:cxn>
                  <a:cxn ang="0">
                    <a:pos x="T8" y="T9"/>
                  </a:cxn>
                </a:cxnLst>
                <a:rect l="0" t="0" r="r" b="b"/>
                <a:pathLst>
                  <a:path w="32" h="123">
                    <a:moveTo>
                      <a:pt x="32" y="0"/>
                    </a:moveTo>
                    <a:lnTo>
                      <a:pt x="32" y="121"/>
                    </a:lnTo>
                    <a:lnTo>
                      <a:pt x="0" y="123"/>
                    </a:lnTo>
                    <a:lnTo>
                      <a:pt x="0" y="2"/>
                    </a:lnTo>
                    <a:lnTo>
                      <a:pt x="32" y="0"/>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84" name="Freeform 134"/>
              <p:cNvSpPr>
                <a:spLocks/>
              </p:cNvSpPr>
              <p:nvPr/>
            </p:nvSpPr>
            <p:spPr bwMode="auto">
              <a:xfrm>
                <a:off x="2158557" y="5134725"/>
                <a:ext cx="186576" cy="83638"/>
              </a:xfrm>
              <a:custGeom>
                <a:avLst/>
                <a:gdLst>
                  <a:gd name="T0" fmla="*/ 33 w 35"/>
                  <a:gd name="T1" fmla="*/ 0 h 16"/>
                  <a:gd name="T2" fmla="*/ 34 w 35"/>
                  <a:gd name="T3" fmla="*/ 4 h 16"/>
                  <a:gd name="T4" fmla="*/ 35 w 35"/>
                  <a:gd name="T5" fmla="*/ 8 h 16"/>
                  <a:gd name="T6" fmla="*/ 35 w 35"/>
                  <a:gd name="T7" fmla="*/ 12 h 16"/>
                  <a:gd name="T8" fmla="*/ 35 w 35"/>
                  <a:gd name="T9" fmla="*/ 16 h 16"/>
                  <a:gd name="T10" fmla="*/ 0 w 35"/>
                  <a:gd name="T11" fmla="*/ 16 h 16"/>
                  <a:gd name="T12" fmla="*/ 33 w 35"/>
                  <a:gd name="T13" fmla="*/ 0 h 16"/>
                </a:gdLst>
                <a:ahLst/>
                <a:cxnLst>
                  <a:cxn ang="0">
                    <a:pos x="T0" y="T1"/>
                  </a:cxn>
                  <a:cxn ang="0">
                    <a:pos x="T2" y="T3"/>
                  </a:cxn>
                  <a:cxn ang="0">
                    <a:pos x="T4" y="T5"/>
                  </a:cxn>
                  <a:cxn ang="0">
                    <a:pos x="T6" y="T7"/>
                  </a:cxn>
                  <a:cxn ang="0">
                    <a:pos x="T8" y="T9"/>
                  </a:cxn>
                  <a:cxn ang="0">
                    <a:pos x="T10" y="T11"/>
                  </a:cxn>
                  <a:cxn ang="0">
                    <a:pos x="T12" y="T13"/>
                  </a:cxn>
                </a:cxnLst>
                <a:rect l="0" t="0" r="r" b="b"/>
                <a:pathLst>
                  <a:path w="35" h="16">
                    <a:moveTo>
                      <a:pt x="33" y="0"/>
                    </a:moveTo>
                    <a:cubicBezTo>
                      <a:pt x="33" y="1"/>
                      <a:pt x="34" y="3"/>
                      <a:pt x="34" y="4"/>
                    </a:cubicBezTo>
                    <a:cubicBezTo>
                      <a:pt x="34" y="5"/>
                      <a:pt x="35" y="7"/>
                      <a:pt x="35" y="8"/>
                    </a:cubicBezTo>
                    <a:cubicBezTo>
                      <a:pt x="35" y="9"/>
                      <a:pt x="35" y="11"/>
                      <a:pt x="35" y="12"/>
                    </a:cubicBezTo>
                    <a:cubicBezTo>
                      <a:pt x="35" y="13"/>
                      <a:pt x="35" y="15"/>
                      <a:pt x="35" y="16"/>
                    </a:cubicBezTo>
                    <a:cubicBezTo>
                      <a:pt x="0" y="16"/>
                      <a:pt x="0" y="16"/>
                      <a:pt x="0" y="16"/>
                    </a:cubicBezTo>
                    <a:lnTo>
                      <a:pt x="33" y="0"/>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85" name="Freeform 135"/>
              <p:cNvSpPr>
                <a:spLocks/>
              </p:cNvSpPr>
              <p:nvPr/>
            </p:nvSpPr>
            <p:spPr bwMode="auto">
              <a:xfrm>
                <a:off x="2158557" y="5051086"/>
                <a:ext cx="175853" cy="167275"/>
              </a:xfrm>
              <a:custGeom>
                <a:avLst/>
                <a:gdLst>
                  <a:gd name="T0" fmla="*/ 24 w 33"/>
                  <a:gd name="T1" fmla="*/ 0 h 32"/>
                  <a:gd name="T2" fmla="*/ 27 w 33"/>
                  <a:gd name="T3" fmla="*/ 4 h 32"/>
                  <a:gd name="T4" fmla="*/ 29 w 33"/>
                  <a:gd name="T5" fmla="*/ 8 h 32"/>
                  <a:gd name="T6" fmla="*/ 31 w 33"/>
                  <a:gd name="T7" fmla="*/ 12 h 32"/>
                  <a:gd name="T8" fmla="*/ 33 w 33"/>
                  <a:gd name="T9" fmla="*/ 16 h 32"/>
                  <a:gd name="T10" fmla="*/ 0 w 33"/>
                  <a:gd name="T11" fmla="*/ 32 h 32"/>
                  <a:gd name="T12" fmla="*/ 24 w 33"/>
                  <a:gd name="T13" fmla="*/ 0 h 32"/>
                </a:gdLst>
                <a:ahLst/>
                <a:cxnLst>
                  <a:cxn ang="0">
                    <a:pos x="T0" y="T1"/>
                  </a:cxn>
                  <a:cxn ang="0">
                    <a:pos x="T2" y="T3"/>
                  </a:cxn>
                  <a:cxn ang="0">
                    <a:pos x="T4" y="T5"/>
                  </a:cxn>
                  <a:cxn ang="0">
                    <a:pos x="T6" y="T7"/>
                  </a:cxn>
                  <a:cxn ang="0">
                    <a:pos x="T8" y="T9"/>
                  </a:cxn>
                  <a:cxn ang="0">
                    <a:pos x="T10" y="T11"/>
                  </a:cxn>
                  <a:cxn ang="0">
                    <a:pos x="T12" y="T13"/>
                  </a:cxn>
                </a:cxnLst>
                <a:rect l="0" t="0" r="r" b="b"/>
                <a:pathLst>
                  <a:path w="33" h="32">
                    <a:moveTo>
                      <a:pt x="24" y="0"/>
                    </a:moveTo>
                    <a:cubicBezTo>
                      <a:pt x="25" y="1"/>
                      <a:pt x="26" y="3"/>
                      <a:pt x="27" y="4"/>
                    </a:cubicBezTo>
                    <a:cubicBezTo>
                      <a:pt x="28" y="5"/>
                      <a:pt x="29" y="6"/>
                      <a:pt x="29" y="8"/>
                    </a:cubicBezTo>
                    <a:cubicBezTo>
                      <a:pt x="30" y="9"/>
                      <a:pt x="31" y="10"/>
                      <a:pt x="31" y="12"/>
                    </a:cubicBezTo>
                    <a:cubicBezTo>
                      <a:pt x="32" y="13"/>
                      <a:pt x="32" y="15"/>
                      <a:pt x="33" y="16"/>
                    </a:cubicBezTo>
                    <a:cubicBezTo>
                      <a:pt x="0" y="32"/>
                      <a:pt x="0" y="32"/>
                      <a:pt x="0" y="32"/>
                    </a:cubicBezTo>
                    <a:lnTo>
                      <a:pt x="24"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86" name="Freeform 136"/>
              <p:cNvSpPr>
                <a:spLocks/>
              </p:cNvSpPr>
              <p:nvPr/>
            </p:nvSpPr>
            <p:spPr bwMode="auto">
              <a:xfrm>
                <a:off x="2070631" y="5218362"/>
                <a:ext cx="274502" cy="233757"/>
              </a:xfrm>
              <a:custGeom>
                <a:avLst/>
                <a:gdLst>
                  <a:gd name="T0" fmla="*/ 17 w 52"/>
                  <a:gd name="T1" fmla="*/ 0 h 44"/>
                  <a:gd name="T2" fmla="*/ 52 w 52"/>
                  <a:gd name="T3" fmla="*/ 0 h 44"/>
                  <a:gd name="T4" fmla="*/ 50 w 52"/>
                  <a:gd name="T5" fmla="*/ 17 h 44"/>
                  <a:gd name="T6" fmla="*/ 42 w 52"/>
                  <a:gd name="T7" fmla="*/ 30 h 44"/>
                  <a:gd name="T8" fmla="*/ 31 w 52"/>
                  <a:gd name="T9" fmla="*/ 40 h 44"/>
                  <a:gd name="T10" fmla="*/ 17 w 52"/>
                  <a:gd name="T11" fmla="*/ 44 h 44"/>
                  <a:gd name="T12" fmla="*/ 12 w 52"/>
                  <a:gd name="T13" fmla="*/ 44 h 44"/>
                  <a:gd name="T14" fmla="*/ 8 w 52"/>
                  <a:gd name="T15" fmla="*/ 43 h 44"/>
                  <a:gd name="T16" fmla="*/ 4 w 52"/>
                  <a:gd name="T17" fmla="*/ 41 h 44"/>
                  <a:gd name="T18" fmla="*/ 0 w 52"/>
                  <a:gd name="T19" fmla="*/ 39 h 44"/>
                  <a:gd name="T20" fmla="*/ 17 w 52"/>
                  <a:gd name="T21"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2" h="44">
                    <a:moveTo>
                      <a:pt x="17" y="0"/>
                    </a:moveTo>
                    <a:cubicBezTo>
                      <a:pt x="52" y="0"/>
                      <a:pt x="52" y="0"/>
                      <a:pt x="52" y="0"/>
                    </a:cubicBezTo>
                    <a:cubicBezTo>
                      <a:pt x="52" y="6"/>
                      <a:pt x="52" y="12"/>
                      <a:pt x="50" y="17"/>
                    </a:cubicBezTo>
                    <a:cubicBezTo>
                      <a:pt x="48" y="22"/>
                      <a:pt x="46" y="26"/>
                      <a:pt x="42" y="30"/>
                    </a:cubicBezTo>
                    <a:cubicBezTo>
                      <a:pt x="39" y="34"/>
                      <a:pt x="35" y="38"/>
                      <a:pt x="31" y="40"/>
                    </a:cubicBezTo>
                    <a:cubicBezTo>
                      <a:pt x="27" y="42"/>
                      <a:pt x="22" y="44"/>
                      <a:pt x="17" y="44"/>
                    </a:cubicBezTo>
                    <a:cubicBezTo>
                      <a:pt x="15" y="44"/>
                      <a:pt x="14" y="44"/>
                      <a:pt x="12" y="44"/>
                    </a:cubicBezTo>
                    <a:cubicBezTo>
                      <a:pt x="11" y="43"/>
                      <a:pt x="9" y="43"/>
                      <a:pt x="8" y="43"/>
                    </a:cubicBezTo>
                    <a:cubicBezTo>
                      <a:pt x="6" y="42"/>
                      <a:pt x="5" y="42"/>
                      <a:pt x="4" y="41"/>
                    </a:cubicBezTo>
                    <a:cubicBezTo>
                      <a:pt x="2" y="41"/>
                      <a:pt x="1" y="40"/>
                      <a:pt x="0" y="39"/>
                    </a:cubicBezTo>
                    <a:lnTo>
                      <a:pt x="17"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87" name="Freeform 137"/>
              <p:cNvSpPr>
                <a:spLocks/>
              </p:cNvSpPr>
              <p:nvPr/>
            </p:nvSpPr>
            <p:spPr bwMode="auto">
              <a:xfrm>
                <a:off x="2158557" y="5218362"/>
                <a:ext cx="186576" cy="233757"/>
              </a:xfrm>
              <a:custGeom>
                <a:avLst/>
                <a:gdLst>
                  <a:gd name="T0" fmla="*/ 35 w 35"/>
                  <a:gd name="T1" fmla="*/ 0 h 44"/>
                  <a:gd name="T2" fmla="*/ 33 w 35"/>
                  <a:gd name="T3" fmla="*/ 17 h 44"/>
                  <a:gd name="T4" fmla="*/ 25 w 35"/>
                  <a:gd name="T5" fmla="*/ 30 h 44"/>
                  <a:gd name="T6" fmla="*/ 14 w 35"/>
                  <a:gd name="T7" fmla="*/ 40 h 44"/>
                  <a:gd name="T8" fmla="*/ 0 w 35"/>
                  <a:gd name="T9" fmla="*/ 44 h 44"/>
                  <a:gd name="T10" fmla="*/ 14 w 35"/>
                  <a:gd name="T11" fmla="*/ 40 h 44"/>
                  <a:gd name="T12" fmla="*/ 25 w 35"/>
                  <a:gd name="T13" fmla="*/ 30 h 44"/>
                  <a:gd name="T14" fmla="*/ 33 w 35"/>
                  <a:gd name="T15" fmla="*/ 17 h 44"/>
                  <a:gd name="T16" fmla="*/ 35 w 35"/>
                  <a:gd name="T17"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 h="44">
                    <a:moveTo>
                      <a:pt x="35" y="0"/>
                    </a:moveTo>
                    <a:cubicBezTo>
                      <a:pt x="35" y="6"/>
                      <a:pt x="35" y="12"/>
                      <a:pt x="33" y="17"/>
                    </a:cubicBezTo>
                    <a:cubicBezTo>
                      <a:pt x="31" y="22"/>
                      <a:pt x="29" y="26"/>
                      <a:pt x="25" y="30"/>
                    </a:cubicBezTo>
                    <a:cubicBezTo>
                      <a:pt x="22" y="34"/>
                      <a:pt x="18" y="38"/>
                      <a:pt x="14" y="40"/>
                    </a:cubicBezTo>
                    <a:cubicBezTo>
                      <a:pt x="10" y="42"/>
                      <a:pt x="5" y="44"/>
                      <a:pt x="0" y="44"/>
                    </a:cubicBezTo>
                    <a:cubicBezTo>
                      <a:pt x="5" y="44"/>
                      <a:pt x="10" y="42"/>
                      <a:pt x="14" y="40"/>
                    </a:cubicBezTo>
                    <a:cubicBezTo>
                      <a:pt x="18" y="38"/>
                      <a:pt x="22" y="34"/>
                      <a:pt x="25" y="30"/>
                    </a:cubicBezTo>
                    <a:cubicBezTo>
                      <a:pt x="29" y="26"/>
                      <a:pt x="31" y="22"/>
                      <a:pt x="33" y="17"/>
                    </a:cubicBezTo>
                    <a:cubicBezTo>
                      <a:pt x="35" y="12"/>
                      <a:pt x="35" y="6"/>
                      <a:pt x="35" y="0"/>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88" name="Freeform 138"/>
              <p:cNvSpPr>
                <a:spLocks/>
              </p:cNvSpPr>
              <p:nvPr/>
            </p:nvSpPr>
            <p:spPr bwMode="auto">
              <a:xfrm>
                <a:off x="2158557" y="4982461"/>
                <a:ext cx="128673" cy="68626"/>
              </a:xfrm>
              <a:custGeom>
                <a:avLst/>
                <a:gdLst>
                  <a:gd name="T0" fmla="*/ 0 w 24"/>
                  <a:gd name="T1" fmla="*/ 0 h 13"/>
                  <a:gd name="T2" fmla="*/ 7 w 24"/>
                  <a:gd name="T3" fmla="*/ 2 h 13"/>
                  <a:gd name="T4" fmla="*/ 13 w 24"/>
                  <a:gd name="T5" fmla="*/ 4 h 13"/>
                  <a:gd name="T6" fmla="*/ 19 w 24"/>
                  <a:gd name="T7" fmla="*/ 8 h 13"/>
                  <a:gd name="T8" fmla="*/ 24 w 24"/>
                  <a:gd name="T9" fmla="*/ 13 h 13"/>
                  <a:gd name="T10" fmla="*/ 19 w 24"/>
                  <a:gd name="T11" fmla="*/ 8 h 13"/>
                  <a:gd name="T12" fmla="*/ 13 w 24"/>
                  <a:gd name="T13" fmla="*/ 4 h 13"/>
                  <a:gd name="T14" fmla="*/ 7 w 24"/>
                  <a:gd name="T15" fmla="*/ 2 h 13"/>
                  <a:gd name="T16" fmla="*/ 0 w 24"/>
                  <a:gd name="T17"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13">
                    <a:moveTo>
                      <a:pt x="0" y="0"/>
                    </a:moveTo>
                    <a:cubicBezTo>
                      <a:pt x="2" y="0"/>
                      <a:pt x="5" y="1"/>
                      <a:pt x="7" y="2"/>
                    </a:cubicBezTo>
                    <a:cubicBezTo>
                      <a:pt x="9" y="2"/>
                      <a:pt x="11" y="3"/>
                      <a:pt x="13" y="4"/>
                    </a:cubicBezTo>
                    <a:cubicBezTo>
                      <a:pt x="15" y="5"/>
                      <a:pt x="17" y="7"/>
                      <a:pt x="19" y="8"/>
                    </a:cubicBezTo>
                    <a:cubicBezTo>
                      <a:pt x="21" y="10"/>
                      <a:pt x="23" y="11"/>
                      <a:pt x="24" y="13"/>
                    </a:cubicBezTo>
                    <a:cubicBezTo>
                      <a:pt x="23" y="11"/>
                      <a:pt x="21" y="10"/>
                      <a:pt x="19" y="8"/>
                    </a:cubicBezTo>
                    <a:cubicBezTo>
                      <a:pt x="17" y="7"/>
                      <a:pt x="15" y="5"/>
                      <a:pt x="13" y="4"/>
                    </a:cubicBezTo>
                    <a:cubicBezTo>
                      <a:pt x="11" y="3"/>
                      <a:pt x="9" y="2"/>
                      <a:pt x="7" y="2"/>
                    </a:cubicBezTo>
                    <a:cubicBezTo>
                      <a:pt x="5" y="1"/>
                      <a:pt x="2" y="0"/>
                      <a:pt x="0" y="0"/>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89" name="Freeform 139"/>
              <p:cNvSpPr>
                <a:spLocks/>
              </p:cNvSpPr>
              <p:nvPr/>
            </p:nvSpPr>
            <p:spPr bwMode="auto">
              <a:xfrm>
                <a:off x="2074920" y="4982461"/>
                <a:ext cx="212311" cy="235901"/>
              </a:xfrm>
              <a:custGeom>
                <a:avLst/>
                <a:gdLst>
                  <a:gd name="T0" fmla="*/ 16 w 40"/>
                  <a:gd name="T1" fmla="*/ 0 h 45"/>
                  <a:gd name="T2" fmla="*/ 23 w 40"/>
                  <a:gd name="T3" fmla="*/ 2 h 45"/>
                  <a:gd name="T4" fmla="*/ 29 w 40"/>
                  <a:gd name="T5" fmla="*/ 4 h 45"/>
                  <a:gd name="T6" fmla="*/ 35 w 40"/>
                  <a:gd name="T7" fmla="*/ 8 h 45"/>
                  <a:gd name="T8" fmla="*/ 40 w 40"/>
                  <a:gd name="T9" fmla="*/ 13 h 45"/>
                  <a:gd name="T10" fmla="*/ 16 w 40"/>
                  <a:gd name="T11" fmla="*/ 45 h 45"/>
                  <a:gd name="T12" fmla="*/ 0 w 40"/>
                  <a:gd name="T13" fmla="*/ 3 h 45"/>
                  <a:gd name="T14" fmla="*/ 3 w 40"/>
                  <a:gd name="T15" fmla="*/ 2 h 45"/>
                  <a:gd name="T16" fmla="*/ 8 w 40"/>
                  <a:gd name="T17" fmla="*/ 1 h 45"/>
                  <a:gd name="T18" fmla="*/ 12 w 40"/>
                  <a:gd name="T19" fmla="*/ 0 h 45"/>
                  <a:gd name="T20" fmla="*/ 16 w 40"/>
                  <a:gd name="T21" fmla="*/ 0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0" h="45">
                    <a:moveTo>
                      <a:pt x="16" y="0"/>
                    </a:moveTo>
                    <a:cubicBezTo>
                      <a:pt x="18" y="0"/>
                      <a:pt x="21" y="1"/>
                      <a:pt x="23" y="2"/>
                    </a:cubicBezTo>
                    <a:cubicBezTo>
                      <a:pt x="25" y="2"/>
                      <a:pt x="27" y="3"/>
                      <a:pt x="29" y="4"/>
                    </a:cubicBezTo>
                    <a:cubicBezTo>
                      <a:pt x="31" y="5"/>
                      <a:pt x="33" y="7"/>
                      <a:pt x="35" y="8"/>
                    </a:cubicBezTo>
                    <a:cubicBezTo>
                      <a:pt x="37" y="10"/>
                      <a:pt x="39" y="11"/>
                      <a:pt x="40" y="13"/>
                    </a:cubicBezTo>
                    <a:cubicBezTo>
                      <a:pt x="16" y="45"/>
                      <a:pt x="16" y="45"/>
                      <a:pt x="16" y="45"/>
                    </a:cubicBezTo>
                    <a:cubicBezTo>
                      <a:pt x="0" y="3"/>
                      <a:pt x="0" y="3"/>
                      <a:pt x="0" y="3"/>
                    </a:cubicBezTo>
                    <a:cubicBezTo>
                      <a:pt x="1" y="3"/>
                      <a:pt x="2" y="2"/>
                      <a:pt x="3" y="2"/>
                    </a:cubicBezTo>
                    <a:cubicBezTo>
                      <a:pt x="5" y="1"/>
                      <a:pt x="6" y="1"/>
                      <a:pt x="8" y="1"/>
                    </a:cubicBezTo>
                    <a:cubicBezTo>
                      <a:pt x="9" y="0"/>
                      <a:pt x="10" y="0"/>
                      <a:pt x="12" y="0"/>
                    </a:cubicBezTo>
                    <a:cubicBezTo>
                      <a:pt x="13" y="0"/>
                      <a:pt x="14" y="0"/>
                      <a:pt x="16" y="0"/>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90" name="Freeform 140"/>
              <p:cNvSpPr>
                <a:spLocks/>
              </p:cNvSpPr>
              <p:nvPr/>
            </p:nvSpPr>
            <p:spPr bwMode="auto">
              <a:xfrm>
                <a:off x="2012727" y="5218362"/>
                <a:ext cx="145829" cy="208022"/>
              </a:xfrm>
              <a:custGeom>
                <a:avLst/>
                <a:gdLst>
                  <a:gd name="T0" fmla="*/ 28 w 28"/>
                  <a:gd name="T1" fmla="*/ 0 h 39"/>
                  <a:gd name="T2" fmla="*/ 11 w 28"/>
                  <a:gd name="T3" fmla="*/ 39 h 39"/>
                  <a:gd name="T4" fmla="*/ 8 w 28"/>
                  <a:gd name="T5" fmla="*/ 38 h 39"/>
                  <a:gd name="T6" fmla="*/ 5 w 28"/>
                  <a:gd name="T7" fmla="*/ 36 h 39"/>
                  <a:gd name="T8" fmla="*/ 3 w 28"/>
                  <a:gd name="T9" fmla="*/ 34 h 39"/>
                  <a:gd name="T10" fmla="*/ 0 w 28"/>
                  <a:gd name="T11" fmla="*/ 31 h 39"/>
                  <a:gd name="T12" fmla="*/ 28 w 28"/>
                  <a:gd name="T13" fmla="*/ 0 h 39"/>
                </a:gdLst>
                <a:ahLst/>
                <a:cxnLst>
                  <a:cxn ang="0">
                    <a:pos x="T0" y="T1"/>
                  </a:cxn>
                  <a:cxn ang="0">
                    <a:pos x="T2" y="T3"/>
                  </a:cxn>
                  <a:cxn ang="0">
                    <a:pos x="T4" y="T5"/>
                  </a:cxn>
                  <a:cxn ang="0">
                    <a:pos x="T6" y="T7"/>
                  </a:cxn>
                  <a:cxn ang="0">
                    <a:pos x="T8" y="T9"/>
                  </a:cxn>
                  <a:cxn ang="0">
                    <a:pos x="T10" y="T11"/>
                  </a:cxn>
                  <a:cxn ang="0">
                    <a:pos x="T12" y="T13"/>
                  </a:cxn>
                </a:cxnLst>
                <a:rect l="0" t="0" r="r" b="b"/>
                <a:pathLst>
                  <a:path w="28" h="39">
                    <a:moveTo>
                      <a:pt x="28" y="0"/>
                    </a:moveTo>
                    <a:cubicBezTo>
                      <a:pt x="11" y="39"/>
                      <a:pt x="11" y="39"/>
                      <a:pt x="11" y="39"/>
                    </a:cubicBezTo>
                    <a:cubicBezTo>
                      <a:pt x="10" y="39"/>
                      <a:pt x="9" y="38"/>
                      <a:pt x="8" y="38"/>
                    </a:cubicBezTo>
                    <a:cubicBezTo>
                      <a:pt x="7" y="37"/>
                      <a:pt x="6" y="36"/>
                      <a:pt x="5" y="36"/>
                    </a:cubicBezTo>
                    <a:cubicBezTo>
                      <a:pt x="4" y="35"/>
                      <a:pt x="3" y="34"/>
                      <a:pt x="3" y="34"/>
                    </a:cubicBezTo>
                    <a:cubicBezTo>
                      <a:pt x="2" y="33"/>
                      <a:pt x="1" y="32"/>
                      <a:pt x="0" y="31"/>
                    </a:cubicBezTo>
                    <a:lnTo>
                      <a:pt x="28" y="0"/>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91" name="Freeform 141"/>
              <p:cNvSpPr>
                <a:spLocks/>
              </p:cNvSpPr>
              <p:nvPr/>
            </p:nvSpPr>
            <p:spPr bwMode="auto">
              <a:xfrm>
                <a:off x="1969836" y="5600092"/>
                <a:ext cx="47180" cy="40747"/>
              </a:xfrm>
              <a:custGeom>
                <a:avLst/>
                <a:gdLst>
                  <a:gd name="T0" fmla="*/ 22 w 22"/>
                  <a:gd name="T1" fmla="*/ 0 h 19"/>
                  <a:gd name="T2" fmla="*/ 22 w 22"/>
                  <a:gd name="T3" fmla="*/ 17 h 19"/>
                  <a:gd name="T4" fmla="*/ 0 w 22"/>
                  <a:gd name="T5" fmla="*/ 19 h 19"/>
                  <a:gd name="T6" fmla="*/ 0 w 22"/>
                  <a:gd name="T7" fmla="*/ 2 h 19"/>
                  <a:gd name="T8" fmla="*/ 22 w 22"/>
                  <a:gd name="T9" fmla="*/ 0 h 19"/>
                </a:gdLst>
                <a:ahLst/>
                <a:cxnLst>
                  <a:cxn ang="0">
                    <a:pos x="T0" y="T1"/>
                  </a:cxn>
                  <a:cxn ang="0">
                    <a:pos x="T2" y="T3"/>
                  </a:cxn>
                  <a:cxn ang="0">
                    <a:pos x="T4" y="T5"/>
                  </a:cxn>
                  <a:cxn ang="0">
                    <a:pos x="T6" y="T7"/>
                  </a:cxn>
                  <a:cxn ang="0">
                    <a:pos x="T8" y="T9"/>
                  </a:cxn>
                </a:cxnLst>
                <a:rect l="0" t="0" r="r" b="b"/>
                <a:pathLst>
                  <a:path w="22" h="19">
                    <a:moveTo>
                      <a:pt x="22" y="0"/>
                    </a:moveTo>
                    <a:lnTo>
                      <a:pt x="22" y="17"/>
                    </a:lnTo>
                    <a:lnTo>
                      <a:pt x="0" y="19"/>
                    </a:lnTo>
                    <a:lnTo>
                      <a:pt x="0" y="2"/>
                    </a:lnTo>
                    <a:lnTo>
                      <a:pt x="22" y="0"/>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92" name="Freeform 142"/>
              <p:cNvSpPr>
                <a:spLocks/>
              </p:cNvSpPr>
              <p:nvPr/>
            </p:nvSpPr>
            <p:spPr bwMode="auto">
              <a:xfrm>
                <a:off x="1952679" y="4997474"/>
                <a:ext cx="205877" cy="386019"/>
              </a:xfrm>
              <a:custGeom>
                <a:avLst/>
                <a:gdLst>
                  <a:gd name="T0" fmla="*/ 23 w 39"/>
                  <a:gd name="T1" fmla="*/ 0 h 73"/>
                  <a:gd name="T2" fmla="*/ 39 w 39"/>
                  <a:gd name="T3" fmla="*/ 42 h 73"/>
                  <a:gd name="T4" fmla="*/ 11 w 39"/>
                  <a:gd name="T5" fmla="*/ 73 h 73"/>
                  <a:gd name="T6" fmla="*/ 6 w 39"/>
                  <a:gd name="T7" fmla="*/ 66 h 73"/>
                  <a:gd name="T8" fmla="*/ 3 w 39"/>
                  <a:gd name="T9" fmla="*/ 59 h 73"/>
                  <a:gd name="T10" fmla="*/ 0 w 39"/>
                  <a:gd name="T11" fmla="*/ 50 h 73"/>
                  <a:gd name="T12" fmla="*/ 0 w 39"/>
                  <a:gd name="T13" fmla="*/ 41 h 73"/>
                  <a:gd name="T14" fmla="*/ 1 w 39"/>
                  <a:gd name="T15" fmla="*/ 27 h 73"/>
                  <a:gd name="T16" fmla="*/ 6 w 39"/>
                  <a:gd name="T17" fmla="*/ 16 h 73"/>
                  <a:gd name="T18" fmla="*/ 13 w 39"/>
                  <a:gd name="T19" fmla="*/ 7 h 73"/>
                  <a:gd name="T20" fmla="*/ 23 w 39"/>
                  <a:gd name="T21" fmla="*/ 0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9" h="73">
                    <a:moveTo>
                      <a:pt x="23" y="0"/>
                    </a:moveTo>
                    <a:cubicBezTo>
                      <a:pt x="39" y="42"/>
                      <a:pt x="39" y="42"/>
                      <a:pt x="39" y="42"/>
                    </a:cubicBezTo>
                    <a:cubicBezTo>
                      <a:pt x="11" y="73"/>
                      <a:pt x="11" y="73"/>
                      <a:pt x="11" y="73"/>
                    </a:cubicBezTo>
                    <a:cubicBezTo>
                      <a:pt x="9" y="71"/>
                      <a:pt x="8" y="69"/>
                      <a:pt x="6" y="66"/>
                    </a:cubicBezTo>
                    <a:cubicBezTo>
                      <a:pt x="5" y="64"/>
                      <a:pt x="4" y="61"/>
                      <a:pt x="3" y="59"/>
                    </a:cubicBezTo>
                    <a:cubicBezTo>
                      <a:pt x="2" y="56"/>
                      <a:pt x="1" y="53"/>
                      <a:pt x="0" y="50"/>
                    </a:cubicBezTo>
                    <a:cubicBezTo>
                      <a:pt x="0" y="47"/>
                      <a:pt x="0" y="44"/>
                      <a:pt x="0" y="41"/>
                    </a:cubicBezTo>
                    <a:cubicBezTo>
                      <a:pt x="0" y="36"/>
                      <a:pt x="0" y="32"/>
                      <a:pt x="1" y="27"/>
                    </a:cubicBezTo>
                    <a:cubicBezTo>
                      <a:pt x="2" y="23"/>
                      <a:pt x="4" y="19"/>
                      <a:pt x="6" y="16"/>
                    </a:cubicBezTo>
                    <a:cubicBezTo>
                      <a:pt x="8" y="12"/>
                      <a:pt x="11" y="9"/>
                      <a:pt x="13" y="7"/>
                    </a:cubicBezTo>
                    <a:cubicBezTo>
                      <a:pt x="16" y="4"/>
                      <a:pt x="19" y="2"/>
                      <a:pt x="23" y="0"/>
                    </a:cubicBez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93" name="Freeform 143"/>
              <p:cNvSpPr>
                <a:spLocks/>
              </p:cNvSpPr>
              <p:nvPr/>
            </p:nvSpPr>
            <p:spPr bwMode="auto">
              <a:xfrm>
                <a:off x="1894777" y="5499299"/>
                <a:ext cx="53614" cy="147975"/>
              </a:xfrm>
              <a:custGeom>
                <a:avLst/>
                <a:gdLst>
                  <a:gd name="T0" fmla="*/ 25 w 25"/>
                  <a:gd name="T1" fmla="*/ 0 h 69"/>
                  <a:gd name="T2" fmla="*/ 25 w 25"/>
                  <a:gd name="T3" fmla="*/ 66 h 69"/>
                  <a:gd name="T4" fmla="*/ 0 w 25"/>
                  <a:gd name="T5" fmla="*/ 69 h 69"/>
                  <a:gd name="T6" fmla="*/ 0 w 25"/>
                  <a:gd name="T7" fmla="*/ 2 h 69"/>
                  <a:gd name="T8" fmla="*/ 25 w 25"/>
                  <a:gd name="T9" fmla="*/ 0 h 69"/>
                </a:gdLst>
                <a:ahLst/>
                <a:cxnLst>
                  <a:cxn ang="0">
                    <a:pos x="T0" y="T1"/>
                  </a:cxn>
                  <a:cxn ang="0">
                    <a:pos x="T2" y="T3"/>
                  </a:cxn>
                  <a:cxn ang="0">
                    <a:pos x="T4" y="T5"/>
                  </a:cxn>
                  <a:cxn ang="0">
                    <a:pos x="T6" y="T7"/>
                  </a:cxn>
                  <a:cxn ang="0">
                    <a:pos x="T8" y="T9"/>
                  </a:cxn>
                </a:cxnLst>
                <a:rect l="0" t="0" r="r" b="b"/>
                <a:pathLst>
                  <a:path w="25" h="69">
                    <a:moveTo>
                      <a:pt x="25" y="0"/>
                    </a:moveTo>
                    <a:lnTo>
                      <a:pt x="25" y="66"/>
                    </a:lnTo>
                    <a:lnTo>
                      <a:pt x="0" y="69"/>
                    </a:lnTo>
                    <a:lnTo>
                      <a:pt x="0" y="2"/>
                    </a:lnTo>
                    <a:lnTo>
                      <a:pt x="25" y="0"/>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94" name="Freeform 144"/>
              <p:cNvSpPr>
                <a:spLocks/>
              </p:cNvSpPr>
              <p:nvPr/>
            </p:nvSpPr>
            <p:spPr bwMode="auto">
              <a:xfrm>
                <a:off x="1821863" y="5572213"/>
                <a:ext cx="53614" cy="79349"/>
              </a:xfrm>
              <a:custGeom>
                <a:avLst/>
                <a:gdLst>
                  <a:gd name="T0" fmla="*/ 25 w 25"/>
                  <a:gd name="T1" fmla="*/ 0 h 37"/>
                  <a:gd name="T2" fmla="*/ 25 w 25"/>
                  <a:gd name="T3" fmla="*/ 35 h 37"/>
                  <a:gd name="T4" fmla="*/ 0 w 25"/>
                  <a:gd name="T5" fmla="*/ 37 h 37"/>
                  <a:gd name="T6" fmla="*/ 0 w 25"/>
                  <a:gd name="T7" fmla="*/ 3 h 37"/>
                  <a:gd name="T8" fmla="*/ 25 w 25"/>
                  <a:gd name="T9" fmla="*/ 0 h 37"/>
                </a:gdLst>
                <a:ahLst/>
                <a:cxnLst>
                  <a:cxn ang="0">
                    <a:pos x="T0" y="T1"/>
                  </a:cxn>
                  <a:cxn ang="0">
                    <a:pos x="T2" y="T3"/>
                  </a:cxn>
                  <a:cxn ang="0">
                    <a:pos x="T4" y="T5"/>
                  </a:cxn>
                  <a:cxn ang="0">
                    <a:pos x="T6" y="T7"/>
                  </a:cxn>
                  <a:cxn ang="0">
                    <a:pos x="T8" y="T9"/>
                  </a:cxn>
                </a:cxnLst>
                <a:rect l="0" t="0" r="r" b="b"/>
                <a:pathLst>
                  <a:path w="25" h="37">
                    <a:moveTo>
                      <a:pt x="25" y="0"/>
                    </a:moveTo>
                    <a:lnTo>
                      <a:pt x="25" y="35"/>
                    </a:lnTo>
                    <a:lnTo>
                      <a:pt x="0" y="37"/>
                    </a:lnTo>
                    <a:lnTo>
                      <a:pt x="0" y="3"/>
                    </a:lnTo>
                    <a:lnTo>
                      <a:pt x="25" y="0"/>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95" name="Rectangle 145"/>
              <p:cNvSpPr>
                <a:spLocks noChangeArrowheads="1"/>
              </p:cNvSpPr>
              <p:nvPr/>
            </p:nvSpPr>
            <p:spPr bwMode="auto">
              <a:xfrm>
                <a:off x="1742513" y="5372769"/>
                <a:ext cx="53614" cy="285226"/>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96" name="Freeform 146"/>
              <p:cNvSpPr>
                <a:spLocks/>
              </p:cNvSpPr>
              <p:nvPr/>
            </p:nvSpPr>
            <p:spPr bwMode="auto">
              <a:xfrm>
                <a:off x="1663165" y="5542189"/>
                <a:ext cx="53614" cy="126529"/>
              </a:xfrm>
              <a:custGeom>
                <a:avLst/>
                <a:gdLst>
                  <a:gd name="T0" fmla="*/ 25 w 25"/>
                  <a:gd name="T1" fmla="*/ 0 h 59"/>
                  <a:gd name="T2" fmla="*/ 25 w 25"/>
                  <a:gd name="T3" fmla="*/ 56 h 59"/>
                  <a:gd name="T4" fmla="*/ 0 w 25"/>
                  <a:gd name="T5" fmla="*/ 59 h 59"/>
                  <a:gd name="T6" fmla="*/ 0 w 25"/>
                  <a:gd name="T7" fmla="*/ 2 h 59"/>
                  <a:gd name="T8" fmla="*/ 25 w 25"/>
                  <a:gd name="T9" fmla="*/ 0 h 59"/>
                </a:gdLst>
                <a:ahLst/>
                <a:cxnLst>
                  <a:cxn ang="0">
                    <a:pos x="T0" y="T1"/>
                  </a:cxn>
                  <a:cxn ang="0">
                    <a:pos x="T2" y="T3"/>
                  </a:cxn>
                  <a:cxn ang="0">
                    <a:pos x="T4" y="T5"/>
                  </a:cxn>
                  <a:cxn ang="0">
                    <a:pos x="T6" y="T7"/>
                  </a:cxn>
                  <a:cxn ang="0">
                    <a:pos x="T8" y="T9"/>
                  </a:cxn>
                </a:cxnLst>
                <a:rect l="0" t="0" r="r" b="b"/>
                <a:pathLst>
                  <a:path w="25" h="59">
                    <a:moveTo>
                      <a:pt x="25" y="0"/>
                    </a:moveTo>
                    <a:lnTo>
                      <a:pt x="25" y="56"/>
                    </a:lnTo>
                    <a:lnTo>
                      <a:pt x="0" y="59"/>
                    </a:lnTo>
                    <a:lnTo>
                      <a:pt x="0" y="2"/>
                    </a:lnTo>
                    <a:lnTo>
                      <a:pt x="25"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97" name="Freeform 147"/>
              <p:cNvSpPr>
                <a:spLocks/>
              </p:cNvSpPr>
              <p:nvPr/>
            </p:nvSpPr>
            <p:spPr bwMode="auto">
              <a:xfrm>
                <a:off x="1579527" y="5593659"/>
                <a:ext cx="57903" cy="79349"/>
              </a:xfrm>
              <a:custGeom>
                <a:avLst/>
                <a:gdLst>
                  <a:gd name="T0" fmla="*/ 27 w 27"/>
                  <a:gd name="T1" fmla="*/ 0 h 37"/>
                  <a:gd name="T2" fmla="*/ 27 w 27"/>
                  <a:gd name="T3" fmla="*/ 35 h 37"/>
                  <a:gd name="T4" fmla="*/ 0 w 27"/>
                  <a:gd name="T5" fmla="*/ 37 h 37"/>
                  <a:gd name="T6" fmla="*/ 0 w 27"/>
                  <a:gd name="T7" fmla="*/ 0 h 37"/>
                  <a:gd name="T8" fmla="*/ 27 w 27"/>
                  <a:gd name="T9" fmla="*/ 0 h 37"/>
                </a:gdLst>
                <a:ahLst/>
                <a:cxnLst>
                  <a:cxn ang="0">
                    <a:pos x="T0" y="T1"/>
                  </a:cxn>
                  <a:cxn ang="0">
                    <a:pos x="T2" y="T3"/>
                  </a:cxn>
                  <a:cxn ang="0">
                    <a:pos x="T4" y="T5"/>
                  </a:cxn>
                  <a:cxn ang="0">
                    <a:pos x="T6" y="T7"/>
                  </a:cxn>
                  <a:cxn ang="0">
                    <a:pos x="T8" y="T9"/>
                  </a:cxn>
                </a:cxnLst>
                <a:rect l="0" t="0" r="r" b="b"/>
                <a:pathLst>
                  <a:path w="27" h="37">
                    <a:moveTo>
                      <a:pt x="27" y="0"/>
                    </a:moveTo>
                    <a:lnTo>
                      <a:pt x="27" y="35"/>
                    </a:lnTo>
                    <a:lnTo>
                      <a:pt x="0" y="37"/>
                    </a:lnTo>
                    <a:lnTo>
                      <a:pt x="0" y="0"/>
                    </a:lnTo>
                    <a:lnTo>
                      <a:pt x="27"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98" name="Freeform 148"/>
              <p:cNvSpPr>
                <a:spLocks/>
              </p:cNvSpPr>
              <p:nvPr/>
            </p:nvSpPr>
            <p:spPr bwMode="auto">
              <a:xfrm>
                <a:off x="1489456" y="5372769"/>
                <a:ext cx="57903" cy="306671"/>
              </a:xfrm>
              <a:custGeom>
                <a:avLst/>
                <a:gdLst>
                  <a:gd name="T0" fmla="*/ 27 w 27"/>
                  <a:gd name="T1" fmla="*/ 0 h 143"/>
                  <a:gd name="T2" fmla="*/ 27 w 27"/>
                  <a:gd name="T3" fmla="*/ 140 h 143"/>
                  <a:gd name="T4" fmla="*/ 0 w 27"/>
                  <a:gd name="T5" fmla="*/ 143 h 143"/>
                  <a:gd name="T6" fmla="*/ 0 w 27"/>
                  <a:gd name="T7" fmla="*/ 0 h 143"/>
                  <a:gd name="T8" fmla="*/ 27 w 27"/>
                  <a:gd name="T9" fmla="*/ 0 h 143"/>
                </a:gdLst>
                <a:ahLst/>
                <a:cxnLst>
                  <a:cxn ang="0">
                    <a:pos x="T0" y="T1"/>
                  </a:cxn>
                  <a:cxn ang="0">
                    <a:pos x="T2" y="T3"/>
                  </a:cxn>
                  <a:cxn ang="0">
                    <a:pos x="T4" y="T5"/>
                  </a:cxn>
                  <a:cxn ang="0">
                    <a:pos x="T6" y="T7"/>
                  </a:cxn>
                  <a:cxn ang="0">
                    <a:pos x="T8" y="T9"/>
                  </a:cxn>
                </a:cxnLst>
                <a:rect l="0" t="0" r="r" b="b"/>
                <a:pathLst>
                  <a:path w="27" h="143">
                    <a:moveTo>
                      <a:pt x="27" y="0"/>
                    </a:moveTo>
                    <a:lnTo>
                      <a:pt x="27" y="140"/>
                    </a:lnTo>
                    <a:lnTo>
                      <a:pt x="0" y="143"/>
                    </a:lnTo>
                    <a:lnTo>
                      <a:pt x="0" y="0"/>
                    </a:lnTo>
                    <a:lnTo>
                      <a:pt x="27"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99" name="Freeform 149"/>
              <p:cNvSpPr>
                <a:spLocks/>
              </p:cNvSpPr>
              <p:nvPr/>
            </p:nvSpPr>
            <p:spPr bwMode="auto">
              <a:xfrm>
                <a:off x="1305025" y="5087544"/>
                <a:ext cx="62192" cy="606909"/>
              </a:xfrm>
              <a:custGeom>
                <a:avLst/>
                <a:gdLst>
                  <a:gd name="T0" fmla="*/ 29 w 29"/>
                  <a:gd name="T1" fmla="*/ 2 h 283"/>
                  <a:gd name="T2" fmla="*/ 29 w 29"/>
                  <a:gd name="T3" fmla="*/ 281 h 283"/>
                  <a:gd name="T4" fmla="*/ 0 w 29"/>
                  <a:gd name="T5" fmla="*/ 283 h 283"/>
                  <a:gd name="T6" fmla="*/ 0 w 29"/>
                  <a:gd name="T7" fmla="*/ 0 h 283"/>
                  <a:gd name="T8" fmla="*/ 29 w 29"/>
                  <a:gd name="T9" fmla="*/ 2 h 283"/>
                </a:gdLst>
                <a:ahLst/>
                <a:cxnLst>
                  <a:cxn ang="0">
                    <a:pos x="T0" y="T1"/>
                  </a:cxn>
                  <a:cxn ang="0">
                    <a:pos x="T2" y="T3"/>
                  </a:cxn>
                  <a:cxn ang="0">
                    <a:pos x="T4" y="T5"/>
                  </a:cxn>
                  <a:cxn ang="0">
                    <a:pos x="T6" y="T7"/>
                  </a:cxn>
                  <a:cxn ang="0">
                    <a:pos x="T8" y="T9"/>
                  </a:cxn>
                </a:cxnLst>
                <a:rect l="0" t="0" r="r" b="b"/>
                <a:pathLst>
                  <a:path w="29" h="283">
                    <a:moveTo>
                      <a:pt x="29" y="2"/>
                    </a:moveTo>
                    <a:lnTo>
                      <a:pt x="29" y="281"/>
                    </a:lnTo>
                    <a:lnTo>
                      <a:pt x="0" y="283"/>
                    </a:lnTo>
                    <a:lnTo>
                      <a:pt x="0" y="0"/>
                    </a:lnTo>
                    <a:lnTo>
                      <a:pt x="29" y="2"/>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00" name="Freeform 150"/>
              <p:cNvSpPr>
                <a:spLocks/>
              </p:cNvSpPr>
              <p:nvPr/>
            </p:nvSpPr>
            <p:spPr bwMode="auto">
              <a:xfrm>
                <a:off x="1399385" y="5525033"/>
                <a:ext cx="64337" cy="165131"/>
              </a:xfrm>
              <a:custGeom>
                <a:avLst/>
                <a:gdLst>
                  <a:gd name="T0" fmla="*/ 30 w 30"/>
                  <a:gd name="T1" fmla="*/ 0 h 77"/>
                  <a:gd name="T2" fmla="*/ 30 w 30"/>
                  <a:gd name="T3" fmla="*/ 74 h 77"/>
                  <a:gd name="T4" fmla="*/ 0 w 30"/>
                  <a:gd name="T5" fmla="*/ 77 h 77"/>
                  <a:gd name="T6" fmla="*/ 0 w 30"/>
                  <a:gd name="T7" fmla="*/ 0 h 77"/>
                  <a:gd name="T8" fmla="*/ 30 w 30"/>
                  <a:gd name="T9" fmla="*/ 0 h 77"/>
                </a:gdLst>
                <a:ahLst/>
                <a:cxnLst>
                  <a:cxn ang="0">
                    <a:pos x="T0" y="T1"/>
                  </a:cxn>
                  <a:cxn ang="0">
                    <a:pos x="T2" y="T3"/>
                  </a:cxn>
                  <a:cxn ang="0">
                    <a:pos x="T4" y="T5"/>
                  </a:cxn>
                  <a:cxn ang="0">
                    <a:pos x="T6" y="T7"/>
                  </a:cxn>
                  <a:cxn ang="0">
                    <a:pos x="T8" y="T9"/>
                  </a:cxn>
                </a:cxnLst>
                <a:rect l="0" t="0" r="r" b="b"/>
                <a:pathLst>
                  <a:path w="30" h="77">
                    <a:moveTo>
                      <a:pt x="30" y="0"/>
                    </a:moveTo>
                    <a:lnTo>
                      <a:pt x="30" y="74"/>
                    </a:lnTo>
                    <a:lnTo>
                      <a:pt x="0" y="77"/>
                    </a:lnTo>
                    <a:lnTo>
                      <a:pt x="0" y="0"/>
                    </a:lnTo>
                    <a:lnTo>
                      <a:pt x="30" y="0"/>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01" name="Freeform 193"/>
              <p:cNvSpPr>
                <a:spLocks/>
              </p:cNvSpPr>
              <p:nvPr/>
            </p:nvSpPr>
            <p:spPr bwMode="auto">
              <a:xfrm>
                <a:off x="1247122" y="6026858"/>
                <a:ext cx="1387526" cy="291659"/>
              </a:xfrm>
              <a:custGeom>
                <a:avLst/>
                <a:gdLst>
                  <a:gd name="T0" fmla="*/ 647 w 647"/>
                  <a:gd name="T1" fmla="*/ 47 h 136"/>
                  <a:gd name="T2" fmla="*/ 647 w 647"/>
                  <a:gd name="T3" fmla="*/ 47 h 136"/>
                  <a:gd name="T4" fmla="*/ 647 w 647"/>
                  <a:gd name="T5" fmla="*/ 47 h 136"/>
                  <a:gd name="T6" fmla="*/ 470 w 647"/>
                  <a:gd name="T7" fmla="*/ 0 h 136"/>
                  <a:gd name="T8" fmla="*/ 0 w 647"/>
                  <a:gd name="T9" fmla="*/ 62 h 136"/>
                  <a:gd name="T10" fmla="*/ 177 w 647"/>
                  <a:gd name="T11" fmla="*/ 116 h 136"/>
                  <a:gd name="T12" fmla="*/ 177 w 647"/>
                  <a:gd name="T13" fmla="*/ 136 h 136"/>
                  <a:gd name="T14" fmla="*/ 647 w 647"/>
                  <a:gd name="T15" fmla="*/ 57 h 136"/>
                  <a:gd name="T16" fmla="*/ 647 w 647"/>
                  <a:gd name="T17" fmla="*/ 47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47" h="136">
                    <a:moveTo>
                      <a:pt x="647" y="47"/>
                    </a:moveTo>
                    <a:lnTo>
                      <a:pt x="647" y="47"/>
                    </a:lnTo>
                    <a:lnTo>
                      <a:pt x="647" y="47"/>
                    </a:lnTo>
                    <a:lnTo>
                      <a:pt x="470" y="0"/>
                    </a:lnTo>
                    <a:lnTo>
                      <a:pt x="0" y="62"/>
                    </a:lnTo>
                    <a:lnTo>
                      <a:pt x="177" y="116"/>
                    </a:lnTo>
                    <a:lnTo>
                      <a:pt x="177" y="136"/>
                    </a:lnTo>
                    <a:lnTo>
                      <a:pt x="647" y="57"/>
                    </a:lnTo>
                    <a:lnTo>
                      <a:pt x="647" y="47"/>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grpSp>
      <p:sp>
        <p:nvSpPr>
          <p:cNvPr id="108" name="Freeform: Shape 107"/>
          <p:cNvSpPr/>
          <p:nvPr/>
        </p:nvSpPr>
        <p:spPr bwMode="auto">
          <a:xfrm>
            <a:off x="7681683" y="2950480"/>
            <a:ext cx="837824" cy="837824"/>
          </a:xfrm>
          <a:custGeom>
            <a:avLst/>
            <a:gdLst/>
            <a:ahLst/>
            <a:cxnLst/>
            <a:rect l="l" t="t" r="r" b="b"/>
            <a:pathLst>
              <a:path w="304800" h="304800">
                <a:moveTo>
                  <a:pt x="152400" y="0"/>
                </a:moveTo>
                <a:cubicBezTo>
                  <a:pt x="166390" y="0"/>
                  <a:pt x="179859" y="1811"/>
                  <a:pt x="192807" y="5432"/>
                </a:cubicBezTo>
                <a:cubicBezTo>
                  <a:pt x="205755" y="9054"/>
                  <a:pt x="217885" y="14188"/>
                  <a:pt x="229196" y="20836"/>
                </a:cubicBezTo>
                <a:cubicBezTo>
                  <a:pt x="240506" y="27484"/>
                  <a:pt x="250800" y="35446"/>
                  <a:pt x="260077" y="44723"/>
                </a:cubicBezTo>
                <a:cubicBezTo>
                  <a:pt x="269354" y="54000"/>
                  <a:pt x="277317" y="64294"/>
                  <a:pt x="283964" y="75605"/>
                </a:cubicBezTo>
                <a:cubicBezTo>
                  <a:pt x="290612" y="86916"/>
                  <a:pt x="295746" y="99045"/>
                  <a:pt x="299368" y="111993"/>
                </a:cubicBezTo>
                <a:cubicBezTo>
                  <a:pt x="302989" y="124941"/>
                  <a:pt x="304800" y="138410"/>
                  <a:pt x="304800" y="152400"/>
                </a:cubicBezTo>
                <a:cubicBezTo>
                  <a:pt x="304800" y="166390"/>
                  <a:pt x="302989" y="179859"/>
                  <a:pt x="299368" y="192807"/>
                </a:cubicBezTo>
                <a:cubicBezTo>
                  <a:pt x="295746" y="205755"/>
                  <a:pt x="290612" y="217884"/>
                  <a:pt x="283964" y="229195"/>
                </a:cubicBezTo>
                <a:cubicBezTo>
                  <a:pt x="277317" y="240506"/>
                  <a:pt x="269354" y="250800"/>
                  <a:pt x="260077" y="260077"/>
                </a:cubicBezTo>
                <a:cubicBezTo>
                  <a:pt x="250800" y="269354"/>
                  <a:pt x="240506" y="277316"/>
                  <a:pt x="229196" y="283964"/>
                </a:cubicBezTo>
                <a:cubicBezTo>
                  <a:pt x="217885" y="290612"/>
                  <a:pt x="205755" y="295746"/>
                  <a:pt x="192807" y="299368"/>
                </a:cubicBezTo>
                <a:cubicBezTo>
                  <a:pt x="179859" y="302989"/>
                  <a:pt x="166390" y="304800"/>
                  <a:pt x="152400" y="304800"/>
                </a:cubicBezTo>
                <a:cubicBezTo>
                  <a:pt x="138410" y="304800"/>
                  <a:pt x="124941" y="302989"/>
                  <a:pt x="111993" y="299368"/>
                </a:cubicBezTo>
                <a:cubicBezTo>
                  <a:pt x="99045" y="295746"/>
                  <a:pt x="86916" y="290612"/>
                  <a:pt x="75605" y="283964"/>
                </a:cubicBezTo>
                <a:cubicBezTo>
                  <a:pt x="64294" y="277316"/>
                  <a:pt x="54000" y="269354"/>
                  <a:pt x="44723" y="260077"/>
                </a:cubicBezTo>
                <a:cubicBezTo>
                  <a:pt x="35446" y="250800"/>
                  <a:pt x="27484" y="240506"/>
                  <a:pt x="20836" y="229195"/>
                </a:cubicBezTo>
                <a:cubicBezTo>
                  <a:pt x="14189" y="217884"/>
                  <a:pt x="9054" y="205755"/>
                  <a:pt x="5432" y="192807"/>
                </a:cubicBezTo>
                <a:cubicBezTo>
                  <a:pt x="1811" y="179859"/>
                  <a:pt x="0" y="166390"/>
                  <a:pt x="0" y="152400"/>
                </a:cubicBezTo>
                <a:cubicBezTo>
                  <a:pt x="0" y="138410"/>
                  <a:pt x="1811" y="124941"/>
                  <a:pt x="5432" y="111993"/>
                </a:cubicBezTo>
                <a:cubicBezTo>
                  <a:pt x="9054" y="99045"/>
                  <a:pt x="14189" y="86916"/>
                  <a:pt x="20836" y="75605"/>
                </a:cubicBezTo>
                <a:cubicBezTo>
                  <a:pt x="27484" y="64294"/>
                  <a:pt x="35446" y="54000"/>
                  <a:pt x="44723" y="44723"/>
                </a:cubicBezTo>
                <a:cubicBezTo>
                  <a:pt x="54000" y="35446"/>
                  <a:pt x="64294" y="27484"/>
                  <a:pt x="75605" y="20836"/>
                </a:cubicBezTo>
                <a:cubicBezTo>
                  <a:pt x="86916" y="14188"/>
                  <a:pt x="99045" y="9054"/>
                  <a:pt x="111993" y="5432"/>
                </a:cubicBezTo>
                <a:cubicBezTo>
                  <a:pt x="124941" y="1811"/>
                  <a:pt x="138410" y="0"/>
                  <a:pt x="152400" y="0"/>
                </a:cubicBezTo>
                <a:close/>
                <a:moveTo>
                  <a:pt x="152400" y="19050"/>
                </a:moveTo>
                <a:cubicBezTo>
                  <a:pt x="136128" y="19050"/>
                  <a:pt x="120576" y="21828"/>
                  <a:pt x="105743" y="27384"/>
                </a:cubicBezTo>
                <a:cubicBezTo>
                  <a:pt x="90909" y="32941"/>
                  <a:pt x="77341" y="41027"/>
                  <a:pt x="65038" y="51643"/>
                </a:cubicBezTo>
                <a:lnTo>
                  <a:pt x="253157" y="239762"/>
                </a:lnTo>
                <a:cubicBezTo>
                  <a:pt x="263773" y="227459"/>
                  <a:pt x="271860" y="213891"/>
                  <a:pt x="277416" y="199058"/>
                </a:cubicBezTo>
                <a:cubicBezTo>
                  <a:pt x="282972" y="184224"/>
                  <a:pt x="285750" y="168672"/>
                  <a:pt x="285750" y="152400"/>
                </a:cubicBezTo>
                <a:cubicBezTo>
                  <a:pt x="285750" y="140097"/>
                  <a:pt x="284163" y="128265"/>
                  <a:pt x="280988" y="116905"/>
                </a:cubicBezTo>
                <a:cubicBezTo>
                  <a:pt x="277813" y="105544"/>
                  <a:pt x="273323" y="94928"/>
                  <a:pt x="267519" y="85055"/>
                </a:cubicBezTo>
                <a:cubicBezTo>
                  <a:pt x="261714" y="75183"/>
                  <a:pt x="254769" y="66204"/>
                  <a:pt x="246683" y="58117"/>
                </a:cubicBezTo>
                <a:cubicBezTo>
                  <a:pt x="238596" y="50031"/>
                  <a:pt x="229617" y="43086"/>
                  <a:pt x="219745" y="37282"/>
                </a:cubicBezTo>
                <a:cubicBezTo>
                  <a:pt x="209873" y="31477"/>
                  <a:pt x="199256" y="26988"/>
                  <a:pt x="187896" y="23813"/>
                </a:cubicBezTo>
                <a:cubicBezTo>
                  <a:pt x="176535" y="20638"/>
                  <a:pt x="164703" y="19050"/>
                  <a:pt x="152400" y="19050"/>
                </a:cubicBezTo>
                <a:close/>
                <a:moveTo>
                  <a:pt x="51644" y="65038"/>
                </a:moveTo>
                <a:cubicBezTo>
                  <a:pt x="41027" y="77341"/>
                  <a:pt x="32941" y="90909"/>
                  <a:pt x="27385" y="105742"/>
                </a:cubicBezTo>
                <a:cubicBezTo>
                  <a:pt x="21828" y="120576"/>
                  <a:pt x="19050" y="136128"/>
                  <a:pt x="19050" y="152400"/>
                </a:cubicBezTo>
                <a:cubicBezTo>
                  <a:pt x="19050" y="164703"/>
                  <a:pt x="20638" y="176535"/>
                  <a:pt x="23813" y="187896"/>
                </a:cubicBezTo>
                <a:cubicBezTo>
                  <a:pt x="26988" y="199256"/>
                  <a:pt x="31477" y="209873"/>
                  <a:pt x="37282" y="219745"/>
                </a:cubicBezTo>
                <a:cubicBezTo>
                  <a:pt x="43086" y="229617"/>
                  <a:pt x="50031" y="238596"/>
                  <a:pt x="58118" y="246683"/>
                </a:cubicBezTo>
                <a:cubicBezTo>
                  <a:pt x="66204" y="254769"/>
                  <a:pt x="75183" y="261714"/>
                  <a:pt x="85055" y="267519"/>
                </a:cubicBezTo>
                <a:cubicBezTo>
                  <a:pt x="94928" y="273323"/>
                  <a:pt x="105544" y="277813"/>
                  <a:pt x="116905" y="280988"/>
                </a:cubicBezTo>
                <a:cubicBezTo>
                  <a:pt x="128265" y="284163"/>
                  <a:pt x="140097" y="285750"/>
                  <a:pt x="152400" y="285750"/>
                </a:cubicBezTo>
                <a:cubicBezTo>
                  <a:pt x="168672" y="285750"/>
                  <a:pt x="184225" y="282972"/>
                  <a:pt x="199058" y="277416"/>
                </a:cubicBezTo>
                <a:cubicBezTo>
                  <a:pt x="213891" y="271859"/>
                  <a:pt x="227459" y="263773"/>
                  <a:pt x="239762" y="253157"/>
                </a:cubicBezTo>
                <a:lnTo>
                  <a:pt x="51644" y="65038"/>
                </a:lnTo>
                <a:close/>
              </a:path>
            </a:pathLst>
          </a:custGeom>
          <a:solidFill>
            <a:srgbClr val="E8112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5439">
                    <a:srgbClr val="F8F8F8"/>
                  </a:gs>
                  <a:gs pos="10000">
                    <a:srgbClr val="F8F8F8"/>
                  </a:gs>
                </a:gsLst>
                <a:lin ang="5400000" scaled="0"/>
              </a:gradFill>
              <a:effectLst/>
              <a:uLnTx/>
              <a:uFillTx/>
            </a:endParaRPr>
          </a:p>
        </p:txBody>
      </p:sp>
      <p:sp>
        <p:nvSpPr>
          <p:cNvPr id="109" name="Freeform: Shape 108"/>
          <p:cNvSpPr/>
          <p:nvPr/>
        </p:nvSpPr>
        <p:spPr bwMode="auto">
          <a:xfrm>
            <a:off x="7766659" y="5270086"/>
            <a:ext cx="665188" cy="474547"/>
          </a:xfrm>
          <a:custGeom>
            <a:avLst/>
            <a:gdLst/>
            <a:ahLst/>
            <a:cxnLst/>
            <a:rect l="l" t="t" r="r" b="b"/>
            <a:pathLst>
              <a:path w="241995" h="172640">
                <a:moveTo>
                  <a:pt x="228600" y="0"/>
                </a:moveTo>
                <a:lnTo>
                  <a:pt x="241995" y="13394"/>
                </a:lnTo>
                <a:lnTo>
                  <a:pt x="82897" y="172640"/>
                </a:lnTo>
                <a:lnTo>
                  <a:pt x="0" y="89594"/>
                </a:lnTo>
                <a:lnTo>
                  <a:pt x="13395" y="76200"/>
                </a:lnTo>
                <a:lnTo>
                  <a:pt x="82897" y="145554"/>
                </a:lnTo>
                <a:lnTo>
                  <a:pt x="228600" y="0"/>
                </a:lnTo>
                <a:close/>
              </a:path>
            </a:pathLst>
          </a:custGeom>
          <a:solidFill>
            <a:srgbClr val="008A0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5439">
                    <a:srgbClr val="F8F8F8"/>
                  </a:gs>
                  <a:gs pos="10000">
                    <a:srgbClr val="F8F8F8"/>
                  </a:gs>
                </a:gsLst>
                <a:lin ang="5400000" scaled="0"/>
              </a:gradFill>
              <a:effectLst/>
              <a:uLnTx/>
              <a:uFillTx/>
            </a:endParaRPr>
          </a:p>
        </p:txBody>
      </p:sp>
    </p:spTree>
    <p:extLst>
      <p:ext uri="{BB962C8B-B14F-4D97-AF65-F5344CB8AC3E}">
        <p14:creationId xmlns:p14="http://schemas.microsoft.com/office/powerpoint/2010/main" val="267944335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 name="Rectangle 39"/>
          <p:cNvSpPr>
            <a:spLocks/>
          </p:cNvSpPr>
          <p:nvPr/>
        </p:nvSpPr>
        <p:spPr>
          <a:xfrm>
            <a:off x="2667000" y="4095480"/>
            <a:ext cx="6858000" cy="1017857"/>
          </a:xfrm>
          <a:prstGeom prst="rect">
            <a:avLst/>
          </a:prstGeom>
          <a:solidFill>
            <a:schemeClr val="accent2"/>
          </a:solidFill>
          <a:ln w="9525" cap="flat" cmpd="sng" algn="ctr">
            <a:noFill/>
            <a:prstDash val="solid"/>
          </a:ln>
          <a:effectLst/>
        </p:spPr>
        <p:txBody>
          <a:bodyPr lIns="152400" tIns="0" rIns="152400" bIns="0" rtlCol="0" anchor="t" anchorCtr="0"/>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200" dirty="0">
                <a:solidFill>
                  <a:prstClr val="white"/>
                </a:solidFill>
                <a:cs typeface="Arial"/>
              </a:rPr>
              <a:t>W</a:t>
            </a:r>
            <a:r>
              <a:rPr kumimoji="0" lang="en-US" sz="1200" b="0" i="0" u="none" strike="noStrike" kern="1200" cap="none" spc="0" normalizeH="0" baseline="0" noProof="0" dirty="0" err="1">
                <a:ln>
                  <a:noFill/>
                </a:ln>
                <a:solidFill>
                  <a:prstClr val="white"/>
                </a:solidFill>
                <a:effectLst/>
                <a:uLnTx/>
                <a:uFillTx/>
                <a:latin typeface="+mn-lt"/>
                <a:ea typeface="+mn-ea"/>
                <a:cs typeface="Arial"/>
              </a:rPr>
              <a:t>ebHDFS</a:t>
            </a:r>
            <a:endParaRPr kumimoji="0" lang="en-US" sz="1400" b="0" i="0" u="none" strike="noStrike" kern="1200" cap="none" spc="0" normalizeH="0" baseline="0" noProof="0" dirty="0">
              <a:ln>
                <a:noFill/>
              </a:ln>
              <a:solidFill>
                <a:prstClr val="white"/>
              </a:solidFill>
              <a:effectLst/>
              <a:uLnTx/>
              <a:uFillTx/>
              <a:latin typeface="+mn-lt"/>
              <a:ea typeface="+mn-ea"/>
              <a:cs typeface="Arial"/>
            </a:endParaRPr>
          </a:p>
        </p:txBody>
      </p:sp>
      <p:sp>
        <p:nvSpPr>
          <p:cNvPr id="69" name="Freeform 68"/>
          <p:cNvSpPr/>
          <p:nvPr/>
        </p:nvSpPr>
        <p:spPr bwMode="auto">
          <a:xfrm rot="10800000" flipV="1">
            <a:off x="2667000" y="4431191"/>
            <a:ext cx="6858000" cy="1850733"/>
          </a:xfrm>
          <a:custGeom>
            <a:avLst/>
            <a:gdLst>
              <a:gd name="connsiteX0" fmla="*/ 5412098 w 5687803"/>
              <a:gd name="connsiteY0" fmla="*/ 1883228 h 1883228"/>
              <a:gd name="connsiteX1" fmla="*/ 275705 w 5687803"/>
              <a:gd name="connsiteY1" fmla="*/ 1883228 h 1883228"/>
              <a:gd name="connsiteX2" fmla="*/ 0 w 5687803"/>
              <a:gd name="connsiteY2" fmla="*/ 1607523 h 1883228"/>
              <a:gd name="connsiteX3" fmla="*/ 0 w 5687803"/>
              <a:gd name="connsiteY3" fmla="*/ 504735 h 1883228"/>
              <a:gd name="connsiteX4" fmla="*/ 275705 w 5687803"/>
              <a:gd name="connsiteY4" fmla="*/ 229030 h 1883228"/>
              <a:gd name="connsiteX5" fmla="*/ 2081312 w 5687803"/>
              <a:gd name="connsiteY5" fmla="*/ 229030 h 1883228"/>
              <a:gd name="connsiteX6" fmla="*/ 2253495 w 5687803"/>
              <a:gd name="connsiteY6" fmla="*/ 0 h 1883228"/>
              <a:gd name="connsiteX7" fmla="*/ 3434308 w 5687803"/>
              <a:gd name="connsiteY7" fmla="*/ 0 h 1883228"/>
              <a:gd name="connsiteX8" fmla="*/ 3606490 w 5687803"/>
              <a:gd name="connsiteY8" fmla="*/ 229030 h 1883228"/>
              <a:gd name="connsiteX9" fmla="*/ 5412098 w 5687803"/>
              <a:gd name="connsiteY9" fmla="*/ 229030 h 1883228"/>
              <a:gd name="connsiteX10" fmla="*/ 5687803 w 5687803"/>
              <a:gd name="connsiteY10" fmla="*/ 504735 h 1883228"/>
              <a:gd name="connsiteX11" fmla="*/ 5687803 w 5687803"/>
              <a:gd name="connsiteY11" fmla="*/ 1607523 h 1883228"/>
              <a:gd name="connsiteX12" fmla="*/ 5412098 w 5687803"/>
              <a:gd name="connsiteY12" fmla="*/ 1883228 h 18832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687803" h="1883228">
                <a:moveTo>
                  <a:pt x="5412098" y="1883228"/>
                </a:moveTo>
                <a:lnTo>
                  <a:pt x="275705" y="1883228"/>
                </a:lnTo>
                <a:cubicBezTo>
                  <a:pt x="123437" y="1883228"/>
                  <a:pt x="0" y="1759791"/>
                  <a:pt x="0" y="1607523"/>
                </a:cubicBezTo>
                <a:lnTo>
                  <a:pt x="0" y="504735"/>
                </a:lnTo>
                <a:cubicBezTo>
                  <a:pt x="0" y="352467"/>
                  <a:pt x="123437" y="229030"/>
                  <a:pt x="275705" y="229030"/>
                </a:cubicBezTo>
                <a:lnTo>
                  <a:pt x="2081312" y="229030"/>
                </a:lnTo>
                <a:lnTo>
                  <a:pt x="2253495" y="0"/>
                </a:lnTo>
                <a:lnTo>
                  <a:pt x="3434308" y="0"/>
                </a:lnTo>
                <a:lnTo>
                  <a:pt x="3606490" y="229030"/>
                </a:lnTo>
                <a:lnTo>
                  <a:pt x="5412098" y="229030"/>
                </a:lnTo>
                <a:cubicBezTo>
                  <a:pt x="5564366" y="229030"/>
                  <a:pt x="5687803" y="352467"/>
                  <a:pt x="5687803" y="504735"/>
                </a:cubicBezTo>
                <a:lnTo>
                  <a:pt x="5687803" y="1607523"/>
                </a:lnTo>
                <a:cubicBezTo>
                  <a:pt x="5687803" y="1759791"/>
                  <a:pt x="5564366" y="1883228"/>
                  <a:pt x="5412098" y="1883228"/>
                </a:cubicBezTo>
                <a:close/>
              </a:path>
            </a:pathLst>
          </a:custGeom>
          <a:solidFill>
            <a:schemeClr val="accent2">
              <a:lumMod val="75000"/>
            </a:schemeClr>
          </a:solidFill>
          <a:ln w="9525" cap="flat" cmpd="sng" algn="ctr">
            <a:noFill/>
            <a:prstDash val="solid"/>
            <a:headEnd type="none" w="med" len="med"/>
            <a:tailEnd type="none" w="med" len="med"/>
          </a:ln>
          <a:effectLst/>
        </p:spPr>
        <p:txBody>
          <a:bodyPr rot="0" spcFirstLastPara="0" vertOverflow="overflow" horzOverflow="overflow" vert="horz" wrap="square" lIns="76200" tIns="38100" rIns="38100" bIns="76200" numCol="1" spcCol="0" rtlCol="0" fromWordArt="0" anchor="b" anchorCtr="0" forceAA="0" compatLnSpc="1">
            <a:prstTxWarp prst="textNoShape">
              <a:avLst/>
            </a:prstTxWarp>
            <a:noAutofit/>
          </a:bodyPr>
          <a:lstStyle/>
          <a:p>
            <a:pPr marL="0" marR="0" lvl="0" indent="0" algn="ctr" defTabSz="761719" eaLnBrk="1" fontAlgn="base" latinLnBrk="0" hangingPunct="1">
              <a:lnSpc>
                <a:spcPct val="100000"/>
              </a:lnSpc>
              <a:spcBef>
                <a:spcPct val="0"/>
              </a:spcBef>
              <a:spcAft>
                <a:spcPct val="0"/>
              </a:spcAft>
              <a:buClrTx/>
              <a:buSzTx/>
              <a:buFontTx/>
              <a:buNone/>
              <a:tabLst/>
              <a:defRPr/>
            </a:pPr>
            <a:endParaRPr kumimoji="0" lang="en-US" sz="1500" b="0" i="0" u="none" strike="noStrike" kern="0" cap="none" spc="-42"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67" name="Rectangle 66"/>
          <p:cNvSpPr>
            <a:spLocks/>
          </p:cNvSpPr>
          <p:nvPr/>
        </p:nvSpPr>
        <p:spPr>
          <a:xfrm>
            <a:off x="2667000" y="1916581"/>
            <a:ext cx="6858000" cy="1935679"/>
          </a:xfrm>
          <a:prstGeom prst="rect">
            <a:avLst/>
          </a:prstGeom>
          <a:solidFill>
            <a:schemeClr val="accent1">
              <a:lumMod val="90000"/>
              <a:lumOff val="10000"/>
            </a:schemeClr>
          </a:solidFill>
          <a:ln w="9525" cap="flat" cmpd="sng" algn="ctr">
            <a:noFill/>
            <a:prstDash val="solid"/>
          </a:ln>
          <a:effectLst/>
        </p:spPr>
        <p:txBody>
          <a:bodyPr lIns="152400" tIns="0" rIns="152400" bIns="0" rtlCol="0" anchor="b" anchorCtr="0"/>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white"/>
                </a:solidFill>
                <a:effectLst/>
                <a:uLnTx/>
                <a:uFillTx/>
                <a:latin typeface="+mn-lt"/>
                <a:ea typeface="+mn-ea"/>
                <a:cs typeface="Arial"/>
              </a:rPr>
              <a:t>YARN</a:t>
            </a:r>
            <a:endParaRPr kumimoji="0" lang="en-US" sz="1400" b="0" i="0" u="none" strike="noStrike" kern="1200" cap="none" spc="0" normalizeH="0" baseline="0" noProof="0" dirty="0">
              <a:ln>
                <a:noFill/>
              </a:ln>
              <a:solidFill>
                <a:prstClr val="white"/>
              </a:solidFill>
              <a:effectLst/>
              <a:uLnTx/>
              <a:uFillTx/>
              <a:latin typeface="+mn-lt"/>
              <a:ea typeface="+mn-ea"/>
              <a:cs typeface="Arial"/>
            </a:endParaRPr>
          </a:p>
        </p:txBody>
      </p:sp>
      <p:sp>
        <p:nvSpPr>
          <p:cNvPr id="6" name="Freeform 5"/>
          <p:cNvSpPr/>
          <p:nvPr/>
        </p:nvSpPr>
        <p:spPr bwMode="auto">
          <a:xfrm rot="10800000">
            <a:off x="2667000" y="1578260"/>
            <a:ext cx="6858000" cy="1848081"/>
          </a:xfrm>
          <a:custGeom>
            <a:avLst/>
            <a:gdLst>
              <a:gd name="connsiteX0" fmla="*/ 5412098 w 5687803"/>
              <a:gd name="connsiteY0" fmla="*/ 1883228 h 1883228"/>
              <a:gd name="connsiteX1" fmla="*/ 275705 w 5687803"/>
              <a:gd name="connsiteY1" fmla="*/ 1883228 h 1883228"/>
              <a:gd name="connsiteX2" fmla="*/ 0 w 5687803"/>
              <a:gd name="connsiteY2" fmla="*/ 1607523 h 1883228"/>
              <a:gd name="connsiteX3" fmla="*/ 0 w 5687803"/>
              <a:gd name="connsiteY3" fmla="*/ 504735 h 1883228"/>
              <a:gd name="connsiteX4" fmla="*/ 275705 w 5687803"/>
              <a:gd name="connsiteY4" fmla="*/ 229030 h 1883228"/>
              <a:gd name="connsiteX5" fmla="*/ 2081312 w 5687803"/>
              <a:gd name="connsiteY5" fmla="*/ 229030 h 1883228"/>
              <a:gd name="connsiteX6" fmla="*/ 2253495 w 5687803"/>
              <a:gd name="connsiteY6" fmla="*/ 0 h 1883228"/>
              <a:gd name="connsiteX7" fmla="*/ 3434308 w 5687803"/>
              <a:gd name="connsiteY7" fmla="*/ 0 h 1883228"/>
              <a:gd name="connsiteX8" fmla="*/ 3606490 w 5687803"/>
              <a:gd name="connsiteY8" fmla="*/ 229030 h 1883228"/>
              <a:gd name="connsiteX9" fmla="*/ 5412098 w 5687803"/>
              <a:gd name="connsiteY9" fmla="*/ 229030 h 1883228"/>
              <a:gd name="connsiteX10" fmla="*/ 5687803 w 5687803"/>
              <a:gd name="connsiteY10" fmla="*/ 504735 h 1883228"/>
              <a:gd name="connsiteX11" fmla="*/ 5687803 w 5687803"/>
              <a:gd name="connsiteY11" fmla="*/ 1607523 h 1883228"/>
              <a:gd name="connsiteX12" fmla="*/ 5412098 w 5687803"/>
              <a:gd name="connsiteY12" fmla="*/ 1883228 h 18832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687803" h="1883228">
                <a:moveTo>
                  <a:pt x="5412098" y="1883228"/>
                </a:moveTo>
                <a:lnTo>
                  <a:pt x="275705" y="1883228"/>
                </a:lnTo>
                <a:cubicBezTo>
                  <a:pt x="123437" y="1883228"/>
                  <a:pt x="0" y="1759791"/>
                  <a:pt x="0" y="1607523"/>
                </a:cubicBezTo>
                <a:lnTo>
                  <a:pt x="0" y="504735"/>
                </a:lnTo>
                <a:cubicBezTo>
                  <a:pt x="0" y="352467"/>
                  <a:pt x="123437" y="229030"/>
                  <a:pt x="275705" y="229030"/>
                </a:cubicBezTo>
                <a:lnTo>
                  <a:pt x="2081312" y="229030"/>
                </a:lnTo>
                <a:lnTo>
                  <a:pt x="2253495" y="0"/>
                </a:lnTo>
                <a:lnTo>
                  <a:pt x="3434308" y="0"/>
                </a:lnTo>
                <a:lnTo>
                  <a:pt x="3606490" y="229030"/>
                </a:lnTo>
                <a:lnTo>
                  <a:pt x="5412098" y="229030"/>
                </a:lnTo>
                <a:cubicBezTo>
                  <a:pt x="5564366" y="229030"/>
                  <a:pt x="5687803" y="352467"/>
                  <a:pt x="5687803" y="504735"/>
                </a:cubicBezTo>
                <a:lnTo>
                  <a:pt x="5687803" y="1607523"/>
                </a:lnTo>
                <a:cubicBezTo>
                  <a:pt x="5687803" y="1759791"/>
                  <a:pt x="5564366" y="1883228"/>
                  <a:pt x="5412098" y="1883228"/>
                </a:cubicBezTo>
                <a:close/>
              </a:path>
            </a:pathLst>
          </a:cu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76200" tIns="38100" rIns="38100" bIns="76200" numCol="1" spcCol="0" rtlCol="0" fromWordArt="0" anchor="b" anchorCtr="0" forceAA="0" compatLnSpc="1">
            <a:prstTxWarp prst="textNoShape">
              <a:avLst/>
            </a:prstTxWarp>
            <a:noAutofit/>
          </a:bodyPr>
          <a:lstStyle/>
          <a:p>
            <a:pPr marL="0" marR="0" lvl="0" indent="0" algn="ctr" defTabSz="761719" eaLnBrk="1" fontAlgn="base" latinLnBrk="0" hangingPunct="1">
              <a:lnSpc>
                <a:spcPct val="100000"/>
              </a:lnSpc>
              <a:spcBef>
                <a:spcPct val="0"/>
              </a:spcBef>
              <a:spcAft>
                <a:spcPct val="0"/>
              </a:spcAft>
              <a:buClrTx/>
              <a:buSzTx/>
              <a:buFontTx/>
              <a:buNone/>
              <a:tabLst/>
              <a:defRPr/>
            </a:pPr>
            <a:endParaRPr kumimoji="0" lang="en-US" sz="1500" b="0" i="0" u="none" strike="noStrike" kern="0" cap="none" spc="-42"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9" name="TextBox 8"/>
          <p:cNvSpPr txBox="1"/>
          <p:nvPr/>
        </p:nvSpPr>
        <p:spPr>
          <a:xfrm>
            <a:off x="3450238" y="2393804"/>
            <a:ext cx="2093211" cy="500137"/>
          </a:xfrm>
          <a:prstGeom prst="rect">
            <a:avLst/>
          </a:prstGeom>
          <a:noFill/>
        </p:spPr>
        <p:txBody>
          <a:bodyPr wrap="square" rtlCol="0">
            <a:spAutoFit/>
          </a:bodyPr>
          <a:lstStyle/>
          <a:p>
            <a:pPr marL="0" marR="0" lvl="0" indent="0" algn="ctr" defTabSz="76197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prstClr val="white"/>
                </a:solidFill>
                <a:effectLst/>
                <a:uLnTx/>
                <a:uFillTx/>
              </a:rPr>
              <a:t>U-SQL</a:t>
            </a:r>
          </a:p>
          <a:p>
            <a:pPr marL="0" marR="0" lvl="0" indent="0" algn="ctr" defTabSz="761970" eaLnBrk="1" fontAlgn="auto" latinLnBrk="0" hangingPunct="1">
              <a:lnSpc>
                <a:spcPct val="100000"/>
              </a:lnSpc>
              <a:spcBef>
                <a:spcPts val="0"/>
              </a:spcBef>
              <a:spcAft>
                <a:spcPts val="0"/>
              </a:spcAft>
              <a:buClrTx/>
              <a:buSzTx/>
              <a:buFontTx/>
              <a:buNone/>
              <a:tabLst/>
              <a:defRPr/>
            </a:pPr>
            <a:r>
              <a:rPr kumimoji="0" lang="en-US" sz="1050" b="0" i="1" u="none" strike="noStrike" kern="0" cap="none" spc="0" normalizeH="0" baseline="0" noProof="0" dirty="0">
                <a:ln>
                  <a:noFill/>
                </a:ln>
                <a:solidFill>
                  <a:prstClr val="white"/>
                </a:solidFill>
                <a:effectLst/>
                <a:uLnTx/>
                <a:uFillTx/>
              </a:rPr>
              <a:t>(extensible by C#, R and Python)</a:t>
            </a:r>
          </a:p>
        </p:txBody>
      </p:sp>
      <p:sp>
        <p:nvSpPr>
          <p:cNvPr id="10" name="TextBox 9"/>
          <p:cNvSpPr txBox="1"/>
          <p:nvPr/>
        </p:nvSpPr>
        <p:spPr>
          <a:xfrm>
            <a:off x="3027934" y="1719924"/>
            <a:ext cx="3257278" cy="369332"/>
          </a:xfrm>
          <a:prstGeom prst="rect">
            <a:avLst/>
          </a:prstGeom>
          <a:noFill/>
        </p:spPr>
        <p:txBody>
          <a:bodyPr wrap="square" rtlCol="0">
            <a:spAutoFit/>
          </a:bodyPr>
          <a:lstStyle/>
          <a:p>
            <a:pPr marL="0" marR="0" lvl="0" indent="0" defTabSz="76197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prstClr val="white"/>
                </a:solidFill>
                <a:effectLst/>
                <a:uLnTx/>
                <a:uFillTx/>
              </a:rPr>
              <a:t>Analytics</a:t>
            </a:r>
          </a:p>
        </p:txBody>
      </p:sp>
      <p:sp>
        <p:nvSpPr>
          <p:cNvPr id="11" name="TextBox 10"/>
          <p:cNvSpPr txBox="1"/>
          <p:nvPr/>
        </p:nvSpPr>
        <p:spPr>
          <a:xfrm>
            <a:off x="6287707" y="1735514"/>
            <a:ext cx="2943968" cy="369332"/>
          </a:xfrm>
          <a:prstGeom prst="rect">
            <a:avLst/>
          </a:prstGeom>
          <a:noFill/>
        </p:spPr>
        <p:txBody>
          <a:bodyPr wrap="square" rtlCol="0">
            <a:spAutoFit/>
          </a:bodyPr>
          <a:lstStyle/>
          <a:p>
            <a:pPr marL="0" marR="0" lvl="1" indent="0" algn="r" defTabSz="76197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prstClr val="white"/>
                </a:solidFill>
                <a:effectLst/>
                <a:uLnTx/>
                <a:uFillTx/>
              </a:rPr>
              <a:t>HDInsight</a:t>
            </a:r>
          </a:p>
        </p:txBody>
      </p:sp>
      <p:grpSp>
        <p:nvGrpSpPr>
          <p:cNvPr id="2" name="Group 1"/>
          <p:cNvGrpSpPr/>
          <p:nvPr/>
        </p:nvGrpSpPr>
        <p:grpSpPr>
          <a:xfrm>
            <a:off x="3975356" y="5219121"/>
            <a:ext cx="4358496" cy="957020"/>
            <a:chOff x="5226398" y="6112562"/>
            <a:chExt cx="4284412" cy="1104729"/>
          </a:xfrm>
        </p:grpSpPr>
        <p:sp>
          <p:nvSpPr>
            <p:cNvPr id="14" name="Rounded Rectangle 13"/>
            <p:cNvSpPr>
              <a:spLocks/>
            </p:cNvSpPr>
            <p:nvPr/>
          </p:nvSpPr>
          <p:spPr>
            <a:xfrm>
              <a:off x="5226398" y="6119522"/>
              <a:ext cx="683019" cy="530467"/>
            </a:xfrm>
            <a:prstGeom prst="roundRect">
              <a:avLst>
                <a:gd name="adj" fmla="val 5758"/>
              </a:avLst>
            </a:prstGeom>
            <a:solidFill>
              <a:schemeClr val="accent2">
                <a:lumMod val="60000"/>
                <a:lumOff val="40000"/>
              </a:schemeClr>
            </a:solidFill>
            <a:ln w="9525" cap="flat" cmpd="sng" algn="ctr">
              <a:noFill/>
              <a:prstDash val="solid"/>
            </a:ln>
            <a:effectLst/>
          </p:spPr>
          <p:txBody>
            <a:bodyPr lIns="0" rIns="0" rtlCol="0" anchor="b"/>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83" b="0" i="0" u="none" strike="noStrike" kern="1200" cap="none" spc="0" normalizeH="0" baseline="0" noProof="0" dirty="0">
                  <a:ln>
                    <a:noFill/>
                  </a:ln>
                  <a:noFill/>
                  <a:effectLst/>
                  <a:uLnTx/>
                  <a:uFillTx/>
                  <a:latin typeface="+mn-lt"/>
                  <a:ea typeface="+mn-ea"/>
                  <a:cs typeface="Arial"/>
                </a:rPr>
                <a:t>1</a:t>
              </a:r>
            </a:p>
          </p:txBody>
        </p:sp>
        <p:sp>
          <p:nvSpPr>
            <p:cNvPr id="15" name="Freeform 5"/>
            <p:cNvSpPr>
              <a:spLocks noEditPoints="1"/>
            </p:cNvSpPr>
            <p:nvPr/>
          </p:nvSpPr>
          <p:spPr bwMode="auto">
            <a:xfrm>
              <a:off x="5401973" y="6237203"/>
              <a:ext cx="327193" cy="309379"/>
            </a:xfrm>
            <a:custGeom>
              <a:avLst/>
              <a:gdLst>
                <a:gd name="T0" fmla="*/ 290 w 360"/>
                <a:gd name="T1" fmla="*/ 23 h 302"/>
                <a:gd name="T2" fmla="*/ 265 w 360"/>
                <a:gd name="T3" fmla="*/ 6 h 302"/>
                <a:gd name="T4" fmla="*/ 226 w 360"/>
                <a:gd name="T5" fmla="*/ 2 h 302"/>
                <a:gd name="T6" fmla="*/ 188 w 360"/>
                <a:gd name="T7" fmla="*/ 25 h 302"/>
                <a:gd name="T8" fmla="*/ 148 w 360"/>
                <a:gd name="T9" fmla="*/ 78 h 302"/>
                <a:gd name="T10" fmla="*/ 104 w 360"/>
                <a:gd name="T11" fmla="*/ 122 h 302"/>
                <a:gd name="T12" fmla="*/ 58 w 360"/>
                <a:gd name="T13" fmla="*/ 147 h 302"/>
                <a:gd name="T14" fmla="*/ 12 w 360"/>
                <a:gd name="T15" fmla="*/ 149 h 302"/>
                <a:gd name="T16" fmla="*/ 2 w 360"/>
                <a:gd name="T17" fmla="*/ 151 h 302"/>
                <a:gd name="T18" fmla="*/ 19 w 360"/>
                <a:gd name="T19" fmla="*/ 176 h 302"/>
                <a:gd name="T20" fmla="*/ 52 w 360"/>
                <a:gd name="T21" fmla="*/ 209 h 302"/>
                <a:gd name="T22" fmla="*/ 106 w 360"/>
                <a:gd name="T23" fmla="*/ 233 h 302"/>
                <a:gd name="T24" fmla="*/ 138 w 360"/>
                <a:gd name="T25" fmla="*/ 237 h 302"/>
                <a:gd name="T26" fmla="*/ 140 w 360"/>
                <a:gd name="T27" fmla="*/ 258 h 302"/>
                <a:gd name="T28" fmla="*/ 140 w 360"/>
                <a:gd name="T29" fmla="*/ 276 h 302"/>
                <a:gd name="T30" fmla="*/ 140 w 360"/>
                <a:gd name="T31" fmla="*/ 283 h 302"/>
                <a:gd name="T32" fmla="*/ 127 w 360"/>
                <a:gd name="T33" fmla="*/ 285 h 302"/>
                <a:gd name="T34" fmla="*/ 111 w 360"/>
                <a:gd name="T35" fmla="*/ 293 h 302"/>
                <a:gd name="T36" fmla="*/ 115 w 360"/>
                <a:gd name="T37" fmla="*/ 300 h 302"/>
                <a:gd name="T38" fmla="*/ 127 w 360"/>
                <a:gd name="T39" fmla="*/ 299 h 302"/>
                <a:gd name="T40" fmla="*/ 163 w 360"/>
                <a:gd name="T41" fmla="*/ 297 h 302"/>
                <a:gd name="T42" fmla="*/ 190 w 360"/>
                <a:gd name="T43" fmla="*/ 300 h 302"/>
                <a:gd name="T44" fmla="*/ 196 w 360"/>
                <a:gd name="T45" fmla="*/ 297 h 302"/>
                <a:gd name="T46" fmla="*/ 217 w 360"/>
                <a:gd name="T47" fmla="*/ 300 h 302"/>
                <a:gd name="T48" fmla="*/ 222 w 360"/>
                <a:gd name="T49" fmla="*/ 297 h 302"/>
                <a:gd name="T50" fmla="*/ 219 w 360"/>
                <a:gd name="T51" fmla="*/ 289 h 302"/>
                <a:gd name="T52" fmla="*/ 180 w 360"/>
                <a:gd name="T53" fmla="*/ 283 h 302"/>
                <a:gd name="T54" fmla="*/ 180 w 360"/>
                <a:gd name="T55" fmla="*/ 253 h 302"/>
                <a:gd name="T56" fmla="*/ 180 w 360"/>
                <a:gd name="T57" fmla="*/ 237 h 302"/>
                <a:gd name="T58" fmla="*/ 180 w 360"/>
                <a:gd name="T59" fmla="*/ 232 h 302"/>
                <a:gd name="T60" fmla="*/ 215 w 360"/>
                <a:gd name="T61" fmla="*/ 216 h 302"/>
                <a:gd name="T62" fmla="*/ 251 w 360"/>
                <a:gd name="T63" fmla="*/ 188 h 302"/>
                <a:gd name="T64" fmla="*/ 276 w 360"/>
                <a:gd name="T65" fmla="*/ 149 h 302"/>
                <a:gd name="T66" fmla="*/ 299 w 360"/>
                <a:gd name="T67" fmla="*/ 94 h 302"/>
                <a:gd name="T68" fmla="*/ 334 w 360"/>
                <a:gd name="T69" fmla="*/ 78 h 302"/>
                <a:gd name="T70" fmla="*/ 353 w 360"/>
                <a:gd name="T71" fmla="*/ 71 h 302"/>
                <a:gd name="T72" fmla="*/ 360 w 360"/>
                <a:gd name="T73" fmla="*/ 69 h 302"/>
                <a:gd name="T74" fmla="*/ 299 w 360"/>
                <a:gd name="T75" fmla="*/ 44 h 302"/>
                <a:gd name="T76" fmla="*/ 167 w 360"/>
                <a:gd name="T77" fmla="*/ 283 h 302"/>
                <a:gd name="T78" fmla="*/ 153 w 360"/>
                <a:gd name="T79" fmla="*/ 283 h 302"/>
                <a:gd name="T80" fmla="*/ 152 w 360"/>
                <a:gd name="T81" fmla="*/ 262 h 302"/>
                <a:gd name="T82" fmla="*/ 152 w 360"/>
                <a:gd name="T83" fmla="*/ 245 h 302"/>
                <a:gd name="T84" fmla="*/ 152 w 360"/>
                <a:gd name="T85" fmla="*/ 237 h 302"/>
                <a:gd name="T86" fmla="*/ 167 w 360"/>
                <a:gd name="T87" fmla="*/ 233 h 302"/>
                <a:gd name="T88" fmla="*/ 247 w 360"/>
                <a:gd name="T89" fmla="*/ 67 h 302"/>
                <a:gd name="T90" fmla="*/ 236 w 360"/>
                <a:gd name="T91" fmla="*/ 55 h 302"/>
                <a:gd name="T92" fmla="*/ 240 w 360"/>
                <a:gd name="T93" fmla="*/ 44 h 302"/>
                <a:gd name="T94" fmla="*/ 251 w 360"/>
                <a:gd name="T95" fmla="*/ 40 h 302"/>
                <a:gd name="T96" fmla="*/ 263 w 360"/>
                <a:gd name="T97" fmla="*/ 52 h 302"/>
                <a:gd name="T98" fmla="*/ 259 w 360"/>
                <a:gd name="T99" fmla="*/ 63 h 302"/>
                <a:gd name="T100" fmla="*/ 249 w 360"/>
                <a:gd name="T101" fmla="*/ 67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60" h="302">
                  <a:moveTo>
                    <a:pt x="299" y="44"/>
                  </a:moveTo>
                  <a:lnTo>
                    <a:pt x="297" y="36"/>
                  </a:lnTo>
                  <a:lnTo>
                    <a:pt x="293" y="31"/>
                  </a:lnTo>
                  <a:lnTo>
                    <a:pt x="290" y="23"/>
                  </a:lnTo>
                  <a:lnTo>
                    <a:pt x="284" y="19"/>
                  </a:lnTo>
                  <a:lnTo>
                    <a:pt x="278" y="13"/>
                  </a:lnTo>
                  <a:lnTo>
                    <a:pt x="272" y="10"/>
                  </a:lnTo>
                  <a:lnTo>
                    <a:pt x="265" y="6"/>
                  </a:lnTo>
                  <a:lnTo>
                    <a:pt x="257" y="4"/>
                  </a:lnTo>
                  <a:lnTo>
                    <a:pt x="247" y="2"/>
                  </a:lnTo>
                  <a:lnTo>
                    <a:pt x="236" y="0"/>
                  </a:lnTo>
                  <a:lnTo>
                    <a:pt x="226" y="2"/>
                  </a:lnTo>
                  <a:lnTo>
                    <a:pt x="215" y="6"/>
                  </a:lnTo>
                  <a:lnTo>
                    <a:pt x="205" y="10"/>
                  </a:lnTo>
                  <a:lnTo>
                    <a:pt x="196" y="15"/>
                  </a:lnTo>
                  <a:lnTo>
                    <a:pt x="188" y="25"/>
                  </a:lnTo>
                  <a:lnTo>
                    <a:pt x="180" y="34"/>
                  </a:lnTo>
                  <a:lnTo>
                    <a:pt x="169" y="50"/>
                  </a:lnTo>
                  <a:lnTo>
                    <a:pt x="159" y="63"/>
                  </a:lnTo>
                  <a:lnTo>
                    <a:pt x="148" y="78"/>
                  </a:lnTo>
                  <a:lnTo>
                    <a:pt x="138" y="90"/>
                  </a:lnTo>
                  <a:lnTo>
                    <a:pt x="127" y="101"/>
                  </a:lnTo>
                  <a:lnTo>
                    <a:pt x="115" y="113"/>
                  </a:lnTo>
                  <a:lnTo>
                    <a:pt x="104" y="122"/>
                  </a:lnTo>
                  <a:lnTo>
                    <a:pt x="92" y="130"/>
                  </a:lnTo>
                  <a:lnTo>
                    <a:pt x="81" y="138"/>
                  </a:lnTo>
                  <a:lnTo>
                    <a:pt x="69" y="144"/>
                  </a:lnTo>
                  <a:lnTo>
                    <a:pt x="58" y="147"/>
                  </a:lnTo>
                  <a:lnTo>
                    <a:pt x="46" y="151"/>
                  </a:lnTo>
                  <a:lnTo>
                    <a:pt x="35" y="151"/>
                  </a:lnTo>
                  <a:lnTo>
                    <a:pt x="23" y="151"/>
                  </a:lnTo>
                  <a:lnTo>
                    <a:pt x="12" y="149"/>
                  </a:lnTo>
                  <a:lnTo>
                    <a:pt x="0" y="147"/>
                  </a:lnTo>
                  <a:lnTo>
                    <a:pt x="0" y="147"/>
                  </a:lnTo>
                  <a:lnTo>
                    <a:pt x="0" y="147"/>
                  </a:lnTo>
                  <a:lnTo>
                    <a:pt x="2" y="151"/>
                  </a:lnTo>
                  <a:lnTo>
                    <a:pt x="4" y="155"/>
                  </a:lnTo>
                  <a:lnTo>
                    <a:pt x="8" y="161"/>
                  </a:lnTo>
                  <a:lnTo>
                    <a:pt x="14" y="168"/>
                  </a:lnTo>
                  <a:lnTo>
                    <a:pt x="19" y="176"/>
                  </a:lnTo>
                  <a:lnTo>
                    <a:pt x="25" y="184"/>
                  </a:lnTo>
                  <a:lnTo>
                    <a:pt x="33" y="191"/>
                  </a:lnTo>
                  <a:lnTo>
                    <a:pt x="42" y="201"/>
                  </a:lnTo>
                  <a:lnTo>
                    <a:pt x="52" y="209"/>
                  </a:lnTo>
                  <a:lnTo>
                    <a:pt x="63" y="216"/>
                  </a:lnTo>
                  <a:lnTo>
                    <a:pt x="77" y="222"/>
                  </a:lnTo>
                  <a:lnTo>
                    <a:pt x="90" y="228"/>
                  </a:lnTo>
                  <a:lnTo>
                    <a:pt x="106" y="233"/>
                  </a:lnTo>
                  <a:lnTo>
                    <a:pt x="121" y="235"/>
                  </a:lnTo>
                  <a:lnTo>
                    <a:pt x="129" y="237"/>
                  </a:lnTo>
                  <a:lnTo>
                    <a:pt x="138" y="237"/>
                  </a:lnTo>
                  <a:lnTo>
                    <a:pt x="138" y="237"/>
                  </a:lnTo>
                  <a:lnTo>
                    <a:pt x="140" y="237"/>
                  </a:lnTo>
                  <a:lnTo>
                    <a:pt x="140" y="245"/>
                  </a:lnTo>
                  <a:lnTo>
                    <a:pt x="140" y="253"/>
                  </a:lnTo>
                  <a:lnTo>
                    <a:pt x="140" y="258"/>
                  </a:lnTo>
                  <a:lnTo>
                    <a:pt x="140" y="264"/>
                  </a:lnTo>
                  <a:lnTo>
                    <a:pt x="140" y="268"/>
                  </a:lnTo>
                  <a:lnTo>
                    <a:pt x="140" y="272"/>
                  </a:lnTo>
                  <a:lnTo>
                    <a:pt x="140" y="276"/>
                  </a:lnTo>
                  <a:lnTo>
                    <a:pt x="140" y="277"/>
                  </a:lnTo>
                  <a:lnTo>
                    <a:pt x="140" y="279"/>
                  </a:lnTo>
                  <a:lnTo>
                    <a:pt x="140" y="281"/>
                  </a:lnTo>
                  <a:lnTo>
                    <a:pt x="140" y="283"/>
                  </a:lnTo>
                  <a:lnTo>
                    <a:pt x="140" y="283"/>
                  </a:lnTo>
                  <a:lnTo>
                    <a:pt x="140" y="283"/>
                  </a:lnTo>
                  <a:lnTo>
                    <a:pt x="132" y="285"/>
                  </a:lnTo>
                  <a:lnTo>
                    <a:pt x="127" y="285"/>
                  </a:lnTo>
                  <a:lnTo>
                    <a:pt x="121" y="287"/>
                  </a:lnTo>
                  <a:lnTo>
                    <a:pt x="115" y="289"/>
                  </a:lnTo>
                  <a:lnTo>
                    <a:pt x="113" y="289"/>
                  </a:lnTo>
                  <a:lnTo>
                    <a:pt x="111" y="293"/>
                  </a:lnTo>
                  <a:lnTo>
                    <a:pt x="111" y="295"/>
                  </a:lnTo>
                  <a:lnTo>
                    <a:pt x="111" y="297"/>
                  </a:lnTo>
                  <a:lnTo>
                    <a:pt x="113" y="299"/>
                  </a:lnTo>
                  <a:lnTo>
                    <a:pt x="115" y="300"/>
                  </a:lnTo>
                  <a:lnTo>
                    <a:pt x="117" y="302"/>
                  </a:lnTo>
                  <a:lnTo>
                    <a:pt x="119" y="300"/>
                  </a:lnTo>
                  <a:lnTo>
                    <a:pt x="119" y="300"/>
                  </a:lnTo>
                  <a:lnTo>
                    <a:pt x="127" y="299"/>
                  </a:lnTo>
                  <a:lnTo>
                    <a:pt x="134" y="297"/>
                  </a:lnTo>
                  <a:lnTo>
                    <a:pt x="144" y="297"/>
                  </a:lnTo>
                  <a:lnTo>
                    <a:pt x="153" y="297"/>
                  </a:lnTo>
                  <a:lnTo>
                    <a:pt x="163" y="297"/>
                  </a:lnTo>
                  <a:lnTo>
                    <a:pt x="173" y="297"/>
                  </a:lnTo>
                  <a:lnTo>
                    <a:pt x="180" y="299"/>
                  </a:lnTo>
                  <a:lnTo>
                    <a:pt x="188" y="300"/>
                  </a:lnTo>
                  <a:lnTo>
                    <a:pt x="190" y="300"/>
                  </a:lnTo>
                  <a:lnTo>
                    <a:pt x="192" y="300"/>
                  </a:lnTo>
                  <a:lnTo>
                    <a:pt x="194" y="300"/>
                  </a:lnTo>
                  <a:lnTo>
                    <a:pt x="194" y="299"/>
                  </a:lnTo>
                  <a:lnTo>
                    <a:pt x="196" y="297"/>
                  </a:lnTo>
                  <a:lnTo>
                    <a:pt x="205" y="299"/>
                  </a:lnTo>
                  <a:lnTo>
                    <a:pt x="209" y="300"/>
                  </a:lnTo>
                  <a:lnTo>
                    <a:pt x="213" y="300"/>
                  </a:lnTo>
                  <a:lnTo>
                    <a:pt x="217" y="300"/>
                  </a:lnTo>
                  <a:lnTo>
                    <a:pt x="219" y="300"/>
                  </a:lnTo>
                  <a:lnTo>
                    <a:pt x="221" y="300"/>
                  </a:lnTo>
                  <a:lnTo>
                    <a:pt x="221" y="299"/>
                  </a:lnTo>
                  <a:lnTo>
                    <a:pt x="222" y="297"/>
                  </a:lnTo>
                  <a:lnTo>
                    <a:pt x="222" y="295"/>
                  </a:lnTo>
                  <a:lnTo>
                    <a:pt x="222" y="293"/>
                  </a:lnTo>
                  <a:lnTo>
                    <a:pt x="221" y="289"/>
                  </a:lnTo>
                  <a:lnTo>
                    <a:pt x="219" y="289"/>
                  </a:lnTo>
                  <a:lnTo>
                    <a:pt x="209" y="287"/>
                  </a:lnTo>
                  <a:lnTo>
                    <a:pt x="201" y="285"/>
                  </a:lnTo>
                  <a:lnTo>
                    <a:pt x="192" y="283"/>
                  </a:lnTo>
                  <a:lnTo>
                    <a:pt x="180" y="283"/>
                  </a:lnTo>
                  <a:lnTo>
                    <a:pt x="180" y="274"/>
                  </a:lnTo>
                  <a:lnTo>
                    <a:pt x="180" y="266"/>
                  </a:lnTo>
                  <a:lnTo>
                    <a:pt x="180" y="258"/>
                  </a:lnTo>
                  <a:lnTo>
                    <a:pt x="180" y="253"/>
                  </a:lnTo>
                  <a:lnTo>
                    <a:pt x="180" y="249"/>
                  </a:lnTo>
                  <a:lnTo>
                    <a:pt x="180" y="243"/>
                  </a:lnTo>
                  <a:lnTo>
                    <a:pt x="180" y="239"/>
                  </a:lnTo>
                  <a:lnTo>
                    <a:pt x="180" y="237"/>
                  </a:lnTo>
                  <a:lnTo>
                    <a:pt x="180" y="235"/>
                  </a:lnTo>
                  <a:lnTo>
                    <a:pt x="180" y="233"/>
                  </a:lnTo>
                  <a:lnTo>
                    <a:pt x="180" y="232"/>
                  </a:lnTo>
                  <a:lnTo>
                    <a:pt x="180" y="232"/>
                  </a:lnTo>
                  <a:lnTo>
                    <a:pt x="180" y="232"/>
                  </a:lnTo>
                  <a:lnTo>
                    <a:pt x="192" y="228"/>
                  </a:lnTo>
                  <a:lnTo>
                    <a:pt x="203" y="222"/>
                  </a:lnTo>
                  <a:lnTo>
                    <a:pt x="215" y="216"/>
                  </a:lnTo>
                  <a:lnTo>
                    <a:pt x="224" y="210"/>
                  </a:lnTo>
                  <a:lnTo>
                    <a:pt x="234" y="205"/>
                  </a:lnTo>
                  <a:lnTo>
                    <a:pt x="242" y="197"/>
                  </a:lnTo>
                  <a:lnTo>
                    <a:pt x="251" y="188"/>
                  </a:lnTo>
                  <a:lnTo>
                    <a:pt x="257" y="180"/>
                  </a:lnTo>
                  <a:lnTo>
                    <a:pt x="265" y="170"/>
                  </a:lnTo>
                  <a:lnTo>
                    <a:pt x="270" y="161"/>
                  </a:lnTo>
                  <a:lnTo>
                    <a:pt x="276" y="149"/>
                  </a:lnTo>
                  <a:lnTo>
                    <a:pt x="282" y="138"/>
                  </a:lnTo>
                  <a:lnTo>
                    <a:pt x="288" y="128"/>
                  </a:lnTo>
                  <a:lnTo>
                    <a:pt x="291" y="117"/>
                  </a:lnTo>
                  <a:lnTo>
                    <a:pt x="299" y="94"/>
                  </a:lnTo>
                  <a:lnTo>
                    <a:pt x="309" y="88"/>
                  </a:lnTo>
                  <a:lnTo>
                    <a:pt x="318" y="84"/>
                  </a:lnTo>
                  <a:lnTo>
                    <a:pt x="328" y="80"/>
                  </a:lnTo>
                  <a:lnTo>
                    <a:pt x="334" y="78"/>
                  </a:lnTo>
                  <a:lnTo>
                    <a:pt x="341" y="77"/>
                  </a:lnTo>
                  <a:lnTo>
                    <a:pt x="345" y="75"/>
                  </a:lnTo>
                  <a:lnTo>
                    <a:pt x="349" y="73"/>
                  </a:lnTo>
                  <a:lnTo>
                    <a:pt x="353" y="71"/>
                  </a:lnTo>
                  <a:lnTo>
                    <a:pt x="355" y="69"/>
                  </a:lnTo>
                  <a:lnTo>
                    <a:pt x="357" y="69"/>
                  </a:lnTo>
                  <a:lnTo>
                    <a:pt x="359" y="69"/>
                  </a:lnTo>
                  <a:lnTo>
                    <a:pt x="360" y="69"/>
                  </a:lnTo>
                  <a:lnTo>
                    <a:pt x="360" y="67"/>
                  </a:lnTo>
                  <a:lnTo>
                    <a:pt x="360" y="67"/>
                  </a:lnTo>
                  <a:lnTo>
                    <a:pt x="299" y="44"/>
                  </a:lnTo>
                  <a:lnTo>
                    <a:pt x="299" y="44"/>
                  </a:lnTo>
                  <a:close/>
                  <a:moveTo>
                    <a:pt x="167" y="283"/>
                  </a:moveTo>
                  <a:lnTo>
                    <a:pt x="167" y="283"/>
                  </a:lnTo>
                  <a:lnTo>
                    <a:pt x="167" y="283"/>
                  </a:lnTo>
                  <a:lnTo>
                    <a:pt x="167" y="283"/>
                  </a:lnTo>
                  <a:lnTo>
                    <a:pt x="163" y="283"/>
                  </a:lnTo>
                  <a:lnTo>
                    <a:pt x="159" y="283"/>
                  </a:lnTo>
                  <a:lnTo>
                    <a:pt x="153" y="283"/>
                  </a:lnTo>
                  <a:lnTo>
                    <a:pt x="153" y="283"/>
                  </a:lnTo>
                  <a:lnTo>
                    <a:pt x="152" y="283"/>
                  </a:lnTo>
                  <a:lnTo>
                    <a:pt x="152" y="276"/>
                  </a:lnTo>
                  <a:lnTo>
                    <a:pt x="152" y="268"/>
                  </a:lnTo>
                  <a:lnTo>
                    <a:pt x="152" y="262"/>
                  </a:lnTo>
                  <a:lnTo>
                    <a:pt x="152" y="256"/>
                  </a:lnTo>
                  <a:lnTo>
                    <a:pt x="152" y="251"/>
                  </a:lnTo>
                  <a:lnTo>
                    <a:pt x="152" y="247"/>
                  </a:lnTo>
                  <a:lnTo>
                    <a:pt x="152" y="245"/>
                  </a:lnTo>
                  <a:lnTo>
                    <a:pt x="152" y="241"/>
                  </a:lnTo>
                  <a:lnTo>
                    <a:pt x="152" y="239"/>
                  </a:lnTo>
                  <a:lnTo>
                    <a:pt x="152" y="239"/>
                  </a:lnTo>
                  <a:lnTo>
                    <a:pt x="152" y="237"/>
                  </a:lnTo>
                  <a:lnTo>
                    <a:pt x="152" y="235"/>
                  </a:lnTo>
                  <a:lnTo>
                    <a:pt x="152" y="235"/>
                  </a:lnTo>
                  <a:lnTo>
                    <a:pt x="159" y="235"/>
                  </a:lnTo>
                  <a:lnTo>
                    <a:pt x="167" y="233"/>
                  </a:lnTo>
                  <a:lnTo>
                    <a:pt x="167" y="283"/>
                  </a:lnTo>
                  <a:lnTo>
                    <a:pt x="167" y="283"/>
                  </a:lnTo>
                  <a:close/>
                  <a:moveTo>
                    <a:pt x="249" y="67"/>
                  </a:moveTo>
                  <a:lnTo>
                    <a:pt x="247" y="67"/>
                  </a:lnTo>
                  <a:lnTo>
                    <a:pt x="244" y="65"/>
                  </a:lnTo>
                  <a:lnTo>
                    <a:pt x="240" y="63"/>
                  </a:lnTo>
                  <a:lnTo>
                    <a:pt x="238" y="59"/>
                  </a:lnTo>
                  <a:lnTo>
                    <a:pt x="236" y="55"/>
                  </a:lnTo>
                  <a:lnTo>
                    <a:pt x="236" y="54"/>
                  </a:lnTo>
                  <a:lnTo>
                    <a:pt x="236" y="52"/>
                  </a:lnTo>
                  <a:lnTo>
                    <a:pt x="238" y="50"/>
                  </a:lnTo>
                  <a:lnTo>
                    <a:pt x="240" y="44"/>
                  </a:lnTo>
                  <a:lnTo>
                    <a:pt x="244" y="42"/>
                  </a:lnTo>
                  <a:lnTo>
                    <a:pt x="247" y="40"/>
                  </a:lnTo>
                  <a:lnTo>
                    <a:pt x="249" y="40"/>
                  </a:lnTo>
                  <a:lnTo>
                    <a:pt x="251" y="40"/>
                  </a:lnTo>
                  <a:lnTo>
                    <a:pt x="253" y="42"/>
                  </a:lnTo>
                  <a:lnTo>
                    <a:pt x="259" y="44"/>
                  </a:lnTo>
                  <a:lnTo>
                    <a:pt x="261" y="50"/>
                  </a:lnTo>
                  <a:lnTo>
                    <a:pt x="263" y="52"/>
                  </a:lnTo>
                  <a:lnTo>
                    <a:pt x="263" y="54"/>
                  </a:lnTo>
                  <a:lnTo>
                    <a:pt x="263" y="55"/>
                  </a:lnTo>
                  <a:lnTo>
                    <a:pt x="261" y="59"/>
                  </a:lnTo>
                  <a:lnTo>
                    <a:pt x="259" y="63"/>
                  </a:lnTo>
                  <a:lnTo>
                    <a:pt x="253" y="65"/>
                  </a:lnTo>
                  <a:lnTo>
                    <a:pt x="251" y="67"/>
                  </a:lnTo>
                  <a:lnTo>
                    <a:pt x="249" y="67"/>
                  </a:lnTo>
                  <a:lnTo>
                    <a:pt x="249" y="67"/>
                  </a:lnTo>
                  <a:close/>
                </a:path>
              </a:pathLst>
            </a:custGeom>
            <a:solidFill>
              <a:schemeClr val="bg1"/>
            </a:solidFill>
            <a:ln>
              <a:noFill/>
            </a:ln>
          </p:spPr>
          <p:txBody>
            <a:bodyPr vert="horz" wrap="square" lIns="37351" tIns="37351" rIns="0" bIns="37351" numCol="1" anchor="t" anchorCtr="0" compatLnSpc="1">
              <a:prstTxWarp prst="textNoShape">
                <a:avLst/>
              </a:prstTxWarp>
            </a:bodyPr>
            <a:lstStyle/>
            <a:p>
              <a:pPr marL="0" marR="0" lvl="0" indent="0" defTabSz="761970" eaLnBrk="1" fontAlgn="auto" latinLnBrk="0" hangingPunct="1">
                <a:lnSpc>
                  <a:spcPct val="100000"/>
                </a:lnSpc>
                <a:spcBef>
                  <a:spcPts val="0"/>
                </a:spcBef>
                <a:spcAft>
                  <a:spcPts val="0"/>
                </a:spcAft>
                <a:buClrTx/>
                <a:buSzTx/>
                <a:buFontTx/>
                <a:buNone/>
                <a:tabLst/>
                <a:defRPr/>
              </a:pPr>
              <a:endParaRPr kumimoji="0" lang="en-US" sz="408" b="0" i="0" u="none" strike="noStrike" kern="0" cap="none" spc="0" normalizeH="0" baseline="0" noProof="0">
                <a:ln>
                  <a:noFill/>
                </a:ln>
                <a:solidFill>
                  <a:prstClr val="black"/>
                </a:solidFill>
                <a:effectLst/>
                <a:uLnTx/>
                <a:uFillTx/>
              </a:endParaRPr>
            </a:p>
          </p:txBody>
        </p:sp>
        <p:sp>
          <p:nvSpPr>
            <p:cNvPr id="16" name="Rounded Rectangle 15"/>
            <p:cNvSpPr>
              <a:spLocks/>
            </p:cNvSpPr>
            <p:nvPr/>
          </p:nvSpPr>
          <p:spPr>
            <a:xfrm>
              <a:off x="5236532" y="6686824"/>
              <a:ext cx="683019" cy="530467"/>
            </a:xfrm>
            <a:prstGeom prst="roundRect">
              <a:avLst>
                <a:gd name="adj" fmla="val 5758"/>
              </a:avLst>
            </a:prstGeom>
            <a:solidFill>
              <a:schemeClr val="accent2">
                <a:lumMod val="60000"/>
                <a:lumOff val="40000"/>
              </a:schemeClr>
            </a:solidFill>
            <a:ln w="9525" cap="flat" cmpd="sng" algn="ctr">
              <a:noFill/>
              <a:prstDash val="solid"/>
            </a:ln>
            <a:effectLst/>
          </p:spPr>
          <p:txBody>
            <a:bodyPr lIns="0" rIns="0" rtlCol="0" anchor="b"/>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83" b="0" i="0" u="none" strike="noStrike" kern="1200" cap="none" spc="0" normalizeH="0" baseline="0" noProof="0" dirty="0">
                  <a:ln>
                    <a:noFill/>
                  </a:ln>
                  <a:noFill/>
                  <a:effectLst/>
                  <a:uLnTx/>
                  <a:uFillTx/>
                  <a:latin typeface="+mn-lt"/>
                  <a:ea typeface="+mn-ea"/>
                  <a:cs typeface="Arial"/>
                </a:rPr>
                <a:t>1</a:t>
              </a:r>
            </a:p>
          </p:txBody>
        </p:sp>
        <p:sp>
          <p:nvSpPr>
            <p:cNvPr id="17" name="Rounded Rectangle 16"/>
            <p:cNvSpPr>
              <a:spLocks/>
            </p:cNvSpPr>
            <p:nvPr/>
          </p:nvSpPr>
          <p:spPr>
            <a:xfrm>
              <a:off x="5946007" y="6112562"/>
              <a:ext cx="683019" cy="530467"/>
            </a:xfrm>
            <a:prstGeom prst="roundRect">
              <a:avLst>
                <a:gd name="adj" fmla="val 5758"/>
              </a:avLst>
            </a:prstGeom>
            <a:solidFill>
              <a:schemeClr val="accent2">
                <a:lumMod val="60000"/>
                <a:lumOff val="40000"/>
              </a:schemeClr>
            </a:solidFill>
            <a:ln w="9525" cap="flat" cmpd="sng" algn="ctr">
              <a:noFill/>
              <a:prstDash val="solid"/>
            </a:ln>
            <a:effectLst/>
          </p:spPr>
          <p:txBody>
            <a:bodyPr lIns="0" rIns="0" rtlCol="0" anchor="b"/>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83" b="0" i="0" u="none" strike="noStrike" kern="1200" cap="none" spc="0" normalizeH="0" baseline="0" noProof="0" dirty="0">
                  <a:ln>
                    <a:noFill/>
                  </a:ln>
                  <a:noFill/>
                  <a:effectLst/>
                  <a:uLnTx/>
                  <a:uFillTx/>
                  <a:latin typeface="+mn-lt"/>
                  <a:ea typeface="+mn-ea"/>
                  <a:cs typeface="Arial"/>
                </a:rPr>
                <a:t>1</a:t>
              </a:r>
            </a:p>
          </p:txBody>
        </p:sp>
        <p:grpSp>
          <p:nvGrpSpPr>
            <p:cNvPr id="18" name="Group 17"/>
            <p:cNvGrpSpPr/>
            <p:nvPr/>
          </p:nvGrpSpPr>
          <p:grpSpPr>
            <a:xfrm>
              <a:off x="6036098" y="6229818"/>
              <a:ext cx="545497" cy="343276"/>
              <a:chOff x="2769908" y="1409697"/>
              <a:chExt cx="1965320" cy="1055586"/>
            </a:xfrm>
            <a:solidFill>
              <a:schemeClr val="bg1"/>
            </a:solidFill>
          </p:grpSpPr>
          <p:sp>
            <p:nvSpPr>
              <p:cNvPr id="62" name="Round Same Side Corner Rectangle 11"/>
              <p:cNvSpPr/>
              <p:nvPr/>
            </p:nvSpPr>
            <p:spPr>
              <a:xfrm>
                <a:off x="3138523" y="1744049"/>
                <a:ext cx="998085" cy="721234"/>
              </a:xfrm>
              <a:custGeom>
                <a:avLst/>
                <a:gdLst/>
                <a:ahLst/>
                <a:cxnLst/>
                <a:rect l="l" t="t" r="r" b="b"/>
                <a:pathLst>
                  <a:path w="997825" h="721233">
                    <a:moveTo>
                      <a:pt x="386303" y="632863"/>
                    </a:moveTo>
                    <a:lnTo>
                      <a:pt x="361994" y="673949"/>
                    </a:lnTo>
                    <a:lnTo>
                      <a:pt x="635830" y="673949"/>
                    </a:lnTo>
                    <a:lnTo>
                      <a:pt x="611521" y="632863"/>
                    </a:lnTo>
                    <a:close/>
                    <a:moveTo>
                      <a:pt x="74549" y="554146"/>
                    </a:moveTo>
                    <a:lnTo>
                      <a:pt x="923276" y="554146"/>
                    </a:lnTo>
                    <a:lnTo>
                      <a:pt x="997825" y="680147"/>
                    </a:lnTo>
                    <a:lnTo>
                      <a:pt x="997380" y="680147"/>
                    </a:lnTo>
                    <a:lnTo>
                      <a:pt x="997380" y="721233"/>
                    </a:lnTo>
                    <a:lnTo>
                      <a:pt x="443" y="721233"/>
                    </a:lnTo>
                    <a:lnTo>
                      <a:pt x="443" y="680147"/>
                    </a:lnTo>
                    <a:lnTo>
                      <a:pt x="0" y="680147"/>
                    </a:lnTo>
                    <a:close/>
                    <a:moveTo>
                      <a:pt x="107888" y="28997"/>
                    </a:moveTo>
                    <a:lnTo>
                      <a:pt x="107888" y="517611"/>
                    </a:lnTo>
                    <a:lnTo>
                      <a:pt x="889938" y="517611"/>
                    </a:lnTo>
                    <a:lnTo>
                      <a:pt x="889938" y="28997"/>
                    </a:lnTo>
                    <a:close/>
                    <a:moveTo>
                      <a:pt x="102530" y="0"/>
                    </a:moveTo>
                    <a:lnTo>
                      <a:pt x="895294" y="0"/>
                    </a:lnTo>
                    <a:cubicBezTo>
                      <a:pt x="909799" y="0"/>
                      <a:pt x="921556" y="11760"/>
                      <a:pt x="921556" y="26269"/>
                    </a:cubicBezTo>
                    <a:lnTo>
                      <a:pt x="921556" y="541850"/>
                    </a:lnTo>
                    <a:lnTo>
                      <a:pt x="76268" y="541850"/>
                    </a:lnTo>
                    <a:lnTo>
                      <a:pt x="76268" y="26269"/>
                    </a:lnTo>
                    <a:cubicBezTo>
                      <a:pt x="76268" y="11760"/>
                      <a:pt x="88025" y="0"/>
                      <a:pt x="102530" y="0"/>
                    </a:cubicBezTo>
                    <a:close/>
                  </a:path>
                </a:pathLst>
              </a:custGeom>
              <a:grpFill/>
              <a:ln w="25400" cap="flat" cmpd="sng" algn="ctr">
                <a:noFill/>
                <a:prstDash val="solid"/>
              </a:ln>
              <a:effectLst/>
            </p:spPr>
            <p:txBody>
              <a:bodyPr lIns="37351" rIns="0" rtlCol="0" anchor="ctr"/>
              <a:lstStyle/>
              <a:p>
                <a:pPr marL="0" marR="0" lvl="0" indent="0" defTabSz="746958" eaLnBrk="1" fontAlgn="auto" latinLnBrk="0" hangingPunct="1">
                  <a:lnSpc>
                    <a:spcPct val="100000"/>
                  </a:lnSpc>
                  <a:spcBef>
                    <a:spcPts val="0"/>
                  </a:spcBef>
                  <a:spcAft>
                    <a:spcPts val="0"/>
                  </a:spcAft>
                  <a:buClrTx/>
                  <a:buSzTx/>
                  <a:buFontTx/>
                  <a:buNone/>
                  <a:tabLst/>
                  <a:defRPr/>
                </a:pPr>
                <a:endParaRPr kumimoji="0" lang="en-US" sz="408" b="0" i="0" u="none" strike="noStrike" kern="0" cap="none" spc="0" normalizeH="0" baseline="0" noProof="0">
                  <a:ln>
                    <a:noFill/>
                  </a:ln>
                  <a:solidFill>
                    <a:srgbClr val="008272"/>
                  </a:solidFill>
                  <a:effectLst/>
                  <a:uLnTx/>
                  <a:uFillTx/>
                </a:endParaRPr>
              </a:p>
            </p:txBody>
          </p:sp>
          <p:sp>
            <p:nvSpPr>
              <p:cNvPr id="63" name="Rounded Rectangle 223"/>
              <p:cNvSpPr/>
              <p:nvPr/>
            </p:nvSpPr>
            <p:spPr bwMode="auto">
              <a:xfrm>
                <a:off x="2769908" y="1409697"/>
                <a:ext cx="368615" cy="648352"/>
              </a:xfrm>
              <a:custGeom>
                <a:avLst/>
                <a:gdLst/>
                <a:ahLst/>
                <a:cxnLst/>
                <a:rect l="l" t="t" r="r" b="b"/>
                <a:pathLst>
                  <a:path w="3657600" h="6434945">
                    <a:moveTo>
                      <a:pt x="1828801" y="5761924"/>
                    </a:moveTo>
                    <a:cubicBezTo>
                      <a:pt x="1694209" y="5761924"/>
                      <a:pt x="1585101" y="5871032"/>
                      <a:pt x="1585101" y="6005624"/>
                    </a:cubicBezTo>
                    <a:cubicBezTo>
                      <a:pt x="1585101" y="6140216"/>
                      <a:pt x="1694209" y="6249324"/>
                      <a:pt x="1828801" y="6249324"/>
                    </a:cubicBezTo>
                    <a:cubicBezTo>
                      <a:pt x="1963393" y="6249324"/>
                      <a:pt x="2072501" y="6140216"/>
                      <a:pt x="2072501" y="6005624"/>
                    </a:cubicBezTo>
                    <a:cubicBezTo>
                      <a:pt x="2072501" y="5871032"/>
                      <a:pt x="1963393" y="5761924"/>
                      <a:pt x="1828801" y="5761924"/>
                    </a:cubicBezTo>
                    <a:close/>
                    <a:moveTo>
                      <a:pt x="367260" y="607233"/>
                    </a:moveTo>
                    <a:lnTo>
                      <a:pt x="367260" y="5543030"/>
                    </a:lnTo>
                    <a:lnTo>
                      <a:pt x="3290341" y="5543030"/>
                    </a:lnTo>
                    <a:lnTo>
                      <a:pt x="3290341" y="607233"/>
                    </a:lnTo>
                    <a:close/>
                    <a:moveTo>
                      <a:pt x="1097280" y="257182"/>
                    </a:moveTo>
                    <a:cubicBezTo>
                      <a:pt x="1072030" y="257182"/>
                      <a:pt x="1051560" y="277652"/>
                      <a:pt x="1051560" y="302902"/>
                    </a:cubicBezTo>
                    <a:cubicBezTo>
                      <a:pt x="1051560" y="328152"/>
                      <a:pt x="1072030" y="348622"/>
                      <a:pt x="1097280" y="348622"/>
                    </a:cubicBezTo>
                    <a:lnTo>
                      <a:pt x="2560320" y="348622"/>
                    </a:lnTo>
                    <a:cubicBezTo>
                      <a:pt x="2585570" y="348622"/>
                      <a:pt x="2606040" y="328152"/>
                      <a:pt x="2606040" y="302902"/>
                    </a:cubicBezTo>
                    <a:cubicBezTo>
                      <a:pt x="2606040" y="277652"/>
                      <a:pt x="2585570" y="257182"/>
                      <a:pt x="2560320" y="257182"/>
                    </a:cubicBezTo>
                    <a:close/>
                    <a:moveTo>
                      <a:pt x="609612" y="0"/>
                    </a:moveTo>
                    <a:lnTo>
                      <a:pt x="3047988" y="0"/>
                    </a:lnTo>
                    <a:cubicBezTo>
                      <a:pt x="3384667" y="0"/>
                      <a:pt x="3657600" y="272933"/>
                      <a:pt x="3657600" y="609612"/>
                    </a:cubicBezTo>
                    <a:lnTo>
                      <a:pt x="3657600" y="5825333"/>
                    </a:lnTo>
                    <a:cubicBezTo>
                      <a:pt x="3657600" y="6162012"/>
                      <a:pt x="3384667" y="6434945"/>
                      <a:pt x="3047988" y="6434945"/>
                    </a:cubicBezTo>
                    <a:lnTo>
                      <a:pt x="609612" y="6434945"/>
                    </a:lnTo>
                    <a:cubicBezTo>
                      <a:pt x="272933" y="6434945"/>
                      <a:pt x="0" y="6162012"/>
                      <a:pt x="0" y="5825333"/>
                    </a:cubicBezTo>
                    <a:lnTo>
                      <a:pt x="0" y="609612"/>
                    </a:lnTo>
                    <a:cubicBezTo>
                      <a:pt x="0" y="272933"/>
                      <a:pt x="272933" y="0"/>
                      <a:pt x="609612" y="0"/>
                    </a:cubicBezTo>
                    <a:close/>
                  </a:path>
                </a:pathLst>
              </a:custGeom>
              <a:grpFill/>
              <a:ln w="9525" cap="flat" cmpd="sng" algn="ctr">
                <a:noFill/>
                <a:prstDash val="solid"/>
                <a:headEnd type="none" w="med" len="med"/>
                <a:tailEnd type="none" w="med" len="med"/>
              </a:ln>
              <a:effectLst/>
            </p:spPr>
            <p:txBody>
              <a:bodyPr rot="0" spcFirstLastPara="0" vertOverflow="overflow" horzOverflow="overflow" vert="horz" wrap="square" lIns="37351" tIns="37351" rIns="0" bIns="74702" numCol="1" spcCol="0" rtlCol="0" fromWordArt="0" anchor="b" anchorCtr="0" forceAA="0" compatLnSpc="1">
                <a:prstTxWarp prst="textNoShape">
                  <a:avLst/>
                </a:prstTxWarp>
                <a:noAutofit/>
              </a:bodyPr>
              <a:lstStyle/>
              <a:p>
                <a:pPr marL="0" marR="0" lvl="0" indent="0" defTabSz="746713" eaLnBrk="1" fontAlgn="base" latinLnBrk="0" hangingPunct="1">
                  <a:lnSpc>
                    <a:spcPct val="100000"/>
                  </a:lnSpc>
                  <a:spcBef>
                    <a:spcPct val="0"/>
                  </a:spcBef>
                  <a:spcAft>
                    <a:spcPct val="0"/>
                  </a:spcAft>
                  <a:buClrTx/>
                  <a:buSzTx/>
                  <a:buFontTx/>
                  <a:buNone/>
                  <a:tabLst/>
                  <a:defRPr/>
                </a:pPr>
                <a:endParaRPr kumimoji="0" lang="en-US" sz="408" b="0" i="0" u="none" strike="noStrike" kern="0" cap="none" spc="-41"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64" name="Rounded Rectangle 6"/>
              <p:cNvSpPr/>
              <p:nvPr/>
            </p:nvSpPr>
            <p:spPr bwMode="auto">
              <a:xfrm rot="16200000">
                <a:off x="4229657" y="1440678"/>
                <a:ext cx="404402" cy="606741"/>
              </a:xfrm>
              <a:custGeom>
                <a:avLst/>
                <a:gdLst/>
                <a:ahLst/>
                <a:cxnLst/>
                <a:rect l="l" t="t" r="r" b="b"/>
                <a:pathLst>
                  <a:path w="3286897" h="4658497">
                    <a:moveTo>
                      <a:pt x="1600200" y="4382531"/>
                    </a:moveTo>
                    <a:cubicBezTo>
                      <a:pt x="1600200" y="4367744"/>
                      <a:pt x="1588213" y="4355757"/>
                      <a:pt x="1573426" y="4355757"/>
                    </a:cubicBezTo>
                    <a:lnTo>
                      <a:pt x="811428" y="4355757"/>
                    </a:lnTo>
                    <a:cubicBezTo>
                      <a:pt x="796641" y="4355757"/>
                      <a:pt x="784654" y="4367744"/>
                      <a:pt x="784654" y="4382531"/>
                    </a:cubicBezTo>
                    <a:lnTo>
                      <a:pt x="784654" y="4489621"/>
                    </a:lnTo>
                    <a:cubicBezTo>
                      <a:pt x="784654" y="4504408"/>
                      <a:pt x="796641" y="4516395"/>
                      <a:pt x="811428" y="4516395"/>
                    </a:cubicBezTo>
                    <a:lnTo>
                      <a:pt x="1573426" y="4516395"/>
                    </a:lnTo>
                    <a:cubicBezTo>
                      <a:pt x="1588213" y="4516395"/>
                      <a:pt x="1600200" y="4504408"/>
                      <a:pt x="1600200" y="4489621"/>
                    </a:cubicBezTo>
                    <a:close/>
                    <a:moveTo>
                      <a:pt x="2502243" y="4382531"/>
                    </a:moveTo>
                    <a:cubicBezTo>
                      <a:pt x="2502243" y="4367744"/>
                      <a:pt x="2490256" y="4355757"/>
                      <a:pt x="2475469" y="4355757"/>
                    </a:cubicBezTo>
                    <a:lnTo>
                      <a:pt x="1713471" y="4355757"/>
                    </a:lnTo>
                    <a:cubicBezTo>
                      <a:pt x="1698684" y="4355757"/>
                      <a:pt x="1686697" y="4367744"/>
                      <a:pt x="1686697" y="4382531"/>
                    </a:cubicBezTo>
                    <a:lnTo>
                      <a:pt x="1686697" y="4489621"/>
                    </a:lnTo>
                    <a:cubicBezTo>
                      <a:pt x="1686697" y="4504408"/>
                      <a:pt x="1698684" y="4516395"/>
                      <a:pt x="1713471" y="4516395"/>
                    </a:cubicBezTo>
                    <a:lnTo>
                      <a:pt x="2475469" y="4516395"/>
                    </a:lnTo>
                    <a:cubicBezTo>
                      <a:pt x="2490256" y="4516395"/>
                      <a:pt x="2502243" y="4504408"/>
                      <a:pt x="2502243" y="4489621"/>
                    </a:cubicBezTo>
                    <a:close/>
                    <a:moveTo>
                      <a:pt x="3021231" y="480896"/>
                    </a:moveTo>
                    <a:cubicBezTo>
                      <a:pt x="3021231" y="375524"/>
                      <a:pt x="2935811" y="290104"/>
                      <a:pt x="2830439" y="290104"/>
                    </a:cubicBezTo>
                    <a:lnTo>
                      <a:pt x="444108" y="290104"/>
                    </a:lnTo>
                    <a:cubicBezTo>
                      <a:pt x="338736" y="290104"/>
                      <a:pt x="253316" y="375524"/>
                      <a:pt x="253316" y="480896"/>
                    </a:cubicBezTo>
                    <a:lnTo>
                      <a:pt x="253316" y="4029043"/>
                    </a:lnTo>
                    <a:cubicBezTo>
                      <a:pt x="253316" y="4134415"/>
                      <a:pt x="338736" y="4219835"/>
                      <a:pt x="444108" y="4219835"/>
                    </a:cubicBezTo>
                    <a:lnTo>
                      <a:pt x="2830439" y="4219835"/>
                    </a:lnTo>
                    <a:cubicBezTo>
                      <a:pt x="2935811" y="4219835"/>
                      <a:pt x="3021231" y="4134415"/>
                      <a:pt x="3021231" y="4029043"/>
                    </a:cubicBezTo>
                    <a:close/>
                    <a:moveTo>
                      <a:pt x="3286897" y="226566"/>
                    </a:moveTo>
                    <a:lnTo>
                      <a:pt x="3286897" y="4431931"/>
                    </a:lnTo>
                    <a:cubicBezTo>
                      <a:pt x="3286897" y="4557060"/>
                      <a:pt x="3185460" y="4658497"/>
                      <a:pt x="3060331" y="4658497"/>
                    </a:cubicBezTo>
                    <a:lnTo>
                      <a:pt x="226566" y="4658497"/>
                    </a:lnTo>
                    <a:cubicBezTo>
                      <a:pt x="101437" y="4658497"/>
                      <a:pt x="0" y="4557060"/>
                      <a:pt x="0" y="4431931"/>
                    </a:cubicBezTo>
                    <a:lnTo>
                      <a:pt x="0" y="226566"/>
                    </a:lnTo>
                    <a:cubicBezTo>
                      <a:pt x="0" y="101437"/>
                      <a:pt x="101437" y="0"/>
                      <a:pt x="226566" y="0"/>
                    </a:cubicBezTo>
                    <a:lnTo>
                      <a:pt x="3060331" y="0"/>
                    </a:lnTo>
                    <a:cubicBezTo>
                      <a:pt x="3185460" y="0"/>
                      <a:pt x="3286897" y="101437"/>
                      <a:pt x="3286897" y="226566"/>
                    </a:cubicBezTo>
                    <a:close/>
                  </a:path>
                </a:pathLst>
              </a:custGeom>
              <a:grpFill/>
              <a:ln w="10795" cap="flat" cmpd="sng" algn="ctr">
                <a:noFill/>
                <a:prstDash val="solid"/>
                <a:headEnd type="none" w="med" len="med"/>
                <a:tailEnd type="none" w="med" len="med"/>
              </a:ln>
              <a:effectLst/>
            </p:spPr>
            <p:txBody>
              <a:bodyPr vert="horz" wrap="square" lIns="37351" tIns="37349" rIns="0" bIns="37349" numCol="1" rtlCol="0" anchor="ctr" anchorCtr="0" compatLnSpc="1">
                <a:prstTxWarp prst="textNoShape">
                  <a:avLst/>
                </a:prstTxWarp>
              </a:bodyPr>
              <a:lstStyle/>
              <a:p>
                <a:pPr marL="0" marR="0" lvl="0" indent="0" defTabSz="672257" eaLnBrk="1" fontAlgn="auto" latinLnBrk="0" hangingPunct="1">
                  <a:lnSpc>
                    <a:spcPct val="100000"/>
                  </a:lnSpc>
                  <a:spcBef>
                    <a:spcPts val="0"/>
                  </a:spcBef>
                  <a:spcAft>
                    <a:spcPts val="0"/>
                  </a:spcAft>
                  <a:buClrTx/>
                  <a:buSzTx/>
                  <a:buFontTx/>
                  <a:buNone/>
                  <a:tabLst/>
                  <a:defRPr/>
                </a:pPr>
                <a:endParaRPr kumimoji="0" lang="en-US" sz="408" b="0" i="0" u="none" strike="noStrike" kern="0" cap="none" spc="-110" normalizeH="0" baseline="0" noProof="0" dirty="0">
                  <a:ln>
                    <a:noFill/>
                  </a:ln>
                  <a:gradFill>
                    <a:gsLst>
                      <a:gs pos="0">
                        <a:srgbClr val="FFFFFF"/>
                      </a:gs>
                      <a:gs pos="100000">
                        <a:srgbClr val="FFFFFF"/>
                      </a:gs>
                    </a:gsLst>
                    <a:lin ang="5400000" scaled="0"/>
                  </a:gradFill>
                  <a:effectLst/>
                  <a:uLnTx/>
                  <a:uFillTx/>
                </a:endParaRPr>
              </a:p>
            </p:txBody>
          </p:sp>
        </p:grpSp>
        <p:sp>
          <p:nvSpPr>
            <p:cNvPr id="19" name="Rounded Rectangle 18"/>
            <p:cNvSpPr>
              <a:spLocks/>
            </p:cNvSpPr>
            <p:nvPr/>
          </p:nvSpPr>
          <p:spPr>
            <a:xfrm>
              <a:off x="5950999" y="6678817"/>
              <a:ext cx="683019" cy="530467"/>
            </a:xfrm>
            <a:prstGeom prst="roundRect">
              <a:avLst>
                <a:gd name="adj" fmla="val 5758"/>
              </a:avLst>
            </a:prstGeom>
            <a:solidFill>
              <a:schemeClr val="accent2">
                <a:lumMod val="60000"/>
                <a:lumOff val="40000"/>
              </a:schemeClr>
            </a:solidFill>
            <a:ln w="9525" cap="flat" cmpd="sng" algn="ctr">
              <a:noFill/>
              <a:prstDash val="solid"/>
            </a:ln>
            <a:effectLst/>
          </p:spPr>
          <p:txBody>
            <a:bodyPr lIns="0" rIns="0" rtlCol="0" anchor="b"/>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83" b="0" i="0" u="none" strike="noStrike" kern="1200" cap="none" spc="0" normalizeH="0" baseline="0" noProof="0" dirty="0">
                  <a:ln>
                    <a:noFill/>
                  </a:ln>
                  <a:noFill/>
                  <a:effectLst/>
                  <a:uLnTx/>
                  <a:uFillTx/>
                  <a:latin typeface="+mn-lt"/>
                  <a:ea typeface="+mn-ea"/>
                  <a:cs typeface="Arial"/>
                </a:rPr>
                <a:t>1</a:t>
              </a:r>
            </a:p>
          </p:txBody>
        </p:sp>
        <p:sp>
          <p:nvSpPr>
            <p:cNvPr id="20" name="Rounded Rectangle 19"/>
            <p:cNvSpPr>
              <a:spLocks/>
            </p:cNvSpPr>
            <p:nvPr/>
          </p:nvSpPr>
          <p:spPr>
            <a:xfrm>
              <a:off x="6668494" y="6119522"/>
              <a:ext cx="683019" cy="530467"/>
            </a:xfrm>
            <a:prstGeom prst="roundRect">
              <a:avLst>
                <a:gd name="adj" fmla="val 5758"/>
              </a:avLst>
            </a:prstGeom>
            <a:solidFill>
              <a:schemeClr val="accent2">
                <a:lumMod val="60000"/>
                <a:lumOff val="40000"/>
              </a:schemeClr>
            </a:solidFill>
            <a:ln w="9525" cap="flat" cmpd="sng" algn="ctr">
              <a:noFill/>
              <a:prstDash val="solid"/>
            </a:ln>
            <a:effectLst/>
          </p:spPr>
          <p:txBody>
            <a:bodyPr lIns="0" rIns="0" rtlCol="0" anchor="b"/>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83" b="0" i="0" u="none" strike="noStrike" kern="1200" cap="none" spc="0" normalizeH="0" baseline="0" noProof="0" dirty="0">
                  <a:ln>
                    <a:noFill/>
                  </a:ln>
                  <a:noFill/>
                  <a:effectLst/>
                  <a:uLnTx/>
                  <a:uFillTx/>
                  <a:latin typeface="+mn-lt"/>
                  <a:ea typeface="+mn-ea"/>
                  <a:cs typeface="Arial"/>
                </a:rPr>
                <a:t>1</a:t>
              </a:r>
            </a:p>
          </p:txBody>
        </p:sp>
        <p:sp>
          <p:nvSpPr>
            <p:cNvPr id="21" name="Rounded Rectangle 20"/>
            <p:cNvSpPr>
              <a:spLocks/>
            </p:cNvSpPr>
            <p:nvPr/>
          </p:nvSpPr>
          <p:spPr>
            <a:xfrm>
              <a:off x="6678628" y="6686824"/>
              <a:ext cx="683019" cy="530467"/>
            </a:xfrm>
            <a:prstGeom prst="roundRect">
              <a:avLst>
                <a:gd name="adj" fmla="val 5758"/>
              </a:avLst>
            </a:prstGeom>
            <a:solidFill>
              <a:schemeClr val="accent2">
                <a:lumMod val="60000"/>
                <a:lumOff val="40000"/>
              </a:schemeClr>
            </a:solidFill>
            <a:ln w="9525" cap="flat" cmpd="sng" algn="ctr">
              <a:noFill/>
              <a:prstDash val="solid"/>
            </a:ln>
            <a:effectLst/>
          </p:spPr>
          <p:txBody>
            <a:bodyPr lIns="0" rIns="0" rtlCol="0" anchor="b"/>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83" b="0" i="0" u="none" strike="noStrike" kern="1200" cap="none" spc="0" normalizeH="0" baseline="0" noProof="0" dirty="0">
                  <a:ln>
                    <a:noFill/>
                  </a:ln>
                  <a:noFill/>
                  <a:effectLst/>
                  <a:uLnTx/>
                  <a:uFillTx/>
                  <a:latin typeface="+mn-lt"/>
                  <a:ea typeface="+mn-ea"/>
                  <a:cs typeface="Arial"/>
                </a:rPr>
                <a:t>1</a:t>
              </a:r>
            </a:p>
          </p:txBody>
        </p:sp>
        <p:sp>
          <p:nvSpPr>
            <p:cNvPr id="22" name="Rounded Rectangle 21"/>
            <p:cNvSpPr>
              <a:spLocks/>
            </p:cNvSpPr>
            <p:nvPr/>
          </p:nvSpPr>
          <p:spPr>
            <a:xfrm>
              <a:off x="7393095" y="6678817"/>
              <a:ext cx="683019" cy="530467"/>
            </a:xfrm>
            <a:prstGeom prst="roundRect">
              <a:avLst>
                <a:gd name="adj" fmla="val 5758"/>
              </a:avLst>
            </a:prstGeom>
            <a:solidFill>
              <a:schemeClr val="accent2">
                <a:lumMod val="60000"/>
                <a:lumOff val="40000"/>
              </a:schemeClr>
            </a:solidFill>
            <a:ln w="9525" cap="flat" cmpd="sng" algn="ctr">
              <a:noFill/>
              <a:prstDash val="solid"/>
            </a:ln>
            <a:effectLst/>
          </p:spPr>
          <p:txBody>
            <a:bodyPr lIns="0" rIns="0" rtlCol="0" anchor="b"/>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83" b="0" i="0" u="none" strike="noStrike" kern="1200" cap="none" spc="0" normalizeH="0" baseline="0" noProof="0" dirty="0">
                  <a:ln>
                    <a:noFill/>
                  </a:ln>
                  <a:noFill/>
                  <a:effectLst/>
                  <a:uLnTx/>
                  <a:uFillTx/>
                  <a:latin typeface="+mn-lt"/>
                  <a:ea typeface="+mn-ea"/>
                  <a:cs typeface="Arial"/>
                </a:rPr>
                <a:t>1</a:t>
              </a:r>
            </a:p>
          </p:txBody>
        </p:sp>
        <p:sp>
          <p:nvSpPr>
            <p:cNvPr id="23" name="Rounded Rectangle 22"/>
            <p:cNvSpPr>
              <a:spLocks/>
            </p:cNvSpPr>
            <p:nvPr/>
          </p:nvSpPr>
          <p:spPr>
            <a:xfrm>
              <a:off x="8103190" y="6119522"/>
              <a:ext cx="683019" cy="530467"/>
            </a:xfrm>
            <a:prstGeom prst="roundRect">
              <a:avLst>
                <a:gd name="adj" fmla="val 5758"/>
              </a:avLst>
            </a:prstGeom>
            <a:solidFill>
              <a:schemeClr val="accent2">
                <a:lumMod val="60000"/>
                <a:lumOff val="40000"/>
              </a:schemeClr>
            </a:solidFill>
            <a:ln w="9525" cap="flat" cmpd="sng" algn="ctr">
              <a:noFill/>
              <a:prstDash val="solid"/>
            </a:ln>
            <a:effectLst/>
          </p:spPr>
          <p:txBody>
            <a:bodyPr lIns="0" rIns="0" rtlCol="0" anchor="b"/>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83" b="0" i="0" u="none" strike="noStrike" kern="1200" cap="none" spc="0" normalizeH="0" baseline="0" noProof="0" dirty="0">
                  <a:ln>
                    <a:noFill/>
                  </a:ln>
                  <a:noFill/>
                  <a:effectLst/>
                  <a:uLnTx/>
                  <a:uFillTx/>
                  <a:latin typeface="+mn-lt"/>
                  <a:ea typeface="+mn-ea"/>
                  <a:cs typeface="Arial"/>
                </a:rPr>
                <a:t>1</a:t>
              </a:r>
            </a:p>
          </p:txBody>
        </p:sp>
        <p:sp>
          <p:nvSpPr>
            <p:cNvPr id="24" name="Rounded Rectangle 23"/>
            <p:cNvSpPr>
              <a:spLocks/>
            </p:cNvSpPr>
            <p:nvPr/>
          </p:nvSpPr>
          <p:spPr>
            <a:xfrm>
              <a:off x="8113324" y="6686824"/>
              <a:ext cx="683019" cy="530467"/>
            </a:xfrm>
            <a:prstGeom prst="roundRect">
              <a:avLst>
                <a:gd name="adj" fmla="val 5758"/>
              </a:avLst>
            </a:prstGeom>
            <a:solidFill>
              <a:schemeClr val="accent2">
                <a:lumMod val="60000"/>
                <a:lumOff val="40000"/>
              </a:schemeClr>
            </a:solidFill>
            <a:ln w="9525" cap="flat" cmpd="sng" algn="ctr">
              <a:noFill/>
              <a:prstDash val="solid"/>
            </a:ln>
            <a:effectLst/>
          </p:spPr>
          <p:txBody>
            <a:bodyPr lIns="0" rIns="0" rtlCol="0" anchor="b"/>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83" b="0" i="0" u="none" strike="noStrike" kern="1200" cap="none" spc="0" normalizeH="0" baseline="0" noProof="0" dirty="0">
                  <a:ln>
                    <a:noFill/>
                  </a:ln>
                  <a:noFill/>
                  <a:effectLst/>
                  <a:uLnTx/>
                  <a:uFillTx/>
                  <a:latin typeface="+mn-lt"/>
                  <a:ea typeface="+mn-ea"/>
                  <a:cs typeface="Arial"/>
                </a:rPr>
                <a:t>1</a:t>
              </a:r>
            </a:p>
          </p:txBody>
        </p:sp>
        <p:sp>
          <p:nvSpPr>
            <p:cNvPr id="25" name="Rounded Rectangle 24"/>
            <p:cNvSpPr>
              <a:spLocks/>
            </p:cNvSpPr>
            <p:nvPr/>
          </p:nvSpPr>
          <p:spPr>
            <a:xfrm>
              <a:off x="8822799" y="6112562"/>
              <a:ext cx="683019" cy="530467"/>
            </a:xfrm>
            <a:prstGeom prst="roundRect">
              <a:avLst>
                <a:gd name="adj" fmla="val 5758"/>
              </a:avLst>
            </a:prstGeom>
            <a:solidFill>
              <a:schemeClr val="accent2">
                <a:lumMod val="60000"/>
                <a:lumOff val="40000"/>
              </a:schemeClr>
            </a:solidFill>
            <a:ln w="9525" cap="flat" cmpd="sng" algn="ctr">
              <a:noFill/>
              <a:prstDash val="solid"/>
            </a:ln>
            <a:effectLst/>
          </p:spPr>
          <p:txBody>
            <a:bodyPr lIns="0" rIns="0" rtlCol="0" anchor="b"/>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83" b="0" i="0" u="none" strike="noStrike" kern="1200" cap="none" spc="0" normalizeH="0" baseline="0" noProof="0" dirty="0">
                  <a:ln>
                    <a:noFill/>
                  </a:ln>
                  <a:noFill/>
                  <a:effectLst/>
                  <a:uLnTx/>
                  <a:uFillTx/>
                  <a:latin typeface="+mn-lt"/>
                  <a:ea typeface="+mn-ea"/>
                  <a:cs typeface="Arial"/>
                </a:rPr>
                <a:t>1</a:t>
              </a:r>
            </a:p>
          </p:txBody>
        </p:sp>
        <p:sp>
          <p:nvSpPr>
            <p:cNvPr id="26" name="Rounded Rectangle 25"/>
            <p:cNvSpPr>
              <a:spLocks/>
            </p:cNvSpPr>
            <p:nvPr/>
          </p:nvSpPr>
          <p:spPr>
            <a:xfrm>
              <a:off x="8827791" y="6678817"/>
              <a:ext cx="683019" cy="530467"/>
            </a:xfrm>
            <a:prstGeom prst="roundRect">
              <a:avLst>
                <a:gd name="adj" fmla="val 5758"/>
              </a:avLst>
            </a:prstGeom>
            <a:solidFill>
              <a:schemeClr val="accent2">
                <a:lumMod val="60000"/>
                <a:lumOff val="40000"/>
              </a:schemeClr>
            </a:solidFill>
            <a:ln w="9525" cap="flat" cmpd="sng" algn="ctr">
              <a:noFill/>
              <a:prstDash val="solid"/>
            </a:ln>
            <a:effectLst/>
          </p:spPr>
          <p:txBody>
            <a:bodyPr lIns="0" rIns="0" rtlCol="0" anchor="b"/>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83" b="0" i="0" u="none" strike="noStrike" kern="1200" cap="none" spc="0" normalizeH="0" baseline="0" noProof="0" dirty="0">
                  <a:ln>
                    <a:noFill/>
                  </a:ln>
                  <a:noFill/>
                  <a:effectLst/>
                  <a:uLnTx/>
                  <a:uFillTx/>
                  <a:latin typeface="+mn-lt"/>
                  <a:ea typeface="+mn-ea"/>
                  <a:cs typeface="Arial"/>
                </a:rPr>
                <a:t>1</a:t>
              </a:r>
            </a:p>
          </p:txBody>
        </p:sp>
        <p:sp>
          <p:nvSpPr>
            <p:cNvPr id="27" name="Rounded Rectangle 26"/>
            <p:cNvSpPr>
              <a:spLocks/>
            </p:cNvSpPr>
            <p:nvPr/>
          </p:nvSpPr>
          <p:spPr>
            <a:xfrm>
              <a:off x="7393095" y="6119522"/>
              <a:ext cx="683019" cy="530467"/>
            </a:xfrm>
            <a:prstGeom prst="roundRect">
              <a:avLst>
                <a:gd name="adj" fmla="val 5758"/>
              </a:avLst>
            </a:prstGeom>
            <a:solidFill>
              <a:schemeClr val="accent2">
                <a:lumMod val="60000"/>
                <a:lumOff val="40000"/>
              </a:schemeClr>
            </a:solidFill>
            <a:ln w="9525" cap="flat" cmpd="sng" algn="ctr">
              <a:noFill/>
              <a:prstDash val="solid"/>
            </a:ln>
            <a:effectLst/>
          </p:spPr>
          <p:txBody>
            <a:bodyPr lIns="0" rIns="0" rtlCol="0" anchor="b"/>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83" b="0" i="0" u="none" strike="noStrike" kern="1200" cap="none" spc="0" normalizeH="0" baseline="0" noProof="0" dirty="0">
                  <a:ln>
                    <a:noFill/>
                  </a:ln>
                  <a:noFill/>
                  <a:effectLst/>
                  <a:uLnTx/>
                  <a:uFillTx/>
                  <a:latin typeface="+mn-lt"/>
                  <a:ea typeface="+mn-ea"/>
                  <a:cs typeface="Arial"/>
                </a:rPr>
                <a:t>1</a:t>
              </a:r>
            </a:p>
          </p:txBody>
        </p:sp>
        <p:sp>
          <p:nvSpPr>
            <p:cNvPr id="28" name="Rounded Rectangle 18"/>
            <p:cNvSpPr/>
            <p:nvPr/>
          </p:nvSpPr>
          <p:spPr bwMode="auto">
            <a:xfrm>
              <a:off x="6824336" y="6218846"/>
              <a:ext cx="356797" cy="370918"/>
            </a:xfrm>
            <a:custGeom>
              <a:avLst/>
              <a:gdLst/>
              <a:ahLst/>
              <a:cxnLst/>
              <a:rect l="l" t="t" r="r" b="b"/>
              <a:pathLst>
                <a:path w="759909" h="783113">
                  <a:moveTo>
                    <a:pt x="428313" y="198314"/>
                  </a:moveTo>
                  <a:cubicBezTo>
                    <a:pt x="508468" y="198313"/>
                    <a:pt x="573445" y="263292"/>
                    <a:pt x="573446" y="343446"/>
                  </a:cubicBezTo>
                  <a:cubicBezTo>
                    <a:pt x="573445" y="423600"/>
                    <a:pt x="508468" y="488578"/>
                    <a:pt x="428313" y="488578"/>
                  </a:cubicBezTo>
                  <a:cubicBezTo>
                    <a:pt x="348160" y="488577"/>
                    <a:pt x="283181" y="423600"/>
                    <a:pt x="283181" y="343446"/>
                  </a:cubicBezTo>
                  <a:cubicBezTo>
                    <a:pt x="283182" y="263291"/>
                    <a:pt x="348159" y="198314"/>
                    <a:pt x="428313" y="198314"/>
                  </a:cubicBezTo>
                  <a:close/>
                  <a:moveTo>
                    <a:pt x="428313" y="131753"/>
                  </a:moveTo>
                  <a:cubicBezTo>
                    <a:pt x="311398" y="131753"/>
                    <a:pt x="216620" y="226531"/>
                    <a:pt x="216620" y="343446"/>
                  </a:cubicBezTo>
                  <a:cubicBezTo>
                    <a:pt x="216620" y="384187"/>
                    <a:pt x="228129" y="422239"/>
                    <a:pt x="251266" y="452558"/>
                  </a:cubicBezTo>
                  <a:lnTo>
                    <a:pt x="128069" y="575549"/>
                  </a:lnTo>
                  <a:cubicBezTo>
                    <a:pt x="109922" y="593667"/>
                    <a:pt x="109898" y="623064"/>
                    <a:pt x="128015" y="641211"/>
                  </a:cubicBezTo>
                  <a:cubicBezTo>
                    <a:pt x="146132" y="659359"/>
                    <a:pt x="175529" y="659383"/>
                    <a:pt x="193677" y="641266"/>
                  </a:cubicBezTo>
                  <a:lnTo>
                    <a:pt x="316485" y="518662"/>
                  </a:lnTo>
                  <a:cubicBezTo>
                    <a:pt x="347293" y="542946"/>
                    <a:pt x="386379" y="555139"/>
                    <a:pt x="428313" y="555138"/>
                  </a:cubicBezTo>
                  <a:cubicBezTo>
                    <a:pt x="545229" y="555139"/>
                    <a:pt x="640006" y="460361"/>
                    <a:pt x="640007" y="343445"/>
                  </a:cubicBezTo>
                  <a:cubicBezTo>
                    <a:pt x="640006" y="226531"/>
                    <a:pt x="545229" y="131753"/>
                    <a:pt x="428313" y="131753"/>
                  </a:cubicBezTo>
                  <a:close/>
                  <a:moveTo>
                    <a:pt x="126654" y="0"/>
                  </a:moveTo>
                  <a:lnTo>
                    <a:pt x="633255" y="0"/>
                  </a:lnTo>
                  <a:cubicBezTo>
                    <a:pt x="703204" y="0"/>
                    <a:pt x="759909" y="56705"/>
                    <a:pt x="759909" y="126654"/>
                  </a:cubicBezTo>
                  <a:lnTo>
                    <a:pt x="759909" y="656459"/>
                  </a:lnTo>
                  <a:cubicBezTo>
                    <a:pt x="759909" y="726408"/>
                    <a:pt x="703204" y="783113"/>
                    <a:pt x="633255" y="783113"/>
                  </a:cubicBezTo>
                  <a:lnTo>
                    <a:pt x="126654" y="783113"/>
                  </a:lnTo>
                  <a:cubicBezTo>
                    <a:pt x="56705" y="783113"/>
                    <a:pt x="0" y="726408"/>
                    <a:pt x="0" y="656459"/>
                  </a:cubicBezTo>
                  <a:lnTo>
                    <a:pt x="0" y="126654"/>
                  </a:lnTo>
                  <a:cubicBezTo>
                    <a:pt x="0" y="56705"/>
                    <a:pt x="56705" y="0"/>
                    <a:pt x="126654" y="0"/>
                  </a:cubicBez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37351" tIns="37351" rIns="0" bIns="74702" numCol="1" spcCol="0" rtlCol="0" fromWordArt="0" anchor="b" anchorCtr="0" forceAA="0" compatLnSpc="1">
              <a:prstTxWarp prst="textNoShape">
                <a:avLst/>
              </a:prstTxWarp>
              <a:noAutofit/>
            </a:bodyPr>
            <a:lstStyle/>
            <a:p>
              <a:pPr marL="0" marR="0" lvl="0" indent="0" defTabSz="746713" eaLnBrk="1" fontAlgn="base" latinLnBrk="0" hangingPunct="1">
                <a:lnSpc>
                  <a:spcPct val="100000"/>
                </a:lnSpc>
                <a:spcBef>
                  <a:spcPct val="0"/>
                </a:spcBef>
                <a:spcAft>
                  <a:spcPct val="0"/>
                </a:spcAft>
                <a:buClrTx/>
                <a:buSzTx/>
                <a:buFontTx/>
                <a:buNone/>
                <a:tabLst/>
                <a:defRPr/>
              </a:pPr>
              <a:endParaRPr kumimoji="0" lang="en-US" sz="408" b="0" i="0" u="none" strike="noStrike" kern="0" cap="none" spc="-41"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9" name="Freeform 28"/>
            <p:cNvSpPr>
              <a:spLocks noChangeAspect="1"/>
            </p:cNvSpPr>
            <p:nvPr/>
          </p:nvSpPr>
          <p:spPr bwMode="auto">
            <a:xfrm>
              <a:off x="7570831" y="6214728"/>
              <a:ext cx="320040" cy="315230"/>
            </a:xfrm>
            <a:custGeom>
              <a:avLst/>
              <a:gdLst>
                <a:gd name="connsiteX0" fmla="*/ 938222 w 2721566"/>
                <a:gd name="connsiteY0" fmla="*/ 1618192 h 2743150"/>
                <a:gd name="connsiteX1" fmla="*/ 920717 w 2721566"/>
                <a:gd name="connsiteY1" fmla="*/ 1627693 h 2743150"/>
                <a:gd name="connsiteX2" fmla="*/ 857026 w 2721566"/>
                <a:gd name="connsiteY2" fmla="*/ 1647464 h 2743150"/>
                <a:gd name="connsiteX3" fmla="*/ 847920 w 2721566"/>
                <a:gd name="connsiteY3" fmla="*/ 1648382 h 2743150"/>
                <a:gd name="connsiteX4" fmla="*/ 837756 w 2721566"/>
                <a:gd name="connsiteY4" fmla="*/ 1715659 h 2743150"/>
                <a:gd name="connsiteX5" fmla="*/ 832560 w 2721566"/>
                <a:gd name="connsiteY5" fmla="*/ 1819620 h 2743150"/>
                <a:gd name="connsiteX6" fmla="*/ 1127348 w 2721566"/>
                <a:gd name="connsiteY6" fmla="*/ 2538605 h 2743150"/>
                <a:gd name="connsiteX7" fmla="*/ 1128948 w 2721566"/>
                <a:gd name="connsiteY7" fmla="*/ 2540074 h 2743150"/>
                <a:gd name="connsiteX8" fmla="*/ 1240036 w 2721566"/>
                <a:gd name="connsiteY8" fmla="*/ 2557183 h 2743150"/>
                <a:gd name="connsiteX9" fmla="*/ 1360783 w 2721566"/>
                <a:gd name="connsiteY9" fmla="*/ 2563336 h 2743150"/>
                <a:gd name="connsiteX10" fmla="*/ 2448946 w 2721566"/>
                <a:gd name="connsiteY10" fmla="*/ 1835462 h 2743150"/>
                <a:gd name="connsiteX11" fmla="*/ 2454283 w 2721566"/>
                <a:gd name="connsiteY11" fmla="*/ 1820747 h 2743150"/>
                <a:gd name="connsiteX12" fmla="*/ 2454163 w 2721566"/>
                <a:gd name="connsiteY12" fmla="*/ 1820820 h 2743150"/>
                <a:gd name="connsiteX13" fmla="*/ 2315755 w 2721566"/>
                <a:gd name="connsiteY13" fmla="*/ 1885930 h 2743150"/>
                <a:gd name="connsiteX14" fmla="*/ 2314668 w 2721566"/>
                <a:gd name="connsiteY14" fmla="*/ 1896707 h 2743150"/>
                <a:gd name="connsiteX15" fmla="*/ 2121262 w 2721566"/>
                <a:gd name="connsiteY15" fmla="*/ 2054337 h 2743150"/>
                <a:gd name="connsiteX16" fmla="*/ 1981667 w 2721566"/>
                <a:gd name="connsiteY16" fmla="*/ 1996515 h 2743150"/>
                <a:gd name="connsiteX17" fmla="*/ 1964402 w 2721566"/>
                <a:gd name="connsiteY17" fmla="*/ 1970907 h 2743150"/>
                <a:gd name="connsiteX18" fmla="*/ 1833472 w 2721566"/>
                <a:gd name="connsiteY18" fmla="*/ 1979231 h 2743150"/>
                <a:gd name="connsiteX19" fmla="*/ 1005171 w 2721566"/>
                <a:gd name="connsiteY19" fmla="*/ 1679521 h 2743150"/>
                <a:gd name="connsiteX20" fmla="*/ 1275943 w 2721566"/>
                <a:gd name="connsiteY20" fmla="*/ 976747 h 2743150"/>
                <a:gd name="connsiteX21" fmla="*/ 1198822 w 2721566"/>
                <a:gd name="connsiteY21" fmla="*/ 1035009 h 2743150"/>
                <a:gd name="connsiteX22" fmla="*/ 1083955 w 2721566"/>
                <a:gd name="connsiteY22" fmla="*/ 1151055 h 2743150"/>
                <a:gd name="connsiteX23" fmla="*/ 1101284 w 2721566"/>
                <a:gd name="connsiteY23" fmla="*/ 1182982 h 2743150"/>
                <a:gd name="connsiteX24" fmla="*/ 1127948 w 2721566"/>
                <a:gd name="connsiteY24" fmla="*/ 1315054 h 2743150"/>
                <a:gd name="connsiteX25" fmla="*/ 1070000 w 2721566"/>
                <a:gd name="connsiteY25" fmla="*/ 1504762 h 2743150"/>
                <a:gd name="connsiteX26" fmla="*/ 1069531 w 2721566"/>
                <a:gd name="connsiteY26" fmla="*/ 1505330 h 2743150"/>
                <a:gd name="connsiteX27" fmla="*/ 1135763 w 2721566"/>
                <a:gd name="connsiteY27" fmla="*/ 1563925 h 2743150"/>
                <a:gd name="connsiteX28" fmla="*/ 1833472 w 2721566"/>
                <a:gd name="connsiteY28" fmla="*/ 1807163 h 2743150"/>
                <a:gd name="connsiteX29" fmla="*/ 1933016 w 2721566"/>
                <a:gd name="connsiteY29" fmla="*/ 1800511 h 2743150"/>
                <a:gd name="connsiteX30" fmla="*/ 1939359 w 2721566"/>
                <a:gd name="connsiteY30" fmla="*/ 1780077 h 2743150"/>
                <a:gd name="connsiteX31" fmla="*/ 2121262 w 2721566"/>
                <a:gd name="connsiteY31" fmla="*/ 1659503 h 2743150"/>
                <a:gd name="connsiteX32" fmla="*/ 2260857 w 2721566"/>
                <a:gd name="connsiteY32" fmla="*/ 1717325 h 2743150"/>
                <a:gd name="connsiteX33" fmla="*/ 2263606 w 2721566"/>
                <a:gd name="connsiteY33" fmla="*/ 1721402 h 2743150"/>
                <a:gd name="connsiteX34" fmla="*/ 2267011 w 2721566"/>
                <a:gd name="connsiteY34" fmla="*/ 1720229 h 2743150"/>
                <a:gd name="connsiteX35" fmla="*/ 2395987 w 2721566"/>
                <a:gd name="connsiteY35" fmla="*/ 1656069 h 2743150"/>
                <a:gd name="connsiteX36" fmla="*/ 2524667 w 2721566"/>
                <a:gd name="connsiteY36" fmla="*/ 1566083 h 2743150"/>
                <a:gd name="connsiteX37" fmla="*/ 2528847 w 2721566"/>
                <a:gd name="connsiteY37" fmla="*/ 1538444 h 2743150"/>
                <a:gd name="connsiteX38" fmla="*/ 2391754 w 2721566"/>
                <a:gd name="connsiteY38" fmla="*/ 1531467 h 2743150"/>
                <a:gd name="connsiteX39" fmla="*/ 2095342 w 2721566"/>
                <a:gd name="connsiteY39" fmla="*/ 1475341 h 2743150"/>
                <a:gd name="connsiteX40" fmla="*/ 1956122 w 2721566"/>
                <a:gd name="connsiteY40" fmla="*/ 1430037 h 2743150"/>
                <a:gd name="connsiteX41" fmla="*/ 1947455 w 2721566"/>
                <a:gd name="connsiteY41" fmla="*/ 1435880 h 2743150"/>
                <a:gd name="connsiteX42" fmla="*/ 1867644 w 2721566"/>
                <a:gd name="connsiteY42" fmla="*/ 1451993 h 2743150"/>
                <a:gd name="connsiteX43" fmla="*/ 1678717 w 2721566"/>
                <a:gd name="connsiteY43" fmla="*/ 1326764 h 2743150"/>
                <a:gd name="connsiteX44" fmla="*/ 1667734 w 2721566"/>
                <a:gd name="connsiteY44" fmla="*/ 1291381 h 2743150"/>
                <a:gd name="connsiteX45" fmla="*/ 1564981 w 2721566"/>
                <a:gd name="connsiteY45" fmla="*/ 1226519 h 2743150"/>
                <a:gd name="connsiteX46" fmla="*/ 1339681 w 2721566"/>
                <a:gd name="connsiteY46" fmla="*/ 1042541 h 2743150"/>
                <a:gd name="connsiteX47" fmla="*/ 1839031 w 2721566"/>
                <a:gd name="connsiteY47" fmla="*/ 802822 h 2743150"/>
                <a:gd name="connsiteX48" fmla="*/ 1539738 w 2721566"/>
                <a:gd name="connsiteY48" fmla="*/ 848536 h 2743150"/>
                <a:gd name="connsiteX49" fmla="*/ 1497492 w 2721566"/>
                <a:gd name="connsiteY49" fmla="*/ 864156 h 2743150"/>
                <a:gd name="connsiteX50" fmla="*/ 1530174 w 2721566"/>
                <a:gd name="connsiteY50" fmla="*/ 896941 h 2743150"/>
                <a:gd name="connsiteX51" fmla="*/ 1723667 w 2721566"/>
                <a:gd name="connsiteY51" fmla="*/ 1048242 h 2743150"/>
                <a:gd name="connsiteX52" fmla="*/ 1765091 w 2721566"/>
                <a:gd name="connsiteY52" fmla="*/ 1073360 h 2743150"/>
                <a:gd name="connsiteX53" fmla="*/ 1787834 w 2721566"/>
                <a:gd name="connsiteY53" fmla="*/ 1058026 h 2743150"/>
                <a:gd name="connsiteX54" fmla="*/ 1867644 w 2721566"/>
                <a:gd name="connsiteY54" fmla="*/ 1041913 h 2743150"/>
                <a:gd name="connsiteX55" fmla="*/ 2068519 w 2721566"/>
                <a:gd name="connsiteY55" fmla="*/ 1205631 h 2743150"/>
                <a:gd name="connsiteX56" fmla="*/ 2069865 w 2721566"/>
                <a:gd name="connsiteY56" fmla="*/ 1218984 h 2743150"/>
                <a:gd name="connsiteX57" fmla="*/ 2174899 w 2721566"/>
                <a:gd name="connsiteY57" fmla="*/ 1251806 h 2743150"/>
                <a:gd name="connsiteX58" fmla="*/ 2425742 w 2721566"/>
                <a:gd name="connsiteY58" fmla="*/ 1297108 h 2743150"/>
                <a:gd name="connsiteX59" fmla="*/ 2538295 w 2721566"/>
                <a:gd name="connsiteY59" fmla="*/ 1302486 h 2743150"/>
                <a:gd name="connsiteX60" fmla="*/ 2535655 w 2721566"/>
                <a:gd name="connsiteY60" fmla="*/ 1249725 h 2743150"/>
                <a:gd name="connsiteX61" fmla="*/ 2517759 w 2721566"/>
                <a:gd name="connsiteY61" fmla="*/ 1131394 h 2743150"/>
                <a:gd name="connsiteX62" fmla="*/ 2497854 w 2721566"/>
                <a:gd name="connsiteY62" fmla="*/ 1053274 h 2743150"/>
                <a:gd name="connsiteX63" fmla="*/ 2371258 w 2721566"/>
                <a:gd name="connsiteY63" fmla="*/ 956458 h 2743150"/>
                <a:gd name="connsiteX64" fmla="*/ 1839031 w 2721566"/>
                <a:gd name="connsiteY64" fmla="*/ 802822 h 2743150"/>
                <a:gd name="connsiteX65" fmla="*/ 540853 w 2721566"/>
                <a:gd name="connsiteY65" fmla="*/ 514986 h 2743150"/>
                <a:gd name="connsiteX66" fmla="*/ 525712 w 2721566"/>
                <a:gd name="connsiteY66" fmla="*/ 528873 h 2743150"/>
                <a:gd name="connsiteX67" fmla="*/ 179814 w 2721566"/>
                <a:gd name="connsiteY67" fmla="*/ 1371575 h 2743150"/>
                <a:gd name="connsiteX68" fmla="*/ 609577 w 2721566"/>
                <a:gd name="connsiteY68" fmla="*/ 2291196 h 2743150"/>
                <a:gd name="connsiteX69" fmla="*/ 629751 w 2721566"/>
                <a:gd name="connsiteY69" fmla="*/ 2306419 h 2743150"/>
                <a:gd name="connsiteX70" fmla="*/ 627186 w 2721566"/>
                <a:gd name="connsiteY70" fmla="*/ 2300879 h 2743150"/>
                <a:gd name="connsiteX71" fmla="*/ 536863 w 2721566"/>
                <a:gd name="connsiteY71" fmla="*/ 1819620 h 2743150"/>
                <a:gd name="connsiteX72" fmla="*/ 543586 w 2721566"/>
                <a:gd name="connsiteY72" fmla="*/ 1685426 h 2743150"/>
                <a:gd name="connsiteX73" fmla="*/ 561714 w 2721566"/>
                <a:gd name="connsiteY73" fmla="*/ 1565698 h 2743150"/>
                <a:gd name="connsiteX74" fmla="*/ 548721 w 2721566"/>
                <a:gd name="connsiteY74" fmla="*/ 1554978 h 2743150"/>
                <a:gd name="connsiteX75" fmla="*/ 449342 w 2721566"/>
                <a:gd name="connsiteY75" fmla="*/ 1315054 h 2743150"/>
                <a:gd name="connsiteX76" fmla="*/ 548721 w 2721566"/>
                <a:gd name="connsiteY76" fmla="*/ 1075131 h 2743150"/>
                <a:gd name="connsiteX77" fmla="*/ 586510 w 2721566"/>
                <a:gd name="connsiteY77" fmla="*/ 1043953 h 2743150"/>
                <a:gd name="connsiteX78" fmla="*/ 557759 w 2721566"/>
                <a:gd name="connsiteY78" fmla="*/ 931249 h 2743150"/>
                <a:gd name="connsiteX79" fmla="*/ 531303 w 2721566"/>
                <a:gd name="connsiteY79" fmla="*/ 666735 h 2743150"/>
                <a:gd name="connsiteX80" fmla="*/ 535100 w 2721566"/>
                <a:gd name="connsiteY80" fmla="*/ 565752 h 2743150"/>
                <a:gd name="connsiteX81" fmla="*/ 870476 w 2721566"/>
                <a:gd name="connsiteY81" fmla="*/ 288355 h 2743150"/>
                <a:gd name="connsiteX82" fmla="*/ 797863 w 2721566"/>
                <a:gd name="connsiteY82" fmla="*/ 323653 h 2743150"/>
                <a:gd name="connsiteX83" fmla="*/ 747285 w 2721566"/>
                <a:gd name="connsiteY83" fmla="*/ 354661 h 2743150"/>
                <a:gd name="connsiteX84" fmla="*/ 726331 w 2721566"/>
                <a:gd name="connsiteY84" fmla="*/ 436900 h 2743150"/>
                <a:gd name="connsiteX85" fmla="*/ 703371 w 2721566"/>
                <a:gd name="connsiteY85" fmla="*/ 666735 h 2743150"/>
                <a:gd name="connsiteX86" fmla="*/ 716392 w 2721566"/>
                <a:gd name="connsiteY86" fmla="*/ 840411 h 2743150"/>
                <a:gd name="connsiteX87" fmla="*/ 748231 w 2721566"/>
                <a:gd name="connsiteY87" fmla="*/ 979825 h 2743150"/>
                <a:gd name="connsiteX88" fmla="*/ 788645 w 2721566"/>
                <a:gd name="connsiteY88" fmla="*/ 975751 h 2743150"/>
                <a:gd name="connsiteX89" fmla="*/ 837858 w 2721566"/>
                <a:gd name="connsiteY89" fmla="*/ 980712 h 2743150"/>
                <a:gd name="connsiteX90" fmla="*/ 918259 w 2721566"/>
                <a:gd name="connsiteY90" fmla="*/ 891546 h 2743150"/>
                <a:gd name="connsiteX91" fmla="*/ 1010731 w 2721566"/>
                <a:gd name="connsiteY91" fmla="*/ 806835 h 2743150"/>
                <a:gd name="connsiteX92" fmla="*/ 1091088 w 2721566"/>
                <a:gd name="connsiteY92" fmla="*/ 746269 h 2743150"/>
                <a:gd name="connsiteX93" fmla="*/ 1090355 w 2721566"/>
                <a:gd name="connsiteY93" fmla="*/ 745257 h 2743150"/>
                <a:gd name="connsiteX94" fmla="*/ 908795 w 2721566"/>
                <a:gd name="connsiteY94" fmla="*/ 398035 h 2743150"/>
                <a:gd name="connsiteX95" fmla="*/ 1360783 w 2721566"/>
                <a:gd name="connsiteY95" fmla="*/ 179814 h 2743150"/>
                <a:gd name="connsiteX96" fmla="*/ 1122777 w 2721566"/>
                <a:gd name="connsiteY96" fmla="*/ 204027 h 2743150"/>
                <a:gd name="connsiteX97" fmla="*/ 1095649 w 2721566"/>
                <a:gd name="connsiteY97" fmla="*/ 211066 h 2743150"/>
                <a:gd name="connsiteX98" fmla="*/ 1107447 w 2721566"/>
                <a:gd name="connsiteY98" fmla="*/ 252895 h 2743150"/>
                <a:gd name="connsiteX99" fmla="*/ 1260905 w 2721566"/>
                <a:gd name="connsiteY99" fmla="*/ 573486 h 2743150"/>
                <a:gd name="connsiteX100" fmla="*/ 1297851 w 2721566"/>
                <a:gd name="connsiteY100" fmla="*/ 626931 h 2743150"/>
                <a:gd name="connsiteX101" fmla="*/ 1332168 w 2721566"/>
                <a:gd name="connsiteY101" fmla="*/ 610267 h 2743150"/>
                <a:gd name="connsiteX102" fmla="*/ 1839031 w 2721566"/>
                <a:gd name="connsiteY102" fmla="*/ 507125 h 2743150"/>
                <a:gd name="connsiteX103" fmla="*/ 2203231 w 2721566"/>
                <a:gd name="connsiteY103" fmla="*/ 559150 h 2743150"/>
                <a:gd name="connsiteX104" fmla="*/ 2233085 w 2721566"/>
                <a:gd name="connsiteY104" fmla="*/ 570212 h 2743150"/>
                <a:gd name="connsiteX105" fmla="*/ 2195854 w 2721566"/>
                <a:gd name="connsiteY105" fmla="*/ 528873 h 2743150"/>
                <a:gd name="connsiteX106" fmla="*/ 1360783 w 2721566"/>
                <a:gd name="connsiteY106" fmla="*/ 179814 h 2743150"/>
                <a:gd name="connsiteX107" fmla="*/ 1360783 w 2721566"/>
                <a:gd name="connsiteY107" fmla="*/ 0 h 2743150"/>
                <a:gd name="connsiteX108" fmla="*/ 2721566 w 2721566"/>
                <a:gd name="connsiteY108" fmla="*/ 1371575 h 2743150"/>
                <a:gd name="connsiteX109" fmla="*/ 1360783 w 2721566"/>
                <a:gd name="connsiteY109" fmla="*/ 2743150 h 2743150"/>
                <a:gd name="connsiteX110" fmla="*/ 0 w 2721566"/>
                <a:gd name="connsiteY110" fmla="*/ 1371575 h 2743150"/>
                <a:gd name="connsiteX111" fmla="*/ 599956 w 2721566"/>
                <a:gd name="connsiteY111" fmla="*/ 234244 h 2743150"/>
                <a:gd name="connsiteX112" fmla="*/ 605849 w 2721566"/>
                <a:gd name="connsiteY112" fmla="*/ 230636 h 2743150"/>
                <a:gd name="connsiteX113" fmla="*/ 664406 w 2721566"/>
                <a:gd name="connsiteY113" fmla="*/ 194779 h 2743150"/>
                <a:gd name="connsiteX114" fmla="*/ 712153 w 2721566"/>
                <a:gd name="connsiteY114" fmla="*/ 165541 h 2743150"/>
                <a:gd name="connsiteX115" fmla="*/ 1360783 w 2721566"/>
                <a:gd name="connsiteY115" fmla="*/ 0 h 2743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Lst>
              <a:rect l="l" t="t" r="r" b="b"/>
              <a:pathLst>
                <a:path w="2721566" h="2743150">
                  <a:moveTo>
                    <a:pt x="938222" y="1618192"/>
                  </a:moveTo>
                  <a:lnTo>
                    <a:pt x="920717" y="1627693"/>
                  </a:lnTo>
                  <a:cubicBezTo>
                    <a:pt x="900420" y="1636278"/>
                    <a:pt x="879114" y="1642944"/>
                    <a:pt x="857026" y="1647464"/>
                  </a:cubicBezTo>
                  <a:lnTo>
                    <a:pt x="847920" y="1648382"/>
                  </a:lnTo>
                  <a:lnTo>
                    <a:pt x="837756" y="1715659"/>
                  </a:lnTo>
                  <a:cubicBezTo>
                    <a:pt x="834320" y="1749840"/>
                    <a:pt x="832560" y="1784523"/>
                    <a:pt x="832560" y="1819620"/>
                  </a:cubicBezTo>
                  <a:cubicBezTo>
                    <a:pt x="832560" y="2100401"/>
                    <a:pt x="945213" y="2354601"/>
                    <a:pt x="1127348" y="2538605"/>
                  </a:cubicBezTo>
                  <a:lnTo>
                    <a:pt x="1128948" y="2540074"/>
                  </a:lnTo>
                  <a:lnTo>
                    <a:pt x="1240036" y="2557183"/>
                  </a:lnTo>
                  <a:cubicBezTo>
                    <a:pt x="1279737" y="2561252"/>
                    <a:pt x="1320019" y="2563336"/>
                    <a:pt x="1360783" y="2563336"/>
                  </a:cubicBezTo>
                  <a:cubicBezTo>
                    <a:pt x="1849956" y="2563336"/>
                    <a:pt x="2269665" y="2263203"/>
                    <a:pt x="2448946" y="1835462"/>
                  </a:cubicBezTo>
                  <a:lnTo>
                    <a:pt x="2454283" y="1820747"/>
                  </a:lnTo>
                  <a:lnTo>
                    <a:pt x="2454163" y="1820820"/>
                  </a:lnTo>
                  <a:lnTo>
                    <a:pt x="2315755" y="1885930"/>
                  </a:lnTo>
                  <a:lnTo>
                    <a:pt x="2314668" y="1896707"/>
                  </a:lnTo>
                  <a:cubicBezTo>
                    <a:pt x="2296260" y="1986666"/>
                    <a:pt x="2216663" y="2054337"/>
                    <a:pt x="2121262" y="2054337"/>
                  </a:cubicBezTo>
                  <a:cubicBezTo>
                    <a:pt x="2066747" y="2054337"/>
                    <a:pt x="2017393" y="2032241"/>
                    <a:pt x="1981667" y="1996515"/>
                  </a:cubicBezTo>
                  <a:lnTo>
                    <a:pt x="1964402" y="1970907"/>
                  </a:lnTo>
                  <a:lnTo>
                    <a:pt x="1833472" y="1979231"/>
                  </a:lnTo>
                  <a:cubicBezTo>
                    <a:pt x="1518836" y="1979231"/>
                    <a:pt x="1230263" y="1866756"/>
                    <a:pt x="1005171" y="1679521"/>
                  </a:cubicBezTo>
                  <a:close/>
                  <a:moveTo>
                    <a:pt x="1275943" y="976747"/>
                  </a:moveTo>
                  <a:lnTo>
                    <a:pt x="1198822" y="1035009"/>
                  </a:lnTo>
                  <a:lnTo>
                    <a:pt x="1083955" y="1151055"/>
                  </a:lnTo>
                  <a:lnTo>
                    <a:pt x="1101284" y="1182982"/>
                  </a:lnTo>
                  <a:cubicBezTo>
                    <a:pt x="1118453" y="1223576"/>
                    <a:pt x="1127948" y="1268206"/>
                    <a:pt x="1127948" y="1315054"/>
                  </a:cubicBezTo>
                  <a:cubicBezTo>
                    <a:pt x="1127948" y="1385326"/>
                    <a:pt x="1106585" y="1450609"/>
                    <a:pt x="1070000" y="1504762"/>
                  </a:cubicBezTo>
                  <a:lnTo>
                    <a:pt x="1069531" y="1505330"/>
                  </a:lnTo>
                  <a:lnTo>
                    <a:pt x="1135763" y="1563925"/>
                  </a:lnTo>
                  <a:cubicBezTo>
                    <a:pt x="1327889" y="1716289"/>
                    <a:pt x="1570164" y="1807163"/>
                    <a:pt x="1833472" y="1807163"/>
                  </a:cubicBezTo>
                  <a:lnTo>
                    <a:pt x="1933016" y="1800511"/>
                  </a:lnTo>
                  <a:lnTo>
                    <a:pt x="1939359" y="1780077"/>
                  </a:lnTo>
                  <a:cubicBezTo>
                    <a:pt x="1969329" y="1709221"/>
                    <a:pt x="2039490" y="1659503"/>
                    <a:pt x="2121262" y="1659503"/>
                  </a:cubicBezTo>
                  <a:cubicBezTo>
                    <a:pt x="2175777" y="1659503"/>
                    <a:pt x="2225132" y="1681600"/>
                    <a:pt x="2260857" y="1717325"/>
                  </a:cubicBezTo>
                  <a:lnTo>
                    <a:pt x="2263606" y="1721402"/>
                  </a:lnTo>
                  <a:lnTo>
                    <a:pt x="2267011" y="1720229"/>
                  </a:lnTo>
                  <a:cubicBezTo>
                    <a:pt x="2311512" y="1701558"/>
                    <a:pt x="2354575" y="1680099"/>
                    <a:pt x="2395987" y="1656069"/>
                  </a:cubicBezTo>
                  <a:lnTo>
                    <a:pt x="2524667" y="1566083"/>
                  </a:lnTo>
                  <a:lnTo>
                    <a:pt x="2528847" y="1538444"/>
                  </a:lnTo>
                  <a:lnTo>
                    <a:pt x="2391754" y="1531467"/>
                  </a:lnTo>
                  <a:cubicBezTo>
                    <a:pt x="2290200" y="1521072"/>
                    <a:pt x="2191156" y="1502121"/>
                    <a:pt x="2095342" y="1475341"/>
                  </a:cubicBezTo>
                  <a:lnTo>
                    <a:pt x="1956122" y="1430037"/>
                  </a:lnTo>
                  <a:lnTo>
                    <a:pt x="1947455" y="1435880"/>
                  </a:lnTo>
                  <a:cubicBezTo>
                    <a:pt x="1922924" y="1446256"/>
                    <a:pt x="1895954" y="1451993"/>
                    <a:pt x="1867644" y="1451993"/>
                  </a:cubicBezTo>
                  <a:cubicBezTo>
                    <a:pt x="1782714" y="1451993"/>
                    <a:pt x="1709844" y="1400356"/>
                    <a:pt x="1678717" y="1326764"/>
                  </a:cubicBezTo>
                  <a:lnTo>
                    <a:pt x="1667734" y="1291381"/>
                  </a:lnTo>
                  <a:lnTo>
                    <a:pt x="1564981" y="1226519"/>
                  </a:lnTo>
                  <a:cubicBezTo>
                    <a:pt x="1484969" y="1171328"/>
                    <a:pt x="1409629" y="1109760"/>
                    <a:pt x="1339681" y="1042541"/>
                  </a:cubicBezTo>
                  <a:close/>
                  <a:moveTo>
                    <a:pt x="1839031" y="802822"/>
                  </a:moveTo>
                  <a:cubicBezTo>
                    <a:pt x="1734808" y="802822"/>
                    <a:pt x="1634285" y="818826"/>
                    <a:pt x="1539738" y="848536"/>
                  </a:cubicBezTo>
                  <a:lnTo>
                    <a:pt x="1497492" y="864156"/>
                  </a:lnTo>
                  <a:lnTo>
                    <a:pt x="1530174" y="896941"/>
                  </a:lnTo>
                  <a:cubicBezTo>
                    <a:pt x="1590527" y="952297"/>
                    <a:pt x="1655217" y="1002924"/>
                    <a:pt x="1723667" y="1048242"/>
                  </a:cubicBezTo>
                  <a:lnTo>
                    <a:pt x="1765091" y="1073360"/>
                  </a:lnTo>
                  <a:lnTo>
                    <a:pt x="1787834" y="1058026"/>
                  </a:lnTo>
                  <a:cubicBezTo>
                    <a:pt x="1812364" y="1047651"/>
                    <a:pt x="1839334" y="1041913"/>
                    <a:pt x="1867644" y="1041913"/>
                  </a:cubicBezTo>
                  <a:cubicBezTo>
                    <a:pt x="1966729" y="1041913"/>
                    <a:pt x="2049399" y="1112198"/>
                    <a:pt x="2068519" y="1205631"/>
                  </a:cubicBezTo>
                  <a:lnTo>
                    <a:pt x="2069865" y="1218984"/>
                  </a:lnTo>
                  <a:lnTo>
                    <a:pt x="2174899" y="1251806"/>
                  </a:lnTo>
                  <a:cubicBezTo>
                    <a:pt x="2256094" y="1273569"/>
                    <a:pt x="2339900" y="1288863"/>
                    <a:pt x="2425742" y="1297108"/>
                  </a:cubicBezTo>
                  <a:lnTo>
                    <a:pt x="2538295" y="1302486"/>
                  </a:lnTo>
                  <a:lnTo>
                    <a:pt x="2535655" y="1249725"/>
                  </a:lnTo>
                  <a:cubicBezTo>
                    <a:pt x="2531623" y="1209661"/>
                    <a:pt x="2525625" y="1170184"/>
                    <a:pt x="2517759" y="1131394"/>
                  </a:cubicBezTo>
                  <a:lnTo>
                    <a:pt x="2497854" y="1053274"/>
                  </a:lnTo>
                  <a:lnTo>
                    <a:pt x="2371258" y="956458"/>
                  </a:lnTo>
                  <a:cubicBezTo>
                    <a:pt x="2216862" y="859087"/>
                    <a:pt x="2034451" y="802822"/>
                    <a:pt x="1839031" y="802822"/>
                  </a:cubicBezTo>
                  <a:close/>
                  <a:moveTo>
                    <a:pt x="540853" y="514986"/>
                  </a:moveTo>
                  <a:lnTo>
                    <a:pt x="525712" y="528873"/>
                  </a:lnTo>
                  <a:cubicBezTo>
                    <a:pt x="311998" y="744539"/>
                    <a:pt x="179814" y="1042480"/>
                    <a:pt x="179814" y="1371575"/>
                  </a:cubicBezTo>
                  <a:cubicBezTo>
                    <a:pt x="179814" y="1741808"/>
                    <a:pt x="347110" y="2072609"/>
                    <a:pt x="609577" y="2291196"/>
                  </a:cubicBezTo>
                  <a:lnTo>
                    <a:pt x="629751" y="2306419"/>
                  </a:lnTo>
                  <a:lnTo>
                    <a:pt x="627186" y="2300879"/>
                  </a:lnTo>
                  <a:cubicBezTo>
                    <a:pt x="568888" y="2151864"/>
                    <a:pt x="536863" y="1989512"/>
                    <a:pt x="536863" y="1819620"/>
                  </a:cubicBezTo>
                  <a:cubicBezTo>
                    <a:pt x="536863" y="1774316"/>
                    <a:pt x="539140" y="1729548"/>
                    <a:pt x="543586" y="1685426"/>
                  </a:cubicBezTo>
                  <a:lnTo>
                    <a:pt x="561714" y="1565698"/>
                  </a:lnTo>
                  <a:lnTo>
                    <a:pt x="548721" y="1554978"/>
                  </a:lnTo>
                  <a:cubicBezTo>
                    <a:pt x="487320" y="1493576"/>
                    <a:pt x="449342" y="1408750"/>
                    <a:pt x="449342" y="1315054"/>
                  </a:cubicBezTo>
                  <a:cubicBezTo>
                    <a:pt x="449342" y="1221358"/>
                    <a:pt x="487320" y="1136533"/>
                    <a:pt x="548721" y="1075131"/>
                  </a:cubicBezTo>
                  <a:lnTo>
                    <a:pt x="586510" y="1043953"/>
                  </a:lnTo>
                  <a:lnTo>
                    <a:pt x="557759" y="931249"/>
                  </a:lnTo>
                  <a:cubicBezTo>
                    <a:pt x="540412" y="845808"/>
                    <a:pt x="531303" y="757344"/>
                    <a:pt x="531303" y="666735"/>
                  </a:cubicBezTo>
                  <a:cubicBezTo>
                    <a:pt x="531303" y="632757"/>
                    <a:pt x="532584" y="599081"/>
                    <a:pt x="535100" y="565752"/>
                  </a:cubicBezTo>
                  <a:close/>
                  <a:moveTo>
                    <a:pt x="870476" y="288355"/>
                  </a:moveTo>
                  <a:lnTo>
                    <a:pt x="797863" y="323653"/>
                  </a:lnTo>
                  <a:lnTo>
                    <a:pt x="747285" y="354661"/>
                  </a:lnTo>
                  <a:lnTo>
                    <a:pt x="726331" y="436900"/>
                  </a:lnTo>
                  <a:cubicBezTo>
                    <a:pt x="711277" y="511139"/>
                    <a:pt x="703371" y="588006"/>
                    <a:pt x="703371" y="666735"/>
                  </a:cubicBezTo>
                  <a:cubicBezTo>
                    <a:pt x="703371" y="725782"/>
                    <a:pt x="707818" y="783782"/>
                    <a:pt x="716392" y="840411"/>
                  </a:cubicBezTo>
                  <a:lnTo>
                    <a:pt x="748231" y="979825"/>
                  </a:lnTo>
                  <a:lnTo>
                    <a:pt x="788645" y="975751"/>
                  </a:lnTo>
                  <a:lnTo>
                    <a:pt x="837858" y="980712"/>
                  </a:lnTo>
                  <a:lnTo>
                    <a:pt x="918259" y="891546"/>
                  </a:lnTo>
                  <a:cubicBezTo>
                    <a:pt x="947715" y="861857"/>
                    <a:pt x="978575" y="833583"/>
                    <a:pt x="1010731" y="806835"/>
                  </a:cubicBezTo>
                  <a:lnTo>
                    <a:pt x="1091088" y="746269"/>
                  </a:lnTo>
                  <a:lnTo>
                    <a:pt x="1090355" y="745257"/>
                  </a:lnTo>
                  <a:cubicBezTo>
                    <a:pt x="1017972" y="637265"/>
                    <a:pt x="956882" y="520950"/>
                    <a:pt x="908795" y="398035"/>
                  </a:cubicBezTo>
                  <a:close/>
                  <a:moveTo>
                    <a:pt x="1360783" y="179814"/>
                  </a:moveTo>
                  <a:cubicBezTo>
                    <a:pt x="1279254" y="179814"/>
                    <a:pt x="1199655" y="188151"/>
                    <a:pt x="1122777" y="204027"/>
                  </a:cubicBezTo>
                  <a:lnTo>
                    <a:pt x="1095649" y="211066"/>
                  </a:lnTo>
                  <a:lnTo>
                    <a:pt x="1107447" y="252895"/>
                  </a:lnTo>
                  <a:cubicBezTo>
                    <a:pt x="1146623" y="366253"/>
                    <a:pt x="1198334" y="473680"/>
                    <a:pt x="1260905" y="573486"/>
                  </a:cubicBezTo>
                  <a:lnTo>
                    <a:pt x="1297851" y="626931"/>
                  </a:lnTo>
                  <a:lnTo>
                    <a:pt x="1332168" y="610267"/>
                  </a:lnTo>
                  <a:cubicBezTo>
                    <a:pt x="1487958" y="543852"/>
                    <a:pt x="1659240" y="507125"/>
                    <a:pt x="1839031" y="507125"/>
                  </a:cubicBezTo>
                  <a:cubicBezTo>
                    <a:pt x="1965448" y="507125"/>
                    <a:pt x="2087657" y="525282"/>
                    <a:pt x="2203231" y="559150"/>
                  </a:cubicBezTo>
                  <a:lnTo>
                    <a:pt x="2233085" y="570212"/>
                  </a:lnTo>
                  <a:lnTo>
                    <a:pt x="2195854" y="528873"/>
                  </a:lnTo>
                  <a:cubicBezTo>
                    <a:pt x="1982141" y="313207"/>
                    <a:pt x="1686899" y="179814"/>
                    <a:pt x="1360783" y="179814"/>
                  </a:cubicBezTo>
                  <a:close/>
                  <a:moveTo>
                    <a:pt x="1360783" y="0"/>
                  </a:moveTo>
                  <a:cubicBezTo>
                    <a:pt x="2112323" y="0"/>
                    <a:pt x="2721566" y="614075"/>
                    <a:pt x="2721566" y="1371575"/>
                  </a:cubicBezTo>
                  <a:cubicBezTo>
                    <a:pt x="2721566" y="2129075"/>
                    <a:pt x="2112323" y="2743150"/>
                    <a:pt x="1360783" y="2743150"/>
                  </a:cubicBezTo>
                  <a:cubicBezTo>
                    <a:pt x="609243" y="2743150"/>
                    <a:pt x="0" y="2129075"/>
                    <a:pt x="0" y="1371575"/>
                  </a:cubicBezTo>
                  <a:cubicBezTo>
                    <a:pt x="0" y="898138"/>
                    <a:pt x="237985" y="480726"/>
                    <a:pt x="599956" y="234244"/>
                  </a:cubicBezTo>
                  <a:lnTo>
                    <a:pt x="605849" y="230636"/>
                  </a:lnTo>
                  <a:lnTo>
                    <a:pt x="664406" y="194779"/>
                  </a:lnTo>
                  <a:lnTo>
                    <a:pt x="712153" y="165541"/>
                  </a:lnTo>
                  <a:cubicBezTo>
                    <a:pt x="904967" y="59968"/>
                    <a:pt x="1125927" y="0"/>
                    <a:pt x="1360783" y="0"/>
                  </a:cubicBez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37351" tIns="119523" rIns="0" bIns="119523" numCol="1" spcCol="0" rtlCol="0" fromWordArt="0" anchor="t" anchorCtr="0" forceAA="0" compatLnSpc="1">
              <a:prstTxWarp prst="textNoShape">
                <a:avLst/>
              </a:prstTxWarp>
              <a:noAutofit/>
            </a:bodyPr>
            <a:lstStyle/>
            <a:p>
              <a:pPr marL="0" marR="0" lvl="0" indent="0" defTabSz="761721" eaLnBrk="1" fontAlgn="base" latinLnBrk="0" hangingPunct="1">
                <a:lnSpc>
                  <a:spcPct val="90000"/>
                </a:lnSpc>
                <a:spcBef>
                  <a:spcPct val="0"/>
                </a:spcBef>
                <a:spcAft>
                  <a:spcPct val="0"/>
                </a:spcAft>
                <a:buClrTx/>
                <a:buSzTx/>
                <a:buFontTx/>
                <a:buNone/>
                <a:tabLst/>
                <a:defRPr/>
              </a:pPr>
              <a:endParaRPr kumimoji="0" lang="en-US" sz="408"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68" name="Freeform 67"/>
            <p:cNvSpPr/>
            <p:nvPr/>
          </p:nvSpPr>
          <p:spPr>
            <a:xfrm>
              <a:off x="8322507" y="6253546"/>
              <a:ext cx="207774" cy="257770"/>
            </a:xfrm>
            <a:custGeom>
              <a:avLst/>
              <a:gdLst>
                <a:gd name="connsiteX0" fmla="*/ 103887 w 207774"/>
                <a:gd name="connsiteY0" fmla="*/ 0 h 257770"/>
                <a:gd name="connsiteX1" fmla="*/ 205663 w 207774"/>
                <a:gd name="connsiteY1" fmla="*/ 24187 h 257770"/>
                <a:gd name="connsiteX2" fmla="*/ 207588 w 207774"/>
                <a:gd name="connsiteY2" fmla="*/ 29753 h 257770"/>
                <a:gd name="connsiteX3" fmla="*/ 207774 w 207774"/>
                <a:gd name="connsiteY3" fmla="*/ 29753 h 257770"/>
                <a:gd name="connsiteX4" fmla="*/ 207774 w 207774"/>
                <a:gd name="connsiteY4" fmla="*/ 30292 h 257770"/>
                <a:gd name="connsiteX5" fmla="*/ 207774 w 207774"/>
                <a:gd name="connsiteY5" fmla="*/ 227478 h 257770"/>
                <a:gd name="connsiteX6" fmla="*/ 103887 w 207774"/>
                <a:gd name="connsiteY6" fmla="*/ 257770 h 257770"/>
                <a:gd name="connsiteX7" fmla="*/ 0 w 207774"/>
                <a:gd name="connsiteY7" fmla="*/ 227478 h 257770"/>
                <a:gd name="connsiteX8" fmla="*/ 0 w 207774"/>
                <a:gd name="connsiteY8" fmla="*/ 30292 h 257770"/>
                <a:gd name="connsiteX9" fmla="*/ 0 w 207774"/>
                <a:gd name="connsiteY9" fmla="*/ 29753 h 257770"/>
                <a:gd name="connsiteX10" fmla="*/ 187 w 207774"/>
                <a:gd name="connsiteY10" fmla="*/ 29753 h 257770"/>
                <a:gd name="connsiteX11" fmla="*/ 2111 w 207774"/>
                <a:gd name="connsiteY11" fmla="*/ 24187 h 257770"/>
                <a:gd name="connsiteX12" fmla="*/ 103887 w 207774"/>
                <a:gd name="connsiteY12" fmla="*/ 0 h 257770"/>
                <a:gd name="connsiteX13" fmla="*/ 101573 w 207774"/>
                <a:gd name="connsiteY13" fmla="*/ 12155 h 257770"/>
                <a:gd name="connsiteX14" fmla="*/ 17226 w 207774"/>
                <a:gd name="connsiteY14" fmla="*/ 37778 h 257770"/>
                <a:gd name="connsiteX15" fmla="*/ 101573 w 207774"/>
                <a:gd name="connsiteY15" fmla="*/ 63401 h 257770"/>
                <a:gd name="connsiteX16" fmla="*/ 185920 w 207774"/>
                <a:gd name="connsiteY16" fmla="*/ 37778 h 257770"/>
                <a:gd name="connsiteX17" fmla="*/ 101573 w 207774"/>
                <a:gd name="connsiteY17" fmla="*/ 12155 h 2577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07774" h="257770">
                  <a:moveTo>
                    <a:pt x="103887" y="0"/>
                  </a:moveTo>
                  <a:cubicBezTo>
                    <a:pt x="154090" y="0"/>
                    <a:pt x="195976" y="10384"/>
                    <a:pt x="205663" y="24187"/>
                  </a:cubicBezTo>
                  <a:lnTo>
                    <a:pt x="207588" y="29753"/>
                  </a:lnTo>
                  <a:lnTo>
                    <a:pt x="207774" y="29753"/>
                  </a:lnTo>
                  <a:lnTo>
                    <a:pt x="207774" y="30292"/>
                  </a:lnTo>
                  <a:lnTo>
                    <a:pt x="207774" y="227478"/>
                  </a:lnTo>
                  <a:cubicBezTo>
                    <a:pt x="207774" y="244208"/>
                    <a:pt x="161262" y="257770"/>
                    <a:pt x="103887" y="257770"/>
                  </a:cubicBezTo>
                  <a:cubicBezTo>
                    <a:pt x="46512" y="257770"/>
                    <a:pt x="0" y="244208"/>
                    <a:pt x="0" y="227478"/>
                  </a:cubicBezTo>
                  <a:lnTo>
                    <a:pt x="0" y="30292"/>
                  </a:lnTo>
                  <a:lnTo>
                    <a:pt x="0" y="29753"/>
                  </a:lnTo>
                  <a:lnTo>
                    <a:pt x="187" y="29753"/>
                  </a:lnTo>
                  <a:lnTo>
                    <a:pt x="2111" y="24187"/>
                  </a:lnTo>
                  <a:cubicBezTo>
                    <a:pt x="11798" y="10384"/>
                    <a:pt x="53684" y="0"/>
                    <a:pt x="103887" y="0"/>
                  </a:cubicBezTo>
                  <a:close/>
                  <a:moveTo>
                    <a:pt x="101573" y="12155"/>
                  </a:moveTo>
                  <a:cubicBezTo>
                    <a:pt x="54989" y="12155"/>
                    <a:pt x="17226" y="23627"/>
                    <a:pt x="17226" y="37778"/>
                  </a:cubicBezTo>
                  <a:cubicBezTo>
                    <a:pt x="17226" y="51929"/>
                    <a:pt x="54989" y="63401"/>
                    <a:pt x="101573" y="63401"/>
                  </a:cubicBezTo>
                  <a:cubicBezTo>
                    <a:pt x="148157" y="63401"/>
                    <a:pt x="185920" y="51929"/>
                    <a:pt x="185920" y="37778"/>
                  </a:cubicBezTo>
                  <a:cubicBezTo>
                    <a:pt x="185920" y="23627"/>
                    <a:pt x="148157" y="12155"/>
                    <a:pt x="101573" y="12155"/>
                  </a:cubicBezTo>
                  <a:close/>
                </a:path>
              </a:pathLst>
            </a:custGeom>
            <a:solidFill>
              <a:schemeClr val="bg1"/>
            </a:solidFill>
            <a:ln w="12700" cap="flat" cmpd="sng" algn="ctr">
              <a:noFill/>
              <a:prstDash val="solid"/>
              <a:miter lim="800000"/>
            </a:ln>
            <a:effectLst/>
          </p:spPr>
          <p:txBody>
            <a:bodyPr wrap="square" lIns="37351" rIns="0" rtlCol="0" anchor="ctr">
              <a:noAutofit/>
            </a:bodyPr>
            <a:lstStyle/>
            <a:p>
              <a:pPr marL="0" marR="0" lvl="0" indent="0" defTabSz="761605" eaLnBrk="1" fontAlgn="auto" latinLnBrk="0" hangingPunct="1">
                <a:lnSpc>
                  <a:spcPct val="100000"/>
                </a:lnSpc>
                <a:spcBef>
                  <a:spcPts val="0"/>
                </a:spcBef>
                <a:spcAft>
                  <a:spcPts val="0"/>
                </a:spcAft>
                <a:buClrTx/>
                <a:buSzTx/>
                <a:buFontTx/>
                <a:buNone/>
                <a:tabLst/>
                <a:defRPr/>
              </a:pPr>
              <a:endParaRPr kumimoji="0" lang="en-US" sz="408" b="0" i="0" u="none" strike="noStrike" kern="0" cap="none" spc="0" normalizeH="0" baseline="0" noProof="0">
                <a:ln>
                  <a:noFill/>
                </a:ln>
                <a:solidFill>
                  <a:srgbClr val="505050"/>
                </a:solidFill>
                <a:effectLst/>
                <a:uLnTx/>
                <a:uFillTx/>
              </a:endParaRPr>
            </a:p>
          </p:txBody>
        </p:sp>
        <p:sp>
          <p:nvSpPr>
            <p:cNvPr id="32" name="Freeform 7"/>
            <p:cNvSpPr>
              <a:spLocks noEditPoints="1"/>
            </p:cNvSpPr>
            <p:nvPr/>
          </p:nvSpPr>
          <p:spPr bwMode="auto">
            <a:xfrm>
              <a:off x="6172126" y="6785092"/>
              <a:ext cx="241061" cy="291930"/>
            </a:xfrm>
            <a:custGeom>
              <a:avLst/>
              <a:gdLst>
                <a:gd name="T0" fmla="*/ 278 w 306"/>
                <a:gd name="T1" fmla="*/ 15 h 329"/>
                <a:gd name="T2" fmla="*/ 256 w 306"/>
                <a:gd name="T3" fmla="*/ 22 h 329"/>
                <a:gd name="T4" fmla="*/ 248 w 306"/>
                <a:gd name="T5" fmla="*/ 0 h 329"/>
                <a:gd name="T6" fmla="*/ 56 w 306"/>
                <a:gd name="T7" fmla="*/ 15 h 329"/>
                <a:gd name="T8" fmla="*/ 34 w 306"/>
                <a:gd name="T9" fmla="*/ 22 h 329"/>
                <a:gd name="T10" fmla="*/ 26 w 306"/>
                <a:gd name="T11" fmla="*/ 0 h 329"/>
                <a:gd name="T12" fmla="*/ 0 w 306"/>
                <a:gd name="T13" fmla="*/ 329 h 329"/>
                <a:gd name="T14" fmla="*/ 25 w 306"/>
                <a:gd name="T15" fmla="*/ 314 h 329"/>
                <a:gd name="T16" fmla="*/ 48 w 306"/>
                <a:gd name="T17" fmla="*/ 306 h 329"/>
                <a:gd name="T18" fmla="*/ 55 w 306"/>
                <a:gd name="T19" fmla="*/ 329 h 329"/>
                <a:gd name="T20" fmla="*/ 249 w 306"/>
                <a:gd name="T21" fmla="*/ 314 h 329"/>
                <a:gd name="T22" fmla="*/ 271 w 306"/>
                <a:gd name="T23" fmla="*/ 306 h 329"/>
                <a:gd name="T24" fmla="*/ 279 w 306"/>
                <a:gd name="T25" fmla="*/ 329 h 329"/>
                <a:gd name="T26" fmla="*/ 306 w 306"/>
                <a:gd name="T27" fmla="*/ 0 h 329"/>
                <a:gd name="T28" fmla="*/ 56 w 306"/>
                <a:gd name="T29" fmla="*/ 250 h 329"/>
                <a:gd name="T30" fmla="*/ 34 w 306"/>
                <a:gd name="T31" fmla="*/ 258 h 329"/>
                <a:gd name="T32" fmla="*/ 26 w 306"/>
                <a:gd name="T33" fmla="*/ 236 h 329"/>
                <a:gd name="T34" fmla="*/ 49 w 306"/>
                <a:gd name="T35" fmla="*/ 228 h 329"/>
                <a:gd name="T36" fmla="*/ 56 w 306"/>
                <a:gd name="T37" fmla="*/ 250 h 329"/>
                <a:gd name="T38" fmla="*/ 49 w 306"/>
                <a:gd name="T39" fmla="*/ 179 h 329"/>
                <a:gd name="T40" fmla="*/ 26 w 306"/>
                <a:gd name="T41" fmla="*/ 172 h 329"/>
                <a:gd name="T42" fmla="*/ 34 w 306"/>
                <a:gd name="T43" fmla="*/ 150 h 329"/>
                <a:gd name="T44" fmla="*/ 56 w 306"/>
                <a:gd name="T45" fmla="*/ 157 h 329"/>
                <a:gd name="T46" fmla="*/ 56 w 306"/>
                <a:gd name="T47" fmla="*/ 93 h 329"/>
                <a:gd name="T48" fmla="*/ 34 w 306"/>
                <a:gd name="T49" fmla="*/ 101 h 329"/>
                <a:gd name="T50" fmla="*/ 26 w 306"/>
                <a:gd name="T51" fmla="*/ 79 h 329"/>
                <a:gd name="T52" fmla="*/ 49 w 306"/>
                <a:gd name="T53" fmla="*/ 71 h 329"/>
                <a:gd name="T54" fmla="*/ 56 w 306"/>
                <a:gd name="T55" fmla="*/ 93 h 329"/>
                <a:gd name="T56" fmla="*/ 83 w 306"/>
                <a:gd name="T57" fmla="*/ 295 h 329"/>
                <a:gd name="T58" fmla="*/ 222 w 306"/>
                <a:gd name="T59" fmla="*/ 183 h 329"/>
                <a:gd name="T60" fmla="*/ 222 w 306"/>
                <a:gd name="T61" fmla="*/ 146 h 329"/>
                <a:gd name="T62" fmla="*/ 83 w 306"/>
                <a:gd name="T63" fmla="*/ 34 h 329"/>
                <a:gd name="T64" fmla="*/ 222 w 306"/>
                <a:gd name="T65" fmla="*/ 146 h 329"/>
                <a:gd name="T66" fmla="*/ 270 w 306"/>
                <a:gd name="T67" fmla="*/ 258 h 329"/>
                <a:gd name="T68" fmla="*/ 248 w 306"/>
                <a:gd name="T69" fmla="*/ 250 h 329"/>
                <a:gd name="T70" fmla="*/ 256 w 306"/>
                <a:gd name="T71" fmla="*/ 228 h 329"/>
                <a:gd name="T72" fmla="*/ 278 w 306"/>
                <a:gd name="T73" fmla="*/ 236 h 329"/>
                <a:gd name="T74" fmla="*/ 278 w 306"/>
                <a:gd name="T75" fmla="*/ 172 h 329"/>
                <a:gd name="T76" fmla="*/ 256 w 306"/>
                <a:gd name="T77" fmla="*/ 179 h 329"/>
                <a:gd name="T78" fmla="*/ 248 w 306"/>
                <a:gd name="T79" fmla="*/ 157 h 329"/>
                <a:gd name="T80" fmla="*/ 270 w 306"/>
                <a:gd name="T81" fmla="*/ 150 h 329"/>
                <a:gd name="T82" fmla="*/ 278 w 306"/>
                <a:gd name="T83" fmla="*/ 172 h 329"/>
                <a:gd name="T84" fmla="*/ 270 w 306"/>
                <a:gd name="T85" fmla="*/ 101 h 329"/>
                <a:gd name="T86" fmla="*/ 248 w 306"/>
                <a:gd name="T87" fmla="*/ 93 h 329"/>
                <a:gd name="T88" fmla="*/ 256 w 306"/>
                <a:gd name="T89" fmla="*/ 71 h 329"/>
                <a:gd name="T90" fmla="*/ 278 w 306"/>
                <a:gd name="T91" fmla="*/ 79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06" h="329">
                  <a:moveTo>
                    <a:pt x="278" y="0"/>
                  </a:moveTo>
                  <a:cubicBezTo>
                    <a:pt x="278" y="15"/>
                    <a:pt x="278" y="15"/>
                    <a:pt x="278" y="15"/>
                  </a:cubicBezTo>
                  <a:cubicBezTo>
                    <a:pt x="278" y="19"/>
                    <a:pt x="275" y="22"/>
                    <a:pt x="270" y="22"/>
                  </a:cubicBezTo>
                  <a:cubicBezTo>
                    <a:pt x="256" y="22"/>
                    <a:pt x="256" y="22"/>
                    <a:pt x="256" y="22"/>
                  </a:cubicBezTo>
                  <a:cubicBezTo>
                    <a:pt x="252" y="22"/>
                    <a:pt x="248" y="19"/>
                    <a:pt x="248" y="15"/>
                  </a:cubicBezTo>
                  <a:cubicBezTo>
                    <a:pt x="248" y="0"/>
                    <a:pt x="248" y="0"/>
                    <a:pt x="248" y="0"/>
                  </a:cubicBezTo>
                  <a:cubicBezTo>
                    <a:pt x="56" y="0"/>
                    <a:pt x="56" y="0"/>
                    <a:pt x="56" y="0"/>
                  </a:cubicBezTo>
                  <a:cubicBezTo>
                    <a:pt x="56" y="15"/>
                    <a:pt x="56" y="15"/>
                    <a:pt x="56" y="15"/>
                  </a:cubicBezTo>
                  <a:cubicBezTo>
                    <a:pt x="56" y="19"/>
                    <a:pt x="53" y="22"/>
                    <a:pt x="49" y="22"/>
                  </a:cubicBezTo>
                  <a:cubicBezTo>
                    <a:pt x="34" y="22"/>
                    <a:pt x="34" y="22"/>
                    <a:pt x="34" y="22"/>
                  </a:cubicBezTo>
                  <a:cubicBezTo>
                    <a:pt x="30" y="22"/>
                    <a:pt x="26" y="19"/>
                    <a:pt x="26" y="15"/>
                  </a:cubicBezTo>
                  <a:cubicBezTo>
                    <a:pt x="26" y="0"/>
                    <a:pt x="26" y="0"/>
                    <a:pt x="26" y="0"/>
                  </a:cubicBezTo>
                  <a:cubicBezTo>
                    <a:pt x="0" y="0"/>
                    <a:pt x="0" y="0"/>
                    <a:pt x="0" y="0"/>
                  </a:cubicBezTo>
                  <a:cubicBezTo>
                    <a:pt x="0" y="329"/>
                    <a:pt x="0" y="329"/>
                    <a:pt x="0" y="329"/>
                  </a:cubicBezTo>
                  <a:cubicBezTo>
                    <a:pt x="25" y="329"/>
                    <a:pt x="25" y="329"/>
                    <a:pt x="25" y="329"/>
                  </a:cubicBezTo>
                  <a:cubicBezTo>
                    <a:pt x="25" y="314"/>
                    <a:pt x="25" y="314"/>
                    <a:pt x="25" y="314"/>
                  </a:cubicBezTo>
                  <a:cubicBezTo>
                    <a:pt x="25" y="310"/>
                    <a:pt x="29" y="306"/>
                    <a:pt x="33" y="306"/>
                  </a:cubicBezTo>
                  <a:cubicBezTo>
                    <a:pt x="48" y="306"/>
                    <a:pt x="48" y="306"/>
                    <a:pt x="48" y="306"/>
                  </a:cubicBezTo>
                  <a:cubicBezTo>
                    <a:pt x="52" y="306"/>
                    <a:pt x="55" y="310"/>
                    <a:pt x="55" y="314"/>
                  </a:cubicBezTo>
                  <a:cubicBezTo>
                    <a:pt x="55" y="329"/>
                    <a:pt x="55" y="329"/>
                    <a:pt x="55" y="329"/>
                  </a:cubicBezTo>
                  <a:cubicBezTo>
                    <a:pt x="249" y="329"/>
                    <a:pt x="249" y="329"/>
                    <a:pt x="249" y="329"/>
                  </a:cubicBezTo>
                  <a:cubicBezTo>
                    <a:pt x="249" y="314"/>
                    <a:pt x="249" y="314"/>
                    <a:pt x="249" y="314"/>
                  </a:cubicBezTo>
                  <a:cubicBezTo>
                    <a:pt x="249" y="310"/>
                    <a:pt x="253" y="306"/>
                    <a:pt x="257" y="306"/>
                  </a:cubicBezTo>
                  <a:cubicBezTo>
                    <a:pt x="271" y="306"/>
                    <a:pt x="271" y="306"/>
                    <a:pt x="271" y="306"/>
                  </a:cubicBezTo>
                  <a:cubicBezTo>
                    <a:pt x="276" y="306"/>
                    <a:pt x="279" y="310"/>
                    <a:pt x="279" y="314"/>
                  </a:cubicBezTo>
                  <a:cubicBezTo>
                    <a:pt x="279" y="329"/>
                    <a:pt x="279" y="329"/>
                    <a:pt x="279" y="329"/>
                  </a:cubicBezTo>
                  <a:cubicBezTo>
                    <a:pt x="306" y="329"/>
                    <a:pt x="306" y="329"/>
                    <a:pt x="306" y="329"/>
                  </a:cubicBezTo>
                  <a:cubicBezTo>
                    <a:pt x="306" y="0"/>
                    <a:pt x="306" y="0"/>
                    <a:pt x="306" y="0"/>
                  </a:cubicBezTo>
                  <a:lnTo>
                    <a:pt x="278" y="0"/>
                  </a:lnTo>
                  <a:close/>
                  <a:moveTo>
                    <a:pt x="56" y="250"/>
                  </a:moveTo>
                  <a:cubicBezTo>
                    <a:pt x="56" y="254"/>
                    <a:pt x="53" y="258"/>
                    <a:pt x="49" y="258"/>
                  </a:cubicBezTo>
                  <a:cubicBezTo>
                    <a:pt x="34" y="258"/>
                    <a:pt x="34" y="258"/>
                    <a:pt x="34" y="258"/>
                  </a:cubicBezTo>
                  <a:cubicBezTo>
                    <a:pt x="30" y="258"/>
                    <a:pt x="26" y="254"/>
                    <a:pt x="26" y="250"/>
                  </a:cubicBezTo>
                  <a:cubicBezTo>
                    <a:pt x="26" y="236"/>
                    <a:pt x="26" y="236"/>
                    <a:pt x="26" y="236"/>
                  </a:cubicBezTo>
                  <a:cubicBezTo>
                    <a:pt x="26" y="231"/>
                    <a:pt x="30" y="228"/>
                    <a:pt x="34" y="228"/>
                  </a:cubicBezTo>
                  <a:cubicBezTo>
                    <a:pt x="49" y="228"/>
                    <a:pt x="49" y="228"/>
                    <a:pt x="49" y="228"/>
                  </a:cubicBezTo>
                  <a:cubicBezTo>
                    <a:pt x="53" y="228"/>
                    <a:pt x="56" y="231"/>
                    <a:pt x="56" y="236"/>
                  </a:cubicBezTo>
                  <a:lnTo>
                    <a:pt x="56" y="250"/>
                  </a:lnTo>
                  <a:close/>
                  <a:moveTo>
                    <a:pt x="56" y="172"/>
                  </a:moveTo>
                  <a:cubicBezTo>
                    <a:pt x="56" y="176"/>
                    <a:pt x="53" y="179"/>
                    <a:pt x="49" y="179"/>
                  </a:cubicBezTo>
                  <a:cubicBezTo>
                    <a:pt x="34" y="179"/>
                    <a:pt x="34" y="179"/>
                    <a:pt x="34" y="179"/>
                  </a:cubicBezTo>
                  <a:cubicBezTo>
                    <a:pt x="30" y="179"/>
                    <a:pt x="26" y="176"/>
                    <a:pt x="26" y="172"/>
                  </a:cubicBezTo>
                  <a:cubicBezTo>
                    <a:pt x="26" y="157"/>
                    <a:pt x="26" y="157"/>
                    <a:pt x="26" y="157"/>
                  </a:cubicBezTo>
                  <a:cubicBezTo>
                    <a:pt x="26" y="153"/>
                    <a:pt x="30" y="150"/>
                    <a:pt x="34" y="150"/>
                  </a:cubicBezTo>
                  <a:cubicBezTo>
                    <a:pt x="49" y="150"/>
                    <a:pt x="49" y="150"/>
                    <a:pt x="49" y="150"/>
                  </a:cubicBezTo>
                  <a:cubicBezTo>
                    <a:pt x="53" y="150"/>
                    <a:pt x="56" y="153"/>
                    <a:pt x="56" y="157"/>
                  </a:cubicBezTo>
                  <a:lnTo>
                    <a:pt x="56" y="172"/>
                  </a:lnTo>
                  <a:close/>
                  <a:moveTo>
                    <a:pt x="56" y="93"/>
                  </a:moveTo>
                  <a:cubicBezTo>
                    <a:pt x="56" y="97"/>
                    <a:pt x="53" y="101"/>
                    <a:pt x="49" y="101"/>
                  </a:cubicBezTo>
                  <a:cubicBezTo>
                    <a:pt x="34" y="101"/>
                    <a:pt x="34" y="101"/>
                    <a:pt x="34" y="101"/>
                  </a:cubicBezTo>
                  <a:cubicBezTo>
                    <a:pt x="30" y="101"/>
                    <a:pt x="26" y="97"/>
                    <a:pt x="26" y="93"/>
                  </a:cubicBezTo>
                  <a:cubicBezTo>
                    <a:pt x="26" y="79"/>
                    <a:pt x="26" y="79"/>
                    <a:pt x="26" y="79"/>
                  </a:cubicBezTo>
                  <a:cubicBezTo>
                    <a:pt x="26" y="74"/>
                    <a:pt x="30" y="71"/>
                    <a:pt x="34" y="71"/>
                  </a:cubicBezTo>
                  <a:cubicBezTo>
                    <a:pt x="49" y="71"/>
                    <a:pt x="49" y="71"/>
                    <a:pt x="49" y="71"/>
                  </a:cubicBezTo>
                  <a:cubicBezTo>
                    <a:pt x="53" y="71"/>
                    <a:pt x="56" y="74"/>
                    <a:pt x="56" y="79"/>
                  </a:cubicBezTo>
                  <a:lnTo>
                    <a:pt x="56" y="93"/>
                  </a:lnTo>
                  <a:close/>
                  <a:moveTo>
                    <a:pt x="222" y="295"/>
                  </a:moveTo>
                  <a:cubicBezTo>
                    <a:pt x="83" y="295"/>
                    <a:pt x="83" y="295"/>
                    <a:pt x="83" y="295"/>
                  </a:cubicBezTo>
                  <a:cubicBezTo>
                    <a:pt x="83" y="183"/>
                    <a:pt x="83" y="183"/>
                    <a:pt x="83" y="183"/>
                  </a:cubicBezTo>
                  <a:cubicBezTo>
                    <a:pt x="222" y="183"/>
                    <a:pt x="222" y="183"/>
                    <a:pt x="222" y="183"/>
                  </a:cubicBezTo>
                  <a:lnTo>
                    <a:pt x="222" y="295"/>
                  </a:lnTo>
                  <a:close/>
                  <a:moveTo>
                    <a:pt x="222" y="146"/>
                  </a:moveTo>
                  <a:cubicBezTo>
                    <a:pt x="83" y="146"/>
                    <a:pt x="83" y="146"/>
                    <a:pt x="83" y="146"/>
                  </a:cubicBezTo>
                  <a:cubicBezTo>
                    <a:pt x="83" y="34"/>
                    <a:pt x="83" y="34"/>
                    <a:pt x="83" y="34"/>
                  </a:cubicBezTo>
                  <a:cubicBezTo>
                    <a:pt x="222" y="34"/>
                    <a:pt x="222" y="34"/>
                    <a:pt x="222" y="34"/>
                  </a:cubicBezTo>
                  <a:lnTo>
                    <a:pt x="222" y="146"/>
                  </a:lnTo>
                  <a:close/>
                  <a:moveTo>
                    <a:pt x="278" y="250"/>
                  </a:moveTo>
                  <a:cubicBezTo>
                    <a:pt x="278" y="254"/>
                    <a:pt x="275" y="258"/>
                    <a:pt x="270" y="258"/>
                  </a:cubicBezTo>
                  <a:cubicBezTo>
                    <a:pt x="256" y="258"/>
                    <a:pt x="256" y="258"/>
                    <a:pt x="256" y="258"/>
                  </a:cubicBezTo>
                  <a:cubicBezTo>
                    <a:pt x="252" y="258"/>
                    <a:pt x="248" y="254"/>
                    <a:pt x="248" y="250"/>
                  </a:cubicBezTo>
                  <a:cubicBezTo>
                    <a:pt x="248" y="236"/>
                    <a:pt x="248" y="236"/>
                    <a:pt x="248" y="236"/>
                  </a:cubicBezTo>
                  <a:cubicBezTo>
                    <a:pt x="248" y="231"/>
                    <a:pt x="252" y="228"/>
                    <a:pt x="256" y="228"/>
                  </a:cubicBezTo>
                  <a:cubicBezTo>
                    <a:pt x="270" y="228"/>
                    <a:pt x="270" y="228"/>
                    <a:pt x="270" y="228"/>
                  </a:cubicBezTo>
                  <a:cubicBezTo>
                    <a:pt x="275" y="228"/>
                    <a:pt x="278" y="231"/>
                    <a:pt x="278" y="236"/>
                  </a:cubicBezTo>
                  <a:lnTo>
                    <a:pt x="278" y="250"/>
                  </a:lnTo>
                  <a:close/>
                  <a:moveTo>
                    <a:pt x="278" y="172"/>
                  </a:moveTo>
                  <a:cubicBezTo>
                    <a:pt x="278" y="176"/>
                    <a:pt x="275" y="179"/>
                    <a:pt x="270" y="179"/>
                  </a:cubicBezTo>
                  <a:cubicBezTo>
                    <a:pt x="256" y="179"/>
                    <a:pt x="256" y="179"/>
                    <a:pt x="256" y="179"/>
                  </a:cubicBezTo>
                  <a:cubicBezTo>
                    <a:pt x="252" y="179"/>
                    <a:pt x="248" y="176"/>
                    <a:pt x="248" y="172"/>
                  </a:cubicBezTo>
                  <a:cubicBezTo>
                    <a:pt x="248" y="157"/>
                    <a:pt x="248" y="157"/>
                    <a:pt x="248" y="157"/>
                  </a:cubicBezTo>
                  <a:cubicBezTo>
                    <a:pt x="248" y="153"/>
                    <a:pt x="252" y="150"/>
                    <a:pt x="256" y="150"/>
                  </a:cubicBezTo>
                  <a:cubicBezTo>
                    <a:pt x="270" y="150"/>
                    <a:pt x="270" y="150"/>
                    <a:pt x="270" y="150"/>
                  </a:cubicBezTo>
                  <a:cubicBezTo>
                    <a:pt x="275" y="150"/>
                    <a:pt x="278" y="153"/>
                    <a:pt x="278" y="157"/>
                  </a:cubicBezTo>
                  <a:lnTo>
                    <a:pt x="278" y="172"/>
                  </a:lnTo>
                  <a:close/>
                  <a:moveTo>
                    <a:pt x="278" y="93"/>
                  </a:moveTo>
                  <a:cubicBezTo>
                    <a:pt x="278" y="97"/>
                    <a:pt x="275" y="101"/>
                    <a:pt x="270" y="101"/>
                  </a:cubicBezTo>
                  <a:cubicBezTo>
                    <a:pt x="256" y="101"/>
                    <a:pt x="256" y="101"/>
                    <a:pt x="256" y="101"/>
                  </a:cubicBezTo>
                  <a:cubicBezTo>
                    <a:pt x="252" y="101"/>
                    <a:pt x="248" y="97"/>
                    <a:pt x="248" y="93"/>
                  </a:cubicBezTo>
                  <a:cubicBezTo>
                    <a:pt x="248" y="79"/>
                    <a:pt x="248" y="79"/>
                    <a:pt x="248" y="79"/>
                  </a:cubicBezTo>
                  <a:cubicBezTo>
                    <a:pt x="248" y="74"/>
                    <a:pt x="252" y="71"/>
                    <a:pt x="256" y="71"/>
                  </a:cubicBezTo>
                  <a:cubicBezTo>
                    <a:pt x="270" y="71"/>
                    <a:pt x="270" y="71"/>
                    <a:pt x="270" y="71"/>
                  </a:cubicBezTo>
                  <a:cubicBezTo>
                    <a:pt x="275" y="71"/>
                    <a:pt x="278" y="74"/>
                    <a:pt x="278" y="79"/>
                  </a:cubicBezTo>
                  <a:lnTo>
                    <a:pt x="278" y="93"/>
                  </a:lnTo>
                  <a:close/>
                </a:path>
              </a:pathLst>
            </a:custGeom>
            <a:solidFill>
              <a:schemeClr val="bg1"/>
            </a:solidFill>
            <a:ln w="10795" cap="flat" cmpd="sng" algn="ctr">
              <a:noFill/>
              <a:prstDash val="solid"/>
              <a:headEnd type="none" w="med" len="med"/>
              <a:tailEnd type="none" w="med" len="med"/>
            </a:ln>
            <a:effectLst/>
          </p:spPr>
          <p:txBody>
            <a:bodyPr vert="horz" wrap="square" lIns="37351" tIns="37349" rIns="0" bIns="37349" numCol="1" rtlCol="0" anchor="ctr" anchorCtr="0" compatLnSpc="1">
              <a:prstTxWarp prst="textNoShape">
                <a:avLst/>
              </a:prstTxWarp>
            </a:bodyPr>
            <a:lstStyle/>
            <a:p>
              <a:pPr marL="0" marR="0" lvl="0" indent="0" defTabSz="672257" eaLnBrk="1" fontAlgn="auto" latinLnBrk="0" hangingPunct="1">
                <a:lnSpc>
                  <a:spcPct val="100000"/>
                </a:lnSpc>
                <a:spcBef>
                  <a:spcPts val="0"/>
                </a:spcBef>
                <a:spcAft>
                  <a:spcPts val="0"/>
                </a:spcAft>
                <a:buClrTx/>
                <a:buSzTx/>
                <a:buFontTx/>
                <a:buNone/>
                <a:tabLst/>
                <a:defRPr/>
              </a:pPr>
              <a:endParaRPr kumimoji="0" lang="en-US" sz="408" b="0" i="0" u="none" strike="noStrike" kern="0" cap="none" spc="-110" normalizeH="0" baseline="0" noProof="0" dirty="0">
                <a:ln>
                  <a:noFill/>
                </a:ln>
                <a:solidFill>
                  <a:srgbClr val="008272"/>
                </a:solidFill>
                <a:effectLst/>
                <a:uLnTx/>
                <a:uFillTx/>
              </a:endParaRPr>
            </a:p>
          </p:txBody>
        </p:sp>
        <p:sp>
          <p:nvSpPr>
            <p:cNvPr id="33" name="Frame 5"/>
            <p:cNvSpPr>
              <a:spLocks noChangeAspect="1"/>
            </p:cNvSpPr>
            <p:nvPr/>
          </p:nvSpPr>
          <p:spPr bwMode="auto">
            <a:xfrm>
              <a:off x="7639807" y="6788633"/>
              <a:ext cx="235053" cy="264868"/>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37351" tIns="43934" rIns="0" bIns="87868" numCol="1" spcCol="0" rtlCol="0" fromWordArt="0" anchor="b" anchorCtr="0" forceAA="0" compatLnSpc="1">
              <a:prstTxWarp prst="textNoShape">
                <a:avLst/>
              </a:prstTxWarp>
              <a:noAutofit/>
            </a:bodyPr>
            <a:lstStyle/>
            <a:p>
              <a:pPr marL="0" marR="0" lvl="0" indent="0" defTabSz="878234" eaLnBrk="1" fontAlgn="base" latinLnBrk="0" hangingPunct="1">
                <a:lnSpc>
                  <a:spcPct val="100000"/>
                </a:lnSpc>
                <a:spcBef>
                  <a:spcPct val="0"/>
                </a:spcBef>
                <a:spcAft>
                  <a:spcPct val="0"/>
                </a:spcAft>
                <a:buClrTx/>
                <a:buSzTx/>
                <a:buFontTx/>
                <a:buNone/>
                <a:tabLst/>
                <a:defRPr/>
              </a:pPr>
              <a:endParaRPr kumimoji="0" lang="en-US" sz="408" b="0" i="0" u="none" strike="noStrike" kern="0" cap="none" spc="-48"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34" name="Freeform 34"/>
            <p:cNvSpPr>
              <a:spLocks noEditPoints="1"/>
            </p:cNvSpPr>
            <p:nvPr/>
          </p:nvSpPr>
          <p:spPr bwMode="auto">
            <a:xfrm>
              <a:off x="5343528" y="6767670"/>
              <a:ext cx="385639" cy="374281"/>
            </a:xfrm>
            <a:custGeom>
              <a:avLst/>
              <a:gdLst>
                <a:gd name="T0" fmla="*/ 234 w 1464"/>
                <a:gd name="T1" fmla="*/ 815 h 1158"/>
                <a:gd name="T2" fmla="*/ 206 w 1464"/>
                <a:gd name="T3" fmla="*/ 1158 h 1158"/>
                <a:gd name="T4" fmla="*/ 33 w 1464"/>
                <a:gd name="T5" fmla="*/ 1131 h 1158"/>
                <a:gd name="T6" fmla="*/ 89 w 1464"/>
                <a:gd name="T7" fmla="*/ 876 h 1158"/>
                <a:gd name="T8" fmla="*/ 183 w 1464"/>
                <a:gd name="T9" fmla="*/ 876 h 1158"/>
                <a:gd name="T10" fmla="*/ 323 w 1464"/>
                <a:gd name="T11" fmla="*/ 1158 h 1158"/>
                <a:gd name="T12" fmla="*/ 495 w 1464"/>
                <a:gd name="T13" fmla="*/ 1131 h 1158"/>
                <a:gd name="T14" fmla="*/ 295 w 1464"/>
                <a:gd name="T15" fmla="*/ 748 h 1158"/>
                <a:gd name="T16" fmla="*/ 295 w 1464"/>
                <a:gd name="T17" fmla="*/ 1131 h 1158"/>
                <a:gd name="T18" fmla="*/ 584 w 1464"/>
                <a:gd name="T19" fmla="*/ 1158 h 1158"/>
                <a:gd name="T20" fmla="*/ 757 w 1464"/>
                <a:gd name="T21" fmla="*/ 1131 h 1158"/>
                <a:gd name="T22" fmla="*/ 557 w 1464"/>
                <a:gd name="T23" fmla="*/ 493 h 1158"/>
                <a:gd name="T24" fmla="*/ 557 w 1464"/>
                <a:gd name="T25" fmla="*/ 1131 h 1158"/>
                <a:gd name="T26" fmla="*/ 863 w 1464"/>
                <a:gd name="T27" fmla="*/ 676 h 1158"/>
                <a:gd name="T28" fmla="*/ 813 w 1464"/>
                <a:gd name="T29" fmla="*/ 1131 h 1158"/>
                <a:gd name="T30" fmla="*/ 991 w 1464"/>
                <a:gd name="T31" fmla="*/ 1158 h 1158"/>
                <a:gd name="T32" fmla="*/ 1013 w 1464"/>
                <a:gd name="T33" fmla="*/ 610 h 1158"/>
                <a:gd name="T34" fmla="*/ 902 w 1464"/>
                <a:gd name="T35" fmla="*/ 687 h 1158"/>
                <a:gd name="T36" fmla="*/ 1074 w 1464"/>
                <a:gd name="T37" fmla="*/ 1131 h 1158"/>
                <a:gd name="T38" fmla="*/ 1247 w 1464"/>
                <a:gd name="T39" fmla="*/ 1158 h 1158"/>
                <a:gd name="T40" fmla="*/ 1275 w 1464"/>
                <a:gd name="T41" fmla="*/ 366 h 1158"/>
                <a:gd name="T42" fmla="*/ 1074 w 1464"/>
                <a:gd name="T43" fmla="*/ 549 h 1158"/>
                <a:gd name="T44" fmla="*/ 1442 w 1464"/>
                <a:gd name="T45" fmla="*/ 0 h 1158"/>
                <a:gd name="T46" fmla="*/ 1024 w 1464"/>
                <a:gd name="T47" fmla="*/ 33 h 1158"/>
                <a:gd name="T48" fmla="*/ 1130 w 1464"/>
                <a:gd name="T49" fmla="*/ 166 h 1158"/>
                <a:gd name="T50" fmla="*/ 935 w 1464"/>
                <a:gd name="T51" fmla="*/ 410 h 1158"/>
                <a:gd name="T52" fmla="*/ 896 w 1464"/>
                <a:gd name="T53" fmla="*/ 416 h 1158"/>
                <a:gd name="T54" fmla="*/ 540 w 1464"/>
                <a:gd name="T55" fmla="*/ 94 h 1158"/>
                <a:gd name="T56" fmla="*/ 11 w 1464"/>
                <a:gd name="T57" fmla="*/ 704 h 1158"/>
                <a:gd name="T58" fmla="*/ 117 w 1464"/>
                <a:gd name="T59" fmla="*/ 848 h 1158"/>
                <a:gd name="T60" fmla="*/ 156 w 1464"/>
                <a:gd name="T61" fmla="*/ 848 h 1158"/>
                <a:gd name="T62" fmla="*/ 534 w 1464"/>
                <a:gd name="T63" fmla="*/ 443 h 1158"/>
                <a:gd name="T64" fmla="*/ 885 w 1464"/>
                <a:gd name="T65" fmla="*/ 649 h 1158"/>
                <a:gd name="T66" fmla="*/ 930 w 1464"/>
                <a:gd name="T67" fmla="*/ 643 h 1158"/>
                <a:gd name="T68" fmla="*/ 1269 w 1464"/>
                <a:gd name="T69" fmla="*/ 321 h 1158"/>
                <a:gd name="T70" fmla="*/ 1420 w 1464"/>
                <a:gd name="T71" fmla="*/ 460 h 1158"/>
                <a:gd name="T72" fmla="*/ 1442 w 1464"/>
                <a:gd name="T73" fmla="*/ 449 h 1158"/>
                <a:gd name="T74" fmla="*/ 1442 w 1464"/>
                <a:gd name="T75" fmla="*/ 0 h 1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464" h="1158">
                  <a:moveTo>
                    <a:pt x="183" y="876"/>
                  </a:moveTo>
                  <a:cubicBezTo>
                    <a:pt x="234" y="815"/>
                    <a:pt x="234" y="815"/>
                    <a:pt x="234" y="815"/>
                  </a:cubicBezTo>
                  <a:cubicBezTo>
                    <a:pt x="234" y="1131"/>
                    <a:pt x="234" y="1131"/>
                    <a:pt x="234" y="1131"/>
                  </a:cubicBezTo>
                  <a:cubicBezTo>
                    <a:pt x="234" y="1147"/>
                    <a:pt x="222" y="1158"/>
                    <a:pt x="206" y="1158"/>
                  </a:cubicBezTo>
                  <a:cubicBezTo>
                    <a:pt x="61" y="1158"/>
                    <a:pt x="61" y="1158"/>
                    <a:pt x="61" y="1158"/>
                  </a:cubicBezTo>
                  <a:cubicBezTo>
                    <a:pt x="50" y="1158"/>
                    <a:pt x="33" y="1147"/>
                    <a:pt x="33" y="1131"/>
                  </a:cubicBezTo>
                  <a:cubicBezTo>
                    <a:pt x="33" y="820"/>
                    <a:pt x="33" y="820"/>
                    <a:pt x="33" y="820"/>
                  </a:cubicBezTo>
                  <a:cubicBezTo>
                    <a:pt x="89" y="876"/>
                    <a:pt x="89" y="876"/>
                    <a:pt x="89" y="876"/>
                  </a:cubicBezTo>
                  <a:cubicBezTo>
                    <a:pt x="100" y="887"/>
                    <a:pt x="117" y="898"/>
                    <a:pt x="133" y="898"/>
                  </a:cubicBezTo>
                  <a:cubicBezTo>
                    <a:pt x="150" y="898"/>
                    <a:pt x="172" y="887"/>
                    <a:pt x="183" y="876"/>
                  </a:cubicBezTo>
                  <a:close/>
                  <a:moveTo>
                    <a:pt x="295" y="1131"/>
                  </a:moveTo>
                  <a:cubicBezTo>
                    <a:pt x="295" y="1147"/>
                    <a:pt x="306" y="1158"/>
                    <a:pt x="323" y="1158"/>
                  </a:cubicBezTo>
                  <a:cubicBezTo>
                    <a:pt x="467" y="1158"/>
                    <a:pt x="467" y="1158"/>
                    <a:pt x="467" y="1158"/>
                  </a:cubicBezTo>
                  <a:cubicBezTo>
                    <a:pt x="484" y="1158"/>
                    <a:pt x="495" y="1147"/>
                    <a:pt x="495" y="1131"/>
                  </a:cubicBezTo>
                  <a:cubicBezTo>
                    <a:pt x="495" y="527"/>
                    <a:pt x="495" y="527"/>
                    <a:pt x="495" y="527"/>
                  </a:cubicBezTo>
                  <a:cubicBezTo>
                    <a:pt x="295" y="748"/>
                    <a:pt x="295" y="748"/>
                    <a:pt x="295" y="748"/>
                  </a:cubicBezTo>
                  <a:cubicBezTo>
                    <a:pt x="295" y="1131"/>
                    <a:pt x="295" y="1131"/>
                    <a:pt x="295" y="1131"/>
                  </a:cubicBezTo>
                  <a:cubicBezTo>
                    <a:pt x="295" y="1131"/>
                    <a:pt x="295" y="1131"/>
                    <a:pt x="295" y="1131"/>
                  </a:cubicBezTo>
                  <a:close/>
                  <a:moveTo>
                    <a:pt x="557" y="1131"/>
                  </a:moveTo>
                  <a:cubicBezTo>
                    <a:pt x="557" y="1147"/>
                    <a:pt x="568" y="1158"/>
                    <a:pt x="584" y="1158"/>
                  </a:cubicBezTo>
                  <a:cubicBezTo>
                    <a:pt x="729" y="1158"/>
                    <a:pt x="729" y="1158"/>
                    <a:pt x="729" y="1158"/>
                  </a:cubicBezTo>
                  <a:cubicBezTo>
                    <a:pt x="746" y="1158"/>
                    <a:pt x="757" y="1147"/>
                    <a:pt x="757" y="1131"/>
                  </a:cubicBezTo>
                  <a:cubicBezTo>
                    <a:pt x="757" y="615"/>
                    <a:pt x="757" y="615"/>
                    <a:pt x="757" y="615"/>
                  </a:cubicBezTo>
                  <a:cubicBezTo>
                    <a:pt x="557" y="493"/>
                    <a:pt x="557" y="493"/>
                    <a:pt x="557" y="493"/>
                  </a:cubicBezTo>
                  <a:cubicBezTo>
                    <a:pt x="557" y="1131"/>
                    <a:pt x="557" y="1131"/>
                    <a:pt x="557" y="1131"/>
                  </a:cubicBezTo>
                  <a:cubicBezTo>
                    <a:pt x="557" y="1131"/>
                    <a:pt x="557" y="1131"/>
                    <a:pt x="557" y="1131"/>
                  </a:cubicBezTo>
                  <a:close/>
                  <a:moveTo>
                    <a:pt x="902" y="687"/>
                  </a:moveTo>
                  <a:cubicBezTo>
                    <a:pt x="891" y="687"/>
                    <a:pt x="874" y="687"/>
                    <a:pt x="863" y="676"/>
                  </a:cubicBezTo>
                  <a:cubicBezTo>
                    <a:pt x="813" y="649"/>
                    <a:pt x="813" y="649"/>
                    <a:pt x="813" y="649"/>
                  </a:cubicBezTo>
                  <a:cubicBezTo>
                    <a:pt x="813" y="1131"/>
                    <a:pt x="813" y="1131"/>
                    <a:pt x="813" y="1131"/>
                  </a:cubicBezTo>
                  <a:cubicBezTo>
                    <a:pt x="813" y="1147"/>
                    <a:pt x="829" y="1158"/>
                    <a:pt x="841" y="1158"/>
                  </a:cubicBezTo>
                  <a:cubicBezTo>
                    <a:pt x="991" y="1158"/>
                    <a:pt x="991" y="1158"/>
                    <a:pt x="991" y="1158"/>
                  </a:cubicBezTo>
                  <a:cubicBezTo>
                    <a:pt x="1002" y="1158"/>
                    <a:pt x="1013" y="1147"/>
                    <a:pt x="1013" y="1131"/>
                  </a:cubicBezTo>
                  <a:cubicBezTo>
                    <a:pt x="1013" y="610"/>
                    <a:pt x="1013" y="610"/>
                    <a:pt x="1013" y="610"/>
                  </a:cubicBezTo>
                  <a:cubicBezTo>
                    <a:pt x="958" y="671"/>
                    <a:pt x="958" y="671"/>
                    <a:pt x="958" y="671"/>
                  </a:cubicBezTo>
                  <a:cubicBezTo>
                    <a:pt x="941" y="682"/>
                    <a:pt x="924" y="687"/>
                    <a:pt x="902" y="687"/>
                  </a:cubicBezTo>
                  <a:close/>
                  <a:moveTo>
                    <a:pt x="1074" y="549"/>
                  </a:moveTo>
                  <a:cubicBezTo>
                    <a:pt x="1074" y="1131"/>
                    <a:pt x="1074" y="1131"/>
                    <a:pt x="1074" y="1131"/>
                  </a:cubicBezTo>
                  <a:cubicBezTo>
                    <a:pt x="1074" y="1147"/>
                    <a:pt x="1086" y="1158"/>
                    <a:pt x="1102" y="1158"/>
                  </a:cubicBezTo>
                  <a:cubicBezTo>
                    <a:pt x="1247" y="1158"/>
                    <a:pt x="1247" y="1158"/>
                    <a:pt x="1247" y="1158"/>
                  </a:cubicBezTo>
                  <a:cubicBezTo>
                    <a:pt x="1264" y="1158"/>
                    <a:pt x="1275" y="1147"/>
                    <a:pt x="1275" y="1131"/>
                  </a:cubicBezTo>
                  <a:cubicBezTo>
                    <a:pt x="1275" y="366"/>
                    <a:pt x="1275" y="366"/>
                    <a:pt x="1275" y="366"/>
                  </a:cubicBezTo>
                  <a:cubicBezTo>
                    <a:pt x="1269" y="360"/>
                    <a:pt x="1269" y="360"/>
                    <a:pt x="1269" y="360"/>
                  </a:cubicBezTo>
                  <a:cubicBezTo>
                    <a:pt x="1074" y="549"/>
                    <a:pt x="1074" y="549"/>
                    <a:pt x="1074" y="549"/>
                  </a:cubicBezTo>
                  <a:cubicBezTo>
                    <a:pt x="1074" y="549"/>
                    <a:pt x="1074" y="549"/>
                    <a:pt x="1074" y="549"/>
                  </a:cubicBezTo>
                  <a:close/>
                  <a:moveTo>
                    <a:pt x="1442" y="0"/>
                  </a:moveTo>
                  <a:cubicBezTo>
                    <a:pt x="1442" y="0"/>
                    <a:pt x="1442" y="0"/>
                    <a:pt x="1442" y="0"/>
                  </a:cubicBezTo>
                  <a:cubicBezTo>
                    <a:pt x="1024" y="33"/>
                    <a:pt x="1024" y="33"/>
                    <a:pt x="1024" y="33"/>
                  </a:cubicBezTo>
                  <a:cubicBezTo>
                    <a:pt x="1008" y="33"/>
                    <a:pt x="1002" y="44"/>
                    <a:pt x="1013" y="50"/>
                  </a:cubicBezTo>
                  <a:cubicBezTo>
                    <a:pt x="1130" y="166"/>
                    <a:pt x="1130" y="166"/>
                    <a:pt x="1130" y="166"/>
                  </a:cubicBezTo>
                  <a:cubicBezTo>
                    <a:pt x="1141" y="177"/>
                    <a:pt x="1141" y="194"/>
                    <a:pt x="1130" y="205"/>
                  </a:cubicBezTo>
                  <a:cubicBezTo>
                    <a:pt x="935" y="410"/>
                    <a:pt x="935" y="410"/>
                    <a:pt x="935" y="410"/>
                  </a:cubicBezTo>
                  <a:cubicBezTo>
                    <a:pt x="930" y="416"/>
                    <a:pt x="924" y="421"/>
                    <a:pt x="919" y="421"/>
                  </a:cubicBezTo>
                  <a:cubicBezTo>
                    <a:pt x="907" y="421"/>
                    <a:pt x="902" y="416"/>
                    <a:pt x="896" y="416"/>
                  </a:cubicBezTo>
                  <a:cubicBezTo>
                    <a:pt x="557" y="100"/>
                    <a:pt x="557" y="100"/>
                    <a:pt x="557" y="100"/>
                  </a:cubicBezTo>
                  <a:cubicBezTo>
                    <a:pt x="551" y="94"/>
                    <a:pt x="545" y="94"/>
                    <a:pt x="540" y="94"/>
                  </a:cubicBezTo>
                  <a:cubicBezTo>
                    <a:pt x="529" y="94"/>
                    <a:pt x="523" y="94"/>
                    <a:pt x="518" y="100"/>
                  </a:cubicBezTo>
                  <a:cubicBezTo>
                    <a:pt x="11" y="704"/>
                    <a:pt x="11" y="704"/>
                    <a:pt x="11" y="704"/>
                  </a:cubicBezTo>
                  <a:cubicBezTo>
                    <a:pt x="0" y="715"/>
                    <a:pt x="0" y="737"/>
                    <a:pt x="11" y="748"/>
                  </a:cubicBezTo>
                  <a:cubicBezTo>
                    <a:pt x="117" y="848"/>
                    <a:pt x="117" y="848"/>
                    <a:pt x="117" y="848"/>
                  </a:cubicBezTo>
                  <a:cubicBezTo>
                    <a:pt x="122" y="854"/>
                    <a:pt x="128" y="859"/>
                    <a:pt x="133" y="859"/>
                  </a:cubicBezTo>
                  <a:cubicBezTo>
                    <a:pt x="139" y="859"/>
                    <a:pt x="150" y="854"/>
                    <a:pt x="156" y="848"/>
                  </a:cubicBezTo>
                  <a:cubicBezTo>
                    <a:pt x="506" y="454"/>
                    <a:pt x="506" y="454"/>
                    <a:pt x="506" y="454"/>
                  </a:cubicBezTo>
                  <a:cubicBezTo>
                    <a:pt x="512" y="443"/>
                    <a:pt x="523" y="443"/>
                    <a:pt x="534" y="443"/>
                  </a:cubicBezTo>
                  <a:cubicBezTo>
                    <a:pt x="540" y="443"/>
                    <a:pt x="545" y="443"/>
                    <a:pt x="551" y="443"/>
                  </a:cubicBezTo>
                  <a:cubicBezTo>
                    <a:pt x="885" y="649"/>
                    <a:pt x="885" y="649"/>
                    <a:pt x="885" y="649"/>
                  </a:cubicBezTo>
                  <a:cubicBezTo>
                    <a:pt x="891" y="649"/>
                    <a:pt x="896" y="649"/>
                    <a:pt x="902" y="649"/>
                  </a:cubicBezTo>
                  <a:cubicBezTo>
                    <a:pt x="913" y="649"/>
                    <a:pt x="924" y="649"/>
                    <a:pt x="930" y="643"/>
                  </a:cubicBezTo>
                  <a:cubicBezTo>
                    <a:pt x="1253" y="327"/>
                    <a:pt x="1253" y="327"/>
                    <a:pt x="1253" y="327"/>
                  </a:cubicBezTo>
                  <a:cubicBezTo>
                    <a:pt x="1258" y="321"/>
                    <a:pt x="1264" y="321"/>
                    <a:pt x="1269" y="321"/>
                  </a:cubicBezTo>
                  <a:cubicBezTo>
                    <a:pt x="1281" y="321"/>
                    <a:pt x="1286" y="321"/>
                    <a:pt x="1292" y="327"/>
                  </a:cubicBezTo>
                  <a:cubicBezTo>
                    <a:pt x="1420" y="460"/>
                    <a:pt x="1420" y="460"/>
                    <a:pt x="1420" y="460"/>
                  </a:cubicBezTo>
                  <a:cubicBezTo>
                    <a:pt x="1425" y="460"/>
                    <a:pt x="1431" y="466"/>
                    <a:pt x="1431" y="466"/>
                  </a:cubicBezTo>
                  <a:cubicBezTo>
                    <a:pt x="1436" y="466"/>
                    <a:pt x="1442" y="460"/>
                    <a:pt x="1442" y="449"/>
                  </a:cubicBezTo>
                  <a:cubicBezTo>
                    <a:pt x="1464" y="28"/>
                    <a:pt x="1464" y="28"/>
                    <a:pt x="1464" y="28"/>
                  </a:cubicBezTo>
                  <a:cubicBezTo>
                    <a:pt x="1464" y="11"/>
                    <a:pt x="1453" y="0"/>
                    <a:pt x="1442" y="0"/>
                  </a:cubicBezTo>
                  <a:close/>
                </a:path>
              </a:pathLst>
            </a:custGeom>
            <a:solidFill>
              <a:schemeClr val="bg1"/>
            </a:solidFill>
            <a:ln>
              <a:noFill/>
            </a:ln>
          </p:spPr>
          <p:txBody>
            <a:bodyPr vert="horz" wrap="square" lIns="76178" tIns="38088" rIns="76178" bIns="38088" numCol="1" anchor="t" anchorCtr="0" compatLnSpc="1">
              <a:prstTxWarp prst="textNoShape">
                <a:avLst/>
              </a:prstTxWarp>
            </a:bodyPr>
            <a:lstStyle/>
            <a:p>
              <a:pPr marL="0" marR="0" lvl="0" indent="0" defTabSz="776956"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rgbClr val="333333"/>
                </a:solidFill>
                <a:effectLst/>
                <a:uLnTx/>
                <a:uFillTx/>
                <a:ea typeface="MS PGothic" panose="020B0600070205080204" pitchFamily="34" charset="-128"/>
              </a:endParaRPr>
            </a:p>
          </p:txBody>
        </p:sp>
        <p:sp>
          <p:nvSpPr>
            <p:cNvPr id="35" name="Freeform 53"/>
            <p:cNvSpPr>
              <a:spLocks noEditPoints="1"/>
            </p:cNvSpPr>
            <p:nvPr/>
          </p:nvSpPr>
          <p:spPr bwMode="auto">
            <a:xfrm>
              <a:off x="6880730" y="6721122"/>
              <a:ext cx="311110" cy="438927"/>
            </a:xfrm>
            <a:custGeom>
              <a:avLst/>
              <a:gdLst>
                <a:gd name="T0" fmla="*/ 1011 w 1280"/>
                <a:gd name="T1" fmla="*/ 1048 h 1827"/>
                <a:gd name="T2" fmla="*/ 958 w 1280"/>
                <a:gd name="T3" fmla="*/ 1013 h 1827"/>
                <a:gd name="T4" fmla="*/ 847 w 1280"/>
                <a:gd name="T5" fmla="*/ 961 h 1827"/>
                <a:gd name="T6" fmla="*/ 814 w 1280"/>
                <a:gd name="T7" fmla="*/ 965 h 1827"/>
                <a:gd name="T8" fmla="*/ 710 w 1280"/>
                <a:gd name="T9" fmla="*/ 572 h 1827"/>
                <a:gd name="T10" fmla="*/ 601 w 1280"/>
                <a:gd name="T11" fmla="*/ 594 h 1827"/>
                <a:gd name="T12" fmla="*/ 705 w 1280"/>
                <a:gd name="T13" fmla="*/ 1159 h 1827"/>
                <a:gd name="T14" fmla="*/ 663 w 1280"/>
                <a:gd name="T15" fmla="*/ 1238 h 1827"/>
                <a:gd name="T16" fmla="*/ 504 w 1280"/>
                <a:gd name="T17" fmla="*/ 1112 h 1827"/>
                <a:gd name="T18" fmla="*/ 348 w 1280"/>
                <a:gd name="T19" fmla="*/ 1032 h 1827"/>
                <a:gd name="T20" fmla="*/ 378 w 1280"/>
                <a:gd name="T21" fmla="*/ 1138 h 1827"/>
                <a:gd name="T22" fmla="*/ 416 w 1280"/>
                <a:gd name="T23" fmla="*/ 1245 h 1827"/>
                <a:gd name="T24" fmla="*/ 492 w 1280"/>
                <a:gd name="T25" fmla="*/ 1368 h 1827"/>
                <a:gd name="T26" fmla="*/ 729 w 1280"/>
                <a:gd name="T27" fmla="*/ 1659 h 1827"/>
                <a:gd name="T28" fmla="*/ 805 w 1280"/>
                <a:gd name="T29" fmla="*/ 1827 h 1827"/>
                <a:gd name="T30" fmla="*/ 1238 w 1280"/>
                <a:gd name="T31" fmla="*/ 1652 h 1827"/>
                <a:gd name="T32" fmla="*/ 1257 w 1280"/>
                <a:gd name="T33" fmla="*/ 1576 h 1827"/>
                <a:gd name="T34" fmla="*/ 1273 w 1280"/>
                <a:gd name="T35" fmla="*/ 1354 h 1827"/>
                <a:gd name="T36" fmla="*/ 1198 w 1280"/>
                <a:gd name="T37" fmla="*/ 1207 h 1827"/>
                <a:gd name="T38" fmla="*/ 1131 w 1280"/>
                <a:gd name="T39" fmla="*/ 1112 h 1827"/>
                <a:gd name="T40" fmla="*/ 826 w 1280"/>
                <a:gd name="T41" fmla="*/ 381 h 1827"/>
                <a:gd name="T42" fmla="*/ 442 w 1280"/>
                <a:gd name="T43" fmla="*/ 0 h 1827"/>
                <a:gd name="T44" fmla="*/ 826 w 1280"/>
                <a:gd name="T45" fmla="*/ 381 h 1827"/>
                <a:gd name="T46" fmla="*/ 386 w 1280"/>
                <a:gd name="T47" fmla="*/ 381 h 1827"/>
                <a:gd name="T48" fmla="*/ 0 w 1280"/>
                <a:gd name="T49" fmla="*/ 0 h 1827"/>
                <a:gd name="T50" fmla="*/ 386 w 1280"/>
                <a:gd name="T51" fmla="*/ 381 h 1827"/>
                <a:gd name="T52" fmla="*/ 594 w 1280"/>
                <a:gd name="T53" fmla="*/ 821 h 1827"/>
                <a:gd name="T54" fmla="*/ 442 w 1280"/>
                <a:gd name="T55" fmla="*/ 437 h 1827"/>
                <a:gd name="T56" fmla="*/ 826 w 1280"/>
                <a:gd name="T57" fmla="*/ 821 h 1827"/>
                <a:gd name="T58" fmla="*/ 755 w 1280"/>
                <a:gd name="T59" fmla="*/ 561 h 1827"/>
                <a:gd name="T60" fmla="*/ 755 w 1280"/>
                <a:gd name="T61" fmla="*/ 561 h 1827"/>
                <a:gd name="T62" fmla="*/ 636 w 1280"/>
                <a:gd name="T63" fmla="*/ 480 h 1827"/>
                <a:gd name="T64" fmla="*/ 554 w 1280"/>
                <a:gd name="T65" fmla="*/ 601 h 1827"/>
                <a:gd name="T66" fmla="*/ 594 w 1280"/>
                <a:gd name="T67" fmla="*/ 821 h 1827"/>
                <a:gd name="T68" fmla="*/ 0 w 1280"/>
                <a:gd name="T69" fmla="*/ 1261 h 1827"/>
                <a:gd name="T70" fmla="*/ 606 w 1280"/>
                <a:gd name="T71" fmla="*/ 880 h 1827"/>
                <a:gd name="T72" fmla="*/ 658 w 1280"/>
                <a:gd name="T73" fmla="*/ 1157 h 1827"/>
                <a:gd name="T74" fmla="*/ 658 w 1280"/>
                <a:gd name="T75" fmla="*/ 1159 h 1827"/>
                <a:gd name="T76" fmla="*/ 644 w 1280"/>
                <a:gd name="T77" fmla="*/ 1193 h 1827"/>
                <a:gd name="T78" fmla="*/ 608 w 1280"/>
                <a:gd name="T79" fmla="*/ 1178 h 1827"/>
                <a:gd name="T80" fmla="*/ 563 w 1280"/>
                <a:gd name="T81" fmla="*/ 1117 h 1827"/>
                <a:gd name="T82" fmla="*/ 532 w 1280"/>
                <a:gd name="T83" fmla="*/ 1067 h 1827"/>
                <a:gd name="T84" fmla="*/ 388 w 1280"/>
                <a:gd name="T85" fmla="*/ 972 h 1827"/>
                <a:gd name="T86" fmla="*/ 298 w 1280"/>
                <a:gd name="T87" fmla="*/ 1105 h 1827"/>
                <a:gd name="T88" fmla="*/ 336 w 1280"/>
                <a:gd name="T89" fmla="*/ 1157 h 1827"/>
                <a:gd name="T90" fmla="*/ 357 w 1280"/>
                <a:gd name="T91" fmla="*/ 1219 h 1827"/>
                <a:gd name="T92" fmla="*/ 386 w 1280"/>
                <a:gd name="T93" fmla="*/ 821 h 1827"/>
                <a:gd name="T94" fmla="*/ 0 w 1280"/>
                <a:gd name="T95" fmla="*/ 437 h 1827"/>
                <a:gd name="T96" fmla="*/ 386 w 1280"/>
                <a:gd name="T97" fmla="*/ 821 h 18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280" h="1827">
                  <a:moveTo>
                    <a:pt x="1013" y="1048"/>
                  </a:moveTo>
                  <a:cubicBezTo>
                    <a:pt x="1011" y="1048"/>
                    <a:pt x="1011" y="1048"/>
                    <a:pt x="1011" y="1048"/>
                  </a:cubicBezTo>
                  <a:cubicBezTo>
                    <a:pt x="977" y="1046"/>
                    <a:pt x="977" y="1046"/>
                    <a:pt x="977" y="1046"/>
                  </a:cubicBezTo>
                  <a:cubicBezTo>
                    <a:pt x="958" y="1013"/>
                    <a:pt x="958" y="1013"/>
                    <a:pt x="958" y="1013"/>
                  </a:cubicBezTo>
                  <a:cubicBezTo>
                    <a:pt x="954" y="1008"/>
                    <a:pt x="951" y="1003"/>
                    <a:pt x="947" y="998"/>
                  </a:cubicBezTo>
                  <a:cubicBezTo>
                    <a:pt x="918" y="975"/>
                    <a:pt x="885" y="961"/>
                    <a:pt x="847" y="961"/>
                  </a:cubicBezTo>
                  <a:cubicBezTo>
                    <a:pt x="814" y="968"/>
                    <a:pt x="814" y="968"/>
                    <a:pt x="814" y="968"/>
                  </a:cubicBezTo>
                  <a:cubicBezTo>
                    <a:pt x="814" y="965"/>
                    <a:pt x="814" y="965"/>
                    <a:pt x="814" y="965"/>
                  </a:cubicBezTo>
                  <a:cubicBezTo>
                    <a:pt x="814" y="963"/>
                    <a:pt x="814" y="963"/>
                    <a:pt x="814" y="963"/>
                  </a:cubicBezTo>
                  <a:cubicBezTo>
                    <a:pt x="710" y="572"/>
                    <a:pt x="710" y="572"/>
                    <a:pt x="710" y="572"/>
                  </a:cubicBezTo>
                  <a:cubicBezTo>
                    <a:pt x="696" y="523"/>
                    <a:pt x="672" y="523"/>
                    <a:pt x="644" y="527"/>
                  </a:cubicBezTo>
                  <a:cubicBezTo>
                    <a:pt x="644" y="527"/>
                    <a:pt x="589" y="535"/>
                    <a:pt x="601" y="594"/>
                  </a:cubicBezTo>
                  <a:cubicBezTo>
                    <a:pt x="703" y="1140"/>
                    <a:pt x="703" y="1140"/>
                    <a:pt x="703" y="1140"/>
                  </a:cubicBezTo>
                  <a:cubicBezTo>
                    <a:pt x="703" y="1148"/>
                    <a:pt x="705" y="1152"/>
                    <a:pt x="705" y="1159"/>
                  </a:cubicBezTo>
                  <a:cubicBezTo>
                    <a:pt x="705" y="1183"/>
                    <a:pt x="696" y="1207"/>
                    <a:pt x="679" y="1226"/>
                  </a:cubicBezTo>
                  <a:cubicBezTo>
                    <a:pt x="674" y="1233"/>
                    <a:pt x="667" y="1238"/>
                    <a:pt x="663" y="1238"/>
                  </a:cubicBezTo>
                  <a:cubicBezTo>
                    <a:pt x="632" y="1242"/>
                    <a:pt x="603" y="1235"/>
                    <a:pt x="577" y="1216"/>
                  </a:cubicBezTo>
                  <a:cubicBezTo>
                    <a:pt x="547" y="1193"/>
                    <a:pt x="525" y="1143"/>
                    <a:pt x="504" y="1112"/>
                  </a:cubicBezTo>
                  <a:cubicBezTo>
                    <a:pt x="492" y="1093"/>
                    <a:pt x="483" y="1072"/>
                    <a:pt x="468" y="1055"/>
                  </a:cubicBezTo>
                  <a:cubicBezTo>
                    <a:pt x="440" y="1027"/>
                    <a:pt x="383" y="1003"/>
                    <a:pt x="348" y="1032"/>
                  </a:cubicBezTo>
                  <a:cubicBezTo>
                    <a:pt x="338" y="1041"/>
                    <a:pt x="326" y="1065"/>
                    <a:pt x="336" y="1077"/>
                  </a:cubicBezTo>
                  <a:cubicBezTo>
                    <a:pt x="350" y="1096"/>
                    <a:pt x="369" y="1117"/>
                    <a:pt x="378" y="1138"/>
                  </a:cubicBezTo>
                  <a:cubicBezTo>
                    <a:pt x="388" y="1155"/>
                    <a:pt x="393" y="1174"/>
                    <a:pt x="400" y="1193"/>
                  </a:cubicBezTo>
                  <a:cubicBezTo>
                    <a:pt x="404" y="1204"/>
                    <a:pt x="407" y="1235"/>
                    <a:pt x="416" y="1245"/>
                  </a:cubicBezTo>
                  <a:cubicBezTo>
                    <a:pt x="426" y="1254"/>
                    <a:pt x="435" y="1273"/>
                    <a:pt x="442" y="1285"/>
                  </a:cubicBezTo>
                  <a:cubicBezTo>
                    <a:pt x="459" y="1311"/>
                    <a:pt x="483" y="1339"/>
                    <a:pt x="492" y="1368"/>
                  </a:cubicBezTo>
                  <a:cubicBezTo>
                    <a:pt x="525" y="1415"/>
                    <a:pt x="539" y="1477"/>
                    <a:pt x="575" y="1522"/>
                  </a:cubicBezTo>
                  <a:cubicBezTo>
                    <a:pt x="620" y="1576"/>
                    <a:pt x="663" y="1628"/>
                    <a:pt x="729" y="1659"/>
                  </a:cubicBezTo>
                  <a:cubicBezTo>
                    <a:pt x="752" y="1673"/>
                    <a:pt x="769" y="1692"/>
                    <a:pt x="783" y="1713"/>
                  </a:cubicBezTo>
                  <a:cubicBezTo>
                    <a:pt x="805" y="1827"/>
                    <a:pt x="805" y="1827"/>
                    <a:pt x="805" y="1827"/>
                  </a:cubicBezTo>
                  <a:cubicBezTo>
                    <a:pt x="887" y="1813"/>
                    <a:pt x="1224" y="1756"/>
                    <a:pt x="1259" y="1749"/>
                  </a:cubicBezTo>
                  <a:cubicBezTo>
                    <a:pt x="1238" y="1652"/>
                    <a:pt x="1238" y="1652"/>
                    <a:pt x="1238" y="1652"/>
                  </a:cubicBezTo>
                  <a:cubicBezTo>
                    <a:pt x="1235" y="1649"/>
                    <a:pt x="1235" y="1649"/>
                    <a:pt x="1235" y="1649"/>
                  </a:cubicBezTo>
                  <a:cubicBezTo>
                    <a:pt x="1245" y="1626"/>
                    <a:pt x="1250" y="1600"/>
                    <a:pt x="1257" y="1576"/>
                  </a:cubicBezTo>
                  <a:cubicBezTo>
                    <a:pt x="1262" y="1555"/>
                    <a:pt x="1266" y="1536"/>
                    <a:pt x="1266" y="1514"/>
                  </a:cubicBezTo>
                  <a:cubicBezTo>
                    <a:pt x="1269" y="1462"/>
                    <a:pt x="1271" y="1408"/>
                    <a:pt x="1273" y="1354"/>
                  </a:cubicBezTo>
                  <a:cubicBezTo>
                    <a:pt x="1273" y="1344"/>
                    <a:pt x="1273" y="1335"/>
                    <a:pt x="1276" y="1325"/>
                  </a:cubicBezTo>
                  <a:cubicBezTo>
                    <a:pt x="1280" y="1294"/>
                    <a:pt x="1262" y="1211"/>
                    <a:pt x="1198" y="1207"/>
                  </a:cubicBezTo>
                  <a:cubicBezTo>
                    <a:pt x="1195" y="1207"/>
                    <a:pt x="1195" y="1207"/>
                    <a:pt x="1195" y="1204"/>
                  </a:cubicBezTo>
                  <a:cubicBezTo>
                    <a:pt x="1179" y="1171"/>
                    <a:pt x="1157" y="1140"/>
                    <a:pt x="1131" y="1112"/>
                  </a:cubicBezTo>
                  <a:cubicBezTo>
                    <a:pt x="1101" y="1079"/>
                    <a:pt x="1058" y="1055"/>
                    <a:pt x="1013" y="1048"/>
                  </a:cubicBezTo>
                  <a:close/>
                  <a:moveTo>
                    <a:pt x="826" y="381"/>
                  </a:moveTo>
                  <a:cubicBezTo>
                    <a:pt x="442" y="381"/>
                    <a:pt x="442" y="381"/>
                    <a:pt x="442" y="381"/>
                  </a:cubicBezTo>
                  <a:cubicBezTo>
                    <a:pt x="442" y="0"/>
                    <a:pt x="442" y="0"/>
                    <a:pt x="442" y="0"/>
                  </a:cubicBezTo>
                  <a:cubicBezTo>
                    <a:pt x="826" y="0"/>
                    <a:pt x="826" y="0"/>
                    <a:pt x="826" y="0"/>
                  </a:cubicBezTo>
                  <a:cubicBezTo>
                    <a:pt x="826" y="381"/>
                    <a:pt x="826" y="381"/>
                    <a:pt x="826" y="381"/>
                  </a:cubicBezTo>
                  <a:cubicBezTo>
                    <a:pt x="826" y="381"/>
                    <a:pt x="826" y="381"/>
                    <a:pt x="826" y="381"/>
                  </a:cubicBezTo>
                  <a:close/>
                  <a:moveTo>
                    <a:pt x="386" y="381"/>
                  </a:moveTo>
                  <a:cubicBezTo>
                    <a:pt x="0" y="381"/>
                    <a:pt x="0" y="381"/>
                    <a:pt x="0" y="381"/>
                  </a:cubicBezTo>
                  <a:cubicBezTo>
                    <a:pt x="0" y="0"/>
                    <a:pt x="0" y="0"/>
                    <a:pt x="0" y="0"/>
                  </a:cubicBezTo>
                  <a:cubicBezTo>
                    <a:pt x="386" y="0"/>
                    <a:pt x="386" y="0"/>
                    <a:pt x="386" y="0"/>
                  </a:cubicBezTo>
                  <a:cubicBezTo>
                    <a:pt x="386" y="381"/>
                    <a:pt x="386" y="381"/>
                    <a:pt x="386" y="381"/>
                  </a:cubicBezTo>
                  <a:cubicBezTo>
                    <a:pt x="386" y="381"/>
                    <a:pt x="386" y="381"/>
                    <a:pt x="386" y="381"/>
                  </a:cubicBezTo>
                  <a:close/>
                  <a:moveTo>
                    <a:pt x="594" y="821"/>
                  </a:moveTo>
                  <a:cubicBezTo>
                    <a:pt x="442" y="821"/>
                    <a:pt x="442" y="821"/>
                    <a:pt x="442" y="821"/>
                  </a:cubicBezTo>
                  <a:cubicBezTo>
                    <a:pt x="442" y="437"/>
                    <a:pt x="442" y="437"/>
                    <a:pt x="442" y="437"/>
                  </a:cubicBezTo>
                  <a:cubicBezTo>
                    <a:pt x="826" y="437"/>
                    <a:pt x="826" y="437"/>
                    <a:pt x="826" y="437"/>
                  </a:cubicBezTo>
                  <a:cubicBezTo>
                    <a:pt x="826" y="821"/>
                    <a:pt x="826" y="821"/>
                    <a:pt x="826" y="821"/>
                  </a:cubicBezTo>
                  <a:cubicBezTo>
                    <a:pt x="826" y="821"/>
                    <a:pt x="826" y="821"/>
                    <a:pt x="826" y="821"/>
                  </a:cubicBezTo>
                  <a:cubicBezTo>
                    <a:pt x="755" y="561"/>
                    <a:pt x="755" y="561"/>
                    <a:pt x="755" y="561"/>
                  </a:cubicBezTo>
                  <a:cubicBezTo>
                    <a:pt x="755" y="561"/>
                    <a:pt x="755" y="561"/>
                    <a:pt x="755" y="561"/>
                  </a:cubicBezTo>
                  <a:cubicBezTo>
                    <a:pt x="755" y="561"/>
                    <a:pt x="755" y="561"/>
                    <a:pt x="755" y="561"/>
                  </a:cubicBezTo>
                  <a:cubicBezTo>
                    <a:pt x="736" y="492"/>
                    <a:pt x="693" y="478"/>
                    <a:pt x="663" y="478"/>
                  </a:cubicBezTo>
                  <a:cubicBezTo>
                    <a:pt x="653" y="478"/>
                    <a:pt x="644" y="478"/>
                    <a:pt x="636" y="480"/>
                  </a:cubicBezTo>
                  <a:cubicBezTo>
                    <a:pt x="627" y="482"/>
                    <a:pt x="591" y="490"/>
                    <a:pt x="570" y="520"/>
                  </a:cubicBezTo>
                  <a:cubicBezTo>
                    <a:pt x="558" y="537"/>
                    <a:pt x="547" y="563"/>
                    <a:pt x="554" y="601"/>
                  </a:cubicBezTo>
                  <a:cubicBezTo>
                    <a:pt x="594" y="821"/>
                    <a:pt x="594" y="821"/>
                    <a:pt x="594" y="821"/>
                  </a:cubicBezTo>
                  <a:cubicBezTo>
                    <a:pt x="594" y="821"/>
                    <a:pt x="594" y="821"/>
                    <a:pt x="594" y="821"/>
                  </a:cubicBezTo>
                  <a:close/>
                  <a:moveTo>
                    <a:pt x="371" y="1261"/>
                  </a:moveTo>
                  <a:cubicBezTo>
                    <a:pt x="0" y="1261"/>
                    <a:pt x="0" y="1261"/>
                    <a:pt x="0" y="1261"/>
                  </a:cubicBezTo>
                  <a:cubicBezTo>
                    <a:pt x="0" y="880"/>
                    <a:pt x="0" y="880"/>
                    <a:pt x="0" y="880"/>
                  </a:cubicBezTo>
                  <a:cubicBezTo>
                    <a:pt x="606" y="880"/>
                    <a:pt x="606" y="880"/>
                    <a:pt x="606" y="880"/>
                  </a:cubicBezTo>
                  <a:cubicBezTo>
                    <a:pt x="655" y="1150"/>
                    <a:pt x="655" y="1150"/>
                    <a:pt x="655" y="1150"/>
                  </a:cubicBezTo>
                  <a:cubicBezTo>
                    <a:pt x="655" y="1152"/>
                    <a:pt x="658" y="1155"/>
                    <a:pt x="658" y="1157"/>
                  </a:cubicBezTo>
                  <a:cubicBezTo>
                    <a:pt x="658" y="1157"/>
                    <a:pt x="658" y="1157"/>
                    <a:pt x="658" y="1157"/>
                  </a:cubicBezTo>
                  <a:cubicBezTo>
                    <a:pt x="658" y="1159"/>
                    <a:pt x="658" y="1159"/>
                    <a:pt x="658" y="1159"/>
                  </a:cubicBezTo>
                  <a:cubicBezTo>
                    <a:pt x="658" y="1171"/>
                    <a:pt x="653" y="1181"/>
                    <a:pt x="646" y="1193"/>
                  </a:cubicBezTo>
                  <a:cubicBezTo>
                    <a:pt x="644" y="1193"/>
                    <a:pt x="644" y="1193"/>
                    <a:pt x="644" y="1193"/>
                  </a:cubicBezTo>
                  <a:cubicBezTo>
                    <a:pt x="632" y="1193"/>
                    <a:pt x="620" y="1188"/>
                    <a:pt x="608" y="1178"/>
                  </a:cubicBezTo>
                  <a:cubicBezTo>
                    <a:pt x="608" y="1178"/>
                    <a:pt x="608" y="1178"/>
                    <a:pt x="608" y="1178"/>
                  </a:cubicBezTo>
                  <a:cubicBezTo>
                    <a:pt x="608" y="1178"/>
                    <a:pt x="608" y="1178"/>
                    <a:pt x="608" y="1178"/>
                  </a:cubicBezTo>
                  <a:cubicBezTo>
                    <a:pt x="591" y="1167"/>
                    <a:pt x="577" y="1140"/>
                    <a:pt x="563" y="1117"/>
                  </a:cubicBezTo>
                  <a:cubicBezTo>
                    <a:pt x="556" y="1107"/>
                    <a:pt x="551" y="1096"/>
                    <a:pt x="544" y="1086"/>
                  </a:cubicBezTo>
                  <a:cubicBezTo>
                    <a:pt x="539" y="1079"/>
                    <a:pt x="537" y="1074"/>
                    <a:pt x="532" y="1067"/>
                  </a:cubicBezTo>
                  <a:cubicBezTo>
                    <a:pt x="525" y="1053"/>
                    <a:pt x="516" y="1036"/>
                    <a:pt x="502" y="1022"/>
                  </a:cubicBezTo>
                  <a:cubicBezTo>
                    <a:pt x="473" y="991"/>
                    <a:pt x="428" y="972"/>
                    <a:pt x="388" y="972"/>
                  </a:cubicBezTo>
                  <a:cubicBezTo>
                    <a:pt x="362" y="972"/>
                    <a:pt x="338" y="980"/>
                    <a:pt x="319" y="994"/>
                  </a:cubicBezTo>
                  <a:cubicBezTo>
                    <a:pt x="293" y="1017"/>
                    <a:pt x="270" y="1069"/>
                    <a:pt x="298" y="1105"/>
                  </a:cubicBezTo>
                  <a:cubicBezTo>
                    <a:pt x="303" y="1110"/>
                    <a:pt x="305" y="1114"/>
                    <a:pt x="310" y="1119"/>
                  </a:cubicBezTo>
                  <a:cubicBezTo>
                    <a:pt x="319" y="1133"/>
                    <a:pt x="331" y="1148"/>
                    <a:pt x="336" y="1157"/>
                  </a:cubicBezTo>
                  <a:cubicBezTo>
                    <a:pt x="343" y="1174"/>
                    <a:pt x="350" y="1193"/>
                    <a:pt x="355" y="1207"/>
                  </a:cubicBezTo>
                  <a:cubicBezTo>
                    <a:pt x="355" y="1209"/>
                    <a:pt x="357" y="1214"/>
                    <a:pt x="357" y="1219"/>
                  </a:cubicBezTo>
                  <a:cubicBezTo>
                    <a:pt x="359" y="1233"/>
                    <a:pt x="364" y="1247"/>
                    <a:pt x="371" y="1261"/>
                  </a:cubicBezTo>
                  <a:close/>
                  <a:moveTo>
                    <a:pt x="386" y="821"/>
                  </a:moveTo>
                  <a:cubicBezTo>
                    <a:pt x="0" y="821"/>
                    <a:pt x="0" y="821"/>
                    <a:pt x="0" y="821"/>
                  </a:cubicBezTo>
                  <a:cubicBezTo>
                    <a:pt x="0" y="437"/>
                    <a:pt x="0" y="437"/>
                    <a:pt x="0" y="437"/>
                  </a:cubicBezTo>
                  <a:cubicBezTo>
                    <a:pt x="386" y="437"/>
                    <a:pt x="386" y="437"/>
                    <a:pt x="386" y="437"/>
                  </a:cubicBezTo>
                  <a:cubicBezTo>
                    <a:pt x="386" y="821"/>
                    <a:pt x="386" y="821"/>
                    <a:pt x="386" y="821"/>
                  </a:cubicBezTo>
                  <a:cubicBezTo>
                    <a:pt x="386" y="821"/>
                    <a:pt x="386" y="821"/>
                    <a:pt x="386" y="821"/>
                  </a:cubicBezTo>
                  <a:close/>
                </a:path>
              </a:pathLst>
            </a:custGeom>
            <a:solidFill>
              <a:schemeClr val="bg1"/>
            </a:solidFill>
            <a:ln>
              <a:noFill/>
            </a:ln>
          </p:spPr>
          <p:txBody>
            <a:bodyPr vert="horz" wrap="square" lIns="76178" tIns="38088" rIns="76178" bIns="38088" numCol="1" anchor="t" anchorCtr="0" compatLnSpc="1">
              <a:prstTxWarp prst="textNoShape">
                <a:avLst/>
              </a:prstTxWarp>
            </a:bodyPr>
            <a:lstStyle/>
            <a:p>
              <a:pPr marL="0" marR="0" lvl="0" indent="0" defTabSz="776956"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rgbClr val="333333"/>
                </a:solidFill>
                <a:effectLst/>
                <a:uLnTx/>
                <a:uFillTx/>
                <a:ea typeface="MS PGothic" panose="020B0600070205080204" pitchFamily="34" charset="-128"/>
              </a:endParaRPr>
            </a:p>
          </p:txBody>
        </p:sp>
        <p:sp>
          <p:nvSpPr>
            <p:cNvPr id="36" name="Freeform 16"/>
            <p:cNvSpPr>
              <a:spLocks noChangeAspect="1" noEditPoints="1"/>
            </p:cNvSpPr>
            <p:nvPr/>
          </p:nvSpPr>
          <p:spPr bwMode="auto">
            <a:xfrm>
              <a:off x="8977697" y="6243173"/>
              <a:ext cx="373223" cy="361293"/>
            </a:xfrm>
            <a:custGeom>
              <a:avLst/>
              <a:gdLst>
                <a:gd name="T0" fmla="*/ 363 w 400"/>
                <a:gd name="T1" fmla="*/ 0 h 367"/>
                <a:gd name="T2" fmla="*/ 38 w 400"/>
                <a:gd name="T3" fmla="*/ 0 h 367"/>
                <a:gd name="T4" fmla="*/ 0 w 400"/>
                <a:gd name="T5" fmla="*/ 37 h 367"/>
                <a:gd name="T6" fmla="*/ 0 w 400"/>
                <a:gd name="T7" fmla="*/ 255 h 367"/>
                <a:gd name="T8" fmla="*/ 38 w 400"/>
                <a:gd name="T9" fmla="*/ 292 h 367"/>
                <a:gd name="T10" fmla="*/ 184 w 400"/>
                <a:gd name="T11" fmla="*/ 292 h 367"/>
                <a:gd name="T12" fmla="*/ 230 w 400"/>
                <a:gd name="T13" fmla="*/ 335 h 367"/>
                <a:gd name="T14" fmla="*/ 230 w 400"/>
                <a:gd name="T15" fmla="*/ 367 h 367"/>
                <a:gd name="T16" fmla="*/ 328 w 400"/>
                <a:gd name="T17" fmla="*/ 367 h 367"/>
                <a:gd name="T18" fmla="*/ 328 w 400"/>
                <a:gd name="T19" fmla="*/ 292 h 367"/>
                <a:gd name="T20" fmla="*/ 363 w 400"/>
                <a:gd name="T21" fmla="*/ 292 h 367"/>
                <a:gd name="T22" fmla="*/ 400 w 400"/>
                <a:gd name="T23" fmla="*/ 255 h 367"/>
                <a:gd name="T24" fmla="*/ 400 w 400"/>
                <a:gd name="T25" fmla="*/ 37 h 367"/>
                <a:gd name="T26" fmla="*/ 363 w 400"/>
                <a:gd name="T27" fmla="*/ 0 h 367"/>
                <a:gd name="T28" fmla="*/ 361 w 400"/>
                <a:gd name="T29" fmla="*/ 253 h 367"/>
                <a:gd name="T30" fmla="*/ 328 w 400"/>
                <a:gd name="T31" fmla="*/ 253 h 367"/>
                <a:gd name="T32" fmla="*/ 328 w 400"/>
                <a:gd name="T33" fmla="*/ 197 h 367"/>
                <a:gd name="T34" fmla="*/ 305 w 400"/>
                <a:gd name="T35" fmla="*/ 197 h 367"/>
                <a:gd name="T36" fmla="*/ 305 w 400"/>
                <a:gd name="T37" fmla="*/ 219 h 367"/>
                <a:gd name="T38" fmla="*/ 298 w 400"/>
                <a:gd name="T39" fmla="*/ 219 h 367"/>
                <a:gd name="T40" fmla="*/ 298 w 400"/>
                <a:gd name="T41" fmla="*/ 180 h 367"/>
                <a:gd name="T42" fmla="*/ 275 w 400"/>
                <a:gd name="T43" fmla="*/ 180 h 367"/>
                <a:gd name="T44" fmla="*/ 275 w 400"/>
                <a:gd name="T45" fmla="*/ 219 h 367"/>
                <a:gd name="T46" fmla="*/ 269 w 400"/>
                <a:gd name="T47" fmla="*/ 219 h 367"/>
                <a:gd name="T48" fmla="*/ 269 w 400"/>
                <a:gd name="T49" fmla="*/ 166 h 367"/>
                <a:gd name="T50" fmla="*/ 245 w 400"/>
                <a:gd name="T51" fmla="*/ 166 h 367"/>
                <a:gd name="T52" fmla="*/ 245 w 400"/>
                <a:gd name="T53" fmla="*/ 219 h 367"/>
                <a:gd name="T54" fmla="*/ 239 w 400"/>
                <a:gd name="T55" fmla="*/ 219 h 367"/>
                <a:gd name="T56" fmla="*/ 239 w 400"/>
                <a:gd name="T57" fmla="*/ 111 h 367"/>
                <a:gd name="T58" fmla="*/ 216 w 400"/>
                <a:gd name="T59" fmla="*/ 111 h 367"/>
                <a:gd name="T60" fmla="*/ 216 w 400"/>
                <a:gd name="T61" fmla="*/ 249 h 367"/>
                <a:gd name="T62" fmla="*/ 208 w 400"/>
                <a:gd name="T63" fmla="*/ 249 h 367"/>
                <a:gd name="T64" fmla="*/ 208 w 400"/>
                <a:gd name="T65" fmla="*/ 197 h 367"/>
                <a:gd name="T66" fmla="*/ 183 w 400"/>
                <a:gd name="T67" fmla="*/ 197 h 367"/>
                <a:gd name="T68" fmla="*/ 183 w 400"/>
                <a:gd name="T69" fmla="*/ 253 h 367"/>
                <a:gd name="T70" fmla="*/ 39 w 400"/>
                <a:gd name="T71" fmla="*/ 253 h 367"/>
                <a:gd name="T72" fmla="*/ 39 w 400"/>
                <a:gd name="T73" fmla="*/ 39 h 367"/>
                <a:gd name="T74" fmla="*/ 361 w 400"/>
                <a:gd name="T75" fmla="*/ 39 h 367"/>
                <a:gd name="T76" fmla="*/ 361 w 400"/>
                <a:gd name="T77" fmla="*/ 253 h 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00" h="367">
                  <a:moveTo>
                    <a:pt x="363" y="0"/>
                  </a:moveTo>
                  <a:cubicBezTo>
                    <a:pt x="38" y="0"/>
                    <a:pt x="38" y="0"/>
                    <a:pt x="38" y="0"/>
                  </a:cubicBezTo>
                  <a:cubicBezTo>
                    <a:pt x="17" y="0"/>
                    <a:pt x="0" y="16"/>
                    <a:pt x="0" y="37"/>
                  </a:cubicBezTo>
                  <a:cubicBezTo>
                    <a:pt x="0" y="255"/>
                    <a:pt x="0" y="255"/>
                    <a:pt x="0" y="255"/>
                  </a:cubicBezTo>
                  <a:cubicBezTo>
                    <a:pt x="0" y="275"/>
                    <a:pt x="17" y="292"/>
                    <a:pt x="38" y="292"/>
                  </a:cubicBezTo>
                  <a:cubicBezTo>
                    <a:pt x="184" y="292"/>
                    <a:pt x="184" y="292"/>
                    <a:pt x="184" y="292"/>
                  </a:cubicBezTo>
                  <a:cubicBezTo>
                    <a:pt x="191" y="310"/>
                    <a:pt x="230" y="335"/>
                    <a:pt x="230" y="335"/>
                  </a:cubicBezTo>
                  <a:cubicBezTo>
                    <a:pt x="230" y="367"/>
                    <a:pt x="230" y="367"/>
                    <a:pt x="230" y="367"/>
                  </a:cubicBezTo>
                  <a:cubicBezTo>
                    <a:pt x="328" y="367"/>
                    <a:pt x="328" y="367"/>
                    <a:pt x="328" y="367"/>
                  </a:cubicBezTo>
                  <a:cubicBezTo>
                    <a:pt x="328" y="292"/>
                    <a:pt x="328" y="292"/>
                    <a:pt x="328" y="292"/>
                  </a:cubicBezTo>
                  <a:cubicBezTo>
                    <a:pt x="363" y="292"/>
                    <a:pt x="363" y="292"/>
                    <a:pt x="363" y="292"/>
                  </a:cubicBezTo>
                  <a:cubicBezTo>
                    <a:pt x="384" y="292"/>
                    <a:pt x="400" y="275"/>
                    <a:pt x="400" y="255"/>
                  </a:cubicBezTo>
                  <a:cubicBezTo>
                    <a:pt x="400" y="37"/>
                    <a:pt x="400" y="37"/>
                    <a:pt x="400" y="37"/>
                  </a:cubicBezTo>
                  <a:cubicBezTo>
                    <a:pt x="400" y="16"/>
                    <a:pt x="384" y="0"/>
                    <a:pt x="363" y="0"/>
                  </a:cubicBezTo>
                  <a:close/>
                  <a:moveTo>
                    <a:pt x="361" y="253"/>
                  </a:moveTo>
                  <a:cubicBezTo>
                    <a:pt x="328" y="253"/>
                    <a:pt x="328" y="253"/>
                    <a:pt x="328" y="253"/>
                  </a:cubicBezTo>
                  <a:cubicBezTo>
                    <a:pt x="328" y="197"/>
                    <a:pt x="328" y="197"/>
                    <a:pt x="328" y="197"/>
                  </a:cubicBezTo>
                  <a:cubicBezTo>
                    <a:pt x="328" y="181"/>
                    <a:pt x="305" y="181"/>
                    <a:pt x="305" y="197"/>
                  </a:cubicBezTo>
                  <a:cubicBezTo>
                    <a:pt x="305" y="219"/>
                    <a:pt x="305" y="219"/>
                    <a:pt x="305" y="219"/>
                  </a:cubicBezTo>
                  <a:cubicBezTo>
                    <a:pt x="305" y="222"/>
                    <a:pt x="298" y="222"/>
                    <a:pt x="298" y="219"/>
                  </a:cubicBezTo>
                  <a:cubicBezTo>
                    <a:pt x="298" y="180"/>
                    <a:pt x="298" y="180"/>
                    <a:pt x="298" y="180"/>
                  </a:cubicBezTo>
                  <a:cubicBezTo>
                    <a:pt x="298" y="165"/>
                    <a:pt x="275" y="165"/>
                    <a:pt x="275" y="180"/>
                  </a:cubicBezTo>
                  <a:cubicBezTo>
                    <a:pt x="275" y="219"/>
                    <a:pt x="275" y="219"/>
                    <a:pt x="275" y="219"/>
                  </a:cubicBezTo>
                  <a:cubicBezTo>
                    <a:pt x="275" y="222"/>
                    <a:pt x="269" y="222"/>
                    <a:pt x="269" y="219"/>
                  </a:cubicBezTo>
                  <a:cubicBezTo>
                    <a:pt x="269" y="166"/>
                    <a:pt x="269" y="166"/>
                    <a:pt x="269" y="166"/>
                  </a:cubicBezTo>
                  <a:cubicBezTo>
                    <a:pt x="269" y="150"/>
                    <a:pt x="245" y="150"/>
                    <a:pt x="245" y="166"/>
                  </a:cubicBezTo>
                  <a:cubicBezTo>
                    <a:pt x="245" y="219"/>
                    <a:pt x="245" y="219"/>
                    <a:pt x="245" y="219"/>
                  </a:cubicBezTo>
                  <a:cubicBezTo>
                    <a:pt x="245" y="222"/>
                    <a:pt x="239" y="222"/>
                    <a:pt x="239" y="219"/>
                  </a:cubicBezTo>
                  <a:cubicBezTo>
                    <a:pt x="239" y="111"/>
                    <a:pt x="239" y="111"/>
                    <a:pt x="239" y="111"/>
                  </a:cubicBezTo>
                  <a:cubicBezTo>
                    <a:pt x="239" y="96"/>
                    <a:pt x="216" y="96"/>
                    <a:pt x="216" y="111"/>
                  </a:cubicBezTo>
                  <a:cubicBezTo>
                    <a:pt x="216" y="249"/>
                    <a:pt x="216" y="249"/>
                    <a:pt x="216" y="249"/>
                  </a:cubicBezTo>
                  <a:cubicBezTo>
                    <a:pt x="216" y="252"/>
                    <a:pt x="208" y="252"/>
                    <a:pt x="208" y="249"/>
                  </a:cubicBezTo>
                  <a:cubicBezTo>
                    <a:pt x="208" y="197"/>
                    <a:pt x="208" y="197"/>
                    <a:pt x="208" y="197"/>
                  </a:cubicBezTo>
                  <a:cubicBezTo>
                    <a:pt x="208" y="178"/>
                    <a:pt x="183" y="179"/>
                    <a:pt x="183" y="197"/>
                  </a:cubicBezTo>
                  <a:cubicBezTo>
                    <a:pt x="183" y="253"/>
                    <a:pt x="183" y="253"/>
                    <a:pt x="183" y="253"/>
                  </a:cubicBezTo>
                  <a:cubicBezTo>
                    <a:pt x="39" y="253"/>
                    <a:pt x="39" y="253"/>
                    <a:pt x="39" y="253"/>
                  </a:cubicBezTo>
                  <a:cubicBezTo>
                    <a:pt x="39" y="39"/>
                    <a:pt x="39" y="39"/>
                    <a:pt x="39" y="39"/>
                  </a:cubicBezTo>
                  <a:cubicBezTo>
                    <a:pt x="361" y="39"/>
                    <a:pt x="361" y="39"/>
                    <a:pt x="361" y="39"/>
                  </a:cubicBezTo>
                  <a:cubicBezTo>
                    <a:pt x="361" y="253"/>
                    <a:pt x="361" y="253"/>
                    <a:pt x="361" y="253"/>
                  </a:cubicBezTo>
                  <a:close/>
                </a:path>
              </a:pathLst>
            </a:custGeom>
            <a:solidFill>
              <a:schemeClr val="bg1"/>
            </a:solidFill>
            <a:ln>
              <a:noFill/>
            </a:ln>
            <a:extLst/>
          </p:spPr>
          <p:txBody>
            <a:bodyPr vert="horz" wrap="square" lIns="76178" tIns="38088" rIns="76178" bIns="38088" numCol="1" anchor="t" anchorCtr="0" compatLnSpc="1">
              <a:prstTxWarp prst="textNoShape">
                <a:avLst/>
              </a:prstTxWarp>
            </a:bodyPr>
            <a:lstStyle/>
            <a:p>
              <a:pPr marL="0" marR="0" lvl="0" indent="0" defTabSz="776956"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rgbClr val="333333"/>
                </a:solidFill>
                <a:effectLst/>
                <a:uLnTx/>
                <a:uFillTx/>
                <a:ea typeface="MS PGothic" panose="020B0600070205080204" pitchFamily="34" charset="-128"/>
              </a:endParaRPr>
            </a:p>
          </p:txBody>
        </p:sp>
        <p:grpSp>
          <p:nvGrpSpPr>
            <p:cNvPr id="37" name="Group 36"/>
            <p:cNvGrpSpPr/>
            <p:nvPr/>
          </p:nvGrpSpPr>
          <p:grpSpPr>
            <a:xfrm>
              <a:off x="8305897" y="6746334"/>
              <a:ext cx="240369" cy="391933"/>
              <a:chOff x="8597110" y="4718972"/>
              <a:chExt cx="361215" cy="561776"/>
            </a:xfrm>
            <a:solidFill>
              <a:schemeClr val="bg1"/>
            </a:solidFill>
          </p:grpSpPr>
          <p:sp>
            <p:nvSpPr>
              <p:cNvPr id="59" name="Freeform 68"/>
              <p:cNvSpPr>
                <a:spLocks/>
              </p:cNvSpPr>
              <p:nvPr/>
            </p:nvSpPr>
            <p:spPr bwMode="auto">
              <a:xfrm rot="16200000">
                <a:off x="8612012" y="5015484"/>
                <a:ext cx="273629" cy="256899"/>
              </a:xfrm>
              <a:custGeom>
                <a:avLst/>
                <a:gdLst>
                  <a:gd name="T0" fmla="*/ 564 w 1203"/>
                  <a:gd name="T1" fmla="*/ 1129 h 1129"/>
                  <a:gd name="T2" fmla="*/ 0 w 1203"/>
                  <a:gd name="T3" fmla="*/ 565 h 1129"/>
                  <a:gd name="T4" fmla="*/ 564 w 1203"/>
                  <a:gd name="T5" fmla="*/ 0 h 1129"/>
                  <a:gd name="T6" fmla="*/ 1115 w 1203"/>
                  <a:gd name="T7" fmla="*/ 443 h 1129"/>
                  <a:gd name="T8" fmla="*/ 1203 w 1203"/>
                  <a:gd name="T9" fmla="*/ 449 h 1129"/>
                  <a:gd name="T10" fmla="*/ 1055 w 1203"/>
                  <a:gd name="T11" fmla="*/ 599 h 1129"/>
                  <a:gd name="T12" fmla="*/ 876 w 1203"/>
                  <a:gd name="T13" fmla="*/ 426 h 1129"/>
                  <a:gd name="T14" fmla="*/ 963 w 1203"/>
                  <a:gd name="T15" fmla="*/ 432 h 1129"/>
                  <a:gd name="T16" fmla="*/ 431 w 1203"/>
                  <a:gd name="T17" fmla="*/ 166 h 1129"/>
                  <a:gd name="T18" fmla="*/ 165 w 1203"/>
                  <a:gd name="T19" fmla="*/ 698 h 1129"/>
                  <a:gd name="T20" fmla="*/ 564 w 1203"/>
                  <a:gd name="T21" fmla="*/ 985 h 1129"/>
                  <a:gd name="T22" fmla="*/ 564 w 1203"/>
                  <a:gd name="T23" fmla="*/ 1129 h 1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03" h="1129">
                    <a:moveTo>
                      <a:pt x="564" y="1129"/>
                    </a:moveTo>
                    <a:cubicBezTo>
                      <a:pt x="252" y="1129"/>
                      <a:pt x="0" y="877"/>
                      <a:pt x="0" y="565"/>
                    </a:cubicBezTo>
                    <a:cubicBezTo>
                      <a:pt x="0" y="253"/>
                      <a:pt x="252" y="0"/>
                      <a:pt x="564" y="0"/>
                    </a:cubicBezTo>
                    <a:cubicBezTo>
                      <a:pt x="829" y="0"/>
                      <a:pt x="1058" y="184"/>
                      <a:pt x="1115" y="443"/>
                    </a:cubicBezTo>
                    <a:cubicBezTo>
                      <a:pt x="1203" y="449"/>
                      <a:pt x="1203" y="449"/>
                      <a:pt x="1203" y="449"/>
                    </a:cubicBezTo>
                    <a:cubicBezTo>
                      <a:pt x="1055" y="599"/>
                      <a:pt x="1055" y="599"/>
                      <a:pt x="1055" y="599"/>
                    </a:cubicBezTo>
                    <a:cubicBezTo>
                      <a:pt x="876" y="426"/>
                      <a:pt x="876" y="426"/>
                      <a:pt x="876" y="426"/>
                    </a:cubicBezTo>
                    <a:cubicBezTo>
                      <a:pt x="963" y="432"/>
                      <a:pt x="963" y="432"/>
                      <a:pt x="963" y="432"/>
                    </a:cubicBezTo>
                    <a:cubicBezTo>
                      <a:pt x="889" y="212"/>
                      <a:pt x="651" y="93"/>
                      <a:pt x="431" y="166"/>
                    </a:cubicBezTo>
                    <a:cubicBezTo>
                      <a:pt x="211" y="239"/>
                      <a:pt x="92" y="477"/>
                      <a:pt x="165" y="698"/>
                    </a:cubicBezTo>
                    <a:cubicBezTo>
                      <a:pt x="222" y="869"/>
                      <a:pt x="383" y="985"/>
                      <a:pt x="564" y="985"/>
                    </a:cubicBezTo>
                    <a:lnTo>
                      <a:pt x="564" y="1129"/>
                    </a:lnTo>
                    <a:close/>
                  </a:path>
                </a:pathLst>
              </a:custGeom>
              <a:grpFill/>
              <a:ln>
                <a:noFill/>
              </a:ln>
              <a:extLst/>
            </p:spPr>
            <p:txBody>
              <a:bodyPr vert="horz" wrap="square" lIns="76178" tIns="38088" rIns="76178" bIns="38088" numCol="1" anchor="t" anchorCtr="0" compatLnSpc="1">
                <a:prstTxWarp prst="textNoShape">
                  <a:avLst/>
                </a:prstTxWarp>
              </a:bodyPr>
              <a:lstStyle/>
              <a:p>
                <a:pPr marL="0" marR="0" lvl="0" indent="0" defTabSz="776956"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rgbClr val="333333"/>
                  </a:solidFill>
                  <a:effectLst/>
                  <a:uLnTx/>
                  <a:uFillTx/>
                  <a:ea typeface="MS PGothic" panose="020B0600070205080204" pitchFamily="34" charset="-128"/>
                </a:endParaRPr>
              </a:p>
            </p:txBody>
          </p:sp>
          <p:sp>
            <p:nvSpPr>
              <p:cNvPr id="60" name="Freeform 69"/>
              <p:cNvSpPr>
                <a:spLocks/>
              </p:cNvSpPr>
              <p:nvPr/>
            </p:nvSpPr>
            <p:spPr bwMode="auto">
              <a:xfrm rot="16200000">
                <a:off x="8699407" y="4896072"/>
                <a:ext cx="286127" cy="231709"/>
              </a:xfrm>
              <a:custGeom>
                <a:avLst/>
                <a:gdLst>
                  <a:gd name="T0" fmla="*/ 219 w 1258"/>
                  <a:gd name="T1" fmla="*/ 0 h 1018"/>
                  <a:gd name="T2" fmla="*/ 321 w 1258"/>
                  <a:gd name="T3" fmla="*/ 102 h 1018"/>
                  <a:gd name="T4" fmla="*/ 321 w 1258"/>
                  <a:gd name="T5" fmla="*/ 697 h 1018"/>
                  <a:gd name="T6" fmla="*/ 916 w 1258"/>
                  <a:gd name="T7" fmla="*/ 697 h 1018"/>
                  <a:gd name="T8" fmla="*/ 1017 w 1258"/>
                  <a:gd name="T9" fmla="*/ 532 h 1018"/>
                  <a:gd name="T10" fmla="*/ 930 w 1258"/>
                  <a:gd name="T11" fmla="*/ 539 h 1018"/>
                  <a:gd name="T12" fmla="*/ 1110 w 1258"/>
                  <a:gd name="T13" fmla="*/ 365 h 1018"/>
                  <a:gd name="T14" fmla="*/ 1258 w 1258"/>
                  <a:gd name="T15" fmla="*/ 515 h 1018"/>
                  <a:gd name="T16" fmla="*/ 1170 w 1258"/>
                  <a:gd name="T17" fmla="*/ 522 h 1018"/>
                  <a:gd name="T18" fmla="*/ 496 w 1258"/>
                  <a:gd name="T19" fmla="*/ 951 h 1018"/>
                  <a:gd name="T20" fmla="*/ 67 w 1258"/>
                  <a:gd name="T21" fmla="*/ 277 h 1018"/>
                  <a:gd name="T22" fmla="*/ 219 w 1258"/>
                  <a:gd name="T23" fmla="*/ 0 h 10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58" h="1018">
                    <a:moveTo>
                      <a:pt x="219" y="0"/>
                    </a:moveTo>
                    <a:cubicBezTo>
                      <a:pt x="321" y="102"/>
                      <a:pt x="321" y="102"/>
                      <a:pt x="321" y="102"/>
                    </a:cubicBezTo>
                    <a:cubicBezTo>
                      <a:pt x="157" y="266"/>
                      <a:pt x="157" y="533"/>
                      <a:pt x="321" y="697"/>
                    </a:cubicBezTo>
                    <a:cubicBezTo>
                      <a:pt x="486" y="861"/>
                      <a:pt x="752" y="861"/>
                      <a:pt x="916" y="697"/>
                    </a:cubicBezTo>
                    <a:cubicBezTo>
                      <a:pt x="962" y="651"/>
                      <a:pt x="997" y="594"/>
                      <a:pt x="1017" y="532"/>
                    </a:cubicBezTo>
                    <a:cubicBezTo>
                      <a:pt x="930" y="539"/>
                      <a:pt x="930" y="539"/>
                      <a:pt x="930" y="539"/>
                    </a:cubicBezTo>
                    <a:cubicBezTo>
                      <a:pt x="1110" y="365"/>
                      <a:pt x="1110" y="365"/>
                      <a:pt x="1110" y="365"/>
                    </a:cubicBezTo>
                    <a:cubicBezTo>
                      <a:pt x="1258" y="515"/>
                      <a:pt x="1258" y="515"/>
                      <a:pt x="1258" y="515"/>
                    </a:cubicBezTo>
                    <a:cubicBezTo>
                      <a:pt x="1170" y="522"/>
                      <a:pt x="1170" y="522"/>
                      <a:pt x="1170" y="522"/>
                    </a:cubicBezTo>
                    <a:cubicBezTo>
                      <a:pt x="1102" y="826"/>
                      <a:pt x="801" y="1018"/>
                      <a:pt x="496" y="951"/>
                    </a:cubicBezTo>
                    <a:cubicBezTo>
                      <a:pt x="192" y="883"/>
                      <a:pt x="0" y="582"/>
                      <a:pt x="67" y="277"/>
                    </a:cubicBezTo>
                    <a:cubicBezTo>
                      <a:pt x="91" y="172"/>
                      <a:pt x="143" y="76"/>
                      <a:pt x="219" y="0"/>
                    </a:cubicBezTo>
                    <a:close/>
                  </a:path>
                </a:pathLst>
              </a:custGeom>
              <a:grpFill/>
              <a:ln>
                <a:noFill/>
              </a:ln>
              <a:extLst/>
            </p:spPr>
            <p:txBody>
              <a:bodyPr vert="horz" wrap="square" lIns="76178" tIns="38088" rIns="76178" bIns="38088" numCol="1" anchor="t" anchorCtr="0" compatLnSpc="1">
                <a:prstTxWarp prst="textNoShape">
                  <a:avLst/>
                </a:prstTxWarp>
              </a:bodyPr>
              <a:lstStyle/>
              <a:p>
                <a:pPr marL="0" marR="0" lvl="0" indent="0" defTabSz="776956"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rgbClr val="333333"/>
                  </a:solidFill>
                  <a:effectLst/>
                  <a:uLnTx/>
                  <a:uFillTx/>
                  <a:ea typeface="MS PGothic" panose="020B0600070205080204" pitchFamily="34" charset="-128"/>
                </a:endParaRPr>
              </a:p>
            </p:txBody>
          </p:sp>
          <p:sp>
            <p:nvSpPr>
              <p:cNvPr id="61" name="Freeform 70"/>
              <p:cNvSpPr>
                <a:spLocks/>
              </p:cNvSpPr>
              <p:nvPr/>
            </p:nvSpPr>
            <p:spPr bwMode="auto">
              <a:xfrm rot="16200000">
                <a:off x="8591100" y="4724982"/>
                <a:ext cx="281801" cy="269782"/>
              </a:xfrm>
              <a:custGeom>
                <a:avLst/>
                <a:gdLst>
                  <a:gd name="T0" fmla="*/ 220 w 1239"/>
                  <a:gd name="T1" fmla="*/ 1019 h 1185"/>
                  <a:gd name="T2" fmla="*/ 220 w 1239"/>
                  <a:gd name="T3" fmla="*/ 221 h 1185"/>
                  <a:gd name="T4" fmla="*/ 1019 w 1239"/>
                  <a:gd name="T5" fmla="*/ 221 h 1185"/>
                  <a:gd name="T6" fmla="*/ 1019 w 1239"/>
                  <a:gd name="T7" fmla="*/ 1019 h 1185"/>
                  <a:gd name="T8" fmla="*/ 620 w 1239"/>
                  <a:gd name="T9" fmla="*/ 1185 h 1185"/>
                  <a:gd name="T10" fmla="*/ 620 w 1239"/>
                  <a:gd name="T11" fmla="*/ 1041 h 1185"/>
                  <a:gd name="T12" fmla="*/ 1040 w 1239"/>
                  <a:gd name="T13" fmla="*/ 620 h 1185"/>
                  <a:gd name="T14" fmla="*/ 620 w 1239"/>
                  <a:gd name="T15" fmla="*/ 199 h 1185"/>
                  <a:gd name="T16" fmla="*/ 199 w 1239"/>
                  <a:gd name="T17" fmla="*/ 620 h 1185"/>
                  <a:gd name="T18" fmla="*/ 322 w 1239"/>
                  <a:gd name="T19" fmla="*/ 917 h 1185"/>
                  <a:gd name="T20" fmla="*/ 220 w 1239"/>
                  <a:gd name="T21" fmla="*/ 1019 h 1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39" h="1185">
                    <a:moveTo>
                      <a:pt x="220" y="1019"/>
                    </a:moveTo>
                    <a:cubicBezTo>
                      <a:pt x="0" y="799"/>
                      <a:pt x="0" y="441"/>
                      <a:pt x="220" y="221"/>
                    </a:cubicBezTo>
                    <a:cubicBezTo>
                      <a:pt x="441" y="0"/>
                      <a:pt x="798" y="0"/>
                      <a:pt x="1019" y="221"/>
                    </a:cubicBezTo>
                    <a:cubicBezTo>
                      <a:pt x="1239" y="441"/>
                      <a:pt x="1239" y="799"/>
                      <a:pt x="1019" y="1019"/>
                    </a:cubicBezTo>
                    <a:cubicBezTo>
                      <a:pt x="913" y="1125"/>
                      <a:pt x="769" y="1185"/>
                      <a:pt x="620" y="1185"/>
                    </a:cubicBezTo>
                    <a:cubicBezTo>
                      <a:pt x="620" y="1041"/>
                      <a:pt x="620" y="1041"/>
                      <a:pt x="620" y="1041"/>
                    </a:cubicBezTo>
                    <a:cubicBezTo>
                      <a:pt x="852" y="1041"/>
                      <a:pt x="1040" y="852"/>
                      <a:pt x="1040" y="620"/>
                    </a:cubicBezTo>
                    <a:cubicBezTo>
                      <a:pt x="1040" y="387"/>
                      <a:pt x="852" y="199"/>
                      <a:pt x="620" y="199"/>
                    </a:cubicBezTo>
                    <a:cubicBezTo>
                      <a:pt x="387" y="199"/>
                      <a:pt x="199" y="387"/>
                      <a:pt x="199" y="620"/>
                    </a:cubicBezTo>
                    <a:cubicBezTo>
                      <a:pt x="199" y="732"/>
                      <a:pt x="243" y="839"/>
                      <a:pt x="322" y="917"/>
                    </a:cubicBezTo>
                    <a:lnTo>
                      <a:pt x="220" y="1019"/>
                    </a:lnTo>
                    <a:close/>
                  </a:path>
                </a:pathLst>
              </a:custGeom>
              <a:grpFill/>
              <a:ln>
                <a:noFill/>
              </a:ln>
              <a:extLst/>
            </p:spPr>
            <p:txBody>
              <a:bodyPr vert="horz" wrap="square" lIns="76178" tIns="38088" rIns="76178" bIns="38088" numCol="1" anchor="t" anchorCtr="0" compatLnSpc="1">
                <a:prstTxWarp prst="textNoShape">
                  <a:avLst/>
                </a:prstTxWarp>
              </a:bodyPr>
              <a:lstStyle/>
              <a:p>
                <a:pPr marL="0" marR="0" lvl="0" indent="0" defTabSz="776956"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rgbClr val="333333"/>
                  </a:solidFill>
                  <a:effectLst/>
                  <a:uLnTx/>
                  <a:uFillTx/>
                  <a:ea typeface="MS PGothic" panose="020B0600070205080204" pitchFamily="34" charset="-128"/>
                </a:endParaRPr>
              </a:p>
            </p:txBody>
          </p:sp>
        </p:grpSp>
        <p:grpSp>
          <p:nvGrpSpPr>
            <p:cNvPr id="38" name="Group 37"/>
            <p:cNvGrpSpPr/>
            <p:nvPr/>
          </p:nvGrpSpPr>
          <p:grpSpPr>
            <a:xfrm>
              <a:off x="8956831" y="6763755"/>
              <a:ext cx="471736" cy="351615"/>
              <a:chOff x="4746174" y="1443592"/>
              <a:chExt cx="4626425" cy="3905619"/>
            </a:xfrm>
            <a:solidFill>
              <a:schemeClr val="bg1"/>
            </a:solidFill>
          </p:grpSpPr>
          <p:grpSp>
            <p:nvGrpSpPr>
              <p:cNvPr id="45" name="Group 386"/>
              <p:cNvGrpSpPr>
                <a:grpSpLocks noChangeAspect="1"/>
              </p:cNvGrpSpPr>
              <p:nvPr/>
            </p:nvGrpSpPr>
            <p:grpSpPr bwMode="auto">
              <a:xfrm>
                <a:off x="4746174" y="2973316"/>
                <a:ext cx="1414644" cy="2318435"/>
                <a:chOff x="-1261" y="1888"/>
                <a:chExt cx="576" cy="944"/>
              </a:xfrm>
              <a:grpFill/>
            </p:grpSpPr>
            <p:sp>
              <p:nvSpPr>
                <p:cNvPr id="56" name="Freeform 387"/>
                <p:cNvSpPr>
                  <a:spLocks/>
                </p:cNvSpPr>
                <p:nvPr/>
              </p:nvSpPr>
              <p:spPr bwMode="auto">
                <a:xfrm>
                  <a:off x="-1115" y="1888"/>
                  <a:ext cx="284" cy="607"/>
                </a:xfrm>
                <a:custGeom>
                  <a:avLst/>
                  <a:gdLst>
                    <a:gd name="T0" fmla="*/ 60 w 120"/>
                    <a:gd name="T1" fmla="*/ 257 h 257"/>
                    <a:gd name="T2" fmla="*/ 120 w 120"/>
                    <a:gd name="T3" fmla="*/ 196 h 257"/>
                    <a:gd name="T4" fmla="*/ 120 w 120"/>
                    <a:gd name="T5" fmla="*/ 61 h 257"/>
                    <a:gd name="T6" fmla="*/ 60 w 120"/>
                    <a:gd name="T7" fmla="*/ 0 h 257"/>
                    <a:gd name="T8" fmla="*/ 0 w 120"/>
                    <a:gd name="T9" fmla="*/ 61 h 257"/>
                    <a:gd name="T10" fmla="*/ 0 w 120"/>
                    <a:gd name="T11" fmla="*/ 196 h 257"/>
                    <a:gd name="T12" fmla="*/ 60 w 120"/>
                    <a:gd name="T13" fmla="*/ 257 h 257"/>
                  </a:gdLst>
                  <a:ahLst/>
                  <a:cxnLst>
                    <a:cxn ang="0">
                      <a:pos x="T0" y="T1"/>
                    </a:cxn>
                    <a:cxn ang="0">
                      <a:pos x="T2" y="T3"/>
                    </a:cxn>
                    <a:cxn ang="0">
                      <a:pos x="T4" y="T5"/>
                    </a:cxn>
                    <a:cxn ang="0">
                      <a:pos x="T6" y="T7"/>
                    </a:cxn>
                    <a:cxn ang="0">
                      <a:pos x="T8" y="T9"/>
                    </a:cxn>
                    <a:cxn ang="0">
                      <a:pos x="T10" y="T11"/>
                    </a:cxn>
                    <a:cxn ang="0">
                      <a:pos x="T12" y="T13"/>
                    </a:cxn>
                  </a:cxnLst>
                  <a:rect l="0" t="0" r="r" b="b"/>
                  <a:pathLst>
                    <a:path w="120" h="257">
                      <a:moveTo>
                        <a:pt x="60" y="257"/>
                      </a:moveTo>
                      <a:cubicBezTo>
                        <a:pt x="93" y="257"/>
                        <a:pt x="120" y="230"/>
                        <a:pt x="120" y="196"/>
                      </a:cubicBezTo>
                      <a:cubicBezTo>
                        <a:pt x="120" y="175"/>
                        <a:pt x="120" y="86"/>
                        <a:pt x="120" y="61"/>
                      </a:cubicBezTo>
                      <a:cubicBezTo>
                        <a:pt x="120" y="27"/>
                        <a:pt x="93" y="0"/>
                        <a:pt x="60" y="0"/>
                      </a:cubicBezTo>
                      <a:cubicBezTo>
                        <a:pt x="27" y="0"/>
                        <a:pt x="0" y="27"/>
                        <a:pt x="0" y="61"/>
                      </a:cubicBezTo>
                      <a:cubicBezTo>
                        <a:pt x="0" y="80"/>
                        <a:pt x="0" y="177"/>
                        <a:pt x="0" y="196"/>
                      </a:cubicBezTo>
                      <a:cubicBezTo>
                        <a:pt x="0" y="230"/>
                        <a:pt x="27" y="257"/>
                        <a:pt x="60" y="25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pPr marL="0" marR="0" lvl="0" indent="0" defTabSz="761792" eaLnBrk="1" fontAlgn="auto" latinLnBrk="0" hangingPunct="1">
                    <a:lnSpc>
                      <a:spcPct val="100000"/>
                    </a:lnSpc>
                    <a:spcBef>
                      <a:spcPts val="0"/>
                    </a:spcBef>
                    <a:spcAft>
                      <a:spcPts val="0"/>
                    </a:spcAft>
                    <a:buClrTx/>
                    <a:buSzTx/>
                    <a:buFontTx/>
                    <a:buNone/>
                    <a:tabLst/>
                    <a:defRPr/>
                  </a:pPr>
                  <a:endParaRPr kumimoji="0" lang="en-US" sz="1417" b="0" i="0" u="none" strike="noStrike" kern="0" cap="none" spc="0" normalizeH="0" baseline="0" noProof="0">
                    <a:ln>
                      <a:noFill/>
                    </a:ln>
                    <a:solidFill>
                      <a:srgbClr val="FFFFFF"/>
                    </a:solidFill>
                    <a:effectLst/>
                    <a:uLnTx/>
                    <a:uFillTx/>
                    <a:ea typeface="MS PGothic" panose="020B0600070205080204" pitchFamily="34" charset="-128"/>
                  </a:endParaRPr>
                </a:p>
              </p:txBody>
            </p:sp>
            <p:sp>
              <p:nvSpPr>
                <p:cNvPr id="57" name="Freeform 388"/>
                <p:cNvSpPr>
                  <a:spLocks/>
                </p:cNvSpPr>
                <p:nvPr/>
              </p:nvSpPr>
              <p:spPr bwMode="auto">
                <a:xfrm>
                  <a:off x="-1261" y="2261"/>
                  <a:ext cx="576" cy="571"/>
                </a:xfrm>
                <a:custGeom>
                  <a:avLst/>
                  <a:gdLst>
                    <a:gd name="T0" fmla="*/ 204 w 244"/>
                    <a:gd name="T1" fmla="*/ 0 h 242"/>
                    <a:gd name="T2" fmla="*/ 204 w 244"/>
                    <a:gd name="T3" fmla="*/ 51 h 242"/>
                    <a:gd name="T4" fmla="*/ 136 w 244"/>
                    <a:gd name="T5" fmla="*/ 120 h 242"/>
                    <a:gd name="T6" fmla="*/ 108 w 244"/>
                    <a:gd name="T7" fmla="*/ 120 h 242"/>
                    <a:gd name="T8" fmla="*/ 40 w 244"/>
                    <a:gd name="T9" fmla="*/ 51 h 242"/>
                    <a:gd name="T10" fmla="*/ 40 w 244"/>
                    <a:gd name="T11" fmla="*/ 0 h 242"/>
                    <a:gd name="T12" fmla="*/ 0 w 244"/>
                    <a:gd name="T13" fmla="*/ 0 h 242"/>
                    <a:gd name="T14" fmla="*/ 0 w 244"/>
                    <a:gd name="T15" fmla="*/ 51 h 242"/>
                    <a:gd name="T16" fmla="*/ 102 w 244"/>
                    <a:gd name="T17" fmla="*/ 160 h 242"/>
                    <a:gd name="T18" fmla="*/ 102 w 244"/>
                    <a:gd name="T19" fmla="*/ 202 h 242"/>
                    <a:gd name="T20" fmla="*/ 41 w 244"/>
                    <a:gd name="T21" fmla="*/ 202 h 242"/>
                    <a:gd name="T22" fmla="*/ 41 w 244"/>
                    <a:gd name="T23" fmla="*/ 242 h 242"/>
                    <a:gd name="T24" fmla="*/ 203 w 244"/>
                    <a:gd name="T25" fmla="*/ 242 h 242"/>
                    <a:gd name="T26" fmla="*/ 203 w 244"/>
                    <a:gd name="T27" fmla="*/ 202 h 242"/>
                    <a:gd name="T28" fmla="*/ 142 w 244"/>
                    <a:gd name="T29" fmla="*/ 202 h 242"/>
                    <a:gd name="T30" fmla="*/ 142 w 244"/>
                    <a:gd name="T31" fmla="*/ 160 h 242"/>
                    <a:gd name="T32" fmla="*/ 244 w 244"/>
                    <a:gd name="T33" fmla="*/ 51 h 242"/>
                    <a:gd name="T34" fmla="*/ 244 w 244"/>
                    <a:gd name="T35" fmla="*/ 0 h 242"/>
                    <a:gd name="T36" fmla="*/ 204 w 244"/>
                    <a:gd name="T37" fmla="*/ 0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44" h="242">
                      <a:moveTo>
                        <a:pt x="204" y="0"/>
                      </a:moveTo>
                      <a:cubicBezTo>
                        <a:pt x="204" y="51"/>
                        <a:pt x="204" y="51"/>
                        <a:pt x="204" y="51"/>
                      </a:cubicBezTo>
                      <a:cubicBezTo>
                        <a:pt x="204" y="89"/>
                        <a:pt x="173" y="120"/>
                        <a:pt x="136" y="120"/>
                      </a:cubicBezTo>
                      <a:cubicBezTo>
                        <a:pt x="108" y="120"/>
                        <a:pt x="108" y="120"/>
                        <a:pt x="108" y="120"/>
                      </a:cubicBezTo>
                      <a:cubicBezTo>
                        <a:pt x="71" y="120"/>
                        <a:pt x="40" y="89"/>
                        <a:pt x="40" y="51"/>
                      </a:cubicBezTo>
                      <a:cubicBezTo>
                        <a:pt x="40" y="0"/>
                        <a:pt x="40" y="0"/>
                        <a:pt x="40" y="0"/>
                      </a:cubicBezTo>
                      <a:cubicBezTo>
                        <a:pt x="0" y="0"/>
                        <a:pt x="0" y="0"/>
                        <a:pt x="0" y="0"/>
                      </a:cubicBezTo>
                      <a:cubicBezTo>
                        <a:pt x="0" y="51"/>
                        <a:pt x="0" y="51"/>
                        <a:pt x="0" y="51"/>
                      </a:cubicBezTo>
                      <a:cubicBezTo>
                        <a:pt x="0" y="109"/>
                        <a:pt x="45" y="156"/>
                        <a:pt x="102" y="160"/>
                      </a:cubicBezTo>
                      <a:cubicBezTo>
                        <a:pt x="102" y="202"/>
                        <a:pt x="102" y="202"/>
                        <a:pt x="102" y="202"/>
                      </a:cubicBezTo>
                      <a:cubicBezTo>
                        <a:pt x="41" y="202"/>
                        <a:pt x="41" y="202"/>
                        <a:pt x="41" y="202"/>
                      </a:cubicBezTo>
                      <a:cubicBezTo>
                        <a:pt x="41" y="242"/>
                        <a:pt x="41" y="242"/>
                        <a:pt x="41" y="242"/>
                      </a:cubicBezTo>
                      <a:cubicBezTo>
                        <a:pt x="203" y="242"/>
                        <a:pt x="203" y="242"/>
                        <a:pt x="203" y="242"/>
                      </a:cubicBezTo>
                      <a:cubicBezTo>
                        <a:pt x="203" y="202"/>
                        <a:pt x="203" y="202"/>
                        <a:pt x="203" y="202"/>
                      </a:cubicBezTo>
                      <a:cubicBezTo>
                        <a:pt x="142" y="202"/>
                        <a:pt x="142" y="202"/>
                        <a:pt x="142" y="202"/>
                      </a:cubicBezTo>
                      <a:cubicBezTo>
                        <a:pt x="142" y="160"/>
                        <a:pt x="142" y="160"/>
                        <a:pt x="142" y="160"/>
                      </a:cubicBezTo>
                      <a:cubicBezTo>
                        <a:pt x="199" y="156"/>
                        <a:pt x="244" y="109"/>
                        <a:pt x="244" y="51"/>
                      </a:cubicBezTo>
                      <a:cubicBezTo>
                        <a:pt x="244" y="0"/>
                        <a:pt x="244" y="0"/>
                        <a:pt x="244" y="0"/>
                      </a:cubicBezTo>
                      <a:lnTo>
                        <a:pt x="20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pPr marL="0" marR="0" lvl="0" indent="0" defTabSz="761792" eaLnBrk="1" fontAlgn="auto" latinLnBrk="0" hangingPunct="1">
                    <a:lnSpc>
                      <a:spcPct val="100000"/>
                    </a:lnSpc>
                    <a:spcBef>
                      <a:spcPts val="0"/>
                    </a:spcBef>
                    <a:spcAft>
                      <a:spcPts val="0"/>
                    </a:spcAft>
                    <a:buClrTx/>
                    <a:buSzTx/>
                    <a:buFontTx/>
                    <a:buNone/>
                    <a:tabLst/>
                    <a:defRPr/>
                  </a:pPr>
                  <a:endParaRPr kumimoji="0" lang="en-US" sz="1417" b="0" i="0" u="none" strike="noStrike" kern="0" cap="none" spc="0" normalizeH="0" baseline="0" noProof="0">
                    <a:ln>
                      <a:noFill/>
                    </a:ln>
                    <a:solidFill>
                      <a:srgbClr val="FFFFFF"/>
                    </a:solidFill>
                    <a:effectLst/>
                    <a:uLnTx/>
                    <a:uFillTx/>
                    <a:ea typeface="MS PGothic" panose="020B0600070205080204" pitchFamily="34" charset="-128"/>
                  </a:endParaRPr>
                </a:p>
              </p:txBody>
            </p:sp>
            <p:sp>
              <p:nvSpPr>
                <p:cNvPr id="58" name="Freeform 389"/>
                <p:cNvSpPr>
                  <a:spLocks noEditPoints="1"/>
                </p:cNvSpPr>
                <p:nvPr/>
              </p:nvSpPr>
              <p:spPr bwMode="auto">
                <a:xfrm>
                  <a:off x="-926" y="2738"/>
                  <a:ext cx="0" cy="0"/>
                </a:xfrm>
                <a:custGeom>
                  <a:avLst/>
                  <a:gdLst/>
                  <a:ahLst/>
                  <a:cxnLst>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lose/>
                      <a:moveTo>
                        <a:pt x="0" y="0"/>
                      </a:move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lose/>
                      <a:moveTo>
                        <a:pt x="0" y="0"/>
                      </a:moveTo>
                      <a:cubicBezTo>
                        <a:pt x="0" y="0"/>
                        <a:pt x="0" y="0"/>
                        <a:pt x="0" y="0"/>
                      </a:cubicBezTo>
                      <a:cubicBezTo>
                        <a:pt x="0" y="0"/>
                        <a:pt x="0" y="0"/>
                        <a:pt x="0" y="0"/>
                      </a:cubicBezTo>
                      <a:cubicBezTo>
                        <a:pt x="0" y="0"/>
                        <a:pt x="0" y="0"/>
                        <a:pt x="0" y="0"/>
                      </a:cubicBezTo>
                      <a:cubicBezTo>
                        <a:pt x="0" y="0"/>
                        <a:pt x="0" y="0"/>
                        <a:pt x="0" y="0"/>
                      </a:cubicBezTo>
                      <a:cubicBezTo>
                        <a:pt x="0" y="0"/>
                        <a:pt x="0" y="0"/>
                        <a:pt x="0" y="0"/>
                      </a:cubicBezTo>
                      <a:close/>
                      <a:moveTo>
                        <a:pt x="0" y="0"/>
                      </a:moveTo>
                      <a:cubicBezTo>
                        <a:pt x="0" y="0"/>
                        <a:pt x="0" y="0"/>
                        <a:pt x="0" y="0"/>
                      </a:cubicBezTo>
                      <a:cubicBezTo>
                        <a:pt x="0" y="0"/>
                        <a:pt x="0" y="0"/>
                        <a:pt x="0" y="0"/>
                      </a:cubicBezTo>
                      <a:cubicBezTo>
                        <a:pt x="0" y="0"/>
                        <a:pt x="0" y="0"/>
                        <a:pt x="0" y="0"/>
                      </a:cubicBezTo>
                      <a:close/>
                      <a:moveTo>
                        <a:pt x="0" y="0"/>
                      </a:moveTo>
                      <a:cubicBezTo>
                        <a:pt x="0" y="0"/>
                        <a:pt x="0" y="0"/>
                        <a:pt x="0" y="0"/>
                      </a:cubicBezTo>
                      <a:cubicBezTo>
                        <a:pt x="0" y="0"/>
                        <a:pt x="0" y="0"/>
                        <a:pt x="0" y="0"/>
                      </a:cubicBezTo>
                      <a:cubicBezTo>
                        <a:pt x="0" y="0"/>
                        <a:pt x="0" y="0"/>
                        <a:pt x="0"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pPr marL="0" marR="0" lvl="0" indent="0" defTabSz="761792" eaLnBrk="1" fontAlgn="auto" latinLnBrk="0" hangingPunct="1">
                    <a:lnSpc>
                      <a:spcPct val="100000"/>
                    </a:lnSpc>
                    <a:spcBef>
                      <a:spcPts val="0"/>
                    </a:spcBef>
                    <a:spcAft>
                      <a:spcPts val="0"/>
                    </a:spcAft>
                    <a:buClrTx/>
                    <a:buSzTx/>
                    <a:buFontTx/>
                    <a:buNone/>
                    <a:tabLst/>
                    <a:defRPr/>
                  </a:pPr>
                  <a:endParaRPr kumimoji="0" lang="en-US" sz="1417" b="0" i="0" u="none" strike="noStrike" kern="0" cap="none" spc="0" normalizeH="0" baseline="0" noProof="0">
                    <a:ln>
                      <a:noFill/>
                    </a:ln>
                    <a:solidFill>
                      <a:srgbClr val="FFFFFF"/>
                    </a:solidFill>
                    <a:effectLst/>
                    <a:uLnTx/>
                    <a:uFillTx/>
                    <a:ea typeface="MS PGothic" panose="020B0600070205080204" pitchFamily="34" charset="-128"/>
                  </a:endParaRPr>
                </a:p>
              </p:txBody>
            </p:sp>
          </p:grpSp>
          <p:grpSp>
            <p:nvGrpSpPr>
              <p:cNvPr id="46" name="Group 45"/>
              <p:cNvGrpSpPr/>
              <p:nvPr/>
            </p:nvGrpSpPr>
            <p:grpSpPr>
              <a:xfrm>
                <a:off x="5345484" y="1443592"/>
                <a:ext cx="1381398" cy="1269128"/>
                <a:chOff x="5345480" y="1443592"/>
                <a:chExt cx="1381394" cy="1269128"/>
              </a:xfrm>
              <a:grpFill/>
            </p:grpSpPr>
            <p:sp>
              <p:nvSpPr>
                <p:cNvPr id="54" name="Bent Arrow 53"/>
                <p:cNvSpPr/>
                <p:nvPr/>
              </p:nvSpPr>
              <p:spPr bwMode="auto">
                <a:xfrm>
                  <a:off x="5345480" y="1554480"/>
                  <a:ext cx="1222960" cy="1158240"/>
                </a:xfrm>
                <a:prstGeom prst="bentArrow">
                  <a:avLst>
                    <a:gd name="adj1" fmla="val 19737"/>
                    <a:gd name="adj2" fmla="val 25000"/>
                    <a:gd name="adj3" fmla="val 26316"/>
                    <a:gd name="adj4" fmla="val 55925"/>
                  </a:avLst>
                </a:prstGeom>
                <a:grpFill/>
                <a:ln w="9525" cap="flat" cmpd="sng" algn="ctr">
                  <a:noFill/>
                  <a:prstDash val="solid"/>
                  <a:headEnd type="none" w="med" len="med"/>
                  <a:tailEnd type="none" w="med" len="med"/>
                </a:ln>
                <a:effectLst/>
              </p:spPr>
              <p:txBody>
                <a:bodyPr rot="0" spcFirstLastPara="0" vertOverflow="overflow" horzOverflow="overflow" vert="horz" wrap="square" lIns="152378" tIns="121903" rIns="152378" bIns="121903" numCol="1" spcCol="0" rtlCol="0" fromWordArt="0" anchor="t" anchorCtr="0" forceAA="0" compatLnSpc="1">
                  <a:prstTxWarp prst="textNoShape">
                    <a:avLst/>
                  </a:prstTxWarp>
                  <a:noAutofit/>
                </a:bodyPr>
                <a:lstStyle/>
                <a:p>
                  <a:pPr marL="0" marR="0" lvl="0" indent="0" algn="ctr" defTabSz="776880" eaLnBrk="1" fontAlgn="base" latinLnBrk="0" hangingPunct="1">
                    <a:lnSpc>
                      <a:spcPct val="90000"/>
                    </a:lnSpc>
                    <a:spcBef>
                      <a:spcPct val="0"/>
                    </a:spcBef>
                    <a:spcAft>
                      <a:spcPct val="0"/>
                    </a:spcAft>
                    <a:buClrTx/>
                    <a:buSzTx/>
                    <a:buFontTx/>
                    <a:buNone/>
                    <a:tabLst/>
                    <a:defRPr/>
                  </a:pPr>
                  <a:endParaRPr kumimoji="0" lang="en-US" sz="20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55" name="Isosceles Triangle 54"/>
                <p:cNvSpPr/>
                <p:nvPr/>
              </p:nvSpPr>
              <p:spPr bwMode="auto">
                <a:xfrm rot="5400000">
                  <a:off x="6110896" y="1589033"/>
                  <a:ext cx="761420" cy="470537"/>
                </a:xfrm>
                <a:prstGeom prst="triangle">
                  <a:avLst/>
                </a:prstGeom>
                <a:grpFill/>
                <a:ln w="9525" cap="flat" cmpd="sng" algn="ctr">
                  <a:noFill/>
                  <a:prstDash val="solid"/>
                  <a:headEnd type="none" w="med" len="med"/>
                  <a:tailEnd type="none" w="med" len="med"/>
                </a:ln>
                <a:effectLst/>
              </p:spPr>
              <p:txBody>
                <a:bodyPr rot="0" spcFirstLastPara="0" vertOverflow="overflow" horzOverflow="overflow" vert="horz" wrap="square" lIns="152378" tIns="121903" rIns="152378" bIns="121903" numCol="1" spcCol="0" rtlCol="0" fromWordArt="0" anchor="t" anchorCtr="0" forceAA="0" compatLnSpc="1">
                  <a:prstTxWarp prst="textNoShape">
                    <a:avLst/>
                  </a:prstTxWarp>
                  <a:noAutofit/>
                </a:bodyPr>
                <a:lstStyle/>
                <a:p>
                  <a:pPr marL="0" marR="0" lvl="0" indent="0" algn="ctr" defTabSz="776880" eaLnBrk="1" fontAlgn="base" latinLnBrk="0" hangingPunct="1">
                    <a:lnSpc>
                      <a:spcPct val="90000"/>
                    </a:lnSpc>
                    <a:spcBef>
                      <a:spcPct val="0"/>
                    </a:spcBef>
                    <a:spcAft>
                      <a:spcPct val="0"/>
                    </a:spcAft>
                    <a:buClrTx/>
                    <a:buSzTx/>
                    <a:buFontTx/>
                    <a:buNone/>
                    <a:tabLst/>
                    <a:defRPr/>
                  </a:pPr>
                  <a:endParaRPr kumimoji="0" lang="en-US" sz="20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nvGrpSpPr>
              <p:cNvPr id="47" name="Group 46"/>
              <p:cNvGrpSpPr/>
              <p:nvPr/>
            </p:nvGrpSpPr>
            <p:grpSpPr>
              <a:xfrm rot="10800000">
                <a:off x="7049746" y="4080083"/>
                <a:ext cx="1381398" cy="1269128"/>
                <a:chOff x="5345480" y="1443592"/>
                <a:chExt cx="1381394" cy="1269128"/>
              </a:xfrm>
              <a:grpFill/>
            </p:grpSpPr>
            <p:sp>
              <p:nvSpPr>
                <p:cNvPr id="52" name="Bent Arrow 51"/>
                <p:cNvSpPr/>
                <p:nvPr/>
              </p:nvSpPr>
              <p:spPr bwMode="auto">
                <a:xfrm>
                  <a:off x="5345480" y="1554480"/>
                  <a:ext cx="1222960" cy="1158240"/>
                </a:xfrm>
                <a:prstGeom prst="bentArrow">
                  <a:avLst>
                    <a:gd name="adj1" fmla="val 19737"/>
                    <a:gd name="adj2" fmla="val 25000"/>
                    <a:gd name="adj3" fmla="val 26316"/>
                    <a:gd name="adj4" fmla="val 55925"/>
                  </a:avLst>
                </a:prstGeom>
                <a:grpFill/>
                <a:ln w="9525" cap="flat" cmpd="sng" algn="ctr">
                  <a:noFill/>
                  <a:prstDash val="solid"/>
                  <a:headEnd type="none" w="med" len="med"/>
                  <a:tailEnd type="none" w="med" len="med"/>
                </a:ln>
                <a:effectLst/>
              </p:spPr>
              <p:txBody>
                <a:bodyPr rot="0" spcFirstLastPara="0" vertOverflow="overflow" horzOverflow="overflow" vert="horz" wrap="square" lIns="152378" tIns="121903" rIns="152378" bIns="121903" numCol="1" spcCol="0" rtlCol="0" fromWordArt="0" anchor="t" anchorCtr="0" forceAA="0" compatLnSpc="1">
                  <a:prstTxWarp prst="textNoShape">
                    <a:avLst/>
                  </a:prstTxWarp>
                  <a:noAutofit/>
                </a:bodyPr>
                <a:lstStyle/>
                <a:p>
                  <a:pPr marL="0" marR="0" lvl="0" indent="0" algn="ctr" defTabSz="776880" eaLnBrk="1" fontAlgn="base" latinLnBrk="0" hangingPunct="1">
                    <a:lnSpc>
                      <a:spcPct val="90000"/>
                    </a:lnSpc>
                    <a:spcBef>
                      <a:spcPct val="0"/>
                    </a:spcBef>
                    <a:spcAft>
                      <a:spcPct val="0"/>
                    </a:spcAft>
                    <a:buClrTx/>
                    <a:buSzTx/>
                    <a:buFontTx/>
                    <a:buNone/>
                    <a:tabLst/>
                    <a:defRPr/>
                  </a:pPr>
                  <a:endParaRPr kumimoji="0" lang="en-US" sz="20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53" name="Isosceles Triangle 52"/>
                <p:cNvSpPr/>
                <p:nvPr/>
              </p:nvSpPr>
              <p:spPr bwMode="auto">
                <a:xfrm rot="5400000">
                  <a:off x="6110896" y="1589033"/>
                  <a:ext cx="761420" cy="470537"/>
                </a:xfrm>
                <a:prstGeom prst="triangle">
                  <a:avLst/>
                </a:prstGeom>
                <a:grpFill/>
                <a:ln w="9525" cap="flat" cmpd="sng" algn="ctr">
                  <a:noFill/>
                  <a:prstDash val="solid"/>
                  <a:headEnd type="none" w="med" len="med"/>
                  <a:tailEnd type="none" w="med" len="med"/>
                </a:ln>
                <a:effectLst/>
              </p:spPr>
              <p:txBody>
                <a:bodyPr rot="0" spcFirstLastPara="0" vertOverflow="overflow" horzOverflow="overflow" vert="horz" wrap="square" lIns="152378" tIns="121903" rIns="152378" bIns="121903" numCol="1" spcCol="0" rtlCol="0" fromWordArt="0" anchor="t" anchorCtr="0" forceAA="0" compatLnSpc="1">
                  <a:prstTxWarp prst="textNoShape">
                    <a:avLst/>
                  </a:prstTxWarp>
                  <a:noAutofit/>
                </a:bodyPr>
                <a:lstStyle/>
                <a:p>
                  <a:pPr marL="0" marR="0" lvl="0" indent="0" algn="ctr" defTabSz="776880" eaLnBrk="1" fontAlgn="base" latinLnBrk="0" hangingPunct="1">
                    <a:lnSpc>
                      <a:spcPct val="90000"/>
                    </a:lnSpc>
                    <a:spcBef>
                      <a:spcPct val="0"/>
                    </a:spcBef>
                    <a:spcAft>
                      <a:spcPct val="0"/>
                    </a:spcAft>
                    <a:buClrTx/>
                    <a:buSzTx/>
                    <a:buFontTx/>
                    <a:buNone/>
                    <a:tabLst/>
                    <a:defRPr/>
                  </a:pPr>
                  <a:endParaRPr kumimoji="0" lang="en-US" sz="20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sp>
            <p:nvSpPr>
              <p:cNvPr id="48" name="Freeform 47"/>
              <p:cNvSpPr/>
              <p:nvPr/>
            </p:nvSpPr>
            <p:spPr bwMode="auto">
              <a:xfrm>
                <a:off x="7275185" y="1443592"/>
                <a:ext cx="2097414" cy="2549285"/>
              </a:xfrm>
              <a:custGeom>
                <a:avLst/>
                <a:gdLst>
                  <a:gd name="connsiteX0" fmla="*/ 0 w 2097410"/>
                  <a:gd name="connsiteY0" fmla="*/ 0 h 2549289"/>
                  <a:gd name="connsiteX1" fmla="*/ 2097410 w 2097410"/>
                  <a:gd name="connsiteY1" fmla="*/ 0 h 2549289"/>
                  <a:gd name="connsiteX2" fmla="*/ 2097410 w 2097410"/>
                  <a:gd name="connsiteY2" fmla="*/ 2549289 h 2549289"/>
                  <a:gd name="connsiteX3" fmla="*/ 0 w 2097410"/>
                  <a:gd name="connsiteY3" fmla="*/ 2549289 h 2549289"/>
                  <a:gd name="connsiteX4" fmla="*/ 0 w 2097410"/>
                  <a:gd name="connsiteY4" fmla="*/ 0 h 2549289"/>
                  <a:gd name="connsiteX5" fmla="*/ 157095 w 2097410"/>
                  <a:gd name="connsiteY5" fmla="*/ 154388 h 2549289"/>
                  <a:gd name="connsiteX6" fmla="*/ 157095 w 2097410"/>
                  <a:gd name="connsiteY6" fmla="*/ 2394900 h 2549289"/>
                  <a:gd name="connsiteX7" fmla="*/ 1940316 w 2097410"/>
                  <a:gd name="connsiteY7" fmla="*/ 2394900 h 2549289"/>
                  <a:gd name="connsiteX8" fmla="*/ 1940316 w 2097410"/>
                  <a:gd name="connsiteY8" fmla="*/ 154388 h 2549289"/>
                  <a:gd name="connsiteX9" fmla="*/ 157095 w 2097410"/>
                  <a:gd name="connsiteY9" fmla="*/ 154388 h 2549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097410" h="2549289">
                    <a:moveTo>
                      <a:pt x="0" y="0"/>
                    </a:moveTo>
                    <a:lnTo>
                      <a:pt x="2097410" y="0"/>
                    </a:lnTo>
                    <a:lnTo>
                      <a:pt x="2097410" y="2549289"/>
                    </a:lnTo>
                    <a:lnTo>
                      <a:pt x="0" y="2549289"/>
                    </a:lnTo>
                    <a:lnTo>
                      <a:pt x="0" y="0"/>
                    </a:lnTo>
                    <a:close/>
                    <a:moveTo>
                      <a:pt x="157095" y="154388"/>
                    </a:moveTo>
                    <a:lnTo>
                      <a:pt x="157095" y="2394900"/>
                    </a:lnTo>
                    <a:lnTo>
                      <a:pt x="1940316" y="2394900"/>
                    </a:lnTo>
                    <a:lnTo>
                      <a:pt x="1940316" y="154388"/>
                    </a:lnTo>
                    <a:lnTo>
                      <a:pt x="157095" y="154388"/>
                    </a:lnTo>
                    <a:close/>
                  </a:path>
                </a:pathLst>
              </a:custGeom>
              <a:grpFill/>
              <a:ln w="9525" cap="flat" cmpd="sng" algn="ctr">
                <a:noFill/>
                <a:prstDash val="solid"/>
                <a:headEnd type="none" w="med" len="med"/>
                <a:tailEnd type="none" w="med" len="med"/>
              </a:ln>
              <a:effectLst/>
            </p:spPr>
            <p:txBody>
              <a:bodyPr rot="0" spcFirstLastPara="0" vertOverflow="overflow" horzOverflow="overflow" vert="horz" wrap="square" lIns="152378" tIns="121903" rIns="152378" bIns="121903" numCol="1" spcCol="0" rtlCol="0" fromWordArt="0" anchor="t" anchorCtr="0" forceAA="0" compatLnSpc="1">
                <a:prstTxWarp prst="textNoShape">
                  <a:avLst/>
                </a:prstTxWarp>
                <a:noAutofit/>
              </a:bodyPr>
              <a:lstStyle/>
              <a:p>
                <a:pPr marL="0" marR="0" lvl="0" indent="0" algn="ctr" defTabSz="776880" eaLnBrk="1" fontAlgn="base" latinLnBrk="0" hangingPunct="1">
                  <a:lnSpc>
                    <a:spcPct val="90000"/>
                  </a:lnSpc>
                  <a:spcBef>
                    <a:spcPct val="0"/>
                  </a:spcBef>
                  <a:spcAft>
                    <a:spcPct val="0"/>
                  </a:spcAft>
                  <a:buClrTx/>
                  <a:buSzTx/>
                  <a:buFontTx/>
                  <a:buNone/>
                  <a:tabLst/>
                  <a:defRPr/>
                </a:pPr>
                <a:endParaRPr kumimoji="0" lang="en-US" sz="20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49" name="Rectangle 48"/>
              <p:cNvSpPr/>
              <p:nvPr/>
            </p:nvSpPr>
            <p:spPr bwMode="auto">
              <a:xfrm>
                <a:off x="7711440" y="1981203"/>
                <a:ext cx="1127763" cy="152397"/>
              </a:xfrm>
              <a:prstGeom prst="rect">
                <a:avLst/>
              </a:prstGeom>
              <a:grpFill/>
              <a:ln w="9525" cap="flat" cmpd="sng" algn="ctr">
                <a:noFill/>
                <a:prstDash val="solid"/>
                <a:headEnd type="none" w="med" len="med"/>
                <a:tailEnd type="none" w="med" len="med"/>
              </a:ln>
              <a:effectLst/>
            </p:spPr>
            <p:txBody>
              <a:bodyPr rot="0" spcFirstLastPara="0" vertOverflow="overflow" horzOverflow="overflow" vert="horz" wrap="square" lIns="152378" tIns="121903" rIns="152378" bIns="121903" numCol="1" spcCol="0" rtlCol="0" fromWordArt="0" anchor="t" anchorCtr="0" forceAA="0" compatLnSpc="1">
                <a:prstTxWarp prst="textNoShape">
                  <a:avLst/>
                </a:prstTxWarp>
                <a:noAutofit/>
              </a:bodyPr>
              <a:lstStyle/>
              <a:p>
                <a:pPr marL="0" marR="0" lvl="0" indent="0" algn="ctr" defTabSz="776880" eaLnBrk="1" fontAlgn="base" latinLnBrk="0" hangingPunct="1">
                  <a:lnSpc>
                    <a:spcPct val="90000"/>
                  </a:lnSpc>
                  <a:spcBef>
                    <a:spcPct val="0"/>
                  </a:spcBef>
                  <a:spcAft>
                    <a:spcPct val="0"/>
                  </a:spcAft>
                  <a:buClrTx/>
                  <a:buSzTx/>
                  <a:buFontTx/>
                  <a:buNone/>
                  <a:tabLst/>
                  <a:defRPr/>
                </a:pPr>
                <a:endParaRPr kumimoji="0" lang="en-US" sz="20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50" name="Rectangle 49"/>
              <p:cNvSpPr/>
              <p:nvPr/>
            </p:nvSpPr>
            <p:spPr bwMode="auto">
              <a:xfrm>
                <a:off x="7711440" y="2518225"/>
                <a:ext cx="1127763" cy="152397"/>
              </a:xfrm>
              <a:prstGeom prst="rect">
                <a:avLst/>
              </a:prstGeom>
              <a:grpFill/>
              <a:ln w="9525" cap="flat" cmpd="sng" algn="ctr">
                <a:noFill/>
                <a:prstDash val="solid"/>
                <a:headEnd type="none" w="med" len="med"/>
                <a:tailEnd type="none" w="med" len="med"/>
              </a:ln>
              <a:effectLst/>
            </p:spPr>
            <p:txBody>
              <a:bodyPr rot="0" spcFirstLastPara="0" vertOverflow="overflow" horzOverflow="overflow" vert="horz" wrap="square" lIns="152378" tIns="121903" rIns="152378" bIns="121903" numCol="1" spcCol="0" rtlCol="0" fromWordArt="0" anchor="t" anchorCtr="0" forceAA="0" compatLnSpc="1">
                <a:prstTxWarp prst="textNoShape">
                  <a:avLst/>
                </a:prstTxWarp>
                <a:noAutofit/>
              </a:bodyPr>
              <a:lstStyle/>
              <a:p>
                <a:pPr marL="0" marR="0" lvl="0" indent="0" algn="ctr" defTabSz="776880" eaLnBrk="1" fontAlgn="base" latinLnBrk="0" hangingPunct="1">
                  <a:lnSpc>
                    <a:spcPct val="90000"/>
                  </a:lnSpc>
                  <a:spcBef>
                    <a:spcPct val="0"/>
                  </a:spcBef>
                  <a:spcAft>
                    <a:spcPct val="0"/>
                  </a:spcAft>
                  <a:buClrTx/>
                  <a:buSzTx/>
                  <a:buFontTx/>
                  <a:buNone/>
                  <a:tabLst/>
                  <a:defRPr/>
                </a:pPr>
                <a:endParaRPr kumimoji="0" lang="en-US" sz="20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51" name="Rectangle 50"/>
              <p:cNvSpPr/>
              <p:nvPr/>
            </p:nvSpPr>
            <p:spPr bwMode="auto">
              <a:xfrm>
                <a:off x="7711440" y="3055247"/>
                <a:ext cx="1127763" cy="152397"/>
              </a:xfrm>
              <a:prstGeom prst="rect">
                <a:avLst/>
              </a:prstGeom>
              <a:grpFill/>
              <a:ln w="9525" cap="flat" cmpd="sng" algn="ctr">
                <a:noFill/>
                <a:prstDash val="solid"/>
                <a:headEnd type="none" w="med" len="med"/>
                <a:tailEnd type="none" w="med" len="med"/>
              </a:ln>
              <a:effectLst/>
            </p:spPr>
            <p:txBody>
              <a:bodyPr rot="0" spcFirstLastPara="0" vertOverflow="overflow" horzOverflow="overflow" vert="horz" wrap="square" lIns="152378" tIns="121903" rIns="152378" bIns="121903" numCol="1" spcCol="0" rtlCol="0" fromWordArt="0" anchor="t" anchorCtr="0" forceAA="0" compatLnSpc="1">
                <a:prstTxWarp prst="textNoShape">
                  <a:avLst/>
                </a:prstTxWarp>
                <a:noAutofit/>
              </a:bodyPr>
              <a:lstStyle/>
              <a:p>
                <a:pPr marL="0" marR="0" lvl="0" indent="0" algn="ctr" defTabSz="776880" eaLnBrk="1" fontAlgn="base" latinLnBrk="0" hangingPunct="1">
                  <a:lnSpc>
                    <a:spcPct val="90000"/>
                  </a:lnSpc>
                  <a:spcBef>
                    <a:spcPct val="0"/>
                  </a:spcBef>
                  <a:spcAft>
                    <a:spcPct val="0"/>
                  </a:spcAft>
                  <a:buClrTx/>
                  <a:buSzTx/>
                  <a:buFontTx/>
                  <a:buNone/>
                  <a:tabLst/>
                  <a:defRPr/>
                </a:pPr>
                <a:endParaRPr kumimoji="0" lang="en-US" sz="20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sp>
        <p:nvSpPr>
          <p:cNvPr id="72" name="TextBox 71"/>
          <p:cNvSpPr txBox="1"/>
          <p:nvPr/>
        </p:nvSpPr>
        <p:spPr>
          <a:xfrm>
            <a:off x="5344323" y="4474677"/>
            <a:ext cx="1452708" cy="451342"/>
          </a:xfrm>
          <a:prstGeom prst="rect">
            <a:avLst/>
          </a:prstGeom>
          <a:noFill/>
        </p:spPr>
        <p:txBody>
          <a:bodyPr wrap="square" rtlCol="0">
            <a:spAutoFit/>
          </a:bodyPr>
          <a:lstStyle>
            <a:defPPr>
              <a:defRPr lang="en-US"/>
            </a:defPPr>
            <a:lvl1pPr marR="0" lvl="0" indent="0" algn="ctr" defTabSz="914400" fontAlgn="auto">
              <a:lnSpc>
                <a:spcPct val="100000"/>
              </a:lnSpc>
              <a:spcBef>
                <a:spcPts val="0"/>
              </a:spcBef>
              <a:spcAft>
                <a:spcPts val="0"/>
              </a:spcAft>
              <a:buClrTx/>
              <a:buSzTx/>
              <a:buFontTx/>
              <a:buNone/>
              <a:tabLst/>
              <a:defRPr kumimoji="0" sz="2800" i="0" u="none" strike="noStrike" kern="0" cap="none" spc="0" normalizeH="0" baseline="0">
                <a:ln>
                  <a:noFill/>
                </a:ln>
                <a:solidFill>
                  <a:prstClr val="white"/>
                </a:solidFill>
                <a:effectLst/>
                <a:uLnTx/>
                <a:uFillTx/>
                <a:latin typeface="Segoe UI Semibold" panose="020B0702040204020203" pitchFamily="34" charset="0"/>
                <a:cs typeface="Segoe UI Semibold" panose="020B0702040204020203" pitchFamily="34" charset="0"/>
              </a:defRPr>
            </a:lvl1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333" b="0" i="0" u="none" strike="noStrike" kern="0" cap="none" spc="0" normalizeH="0" baseline="0" noProof="0" dirty="0">
                <a:ln>
                  <a:noFill/>
                </a:ln>
                <a:solidFill>
                  <a:prstClr val="white"/>
                </a:solidFill>
                <a:effectLst/>
                <a:uLnTx/>
                <a:uFillTx/>
                <a:latin typeface="Segoe UI Semibold" panose="020B0702040204020203" pitchFamily="34" charset="0"/>
                <a:cs typeface="Segoe UI Semibold" panose="020B0702040204020203" pitchFamily="34" charset="0"/>
              </a:rPr>
              <a:t>Store</a:t>
            </a:r>
          </a:p>
        </p:txBody>
      </p:sp>
      <p:sp>
        <p:nvSpPr>
          <p:cNvPr id="65" name="Title 1"/>
          <p:cNvSpPr txBox="1">
            <a:spLocks/>
          </p:cNvSpPr>
          <p:nvPr/>
        </p:nvSpPr>
        <p:spPr>
          <a:xfrm>
            <a:off x="268927" y="286381"/>
            <a:ext cx="11653523" cy="927940"/>
          </a:xfrm>
          <a:prstGeom prst="rect">
            <a:avLst/>
          </a:prstGeom>
        </p:spPr>
        <p:txBody>
          <a:bodyPr/>
          <a:lstStyle>
            <a:lvl1pPr algn="l" defTabSz="913505" rtl="0" eaLnBrk="1" fontAlgn="base" hangingPunct="1">
              <a:lnSpc>
                <a:spcPct val="90000"/>
              </a:lnSpc>
              <a:spcBef>
                <a:spcPct val="0"/>
              </a:spcBef>
              <a:spcAft>
                <a:spcPct val="0"/>
              </a:spcAft>
              <a:defRPr lang="en-US" sz="4800" kern="1200" spc="-100" dirty="0">
                <a:ln w="3175">
                  <a:noFill/>
                </a:ln>
                <a:solidFill>
                  <a:schemeClr val="tx2"/>
                </a:solidFill>
                <a:latin typeface="+mj-lt"/>
                <a:ea typeface="ＭＳ Ｐゴシック" charset="0"/>
                <a:cs typeface="Segoe UI" pitchFamily="34" charset="0"/>
              </a:defRPr>
            </a:lvl1pPr>
            <a:lvl2pPr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2pPr>
            <a:lvl3pPr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3pPr>
            <a:lvl4pPr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4pPr>
            <a:lvl5pPr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5pPr>
            <a:lvl6pPr marL="448193"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6pPr>
            <a:lvl7pPr marL="896386"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7pPr>
            <a:lvl8pPr marL="1344579"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8pPr>
            <a:lvl9pPr marL="1792773"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9pPr>
          </a:lstStyle>
          <a:p>
            <a:pPr marL="0" marR="0" lvl="0" indent="0" algn="l" defTabSz="913505" rtl="0" eaLnBrk="1" fontAlgn="base" latinLnBrk="0" hangingPunct="1">
              <a:lnSpc>
                <a:spcPct val="90000"/>
              </a:lnSpc>
              <a:spcBef>
                <a:spcPct val="0"/>
              </a:spcBef>
              <a:spcAft>
                <a:spcPct val="0"/>
              </a:spcAft>
              <a:buClrTx/>
              <a:buSzTx/>
              <a:buFontTx/>
              <a:buNone/>
              <a:tabLst/>
              <a:defRPr/>
            </a:pPr>
            <a:r>
              <a:rPr kumimoji="0" lang="en-US" sz="4800" b="0" i="0" u="none" strike="noStrike" kern="1200" cap="none" spc="-100" normalizeH="0" baseline="0" noProof="0">
                <a:ln w="3175">
                  <a:noFill/>
                </a:ln>
                <a:solidFill>
                  <a:schemeClr val="tx2"/>
                </a:solidFill>
                <a:effectLst/>
                <a:uLnTx/>
                <a:uFillTx/>
                <a:latin typeface="+mj-lt"/>
                <a:ea typeface="ＭＳ Ｐゴシック" charset="0"/>
                <a:cs typeface="Segoe UI" pitchFamily="34" charset="0"/>
              </a:rPr>
              <a:t>Azure Data Lake</a:t>
            </a:r>
          </a:p>
        </p:txBody>
      </p:sp>
      <p:cxnSp>
        <p:nvCxnSpPr>
          <p:cNvPr id="4" name="Straight Connector 3"/>
          <p:cNvCxnSpPr/>
          <p:nvPr/>
        </p:nvCxnSpPr>
        <p:spPr>
          <a:xfrm>
            <a:off x="6120722" y="1616283"/>
            <a:ext cx="0" cy="1801719"/>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66" name="Group 65"/>
          <p:cNvGrpSpPr/>
          <p:nvPr/>
        </p:nvGrpSpPr>
        <p:grpSpPr>
          <a:xfrm>
            <a:off x="2873440" y="2278314"/>
            <a:ext cx="545948" cy="544441"/>
            <a:chOff x="2148168" y="645460"/>
            <a:chExt cx="2587625" cy="2576512"/>
          </a:xfrm>
        </p:grpSpPr>
        <p:sp>
          <p:nvSpPr>
            <p:cNvPr id="70" name="Freeform 19"/>
            <p:cNvSpPr>
              <a:spLocks noEditPoints="1"/>
            </p:cNvSpPr>
            <p:nvPr/>
          </p:nvSpPr>
          <p:spPr bwMode="auto">
            <a:xfrm>
              <a:off x="2364068" y="861360"/>
              <a:ext cx="2154238" cy="2149475"/>
            </a:xfrm>
            <a:custGeom>
              <a:avLst/>
              <a:gdLst>
                <a:gd name="T0" fmla="*/ 14609 w 16392"/>
                <a:gd name="T1" fmla="*/ 16392 h 16392"/>
                <a:gd name="T2" fmla="*/ 1782 w 16392"/>
                <a:gd name="T3" fmla="*/ 16392 h 16392"/>
                <a:gd name="T4" fmla="*/ 0 w 16392"/>
                <a:gd name="T5" fmla="*/ 14610 h 16392"/>
                <a:gd name="T6" fmla="*/ 0 w 16392"/>
                <a:gd name="T7" fmla="*/ 1782 h 16392"/>
                <a:gd name="T8" fmla="*/ 1782 w 16392"/>
                <a:gd name="T9" fmla="*/ 0 h 16392"/>
                <a:gd name="T10" fmla="*/ 14609 w 16392"/>
                <a:gd name="T11" fmla="*/ 0 h 16392"/>
                <a:gd name="T12" fmla="*/ 16392 w 16392"/>
                <a:gd name="T13" fmla="*/ 1782 h 16392"/>
                <a:gd name="T14" fmla="*/ 16392 w 16392"/>
                <a:gd name="T15" fmla="*/ 14610 h 16392"/>
                <a:gd name="T16" fmla="*/ 14609 w 16392"/>
                <a:gd name="T17" fmla="*/ 16392 h 16392"/>
                <a:gd name="T18" fmla="*/ 1782 w 16392"/>
                <a:gd name="T19" fmla="*/ 1175 h 16392"/>
                <a:gd name="T20" fmla="*/ 1194 w 16392"/>
                <a:gd name="T21" fmla="*/ 1763 h 16392"/>
                <a:gd name="T22" fmla="*/ 1194 w 16392"/>
                <a:gd name="T23" fmla="*/ 14590 h 16392"/>
                <a:gd name="T24" fmla="*/ 1782 w 16392"/>
                <a:gd name="T25" fmla="*/ 15178 h 16392"/>
                <a:gd name="T26" fmla="*/ 14609 w 16392"/>
                <a:gd name="T27" fmla="*/ 15178 h 16392"/>
                <a:gd name="T28" fmla="*/ 15197 w 16392"/>
                <a:gd name="T29" fmla="*/ 14590 h 16392"/>
                <a:gd name="T30" fmla="*/ 15197 w 16392"/>
                <a:gd name="T31" fmla="*/ 1763 h 16392"/>
                <a:gd name="T32" fmla="*/ 14609 w 16392"/>
                <a:gd name="T33" fmla="*/ 1175 h 16392"/>
                <a:gd name="T34" fmla="*/ 1782 w 16392"/>
                <a:gd name="T35" fmla="*/ 1175 h 16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6392" h="16392">
                  <a:moveTo>
                    <a:pt x="14609" y="16392"/>
                  </a:moveTo>
                  <a:lnTo>
                    <a:pt x="1782" y="16392"/>
                  </a:lnTo>
                  <a:cubicBezTo>
                    <a:pt x="803" y="16392"/>
                    <a:pt x="0" y="15589"/>
                    <a:pt x="0" y="14610"/>
                  </a:cubicBezTo>
                  <a:lnTo>
                    <a:pt x="0" y="1782"/>
                  </a:lnTo>
                  <a:cubicBezTo>
                    <a:pt x="0" y="803"/>
                    <a:pt x="803" y="0"/>
                    <a:pt x="1782" y="0"/>
                  </a:cubicBezTo>
                  <a:lnTo>
                    <a:pt x="14609" y="0"/>
                  </a:lnTo>
                  <a:cubicBezTo>
                    <a:pt x="15589" y="0"/>
                    <a:pt x="16392" y="803"/>
                    <a:pt x="16392" y="1782"/>
                  </a:cubicBezTo>
                  <a:lnTo>
                    <a:pt x="16392" y="14610"/>
                  </a:lnTo>
                  <a:cubicBezTo>
                    <a:pt x="16392" y="15589"/>
                    <a:pt x="15589" y="16392"/>
                    <a:pt x="14609" y="16392"/>
                  </a:cubicBezTo>
                  <a:close/>
                  <a:moveTo>
                    <a:pt x="1782" y="1175"/>
                  </a:moveTo>
                  <a:cubicBezTo>
                    <a:pt x="1449" y="1175"/>
                    <a:pt x="1194" y="1449"/>
                    <a:pt x="1194" y="1763"/>
                  </a:cubicBezTo>
                  <a:lnTo>
                    <a:pt x="1194" y="14590"/>
                  </a:lnTo>
                  <a:cubicBezTo>
                    <a:pt x="1194" y="14923"/>
                    <a:pt x="1469" y="15178"/>
                    <a:pt x="1782" y="15178"/>
                  </a:cubicBezTo>
                  <a:lnTo>
                    <a:pt x="14609" y="15178"/>
                  </a:lnTo>
                  <a:cubicBezTo>
                    <a:pt x="14942" y="15178"/>
                    <a:pt x="15197" y="14904"/>
                    <a:pt x="15197" y="14590"/>
                  </a:cubicBezTo>
                  <a:lnTo>
                    <a:pt x="15197" y="1763"/>
                  </a:lnTo>
                  <a:cubicBezTo>
                    <a:pt x="15197" y="1430"/>
                    <a:pt x="14923" y="1175"/>
                    <a:pt x="14609" y="1175"/>
                  </a:cubicBezTo>
                  <a:lnTo>
                    <a:pt x="1782" y="1175"/>
                  </a:lnTo>
                  <a:close/>
                </a:path>
              </a:pathLst>
            </a:custGeom>
            <a:solidFill>
              <a:srgbClr val="A0A1A2"/>
            </a:solidFill>
            <a:ln w="0">
              <a:noFill/>
              <a:prstDash val="solid"/>
              <a:round/>
              <a:headEnd/>
              <a:tailEnd/>
            </a:ln>
          </p:spPr>
          <p:txBody>
            <a:bodyPr vert="horz" wrap="square" lIns="91427" tIns="45713" rIns="91427" bIns="4571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ysClr val="windowText" lastClr="000000"/>
                </a:solidFill>
                <a:effectLst/>
                <a:uLnTx/>
                <a:uFillTx/>
              </a:endParaRPr>
            </a:p>
          </p:txBody>
        </p:sp>
        <p:sp>
          <p:nvSpPr>
            <p:cNvPr id="73" name="Freeform 20"/>
            <p:cNvSpPr>
              <a:spLocks/>
            </p:cNvSpPr>
            <p:nvPr/>
          </p:nvSpPr>
          <p:spPr bwMode="auto">
            <a:xfrm>
              <a:off x="2860955" y="645460"/>
              <a:ext cx="758825" cy="220662"/>
            </a:xfrm>
            <a:custGeom>
              <a:avLst/>
              <a:gdLst>
                <a:gd name="T0" fmla="*/ 2683 w 5778"/>
                <a:gd name="T1" fmla="*/ 235 h 1684"/>
                <a:gd name="T2" fmla="*/ 1293 w 5778"/>
                <a:gd name="T3" fmla="*/ 176 h 1684"/>
                <a:gd name="T4" fmla="*/ 275 w 5778"/>
                <a:gd name="T5" fmla="*/ 1116 h 1684"/>
                <a:gd name="T6" fmla="*/ 0 w 5778"/>
                <a:gd name="T7" fmla="*/ 1684 h 1684"/>
                <a:gd name="T8" fmla="*/ 5778 w 5778"/>
                <a:gd name="T9" fmla="*/ 1684 h 1684"/>
                <a:gd name="T10" fmla="*/ 2683 w 5778"/>
                <a:gd name="T11" fmla="*/ 235 h 1684"/>
              </a:gdLst>
              <a:ahLst/>
              <a:cxnLst>
                <a:cxn ang="0">
                  <a:pos x="T0" y="T1"/>
                </a:cxn>
                <a:cxn ang="0">
                  <a:pos x="T2" y="T3"/>
                </a:cxn>
                <a:cxn ang="0">
                  <a:pos x="T4" y="T5"/>
                </a:cxn>
                <a:cxn ang="0">
                  <a:pos x="T6" y="T7"/>
                </a:cxn>
                <a:cxn ang="0">
                  <a:pos x="T8" y="T9"/>
                </a:cxn>
                <a:cxn ang="0">
                  <a:pos x="T10" y="T11"/>
                </a:cxn>
              </a:cxnLst>
              <a:rect l="0" t="0" r="r" b="b"/>
              <a:pathLst>
                <a:path w="5778" h="1684">
                  <a:moveTo>
                    <a:pt x="2683" y="235"/>
                  </a:moveTo>
                  <a:cubicBezTo>
                    <a:pt x="2253" y="39"/>
                    <a:pt x="1743" y="0"/>
                    <a:pt x="1293" y="176"/>
                  </a:cubicBezTo>
                  <a:cubicBezTo>
                    <a:pt x="843" y="333"/>
                    <a:pt x="471" y="666"/>
                    <a:pt x="275" y="1116"/>
                  </a:cubicBezTo>
                  <a:lnTo>
                    <a:pt x="0" y="1684"/>
                  </a:lnTo>
                  <a:lnTo>
                    <a:pt x="5778" y="1684"/>
                  </a:lnTo>
                  <a:lnTo>
                    <a:pt x="2683" y="235"/>
                  </a:lnTo>
                  <a:close/>
                </a:path>
              </a:pathLst>
            </a:custGeom>
            <a:solidFill>
              <a:srgbClr val="7A7A7A"/>
            </a:solidFill>
            <a:ln w="0">
              <a:noFill/>
              <a:prstDash val="solid"/>
              <a:round/>
              <a:headEnd/>
              <a:tailEnd/>
            </a:ln>
          </p:spPr>
          <p:txBody>
            <a:bodyPr vert="horz" wrap="square" lIns="91427" tIns="45713" rIns="91427" bIns="4571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ysClr val="windowText" lastClr="000000"/>
                </a:solidFill>
                <a:effectLst/>
                <a:uLnTx/>
                <a:uFillTx/>
              </a:endParaRPr>
            </a:p>
          </p:txBody>
        </p:sp>
        <p:sp>
          <p:nvSpPr>
            <p:cNvPr id="74" name="Freeform 21"/>
            <p:cNvSpPr>
              <a:spLocks/>
            </p:cNvSpPr>
            <p:nvPr/>
          </p:nvSpPr>
          <p:spPr bwMode="auto">
            <a:xfrm>
              <a:off x="4515130" y="1356660"/>
              <a:ext cx="220663" cy="760412"/>
            </a:xfrm>
            <a:custGeom>
              <a:avLst/>
              <a:gdLst>
                <a:gd name="T0" fmla="*/ 1508 w 1684"/>
                <a:gd name="T1" fmla="*/ 1292 h 5797"/>
                <a:gd name="T2" fmla="*/ 568 w 1684"/>
                <a:gd name="T3" fmla="*/ 274 h 5797"/>
                <a:gd name="T4" fmla="*/ 0 w 1684"/>
                <a:gd name="T5" fmla="*/ 0 h 5797"/>
                <a:gd name="T6" fmla="*/ 0 w 1684"/>
                <a:gd name="T7" fmla="*/ 5797 h 5797"/>
                <a:gd name="T8" fmla="*/ 1449 w 1684"/>
                <a:gd name="T9" fmla="*/ 2702 h 5797"/>
                <a:gd name="T10" fmla="*/ 1508 w 1684"/>
                <a:gd name="T11" fmla="*/ 1292 h 5797"/>
              </a:gdLst>
              <a:ahLst/>
              <a:cxnLst>
                <a:cxn ang="0">
                  <a:pos x="T0" y="T1"/>
                </a:cxn>
                <a:cxn ang="0">
                  <a:pos x="T2" y="T3"/>
                </a:cxn>
                <a:cxn ang="0">
                  <a:pos x="T4" y="T5"/>
                </a:cxn>
                <a:cxn ang="0">
                  <a:pos x="T6" y="T7"/>
                </a:cxn>
                <a:cxn ang="0">
                  <a:pos x="T8" y="T9"/>
                </a:cxn>
                <a:cxn ang="0">
                  <a:pos x="T10" y="T11"/>
                </a:cxn>
              </a:cxnLst>
              <a:rect l="0" t="0" r="r" b="b"/>
              <a:pathLst>
                <a:path w="1684" h="5797">
                  <a:moveTo>
                    <a:pt x="1508" y="1292"/>
                  </a:moveTo>
                  <a:cubicBezTo>
                    <a:pt x="1351" y="842"/>
                    <a:pt x="1018" y="470"/>
                    <a:pt x="568" y="274"/>
                  </a:cubicBezTo>
                  <a:lnTo>
                    <a:pt x="0" y="0"/>
                  </a:lnTo>
                  <a:lnTo>
                    <a:pt x="0" y="5797"/>
                  </a:lnTo>
                  <a:lnTo>
                    <a:pt x="1449" y="2702"/>
                  </a:lnTo>
                  <a:cubicBezTo>
                    <a:pt x="1665" y="2252"/>
                    <a:pt x="1684" y="1762"/>
                    <a:pt x="1508" y="1292"/>
                  </a:cubicBezTo>
                  <a:close/>
                </a:path>
              </a:pathLst>
            </a:custGeom>
            <a:solidFill>
              <a:srgbClr val="7A7A7A"/>
            </a:solidFill>
            <a:ln w="0">
              <a:noFill/>
              <a:prstDash val="solid"/>
              <a:round/>
              <a:headEnd/>
              <a:tailEnd/>
            </a:ln>
          </p:spPr>
          <p:txBody>
            <a:bodyPr vert="horz" wrap="square" lIns="91427" tIns="45713" rIns="91427" bIns="4571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ysClr val="windowText" lastClr="000000"/>
                </a:solidFill>
                <a:effectLst/>
                <a:uLnTx/>
                <a:uFillTx/>
              </a:endParaRPr>
            </a:p>
          </p:txBody>
        </p:sp>
        <p:sp>
          <p:nvSpPr>
            <p:cNvPr id="75" name="Freeform 22"/>
            <p:cNvSpPr>
              <a:spLocks/>
            </p:cNvSpPr>
            <p:nvPr/>
          </p:nvSpPr>
          <p:spPr bwMode="auto">
            <a:xfrm>
              <a:off x="2148168" y="1934510"/>
              <a:ext cx="222250" cy="758825"/>
            </a:xfrm>
            <a:custGeom>
              <a:avLst/>
              <a:gdLst>
                <a:gd name="T0" fmla="*/ 235 w 1684"/>
                <a:gd name="T1" fmla="*/ 3095 h 5778"/>
                <a:gd name="T2" fmla="*/ 176 w 1684"/>
                <a:gd name="T3" fmla="*/ 4485 h 5778"/>
                <a:gd name="T4" fmla="*/ 1116 w 1684"/>
                <a:gd name="T5" fmla="*/ 5503 h 5778"/>
                <a:gd name="T6" fmla="*/ 1684 w 1684"/>
                <a:gd name="T7" fmla="*/ 5778 h 5778"/>
                <a:gd name="T8" fmla="*/ 1684 w 1684"/>
                <a:gd name="T9" fmla="*/ 0 h 5778"/>
                <a:gd name="T10" fmla="*/ 235 w 1684"/>
                <a:gd name="T11" fmla="*/ 3095 h 5778"/>
              </a:gdLst>
              <a:ahLst/>
              <a:cxnLst>
                <a:cxn ang="0">
                  <a:pos x="T0" y="T1"/>
                </a:cxn>
                <a:cxn ang="0">
                  <a:pos x="T2" y="T3"/>
                </a:cxn>
                <a:cxn ang="0">
                  <a:pos x="T4" y="T5"/>
                </a:cxn>
                <a:cxn ang="0">
                  <a:pos x="T6" y="T7"/>
                </a:cxn>
                <a:cxn ang="0">
                  <a:pos x="T8" y="T9"/>
                </a:cxn>
                <a:cxn ang="0">
                  <a:pos x="T10" y="T11"/>
                </a:cxn>
              </a:cxnLst>
              <a:rect l="0" t="0" r="r" b="b"/>
              <a:pathLst>
                <a:path w="1684" h="5778">
                  <a:moveTo>
                    <a:pt x="235" y="3095"/>
                  </a:moveTo>
                  <a:cubicBezTo>
                    <a:pt x="39" y="3525"/>
                    <a:pt x="0" y="4035"/>
                    <a:pt x="176" y="4485"/>
                  </a:cubicBezTo>
                  <a:cubicBezTo>
                    <a:pt x="333" y="4935"/>
                    <a:pt x="666" y="5308"/>
                    <a:pt x="1116" y="5503"/>
                  </a:cubicBezTo>
                  <a:lnTo>
                    <a:pt x="1684" y="5778"/>
                  </a:lnTo>
                  <a:lnTo>
                    <a:pt x="1684" y="0"/>
                  </a:lnTo>
                  <a:lnTo>
                    <a:pt x="235" y="3095"/>
                  </a:lnTo>
                  <a:close/>
                </a:path>
              </a:pathLst>
            </a:custGeom>
            <a:solidFill>
              <a:srgbClr val="7A7A7A"/>
            </a:solidFill>
            <a:ln w="0">
              <a:noFill/>
              <a:prstDash val="solid"/>
              <a:round/>
              <a:headEnd/>
              <a:tailEnd/>
            </a:ln>
          </p:spPr>
          <p:txBody>
            <a:bodyPr vert="horz" wrap="square" lIns="91427" tIns="45713" rIns="91427" bIns="4571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ysClr val="windowText" lastClr="000000"/>
                </a:solidFill>
                <a:effectLst/>
                <a:uLnTx/>
                <a:uFillTx/>
              </a:endParaRPr>
            </a:p>
          </p:txBody>
        </p:sp>
        <p:sp>
          <p:nvSpPr>
            <p:cNvPr id="76" name="Freeform 23"/>
            <p:cNvSpPr>
              <a:spLocks/>
            </p:cNvSpPr>
            <p:nvPr/>
          </p:nvSpPr>
          <p:spPr bwMode="auto">
            <a:xfrm>
              <a:off x="3440393" y="3009247"/>
              <a:ext cx="758825" cy="212725"/>
            </a:xfrm>
            <a:custGeom>
              <a:avLst/>
              <a:gdLst>
                <a:gd name="T0" fmla="*/ 3094 w 5777"/>
                <a:gd name="T1" fmla="*/ 1450 h 1626"/>
                <a:gd name="T2" fmla="*/ 3858 w 5777"/>
                <a:gd name="T3" fmla="*/ 1626 h 1626"/>
                <a:gd name="T4" fmla="*/ 4485 w 5777"/>
                <a:gd name="T5" fmla="*/ 1508 h 1626"/>
                <a:gd name="T6" fmla="*/ 5503 w 5777"/>
                <a:gd name="T7" fmla="*/ 568 h 1626"/>
                <a:gd name="T8" fmla="*/ 5777 w 5777"/>
                <a:gd name="T9" fmla="*/ 0 h 1626"/>
                <a:gd name="T10" fmla="*/ 0 w 5777"/>
                <a:gd name="T11" fmla="*/ 0 h 1626"/>
                <a:gd name="T12" fmla="*/ 3094 w 5777"/>
                <a:gd name="T13" fmla="*/ 1450 h 1626"/>
              </a:gdLst>
              <a:ahLst/>
              <a:cxnLst>
                <a:cxn ang="0">
                  <a:pos x="T0" y="T1"/>
                </a:cxn>
                <a:cxn ang="0">
                  <a:pos x="T2" y="T3"/>
                </a:cxn>
                <a:cxn ang="0">
                  <a:pos x="T4" y="T5"/>
                </a:cxn>
                <a:cxn ang="0">
                  <a:pos x="T6" y="T7"/>
                </a:cxn>
                <a:cxn ang="0">
                  <a:pos x="T8" y="T9"/>
                </a:cxn>
                <a:cxn ang="0">
                  <a:pos x="T10" y="T11"/>
                </a:cxn>
                <a:cxn ang="0">
                  <a:pos x="T12" y="T13"/>
                </a:cxn>
              </a:cxnLst>
              <a:rect l="0" t="0" r="r" b="b"/>
              <a:pathLst>
                <a:path w="5777" h="1626">
                  <a:moveTo>
                    <a:pt x="3094" y="1450"/>
                  </a:moveTo>
                  <a:cubicBezTo>
                    <a:pt x="3329" y="1567"/>
                    <a:pt x="3603" y="1626"/>
                    <a:pt x="3858" y="1626"/>
                  </a:cubicBezTo>
                  <a:cubicBezTo>
                    <a:pt x="4073" y="1626"/>
                    <a:pt x="4269" y="1587"/>
                    <a:pt x="4485" y="1508"/>
                  </a:cubicBezTo>
                  <a:cubicBezTo>
                    <a:pt x="4935" y="1352"/>
                    <a:pt x="5307" y="1019"/>
                    <a:pt x="5503" y="568"/>
                  </a:cubicBezTo>
                  <a:lnTo>
                    <a:pt x="5777" y="0"/>
                  </a:lnTo>
                  <a:lnTo>
                    <a:pt x="0" y="0"/>
                  </a:lnTo>
                  <a:lnTo>
                    <a:pt x="3094" y="1450"/>
                  </a:lnTo>
                  <a:close/>
                </a:path>
              </a:pathLst>
            </a:custGeom>
            <a:solidFill>
              <a:srgbClr val="7A7A7A"/>
            </a:solidFill>
            <a:ln w="0">
              <a:noFill/>
              <a:prstDash val="solid"/>
              <a:round/>
              <a:headEnd/>
              <a:tailEnd/>
            </a:ln>
          </p:spPr>
          <p:txBody>
            <a:bodyPr vert="horz" wrap="square" lIns="91427" tIns="45713" rIns="91427" bIns="4571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ysClr val="windowText" lastClr="000000"/>
                </a:solidFill>
                <a:effectLst/>
                <a:uLnTx/>
                <a:uFillTx/>
              </a:endParaRPr>
            </a:p>
          </p:txBody>
        </p:sp>
        <p:sp>
          <p:nvSpPr>
            <p:cNvPr id="77" name="Freeform 24"/>
            <p:cNvSpPr>
              <a:spLocks/>
            </p:cNvSpPr>
            <p:nvPr/>
          </p:nvSpPr>
          <p:spPr bwMode="auto">
            <a:xfrm>
              <a:off x="2521230" y="1015347"/>
              <a:ext cx="1839913" cy="1836737"/>
            </a:xfrm>
            <a:custGeom>
              <a:avLst/>
              <a:gdLst>
                <a:gd name="T0" fmla="*/ 588 w 14003"/>
                <a:gd name="T1" fmla="*/ 0 h 14003"/>
                <a:gd name="T2" fmla="*/ 0 w 14003"/>
                <a:gd name="T3" fmla="*/ 588 h 14003"/>
                <a:gd name="T4" fmla="*/ 0 w 14003"/>
                <a:gd name="T5" fmla="*/ 13415 h 14003"/>
                <a:gd name="T6" fmla="*/ 588 w 14003"/>
                <a:gd name="T7" fmla="*/ 14003 h 14003"/>
                <a:gd name="T8" fmla="*/ 13415 w 14003"/>
                <a:gd name="T9" fmla="*/ 14003 h 14003"/>
                <a:gd name="T10" fmla="*/ 14003 w 14003"/>
                <a:gd name="T11" fmla="*/ 13415 h 14003"/>
                <a:gd name="T12" fmla="*/ 14003 w 14003"/>
                <a:gd name="T13" fmla="*/ 588 h 14003"/>
                <a:gd name="T14" fmla="*/ 13415 w 14003"/>
                <a:gd name="T15" fmla="*/ 0 h 14003"/>
                <a:gd name="T16" fmla="*/ 588 w 14003"/>
                <a:gd name="T17" fmla="*/ 0 h 140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003" h="14003">
                  <a:moveTo>
                    <a:pt x="588" y="0"/>
                  </a:moveTo>
                  <a:cubicBezTo>
                    <a:pt x="255" y="0"/>
                    <a:pt x="0" y="274"/>
                    <a:pt x="0" y="588"/>
                  </a:cubicBezTo>
                  <a:lnTo>
                    <a:pt x="0" y="13415"/>
                  </a:lnTo>
                  <a:cubicBezTo>
                    <a:pt x="0" y="13748"/>
                    <a:pt x="275" y="14003"/>
                    <a:pt x="588" y="14003"/>
                  </a:cubicBezTo>
                  <a:lnTo>
                    <a:pt x="13415" y="14003"/>
                  </a:lnTo>
                  <a:cubicBezTo>
                    <a:pt x="13748" y="14003"/>
                    <a:pt x="14003" y="13729"/>
                    <a:pt x="14003" y="13415"/>
                  </a:cubicBezTo>
                  <a:lnTo>
                    <a:pt x="14003" y="588"/>
                  </a:lnTo>
                  <a:cubicBezTo>
                    <a:pt x="14003" y="255"/>
                    <a:pt x="13729" y="0"/>
                    <a:pt x="13415" y="0"/>
                  </a:cubicBezTo>
                  <a:lnTo>
                    <a:pt x="588" y="0"/>
                  </a:lnTo>
                  <a:close/>
                </a:path>
              </a:pathLst>
            </a:custGeom>
            <a:solidFill>
              <a:srgbClr val="FFFFFF"/>
            </a:solidFill>
            <a:ln w="0">
              <a:noFill/>
              <a:prstDash val="solid"/>
              <a:round/>
              <a:headEnd/>
              <a:tailEnd/>
            </a:ln>
          </p:spPr>
          <p:txBody>
            <a:bodyPr vert="horz" wrap="square" lIns="91427" tIns="45713" rIns="91427" bIns="4571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ysClr val="windowText" lastClr="000000"/>
                </a:solidFill>
                <a:effectLst/>
                <a:uLnTx/>
                <a:uFillTx/>
              </a:endParaRPr>
            </a:p>
          </p:txBody>
        </p:sp>
        <p:sp>
          <p:nvSpPr>
            <p:cNvPr id="78" name="Freeform 25"/>
            <p:cNvSpPr>
              <a:spLocks/>
            </p:cNvSpPr>
            <p:nvPr/>
          </p:nvSpPr>
          <p:spPr bwMode="auto">
            <a:xfrm>
              <a:off x="3046693" y="1288397"/>
              <a:ext cx="792163" cy="1311275"/>
            </a:xfrm>
            <a:custGeom>
              <a:avLst/>
              <a:gdLst>
                <a:gd name="T0" fmla="*/ 5836 w 6031"/>
                <a:gd name="T1" fmla="*/ 3721 h 10008"/>
                <a:gd name="T2" fmla="*/ 3348 w 6031"/>
                <a:gd name="T3" fmla="*/ 3721 h 10008"/>
                <a:gd name="T4" fmla="*/ 4386 w 6031"/>
                <a:gd name="T5" fmla="*/ 255 h 10008"/>
                <a:gd name="T6" fmla="*/ 4288 w 6031"/>
                <a:gd name="T7" fmla="*/ 20 h 10008"/>
                <a:gd name="T8" fmla="*/ 4210 w 6031"/>
                <a:gd name="T9" fmla="*/ 0 h 10008"/>
                <a:gd name="T10" fmla="*/ 4053 w 6031"/>
                <a:gd name="T11" fmla="*/ 78 h 10008"/>
                <a:gd name="T12" fmla="*/ 39 w 6031"/>
                <a:gd name="T13" fmla="*/ 5934 h 10008"/>
                <a:gd name="T14" fmla="*/ 19 w 6031"/>
                <a:gd name="T15" fmla="*/ 6130 h 10008"/>
                <a:gd name="T16" fmla="*/ 195 w 6031"/>
                <a:gd name="T17" fmla="*/ 6228 h 10008"/>
                <a:gd name="T18" fmla="*/ 2604 w 6031"/>
                <a:gd name="T19" fmla="*/ 6228 h 10008"/>
                <a:gd name="T20" fmla="*/ 1527 w 6031"/>
                <a:gd name="T21" fmla="*/ 9753 h 10008"/>
                <a:gd name="T22" fmla="*/ 1625 w 6031"/>
                <a:gd name="T23" fmla="*/ 9988 h 10008"/>
                <a:gd name="T24" fmla="*/ 1703 w 6031"/>
                <a:gd name="T25" fmla="*/ 10008 h 10008"/>
                <a:gd name="T26" fmla="*/ 1860 w 6031"/>
                <a:gd name="T27" fmla="*/ 9929 h 10008"/>
                <a:gd name="T28" fmla="*/ 5992 w 6031"/>
                <a:gd name="T29" fmla="*/ 4015 h 10008"/>
                <a:gd name="T30" fmla="*/ 6031 w 6031"/>
                <a:gd name="T31" fmla="*/ 3897 h 10008"/>
                <a:gd name="T32" fmla="*/ 5836 w 6031"/>
                <a:gd name="T33" fmla="*/ 3721 h 100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031" h="10008">
                  <a:moveTo>
                    <a:pt x="5836" y="3721"/>
                  </a:moveTo>
                  <a:lnTo>
                    <a:pt x="3348" y="3721"/>
                  </a:lnTo>
                  <a:lnTo>
                    <a:pt x="4386" y="255"/>
                  </a:lnTo>
                  <a:cubicBezTo>
                    <a:pt x="4406" y="157"/>
                    <a:pt x="4367" y="59"/>
                    <a:pt x="4288" y="20"/>
                  </a:cubicBezTo>
                  <a:cubicBezTo>
                    <a:pt x="4269" y="0"/>
                    <a:pt x="4230" y="0"/>
                    <a:pt x="4210" y="0"/>
                  </a:cubicBezTo>
                  <a:cubicBezTo>
                    <a:pt x="4151" y="0"/>
                    <a:pt x="4093" y="39"/>
                    <a:pt x="4053" y="78"/>
                  </a:cubicBezTo>
                  <a:lnTo>
                    <a:pt x="39" y="5934"/>
                  </a:lnTo>
                  <a:cubicBezTo>
                    <a:pt x="0" y="5993"/>
                    <a:pt x="0" y="6071"/>
                    <a:pt x="19" y="6130"/>
                  </a:cubicBezTo>
                  <a:cubicBezTo>
                    <a:pt x="58" y="6189"/>
                    <a:pt x="117" y="6228"/>
                    <a:pt x="195" y="6228"/>
                  </a:cubicBezTo>
                  <a:lnTo>
                    <a:pt x="2604" y="6228"/>
                  </a:lnTo>
                  <a:lnTo>
                    <a:pt x="1527" y="9753"/>
                  </a:lnTo>
                  <a:cubicBezTo>
                    <a:pt x="1508" y="9851"/>
                    <a:pt x="1547" y="9949"/>
                    <a:pt x="1625" y="9988"/>
                  </a:cubicBezTo>
                  <a:cubicBezTo>
                    <a:pt x="1645" y="10008"/>
                    <a:pt x="1684" y="10008"/>
                    <a:pt x="1703" y="10008"/>
                  </a:cubicBezTo>
                  <a:cubicBezTo>
                    <a:pt x="1762" y="10008"/>
                    <a:pt x="1821" y="9968"/>
                    <a:pt x="1860" y="9929"/>
                  </a:cubicBezTo>
                  <a:lnTo>
                    <a:pt x="5992" y="4015"/>
                  </a:lnTo>
                  <a:cubicBezTo>
                    <a:pt x="6012" y="3976"/>
                    <a:pt x="6031" y="3936"/>
                    <a:pt x="6031" y="3897"/>
                  </a:cubicBezTo>
                  <a:cubicBezTo>
                    <a:pt x="6031" y="3799"/>
                    <a:pt x="5933" y="3721"/>
                    <a:pt x="5836" y="3721"/>
                  </a:cubicBezTo>
                  <a:close/>
                </a:path>
              </a:pathLst>
            </a:custGeom>
            <a:solidFill>
              <a:srgbClr val="59B4D9"/>
            </a:solidFill>
            <a:ln w="0">
              <a:noFill/>
              <a:prstDash val="solid"/>
              <a:round/>
              <a:headEnd/>
              <a:tailEnd/>
            </a:ln>
          </p:spPr>
          <p:txBody>
            <a:bodyPr vert="horz" wrap="square" lIns="91427" tIns="45713" rIns="91427" bIns="4571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ysClr val="windowText" lastClr="000000"/>
                </a:solidFill>
                <a:effectLst/>
                <a:uLnTx/>
                <a:uFillTx/>
              </a:endParaRPr>
            </a:p>
          </p:txBody>
        </p:sp>
      </p:grpSp>
      <p:grpSp>
        <p:nvGrpSpPr>
          <p:cNvPr id="30" name="Group 29"/>
          <p:cNvGrpSpPr/>
          <p:nvPr/>
        </p:nvGrpSpPr>
        <p:grpSpPr>
          <a:xfrm>
            <a:off x="6642482" y="2294351"/>
            <a:ext cx="2535029" cy="514808"/>
            <a:chOff x="6643948" y="2257161"/>
            <a:chExt cx="2535029" cy="514808"/>
          </a:xfrm>
        </p:grpSpPr>
        <p:pic>
          <p:nvPicPr>
            <p:cNvPr id="7" name="Picture 6"/>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6643948" y="2257161"/>
              <a:ext cx="500430" cy="514808"/>
            </a:xfrm>
            <a:prstGeom prst="rect">
              <a:avLst/>
            </a:prstGeom>
            <a:ln>
              <a:noFill/>
            </a:ln>
          </p:spPr>
        </p:pic>
        <p:pic>
          <p:nvPicPr>
            <p:cNvPr id="8" name="Picture 7"/>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7382217" y="2355961"/>
              <a:ext cx="676962" cy="317207"/>
            </a:xfrm>
            <a:prstGeom prst="rect">
              <a:avLst/>
            </a:prstGeom>
            <a:noFill/>
            <a:ln>
              <a:noFill/>
            </a:ln>
          </p:spPr>
        </p:pic>
        <p:pic>
          <p:nvPicPr>
            <p:cNvPr id="79" name="Picture 78"/>
            <p:cNvPicPr>
              <a:picLocks noChangeAspect="1"/>
            </p:cNvPicPr>
            <p:nvPr/>
          </p:nvPicPr>
          <p:blipFill>
            <a:blip r:embed="rId4" cstate="print">
              <a:biLevel thresh="25000"/>
              <a:extLst>
                <a:ext uri="{28A0092B-C50C-407E-A947-70E740481C1C}">
                  <a14:useLocalDpi xmlns:a14="http://schemas.microsoft.com/office/drawing/2010/main" val="0"/>
                </a:ext>
              </a:extLst>
            </a:blip>
            <a:stretch>
              <a:fillRect/>
            </a:stretch>
          </p:blipFill>
          <p:spPr>
            <a:xfrm>
              <a:off x="8243410" y="2408469"/>
              <a:ext cx="935567" cy="323045"/>
            </a:xfrm>
            <a:prstGeom prst="rect">
              <a:avLst/>
            </a:prstGeom>
          </p:spPr>
        </p:pic>
      </p:grpSp>
    </p:spTree>
    <p:extLst>
      <p:ext uri="{BB962C8B-B14F-4D97-AF65-F5344CB8AC3E}">
        <p14:creationId xmlns:p14="http://schemas.microsoft.com/office/powerpoint/2010/main" val="515577792"/>
      </p:ext>
    </p:extLst>
  </p:cSld>
  <p:clrMapOvr>
    <a:masterClrMapping/>
  </p:clrMapOvr>
  <p:transition spd="med">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2" name="Freeform: Shape 71"/>
          <p:cNvSpPr/>
          <p:nvPr/>
        </p:nvSpPr>
        <p:spPr bwMode="auto">
          <a:xfrm>
            <a:off x="1833211" y="4659077"/>
            <a:ext cx="1206008" cy="1254369"/>
          </a:xfrm>
          <a:custGeom>
            <a:avLst/>
            <a:gdLst>
              <a:gd name="connsiteX0" fmla="*/ 317417 w 1206008"/>
              <a:gd name="connsiteY0" fmla="*/ 820531 h 1254369"/>
              <a:gd name="connsiteX1" fmla="*/ 888592 w 1206008"/>
              <a:gd name="connsiteY1" fmla="*/ 820531 h 1254369"/>
              <a:gd name="connsiteX2" fmla="*/ 888592 w 1206008"/>
              <a:gd name="connsiteY2" fmla="*/ 907617 h 1254369"/>
              <a:gd name="connsiteX3" fmla="*/ 317417 w 1206008"/>
              <a:gd name="connsiteY3" fmla="*/ 907617 h 1254369"/>
              <a:gd name="connsiteX4" fmla="*/ 317417 w 1206008"/>
              <a:gd name="connsiteY4" fmla="*/ 613469 h 1254369"/>
              <a:gd name="connsiteX5" fmla="*/ 888592 w 1206008"/>
              <a:gd name="connsiteY5" fmla="*/ 613469 h 1254369"/>
              <a:gd name="connsiteX6" fmla="*/ 888592 w 1206008"/>
              <a:gd name="connsiteY6" fmla="*/ 700555 h 1254369"/>
              <a:gd name="connsiteX7" fmla="*/ 317417 w 1206008"/>
              <a:gd name="connsiteY7" fmla="*/ 700555 h 1254369"/>
              <a:gd name="connsiteX8" fmla="*/ 317417 w 1206008"/>
              <a:gd name="connsiteY8" fmla="*/ 406407 h 1254369"/>
              <a:gd name="connsiteX9" fmla="*/ 888592 w 1206008"/>
              <a:gd name="connsiteY9" fmla="*/ 406407 h 1254369"/>
              <a:gd name="connsiteX10" fmla="*/ 888592 w 1206008"/>
              <a:gd name="connsiteY10" fmla="*/ 493493 h 1254369"/>
              <a:gd name="connsiteX11" fmla="*/ 317417 w 1206008"/>
              <a:gd name="connsiteY11" fmla="*/ 493493 h 1254369"/>
              <a:gd name="connsiteX12" fmla="*/ 152972 w 1206008"/>
              <a:gd name="connsiteY12" fmla="*/ 92045 h 1254369"/>
              <a:gd name="connsiteX13" fmla="*/ 93319 w 1206008"/>
              <a:gd name="connsiteY13" fmla="*/ 151696 h 1254369"/>
              <a:gd name="connsiteX14" fmla="*/ 93319 w 1206008"/>
              <a:gd name="connsiteY14" fmla="*/ 1101365 h 1254369"/>
              <a:gd name="connsiteX15" fmla="*/ 152972 w 1206008"/>
              <a:gd name="connsiteY15" fmla="*/ 1161018 h 1254369"/>
              <a:gd name="connsiteX16" fmla="*/ 1052687 w 1206008"/>
              <a:gd name="connsiteY16" fmla="*/ 1161018 h 1254369"/>
              <a:gd name="connsiteX17" fmla="*/ 1112341 w 1206008"/>
              <a:gd name="connsiteY17" fmla="*/ 1101365 h 1254369"/>
              <a:gd name="connsiteX18" fmla="*/ 1112341 w 1206008"/>
              <a:gd name="connsiteY18" fmla="*/ 291852 h 1254369"/>
              <a:gd name="connsiteX19" fmla="*/ 921493 w 1206008"/>
              <a:gd name="connsiteY19" fmla="*/ 291852 h 1254369"/>
              <a:gd name="connsiteX20" fmla="*/ 921493 w 1206008"/>
              <a:gd name="connsiteY20" fmla="*/ 92045 h 1254369"/>
              <a:gd name="connsiteX21" fmla="*/ 163222 w 1206008"/>
              <a:gd name="connsiteY21" fmla="*/ 0 h 1254369"/>
              <a:gd name="connsiteX22" fmla="*/ 956287 w 1206008"/>
              <a:gd name="connsiteY22" fmla="*/ 0 h 1254369"/>
              <a:gd name="connsiteX23" fmla="*/ 1206008 w 1206008"/>
              <a:gd name="connsiteY23" fmla="*/ 249721 h 1254369"/>
              <a:gd name="connsiteX24" fmla="*/ 1206008 w 1206008"/>
              <a:gd name="connsiteY24" fmla="*/ 1091149 h 1254369"/>
              <a:gd name="connsiteX25" fmla="*/ 1042786 w 1206008"/>
              <a:gd name="connsiteY25" fmla="*/ 1254369 h 1254369"/>
              <a:gd name="connsiteX26" fmla="*/ 163222 w 1206008"/>
              <a:gd name="connsiteY26" fmla="*/ 1254369 h 1254369"/>
              <a:gd name="connsiteX27" fmla="*/ 0 w 1206008"/>
              <a:gd name="connsiteY27" fmla="*/ 1091149 h 1254369"/>
              <a:gd name="connsiteX28" fmla="*/ 0 w 1206008"/>
              <a:gd name="connsiteY28" fmla="*/ 163220 h 1254369"/>
              <a:gd name="connsiteX29" fmla="*/ 163222 w 1206008"/>
              <a:gd name="connsiteY29" fmla="*/ 0 h 12543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06008" h="1254369">
                <a:moveTo>
                  <a:pt x="317417" y="820531"/>
                </a:moveTo>
                <a:lnTo>
                  <a:pt x="888592" y="820531"/>
                </a:lnTo>
                <a:lnTo>
                  <a:pt x="888592" y="907617"/>
                </a:lnTo>
                <a:lnTo>
                  <a:pt x="317417" y="907617"/>
                </a:lnTo>
                <a:close/>
                <a:moveTo>
                  <a:pt x="317417" y="613469"/>
                </a:moveTo>
                <a:lnTo>
                  <a:pt x="888592" y="613469"/>
                </a:lnTo>
                <a:lnTo>
                  <a:pt x="888592" y="700555"/>
                </a:lnTo>
                <a:lnTo>
                  <a:pt x="317417" y="700555"/>
                </a:lnTo>
                <a:close/>
                <a:moveTo>
                  <a:pt x="317417" y="406407"/>
                </a:moveTo>
                <a:lnTo>
                  <a:pt x="888592" y="406407"/>
                </a:lnTo>
                <a:lnTo>
                  <a:pt x="888592" y="493493"/>
                </a:lnTo>
                <a:lnTo>
                  <a:pt x="317417" y="493493"/>
                </a:lnTo>
                <a:close/>
                <a:moveTo>
                  <a:pt x="152972" y="92045"/>
                </a:moveTo>
                <a:cubicBezTo>
                  <a:pt x="120025" y="92045"/>
                  <a:pt x="93319" y="118751"/>
                  <a:pt x="93319" y="151696"/>
                </a:cubicBezTo>
                <a:lnTo>
                  <a:pt x="93319" y="1101365"/>
                </a:lnTo>
                <a:cubicBezTo>
                  <a:pt x="93319" y="1134310"/>
                  <a:pt x="120025" y="1161018"/>
                  <a:pt x="152972" y="1161018"/>
                </a:cubicBezTo>
                <a:lnTo>
                  <a:pt x="1052687" y="1161018"/>
                </a:lnTo>
                <a:cubicBezTo>
                  <a:pt x="1085632" y="1161018"/>
                  <a:pt x="1112341" y="1134312"/>
                  <a:pt x="1112341" y="1101365"/>
                </a:cubicBezTo>
                <a:lnTo>
                  <a:pt x="1112341" y="291852"/>
                </a:lnTo>
                <a:lnTo>
                  <a:pt x="921493" y="291852"/>
                </a:lnTo>
                <a:lnTo>
                  <a:pt x="921493" y="92045"/>
                </a:lnTo>
                <a:close/>
                <a:moveTo>
                  <a:pt x="163222" y="0"/>
                </a:moveTo>
                <a:lnTo>
                  <a:pt x="956287" y="0"/>
                </a:lnTo>
                <a:lnTo>
                  <a:pt x="1206008" y="249721"/>
                </a:lnTo>
                <a:lnTo>
                  <a:pt x="1206008" y="1091149"/>
                </a:lnTo>
                <a:cubicBezTo>
                  <a:pt x="1206008" y="1181292"/>
                  <a:pt x="1132931" y="1254369"/>
                  <a:pt x="1042786" y="1254369"/>
                </a:cubicBezTo>
                <a:lnTo>
                  <a:pt x="163222" y="1254369"/>
                </a:lnTo>
                <a:cubicBezTo>
                  <a:pt x="73077" y="1254369"/>
                  <a:pt x="0" y="1181292"/>
                  <a:pt x="0" y="1091149"/>
                </a:cubicBezTo>
                <a:lnTo>
                  <a:pt x="0" y="163220"/>
                </a:lnTo>
                <a:cubicBezTo>
                  <a:pt x="0" y="73075"/>
                  <a:pt x="73077" y="0"/>
                  <a:pt x="163222" y="0"/>
                </a:cubicBezTo>
                <a:close/>
              </a:path>
            </a:pathLst>
          </a:cu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5439">
                    <a:srgbClr val="F8F8F8"/>
                  </a:gs>
                  <a:gs pos="10000">
                    <a:srgbClr val="F8F8F8"/>
                  </a:gs>
                </a:gsLst>
                <a:lin ang="5400000" scaled="0"/>
              </a:gradFill>
              <a:effectLst/>
              <a:uLnTx/>
              <a:uFillTx/>
            </a:endParaRPr>
          </a:p>
        </p:txBody>
      </p:sp>
      <p:grpSp>
        <p:nvGrpSpPr>
          <p:cNvPr id="25" name="Group 24"/>
          <p:cNvGrpSpPr/>
          <p:nvPr/>
        </p:nvGrpSpPr>
        <p:grpSpPr>
          <a:xfrm>
            <a:off x="1677626" y="2998314"/>
            <a:ext cx="2513812" cy="1085432"/>
            <a:chOff x="1712523" y="2880388"/>
            <a:chExt cx="3060033" cy="1321284"/>
          </a:xfrm>
        </p:grpSpPr>
        <p:grpSp>
          <p:nvGrpSpPr>
            <p:cNvPr id="24" name="Group 23"/>
            <p:cNvGrpSpPr/>
            <p:nvPr/>
          </p:nvGrpSpPr>
          <p:grpSpPr>
            <a:xfrm rot="5400000" flipH="1">
              <a:off x="3606438" y="2626144"/>
              <a:ext cx="461922" cy="1870315"/>
              <a:chOff x="6691313" y="3808413"/>
              <a:chExt cx="131763" cy="533506"/>
            </a:xfrm>
          </p:grpSpPr>
          <p:sp>
            <p:nvSpPr>
              <p:cNvPr id="15" name="Freeform 10"/>
              <p:cNvSpPr>
                <a:spLocks/>
              </p:cNvSpPr>
              <p:nvPr/>
            </p:nvSpPr>
            <p:spPr bwMode="auto">
              <a:xfrm>
                <a:off x="6691313" y="3808413"/>
                <a:ext cx="131763" cy="511175"/>
              </a:xfrm>
              <a:custGeom>
                <a:avLst/>
                <a:gdLst>
                  <a:gd name="T0" fmla="*/ 68 w 83"/>
                  <a:gd name="T1" fmla="*/ 23 h 322"/>
                  <a:gd name="T2" fmla="*/ 68 w 83"/>
                  <a:gd name="T3" fmla="*/ 318 h 322"/>
                  <a:gd name="T4" fmla="*/ 52 w 83"/>
                  <a:gd name="T5" fmla="*/ 318 h 322"/>
                  <a:gd name="T6" fmla="*/ 52 w 83"/>
                  <a:gd name="T7" fmla="*/ 11 h 322"/>
                  <a:gd name="T8" fmla="*/ 39 w 83"/>
                  <a:gd name="T9" fmla="*/ 0 h 322"/>
                  <a:gd name="T10" fmla="*/ 39 w 83"/>
                  <a:gd name="T11" fmla="*/ 0 h 322"/>
                  <a:gd name="T12" fmla="*/ 13 w 83"/>
                  <a:gd name="T13" fmla="*/ 26 h 322"/>
                  <a:gd name="T14" fmla="*/ 13 w 83"/>
                  <a:gd name="T15" fmla="*/ 53 h 322"/>
                  <a:gd name="T16" fmla="*/ 0 w 83"/>
                  <a:gd name="T17" fmla="*/ 66 h 322"/>
                  <a:gd name="T18" fmla="*/ 0 w 83"/>
                  <a:gd name="T19" fmla="*/ 88 h 322"/>
                  <a:gd name="T20" fmla="*/ 25 w 83"/>
                  <a:gd name="T21" fmla="*/ 111 h 322"/>
                  <a:gd name="T22" fmla="*/ 25 w 83"/>
                  <a:gd name="T23" fmla="*/ 130 h 322"/>
                  <a:gd name="T24" fmla="*/ 14 w 83"/>
                  <a:gd name="T25" fmla="*/ 141 h 322"/>
                  <a:gd name="T26" fmla="*/ 14 w 83"/>
                  <a:gd name="T27" fmla="*/ 159 h 322"/>
                  <a:gd name="T28" fmla="*/ 0 w 83"/>
                  <a:gd name="T29" fmla="*/ 173 h 322"/>
                  <a:gd name="T30" fmla="*/ 0 w 83"/>
                  <a:gd name="T31" fmla="*/ 193 h 322"/>
                  <a:gd name="T32" fmla="*/ 24 w 83"/>
                  <a:gd name="T33" fmla="*/ 215 h 322"/>
                  <a:gd name="T34" fmla="*/ 24 w 83"/>
                  <a:gd name="T35" fmla="*/ 241 h 322"/>
                  <a:gd name="T36" fmla="*/ 0 w 83"/>
                  <a:gd name="T37" fmla="*/ 265 h 322"/>
                  <a:gd name="T38" fmla="*/ 0 w 83"/>
                  <a:gd name="T39" fmla="*/ 309 h 322"/>
                  <a:gd name="T40" fmla="*/ 0 w 83"/>
                  <a:gd name="T41" fmla="*/ 322 h 322"/>
                  <a:gd name="T42" fmla="*/ 83 w 83"/>
                  <a:gd name="T43" fmla="*/ 322 h 322"/>
                  <a:gd name="T44" fmla="*/ 83 w 83"/>
                  <a:gd name="T45" fmla="*/ 34 h 322"/>
                  <a:gd name="T46" fmla="*/ 68 w 83"/>
                  <a:gd name="T47" fmla="*/ 23 h 322"/>
                  <a:gd name="connsiteX0" fmla="*/ 8193 w 10000"/>
                  <a:gd name="connsiteY0" fmla="*/ 714 h 10000"/>
                  <a:gd name="connsiteX1" fmla="*/ 8193 w 10000"/>
                  <a:gd name="connsiteY1" fmla="*/ 9876 h 10000"/>
                  <a:gd name="connsiteX2" fmla="*/ 6265 w 10000"/>
                  <a:gd name="connsiteY2" fmla="*/ 342 h 10000"/>
                  <a:gd name="connsiteX3" fmla="*/ 4699 w 10000"/>
                  <a:gd name="connsiteY3" fmla="*/ 0 h 10000"/>
                  <a:gd name="connsiteX4" fmla="*/ 4699 w 10000"/>
                  <a:gd name="connsiteY4" fmla="*/ 0 h 10000"/>
                  <a:gd name="connsiteX5" fmla="*/ 1566 w 10000"/>
                  <a:gd name="connsiteY5" fmla="*/ 807 h 10000"/>
                  <a:gd name="connsiteX6" fmla="*/ 1566 w 10000"/>
                  <a:gd name="connsiteY6" fmla="*/ 1646 h 10000"/>
                  <a:gd name="connsiteX7" fmla="*/ 0 w 10000"/>
                  <a:gd name="connsiteY7" fmla="*/ 2050 h 10000"/>
                  <a:gd name="connsiteX8" fmla="*/ 0 w 10000"/>
                  <a:gd name="connsiteY8" fmla="*/ 2733 h 10000"/>
                  <a:gd name="connsiteX9" fmla="*/ 3012 w 10000"/>
                  <a:gd name="connsiteY9" fmla="*/ 3447 h 10000"/>
                  <a:gd name="connsiteX10" fmla="*/ 3012 w 10000"/>
                  <a:gd name="connsiteY10" fmla="*/ 4037 h 10000"/>
                  <a:gd name="connsiteX11" fmla="*/ 1687 w 10000"/>
                  <a:gd name="connsiteY11" fmla="*/ 4379 h 10000"/>
                  <a:gd name="connsiteX12" fmla="*/ 1687 w 10000"/>
                  <a:gd name="connsiteY12" fmla="*/ 4938 h 10000"/>
                  <a:gd name="connsiteX13" fmla="*/ 0 w 10000"/>
                  <a:gd name="connsiteY13" fmla="*/ 5373 h 10000"/>
                  <a:gd name="connsiteX14" fmla="*/ 0 w 10000"/>
                  <a:gd name="connsiteY14" fmla="*/ 5994 h 10000"/>
                  <a:gd name="connsiteX15" fmla="*/ 2892 w 10000"/>
                  <a:gd name="connsiteY15" fmla="*/ 6677 h 10000"/>
                  <a:gd name="connsiteX16" fmla="*/ 2892 w 10000"/>
                  <a:gd name="connsiteY16" fmla="*/ 7484 h 10000"/>
                  <a:gd name="connsiteX17" fmla="*/ 0 w 10000"/>
                  <a:gd name="connsiteY17" fmla="*/ 8230 h 10000"/>
                  <a:gd name="connsiteX18" fmla="*/ 0 w 10000"/>
                  <a:gd name="connsiteY18" fmla="*/ 9596 h 10000"/>
                  <a:gd name="connsiteX19" fmla="*/ 0 w 10000"/>
                  <a:gd name="connsiteY19" fmla="*/ 10000 h 10000"/>
                  <a:gd name="connsiteX20" fmla="*/ 10000 w 10000"/>
                  <a:gd name="connsiteY20" fmla="*/ 10000 h 10000"/>
                  <a:gd name="connsiteX21" fmla="*/ 10000 w 10000"/>
                  <a:gd name="connsiteY21" fmla="*/ 1056 h 10000"/>
                  <a:gd name="connsiteX22" fmla="*/ 8193 w 10000"/>
                  <a:gd name="connsiteY22" fmla="*/ 714 h 10000"/>
                  <a:gd name="connsiteX0" fmla="*/ 8193 w 10000"/>
                  <a:gd name="connsiteY0" fmla="*/ 714 h 10000"/>
                  <a:gd name="connsiteX1" fmla="*/ 6265 w 10000"/>
                  <a:gd name="connsiteY1" fmla="*/ 342 h 10000"/>
                  <a:gd name="connsiteX2" fmla="*/ 4699 w 10000"/>
                  <a:gd name="connsiteY2" fmla="*/ 0 h 10000"/>
                  <a:gd name="connsiteX3" fmla="*/ 4699 w 10000"/>
                  <a:gd name="connsiteY3" fmla="*/ 0 h 10000"/>
                  <a:gd name="connsiteX4" fmla="*/ 1566 w 10000"/>
                  <a:gd name="connsiteY4" fmla="*/ 807 h 10000"/>
                  <a:gd name="connsiteX5" fmla="*/ 1566 w 10000"/>
                  <a:gd name="connsiteY5" fmla="*/ 1646 h 10000"/>
                  <a:gd name="connsiteX6" fmla="*/ 0 w 10000"/>
                  <a:gd name="connsiteY6" fmla="*/ 2050 h 10000"/>
                  <a:gd name="connsiteX7" fmla="*/ 0 w 10000"/>
                  <a:gd name="connsiteY7" fmla="*/ 2733 h 10000"/>
                  <a:gd name="connsiteX8" fmla="*/ 3012 w 10000"/>
                  <a:gd name="connsiteY8" fmla="*/ 3447 h 10000"/>
                  <a:gd name="connsiteX9" fmla="*/ 3012 w 10000"/>
                  <a:gd name="connsiteY9" fmla="*/ 4037 h 10000"/>
                  <a:gd name="connsiteX10" fmla="*/ 1687 w 10000"/>
                  <a:gd name="connsiteY10" fmla="*/ 4379 h 10000"/>
                  <a:gd name="connsiteX11" fmla="*/ 1687 w 10000"/>
                  <a:gd name="connsiteY11" fmla="*/ 4938 h 10000"/>
                  <a:gd name="connsiteX12" fmla="*/ 0 w 10000"/>
                  <a:gd name="connsiteY12" fmla="*/ 5373 h 10000"/>
                  <a:gd name="connsiteX13" fmla="*/ 0 w 10000"/>
                  <a:gd name="connsiteY13" fmla="*/ 5994 h 10000"/>
                  <a:gd name="connsiteX14" fmla="*/ 2892 w 10000"/>
                  <a:gd name="connsiteY14" fmla="*/ 6677 h 10000"/>
                  <a:gd name="connsiteX15" fmla="*/ 2892 w 10000"/>
                  <a:gd name="connsiteY15" fmla="*/ 7484 h 10000"/>
                  <a:gd name="connsiteX16" fmla="*/ 0 w 10000"/>
                  <a:gd name="connsiteY16" fmla="*/ 8230 h 10000"/>
                  <a:gd name="connsiteX17" fmla="*/ 0 w 10000"/>
                  <a:gd name="connsiteY17" fmla="*/ 9596 h 10000"/>
                  <a:gd name="connsiteX18" fmla="*/ 0 w 10000"/>
                  <a:gd name="connsiteY18" fmla="*/ 10000 h 10000"/>
                  <a:gd name="connsiteX19" fmla="*/ 10000 w 10000"/>
                  <a:gd name="connsiteY19" fmla="*/ 10000 h 10000"/>
                  <a:gd name="connsiteX20" fmla="*/ 10000 w 10000"/>
                  <a:gd name="connsiteY20" fmla="*/ 1056 h 10000"/>
                  <a:gd name="connsiteX21" fmla="*/ 8193 w 10000"/>
                  <a:gd name="connsiteY21" fmla="*/ 714 h 10000"/>
                  <a:gd name="connsiteX0" fmla="*/ 8193 w 10000"/>
                  <a:gd name="connsiteY0" fmla="*/ 714 h 10000"/>
                  <a:gd name="connsiteX1" fmla="*/ 4699 w 10000"/>
                  <a:gd name="connsiteY1" fmla="*/ 0 h 10000"/>
                  <a:gd name="connsiteX2" fmla="*/ 4699 w 10000"/>
                  <a:gd name="connsiteY2" fmla="*/ 0 h 10000"/>
                  <a:gd name="connsiteX3" fmla="*/ 1566 w 10000"/>
                  <a:gd name="connsiteY3" fmla="*/ 807 h 10000"/>
                  <a:gd name="connsiteX4" fmla="*/ 1566 w 10000"/>
                  <a:gd name="connsiteY4" fmla="*/ 1646 h 10000"/>
                  <a:gd name="connsiteX5" fmla="*/ 0 w 10000"/>
                  <a:gd name="connsiteY5" fmla="*/ 2050 h 10000"/>
                  <a:gd name="connsiteX6" fmla="*/ 0 w 10000"/>
                  <a:gd name="connsiteY6" fmla="*/ 2733 h 10000"/>
                  <a:gd name="connsiteX7" fmla="*/ 3012 w 10000"/>
                  <a:gd name="connsiteY7" fmla="*/ 3447 h 10000"/>
                  <a:gd name="connsiteX8" fmla="*/ 3012 w 10000"/>
                  <a:gd name="connsiteY8" fmla="*/ 4037 h 10000"/>
                  <a:gd name="connsiteX9" fmla="*/ 1687 w 10000"/>
                  <a:gd name="connsiteY9" fmla="*/ 4379 h 10000"/>
                  <a:gd name="connsiteX10" fmla="*/ 1687 w 10000"/>
                  <a:gd name="connsiteY10" fmla="*/ 4938 h 10000"/>
                  <a:gd name="connsiteX11" fmla="*/ 0 w 10000"/>
                  <a:gd name="connsiteY11" fmla="*/ 5373 h 10000"/>
                  <a:gd name="connsiteX12" fmla="*/ 0 w 10000"/>
                  <a:gd name="connsiteY12" fmla="*/ 5994 h 10000"/>
                  <a:gd name="connsiteX13" fmla="*/ 2892 w 10000"/>
                  <a:gd name="connsiteY13" fmla="*/ 6677 h 10000"/>
                  <a:gd name="connsiteX14" fmla="*/ 2892 w 10000"/>
                  <a:gd name="connsiteY14" fmla="*/ 7484 h 10000"/>
                  <a:gd name="connsiteX15" fmla="*/ 0 w 10000"/>
                  <a:gd name="connsiteY15" fmla="*/ 8230 h 10000"/>
                  <a:gd name="connsiteX16" fmla="*/ 0 w 10000"/>
                  <a:gd name="connsiteY16" fmla="*/ 9596 h 10000"/>
                  <a:gd name="connsiteX17" fmla="*/ 0 w 10000"/>
                  <a:gd name="connsiteY17" fmla="*/ 10000 h 10000"/>
                  <a:gd name="connsiteX18" fmla="*/ 10000 w 10000"/>
                  <a:gd name="connsiteY18" fmla="*/ 10000 h 10000"/>
                  <a:gd name="connsiteX19" fmla="*/ 10000 w 10000"/>
                  <a:gd name="connsiteY19" fmla="*/ 1056 h 10000"/>
                  <a:gd name="connsiteX20" fmla="*/ 8193 w 10000"/>
                  <a:gd name="connsiteY20" fmla="*/ 714 h 10000"/>
                  <a:gd name="connsiteX0" fmla="*/ 10000 w 10000"/>
                  <a:gd name="connsiteY0" fmla="*/ 1056 h 10000"/>
                  <a:gd name="connsiteX1" fmla="*/ 4699 w 10000"/>
                  <a:gd name="connsiteY1" fmla="*/ 0 h 10000"/>
                  <a:gd name="connsiteX2" fmla="*/ 4699 w 10000"/>
                  <a:gd name="connsiteY2" fmla="*/ 0 h 10000"/>
                  <a:gd name="connsiteX3" fmla="*/ 1566 w 10000"/>
                  <a:gd name="connsiteY3" fmla="*/ 807 h 10000"/>
                  <a:gd name="connsiteX4" fmla="*/ 1566 w 10000"/>
                  <a:gd name="connsiteY4" fmla="*/ 1646 h 10000"/>
                  <a:gd name="connsiteX5" fmla="*/ 0 w 10000"/>
                  <a:gd name="connsiteY5" fmla="*/ 2050 h 10000"/>
                  <a:gd name="connsiteX6" fmla="*/ 0 w 10000"/>
                  <a:gd name="connsiteY6" fmla="*/ 2733 h 10000"/>
                  <a:gd name="connsiteX7" fmla="*/ 3012 w 10000"/>
                  <a:gd name="connsiteY7" fmla="*/ 3447 h 10000"/>
                  <a:gd name="connsiteX8" fmla="*/ 3012 w 10000"/>
                  <a:gd name="connsiteY8" fmla="*/ 4037 h 10000"/>
                  <a:gd name="connsiteX9" fmla="*/ 1687 w 10000"/>
                  <a:gd name="connsiteY9" fmla="*/ 4379 h 10000"/>
                  <a:gd name="connsiteX10" fmla="*/ 1687 w 10000"/>
                  <a:gd name="connsiteY10" fmla="*/ 4938 h 10000"/>
                  <a:gd name="connsiteX11" fmla="*/ 0 w 10000"/>
                  <a:gd name="connsiteY11" fmla="*/ 5373 h 10000"/>
                  <a:gd name="connsiteX12" fmla="*/ 0 w 10000"/>
                  <a:gd name="connsiteY12" fmla="*/ 5994 h 10000"/>
                  <a:gd name="connsiteX13" fmla="*/ 2892 w 10000"/>
                  <a:gd name="connsiteY13" fmla="*/ 6677 h 10000"/>
                  <a:gd name="connsiteX14" fmla="*/ 2892 w 10000"/>
                  <a:gd name="connsiteY14" fmla="*/ 7484 h 10000"/>
                  <a:gd name="connsiteX15" fmla="*/ 0 w 10000"/>
                  <a:gd name="connsiteY15" fmla="*/ 8230 h 10000"/>
                  <a:gd name="connsiteX16" fmla="*/ 0 w 10000"/>
                  <a:gd name="connsiteY16" fmla="*/ 9596 h 10000"/>
                  <a:gd name="connsiteX17" fmla="*/ 0 w 10000"/>
                  <a:gd name="connsiteY17" fmla="*/ 10000 h 10000"/>
                  <a:gd name="connsiteX18" fmla="*/ 10000 w 10000"/>
                  <a:gd name="connsiteY18" fmla="*/ 10000 h 10000"/>
                  <a:gd name="connsiteX19" fmla="*/ 10000 w 10000"/>
                  <a:gd name="connsiteY19" fmla="*/ 1056 h 10000"/>
                  <a:gd name="connsiteX0" fmla="*/ 10000 w 10000"/>
                  <a:gd name="connsiteY0" fmla="*/ 1056 h 10000"/>
                  <a:gd name="connsiteX1" fmla="*/ 4699 w 10000"/>
                  <a:gd name="connsiteY1" fmla="*/ 0 h 10000"/>
                  <a:gd name="connsiteX2" fmla="*/ 4699 w 10000"/>
                  <a:gd name="connsiteY2" fmla="*/ 0 h 10000"/>
                  <a:gd name="connsiteX3" fmla="*/ 1566 w 10000"/>
                  <a:gd name="connsiteY3" fmla="*/ 807 h 10000"/>
                  <a:gd name="connsiteX4" fmla="*/ 1566 w 10000"/>
                  <a:gd name="connsiteY4" fmla="*/ 1646 h 10000"/>
                  <a:gd name="connsiteX5" fmla="*/ 0 w 10000"/>
                  <a:gd name="connsiteY5" fmla="*/ 2050 h 10000"/>
                  <a:gd name="connsiteX6" fmla="*/ 0 w 10000"/>
                  <a:gd name="connsiteY6" fmla="*/ 2733 h 10000"/>
                  <a:gd name="connsiteX7" fmla="*/ 3012 w 10000"/>
                  <a:gd name="connsiteY7" fmla="*/ 3447 h 10000"/>
                  <a:gd name="connsiteX8" fmla="*/ 3012 w 10000"/>
                  <a:gd name="connsiteY8" fmla="*/ 4037 h 10000"/>
                  <a:gd name="connsiteX9" fmla="*/ 1687 w 10000"/>
                  <a:gd name="connsiteY9" fmla="*/ 4379 h 10000"/>
                  <a:gd name="connsiteX10" fmla="*/ 1687 w 10000"/>
                  <a:gd name="connsiteY10" fmla="*/ 4938 h 10000"/>
                  <a:gd name="connsiteX11" fmla="*/ 0 w 10000"/>
                  <a:gd name="connsiteY11" fmla="*/ 5373 h 10000"/>
                  <a:gd name="connsiteX12" fmla="*/ 0 w 10000"/>
                  <a:gd name="connsiteY12" fmla="*/ 5994 h 10000"/>
                  <a:gd name="connsiteX13" fmla="*/ 2892 w 10000"/>
                  <a:gd name="connsiteY13" fmla="*/ 6677 h 10000"/>
                  <a:gd name="connsiteX14" fmla="*/ 2892 w 10000"/>
                  <a:gd name="connsiteY14" fmla="*/ 7484 h 10000"/>
                  <a:gd name="connsiteX15" fmla="*/ 0 w 10000"/>
                  <a:gd name="connsiteY15" fmla="*/ 8230 h 10000"/>
                  <a:gd name="connsiteX16" fmla="*/ 0 w 10000"/>
                  <a:gd name="connsiteY16" fmla="*/ 10000 h 10000"/>
                  <a:gd name="connsiteX17" fmla="*/ 10000 w 10000"/>
                  <a:gd name="connsiteY17" fmla="*/ 10000 h 10000"/>
                  <a:gd name="connsiteX18" fmla="*/ 10000 w 10000"/>
                  <a:gd name="connsiteY18" fmla="*/ 1056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0000" h="10000">
                    <a:moveTo>
                      <a:pt x="10000" y="1056"/>
                    </a:moveTo>
                    <a:lnTo>
                      <a:pt x="4699" y="0"/>
                    </a:lnTo>
                    <a:lnTo>
                      <a:pt x="4699" y="0"/>
                    </a:lnTo>
                    <a:lnTo>
                      <a:pt x="1566" y="807"/>
                    </a:lnTo>
                    <a:lnTo>
                      <a:pt x="1566" y="1646"/>
                    </a:lnTo>
                    <a:lnTo>
                      <a:pt x="0" y="2050"/>
                    </a:lnTo>
                    <a:lnTo>
                      <a:pt x="0" y="2733"/>
                    </a:lnTo>
                    <a:lnTo>
                      <a:pt x="3012" y="3447"/>
                    </a:lnTo>
                    <a:lnTo>
                      <a:pt x="3012" y="4037"/>
                    </a:lnTo>
                    <a:lnTo>
                      <a:pt x="1687" y="4379"/>
                    </a:lnTo>
                    <a:lnTo>
                      <a:pt x="1687" y="4938"/>
                    </a:lnTo>
                    <a:lnTo>
                      <a:pt x="0" y="5373"/>
                    </a:lnTo>
                    <a:lnTo>
                      <a:pt x="0" y="5994"/>
                    </a:lnTo>
                    <a:lnTo>
                      <a:pt x="2892" y="6677"/>
                    </a:lnTo>
                    <a:lnTo>
                      <a:pt x="2892" y="7484"/>
                    </a:lnTo>
                    <a:lnTo>
                      <a:pt x="0" y="8230"/>
                    </a:lnTo>
                    <a:lnTo>
                      <a:pt x="0" y="10000"/>
                    </a:lnTo>
                    <a:lnTo>
                      <a:pt x="10000" y="10000"/>
                    </a:lnTo>
                    <a:lnTo>
                      <a:pt x="10000" y="1056"/>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6" name="Freeform 11"/>
              <p:cNvSpPr>
                <a:spLocks/>
              </p:cNvSpPr>
              <p:nvPr/>
            </p:nvSpPr>
            <p:spPr bwMode="auto">
              <a:xfrm>
                <a:off x="6773863" y="3854556"/>
                <a:ext cx="25400" cy="487363"/>
              </a:xfrm>
              <a:custGeom>
                <a:avLst/>
                <a:gdLst>
                  <a:gd name="T0" fmla="*/ 16 w 16"/>
                  <a:gd name="T1" fmla="*/ 307 h 307"/>
                  <a:gd name="T2" fmla="*/ 16 w 16"/>
                  <a:gd name="T3" fmla="*/ 12 h 307"/>
                  <a:gd name="T4" fmla="*/ 0 w 16"/>
                  <a:gd name="T5" fmla="*/ 0 h 307"/>
                  <a:gd name="T6" fmla="*/ 0 w 16"/>
                  <a:gd name="T7" fmla="*/ 307 h 307"/>
                  <a:gd name="T8" fmla="*/ 16 w 16"/>
                  <a:gd name="T9" fmla="*/ 307 h 307"/>
                </a:gdLst>
                <a:ahLst/>
                <a:cxnLst>
                  <a:cxn ang="0">
                    <a:pos x="T0" y="T1"/>
                  </a:cxn>
                  <a:cxn ang="0">
                    <a:pos x="T2" y="T3"/>
                  </a:cxn>
                  <a:cxn ang="0">
                    <a:pos x="T4" y="T5"/>
                  </a:cxn>
                  <a:cxn ang="0">
                    <a:pos x="T6" y="T7"/>
                  </a:cxn>
                  <a:cxn ang="0">
                    <a:pos x="T8" y="T9"/>
                  </a:cxn>
                </a:cxnLst>
                <a:rect l="0" t="0" r="r" b="b"/>
                <a:pathLst>
                  <a:path w="16" h="307">
                    <a:moveTo>
                      <a:pt x="16" y="307"/>
                    </a:moveTo>
                    <a:lnTo>
                      <a:pt x="16" y="12"/>
                    </a:lnTo>
                    <a:lnTo>
                      <a:pt x="0" y="0"/>
                    </a:lnTo>
                    <a:lnTo>
                      <a:pt x="0" y="307"/>
                    </a:lnTo>
                    <a:lnTo>
                      <a:pt x="16" y="307"/>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sp>
          <p:nvSpPr>
            <p:cNvPr id="9" name="Oval 8"/>
            <p:cNvSpPr/>
            <p:nvPr/>
          </p:nvSpPr>
          <p:spPr bwMode="auto">
            <a:xfrm>
              <a:off x="1712523" y="2880388"/>
              <a:ext cx="1323306" cy="1321284"/>
            </a:xfrm>
            <a:prstGeom prst="ellipse">
              <a:avLst/>
            </a:prstGeom>
            <a:solidFill>
              <a:srgbClr val="002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5439">
                      <a:srgbClr val="F8F8F8"/>
                    </a:gs>
                    <a:gs pos="10000">
                      <a:srgbClr val="F8F8F8"/>
                    </a:gs>
                  </a:gsLst>
                  <a:lin ang="5400000" scaled="0"/>
                </a:gradFill>
                <a:effectLst/>
                <a:uLnTx/>
                <a:uFillTx/>
              </a:endParaRPr>
            </a:p>
          </p:txBody>
        </p:sp>
        <p:pic>
          <p:nvPicPr>
            <p:cNvPr id="44" name="Picture 43"/>
            <p:cNvPicPr>
              <a:picLocks noChangeAspect="1"/>
            </p:cNvPicPr>
            <p:nvPr/>
          </p:nvPicPr>
          <p:blipFill>
            <a:blip r:embed="rId3"/>
            <a:stretch>
              <a:fillRect/>
            </a:stretch>
          </p:blipFill>
          <p:spPr>
            <a:xfrm>
              <a:off x="1846109" y="3007629"/>
              <a:ext cx="1056133" cy="1066800"/>
            </a:xfrm>
            <a:prstGeom prst="rect">
              <a:avLst/>
            </a:prstGeom>
          </p:spPr>
        </p:pic>
      </p:grpSp>
      <p:sp>
        <p:nvSpPr>
          <p:cNvPr id="2" name="Title 1"/>
          <p:cNvSpPr>
            <a:spLocks noGrp="1"/>
          </p:cNvSpPr>
          <p:nvPr>
            <p:ph type="title"/>
          </p:nvPr>
        </p:nvSpPr>
        <p:spPr/>
        <p:txBody>
          <a:bodyPr/>
          <a:lstStyle/>
          <a:p>
            <a:r>
              <a:rPr lang="en-US" dirty="0"/>
              <a:t>Encryption of data at rest*</a:t>
            </a:r>
          </a:p>
        </p:txBody>
      </p:sp>
      <p:sp>
        <p:nvSpPr>
          <p:cNvPr id="11" name="Rectangle 10"/>
          <p:cNvSpPr/>
          <p:nvPr/>
        </p:nvSpPr>
        <p:spPr bwMode="auto">
          <a:xfrm>
            <a:off x="8746729" y="4928911"/>
            <a:ext cx="2858171" cy="1223613"/>
          </a:xfrm>
          <a:prstGeom prst="rect">
            <a:avLst/>
          </a:prstGeom>
          <a:solidFill>
            <a:srgbClr val="ACD259"/>
          </a:solidFill>
          <a:ln w="3175">
            <a:noFill/>
          </a:ln>
          <a:effectLst/>
        </p:spPr>
        <p:style>
          <a:lnRef idx="0">
            <a:scrgbClr r="0" g="0" b="0"/>
          </a:lnRef>
          <a:fillRef idx="0">
            <a:scrgbClr r="0" g="0" b="0"/>
          </a:fillRef>
          <a:effectRef idx="0">
            <a:scrgbClr r="0" g="0" b="0"/>
          </a:effectRef>
          <a:fontRef idx="minor">
            <a:schemeClr val="lt1"/>
          </a:fontRef>
        </p:style>
        <p:txBody>
          <a:bodyPr spcFirstLastPara="0" vert="horz" wrap="square" lIns="17919" tIns="44808" rIns="17919" bIns="89592" numCol="1" spcCol="1270" anchor="b" anchorCtr="0">
            <a:noAutofit/>
          </a:bodyPr>
          <a:lstStyle/>
          <a:p>
            <a:pPr marL="0" marR="0" lvl="0" indent="0" algn="ctr" defTabSz="710682" eaLnBrk="1" fontAlgn="auto" latinLnBrk="0" hangingPunct="1">
              <a:lnSpc>
                <a:spcPct val="100000"/>
              </a:lnSpc>
              <a:spcBef>
                <a:spcPct val="0"/>
              </a:spcBef>
              <a:spcAft>
                <a:spcPct val="35000"/>
              </a:spcAft>
              <a:buClrTx/>
              <a:buSzTx/>
              <a:buFontTx/>
              <a:buNone/>
              <a:tabLst/>
              <a:defRPr/>
            </a:pPr>
            <a:r>
              <a:rPr kumimoji="0" lang="en-US" sz="1600" b="0" i="0" u="none" strike="noStrike" kern="0" cap="none" spc="-29"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MS PGothic" panose="020B0600070205080204" pitchFamily="34" charset="-128"/>
                <a:cs typeface="Segoe UI Semibold" panose="020B0702040204020203" pitchFamily="34" charset="0"/>
              </a:rPr>
              <a:t>Azure Key Vault</a:t>
            </a:r>
          </a:p>
        </p:txBody>
      </p:sp>
      <p:sp>
        <p:nvSpPr>
          <p:cNvPr id="27" name="TextBox 26"/>
          <p:cNvSpPr txBox="1"/>
          <p:nvPr/>
        </p:nvSpPr>
        <p:spPr>
          <a:xfrm>
            <a:off x="20034" y="6249774"/>
            <a:ext cx="2057712" cy="506901"/>
          </a:xfrm>
          <a:prstGeom prst="rect">
            <a:avLst/>
          </a:prstGeom>
          <a:noFill/>
        </p:spPr>
        <p:txBody>
          <a:bodyPr wrap="none" lIns="179285" tIns="143428" rIns="179285" bIns="143428" rtlCol="0">
            <a:spAutoFit/>
          </a:bodyPr>
          <a:lstStyle/>
          <a:p>
            <a:pPr marL="0" marR="0" lvl="0" indent="0" defTabSz="896386" eaLnBrk="1" fontAlgn="auto" latinLnBrk="0" hangingPunct="1">
              <a:lnSpc>
                <a:spcPct val="90000"/>
              </a:lnSpc>
              <a:spcBef>
                <a:spcPts val="0"/>
              </a:spcBef>
              <a:spcAft>
                <a:spcPts val="588"/>
              </a:spcAft>
              <a:buClrTx/>
              <a:buSzTx/>
              <a:buFontTx/>
              <a:buNone/>
              <a:tabLst/>
              <a:defRPr/>
            </a:pPr>
            <a:r>
              <a:rPr kumimoji="0" lang="en-US" sz="1568" b="0" i="0" u="none" strike="noStrike" kern="0" cap="none" spc="0" normalizeH="0" baseline="0" noProof="0" dirty="0">
                <a:ln>
                  <a:noFill/>
                </a:ln>
                <a:gradFill>
                  <a:gsLst>
                    <a:gs pos="2917">
                      <a:schemeClr val="tx1"/>
                    </a:gs>
                    <a:gs pos="30000">
                      <a:schemeClr val="tx1"/>
                    </a:gs>
                  </a:gsLst>
                  <a:lin ang="5400000" scaled="0"/>
                </a:gradFill>
                <a:effectLst/>
                <a:uLnTx/>
                <a:uFillTx/>
              </a:rPr>
              <a:t>* In Private Preview</a:t>
            </a:r>
          </a:p>
        </p:txBody>
      </p:sp>
      <p:sp>
        <p:nvSpPr>
          <p:cNvPr id="41" name="Text Placeholder 5"/>
          <p:cNvSpPr txBox="1">
            <a:spLocks/>
          </p:cNvSpPr>
          <p:nvPr/>
        </p:nvSpPr>
        <p:spPr>
          <a:xfrm>
            <a:off x="269239" y="1468577"/>
            <a:ext cx="6567565" cy="1169551"/>
          </a:xfrm>
          <a:prstGeom prst="rect">
            <a:avLst/>
          </a:prstGeom>
        </p:spPr>
        <p:txBody>
          <a:bodyPr vert="horz" wrap="square" lIns="146304" tIns="91440" rIns="146304" bIns="91440" rtlCol="0">
            <a:spAutoFit/>
          </a:bodyPr>
          <a:lstStyle>
            <a:lvl1pPr marL="342900" marR="0" indent="-342900" algn="l" defTabSz="914400" rtl="0" eaLnBrk="1" fontAlgn="base" latinLnBrk="0" hangingPunct="1">
              <a:lnSpc>
                <a:spcPct val="100000"/>
              </a:lnSpc>
              <a:spcBef>
                <a:spcPts val="200"/>
              </a:spcBef>
              <a:spcAft>
                <a:spcPts val="400"/>
              </a:spcAft>
              <a:buClr>
                <a:srgbClr val="50B347"/>
              </a:buClr>
              <a:buSzPct val="100000"/>
              <a:buFont typeface="Arial" charset="0"/>
              <a:buBlip>
                <a:blip r:embed="rId4"/>
              </a:buBlip>
              <a:tabLst>
                <a:tab pos="658368" algn="l"/>
              </a:tabLst>
              <a:defRPr sz="3921" kern="1200" spc="0" baseline="0">
                <a:solidFill>
                  <a:schemeClr val="tx1"/>
                </a:soli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solidFill>
                  <a:schemeClr val="tx1"/>
                </a:soli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solidFill>
                  <a:schemeClr val="tx1"/>
                </a:soli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solidFill>
                  <a:schemeClr val="tx1"/>
                </a:soli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solidFill>
                  <a:schemeClr val="tx1"/>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342900" marR="0" lvl="0" indent="-342900" algn="l" defTabSz="896386" rtl="0" eaLnBrk="1" fontAlgn="base" latinLnBrk="0" hangingPunct="1">
              <a:lnSpc>
                <a:spcPct val="100000"/>
              </a:lnSpc>
              <a:spcBef>
                <a:spcPts val="200"/>
              </a:spcBef>
              <a:spcAft>
                <a:spcPts val="400"/>
              </a:spcAft>
              <a:buClr>
                <a:srgbClr val="50B347"/>
              </a:buClr>
              <a:buSzPct val="100000"/>
              <a:buFont typeface="Arial" charset="0"/>
              <a:buBlip>
                <a:blip r:embed="rId4"/>
              </a:buBlip>
              <a:tabLst>
                <a:tab pos="658368" algn="l"/>
              </a:tabLst>
              <a:defRPr/>
            </a:pPr>
            <a:r>
              <a:rPr kumimoji="0" lang="en-US" sz="1800" b="0" i="0" u="none" strike="noStrike" kern="0" cap="none" spc="0" normalizeH="0" baseline="0" noProof="0" dirty="0">
                <a:ln>
                  <a:noFill/>
                </a:ln>
                <a:gradFill>
                  <a:gsLst>
                    <a:gs pos="1250">
                      <a:srgbClr val="505050"/>
                    </a:gs>
                    <a:gs pos="100000">
                      <a:srgbClr val="505050"/>
                    </a:gs>
                  </a:gsLst>
                  <a:lin ang="5400000" scaled="0"/>
                </a:gradFill>
                <a:effectLst/>
                <a:uLnTx/>
                <a:uFillTx/>
                <a:latin typeface="Segoe UI Light"/>
                <a:ea typeface="+mn-ea"/>
                <a:cs typeface="+mn-cs"/>
              </a:rPr>
              <a:t>Provides transparent server-side encryption</a:t>
            </a:r>
          </a:p>
          <a:p>
            <a:pPr marL="342900" marR="0" lvl="0" indent="-342900" algn="l" defTabSz="896386" rtl="0" eaLnBrk="1" fontAlgn="base" latinLnBrk="0" hangingPunct="1">
              <a:lnSpc>
                <a:spcPct val="100000"/>
              </a:lnSpc>
              <a:spcBef>
                <a:spcPts val="200"/>
              </a:spcBef>
              <a:spcAft>
                <a:spcPts val="400"/>
              </a:spcAft>
              <a:buClr>
                <a:srgbClr val="50B347"/>
              </a:buClr>
              <a:buSzPct val="100000"/>
              <a:buFont typeface="Arial" charset="0"/>
              <a:buBlip>
                <a:blip r:embed="rId4"/>
              </a:buBlip>
              <a:tabLst>
                <a:tab pos="658368" algn="l"/>
              </a:tabLst>
              <a:defRPr/>
            </a:pPr>
            <a:r>
              <a:rPr kumimoji="0" lang="en-US" sz="1800" b="0" i="0" u="none" strike="noStrike" kern="0" cap="none" spc="0" normalizeH="0" baseline="0" noProof="0" dirty="0">
                <a:ln>
                  <a:noFill/>
                </a:ln>
                <a:gradFill>
                  <a:gsLst>
                    <a:gs pos="1250">
                      <a:srgbClr val="505050"/>
                    </a:gs>
                    <a:gs pos="100000">
                      <a:srgbClr val="505050"/>
                    </a:gs>
                  </a:gsLst>
                  <a:lin ang="5400000" scaled="0"/>
                </a:gradFill>
                <a:effectLst/>
                <a:uLnTx/>
                <a:uFillTx/>
                <a:latin typeface="Segoe UI Light"/>
                <a:ea typeface="+mn-ea"/>
                <a:cs typeface="+mn-cs"/>
              </a:rPr>
              <a:t>Choice made at account creation to enable encryption</a:t>
            </a:r>
          </a:p>
          <a:p>
            <a:pPr marL="342900" marR="0" lvl="0" indent="-342900" algn="l" defTabSz="896386" rtl="0" eaLnBrk="1" fontAlgn="base" latinLnBrk="0" hangingPunct="1">
              <a:lnSpc>
                <a:spcPct val="100000"/>
              </a:lnSpc>
              <a:spcBef>
                <a:spcPts val="200"/>
              </a:spcBef>
              <a:spcAft>
                <a:spcPts val="400"/>
              </a:spcAft>
              <a:buClr>
                <a:srgbClr val="50B347"/>
              </a:buClr>
              <a:buSzPct val="100000"/>
              <a:buFont typeface="Arial" charset="0"/>
              <a:buBlip>
                <a:blip r:embed="rId4"/>
              </a:buBlip>
              <a:tabLst>
                <a:tab pos="658368" algn="l"/>
              </a:tabLst>
              <a:defRPr/>
            </a:pPr>
            <a:r>
              <a:rPr kumimoji="0" lang="en-US" sz="1800" b="0" i="0" u="none" strike="noStrike" kern="0" cap="none" spc="0" normalizeH="0" baseline="0" noProof="0" dirty="0">
                <a:ln>
                  <a:noFill/>
                </a:ln>
                <a:gradFill>
                  <a:gsLst>
                    <a:gs pos="1250">
                      <a:srgbClr val="505050"/>
                    </a:gs>
                    <a:gs pos="100000">
                      <a:srgbClr val="505050"/>
                    </a:gs>
                  </a:gsLst>
                  <a:lin ang="5400000" scaled="0"/>
                </a:gradFill>
                <a:effectLst/>
                <a:uLnTx/>
                <a:uFillTx/>
                <a:latin typeface="Segoe UI Light"/>
                <a:ea typeface="+mn-ea"/>
                <a:cs typeface="+mn-cs"/>
              </a:rPr>
              <a:t>Service managed keys or user managed keys</a:t>
            </a:r>
          </a:p>
        </p:txBody>
      </p:sp>
      <p:sp>
        <p:nvSpPr>
          <p:cNvPr id="28" name="Rectangle 27"/>
          <p:cNvSpPr/>
          <p:nvPr/>
        </p:nvSpPr>
        <p:spPr bwMode="auto">
          <a:xfrm>
            <a:off x="8746729" y="959364"/>
            <a:ext cx="2858171" cy="3796797"/>
          </a:xfrm>
          <a:prstGeom prst="rect">
            <a:avLst/>
          </a:prstGeom>
          <a:solidFill>
            <a:schemeClr val="accent1"/>
          </a:solidFill>
          <a:ln w="3175">
            <a:noFill/>
          </a:ln>
          <a:effectLst/>
        </p:spPr>
        <p:txBody>
          <a:bodyPr spcFirstLastPara="0" vert="horz" wrap="square" lIns="17919" tIns="91440" rIns="17919" bIns="89592" numCol="1" spcCol="1270" anchor="t" anchorCtr="0">
            <a:noAutofit/>
          </a:bodyPr>
          <a:lstStyle/>
          <a:p>
            <a:pPr marL="0" marR="0" lvl="0" indent="0" algn="ctr" defTabSz="914132" eaLnBrk="1" fontAlgn="auto" latinLnBrk="0" hangingPunct="1">
              <a:lnSpc>
                <a:spcPct val="90000"/>
              </a:lnSpc>
              <a:spcBef>
                <a:spcPct val="0"/>
              </a:spcBef>
              <a:spcAft>
                <a:spcPts val="588"/>
              </a:spcAft>
              <a:buClrTx/>
              <a:buSzTx/>
              <a:buFontTx/>
              <a:buNone/>
              <a:tabLst/>
              <a:defRPr/>
            </a:pPr>
            <a:r>
              <a:rPr kumimoji="0" lang="en-US" sz="1800" b="0" i="0" u="none" strike="noStrike" kern="0" cap="none" spc="-29"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MS PGothic" panose="020B0600070205080204" pitchFamily="34" charset="-128"/>
                <a:cs typeface="Segoe UI Semibold" panose="020B0702040204020203" pitchFamily="34" charset="0"/>
              </a:rPr>
              <a:t>Azure Data Lake Store</a:t>
            </a:r>
          </a:p>
        </p:txBody>
      </p:sp>
      <p:sp>
        <p:nvSpPr>
          <p:cNvPr id="42" name="Freeform 5"/>
          <p:cNvSpPr>
            <a:spLocks noEditPoints="1"/>
          </p:cNvSpPr>
          <p:nvPr/>
        </p:nvSpPr>
        <p:spPr bwMode="auto">
          <a:xfrm>
            <a:off x="9310422" y="1462129"/>
            <a:ext cx="1672191" cy="1316004"/>
          </a:xfrm>
          <a:custGeom>
            <a:avLst/>
            <a:gdLst>
              <a:gd name="T0" fmla="*/ 3752 w 5983"/>
              <a:gd name="T1" fmla="*/ 2549 h 4697"/>
              <a:gd name="T2" fmla="*/ 2693 w 5983"/>
              <a:gd name="T3" fmla="*/ 4063 h 4697"/>
              <a:gd name="T4" fmla="*/ 2651 w 5983"/>
              <a:gd name="T5" fmla="*/ 4087 h 4697"/>
              <a:gd name="T6" fmla="*/ 2627 w 5983"/>
              <a:gd name="T7" fmla="*/ 4081 h 4697"/>
              <a:gd name="T8" fmla="*/ 2603 w 5983"/>
              <a:gd name="T9" fmla="*/ 4021 h 4697"/>
              <a:gd name="T10" fmla="*/ 2878 w 5983"/>
              <a:gd name="T11" fmla="*/ 3117 h 4697"/>
              <a:gd name="T12" fmla="*/ 2262 w 5983"/>
              <a:gd name="T13" fmla="*/ 3117 h 4697"/>
              <a:gd name="T14" fmla="*/ 2214 w 5983"/>
              <a:gd name="T15" fmla="*/ 3087 h 4697"/>
              <a:gd name="T16" fmla="*/ 2220 w 5983"/>
              <a:gd name="T17" fmla="*/ 3034 h 4697"/>
              <a:gd name="T18" fmla="*/ 3249 w 5983"/>
              <a:gd name="T19" fmla="*/ 1538 h 4697"/>
              <a:gd name="T20" fmla="*/ 3291 w 5983"/>
              <a:gd name="T21" fmla="*/ 1514 h 4697"/>
              <a:gd name="T22" fmla="*/ 3315 w 5983"/>
              <a:gd name="T23" fmla="*/ 1520 h 4697"/>
              <a:gd name="T24" fmla="*/ 3339 w 5983"/>
              <a:gd name="T25" fmla="*/ 1580 h 4697"/>
              <a:gd name="T26" fmla="*/ 3075 w 5983"/>
              <a:gd name="T27" fmla="*/ 2465 h 4697"/>
              <a:gd name="T28" fmla="*/ 3710 w 5983"/>
              <a:gd name="T29" fmla="*/ 2465 h 4697"/>
              <a:gd name="T30" fmla="*/ 3763 w 5983"/>
              <a:gd name="T31" fmla="*/ 2519 h 4697"/>
              <a:gd name="T32" fmla="*/ 3752 w 5983"/>
              <a:gd name="T33" fmla="*/ 2549 h 4697"/>
              <a:gd name="T34" fmla="*/ 5750 w 5983"/>
              <a:gd name="T35" fmla="*/ 754 h 4697"/>
              <a:gd name="T36" fmla="*/ 0 w 5983"/>
              <a:gd name="T37" fmla="*/ 754 h 4697"/>
              <a:gd name="T38" fmla="*/ 0 w 5983"/>
              <a:gd name="T39" fmla="*/ 4326 h 4697"/>
              <a:gd name="T40" fmla="*/ 371 w 5983"/>
              <a:gd name="T41" fmla="*/ 4697 h 4697"/>
              <a:gd name="T42" fmla="*/ 5612 w 5983"/>
              <a:gd name="T43" fmla="*/ 4697 h 4697"/>
              <a:gd name="T44" fmla="*/ 5983 w 5983"/>
              <a:gd name="T45" fmla="*/ 4326 h 4697"/>
              <a:gd name="T46" fmla="*/ 5983 w 5983"/>
              <a:gd name="T47" fmla="*/ 1095 h 4697"/>
              <a:gd name="T48" fmla="*/ 5750 w 5983"/>
              <a:gd name="T49" fmla="*/ 754 h 4697"/>
              <a:gd name="T50" fmla="*/ 3536 w 5983"/>
              <a:gd name="T51" fmla="*/ 485 h 4697"/>
              <a:gd name="T52" fmla="*/ 3363 w 5983"/>
              <a:gd name="T53" fmla="*/ 186 h 4697"/>
              <a:gd name="T54" fmla="*/ 3040 w 5983"/>
              <a:gd name="T55" fmla="*/ 0 h 4697"/>
              <a:gd name="T56" fmla="*/ 371 w 5983"/>
              <a:gd name="T57" fmla="*/ 0 h 4697"/>
              <a:gd name="T58" fmla="*/ 0 w 5983"/>
              <a:gd name="T59" fmla="*/ 371 h 4697"/>
              <a:gd name="T60" fmla="*/ 0 w 5983"/>
              <a:gd name="T61" fmla="*/ 563 h 4697"/>
              <a:gd name="T62" fmla="*/ 3602 w 5983"/>
              <a:gd name="T63" fmla="*/ 563 h 4697"/>
              <a:gd name="T64" fmla="*/ 3536 w 5983"/>
              <a:gd name="T65" fmla="*/ 485 h 46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983" h="4697">
                <a:moveTo>
                  <a:pt x="3752" y="2549"/>
                </a:moveTo>
                <a:lnTo>
                  <a:pt x="2693" y="4063"/>
                </a:lnTo>
                <a:cubicBezTo>
                  <a:pt x="2681" y="4075"/>
                  <a:pt x="2669" y="4087"/>
                  <a:pt x="2651" y="4087"/>
                </a:cubicBezTo>
                <a:cubicBezTo>
                  <a:pt x="2645" y="4087"/>
                  <a:pt x="2633" y="4087"/>
                  <a:pt x="2627" y="4081"/>
                </a:cubicBezTo>
                <a:cubicBezTo>
                  <a:pt x="2603" y="4069"/>
                  <a:pt x="2591" y="4045"/>
                  <a:pt x="2603" y="4021"/>
                </a:cubicBezTo>
                <a:lnTo>
                  <a:pt x="2878" y="3117"/>
                </a:lnTo>
                <a:lnTo>
                  <a:pt x="2262" y="3117"/>
                </a:lnTo>
                <a:cubicBezTo>
                  <a:pt x="2244" y="3117"/>
                  <a:pt x="2226" y="3105"/>
                  <a:pt x="2214" y="3087"/>
                </a:cubicBezTo>
                <a:cubicBezTo>
                  <a:pt x="2208" y="3070"/>
                  <a:pt x="2208" y="3052"/>
                  <a:pt x="2220" y="3034"/>
                </a:cubicBezTo>
                <a:lnTo>
                  <a:pt x="3249" y="1538"/>
                </a:lnTo>
                <a:cubicBezTo>
                  <a:pt x="3261" y="1526"/>
                  <a:pt x="3273" y="1514"/>
                  <a:pt x="3291" y="1514"/>
                </a:cubicBezTo>
                <a:cubicBezTo>
                  <a:pt x="3297" y="1514"/>
                  <a:pt x="3303" y="1514"/>
                  <a:pt x="3315" y="1520"/>
                </a:cubicBezTo>
                <a:cubicBezTo>
                  <a:pt x="3339" y="1532"/>
                  <a:pt x="3351" y="1556"/>
                  <a:pt x="3339" y="1580"/>
                </a:cubicBezTo>
                <a:lnTo>
                  <a:pt x="3075" y="2465"/>
                </a:lnTo>
                <a:lnTo>
                  <a:pt x="3710" y="2465"/>
                </a:lnTo>
                <a:cubicBezTo>
                  <a:pt x="3740" y="2465"/>
                  <a:pt x="3763" y="2489"/>
                  <a:pt x="3763" y="2519"/>
                </a:cubicBezTo>
                <a:cubicBezTo>
                  <a:pt x="3763" y="2531"/>
                  <a:pt x="3758" y="2537"/>
                  <a:pt x="3752" y="2549"/>
                </a:cubicBezTo>
                <a:close/>
                <a:moveTo>
                  <a:pt x="5750" y="754"/>
                </a:moveTo>
                <a:lnTo>
                  <a:pt x="0" y="754"/>
                </a:lnTo>
                <a:lnTo>
                  <a:pt x="0" y="4326"/>
                </a:lnTo>
                <a:cubicBezTo>
                  <a:pt x="0" y="4529"/>
                  <a:pt x="168" y="4697"/>
                  <a:pt x="371" y="4697"/>
                </a:cubicBezTo>
                <a:lnTo>
                  <a:pt x="5612" y="4697"/>
                </a:lnTo>
                <a:cubicBezTo>
                  <a:pt x="5816" y="4697"/>
                  <a:pt x="5983" y="4529"/>
                  <a:pt x="5983" y="4326"/>
                </a:cubicBezTo>
                <a:lnTo>
                  <a:pt x="5983" y="1095"/>
                </a:lnTo>
                <a:cubicBezTo>
                  <a:pt x="5983" y="946"/>
                  <a:pt x="5887" y="814"/>
                  <a:pt x="5750" y="754"/>
                </a:cubicBezTo>
                <a:close/>
                <a:moveTo>
                  <a:pt x="3536" y="485"/>
                </a:moveTo>
                <a:lnTo>
                  <a:pt x="3363" y="186"/>
                </a:lnTo>
                <a:cubicBezTo>
                  <a:pt x="3297" y="72"/>
                  <a:pt x="3171" y="0"/>
                  <a:pt x="3040" y="0"/>
                </a:cubicBezTo>
                <a:lnTo>
                  <a:pt x="371" y="0"/>
                </a:lnTo>
                <a:cubicBezTo>
                  <a:pt x="168" y="0"/>
                  <a:pt x="0" y="168"/>
                  <a:pt x="0" y="371"/>
                </a:cubicBezTo>
                <a:lnTo>
                  <a:pt x="0" y="563"/>
                </a:lnTo>
                <a:lnTo>
                  <a:pt x="3602" y="563"/>
                </a:lnTo>
                <a:cubicBezTo>
                  <a:pt x="3572" y="545"/>
                  <a:pt x="3554" y="515"/>
                  <a:pt x="3536" y="485"/>
                </a:cubicBezTo>
                <a:close/>
              </a:path>
            </a:pathLst>
          </a:custGeom>
          <a:solidFill>
            <a:srgbClr val="FFFFFF"/>
          </a:solidFill>
          <a:ln w="0">
            <a:noFill/>
            <a:prstDash val="solid"/>
            <a:round/>
            <a:headEnd/>
            <a:tailEnd/>
          </a:ln>
        </p:spPr>
        <p:txBody>
          <a:bodyPr vert="horz" wrap="square" lIns="74702" tIns="37351" rIns="74702" bIns="37351" numCol="1" anchor="t" anchorCtr="0" compatLnSpc="1">
            <a:prstTxWarp prst="textNoShape">
              <a:avLst/>
            </a:prstTxWarp>
          </a:bodyPr>
          <a:lstStyle/>
          <a:p>
            <a:pPr marL="0" marR="0" lvl="0" indent="0" defTabSz="896350" eaLnBrk="1" fontAlgn="base" latinLnBrk="0" hangingPunct="1">
              <a:lnSpc>
                <a:spcPct val="100000"/>
              </a:lnSpc>
              <a:spcBef>
                <a:spcPct val="0"/>
              </a:spcBef>
              <a:spcAft>
                <a:spcPct val="0"/>
              </a:spcAft>
              <a:buClrTx/>
              <a:buSzTx/>
              <a:buFontTx/>
              <a:buNone/>
              <a:tabLst/>
              <a:defRPr/>
            </a:pPr>
            <a:endParaRPr kumimoji="0" lang="en-US" sz="2353" b="0" i="0" u="none" strike="noStrike" kern="0" cap="none" spc="0" normalizeH="0" baseline="0" noProof="0" dirty="0">
              <a:ln>
                <a:noFill/>
              </a:ln>
              <a:solidFill>
                <a:prstClr val="white"/>
              </a:solidFill>
              <a:effectLst/>
              <a:uLnTx/>
              <a:uFillTx/>
            </a:endParaRPr>
          </a:p>
        </p:txBody>
      </p:sp>
      <p:sp>
        <p:nvSpPr>
          <p:cNvPr id="33" name="Rectangle 32"/>
          <p:cNvSpPr/>
          <p:nvPr/>
        </p:nvSpPr>
        <p:spPr bwMode="auto">
          <a:xfrm>
            <a:off x="9324853" y="2932071"/>
            <a:ext cx="1696435" cy="1344637"/>
          </a:xfrm>
          <a:prstGeom prst="rect">
            <a:avLst/>
          </a:prstGeom>
          <a:solidFill>
            <a:schemeClr val="bg1">
              <a:alpha val="35000"/>
            </a:schemeClr>
          </a:solidFill>
          <a:ln>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5439">
                    <a:srgbClr val="F8F8F8"/>
                  </a:gs>
                  <a:gs pos="10000">
                    <a:srgbClr val="F8F8F8"/>
                  </a:gs>
                </a:gsLst>
                <a:lin ang="5400000" scaled="0"/>
              </a:gradFill>
              <a:effectLst/>
              <a:uLnTx/>
              <a:uFillTx/>
            </a:endParaRPr>
          </a:p>
        </p:txBody>
      </p:sp>
      <p:cxnSp>
        <p:nvCxnSpPr>
          <p:cNvPr id="45" name="Straight Connector 44"/>
          <p:cNvCxnSpPr/>
          <p:nvPr/>
        </p:nvCxnSpPr>
        <p:spPr>
          <a:xfrm rot="5400000" flipH="1">
            <a:off x="10038654" y="4779826"/>
            <a:ext cx="274320" cy="0"/>
          </a:xfrm>
          <a:prstGeom prst="line">
            <a:avLst/>
          </a:prstGeom>
          <a:noFill/>
          <a:ln w="38100" cap="sq" cmpd="sng" algn="ctr">
            <a:solidFill>
              <a:srgbClr val="7FBA00"/>
            </a:solidFill>
            <a:prstDash val="solid"/>
            <a:miter lim="800000"/>
            <a:headEnd type="none" w="med" len="med"/>
            <a:tailEnd type="none" w="med" len="med"/>
          </a:ln>
          <a:effectLst/>
        </p:spPr>
      </p:cxnSp>
      <p:cxnSp>
        <p:nvCxnSpPr>
          <p:cNvPr id="47" name="Straight Connector 46"/>
          <p:cNvCxnSpPr/>
          <p:nvPr/>
        </p:nvCxnSpPr>
        <p:spPr>
          <a:xfrm rot="16200000">
            <a:off x="6547640" y="1463060"/>
            <a:ext cx="0" cy="4023360"/>
          </a:xfrm>
          <a:prstGeom prst="line">
            <a:avLst/>
          </a:prstGeom>
          <a:noFill/>
          <a:ln w="38100" cap="sq" cmpd="sng" algn="ctr">
            <a:solidFill>
              <a:srgbClr val="7FBA00"/>
            </a:solidFill>
            <a:prstDash val="sysDash"/>
            <a:miter lim="800000"/>
            <a:headEnd type="none" w="med" len="med"/>
            <a:tailEnd type="triangle" w="lg" len="med"/>
          </a:ln>
          <a:effectLst/>
        </p:spPr>
      </p:cxnSp>
      <p:cxnSp>
        <p:nvCxnSpPr>
          <p:cNvPr id="21" name="Connector: Elbow 20"/>
          <p:cNvCxnSpPr/>
          <p:nvPr/>
        </p:nvCxnSpPr>
        <p:spPr>
          <a:xfrm flipV="1">
            <a:off x="3150757" y="4511444"/>
            <a:ext cx="5408563" cy="797387"/>
          </a:xfrm>
          <a:prstGeom prst="bentConnector3">
            <a:avLst/>
          </a:prstGeom>
          <a:ln w="38100" cap="sq">
            <a:solidFill>
              <a:srgbClr val="8EC21F"/>
            </a:solidFill>
            <a:prstDash val="sysDash"/>
            <a:miter lim="800000"/>
            <a:headEnd type="none" w="med" len="med"/>
            <a:tailEnd type="triangle" w="lg" len="med"/>
          </a:ln>
        </p:spPr>
        <p:style>
          <a:lnRef idx="1">
            <a:schemeClr val="accent1"/>
          </a:lnRef>
          <a:fillRef idx="0">
            <a:schemeClr val="accent1"/>
          </a:fillRef>
          <a:effectRef idx="0">
            <a:schemeClr val="accent1"/>
          </a:effectRef>
          <a:fontRef idx="minor">
            <a:schemeClr val="tx1"/>
          </a:fontRef>
        </p:style>
      </p:cxnSp>
      <p:sp>
        <p:nvSpPr>
          <p:cNvPr id="39" name="Freeform 55"/>
          <p:cNvSpPr/>
          <p:nvPr/>
        </p:nvSpPr>
        <p:spPr>
          <a:xfrm rot="17100000" flipH="1">
            <a:off x="10594858" y="3851222"/>
            <a:ext cx="449302" cy="212028"/>
          </a:xfrm>
          <a:custGeom>
            <a:avLst/>
            <a:gdLst>
              <a:gd name="connsiteX0" fmla="*/ 266606 w 1940082"/>
              <a:gd name="connsiteY0" fmla="*/ 257749 h 915534"/>
              <a:gd name="connsiteX1" fmla="*/ 138966 w 1940082"/>
              <a:gd name="connsiteY1" fmla="*/ 385389 h 915534"/>
              <a:gd name="connsiteX2" fmla="*/ 266606 w 1940082"/>
              <a:gd name="connsiteY2" fmla="*/ 513029 h 915534"/>
              <a:gd name="connsiteX3" fmla="*/ 394246 w 1940082"/>
              <a:gd name="connsiteY3" fmla="*/ 385389 h 915534"/>
              <a:gd name="connsiteX4" fmla="*/ 266606 w 1940082"/>
              <a:gd name="connsiteY4" fmla="*/ 257749 h 915534"/>
              <a:gd name="connsiteX5" fmla="*/ 451842 w 1940082"/>
              <a:gd name="connsiteY5" fmla="*/ 721 h 915534"/>
              <a:gd name="connsiteX6" fmla="*/ 538146 w 1940082"/>
              <a:gd name="connsiteY6" fmla="*/ 14286 h 915534"/>
              <a:gd name="connsiteX7" fmla="*/ 849661 w 1940082"/>
              <a:gd name="connsiteY7" fmla="*/ 380202 h 915534"/>
              <a:gd name="connsiteX8" fmla="*/ 1860266 w 1940082"/>
              <a:gd name="connsiteY8" fmla="*/ 650883 h 915534"/>
              <a:gd name="connsiteX9" fmla="*/ 1884586 w 1940082"/>
              <a:gd name="connsiteY9" fmla="*/ 713911 h 915534"/>
              <a:gd name="connsiteX10" fmla="*/ 1915417 w 1940082"/>
              <a:gd name="connsiteY10" fmla="*/ 784135 h 915534"/>
              <a:gd name="connsiteX11" fmla="*/ 1940082 w 1940082"/>
              <a:gd name="connsiteY11" fmla="*/ 840314 h 915534"/>
              <a:gd name="connsiteX12" fmla="*/ 1819720 w 1940082"/>
              <a:gd name="connsiteY12" fmla="*/ 909784 h 915534"/>
              <a:gd name="connsiteX13" fmla="*/ 1717905 w 1940082"/>
              <a:gd name="connsiteY13" fmla="*/ 884051 h 915534"/>
              <a:gd name="connsiteX14" fmla="*/ 1661325 w 1940082"/>
              <a:gd name="connsiteY14" fmla="*/ 915534 h 915534"/>
              <a:gd name="connsiteX15" fmla="*/ 1586937 w 1940082"/>
              <a:gd name="connsiteY15" fmla="*/ 891184 h 915534"/>
              <a:gd name="connsiteX16" fmla="*/ 1523548 w 1940082"/>
              <a:gd name="connsiteY16" fmla="*/ 784984 h 915534"/>
              <a:gd name="connsiteX17" fmla="*/ 1455671 w 1940082"/>
              <a:gd name="connsiteY17" fmla="*/ 767829 h 915534"/>
              <a:gd name="connsiteX18" fmla="*/ 1399436 w 1940082"/>
              <a:gd name="connsiteY18" fmla="*/ 792462 h 915534"/>
              <a:gd name="connsiteX19" fmla="*/ 1338416 w 1940082"/>
              <a:gd name="connsiteY19" fmla="*/ 775653 h 915534"/>
              <a:gd name="connsiteX20" fmla="*/ 1274634 w 1940082"/>
              <a:gd name="connsiteY20" fmla="*/ 813640 h 915534"/>
              <a:gd name="connsiteX21" fmla="*/ 1193389 w 1940082"/>
              <a:gd name="connsiteY21" fmla="*/ 788944 h 915534"/>
              <a:gd name="connsiteX22" fmla="*/ 1136857 w 1940082"/>
              <a:gd name="connsiteY22" fmla="*/ 683090 h 915534"/>
              <a:gd name="connsiteX23" fmla="*/ 1041899 w 1940082"/>
              <a:gd name="connsiteY23" fmla="*/ 657703 h 915534"/>
              <a:gd name="connsiteX24" fmla="*/ 935596 w 1940082"/>
              <a:gd name="connsiteY24" fmla="*/ 721014 h 915534"/>
              <a:gd name="connsiteX25" fmla="*/ 779617 w 1940082"/>
              <a:gd name="connsiteY25" fmla="*/ 678818 h 915534"/>
              <a:gd name="connsiteX26" fmla="*/ 765903 w 1940082"/>
              <a:gd name="connsiteY26" fmla="*/ 678127 h 915534"/>
              <a:gd name="connsiteX27" fmla="*/ 311240 w 1940082"/>
              <a:gd name="connsiteY27" fmla="*/ 833751 h 915534"/>
              <a:gd name="connsiteX28" fmla="*/ 14176 w 1940082"/>
              <a:gd name="connsiteY28" fmla="*/ 317490 h 915534"/>
              <a:gd name="connsiteX29" fmla="*/ 451842 w 1940082"/>
              <a:gd name="connsiteY29" fmla="*/ 721 h 915534"/>
              <a:gd name="connsiteX0" fmla="*/ 266606 w 1940082"/>
              <a:gd name="connsiteY0" fmla="*/ 257749 h 915534"/>
              <a:gd name="connsiteX1" fmla="*/ 138966 w 1940082"/>
              <a:gd name="connsiteY1" fmla="*/ 385389 h 915534"/>
              <a:gd name="connsiteX2" fmla="*/ 266606 w 1940082"/>
              <a:gd name="connsiteY2" fmla="*/ 513029 h 915534"/>
              <a:gd name="connsiteX3" fmla="*/ 394246 w 1940082"/>
              <a:gd name="connsiteY3" fmla="*/ 385389 h 915534"/>
              <a:gd name="connsiteX4" fmla="*/ 266606 w 1940082"/>
              <a:gd name="connsiteY4" fmla="*/ 257749 h 915534"/>
              <a:gd name="connsiteX5" fmla="*/ 451842 w 1940082"/>
              <a:gd name="connsiteY5" fmla="*/ 721 h 915534"/>
              <a:gd name="connsiteX6" fmla="*/ 538146 w 1940082"/>
              <a:gd name="connsiteY6" fmla="*/ 14286 h 915534"/>
              <a:gd name="connsiteX7" fmla="*/ 849661 w 1940082"/>
              <a:gd name="connsiteY7" fmla="*/ 380202 h 915534"/>
              <a:gd name="connsiteX8" fmla="*/ 1860266 w 1940082"/>
              <a:gd name="connsiteY8" fmla="*/ 650883 h 915534"/>
              <a:gd name="connsiteX9" fmla="*/ 1915417 w 1940082"/>
              <a:gd name="connsiteY9" fmla="*/ 784135 h 915534"/>
              <a:gd name="connsiteX10" fmla="*/ 1940082 w 1940082"/>
              <a:gd name="connsiteY10" fmla="*/ 840314 h 915534"/>
              <a:gd name="connsiteX11" fmla="*/ 1819720 w 1940082"/>
              <a:gd name="connsiteY11" fmla="*/ 909784 h 915534"/>
              <a:gd name="connsiteX12" fmla="*/ 1717905 w 1940082"/>
              <a:gd name="connsiteY12" fmla="*/ 884051 h 915534"/>
              <a:gd name="connsiteX13" fmla="*/ 1661325 w 1940082"/>
              <a:gd name="connsiteY13" fmla="*/ 915534 h 915534"/>
              <a:gd name="connsiteX14" fmla="*/ 1586937 w 1940082"/>
              <a:gd name="connsiteY14" fmla="*/ 891184 h 915534"/>
              <a:gd name="connsiteX15" fmla="*/ 1523548 w 1940082"/>
              <a:gd name="connsiteY15" fmla="*/ 784984 h 915534"/>
              <a:gd name="connsiteX16" fmla="*/ 1455671 w 1940082"/>
              <a:gd name="connsiteY16" fmla="*/ 767829 h 915534"/>
              <a:gd name="connsiteX17" fmla="*/ 1399436 w 1940082"/>
              <a:gd name="connsiteY17" fmla="*/ 792462 h 915534"/>
              <a:gd name="connsiteX18" fmla="*/ 1338416 w 1940082"/>
              <a:gd name="connsiteY18" fmla="*/ 775653 h 915534"/>
              <a:gd name="connsiteX19" fmla="*/ 1274634 w 1940082"/>
              <a:gd name="connsiteY19" fmla="*/ 813640 h 915534"/>
              <a:gd name="connsiteX20" fmla="*/ 1193389 w 1940082"/>
              <a:gd name="connsiteY20" fmla="*/ 788944 h 915534"/>
              <a:gd name="connsiteX21" fmla="*/ 1136857 w 1940082"/>
              <a:gd name="connsiteY21" fmla="*/ 683090 h 915534"/>
              <a:gd name="connsiteX22" fmla="*/ 1041899 w 1940082"/>
              <a:gd name="connsiteY22" fmla="*/ 657703 h 915534"/>
              <a:gd name="connsiteX23" fmla="*/ 935596 w 1940082"/>
              <a:gd name="connsiteY23" fmla="*/ 721014 h 915534"/>
              <a:gd name="connsiteX24" fmla="*/ 779617 w 1940082"/>
              <a:gd name="connsiteY24" fmla="*/ 678818 h 915534"/>
              <a:gd name="connsiteX25" fmla="*/ 765903 w 1940082"/>
              <a:gd name="connsiteY25" fmla="*/ 678127 h 915534"/>
              <a:gd name="connsiteX26" fmla="*/ 311240 w 1940082"/>
              <a:gd name="connsiteY26" fmla="*/ 833751 h 915534"/>
              <a:gd name="connsiteX27" fmla="*/ 14176 w 1940082"/>
              <a:gd name="connsiteY27" fmla="*/ 317490 h 915534"/>
              <a:gd name="connsiteX28" fmla="*/ 451842 w 1940082"/>
              <a:gd name="connsiteY28" fmla="*/ 721 h 915534"/>
              <a:gd name="connsiteX0" fmla="*/ 266606 w 1940082"/>
              <a:gd name="connsiteY0" fmla="*/ 257749 h 915534"/>
              <a:gd name="connsiteX1" fmla="*/ 138966 w 1940082"/>
              <a:gd name="connsiteY1" fmla="*/ 385389 h 915534"/>
              <a:gd name="connsiteX2" fmla="*/ 266606 w 1940082"/>
              <a:gd name="connsiteY2" fmla="*/ 513029 h 915534"/>
              <a:gd name="connsiteX3" fmla="*/ 394246 w 1940082"/>
              <a:gd name="connsiteY3" fmla="*/ 385389 h 915534"/>
              <a:gd name="connsiteX4" fmla="*/ 266606 w 1940082"/>
              <a:gd name="connsiteY4" fmla="*/ 257749 h 915534"/>
              <a:gd name="connsiteX5" fmla="*/ 451842 w 1940082"/>
              <a:gd name="connsiteY5" fmla="*/ 721 h 915534"/>
              <a:gd name="connsiteX6" fmla="*/ 538146 w 1940082"/>
              <a:gd name="connsiteY6" fmla="*/ 14286 h 915534"/>
              <a:gd name="connsiteX7" fmla="*/ 849661 w 1940082"/>
              <a:gd name="connsiteY7" fmla="*/ 380202 h 915534"/>
              <a:gd name="connsiteX8" fmla="*/ 1860266 w 1940082"/>
              <a:gd name="connsiteY8" fmla="*/ 650883 h 915534"/>
              <a:gd name="connsiteX9" fmla="*/ 1940082 w 1940082"/>
              <a:gd name="connsiteY9" fmla="*/ 840314 h 915534"/>
              <a:gd name="connsiteX10" fmla="*/ 1819720 w 1940082"/>
              <a:gd name="connsiteY10" fmla="*/ 909784 h 915534"/>
              <a:gd name="connsiteX11" fmla="*/ 1717905 w 1940082"/>
              <a:gd name="connsiteY11" fmla="*/ 884051 h 915534"/>
              <a:gd name="connsiteX12" fmla="*/ 1661325 w 1940082"/>
              <a:gd name="connsiteY12" fmla="*/ 915534 h 915534"/>
              <a:gd name="connsiteX13" fmla="*/ 1586937 w 1940082"/>
              <a:gd name="connsiteY13" fmla="*/ 891184 h 915534"/>
              <a:gd name="connsiteX14" fmla="*/ 1523548 w 1940082"/>
              <a:gd name="connsiteY14" fmla="*/ 784984 h 915534"/>
              <a:gd name="connsiteX15" fmla="*/ 1455671 w 1940082"/>
              <a:gd name="connsiteY15" fmla="*/ 767829 h 915534"/>
              <a:gd name="connsiteX16" fmla="*/ 1399436 w 1940082"/>
              <a:gd name="connsiteY16" fmla="*/ 792462 h 915534"/>
              <a:gd name="connsiteX17" fmla="*/ 1338416 w 1940082"/>
              <a:gd name="connsiteY17" fmla="*/ 775653 h 915534"/>
              <a:gd name="connsiteX18" fmla="*/ 1274634 w 1940082"/>
              <a:gd name="connsiteY18" fmla="*/ 813640 h 915534"/>
              <a:gd name="connsiteX19" fmla="*/ 1193389 w 1940082"/>
              <a:gd name="connsiteY19" fmla="*/ 788944 h 915534"/>
              <a:gd name="connsiteX20" fmla="*/ 1136857 w 1940082"/>
              <a:gd name="connsiteY20" fmla="*/ 683090 h 915534"/>
              <a:gd name="connsiteX21" fmla="*/ 1041899 w 1940082"/>
              <a:gd name="connsiteY21" fmla="*/ 657703 h 915534"/>
              <a:gd name="connsiteX22" fmla="*/ 935596 w 1940082"/>
              <a:gd name="connsiteY22" fmla="*/ 721014 h 915534"/>
              <a:gd name="connsiteX23" fmla="*/ 779617 w 1940082"/>
              <a:gd name="connsiteY23" fmla="*/ 678818 h 915534"/>
              <a:gd name="connsiteX24" fmla="*/ 765903 w 1940082"/>
              <a:gd name="connsiteY24" fmla="*/ 678127 h 915534"/>
              <a:gd name="connsiteX25" fmla="*/ 311240 w 1940082"/>
              <a:gd name="connsiteY25" fmla="*/ 833751 h 915534"/>
              <a:gd name="connsiteX26" fmla="*/ 14176 w 1940082"/>
              <a:gd name="connsiteY26" fmla="*/ 317490 h 915534"/>
              <a:gd name="connsiteX27" fmla="*/ 451842 w 1940082"/>
              <a:gd name="connsiteY27" fmla="*/ 721 h 915534"/>
              <a:gd name="connsiteX0" fmla="*/ 266606 w 1940082"/>
              <a:gd name="connsiteY0" fmla="*/ 257749 h 915534"/>
              <a:gd name="connsiteX1" fmla="*/ 138966 w 1940082"/>
              <a:gd name="connsiteY1" fmla="*/ 385389 h 915534"/>
              <a:gd name="connsiteX2" fmla="*/ 266606 w 1940082"/>
              <a:gd name="connsiteY2" fmla="*/ 513029 h 915534"/>
              <a:gd name="connsiteX3" fmla="*/ 394246 w 1940082"/>
              <a:gd name="connsiteY3" fmla="*/ 385389 h 915534"/>
              <a:gd name="connsiteX4" fmla="*/ 266606 w 1940082"/>
              <a:gd name="connsiteY4" fmla="*/ 257749 h 915534"/>
              <a:gd name="connsiteX5" fmla="*/ 451842 w 1940082"/>
              <a:gd name="connsiteY5" fmla="*/ 721 h 915534"/>
              <a:gd name="connsiteX6" fmla="*/ 538146 w 1940082"/>
              <a:gd name="connsiteY6" fmla="*/ 14286 h 915534"/>
              <a:gd name="connsiteX7" fmla="*/ 849661 w 1940082"/>
              <a:gd name="connsiteY7" fmla="*/ 380202 h 915534"/>
              <a:gd name="connsiteX8" fmla="*/ 1860266 w 1940082"/>
              <a:gd name="connsiteY8" fmla="*/ 650883 h 915534"/>
              <a:gd name="connsiteX9" fmla="*/ 1940082 w 1940082"/>
              <a:gd name="connsiteY9" fmla="*/ 840314 h 915534"/>
              <a:gd name="connsiteX10" fmla="*/ 1819720 w 1940082"/>
              <a:gd name="connsiteY10" fmla="*/ 909784 h 915534"/>
              <a:gd name="connsiteX11" fmla="*/ 1717905 w 1940082"/>
              <a:gd name="connsiteY11" fmla="*/ 884051 h 915534"/>
              <a:gd name="connsiteX12" fmla="*/ 1661325 w 1940082"/>
              <a:gd name="connsiteY12" fmla="*/ 915534 h 915534"/>
              <a:gd name="connsiteX13" fmla="*/ 1586937 w 1940082"/>
              <a:gd name="connsiteY13" fmla="*/ 891184 h 915534"/>
              <a:gd name="connsiteX14" fmla="*/ 1523548 w 1940082"/>
              <a:gd name="connsiteY14" fmla="*/ 784984 h 915534"/>
              <a:gd name="connsiteX15" fmla="*/ 1455671 w 1940082"/>
              <a:gd name="connsiteY15" fmla="*/ 767829 h 915534"/>
              <a:gd name="connsiteX16" fmla="*/ 1399436 w 1940082"/>
              <a:gd name="connsiteY16" fmla="*/ 792462 h 915534"/>
              <a:gd name="connsiteX17" fmla="*/ 1338416 w 1940082"/>
              <a:gd name="connsiteY17" fmla="*/ 775653 h 915534"/>
              <a:gd name="connsiteX18" fmla="*/ 1274634 w 1940082"/>
              <a:gd name="connsiteY18" fmla="*/ 813640 h 915534"/>
              <a:gd name="connsiteX19" fmla="*/ 1193389 w 1940082"/>
              <a:gd name="connsiteY19" fmla="*/ 788944 h 915534"/>
              <a:gd name="connsiteX20" fmla="*/ 1136857 w 1940082"/>
              <a:gd name="connsiteY20" fmla="*/ 683090 h 915534"/>
              <a:gd name="connsiteX21" fmla="*/ 1041899 w 1940082"/>
              <a:gd name="connsiteY21" fmla="*/ 657703 h 915534"/>
              <a:gd name="connsiteX22" fmla="*/ 935596 w 1940082"/>
              <a:gd name="connsiteY22" fmla="*/ 721014 h 915534"/>
              <a:gd name="connsiteX23" fmla="*/ 765903 w 1940082"/>
              <a:gd name="connsiteY23" fmla="*/ 678127 h 915534"/>
              <a:gd name="connsiteX24" fmla="*/ 311240 w 1940082"/>
              <a:gd name="connsiteY24" fmla="*/ 833751 h 915534"/>
              <a:gd name="connsiteX25" fmla="*/ 14176 w 1940082"/>
              <a:gd name="connsiteY25" fmla="*/ 317490 h 915534"/>
              <a:gd name="connsiteX26" fmla="*/ 451842 w 1940082"/>
              <a:gd name="connsiteY26" fmla="*/ 721 h 9155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940082" h="915534">
                <a:moveTo>
                  <a:pt x="266606" y="257749"/>
                </a:moveTo>
                <a:cubicBezTo>
                  <a:pt x="196112" y="257749"/>
                  <a:pt x="138966" y="314895"/>
                  <a:pt x="138966" y="385389"/>
                </a:cubicBezTo>
                <a:cubicBezTo>
                  <a:pt x="138966" y="455883"/>
                  <a:pt x="196112" y="513029"/>
                  <a:pt x="266606" y="513029"/>
                </a:cubicBezTo>
                <a:cubicBezTo>
                  <a:pt x="337100" y="513029"/>
                  <a:pt x="394246" y="455883"/>
                  <a:pt x="394246" y="385389"/>
                </a:cubicBezTo>
                <a:cubicBezTo>
                  <a:pt x="394246" y="314895"/>
                  <a:pt x="337100" y="257749"/>
                  <a:pt x="266606" y="257749"/>
                </a:cubicBezTo>
                <a:close/>
                <a:moveTo>
                  <a:pt x="451842" y="721"/>
                </a:moveTo>
                <a:cubicBezTo>
                  <a:pt x="480424" y="2363"/>
                  <a:pt x="509307" y="6823"/>
                  <a:pt x="538146" y="14286"/>
                </a:cubicBezTo>
                <a:cubicBezTo>
                  <a:pt x="707838" y="57173"/>
                  <a:pt x="830866" y="207581"/>
                  <a:pt x="849661" y="380202"/>
                </a:cubicBezTo>
                <a:lnTo>
                  <a:pt x="1860266" y="650883"/>
                </a:lnTo>
                <a:lnTo>
                  <a:pt x="1940082" y="840314"/>
                </a:lnTo>
                <a:lnTo>
                  <a:pt x="1819720" y="909784"/>
                </a:lnTo>
                <a:lnTo>
                  <a:pt x="1717905" y="884051"/>
                </a:lnTo>
                <a:lnTo>
                  <a:pt x="1661325" y="915534"/>
                </a:lnTo>
                <a:lnTo>
                  <a:pt x="1586937" y="891184"/>
                </a:lnTo>
                <a:lnTo>
                  <a:pt x="1523548" y="784984"/>
                </a:lnTo>
                <a:lnTo>
                  <a:pt x="1455671" y="767829"/>
                </a:lnTo>
                <a:lnTo>
                  <a:pt x="1399436" y="792462"/>
                </a:lnTo>
                <a:lnTo>
                  <a:pt x="1338416" y="775653"/>
                </a:lnTo>
                <a:lnTo>
                  <a:pt x="1274634" y="813640"/>
                </a:lnTo>
                <a:lnTo>
                  <a:pt x="1193389" y="788944"/>
                </a:lnTo>
                <a:lnTo>
                  <a:pt x="1136857" y="683090"/>
                </a:lnTo>
                <a:lnTo>
                  <a:pt x="1041899" y="657703"/>
                </a:lnTo>
                <a:lnTo>
                  <a:pt x="935596" y="721014"/>
                </a:lnTo>
                <a:lnTo>
                  <a:pt x="765903" y="678127"/>
                </a:lnTo>
                <a:cubicBezTo>
                  <a:pt x="669516" y="817474"/>
                  <a:pt x="487443" y="883834"/>
                  <a:pt x="311240" y="833751"/>
                </a:cubicBezTo>
                <a:cubicBezTo>
                  <a:pt x="87384" y="774399"/>
                  <a:pt x="-45214" y="541106"/>
                  <a:pt x="14176" y="317490"/>
                </a:cubicBezTo>
                <a:cubicBezTo>
                  <a:pt x="66444" y="115832"/>
                  <a:pt x="251769" y="-10771"/>
                  <a:pt x="451842" y="721"/>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4" name="Freeform 55"/>
          <p:cNvSpPr/>
          <p:nvPr/>
        </p:nvSpPr>
        <p:spPr>
          <a:xfrm rot="900000" flipH="1">
            <a:off x="9648968" y="5116618"/>
            <a:ext cx="1121174" cy="529088"/>
          </a:xfrm>
          <a:custGeom>
            <a:avLst/>
            <a:gdLst>
              <a:gd name="connsiteX0" fmla="*/ 266606 w 1940082"/>
              <a:gd name="connsiteY0" fmla="*/ 257749 h 915534"/>
              <a:gd name="connsiteX1" fmla="*/ 138966 w 1940082"/>
              <a:gd name="connsiteY1" fmla="*/ 385389 h 915534"/>
              <a:gd name="connsiteX2" fmla="*/ 266606 w 1940082"/>
              <a:gd name="connsiteY2" fmla="*/ 513029 h 915534"/>
              <a:gd name="connsiteX3" fmla="*/ 394246 w 1940082"/>
              <a:gd name="connsiteY3" fmla="*/ 385389 h 915534"/>
              <a:gd name="connsiteX4" fmla="*/ 266606 w 1940082"/>
              <a:gd name="connsiteY4" fmla="*/ 257749 h 915534"/>
              <a:gd name="connsiteX5" fmla="*/ 451842 w 1940082"/>
              <a:gd name="connsiteY5" fmla="*/ 721 h 915534"/>
              <a:gd name="connsiteX6" fmla="*/ 538146 w 1940082"/>
              <a:gd name="connsiteY6" fmla="*/ 14286 h 915534"/>
              <a:gd name="connsiteX7" fmla="*/ 849661 w 1940082"/>
              <a:gd name="connsiteY7" fmla="*/ 380202 h 915534"/>
              <a:gd name="connsiteX8" fmla="*/ 1860266 w 1940082"/>
              <a:gd name="connsiteY8" fmla="*/ 650883 h 915534"/>
              <a:gd name="connsiteX9" fmla="*/ 1884586 w 1940082"/>
              <a:gd name="connsiteY9" fmla="*/ 713911 h 915534"/>
              <a:gd name="connsiteX10" fmla="*/ 1915417 w 1940082"/>
              <a:gd name="connsiteY10" fmla="*/ 784135 h 915534"/>
              <a:gd name="connsiteX11" fmla="*/ 1940082 w 1940082"/>
              <a:gd name="connsiteY11" fmla="*/ 840314 h 915534"/>
              <a:gd name="connsiteX12" fmla="*/ 1819720 w 1940082"/>
              <a:gd name="connsiteY12" fmla="*/ 909784 h 915534"/>
              <a:gd name="connsiteX13" fmla="*/ 1717905 w 1940082"/>
              <a:gd name="connsiteY13" fmla="*/ 884051 h 915534"/>
              <a:gd name="connsiteX14" fmla="*/ 1661325 w 1940082"/>
              <a:gd name="connsiteY14" fmla="*/ 915534 h 915534"/>
              <a:gd name="connsiteX15" fmla="*/ 1586937 w 1940082"/>
              <a:gd name="connsiteY15" fmla="*/ 891184 h 915534"/>
              <a:gd name="connsiteX16" fmla="*/ 1523548 w 1940082"/>
              <a:gd name="connsiteY16" fmla="*/ 784984 h 915534"/>
              <a:gd name="connsiteX17" fmla="*/ 1455671 w 1940082"/>
              <a:gd name="connsiteY17" fmla="*/ 767829 h 915534"/>
              <a:gd name="connsiteX18" fmla="*/ 1399436 w 1940082"/>
              <a:gd name="connsiteY18" fmla="*/ 792462 h 915534"/>
              <a:gd name="connsiteX19" fmla="*/ 1338416 w 1940082"/>
              <a:gd name="connsiteY19" fmla="*/ 775653 h 915534"/>
              <a:gd name="connsiteX20" fmla="*/ 1274634 w 1940082"/>
              <a:gd name="connsiteY20" fmla="*/ 813640 h 915534"/>
              <a:gd name="connsiteX21" fmla="*/ 1193389 w 1940082"/>
              <a:gd name="connsiteY21" fmla="*/ 788944 h 915534"/>
              <a:gd name="connsiteX22" fmla="*/ 1136857 w 1940082"/>
              <a:gd name="connsiteY22" fmla="*/ 683090 h 915534"/>
              <a:gd name="connsiteX23" fmla="*/ 1041899 w 1940082"/>
              <a:gd name="connsiteY23" fmla="*/ 657703 h 915534"/>
              <a:gd name="connsiteX24" fmla="*/ 935596 w 1940082"/>
              <a:gd name="connsiteY24" fmla="*/ 721014 h 915534"/>
              <a:gd name="connsiteX25" fmla="*/ 779617 w 1940082"/>
              <a:gd name="connsiteY25" fmla="*/ 678818 h 915534"/>
              <a:gd name="connsiteX26" fmla="*/ 765903 w 1940082"/>
              <a:gd name="connsiteY26" fmla="*/ 678127 h 915534"/>
              <a:gd name="connsiteX27" fmla="*/ 311240 w 1940082"/>
              <a:gd name="connsiteY27" fmla="*/ 833751 h 915534"/>
              <a:gd name="connsiteX28" fmla="*/ 14176 w 1940082"/>
              <a:gd name="connsiteY28" fmla="*/ 317490 h 915534"/>
              <a:gd name="connsiteX29" fmla="*/ 451842 w 1940082"/>
              <a:gd name="connsiteY29" fmla="*/ 721 h 915534"/>
              <a:gd name="connsiteX0" fmla="*/ 266606 w 1940082"/>
              <a:gd name="connsiteY0" fmla="*/ 257749 h 915534"/>
              <a:gd name="connsiteX1" fmla="*/ 138966 w 1940082"/>
              <a:gd name="connsiteY1" fmla="*/ 385389 h 915534"/>
              <a:gd name="connsiteX2" fmla="*/ 266606 w 1940082"/>
              <a:gd name="connsiteY2" fmla="*/ 513029 h 915534"/>
              <a:gd name="connsiteX3" fmla="*/ 394246 w 1940082"/>
              <a:gd name="connsiteY3" fmla="*/ 385389 h 915534"/>
              <a:gd name="connsiteX4" fmla="*/ 266606 w 1940082"/>
              <a:gd name="connsiteY4" fmla="*/ 257749 h 915534"/>
              <a:gd name="connsiteX5" fmla="*/ 451842 w 1940082"/>
              <a:gd name="connsiteY5" fmla="*/ 721 h 915534"/>
              <a:gd name="connsiteX6" fmla="*/ 538146 w 1940082"/>
              <a:gd name="connsiteY6" fmla="*/ 14286 h 915534"/>
              <a:gd name="connsiteX7" fmla="*/ 849661 w 1940082"/>
              <a:gd name="connsiteY7" fmla="*/ 380202 h 915534"/>
              <a:gd name="connsiteX8" fmla="*/ 1860266 w 1940082"/>
              <a:gd name="connsiteY8" fmla="*/ 650883 h 915534"/>
              <a:gd name="connsiteX9" fmla="*/ 1915417 w 1940082"/>
              <a:gd name="connsiteY9" fmla="*/ 784135 h 915534"/>
              <a:gd name="connsiteX10" fmla="*/ 1940082 w 1940082"/>
              <a:gd name="connsiteY10" fmla="*/ 840314 h 915534"/>
              <a:gd name="connsiteX11" fmla="*/ 1819720 w 1940082"/>
              <a:gd name="connsiteY11" fmla="*/ 909784 h 915534"/>
              <a:gd name="connsiteX12" fmla="*/ 1717905 w 1940082"/>
              <a:gd name="connsiteY12" fmla="*/ 884051 h 915534"/>
              <a:gd name="connsiteX13" fmla="*/ 1661325 w 1940082"/>
              <a:gd name="connsiteY13" fmla="*/ 915534 h 915534"/>
              <a:gd name="connsiteX14" fmla="*/ 1586937 w 1940082"/>
              <a:gd name="connsiteY14" fmla="*/ 891184 h 915534"/>
              <a:gd name="connsiteX15" fmla="*/ 1523548 w 1940082"/>
              <a:gd name="connsiteY15" fmla="*/ 784984 h 915534"/>
              <a:gd name="connsiteX16" fmla="*/ 1455671 w 1940082"/>
              <a:gd name="connsiteY16" fmla="*/ 767829 h 915534"/>
              <a:gd name="connsiteX17" fmla="*/ 1399436 w 1940082"/>
              <a:gd name="connsiteY17" fmla="*/ 792462 h 915534"/>
              <a:gd name="connsiteX18" fmla="*/ 1338416 w 1940082"/>
              <a:gd name="connsiteY18" fmla="*/ 775653 h 915534"/>
              <a:gd name="connsiteX19" fmla="*/ 1274634 w 1940082"/>
              <a:gd name="connsiteY19" fmla="*/ 813640 h 915534"/>
              <a:gd name="connsiteX20" fmla="*/ 1193389 w 1940082"/>
              <a:gd name="connsiteY20" fmla="*/ 788944 h 915534"/>
              <a:gd name="connsiteX21" fmla="*/ 1136857 w 1940082"/>
              <a:gd name="connsiteY21" fmla="*/ 683090 h 915534"/>
              <a:gd name="connsiteX22" fmla="*/ 1041899 w 1940082"/>
              <a:gd name="connsiteY22" fmla="*/ 657703 h 915534"/>
              <a:gd name="connsiteX23" fmla="*/ 935596 w 1940082"/>
              <a:gd name="connsiteY23" fmla="*/ 721014 h 915534"/>
              <a:gd name="connsiteX24" fmla="*/ 779617 w 1940082"/>
              <a:gd name="connsiteY24" fmla="*/ 678818 h 915534"/>
              <a:gd name="connsiteX25" fmla="*/ 765903 w 1940082"/>
              <a:gd name="connsiteY25" fmla="*/ 678127 h 915534"/>
              <a:gd name="connsiteX26" fmla="*/ 311240 w 1940082"/>
              <a:gd name="connsiteY26" fmla="*/ 833751 h 915534"/>
              <a:gd name="connsiteX27" fmla="*/ 14176 w 1940082"/>
              <a:gd name="connsiteY27" fmla="*/ 317490 h 915534"/>
              <a:gd name="connsiteX28" fmla="*/ 451842 w 1940082"/>
              <a:gd name="connsiteY28" fmla="*/ 721 h 915534"/>
              <a:gd name="connsiteX0" fmla="*/ 266606 w 1940082"/>
              <a:gd name="connsiteY0" fmla="*/ 257749 h 915534"/>
              <a:gd name="connsiteX1" fmla="*/ 138966 w 1940082"/>
              <a:gd name="connsiteY1" fmla="*/ 385389 h 915534"/>
              <a:gd name="connsiteX2" fmla="*/ 266606 w 1940082"/>
              <a:gd name="connsiteY2" fmla="*/ 513029 h 915534"/>
              <a:gd name="connsiteX3" fmla="*/ 394246 w 1940082"/>
              <a:gd name="connsiteY3" fmla="*/ 385389 h 915534"/>
              <a:gd name="connsiteX4" fmla="*/ 266606 w 1940082"/>
              <a:gd name="connsiteY4" fmla="*/ 257749 h 915534"/>
              <a:gd name="connsiteX5" fmla="*/ 451842 w 1940082"/>
              <a:gd name="connsiteY5" fmla="*/ 721 h 915534"/>
              <a:gd name="connsiteX6" fmla="*/ 538146 w 1940082"/>
              <a:gd name="connsiteY6" fmla="*/ 14286 h 915534"/>
              <a:gd name="connsiteX7" fmla="*/ 849661 w 1940082"/>
              <a:gd name="connsiteY7" fmla="*/ 380202 h 915534"/>
              <a:gd name="connsiteX8" fmla="*/ 1860266 w 1940082"/>
              <a:gd name="connsiteY8" fmla="*/ 650883 h 915534"/>
              <a:gd name="connsiteX9" fmla="*/ 1940082 w 1940082"/>
              <a:gd name="connsiteY9" fmla="*/ 840314 h 915534"/>
              <a:gd name="connsiteX10" fmla="*/ 1819720 w 1940082"/>
              <a:gd name="connsiteY10" fmla="*/ 909784 h 915534"/>
              <a:gd name="connsiteX11" fmla="*/ 1717905 w 1940082"/>
              <a:gd name="connsiteY11" fmla="*/ 884051 h 915534"/>
              <a:gd name="connsiteX12" fmla="*/ 1661325 w 1940082"/>
              <a:gd name="connsiteY12" fmla="*/ 915534 h 915534"/>
              <a:gd name="connsiteX13" fmla="*/ 1586937 w 1940082"/>
              <a:gd name="connsiteY13" fmla="*/ 891184 h 915534"/>
              <a:gd name="connsiteX14" fmla="*/ 1523548 w 1940082"/>
              <a:gd name="connsiteY14" fmla="*/ 784984 h 915534"/>
              <a:gd name="connsiteX15" fmla="*/ 1455671 w 1940082"/>
              <a:gd name="connsiteY15" fmla="*/ 767829 h 915534"/>
              <a:gd name="connsiteX16" fmla="*/ 1399436 w 1940082"/>
              <a:gd name="connsiteY16" fmla="*/ 792462 h 915534"/>
              <a:gd name="connsiteX17" fmla="*/ 1338416 w 1940082"/>
              <a:gd name="connsiteY17" fmla="*/ 775653 h 915534"/>
              <a:gd name="connsiteX18" fmla="*/ 1274634 w 1940082"/>
              <a:gd name="connsiteY18" fmla="*/ 813640 h 915534"/>
              <a:gd name="connsiteX19" fmla="*/ 1193389 w 1940082"/>
              <a:gd name="connsiteY19" fmla="*/ 788944 h 915534"/>
              <a:gd name="connsiteX20" fmla="*/ 1136857 w 1940082"/>
              <a:gd name="connsiteY20" fmla="*/ 683090 h 915534"/>
              <a:gd name="connsiteX21" fmla="*/ 1041899 w 1940082"/>
              <a:gd name="connsiteY21" fmla="*/ 657703 h 915534"/>
              <a:gd name="connsiteX22" fmla="*/ 935596 w 1940082"/>
              <a:gd name="connsiteY22" fmla="*/ 721014 h 915534"/>
              <a:gd name="connsiteX23" fmla="*/ 779617 w 1940082"/>
              <a:gd name="connsiteY23" fmla="*/ 678818 h 915534"/>
              <a:gd name="connsiteX24" fmla="*/ 765903 w 1940082"/>
              <a:gd name="connsiteY24" fmla="*/ 678127 h 915534"/>
              <a:gd name="connsiteX25" fmla="*/ 311240 w 1940082"/>
              <a:gd name="connsiteY25" fmla="*/ 833751 h 915534"/>
              <a:gd name="connsiteX26" fmla="*/ 14176 w 1940082"/>
              <a:gd name="connsiteY26" fmla="*/ 317490 h 915534"/>
              <a:gd name="connsiteX27" fmla="*/ 451842 w 1940082"/>
              <a:gd name="connsiteY27" fmla="*/ 721 h 915534"/>
              <a:gd name="connsiteX0" fmla="*/ 266606 w 1940082"/>
              <a:gd name="connsiteY0" fmla="*/ 257749 h 915534"/>
              <a:gd name="connsiteX1" fmla="*/ 138966 w 1940082"/>
              <a:gd name="connsiteY1" fmla="*/ 385389 h 915534"/>
              <a:gd name="connsiteX2" fmla="*/ 266606 w 1940082"/>
              <a:gd name="connsiteY2" fmla="*/ 513029 h 915534"/>
              <a:gd name="connsiteX3" fmla="*/ 394246 w 1940082"/>
              <a:gd name="connsiteY3" fmla="*/ 385389 h 915534"/>
              <a:gd name="connsiteX4" fmla="*/ 266606 w 1940082"/>
              <a:gd name="connsiteY4" fmla="*/ 257749 h 915534"/>
              <a:gd name="connsiteX5" fmla="*/ 451842 w 1940082"/>
              <a:gd name="connsiteY5" fmla="*/ 721 h 915534"/>
              <a:gd name="connsiteX6" fmla="*/ 538146 w 1940082"/>
              <a:gd name="connsiteY6" fmla="*/ 14286 h 915534"/>
              <a:gd name="connsiteX7" fmla="*/ 849661 w 1940082"/>
              <a:gd name="connsiteY7" fmla="*/ 380202 h 915534"/>
              <a:gd name="connsiteX8" fmla="*/ 1860266 w 1940082"/>
              <a:gd name="connsiteY8" fmla="*/ 650883 h 915534"/>
              <a:gd name="connsiteX9" fmla="*/ 1940082 w 1940082"/>
              <a:gd name="connsiteY9" fmla="*/ 840314 h 915534"/>
              <a:gd name="connsiteX10" fmla="*/ 1819720 w 1940082"/>
              <a:gd name="connsiteY10" fmla="*/ 909784 h 915534"/>
              <a:gd name="connsiteX11" fmla="*/ 1717905 w 1940082"/>
              <a:gd name="connsiteY11" fmla="*/ 884051 h 915534"/>
              <a:gd name="connsiteX12" fmla="*/ 1661325 w 1940082"/>
              <a:gd name="connsiteY12" fmla="*/ 915534 h 915534"/>
              <a:gd name="connsiteX13" fmla="*/ 1586937 w 1940082"/>
              <a:gd name="connsiteY13" fmla="*/ 891184 h 915534"/>
              <a:gd name="connsiteX14" fmla="*/ 1523548 w 1940082"/>
              <a:gd name="connsiteY14" fmla="*/ 784984 h 915534"/>
              <a:gd name="connsiteX15" fmla="*/ 1455671 w 1940082"/>
              <a:gd name="connsiteY15" fmla="*/ 767829 h 915534"/>
              <a:gd name="connsiteX16" fmla="*/ 1399436 w 1940082"/>
              <a:gd name="connsiteY16" fmla="*/ 792462 h 915534"/>
              <a:gd name="connsiteX17" fmla="*/ 1338416 w 1940082"/>
              <a:gd name="connsiteY17" fmla="*/ 775653 h 915534"/>
              <a:gd name="connsiteX18" fmla="*/ 1274634 w 1940082"/>
              <a:gd name="connsiteY18" fmla="*/ 813640 h 915534"/>
              <a:gd name="connsiteX19" fmla="*/ 1193389 w 1940082"/>
              <a:gd name="connsiteY19" fmla="*/ 788944 h 915534"/>
              <a:gd name="connsiteX20" fmla="*/ 1136857 w 1940082"/>
              <a:gd name="connsiteY20" fmla="*/ 683090 h 915534"/>
              <a:gd name="connsiteX21" fmla="*/ 1041899 w 1940082"/>
              <a:gd name="connsiteY21" fmla="*/ 657703 h 915534"/>
              <a:gd name="connsiteX22" fmla="*/ 935596 w 1940082"/>
              <a:gd name="connsiteY22" fmla="*/ 721014 h 915534"/>
              <a:gd name="connsiteX23" fmla="*/ 765903 w 1940082"/>
              <a:gd name="connsiteY23" fmla="*/ 678127 h 915534"/>
              <a:gd name="connsiteX24" fmla="*/ 311240 w 1940082"/>
              <a:gd name="connsiteY24" fmla="*/ 833751 h 915534"/>
              <a:gd name="connsiteX25" fmla="*/ 14176 w 1940082"/>
              <a:gd name="connsiteY25" fmla="*/ 317490 h 915534"/>
              <a:gd name="connsiteX26" fmla="*/ 451842 w 1940082"/>
              <a:gd name="connsiteY26" fmla="*/ 721 h 9155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940082" h="915534">
                <a:moveTo>
                  <a:pt x="266606" y="257749"/>
                </a:moveTo>
                <a:cubicBezTo>
                  <a:pt x="196112" y="257749"/>
                  <a:pt x="138966" y="314895"/>
                  <a:pt x="138966" y="385389"/>
                </a:cubicBezTo>
                <a:cubicBezTo>
                  <a:pt x="138966" y="455883"/>
                  <a:pt x="196112" y="513029"/>
                  <a:pt x="266606" y="513029"/>
                </a:cubicBezTo>
                <a:cubicBezTo>
                  <a:pt x="337100" y="513029"/>
                  <a:pt x="394246" y="455883"/>
                  <a:pt x="394246" y="385389"/>
                </a:cubicBezTo>
                <a:cubicBezTo>
                  <a:pt x="394246" y="314895"/>
                  <a:pt x="337100" y="257749"/>
                  <a:pt x="266606" y="257749"/>
                </a:cubicBezTo>
                <a:close/>
                <a:moveTo>
                  <a:pt x="451842" y="721"/>
                </a:moveTo>
                <a:cubicBezTo>
                  <a:pt x="480424" y="2363"/>
                  <a:pt x="509307" y="6823"/>
                  <a:pt x="538146" y="14286"/>
                </a:cubicBezTo>
                <a:cubicBezTo>
                  <a:pt x="707838" y="57173"/>
                  <a:pt x="830866" y="207581"/>
                  <a:pt x="849661" y="380202"/>
                </a:cubicBezTo>
                <a:lnTo>
                  <a:pt x="1860266" y="650883"/>
                </a:lnTo>
                <a:lnTo>
                  <a:pt x="1940082" y="840314"/>
                </a:lnTo>
                <a:lnTo>
                  <a:pt x="1819720" y="909784"/>
                </a:lnTo>
                <a:lnTo>
                  <a:pt x="1717905" y="884051"/>
                </a:lnTo>
                <a:lnTo>
                  <a:pt x="1661325" y="915534"/>
                </a:lnTo>
                <a:lnTo>
                  <a:pt x="1586937" y="891184"/>
                </a:lnTo>
                <a:lnTo>
                  <a:pt x="1523548" y="784984"/>
                </a:lnTo>
                <a:lnTo>
                  <a:pt x="1455671" y="767829"/>
                </a:lnTo>
                <a:lnTo>
                  <a:pt x="1399436" y="792462"/>
                </a:lnTo>
                <a:lnTo>
                  <a:pt x="1338416" y="775653"/>
                </a:lnTo>
                <a:lnTo>
                  <a:pt x="1274634" y="813640"/>
                </a:lnTo>
                <a:lnTo>
                  <a:pt x="1193389" y="788944"/>
                </a:lnTo>
                <a:lnTo>
                  <a:pt x="1136857" y="683090"/>
                </a:lnTo>
                <a:lnTo>
                  <a:pt x="1041899" y="657703"/>
                </a:lnTo>
                <a:lnTo>
                  <a:pt x="935596" y="721014"/>
                </a:lnTo>
                <a:lnTo>
                  <a:pt x="765903" y="678127"/>
                </a:lnTo>
                <a:cubicBezTo>
                  <a:pt x="669516" y="817474"/>
                  <a:pt x="487443" y="883834"/>
                  <a:pt x="311240" y="833751"/>
                </a:cubicBezTo>
                <a:cubicBezTo>
                  <a:pt x="87384" y="774399"/>
                  <a:pt x="-45214" y="541106"/>
                  <a:pt x="14176" y="317490"/>
                </a:cubicBezTo>
                <a:cubicBezTo>
                  <a:pt x="66444" y="115832"/>
                  <a:pt x="251769" y="-10771"/>
                  <a:pt x="451842" y="721"/>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3" name="Freeform: Shape 72"/>
          <p:cNvSpPr/>
          <p:nvPr/>
        </p:nvSpPr>
        <p:spPr bwMode="auto">
          <a:xfrm>
            <a:off x="9703966" y="3144092"/>
            <a:ext cx="885102" cy="920594"/>
          </a:xfrm>
          <a:custGeom>
            <a:avLst/>
            <a:gdLst>
              <a:gd name="connsiteX0" fmla="*/ 317417 w 1206008"/>
              <a:gd name="connsiteY0" fmla="*/ 820531 h 1254369"/>
              <a:gd name="connsiteX1" fmla="*/ 888592 w 1206008"/>
              <a:gd name="connsiteY1" fmla="*/ 820531 h 1254369"/>
              <a:gd name="connsiteX2" fmla="*/ 888592 w 1206008"/>
              <a:gd name="connsiteY2" fmla="*/ 907617 h 1254369"/>
              <a:gd name="connsiteX3" fmla="*/ 317417 w 1206008"/>
              <a:gd name="connsiteY3" fmla="*/ 907617 h 1254369"/>
              <a:gd name="connsiteX4" fmla="*/ 317417 w 1206008"/>
              <a:gd name="connsiteY4" fmla="*/ 613469 h 1254369"/>
              <a:gd name="connsiteX5" fmla="*/ 888592 w 1206008"/>
              <a:gd name="connsiteY5" fmla="*/ 613469 h 1254369"/>
              <a:gd name="connsiteX6" fmla="*/ 888592 w 1206008"/>
              <a:gd name="connsiteY6" fmla="*/ 700555 h 1254369"/>
              <a:gd name="connsiteX7" fmla="*/ 317417 w 1206008"/>
              <a:gd name="connsiteY7" fmla="*/ 700555 h 1254369"/>
              <a:gd name="connsiteX8" fmla="*/ 317417 w 1206008"/>
              <a:gd name="connsiteY8" fmla="*/ 406407 h 1254369"/>
              <a:gd name="connsiteX9" fmla="*/ 888592 w 1206008"/>
              <a:gd name="connsiteY9" fmla="*/ 406407 h 1254369"/>
              <a:gd name="connsiteX10" fmla="*/ 888592 w 1206008"/>
              <a:gd name="connsiteY10" fmla="*/ 493493 h 1254369"/>
              <a:gd name="connsiteX11" fmla="*/ 317417 w 1206008"/>
              <a:gd name="connsiteY11" fmla="*/ 493493 h 1254369"/>
              <a:gd name="connsiteX12" fmla="*/ 152972 w 1206008"/>
              <a:gd name="connsiteY12" fmla="*/ 92045 h 1254369"/>
              <a:gd name="connsiteX13" fmla="*/ 93319 w 1206008"/>
              <a:gd name="connsiteY13" fmla="*/ 151696 h 1254369"/>
              <a:gd name="connsiteX14" fmla="*/ 93319 w 1206008"/>
              <a:gd name="connsiteY14" fmla="*/ 1101365 h 1254369"/>
              <a:gd name="connsiteX15" fmla="*/ 152972 w 1206008"/>
              <a:gd name="connsiteY15" fmla="*/ 1161018 h 1254369"/>
              <a:gd name="connsiteX16" fmla="*/ 1052687 w 1206008"/>
              <a:gd name="connsiteY16" fmla="*/ 1161018 h 1254369"/>
              <a:gd name="connsiteX17" fmla="*/ 1112341 w 1206008"/>
              <a:gd name="connsiteY17" fmla="*/ 1101365 h 1254369"/>
              <a:gd name="connsiteX18" fmla="*/ 1112341 w 1206008"/>
              <a:gd name="connsiteY18" fmla="*/ 291852 h 1254369"/>
              <a:gd name="connsiteX19" fmla="*/ 921493 w 1206008"/>
              <a:gd name="connsiteY19" fmla="*/ 291852 h 1254369"/>
              <a:gd name="connsiteX20" fmla="*/ 921493 w 1206008"/>
              <a:gd name="connsiteY20" fmla="*/ 92045 h 1254369"/>
              <a:gd name="connsiteX21" fmla="*/ 163222 w 1206008"/>
              <a:gd name="connsiteY21" fmla="*/ 0 h 1254369"/>
              <a:gd name="connsiteX22" fmla="*/ 956287 w 1206008"/>
              <a:gd name="connsiteY22" fmla="*/ 0 h 1254369"/>
              <a:gd name="connsiteX23" fmla="*/ 1206008 w 1206008"/>
              <a:gd name="connsiteY23" fmla="*/ 249721 h 1254369"/>
              <a:gd name="connsiteX24" fmla="*/ 1206008 w 1206008"/>
              <a:gd name="connsiteY24" fmla="*/ 1091149 h 1254369"/>
              <a:gd name="connsiteX25" fmla="*/ 1042786 w 1206008"/>
              <a:gd name="connsiteY25" fmla="*/ 1254369 h 1254369"/>
              <a:gd name="connsiteX26" fmla="*/ 163222 w 1206008"/>
              <a:gd name="connsiteY26" fmla="*/ 1254369 h 1254369"/>
              <a:gd name="connsiteX27" fmla="*/ 0 w 1206008"/>
              <a:gd name="connsiteY27" fmla="*/ 1091149 h 1254369"/>
              <a:gd name="connsiteX28" fmla="*/ 0 w 1206008"/>
              <a:gd name="connsiteY28" fmla="*/ 163220 h 1254369"/>
              <a:gd name="connsiteX29" fmla="*/ 163222 w 1206008"/>
              <a:gd name="connsiteY29" fmla="*/ 0 h 12543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06008" h="1254369">
                <a:moveTo>
                  <a:pt x="317417" y="820531"/>
                </a:moveTo>
                <a:lnTo>
                  <a:pt x="888592" y="820531"/>
                </a:lnTo>
                <a:lnTo>
                  <a:pt x="888592" y="907617"/>
                </a:lnTo>
                <a:lnTo>
                  <a:pt x="317417" y="907617"/>
                </a:lnTo>
                <a:close/>
                <a:moveTo>
                  <a:pt x="317417" y="613469"/>
                </a:moveTo>
                <a:lnTo>
                  <a:pt x="888592" y="613469"/>
                </a:lnTo>
                <a:lnTo>
                  <a:pt x="888592" y="700555"/>
                </a:lnTo>
                <a:lnTo>
                  <a:pt x="317417" y="700555"/>
                </a:lnTo>
                <a:close/>
                <a:moveTo>
                  <a:pt x="317417" y="406407"/>
                </a:moveTo>
                <a:lnTo>
                  <a:pt x="888592" y="406407"/>
                </a:lnTo>
                <a:lnTo>
                  <a:pt x="888592" y="493493"/>
                </a:lnTo>
                <a:lnTo>
                  <a:pt x="317417" y="493493"/>
                </a:lnTo>
                <a:close/>
                <a:moveTo>
                  <a:pt x="152972" y="92045"/>
                </a:moveTo>
                <a:cubicBezTo>
                  <a:pt x="120025" y="92045"/>
                  <a:pt x="93319" y="118751"/>
                  <a:pt x="93319" y="151696"/>
                </a:cubicBezTo>
                <a:lnTo>
                  <a:pt x="93319" y="1101365"/>
                </a:lnTo>
                <a:cubicBezTo>
                  <a:pt x="93319" y="1134310"/>
                  <a:pt x="120025" y="1161018"/>
                  <a:pt x="152972" y="1161018"/>
                </a:cubicBezTo>
                <a:lnTo>
                  <a:pt x="1052687" y="1161018"/>
                </a:lnTo>
                <a:cubicBezTo>
                  <a:pt x="1085632" y="1161018"/>
                  <a:pt x="1112341" y="1134312"/>
                  <a:pt x="1112341" y="1101365"/>
                </a:cubicBezTo>
                <a:lnTo>
                  <a:pt x="1112341" y="291852"/>
                </a:lnTo>
                <a:lnTo>
                  <a:pt x="921493" y="291852"/>
                </a:lnTo>
                <a:lnTo>
                  <a:pt x="921493" y="92045"/>
                </a:lnTo>
                <a:close/>
                <a:moveTo>
                  <a:pt x="163222" y="0"/>
                </a:moveTo>
                <a:lnTo>
                  <a:pt x="956287" y="0"/>
                </a:lnTo>
                <a:lnTo>
                  <a:pt x="1206008" y="249721"/>
                </a:lnTo>
                <a:lnTo>
                  <a:pt x="1206008" y="1091149"/>
                </a:lnTo>
                <a:cubicBezTo>
                  <a:pt x="1206008" y="1181292"/>
                  <a:pt x="1132931" y="1254369"/>
                  <a:pt x="1042786" y="1254369"/>
                </a:cubicBezTo>
                <a:lnTo>
                  <a:pt x="163222" y="1254369"/>
                </a:lnTo>
                <a:cubicBezTo>
                  <a:pt x="73077" y="1254369"/>
                  <a:pt x="0" y="1181292"/>
                  <a:pt x="0" y="1091149"/>
                </a:cubicBezTo>
                <a:lnTo>
                  <a:pt x="0" y="163220"/>
                </a:lnTo>
                <a:cubicBezTo>
                  <a:pt x="0" y="73075"/>
                  <a:pt x="73077" y="0"/>
                  <a:pt x="163222" y="0"/>
                </a:cubicBezTo>
                <a:close/>
              </a:path>
            </a:pathLst>
          </a:cu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5439">
                    <a:srgbClr val="F8F8F8"/>
                  </a:gs>
                  <a:gs pos="10000">
                    <a:srgbClr val="F8F8F8"/>
                  </a:gs>
                </a:gsLst>
                <a:lin ang="5400000" scaled="0"/>
              </a:gradFill>
              <a:effectLst/>
              <a:uLnTx/>
              <a:uFillTx/>
            </a:endParaRPr>
          </a:p>
        </p:txBody>
      </p:sp>
    </p:spTree>
    <p:extLst>
      <p:ext uri="{BB962C8B-B14F-4D97-AF65-F5344CB8AC3E}">
        <p14:creationId xmlns:p14="http://schemas.microsoft.com/office/powerpoint/2010/main" val="2988229840"/>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udit logs for data access</a:t>
            </a:r>
            <a:br>
              <a:rPr lang="en-US" dirty="0"/>
            </a:br>
            <a:endParaRPr lang="en-US" dirty="0"/>
          </a:p>
        </p:txBody>
      </p:sp>
      <p:sp>
        <p:nvSpPr>
          <p:cNvPr id="35" name="Text Placeholder 5"/>
          <p:cNvSpPr txBox="1">
            <a:spLocks/>
          </p:cNvSpPr>
          <p:nvPr/>
        </p:nvSpPr>
        <p:spPr>
          <a:xfrm>
            <a:off x="269239" y="1468577"/>
            <a:ext cx="6552475" cy="1169551"/>
          </a:xfrm>
          <a:prstGeom prst="rect">
            <a:avLst/>
          </a:prstGeom>
        </p:spPr>
        <p:txBody>
          <a:bodyPr vert="horz" wrap="square" lIns="146304" tIns="91440" rIns="146304" bIns="91440" rtlCol="0">
            <a:spAutoFit/>
          </a:bodyPr>
          <a:lstStyle>
            <a:lvl1pPr marL="342900" marR="0" indent="-342900" algn="l" defTabSz="914400" rtl="0" eaLnBrk="1" fontAlgn="base" latinLnBrk="0" hangingPunct="1">
              <a:lnSpc>
                <a:spcPct val="100000"/>
              </a:lnSpc>
              <a:spcBef>
                <a:spcPts val="200"/>
              </a:spcBef>
              <a:spcAft>
                <a:spcPts val="400"/>
              </a:spcAft>
              <a:buClr>
                <a:srgbClr val="50B347"/>
              </a:buClr>
              <a:buSzPct val="100000"/>
              <a:buFont typeface="Arial" charset="0"/>
              <a:buBlip>
                <a:blip r:embed="rId2"/>
              </a:buBlip>
              <a:tabLst>
                <a:tab pos="658368" algn="l"/>
              </a:tabLst>
              <a:defRPr sz="3921" kern="1200" spc="0" baseline="0">
                <a:solidFill>
                  <a:schemeClr val="tx1"/>
                </a:soli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solidFill>
                  <a:schemeClr val="tx1"/>
                </a:soli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solidFill>
                  <a:schemeClr val="tx1"/>
                </a:soli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solidFill>
                  <a:schemeClr val="tx1"/>
                </a:soli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solidFill>
                  <a:schemeClr val="tx1"/>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342900" marR="0" lvl="0" indent="-342900" algn="l" defTabSz="896386" rtl="0" eaLnBrk="1" fontAlgn="base" latinLnBrk="0" hangingPunct="1">
              <a:lnSpc>
                <a:spcPct val="100000"/>
              </a:lnSpc>
              <a:spcBef>
                <a:spcPts val="200"/>
              </a:spcBef>
              <a:spcAft>
                <a:spcPts val="400"/>
              </a:spcAft>
              <a:buClr>
                <a:srgbClr val="50B347"/>
              </a:buClr>
              <a:buSzPct val="100000"/>
              <a:buFont typeface="Arial" charset="0"/>
              <a:buBlip>
                <a:blip r:embed="rId2"/>
              </a:buBlip>
              <a:tabLst>
                <a:tab pos="658368" algn="l"/>
              </a:tabLst>
              <a:defRPr/>
            </a:pPr>
            <a:r>
              <a:rPr kumimoji="0" lang="en-US" sz="1800" b="0" i="0" u="none" strike="noStrike" kern="0" cap="none" spc="0" normalizeH="0" baseline="0" noProof="0" dirty="0">
                <a:ln>
                  <a:noFill/>
                </a:ln>
                <a:gradFill>
                  <a:gsLst>
                    <a:gs pos="1250">
                      <a:srgbClr val="505050"/>
                    </a:gs>
                    <a:gs pos="100000">
                      <a:srgbClr val="505050"/>
                    </a:gs>
                  </a:gsLst>
                  <a:lin ang="5400000" scaled="0"/>
                </a:gradFill>
                <a:effectLst/>
                <a:uLnTx/>
                <a:uFillTx/>
                <a:latin typeface="Segoe UI Light"/>
                <a:ea typeface="+mn-ea"/>
                <a:cs typeface="+mn-cs"/>
              </a:rPr>
              <a:t>Logs are available in JSON format</a:t>
            </a:r>
          </a:p>
          <a:p>
            <a:pPr marL="342900" marR="0" lvl="0" indent="-342900" algn="l" defTabSz="896386" rtl="0" eaLnBrk="1" fontAlgn="base" latinLnBrk="0" hangingPunct="1">
              <a:lnSpc>
                <a:spcPct val="100000"/>
              </a:lnSpc>
              <a:spcBef>
                <a:spcPts val="200"/>
              </a:spcBef>
              <a:spcAft>
                <a:spcPts val="400"/>
              </a:spcAft>
              <a:buClr>
                <a:srgbClr val="50B347"/>
              </a:buClr>
              <a:buSzPct val="100000"/>
              <a:buFont typeface="Arial" charset="0"/>
              <a:buBlip>
                <a:blip r:embed="rId2"/>
              </a:buBlip>
              <a:tabLst>
                <a:tab pos="658368" algn="l"/>
              </a:tabLst>
              <a:defRPr/>
            </a:pPr>
            <a:r>
              <a:rPr kumimoji="0" lang="en-US" sz="1800" b="0" i="0" u="none" strike="noStrike" kern="0" cap="none" spc="0" normalizeH="0" baseline="0" noProof="0" dirty="0">
                <a:ln>
                  <a:noFill/>
                </a:ln>
                <a:gradFill>
                  <a:gsLst>
                    <a:gs pos="1250">
                      <a:srgbClr val="505050"/>
                    </a:gs>
                    <a:gs pos="100000">
                      <a:srgbClr val="505050"/>
                    </a:gs>
                  </a:gsLst>
                  <a:lin ang="5400000" scaled="0"/>
                </a:gradFill>
                <a:effectLst/>
                <a:uLnTx/>
                <a:uFillTx/>
                <a:latin typeface="Segoe UI Light"/>
                <a:ea typeface="+mn-ea"/>
                <a:cs typeface="+mn-cs"/>
              </a:rPr>
              <a:t>Sample U-SQL scripts are available on </a:t>
            </a:r>
            <a:r>
              <a:rPr kumimoji="0" lang="en-US" sz="1800" b="0" i="0" u="none" strike="noStrike" kern="0" cap="none" spc="0" normalizeH="0" baseline="0" noProof="0" dirty="0">
                <a:ln>
                  <a:noFill/>
                </a:ln>
                <a:gradFill>
                  <a:gsLst>
                    <a:gs pos="1250">
                      <a:srgbClr val="505050"/>
                    </a:gs>
                    <a:gs pos="100000">
                      <a:srgbClr val="505050"/>
                    </a:gs>
                  </a:gsLst>
                  <a:lin ang="5400000" scaled="0"/>
                </a:gradFill>
                <a:effectLst/>
                <a:uLnTx/>
                <a:uFillTx/>
                <a:latin typeface="Segoe UI Light"/>
                <a:ea typeface="+mn-ea"/>
                <a:cs typeface="+mn-cs"/>
                <a:hlinkClick r:id="rId3"/>
              </a:rPr>
              <a:t>GitHub</a:t>
            </a:r>
            <a:r>
              <a:rPr kumimoji="0" lang="en-US" sz="1800" b="0" i="0" u="none" strike="noStrike" kern="0" cap="none" spc="0" normalizeH="0" baseline="0" noProof="0" dirty="0">
                <a:ln>
                  <a:noFill/>
                </a:ln>
                <a:gradFill>
                  <a:gsLst>
                    <a:gs pos="1250">
                      <a:srgbClr val="505050"/>
                    </a:gs>
                    <a:gs pos="100000">
                      <a:srgbClr val="505050"/>
                    </a:gs>
                  </a:gsLst>
                  <a:lin ang="5400000" scaled="0"/>
                </a:gradFill>
                <a:effectLst/>
                <a:uLnTx/>
                <a:uFillTx/>
                <a:latin typeface="Segoe UI Light"/>
                <a:ea typeface="+mn-ea"/>
                <a:cs typeface="+mn-cs"/>
              </a:rPr>
              <a:t> to-read logs</a:t>
            </a:r>
          </a:p>
          <a:p>
            <a:pPr marL="342900" marR="0" lvl="0" indent="-342900" algn="l" defTabSz="896386" rtl="0" eaLnBrk="1" fontAlgn="base" latinLnBrk="0" hangingPunct="1">
              <a:lnSpc>
                <a:spcPct val="100000"/>
              </a:lnSpc>
              <a:spcBef>
                <a:spcPts val="200"/>
              </a:spcBef>
              <a:spcAft>
                <a:spcPts val="400"/>
              </a:spcAft>
              <a:buClr>
                <a:srgbClr val="50B347"/>
              </a:buClr>
              <a:buSzPct val="100000"/>
              <a:buFont typeface="Arial" charset="0"/>
              <a:buBlip>
                <a:blip r:embed="rId2"/>
              </a:buBlip>
              <a:tabLst>
                <a:tab pos="658368" algn="l"/>
              </a:tabLst>
              <a:defRPr/>
            </a:pPr>
            <a:r>
              <a:rPr kumimoji="0" lang="en-US" sz="1800" b="0" i="0" u="none" strike="noStrike" kern="0" cap="none" spc="0" normalizeH="0" baseline="0" noProof="0" dirty="0">
                <a:ln>
                  <a:noFill/>
                </a:ln>
                <a:gradFill>
                  <a:gsLst>
                    <a:gs pos="1250">
                      <a:srgbClr val="505050"/>
                    </a:gs>
                    <a:gs pos="100000">
                      <a:srgbClr val="505050"/>
                    </a:gs>
                  </a:gsLst>
                  <a:lin ang="5400000" scaled="0"/>
                </a:gradFill>
                <a:effectLst/>
                <a:uLnTx/>
                <a:uFillTx/>
                <a:latin typeface="Segoe UI Light"/>
                <a:ea typeface="+mn-ea"/>
                <a:cs typeface="+mn-cs"/>
              </a:rPr>
              <a:t>Enhancement to logs will continue through GA</a:t>
            </a:r>
          </a:p>
        </p:txBody>
      </p:sp>
      <p:pic>
        <p:nvPicPr>
          <p:cNvPr id="40" name="Picture 39"/>
          <p:cNvPicPr>
            <a:picLocks noChangeAspect="1"/>
          </p:cNvPicPr>
          <p:nvPr/>
        </p:nvPicPr>
        <p:blipFill>
          <a:blip r:embed="rId4"/>
          <a:stretch>
            <a:fillRect/>
          </a:stretch>
        </p:blipFill>
        <p:spPr>
          <a:xfrm>
            <a:off x="1540789" y="5262142"/>
            <a:ext cx="1056133" cy="1066800"/>
          </a:xfrm>
          <a:prstGeom prst="rect">
            <a:avLst/>
          </a:prstGeom>
        </p:spPr>
      </p:pic>
      <p:sp>
        <p:nvSpPr>
          <p:cNvPr id="56" name="Rectangle 55"/>
          <p:cNvSpPr/>
          <p:nvPr/>
        </p:nvSpPr>
        <p:spPr bwMode="auto">
          <a:xfrm>
            <a:off x="693871" y="3094147"/>
            <a:ext cx="2749968" cy="1601706"/>
          </a:xfrm>
          <a:prstGeom prst="rect">
            <a:avLst/>
          </a:prstGeom>
          <a:solidFill>
            <a:schemeClr val="tx2"/>
          </a:solidFill>
          <a:ln w="25400">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91440" rIns="91440" bIns="91440" numCol="1" rtlCol="0" anchor="t" anchorCtr="0" compatLnSpc="1">
            <a:prstTxWarp prst="textNoShape">
              <a:avLst/>
            </a:prstTxWarp>
          </a:bodyPr>
          <a:lstStyle/>
          <a:p>
            <a:pPr marL="0" marR="0" lvl="0" indent="0" algn="ctr" defTabSz="914132" eaLnBrk="1" fontAlgn="auto" latinLnBrk="0" hangingPunct="1">
              <a:lnSpc>
                <a:spcPct val="90000"/>
              </a:lnSpc>
              <a:spcBef>
                <a:spcPct val="0"/>
              </a:spcBef>
              <a:spcAft>
                <a:spcPts val="588"/>
              </a:spcAft>
              <a:buClrTx/>
              <a:buSzTx/>
              <a:buFontTx/>
              <a:buNone/>
              <a:tabLst/>
              <a:defRPr/>
            </a:pPr>
            <a:r>
              <a:rPr kumimoji="0" lang="en-US" sz="1600" b="0" i="0" u="none" strike="noStrike" kern="0" cap="none" spc="-29"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MS PGothic" panose="020B0600070205080204" pitchFamily="34" charset="-128"/>
                <a:cs typeface="Segoe UI Semibold" panose="020B0702040204020203" pitchFamily="34" charset="0"/>
              </a:rPr>
              <a:t>Azure Data Lake Analytics</a:t>
            </a:r>
          </a:p>
        </p:txBody>
      </p:sp>
      <p:sp>
        <p:nvSpPr>
          <p:cNvPr id="60" name="Rectangle 59"/>
          <p:cNvSpPr/>
          <p:nvPr/>
        </p:nvSpPr>
        <p:spPr bwMode="auto">
          <a:xfrm>
            <a:off x="8728517" y="3094146"/>
            <a:ext cx="2749968" cy="2167995"/>
          </a:xfrm>
          <a:prstGeom prst="rect">
            <a:avLst/>
          </a:prstGeom>
          <a:solidFill>
            <a:schemeClr val="tx2"/>
          </a:solidFill>
          <a:ln w="25400">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91440" rIns="91440" bIns="91440" numCol="1" rtlCol="0" anchor="t" anchorCtr="0" compatLnSpc="1">
            <a:prstTxWarp prst="textNoShape">
              <a:avLst/>
            </a:prstTxWarp>
          </a:bodyPr>
          <a:lstStyle/>
          <a:p>
            <a:pPr marL="0" marR="0" lvl="0" indent="0" algn="ctr" defTabSz="914132" eaLnBrk="1" fontAlgn="auto" latinLnBrk="0" hangingPunct="1">
              <a:lnSpc>
                <a:spcPct val="90000"/>
              </a:lnSpc>
              <a:spcBef>
                <a:spcPct val="0"/>
              </a:spcBef>
              <a:spcAft>
                <a:spcPts val="588"/>
              </a:spcAft>
              <a:buClrTx/>
              <a:buSzTx/>
              <a:buFontTx/>
              <a:buNone/>
              <a:tabLst/>
              <a:defRPr/>
            </a:pPr>
            <a:r>
              <a:rPr kumimoji="0" lang="en-US" sz="1600" b="0" i="0" u="none" strike="noStrike" kern="0" cap="none" spc="-29"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MS PGothic" panose="020B0600070205080204" pitchFamily="34" charset="-128"/>
                <a:cs typeface="Segoe UI Semibold" panose="020B0702040204020203" pitchFamily="34" charset="0"/>
              </a:rPr>
              <a:t>Azure Blob Store </a:t>
            </a:r>
          </a:p>
        </p:txBody>
      </p:sp>
      <p:grpSp>
        <p:nvGrpSpPr>
          <p:cNvPr id="26" name="Group 25"/>
          <p:cNvGrpSpPr/>
          <p:nvPr/>
        </p:nvGrpSpPr>
        <p:grpSpPr>
          <a:xfrm>
            <a:off x="1495312" y="3459510"/>
            <a:ext cx="1106160" cy="1101408"/>
            <a:chOff x="2148168" y="645460"/>
            <a:chExt cx="2587625" cy="2576512"/>
          </a:xfrm>
        </p:grpSpPr>
        <p:sp>
          <p:nvSpPr>
            <p:cNvPr id="27" name="Freeform 19"/>
            <p:cNvSpPr>
              <a:spLocks noEditPoints="1"/>
            </p:cNvSpPr>
            <p:nvPr/>
          </p:nvSpPr>
          <p:spPr bwMode="auto">
            <a:xfrm>
              <a:off x="2364068" y="861360"/>
              <a:ext cx="2154238" cy="2149475"/>
            </a:xfrm>
            <a:custGeom>
              <a:avLst/>
              <a:gdLst>
                <a:gd name="T0" fmla="*/ 14609 w 16392"/>
                <a:gd name="T1" fmla="*/ 16392 h 16392"/>
                <a:gd name="T2" fmla="*/ 1782 w 16392"/>
                <a:gd name="T3" fmla="*/ 16392 h 16392"/>
                <a:gd name="T4" fmla="*/ 0 w 16392"/>
                <a:gd name="T5" fmla="*/ 14610 h 16392"/>
                <a:gd name="T6" fmla="*/ 0 w 16392"/>
                <a:gd name="T7" fmla="*/ 1782 h 16392"/>
                <a:gd name="T8" fmla="*/ 1782 w 16392"/>
                <a:gd name="T9" fmla="*/ 0 h 16392"/>
                <a:gd name="T10" fmla="*/ 14609 w 16392"/>
                <a:gd name="T11" fmla="*/ 0 h 16392"/>
                <a:gd name="T12" fmla="*/ 16392 w 16392"/>
                <a:gd name="T13" fmla="*/ 1782 h 16392"/>
                <a:gd name="T14" fmla="*/ 16392 w 16392"/>
                <a:gd name="T15" fmla="*/ 14610 h 16392"/>
                <a:gd name="T16" fmla="*/ 14609 w 16392"/>
                <a:gd name="T17" fmla="*/ 16392 h 16392"/>
                <a:gd name="T18" fmla="*/ 1782 w 16392"/>
                <a:gd name="T19" fmla="*/ 1175 h 16392"/>
                <a:gd name="T20" fmla="*/ 1194 w 16392"/>
                <a:gd name="T21" fmla="*/ 1763 h 16392"/>
                <a:gd name="T22" fmla="*/ 1194 w 16392"/>
                <a:gd name="T23" fmla="*/ 14590 h 16392"/>
                <a:gd name="T24" fmla="*/ 1782 w 16392"/>
                <a:gd name="T25" fmla="*/ 15178 h 16392"/>
                <a:gd name="T26" fmla="*/ 14609 w 16392"/>
                <a:gd name="T27" fmla="*/ 15178 h 16392"/>
                <a:gd name="T28" fmla="*/ 15197 w 16392"/>
                <a:gd name="T29" fmla="*/ 14590 h 16392"/>
                <a:gd name="T30" fmla="*/ 15197 w 16392"/>
                <a:gd name="T31" fmla="*/ 1763 h 16392"/>
                <a:gd name="T32" fmla="*/ 14609 w 16392"/>
                <a:gd name="T33" fmla="*/ 1175 h 16392"/>
                <a:gd name="T34" fmla="*/ 1782 w 16392"/>
                <a:gd name="T35" fmla="*/ 1175 h 16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6392" h="16392">
                  <a:moveTo>
                    <a:pt x="14609" y="16392"/>
                  </a:moveTo>
                  <a:lnTo>
                    <a:pt x="1782" y="16392"/>
                  </a:lnTo>
                  <a:cubicBezTo>
                    <a:pt x="803" y="16392"/>
                    <a:pt x="0" y="15589"/>
                    <a:pt x="0" y="14610"/>
                  </a:cubicBezTo>
                  <a:lnTo>
                    <a:pt x="0" y="1782"/>
                  </a:lnTo>
                  <a:cubicBezTo>
                    <a:pt x="0" y="803"/>
                    <a:pt x="803" y="0"/>
                    <a:pt x="1782" y="0"/>
                  </a:cubicBezTo>
                  <a:lnTo>
                    <a:pt x="14609" y="0"/>
                  </a:lnTo>
                  <a:cubicBezTo>
                    <a:pt x="15589" y="0"/>
                    <a:pt x="16392" y="803"/>
                    <a:pt x="16392" y="1782"/>
                  </a:cubicBezTo>
                  <a:lnTo>
                    <a:pt x="16392" y="14610"/>
                  </a:lnTo>
                  <a:cubicBezTo>
                    <a:pt x="16392" y="15589"/>
                    <a:pt x="15589" y="16392"/>
                    <a:pt x="14609" y="16392"/>
                  </a:cubicBezTo>
                  <a:close/>
                  <a:moveTo>
                    <a:pt x="1782" y="1175"/>
                  </a:moveTo>
                  <a:cubicBezTo>
                    <a:pt x="1449" y="1175"/>
                    <a:pt x="1194" y="1449"/>
                    <a:pt x="1194" y="1763"/>
                  </a:cubicBezTo>
                  <a:lnTo>
                    <a:pt x="1194" y="14590"/>
                  </a:lnTo>
                  <a:cubicBezTo>
                    <a:pt x="1194" y="14923"/>
                    <a:pt x="1469" y="15178"/>
                    <a:pt x="1782" y="15178"/>
                  </a:cubicBezTo>
                  <a:lnTo>
                    <a:pt x="14609" y="15178"/>
                  </a:lnTo>
                  <a:cubicBezTo>
                    <a:pt x="14942" y="15178"/>
                    <a:pt x="15197" y="14904"/>
                    <a:pt x="15197" y="14590"/>
                  </a:cubicBezTo>
                  <a:lnTo>
                    <a:pt x="15197" y="1763"/>
                  </a:lnTo>
                  <a:cubicBezTo>
                    <a:pt x="15197" y="1430"/>
                    <a:pt x="14923" y="1175"/>
                    <a:pt x="14609" y="1175"/>
                  </a:cubicBezTo>
                  <a:lnTo>
                    <a:pt x="1782" y="1175"/>
                  </a:lnTo>
                  <a:close/>
                </a:path>
              </a:pathLst>
            </a:custGeom>
            <a:solidFill>
              <a:srgbClr val="A0A1A2"/>
            </a:solidFill>
            <a:ln w="0">
              <a:noFill/>
              <a:prstDash val="solid"/>
              <a:round/>
              <a:headEnd/>
              <a:tailEnd/>
            </a:ln>
          </p:spPr>
          <p:txBody>
            <a:bodyPr vert="horz" wrap="square" lIns="91427" tIns="45713" rIns="91427" bIns="4571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ysClr val="windowText" lastClr="000000"/>
                </a:solidFill>
                <a:effectLst/>
                <a:uLnTx/>
                <a:uFillTx/>
              </a:endParaRPr>
            </a:p>
          </p:txBody>
        </p:sp>
        <p:sp>
          <p:nvSpPr>
            <p:cNvPr id="28" name="Freeform 20"/>
            <p:cNvSpPr>
              <a:spLocks/>
            </p:cNvSpPr>
            <p:nvPr/>
          </p:nvSpPr>
          <p:spPr bwMode="auto">
            <a:xfrm>
              <a:off x="2860955" y="645460"/>
              <a:ext cx="758825" cy="220662"/>
            </a:xfrm>
            <a:custGeom>
              <a:avLst/>
              <a:gdLst>
                <a:gd name="T0" fmla="*/ 2683 w 5778"/>
                <a:gd name="T1" fmla="*/ 235 h 1684"/>
                <a:gd name="T2" fmla="*/ 1293 w 5778"/>
                <a:gd name="T3" fmla="*/ 176 h 1684"/>
                <a:gd name="T4" fmla="*/ 275 w 5778"/>
                <a:gd name="T5" fmla="*/ 1116 h 1684"/>
                <a:gd name="T6" fmla="*/ 0 w 5778"/>
                <a:gd name="T7" fmla="*/ 1684 h 1684"/>
                <a:gd name="T8" fmla="*/ 5778 w 5778"/>
                <a:gd name="T9" fmla="*/ 1684 h 1684"/>
                <a:gd name="T10" fmla="*/ 2683 w 5778"/>
                <a:gd name="T11" fmla="*/ 235 h 1684"/>
              </a:gdLst>
              <a:ahLst/>
              <a:cxnLst>
                <a:cxn ang="0">
                  <a:pos x="T0" y="T1"/>
                </a:cxn>
                <a:cxn ang="0">
                  <a:pos x="T2" y="T3"/>
                </a:cxn>
                <a:cxn ang="0">
                  <a:pos x="T4" y="T5"/>
                </a:cxn>
                <a:cxn ang="0">
                  <a:pos x="T6" y="T7"/>
                </a:cxn>
                <a:cxn ang="0">
                  <a:pos x="T8" y="T9"/>
                </a:cxn>
                <a:cxn ang="0">
                  <a:pos x="T10" y="T11"/>
                </a:cxn>
              </a:cxnLst>
              <a:rect l="0" t="0" r="r" b="b"/>
              <a:pathLst>
                <a:path w="5778" h="1684">
                  <a:moveTo>
                    <a:pt x="2683" y="235"/>
                  </a:moveTo>
                  <a:cubicBezTo>
                    <a:pt x="2253" y="39"/>
                    <a:pt x="1743" y="0"/>
                    <a:pt x="1293" y="176"/>
                  </a:cubicBezTo>
                  <a:cubicBezTo>
                    <a:pt x="843" y="333"/>
                    <a:pt x="471" y="666"/>
                    <a:pt x="275" y="1116"/>
                  </a:cubicBezTo>
                  <a:lnTo>
                    <a:pt x="0" y="1684"/>
                  </a:lnTo>
                  <a:lnTo>
                    <a:pt x="5778" y="1684"/>
                  </a:lnTo>
                  <a:lnTo>
                    <a:pt x="2683" y="235"/>
                  </a:lnTo>
                  <a:close/>
                </a:path>
              </a:pathLst>
            </a:custGeom>
            <a:solidFill>
              <a:srgbClr val="7A7A7A"/>
            </a:solidFill>
            <a:ln w="0">
              <a:noFill/>
              <a:prstDash val="solid"/>
              <a:round/>
              <a:headEnd/>
              <a:tailEnd/>
            </a:ln>
          </p:spPr>
          <p:txBody>
            <a:bodyPr vert="horz" wrap="square" lIns="91427" tIns="45713" rIns="91427" bIns="4571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ysClr val="windowText" lastClr="000000"/>
                </a:solidFill>
                <a:effectLst/>
                <a:uLnTx/>
                <a:uFillTx/>
              </a:endParaRPr>
            </a:p>
          </p:txBody>
        </p:sp>
        <p:sp>
          <p:nvSpPr>
            <p:cNvPr id="29" name="Freeform 21"/>
            <p:cNvSpPr>
              <a:spLocks/>
            </p:cNvSpPr>
            <p:nvPr/>
          </p:nvSpPr>
          <p:spPr bwMode="auto">
            <a:xfrm>
              <a:off x="4515130" y="1356660"/>
              <a:ext cx="220663" cy="760412"/>
            </a:xfrm>
            <a:custGeom>
              <a:avLst/>
              <a:gdLst>
                <a:gd name="T0" fmla="*/ 1508 w 1684"/>
                <a:gd name="T1" fmla="*/ 1292 h 5797"/>
                <a:gd name="T2" fmla="*/ 568 w 1684"/>
                <a:gd name="T3" fmla="*/ 274 h 5797"/>
                <a:gd name="T4" fmla="*/ 0 w 1684"/>
                <a:gd name="T5" fmla="*/ 0 h 5797"/>
                <a:gd name="T6" fmla="*/ 0 w 1684"/>
                <a:gd name="T7" fmla="*/ 5797 h 5797"/>
                <a:gd name="T8" fmla="*/ 1449 w 1684"/>
                <a:gd name="T9" fmla="*/ 2702 h 5797"/>
                <a:gd name="T10" fmla="*/ 1508 w 1684"/>
                <a:gd name="T11" fmla="*/ 1292 h 5797"/>
              </a:gdLst>
              <a:ahLst/>
              <a:cxnLst>
                <a:cxn ang="0">
                  <a:pos x="T0" y="T1"/>
                </a:cxn>
                <a:cxn ang="0">
                  <a:pos x="T2" y="T3"/>
                </a:cxn>
                <a:cxn ang="0">
                  <a:pos x="T4" y="T5"/>
                </a:cxn>
                <a:cxn ang="0">
                  <a:pos x="T6" y="T7"/>
                </a:cxn>
                <a:cxn ang="0">
                  <a:pos x="T8" y="T9"/>
                </a:cxn>
                <a:cxn ang="0">
                  <a:pos x="T10" y="T11"/>
                </a:cxn>
              </a:cxnLst>
              <a:rect l="0" t="0" r="r" b="b"/>
              <a:pathLst>
                <a:path w="1684" h="5797">
                  <a:moveTo>
                    <a:pt x="1508" y="1292"/>
                  </a:moveTo>
                  <a:cubicBezTo>
                    <a:pt x="1351" y="842"/>
                    <a:pt x="1018" y="470"/>
                    <a:pt x="568" y="274"/>
                  </a:cubicBezTo>
                  <a:lnTo>
                    <a:pt x="0" y="0"/>
                  </a:lnTo>
                  <a:lnTo>
                    <a:pt x="0" y="5797"/>
                  </a:lnTo>
                  <a:lnTo>
                    <a:pt x="1449" y="2702"/>
                  </a:lnTo>
                  <a:cubicBezTo>
                    <a:pt x="1665" y="2252"/>
                    <a:pt x="1684" y="1762"/>
                    <a:pt x="1508" y="1292"/>
                  </a:cubicBezTo>
                  <a:close/>
                </a:path>
              </a:pathLst>
            </a:custGeom>
            <a:solidFill>
              <a:srgbClr val="7A7A7A"/>
            </a:solidFill>
            <a:ln w="0">
              <a:noFill/>
              <a:prstDash val="solid"/>
              <a:round/>
              <a:headEnd/>
              <a:tailEnd/>
            </a:ln>
          </p:spPr>
          <p:txBody>
            <a:bodyPr vert="horz" wrap="square" lIns="91427" tIns="45713" rIns="91427" bIns="4571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ysClr val="windowText" lastClr="000000"/>
                </a:solidFill>
                <a:effectLst/>
                <a:uLnTx/>
                <a:uFillTx/>
              </a:endParaRPr>
            </a:p>
          </p:txBody>
        </p:sp>
        <p:sp>
          <p:nvSpPr>
            <p:cNvPr id="30" name="Freeform 22"/>
            <p:cNvSpPr>
              <a:spLocks/>
            </p:cNvSpPr>
            <p:nvPr/>
          </p:nvSpPr>
          <p:spPr bwMode="auto">
            <a:xfrm>
              <a:off x="2148168" y="1934510"/>
              <a:ext cx="222250" cy="758825"/>
            </a:xfrm>
            <a:custGeom>
              <a:avLst/>
              <a:gdLst>
                <a:gd name="T0" fmla="*/ 235 w 1684"/>
                <a:gd name="T1" fmla="*/ 3095 h 5778"/>
                <a:gd name="T2" fmla="*/ 176 w 1684"/>
                <a:gd name="T3" fmla="*/ 4485 h 5778"/>
                <a:gd name="T4" fmla="*/ 1116 w 1684"/>
                <a:gd name="T5" fmla="*/ 5503 h 5778"/>
                <a:gd name="T6" fmla="*/ 1684 w 1684"/>
                <a:gd name="T7" fmla="*/ 5778 h 5778"/>
                <a:gd name="T8" fmla="*/ 1684 w 1684"/>
                <a:gd name="T9" fmla="*/ 0 h 5778"/>
                <a:gd name="T10" fmla="*/ 235 w 1684"/>
                <a:gd name="T11" fmla="*/ 3095 h 5778"/>
              </a:gdLst>
              <a:ahLst/>
              <a:cxnLst>
                <a:cxn ang="0">
                  <a:pos x="T0" y="T1"/>
                </a:cxn>
                <a:cxn ang="0">
                  <a:pos x="T2" y="T3"/>
                </a:cxn>
                <a:cxn ang="0">
                  <a:pos x="T4" y="T5"/>
                </a:cxn>
                <a:cxn ang="0">
                  <a:pos x="T6" y="T7"/>
                </a:cxn>
                <a:cxn ang="0">
                  <a:pos x="T8" y="T9"/>
                </a:cxn>
                <a:cxn ang="0">
                  <a:pos x="T10" y="T11"/>
                </a:cxn>
              </a:cxnLst>
              <a:rect l="0" t="0" r="r" b="b"/>
              <a:pathLst>
                <a:path w="1684" h="5778">
                  <a:moveTo>
                    <a:pt x="235" y="3095"/>
                  </a:moveTo>
                  <a:cubicBezTo>
                    <a:pt x="39" y="3525"/>
                    <a:pt x="0" y="4035"/>
                    <a:pt x="176" y="4485"/>
                  </a:cubicBezTo>
                  <a:cubicBezTo>
                    <a:pt x="333" y="4935"/>
                    <a:pt x="666" y="5308"/>
                    <a:pt x="1116" y="5503"/>
                  </a:cubicBezTo>
                  <a:lnTo>
                    <a:pt x="1684" y="5778"/>
                  </a:lnTo>
                  <a:lnTo>
                    <a:pt x="1684" y="0"/>
                  </a:lnTo>
                  <a:lnTo>
                    <a:pt x="235" y="3095"/>
                  </a:lnTo>
                  <a:close/>
                </a:path>
              </a:pathLst>
            </a:custGeom>
            <a:solidFill>
              <a:srgbClr val="7A7A7A"/>
            </a:solidFill>
            <a:ln w="0">
              <a:noFill/>
              <a:prstDash val="solid"/>
              <a:round/>
              <a:headEnd/>
              <a:tailEnd/>
            </a:ln>
          </p:spPr>
          <p:txBody>
            <a:bodyPr vert="horz" wrap="square" lIns="91427" tIns="45713" rIns="91427" bIns="4571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ysClr val="windowText" lastClr="000000"/>
                </a:solidFill>
                <a:effectLst/>
                <a:uLnTx/>
                <a:uFillTx/>
              </a:endParaRPr>
            </a:p>
          </p:txBody>
        </p:sp>
        <p:sp>
          <p:nvSpPr>
            <p:cNvPr id="31" name="Freeform 23"/>
            <p:cNvSpPr>
              <a:spLocks/>
            </p:cNvSpPr>
            <p:nvPr/>
          </p:nvSpPr>
          <p:spPr bwMode="auto">
            <a:xfrm>
              <a:off x="3440393" y="3009247"/>
              <a:ext cx="758825" cy="212725"/>
            </a:xfrm>
            <a:custGeom>
              <a:avLst/>
              <a:gdLst>
                <a:gd name="T0" fmla="*/ 3094 w 5777"/>
                <a:gd name="T1" fmla="*/ 1450 h 1626"/>
                <a:gd name="T2" fmla="*/ 3858 w 5777"/>
                <a:gd name="T3" fmla="*/ 1626 h 1626"/>
                <a:gd name="T4" fmla="*/ 4485 w 5777"/>
                <a:gd name="T5" fmla="*/ 1508 h 1626"/>
                <a:gd name="T6" fmla="*/ 5503 w 5777"/>
                <a:gd name="T7" fmla="*/ 568 h 1626"/>
                <a:gd name="T8" fmla="*/ 5777 w 5777"/>
                <a:gd name="T9" fmla="*/ 0 h 1626"/>
                <a:gd name="T10" fmla="*/ 0 w 5777"/>
                <a:gd name="T11" fmla="*/ 0 h 1626"/>
                <a:gd name="T12" fmla="*/ 3094 w 5777"/>
                <a:gd name="T13" fmla="*/ 1450 h 1626"/>
              </a:gdLst>
              <a:ahLst/>
              <a:cxnLst>
                <a:cxn ang="0">
                  <a:pos x="T0" y="T1"/>
                </a:cxn>
                <a:cxn ang="0">
                  <a:pos x="T2" y="T3"/>
                </a:cxn>
                <a:cxn ang="0">
                  <a:pos x="T4" y="T5"/>
                </a:cxn>
                <a:cxn ang="0">
                  <a:pos x="T6" y="T7"/>
                </a:cxn>
                <a:cxn ang="0">
                  <a:pos x="T8" y="T9"/>
                </a:cxn>
                <a:cxn ang="0">
                  <a:pos x="T10" y="T11"/>
                </a:cxn>
                <a:cxn ang="0">
                  <a:pos x="T12" y="T13"/>
                </a:cxn>
              </a:cxnLst>
              <a:rect l="0" t="0" r="r" b="b"/>
              <a:pathLst>
                <a:path w="5777" h="1626">
                  <a:moveTo>
                    <a:pt x="3094" y="1450"/>
                  </a:moveTo>
                  <a:cubicBezTo>
                    <a:pt x="3329" y="1567"/>
                    <a:pt x="3603" y="1626"/>
                    <a:pt x="3858" y="1626"/>
                  </a:cubicBezTo>
                  <a:cubicBezTo>
                    <a:pt x="4073" y="1626"/>
                    <a:pt x="4269" y="1587"/>
                    <a:pt x="4485" y="1508"/>
                  </a:cubicBezTo>
                  <a:cubicBezTo>
                    <a:pt x="4935" y="1352"/>
                    <a:pt x="5307" y="1019"/>
                    <a:pt x="5503" y="568"/>
                  </a:cubicBezTo>
                  <a:lnTo>
                    <a:pt x="5777" y="0"/>
                  </a:lnTo>
                  <a:lnTo>
                    <a:pt x="0" y="0"/>
                  </a:lnTo>
                  <a:lnTo>
                    <a:pt x="3094" y="1450"/>
                  </a:lnTo>
                  <a:close/>
                </a:path>
              </a:pathLst>
            </a:custGeom>
            <a:solidFill>
              <a:srgbClr val="7A7A7A"/>
            </a:solidFill>
            <a:ln w="0">
              <a:noFill/>
              <a:prstDash val="solid"/>
              <a:round/>
              <a:headEnd/>
              <a:tailEnd/>
            </a:ln>
          </p:spPr>
          <p:txBody>
            <a:bodyPr vert="horz" wrap="square" lIns="91427" tIns="45713" rIns="91427" bIns="4571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ysClr val="windowText" lastClr="000000"/>
                </a:solidFill>
                <a:effectLst/>
                <a:uLnTx/>
                <a:uFillTx/>
              </a:endParaRPr>
            </a:p>
          </p:txBody>
        </p:sp>
        <p:sp>
          <p:nvSpPr>
            <p:cNvPr id="32" name="Freeform 24"/>
            <p:cNvSpPr>
              <a:spLocks/>
            </p:cNvSpPr>
            <p:nvPr/>
          </p:nvSpPr>
          <p:spPr bwMode="auto">
            <a:xfrm>
              <a:off x="2521230" y="1015347"/>
              <a:ext cx="1839913" cy="1836737"/>
            </a:xfrm>
            <a:custGeom>
              <a:avLst/>
              <a:gdLst>
                <a:gd name="T0" fmla="*/ 588 w 14003"/>
                <a:gd name="T1" fmla="*/ 0 h 14003"/>
                <a:gd name="T2" fmla="*/ 0 w 14003"/>
                <a:gd name="T3" fmla="*/ 588 h 14003"/>
                <a:gd name="T4" fmla="*/ 0 w 14003"/>
                <a:gd name="T5" fmla="*/ 13415 h 14003"/>
                <a:gd name="T6" fmla="*/ 588 w 14003"/>
                <a:gd name="T7" fmla="*/ 14003 h 14003"/>
                <a:gd name="T8" fmla="*/ 13415 w 14003"/>
                <a:gd name="T9" fmla="*/ 14003 h 14003"/>
                <a:gd name="T10" fmla="*/ 14003 w 14003"/>
                <a:gd name="T11" fmla="*/ 13415 h 14003"/>
                <a:gd name="T12" fmla="*/ 14003 w 14003"/>
                <a:gd name="T13" fmla="*/ 588 h 14003"/>
                <a:gd name="T14" fmla="*/ 13415 w 14003"/>
                <a:gd name="T15" fmla="*/ 0 h 14003"/>
                <a:gd name="T16" fmla="*/ 588 w 14003"/>
                <a:gd name="T17" fmla="*/ 0 h 140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003" h="14003">
                  <a:moveTo>
                    <a:pt x="588" y="0"/>
                  </a:moveTo>
                  <a:cubicBezTo>
                    <a:pt x="255" y="0"/>
                    <a:pt x="0" y="274"/>
                    <a:pt x="0" y="588"/>
                  </a:cubicBezTo>
                  <a:lnTo>
                    <a:pt x="0" y="13415"/>
                  </a:lnTo>
                  <a:cubicBezTo>
                    <a:pt x="0" y="13748"/>
                    <a:pt x="275" y="14003"/>
                    <a:pt x="588" y="14003"/>
                  </a:cubicBezTo>
                  <a:lnTo>
                    <a:pt x="13415" y="14003"/>
                  </a:lnTo>
                  <a:cubicBezTo>
                    <a:pt x="13748" y="14003"/>
                    <a:pt x="14003" y="13729"/>
                    <a:pt x="14003" y="13415"/>
                  </a:cubicBezTo>
                  <a:lnTo>
                    <a:pt x="14003" y="588"/>
                  </a:lnTo>
                  <a:cubicBezTo>
                    <a:pt x="14003" y="255"/>
                    <a:pt x="13729" y="0"/>
                    <a:pt x="13415" y="0"/>
                  </a:cubicBezTo>
                  <a:lnTo>
                    <a:pt x="588" y="0"/>
                  </a:lnTo>
                  <a:close/>
                </a:path>
              </a:pathLst>
            </a:custGeom>
            <a:solidFill>
              <a:srgbClr val="FFFFFF"/>
            </a:solidFill>
            <a:ln w="0">
              <a:noFill/>
              <a:prstDash val="solid"/>
              <a:round/>
              <a:headEnd/>
              <a:tailEnd/>
            </a:ln>
          </p:spPr>
          <p:txBody>
            <a:bodyPr vert="horz" wrap="square" lIns="91427" tIns="45713" rIns="91427" bIns="4571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ysClr val="windowText" lastClr="000000"/>
                </a:solidFill>
                <a:effectLst/>
                <a:uLnTx/>
                <a:uFillTx/>
              </a:endParaRPr>
            </a:p>
          </p:txBody>
        </p:sp>
        <p:sp>
          <p:nvSpPr>
            <p:cNvPr id="33" name="Freeform 25"/>
            <p:cNvSpPr>
              <a:spLocks/>
            </p:cNvSpPr>
            <p:nvPr/>
          </p:nvSpPr>
          <p:spPr bwMode="auto">
            <a:xfrm>
              <a:off x="3046693" y="1288397"/>
              <a:ext cx="792163" cy="1311275"/>
            </a:xfrm>
            <a:custGeom>
              <a:avLst/>
              <a:gdLst>
                <a:gd name="T0" fmla="*/ 5836 w 6031"/>
                <a:gd name="T1" fmla="*/ 3721 h 10008"/>
                <a:gd name="T2" fmla="*/ 3348 w 6031"/>
                <a:gd name="T3" fmla="*/ 3721 h 10008"/>
                <a:gd name="T4" fmla="*/ 4386 w 6031"/>
                <a:gd name="T5" fmla="*/ 255 h 10008"/>
                <a:gd name="T6" fmla="*/ 4288 w 6031"/>
                <a:gd name="T7" fmla="*/ 20 h 10008"/>
                <a:gd name="T8" fmla="*/ 4210 w 6031"/>
                <a:gd name="T9" fmla="*/ 0 h 10008"/>
                <a:gd name="T10" fmla="*/ 4053 w 6031"/>
                <a:gd name="T11" fmla="*/ 78 h 10008"/>
                <a:gd name="T12" fmla="*/ 39 w 6031"/>
                <a:gd name="T13" fmla="*/ 5934 h 10008"/>
                <a:gd name="T14" fmla="*/ 19 w 6031"/>
                <a:gd name="T15" fmla="*/ 6130 h 10008"/>
                <a:gd name="T16" fmla="*/ 195 w 6031"/>
                <a:gd name="T17" fmla="*/ 6228 h 10008"/>
                <a:gd name="T18" fmla="*/ 2604 w 6031"/>
                <a:gd name="T19" fmla="*/ 6228 h 10008"/>
                <a:gd name="T20" fmla="*/ 1527 w 6031"/>
                <a:gd name="T21" fmla="*/ 9753 h 10008"/>
                <a:gd name="T22" fmla="*/ 1625 w 6031"/>
                <a:gd name="T23" fmla="*/ 9988 h 10008"/>
                <a:gd name="T24" fmla="*/ 1703 w 6031"/>
                <a:gd name="T25" fmla="*/ 10008 h 10008"/>
                <a:gd name="T26" fmla="*/ 1860 w 6031"/>
                <a:gd name="T27" fmla="*/ 9929 h 10008"/>
                <a:gd name="T28" fmla="*/ 5992 w 6031"/>
                <a:gd name="T29" fmla="*/ 4015 h 10008"/>
                <a:gd name="T30" fmla="*/ 6031 w 6031"/>
                <a:gd name="T31" fmla="*/ 3897 h 10008"/>
                <a:gd name="T32" fmla="*/ 5836 w 6031"/>
                <a:gd name="T33" fmla="*/ 3721 h 100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031" h="10008">
                  <a:moveTo>
                    <a:pt x="5836" y="3721"/>
                  </a:moveTo>
                  <a:lnTo>
                    <a:pt x="3348" y="3721"/>
                  </a:lnTo>
                  <a:lnTo>
                    <a:pt x="4386" y="255"/>
                  </a:lnTo>
                  <a:cubicBezTo>
                    <a:pt x="4406" y="157"/>
                    <a:pt x="4367" y="59"/>
                    <a:pt x="4288" y="20"/>
                  </a:cubicBezTo>
                  <a:cubicBezTo>
                    <a:pt x="4269" y="0"/>
                    <a:pt x="4230" y="0"/>
                    <a:pt x="4210" y="0"/>
                  </a:cubicBezTo>
                  <a:cubicBezTo>
                    <a:pt x="4151" y="0"/>
                    <a:pt x="4093" y="39"/>
                    <a:pt x="4053" y="78"/>
                  </a:cubicBezTo>
                  <a:lnTo>
                    <a:pt x="39" y="5934"/>
                  </a:lnTo>
                  <a:cubicBezTo>
                    <a:pt x="0" y="5993"/>
                    <a:pt x="0" y="6071"/>
                    <a:pt x="19" y="6130"/>
                  </a:cubicBezTo>
                  <a:cubicBezTo>
                    <a:pt x="58" y="6189"/>
                    <a:pt x="117" y="6228"/>
                    <a:pt x="195" y="6228"/>
                  </a:cubicBezTo>
                  <a:lnTo>
                    <a:pt x="2604" y="6228"/>
                  </a:lnTo>
                  <a:lnTo>
                    <a:pt x="1527" y="9753"/>
                  </a:lnTo>
                  <a:cubicBezTo>
                    <a:pt x="1508" y="9851"/>
                    <a:pt x="1547" y="9949"/>
                    <a:pt x="1625" y="9988"/>
                  </a:cubicBezTo>
                  <a:cubicBezTo>
                    <a:pt x="1645" y="10008"/>
                    <a:pt x="1684" y="10008"/>
                    <a:pt x="1703" y="10008"/>
                  </a:cubicBezTo>
                  <a:cubicBezTo>
                    <a:pt x="1762" y="10008"/>
                    <a:pt x="1821" y="9968"/>
                    <a:pt x="1860" y="9929"/>
                  </a:cubicBezTo>
                  <a:lnTo>
                    <a:pt x="5992" y="4015"/>
                  </a:lnTo>
                  <a:cubicBezTo>
                    <a:pt x="6012" y="3976"/>
                    <a:pt x="6031" y="3936"/>
                    <a:pt x="6031" y="3897"/>
                  </a:cubicBezTo>
                  <a:cubicBezTo>
                    <a:pt x="6031" y="3799"/>
                    <a:pt x="5933" y="3721"/>
                    <a:pt x="5836" y="3721"/>
                  </a:cubicBezTo>
                  <a:close/>
                </a:path>
              </a:pathLst>
            </a:custGeom>
            <a:solidFill>
              <a:srgbClr val="59B4D9"/>
            </a:solidFill>
            <a:ln w="0">
              <a:noFill/>
              <a:prstDash val="solid"/>
              <a:round/>
              <a:headEnd/>
              <a:tailEnd/>
            </a:ln>
          </p:spPr>
          <p:txBody>
            <a:bodyPr vert="horz" wrap="square" lIns="91427" tIns="45713" rIns="91427" bIns="4571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ysClr val="windowText" lastClr="000000"/>
                </a:solidFill>
                <a:effectLst/>
                <a:uLnTx/>
                <a:uFillTx/>
              </a:endParaRPr>
            </a:p>
          </p:txBody>
        </p:sp>
      </p:grpSp>
      <p:sp>
        <p:nvSpPr>
          <p:cNvPr id="61" name="Rectangle 60"/>
          <p:cNvSpPr/>
          <p:nvPr/>
        </p:nvSpPr>
        <p:spPr bwMode="auto">
          <a:xfrm>
            <a:off x="4710006" y="3095653"/>
            <a:ext cx="2752344" cy="1600200"/>
          </a:xfrm>
          <a:prstGeom prst="rect">
            <a:avLst/>
          </a:prstGeom>
          <a:solidFill>
            <a:schemeClr val="accent1"/>
          </a:solidFill>
          <a:ln w="3175">
            <a:noFill/>
          </a:ln>
          <a:effectLst/>
        </p:spPr>
        <p:txBody>
          <a:bodyPr spcFirstLastPara="0" vert="horz" wrap="square" lIns="17919" tIns="91440" rIns="17919" bIns="89592" numCol="1" spcCol="1270" anchor="t" anchorCtr="0">
            <a:noAutofit/>
          </a:bodyPr>
          <a:lstStyle/>
          <a:p>
            <a:pPr marL="0" marR="0" lvl="0" indent="0" algn="ctr" defTabSz="914132" eaLnBrk="1" fontAlgn="auto" latinLnBrk="0" hangingPunct="1">
              <a:lnSpc>
                <a:spcPct val="90000"/>
              </a:lnSpc>
              <a:spcBef>
                <a:spcPct val="0"/>
              </a:spcBef>
              <a:spcAft>
                <a:spcPts val="588"/>
              </a:spcAft>
              <a:buClrTx/>
              <a:buSzTx/>
              <a:buFontTx/>
              <a:buNone/>
              <a:tabLst/>
              <a:defRPr/>
            </a:pPr>
            <a:r>
              <a:rPr kumimoji="0" lang="en-US" sz="1800" b="0" i="0" u="none" strike="noStrike" kern="0" cap="none" spc="-29"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MS PGothic" panose="020B0600070205080204" pitchFamily="34" charset="-128"/>
                <a:cs typeface="Segoe UI Semibold" panose="020B0702040204020203" pitchFamily="34" charset="0"/>
              </a:rPr>
              <a:t>Azure Data Lake Store</a:t>
            </a:r>
          </a:p>
        </p:txBody>
      </p:sp>
      <p:sp>
        <p:nvSpPr>
          <p:cNvPr id="62" name="Freeform 5"/>
          <p:cNvSpPr>
            <a:spLocks noEditPoints="1"/>
          </p:cNvSpPr>
          <p:nvPr/>
        </p:nvSpPr>
        <p:spPr bwMode="auto">
          <a:xfrm>
            <a:off x="5526082" y="3522581"/>
            <a:ext cx="1208974" cy="951455"/>
          </a:xfrm>
          <a:custGeom>
            <a:avLst/>
            <a:gdLst>
              <a:gd name="T0" fmla="*/ 3752 w 5983"/>
              <a:gd name="T1" fmla="*/ 2549 h 4697"/>
              <a:gd name="T2" fmla="*/ 2693 w 5983"/>
              <a:gd name="T3" fmla="*/ 4063 h 4697"/>
              <a:gd name="T4" fmla="*/ 2651 w 5983"/>
              <a:gd name="T5" fmla="*/ 4087 h 4697"/>
              <a:gd name="T6" fmla="*/ 2627 w 5983"/>
              <a:gd name="T7" fmla="*/ 4081 h 4697"/>
              <a:gd name="T8" fmla="*/ 2603 w 5983"/>
              <a:gd name="T9" fmla="*/ 4021 h 4697"/>
              <a:gd name="T10" fmla="*/ 2878 w 5983"/>
              <a:gd name="T11" fmla="*/ 3117 h 4697"/>
              <a:gd name="T12" fmla="*/ 2262 w 5983"/>
              <a:gd name="T13" fmla="*/ 3117 h 4697"/>
              <a:gd name="T14" fmla="*/ 2214 w 5983"/>
              <a:gd name="T15" fmla="*/ 3087 h 4697"/>
              <a:gd name="T16" fmla="*/ 2220 w 5983"/>
              <a:gd name="T17" fmla="*/ 3034 h 4697"/>
              <a:gd name="T18" fmla="*/ 3249 w 5983"/>
              <a:gd name="T19" fmla="*/ 1538 h 4697"/>
              <a:gd name="T20" fmla="*/ 3291 w 5983"/>
              <a:gd name="T21" fmla="*/ 1514 h 4697"/>
              <a:gd name="T22" fmla="*/ 3315 w 5983"/>
              <a:gd name="T23" fmla="*/ 1520 h 4697"/>
              <a:gd name="T24" fmla="*/ 3339 w 5983"/>
              <a:gd name="T25" fmla="*/ 1580 h 4697"/>
              <a:gd name="T26" fmla="*/ 3075 w 5983"/>
              <a:gd name="T27" fmla="*/ 2465 h 4697"/>
              <a:gd name="T28" fmla="*/ 3710 w 5983"/>
              <a:gd name="T29" fmla="*/ 2465 h 4697"/>
              <a:gd name="T30" fmla="*/ 3763 w 5983"/>
              <a:gd name="T31" fmla="*/ 2519 h 4697"/>
              <a:gd name="T32" fmla="*/ 3752 w 5983"/>
              <a:gd name="T33" fmla="*/ 2549 h 4697"/>
              <a:gd name="T34" fmla="*/ 5750 w 5983"/>
              <a:gd name="T35" fmla="*/ 754 h 4697"/>
              <a:gd name="T36" fmla="*/ 0 w 5983"/>
              <a:gd name="T37" fmla="*/ 754 h 4697"/>
              <a:gd name="T38" fmla="*/ 0 w 5983"/>
              <a:gd name="T39" fmla="*/ 4326 h 4697"/>
              <a:gd name="T40" fmla="*/ 371 w 5983"/>
              <a:gd name="T41" fmla="*/ 4697 h 4697"/>
              <a:gd name="T42" fmla="*/ 5612 w 5983"/>
              <a:gd name="T43" fmla="*/ 4697 h 4697"/>
              <a:gd name="T44" fmla="*/ 5983 w 5983"/>
              <a:gd name="T45" fmla="*/ 4326 h 4697"/>
              <a:gd name="T46" fmla="*/ 5983 w 5983"/>
              <a:gd name="T47" fmla="*/ 1095 h 4697"/>
              <a:gd name="T48" fmla="*/ 5750 w 5983"/>
              <a:gd name="T49" fmla="*/ 754 h 4697"/>
              <a:gd name="T50" fmla="*/ 3536 w 5983"/>
              <a:gd name="T51" fmla="*/ 485 h 4697"/>
              <a:gd name="T52" fmla="*/ 3363 w 5983"/>
              <a:gd name="T53" fmla="*/ 186 h 4697"/>
              <a:gd name="T54" fmla="*/ 3040 w 5983"/>
              <a:gd name="T55" fmla="*/ 0 h 4697"/>
              <a:gd name="T56" fmla="*/ 371 w 5983"/>
              <a:gd name="T57" fmla="*/ 0 h 4697"/>
              <a:gd name="T58" fmla="*/ 0 w 5983"/>
              <a:gd name="T59" fmla="*/ 371 h 4697"/>
              <a:gd name="T60" fmla="*/ 0 w 5983"/>
              <a:gd name="T61" fmla="*/ 563 h 4697"/>
              <a:gd name="T62" fmla="*/ 3602 w 5983"/>
              <a:gd name="T63" fmla="*/ 563 h 4697"/>
              <a:gd name="T64" fmla="*/ 3536 w 5983"/>
              <a:gd name="T65" fmla="*/ 485 h 46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983" h="4697">
                <a:moveTo>
                  <a:pt x="3752" y="2549"/>
                </a:moveTo>
                <a:lnTo>
                  <a:pt x="2693" y="4063"/>
                </a:lnTo>
                <a:cubicBezTo>
                  <a:pt x="2681" y="4075"/>
                  <a:pt x="2669" y="4087"/>
                  <a:pt x="2651" y="4087"/>
                </a:cubicBezTo>
                <a:cubicBezTo>
                  <a:pt x="2645" y="4087"/>
                  <a:pt x="2633" y="4087"/>
                  <a:pt x="2627" y="4081"/>
                </a:cubicBezTo>
                <a:cubicBezTo>
                  <a:pt x="2603" y="4069"/>
                  <a:pt x="2591" y="4045"/>
                  <a:pt x="2603" y="4021"/>
                </a:cubicBezTo>
                <a:lnTo>
                  <a:pt x="2878" y="3117"/>
                </a:lnTo>
                <a:lnTo>
                  <a:pt x="2262" y="3117"/>
                </a:lnTo>
                <a:cubicBezTo>
                  <a:pt x="2244" y="3117"/>
                  <a:pt x="2226" y="3105"/>
                  <a:pt x="2214" y="3087"/>
                </a:cubicBezTo>
                <a:cubicBezTo>
                  <a:pt x="2208" y="3070"/>
                  <a:pt x="2208" y="3052"/>
                  <a:pt x="2220" y="3034"/>
                </a:cubicBezTo>
                <a:lnTo>
                  <a:pt x="3249" y="1538"/>
                </a:lnTo>
                <a:cubicBezTo>
                  <a:pt x="3261" y="1526"/>
                  <a:pt x="3273" y="1514"/>
                  <a:pt x="3291" y="1514"/>
                </a:cubicBezTo>
                <a:cubicBezTo>
                  <a:pt x="3297" y="1514"/>
                  <a:pt x="3303" y="1514"/>
                  <a:pt x="3315" y="1520"/>
                </a:cubicBezTo>
                <a:cubicBezTo>
                  <a:pt x="3339" y="1532"/>
                  <a:pt x="3351" y="1556"/>
                  <a:pt x="3339" y="1580"/>
                </a:cubicBezTo>
                <a:lnTo>
                  <a:pt x="3075" y="2465"/>
                </a:lnTo>
                <a:lnTo>
                  <a:pt x="3710" y="2465"/>
                </a:lnTo>
                <a:cubicBezTo>
                  <a:pt x="3740" y="2465"/>
                  <a:pt x="3763" y="2489"/>
                  <a:pt x="3763" y="2519"/>
                </a:cubicBezTo>
                <a:cubicBezTo>
                  <a:pt x="3763" y="2531"/>
                  <a:pt x="3758" y="2537"/>
                  <a:pt x="3752" y="2549"/>
                </a:cubicBezTo>
                <a:close/>
                <a:moveTo>
                  <a:pt x="5750" y="754"/>
                </a:moveTo>
                <a:lnTo>
                  <a:pt x="0" y="754"/>
                </a:lnTo>
                <a:lnTo>
                  <a:pt x="0" y="4326"/>
                </a:lnTo>
                <a:cubicBezTo>
                  <a:pt x="0" y="4529"/>
                  <a:pt x="168" y="4697"/>
                  <a:pt x="371" y="4697"/>
                </a:cubicBezTo>
                <a:lnTo>
                  <a:pt x="5612" y="4697"/>
                </a:lnTo>
                <a:cubicBezTo>
                  <a:pt x="5816" y="4697"/>
                  <a:pt x="5983" y="4529"/>
                  <a:pt x="5983" y="4326"/>
                </a:cubicBezTo>
                <a:lnTo>
                  <a:pt x="5983" y="1095"/>
                </a:lnTo>
                <a:cubicBezTo>
                  <a:pt x="5983" y="946"/>
                  <a:pt x="5887" y="814"/>
                  <a:pt x="5750" y="754"/>
                </a:cubicBezTo>
                <a:close/>
                <a:moveTo>
                  <a:pt x="3536" y="485"/>
                </a:moveTo>
                <a:lnTo>
                  <a:pt x="3363" y="186"/>
                </a:lnTo>
                <a:cubicBezTo>
                  <a:pt x="3297" y="72"/>
                  <a:pt x="3171" y="0"/>
                  <a:pt x="3040" y="0"/>
                </a:cubicBezTo>
                <a:lnTo>
                  <a:pt x="371" y="0"/>
                </a:lnTo>
                <a:cubicBezTo>
                  <a:pt x="168" y="0"/>
                  <a:pt x="0" y="168"/>
                  <a:pt x="0" y="371"/>
                </a:cubicBezTo>
                <a:lnTo>
                  <a:pt x="0" y="563"/>
                </a:lnTo>
                <a:lnTo>
                  <a:pt x="3602" y="563"/>
                </a:lnTo>
                <a:cubicBezTo>
                  <a:pt x="3572" y="545"/>
                  <a:pt x="3554" y="515"/>
                  <a:pt x="3536" y="485"/>
                </a:cubicBezTo>
                <a:close/>
              </a:path>
            </a:pathLst>
          </a:custGeom>
          <a:solidFill>
            <a:srgbClr val="FFFFFF"/>
          </a:solidFill>
          <a:ln w="0">
            <a:noFill/>
            <a:prstDash val="solid"/>
            <a:round/>
            <a:headEnd/>
            <a:tailEnd/>
          </a:ln>
        </p:spPr>
        <p:txBody>
          <a:bodyPr vert="horz" wrap="square" lIns="74702" tIns="37351" rIns="74702" bIns="37351" numCol="1" anchor="t" anchorCtr="0" compatLnSpc="1">
            <a:prstTxWarp prst="textNoShape">
              <a:avLst/>
            </a:prstTxWarp>
          </a:bodyPr>
          <a:lstStyle/>
          <a:p>
            <a:pPr marL="0" marR="0" lvl="0" indent="0" defTabSz="896350" eaLnBrk="1" fontAlgn="base" latinLnBrk="0" hangingPunct="1">
              <a:lnSpc>
                <a:spcPct val="100000"/>
              </a:lnSpc>
              <a:spcBef>
                <a:spcPct val="0"/>
              </a:spcBef>
              <a:spcAft>
                <a:spcPct val="0"/>
              </a:spcAft>
              <a:buClrTx/>
              <a:buSzTx/>
              <a:buFontTx/>
              <a:buNone/>
              <a:tabLst/>
              <a:defRPr/>
            </a:pPr>
            <a:endParaRPr kumimoji="0" lang="en-US" sz="2353" b="0" i="0" u="none" strike="noStrike" kern="0" cap="none" spc="0" normalizeH="0" baseline="0" noProof="0" dirty="0">
              <a:ln>
                <a:noFill/>
              </a:ln>
              <a:solidFill>
                <a:prstClr val="white"/>
              </a:solidFill>
              <a:effectLst/>
              <a:uLnTx/>
              <a:uFillTx/>
            </a:endParaRPr>
          </a:p>
        </p:txBody>
      </p:sp>
      <p:sp>
        <p:nvSpPr>
          <p:cNvPr id="63" name="TextBox 62"/>
          <p:cNvSpPr txBox="1"/>
          <p:nvPr/>
        </p:nvSpPr>
        <p:spPr>
          <a:xfrm>
            <a:off x="1532179" y="6227800"/>
            <a:ext cx="1073352" cy="479745"/>
          </a:xfrm>
          <a:prstGeom prst="rect">
            <a:avLst/>
          </a:prstGeom>
          <a:noFill/>
        </p:spPr>
        <p:txBody>
          <a:bodyPr wrap="square" lIns="179285" tIns="143428" rIns="179285" bIns="143428" rtlCol="0">
            <a:spAutoFit/>
          </a:bodyPr>
          <a:lstStyle/>
          <a:p>
            <a:pPr marL="0" marR="0" lvl="0" indent="0" algn="ctr" defTabSz="896386" eaLnBrk="1" fontAlgn="auto" latinLnBrk="0" hangingPunct="1">
              <a:lnSpc>
                <a:spcPct val="90000"/>
              </a:lnSpc>
              <a:spcBef>
                <a:spcPts val="0"/>
              </a:spcBef>
              <a:spcAft>
                <a:spcPts val="588"/>
              </a:spcAft>
              <a:buClrTx/>
              <a:buSzTx/>
              <a:buFontTx/>
              <a:buNone/>
              <a:tabLst/>
              <a:defRPr/>
            </a:pPr>
            <a:r>
              <a:rPr kumimoji="0" lang="en-US" sz="1372" b="0" i="0" u="none" strike="noStrike" kern="0" cap="none" spc="0" normalizeH="0" baseline="0" noProof="0" dirty="0">
                <a:ln>
                  <a:noFill/>
                </a:ln>
                <a:gradFill>
                  <a:gsLst>
                    <a:gs pos="2917">
                      <a:schemeClr val="tx1"/>
                    </a:gs>
                    <a:gs pos="30000">
                      <a:schemeClr val="tx1"/>
                    </a:gs>
                  </a:gsLst>
                  <a:lin ang="5400000" scaled="0"/>
                </a:gradFill>
                <a:effectLst/>
                <a:uLnTx/>
                <a:uFillTx/>
              </a:rPr>
              <a:t>Bob</a:t>
            </a:r>
          </a:p>
        </p:txBody>
      </p:sp>
      <p:sp>
        <p:nvSpPr>
          <p:cNvPr id="64" name="TextBox 63"/>
          <p:cNvSpPr txBox="1"/>
          <p:nvPr/>
        </p:nvSpPr>
        <p:spPr>
          <a:xfrm>
            <a:off x="5549502" y="6207337"/>
            <a:ext cx="1073352" cy="479745"/>
          </a:xfrm>
          <a:prstGeom prst="rect">
            <a:avLst/>
          </a:prstGeom>
          <a:noFill/>
        </p:spPr>
        <p:txBody>
          <a:bodyPr wrap="square" lIns="179285" tIns="143428" rIns="179285" bIns="143428" rtlCol="0">
            <a:spAutoFit/>
          </a:bodyPr>
          <a:lstStyle/>
          <a:p>
            <a:pPr marL="0" marR="0" lvl="0" indent="0" algn="ctr" defTabSz="896386" eaLnBrk="1" fontAlgn="auto" latinLnBrk="0" hangingPunct="1">
              <a:lnSpc>
                <a:spcPct val="90000"/>
              </a:lnSpc>
              <a:spcBef>
                <a:spcPts val="0"/>
              </a:spcBef>
              <a:spcAft>
                <a:spcPts val="588"/>
              </a:spcAft>
              <a:buClrTx/>
              <a:buSzTx/>
              <a:buFontTx/>
              <a:buNone/>
              <a:tabLst/>
              <a:defRPr/>
            </a:pPr>
            <a:r>
              <a:rPr kumimoji="0" lang="en-US" sz="1372" b="0" i="0" u="none" strike="noStrike" kern="0" cap="none" spc="0" normalizeH="0" baseline="0" noProof="0" dirty="0">
                <a:ln>
                  <a:noFill/>
                </a:ln>
                <a:gradFill>
                  <a:gsLst>
                    <a:gs pos="2917">
                      <a:schemeClr val="tx1"/>
                    </a:gs>
                    <a:gs pos="30000">
                      <a:schemeClr val="tx1"/>
                    </a:gs>
                  </a:gsLst>
                  <a:lin ang="5400000" scaled="0"/>
                </a:gradFill>
                <a:effectLst/>
                <a:uLnTx/>
                <a:uFillTx/>
              </a:rPr>
              <a:t>Alice</a:t>
            </a:r>
          </a:p>
        </p:txBody>
      </p:sp>
      <p:pic>
        <p:nvPicPr>
          <p:cNvPr id="65" name="Picture 64"/>
          <p:cNvPicPr>
            <a:picLocks noChangeAspect="1"/>
          </p:cNvPicPr>
          <p:nvPr/>
        </p:nvPicPr>
        <p:blipFill>
          <a:blip r:embed="rId5"/>
          <a:stretch>
            <a:fillRect/>
          </a:stretch>
        </p:blipFill>
        <p:spPr>
          <a:xfrm>
            <a:off x="5558112" y="5262142"/>
            <a:ext cx="1056133" cy="1066800"/>
          </a:xfrm>
          <a:prstGeom prst="rect">
            <a:avLst/>
          </a:prstGeom>
        </p:spPr>
      </p:pic>
      <p:cxnSp>
        <p:nvCxnSpPr>
          <p:cNvPr id="68" name="Straight Connector 67"/>
          <p:cNvCxnSpPr/>
          <p:nvPr/>
        </p:nvCxnSpPr>
        <p:spPr>
          <a:xfrm>
            <a:off x="2068855" y="4751992"/>
            <a:ext cx="0" cy="457200"/>
          </a:xfrm>
          <a:prstGeom prst="line">
            <a:avLst/>
          </a:prstGeom>
          <a:noFill/>
          <a:ln w="38100" cap="sq" cmpd="sng" algn="ctr">
            <a:solidFill>
              <a:srgbClr val="7FBA00"/>
            </a:solidFill>
            <a:prstDash val="sysDash"/>
            <a:miter lim="800000"/>
            <a:headEnd type="none" w="med" len="med"/>
            <a:tailEnd type="triangle" w="lg" len="med"/>
          </a:ln>
          <a:effectLst/>
        </p:spPr>
      </p:cxnSp>
      <p:cxnSp>
        <p:nvCxnSpPr>
          <p:cNvPr id="69" name="Straight Connector 68"/>
          <p:cNvCxnSpPr/>
          <p:nvPr/>
        </p:nvCxnSpPr>
        <p:spPr>
          <a:xfrm flipH="1">
            <a:off x="7437295" y="3887602"/>
            <a:ext cx="1280160" cy="0"/>
          </a:xfrm>
          <a:prstGeom prst="line">
            <a:avLst/>
          </a:prstGeom>
          <a:noFill/>
          <a:ln w="38100" cap="sq" cmpd="sng" algn="ctr">
            <a:solidFill>
              <a:srgbClr val="7FBA00"/>
            </a:solidFill>
            <a:prstDash val="sysDash"/>
            <a:miter lim="800000"/>
            <a:headEnd type="none" w="med" len="med"/>
            <a:tailEnd type="none" w="med" len="med"/>
          </a:ln>
          <a:effectLst/>
        </p:spPr>
      </p:cxnSp>
      <p:cxnSp>
        <p:nvCxnSpPr>
          <p:cNvPr id="70" name="Straight Connector 69"/>
          <p:cNvCxnSpPr/>
          <p:nvPr/>
        </p:nvCxnSpPr>
        <p:spPr>
          <a:xfrm flipV="1">
            <a:off x="6078691" y="4751992"/>
            <a:ext cx="0" cy="457200"/>
          </a:xfrm>
          <a:prstGeom prst="line">
            <a:avLst/>
          </a:prstGeom>
          <a:noFill/>
          <a:ln w="38100" cap="sq" cmpd="sng" algn="ctr">
            <a:solidFill>
              <a:srgbClr val="7FBA00"/>
            </a:solidFill>
            <a:prstDash val="sysDash"/>
            <a:miter lim="800000"/>
            <a:headEnd type="none" w="med" len="med"/>
            <a:tailEnd type="triangle" w="lg" len="med"/>
          </a:ln>
          <a:effectLst/>
        </p:spPr>
      </p:cxnSp>
      <p:cxnSp>
        <p:nvCxnSpPr>
          <p:cNvPr id="71" name="Straight Connector 70"/>
          <p:cNvCxnSpPr/>
          <p:nvPr/>
        </p:nvCxnSpPr>
        <p:spPr>
          <a:xfrm flipH="1">
            <a:off x="3443839" y="3882444"/>
            <a:ext cx="1280160" cy="0"/>
          </a:xfrm>
          <a:prstGeom prst="line">
            <a:avLst/>
          </a:prstGeom>
          <a:noFill/>
          <a:ln w="38100" cap="sq" cmpd="sng" algn="ctr">
            <a:solidFill>
              <a:srgbClr val="7FBA00"/>
            </a:solidFill>
            <a:prstDash val="sysDash"/>
            <a:miter lim="800000"/>
            <a:headEnd type="none" w="med" len="med"/>
            <a:tailEnd type="none" w="med" len="med"/>
          </a:ln>
          <a:effectLst/>
        </p:spPr>
      </p:cxnSp>
      <p:sp>
        <p:nvSpPr>
          <p:cNvPr id="72" name="TextBox 71"/>
          <p:cNvSpPr txBox="1"/>
          <p:nvPr/>
        </p:nvSpPr>
        <p:spPr>
          <a:xfrm>
            <a:off x="9346889" y="4604327"/>
            <a:ext cx="1513221" cy="535531"/>
          </a:xfrm>
          <a:prstGeom prst="rect">
            <a:avLst/>
          </a:prstGeom>
          <a:solidFill>
            <a:schemeClr val="bg1"/>
          </a:solidFill>
        </p:spPr>
        <p:txBody>
          <a:bodyPr wrap="square" lIns="91440" tIns="73152" rIns="91440" bIns="73152" rtlCol="0">
            <a:spAutoFit/>
          </a:bodyPr>
          <a:lstStyle/>
          <a:p>
            <a:pPr marL="0" marR="0" lvl="0" indent="0" defTabSz="896386" eaLnBrk="1" fontAlgn="auto" latinLnBrk="0" hangingPunct="1">
              <a:lnSpc>
                <a:spcPct val="90000"/>
              </a:lnSpc>
              <a:spcBef>
                <a:spcPts val="0"/>
              </a:spcBef>
              <a:spcAft>
                <a:spcPts val="588"/>
              </a:spcAft>
              <a:buClrTx/>
              <a:buSzTx/>
              <a:buFontTx/>
              <a:buNone/>
              <a:tabLst/>
              <a:defRPr/>
            </a:pPr>
            <a:r>
              <a:rPr kumimoji="0" lang="en-US" sz="1400" b="0" i="0" u="none" strike="noStrike" kern="0" cap="none" spc="0" normalizeH="0" baseline="0" noProof="0" dirty="0">
                <a:ln>
                  <a:noFill/>
                </a:ln>
                <a:solidFill>
                  <a:schemeClr val="tx2"/>
                </a:solidFill>
                <a:effectLst/>
                <a:uLnTx/>
                <a:uFillTx/>
                <a:latin typeface="Segoe UI Semibold" panose="020B0702040204020203" pitchFamily="34" charset="0"/>
                <a:cs typeface="Segoe UI Semibold" panose="020B0702040204020203" pitchFamily="34" charset="0"/>
              </a:rPr>
              <a:t>[T1] </a:t>
            </a:r>
            <a:r>
              <a:rPr kumimoji="0" lang="en-US" sz="1400" b="0" i="0" u="none" strike="noStrike" kern="0" cap="none" spc="0" normalizeH="0" baseline="0" noProof="0" dirty="0">
                <a:ln>
                  <a:noFill/>
                </a:ln>
                <a:solidFill>
                  <a:schemeClr val="tx2"/>
                </a:solidFill>
                <a:effectLst/>
                <a:uLnTx/>
                <a:uFillTx/>
              </a:rPr>
              <a:t>Alice, Write</a:t>
            </a:r>
            <a:br>
              <a:rPr kumimoji="0" lang="en-US" sz="1400" b="0" i="0" u="none" strike="noStrike" kern="0" cap="none" spc="0" normalizeH="0" baseline="0" noProof="0" dirty="0">
                <a:ln>
                  <a:noFill/>
                </a:ln>
                <a:solidFill>
                  <a:schemeClr val="tx2"/>
                </a:solidFill>
                <a:effectLst/>
                <a:uLnTx/>
                <a:uFillTx/>
              </a:rPr>
            </a:br>
            <a:r>
              <a:rPr kumimoji="0" lang="en-US" sz="1400" b="0" i="0" u="none" strike="noStrike" kern="0" cap="none" spc="0" normalizeH="0" baseline="0" noProof="0" dirty="0">
                <a:ln>
                  <a:noFill/>
                </a:ln>
                <a:solidFill>
                  <a:schemeClr val="tx2"/>
                </a:solidFill>
                <a:effectLst/>
                <a:uLnTx/>
                <a:uFillTx/>
                <a:latin typeface="Segoe UI Semibold" panose="020B0702040204020203" pitchFamily="34" charset="0"/>
                <a:cs typeface="Segoe UI Semibold" panose="020B0702040204020203" pitchFamily="34" charset="0"/>
              </a:rPr>
              <a:t>[T2] </a:t>
            </a:r>
            <a:r>
              <a:rPr kumimoji="0" lang="en-US" sz="1400" b="0" i="0" u="none" strike="noStrike" kern="0" cap="none" spc="0" normalizeH="0" baseline="0" noProof="0" dirty="0">
                <a:ln>
                  <a:noFill/>
                </a:ln>
                <a:solidFill>
                  <a:schemeClr val="tx2"/>
                </a:solidFill>
                <a:effectLst/>
                <a:uLnTx/>
                <a:uFillTx/>
              </a:rPr>
              <a:t>Bob, Read</a:t>
            </a:r>
          </a:p>
        </p:txBody>
      </p:sp>
      <p:sp>
        <p:nvSpPr>
          <p:cNvPr id="34" name="Freeform 163"/>
          <p:cNvSpPr/>
          <p:nvPr/>
        </p:nvSpPr>
        <p:spPr bwMode="auto">
          <a:xfrm>
            <a:off x="9540323" y="3496258"/>
            <a:ext cx="1126351" cy="973723"/>
          </a:xfrm>
          <a:custGeom>
            <a:avLst/>
            <a:gdLst>
              <a:gd name="connsiteX0" fmla="*/ 2045820 w 4638512"/>
              <a:gd name="connsiteY0" fmla="*/ 2246179 h 4009962"/>
              <a:gd name="connsiteX1" fmla="*/ 2135116 w 4638512"/>
              <a:gd name="connsiteY1" fmla="*/ 2478723 h 4009962"/>
              <a:gd name="connsiteX2" fmla="*/ 2043959 w 4638512"/>
              <a:gd name="connsiteY2" fmla="*/ 2711267 h 4009962"/>
              <a:gd name="connsiteX3" fmla="*/ 1950477 w 4638512"/>
              <a:gd name="connsiteY3" fmla="*/ 2485699 h 4009962"/>
              <a:gd name="connsiteX4" fmla="*/ 2045820 w 4638512"/>
              <a:gd name="connsiteY4" fmla="*/ 2246179 h 4009962"/>
              <a:gd name="connsiteX5" fmla="*/ 2052331 w 4638512"/>
              <a:gd name="connsiteY5" fmla="*/ 2134093 h 4009962"/>
              <a:gd name="connsiteX6" fmla="*/ 1865598 w 4638512"/>
              <a:gd name="connsiteY6" fmla="*/ 2225018 h 4009962"/>
              <a:gd name="connsiteX7" fmla="*/ 1801183 w 4638512"/>
              <a:gd name="connsiteY7" fmla="*/ 2489420 h 4009962"/>
              <a:gd name="connsiteX8" fmla="*/ 2039308 w 4638512"/>
              <a:gd name="connsiteY8" fmla="*/ 2823818 h 4009962"/>
              <a:gd name="connsiteX9" fmla="*/ 2221390 w 4638512"/>
              <a:gd name="connsiteY9" fmla="*/ 2733591 h 4009962"/>
              <a:gd name="connsiteX10" fmla="*/ 2284875 w 4638512"/>
              <a:gd name="connsiteY10" fmla="*/ 2474072 h 4009962"/>
              <a:gd name="connsiteX11" fmla="*/ 2052331 w 4638512"/>
              <a:gd name="connsiteY11" fmla="*/ 2134093 h 4009962"/>
              <a:gd name="connsiteX12" fmla="*/ 2619664 w 4638512"/>
              <a:gd name="connsiteY12" fmla="*/ 2130372 h 4009962"/>
              <a:gd name="connsiteX13" fmla="*/ 2528041 w 4638512"/>
              <a:gd name="connsiteY13" fmla="*/ 2187578 h 4009962"/>
              <a:gd name="connsiteX14" fmla="*/ 2420141 w 4638512"/>
              <a:gd name="connsiteY14" fmla="*/ 2230366 h 4009962"/>
              <a:gd name="connsiteX15" fmla="*/ 2420141 w 4638512"/>
              <a:gd name="connsiteY15" fmla="*/ 2354080 h 4009962"/>
              <a:gd name="connsiteX16" fmla="*/ 2459673 w 4638512"/>
              <a:gd name="connsiteY16" fmla="*/ 2346406 h 4009962"/>
              <a:gd name="connsiteX17" fmla="*/ 2498276 w 4638512"/>
              <a:gd name="connsiteY17" fmla="*/ 2333383 h 4009962"/>
              <a:gd name="connsiteX18" fmla="*/ 2533390 w 4638512"/>
              <a:gd name="connsiteY18" fmla="*/ 2316175 h 4009962"/>
              <a:gd name="connsiteX19" fmla="*/ 2561993 w 4638512"/>
              <a:gd name="connsiteY19" fmla="*/ 2295944 h 4009962"/>
              <a:gd name="connsiteX20" fmla="*/ 2561993 w 4638512"/>
              <a:gd name="connsiteY20" fmla="*/ 2812191 h 4009962"/>
              <a:gd name="connsiteX21" fmla="*/ 2708495 w 4638512"/>
              <a:gd name="connsiteY21" fmla="*/ 2812191 h 4009962"/>
              <a:gd name="connsiteX22" fmla="*/ 2708495 w 4638512"/>
              <a:gd name="connsiteY22" fmla="*/ 2130372 h 4009962"/>
              <a:gd name="connsiteX23" fmla="*/ 2598269 w 4638512"/>
              <a:gd name="connsiteY23" fmla="*/ 1315451 h 4009962"/>
              <a:gd name="connsiteX24" fmla="*/ 2687566 w 4638512"/>
              <a:gd name="connsiteY24" fmla="*/ 1547995 h 4009962"/>
              <a:gd name="connsiteX25" fmla="*/ 2596409 w 4638512"/>
              <a:gd name="connsiteY25" fmla="*/ 1780539 h 4009962"/>
              <a:gd name="connsiteX26" fmla="*/ 2502926 w 4638512"/>
              <a:gd name="connsiteY26" fmla="*/ 1554971 h 4009962"/>
              <a:gd name="connsiteX27" fmla="*/ 2598269 w 4638512"/>
              <a:gd name="connsiteY27" fmla="*/ 1315451 h 4009962"/>
              <a:gd name="connsiteX28" fmla="*/ 2604781 w 4638512"/>
              <a:gd name="connsiteY28" fmla="*/ 1203365 h 4009962"/>
              <a:gd name="connsiteX29" fmla="*/ 2418048 w 4638512"/>
              <a:gd name="connsiteY29" fmla="*/ 1294290 h 4009962"/>
              <a:gd name="connsiteX30" fmla="*/ 2353633 w 4638512"/>
              <a:gd name="connsiteY30" fmla="*/ 1558692 h 4009962"/>
              <a:gd name="connsiteX31" fmla="*/ 2591758 w 4638512"/>
              <a:gd name="connsiteY31" fmla="*/ 1893090 h 4009962"/>
              <a:gd name="connsiteX32" fmla="*/ 2773840 w 4638512"/>
              <a:gd name="connsiteY32" fmla="*/ 1802863 h 4009962"/>
              <a:gd name="connsiteX33" fmla="*/ 2837325 w 4638512"/>
              <a:gd name="connsiteY33" fmla="*/ 1543344 h 4009962"/>
              <a:gd name="connsiteX34" fmla="*/ 2604781 w 4638512"/>
              <a:gd name="connsiteY34" fmla="*/ 1203365 h 4009962"/>
              <a:gd name="connsiteX35" fmla="*/ 2067214 w 4638512"/>
              <a:gd name="connsiteY35" fmla="*/ 1199644 h 4009962"/>
              <a:gd name="connsiteX36" fmla="*/ 1975591 w 4638512"/>
              <a:gd name="connsiteY36" fmla="*/ 1256850 h 4009962"/>
              <a:gd name="connsiteX37" fmla="*/ 1867691 w 4638512"/>
              <a:gd name="connsiteY37" fmla="*/ 1299638 h 4009962"/>
              <a:gd name="connsiteX38" fmla="*/ 1867691 w 4638512"/>
              <a:gd name="connsiteY38" fmla="*/ 1423352 h 4009962"/>
              <a:gd name="connsiteX39" fmla="*/ 1907223 w 4638512"/>
              <a:gd name="connsiteY39" fmla="*/ 1415678 h 4009962"/>
              <a:gd name="connsiteX40" fmla="*/ 1945826 w 4638512"/>
              <a:gd name="connsiteY40" fmla="*/ 1402655 h 4009962"/>
              <a:gd name="connsiteX41" fmla="*/ 1980940 w 4638512"/>
              <a:gd name="connsiteY41" fmla="*/ 1385447 h 4009962"/>
              <a:gd name="connsiteX42" fmla="*/ 2009543 w 4638512"/>
              <a:gd name="connsiteY42" fmla="*/ 1365216 h 4009962"/>
              <a:gd name="connsiteX43" fmla="*/ 2009543 w 4638512"/>
              <a:gd name="connsiteY43" fmla="*/ 1881463 h 4009962"/>
              <a:gd name="connsiteX44" fmla="*/ 2156045 w 4638512"/>
              <a:gd name="connsiteY44" fmla="*/ 1881463 h 4009962"/>
              <a:gd name="connsiteX45" fmla="*/ 2156045 w 4638512"/>
              <a:gd name="connsiteY45" fmla="*/ 1199644 h 4009962"/>
              <a:gd name="connsiteX46" fmla="*/ 1451717 w 4638512"/>
              <a:gd name="connsiteY46" fmla="*/ 975276 h 4009962"/>
              <a:gd name="connsiteX47" fmla="*/ 2932580 w 4638512"/>
              <a:gd name="connsiteY47" fmla="*/ 975277 h 4009962"/>
              <a:gd name="connsiteX48" fmla="*/ 2932580 w 4638512"/>
              <a:gd name="connsiteY48" fmla="*/ 1360287 h 4009962"/>
              <a:gd name="connsiteX49" fmla="*/ 3300325 w 4638512"/>
              <a:gd name="connsiteY49" fmla="*/ 1360287 h 4009962"/>
              <a:gd name="connsiteX50" fmla="*/ 3300325 w 4638512"/>
              <a:gd name="connsiteY50" fmla="*/ 2920137 h 4009962"/>
              <a:gd name="connsiteX51" fmla="*/ 3185379 w 4638512"/>
              <a:gd name="connsiteY51" fmla="*/ 3035083 h 4009962"/>
              <a:gd name="connsiteX52" fmla="*/ 1451717 w 4638512"/>
              <a:gd name="connsiteY52" fmla="*/ 3035083 h 4009962"/>
              <a:gd name="connsiteX53" fmla="*/ 1336771 w 4638512"/>
              <a:gd name="connsiteY53" fmla="*/ 2920137 h 4009962"/>
              <a:gd name="connsiteX54" fmla="*/ 1336771 w 4638512"/>
              <a:gd name="connsiteY54" fmla="*/ 1090222 h 4009962"/>
              <a:gd name="connsiteX55" fmla="*/ 1451717 w 4638512"/>
              <a:gd name="connsiteY55" fmla="*/ 975276 h 4009962"/>
              <a:gd name="connsiteX56" fmla="*/ 1471468 w 4638512"/>
              <a:gd name="connsiteY56" fmla="*/ 797915 h 4009962"/>
              <a:gd name="connsiteX57" fmla="*/ 1156956 w 4638512"/>
              <a:gd name="connsiteY57" fmla="*/ 1112426 h 4009962"/>
              <a:gd name="connsiteX58" fmla="*/ 1156956 w 4638512"/>
              <a:gd name="connsiteY58" fmla="*/ 2900449 h 4009962"/>
              <a:gd name="connsiteX59" fmla="*/ 1471468 w 4638512"/>
              <a:gd name="connsiteY59" fmla="*/ 3214961 h 4009962"/>
              <a:gd name="connsiteX60" fmla="*/ 3166302 w 4638512"/>
              <a:gd name="connsiteY60" fmla="*/ 3214961 h 4009962"/>
              <a:gd name="connsiteX61" fmla="*/ 3480814 w 4638512"/>
              <a:gd name="connsiteY61" fmla="*/ 2900449 h 4009962"/>
              <a:gd name="connsiteX62" fmla="*/ 3480814 w 4638512"/>
              <a:gd name="connsiteY62" fmla="*/ 1279104 h 4009962"/>
              <a:gd name="connsiteX63" fmla="*/ 2999625 w 4638512"/>
              <a:gd name="connsiteY63" fmla="*/ 797915 h 4009962"/>
              <a:gd name="connsiteX64" fmla="*/ 1168463 w 4638512"/>
              <a:gd name="connsiteY64" fmla="*/ 0 h 4009962"/>
              <a:gd name="connsiteX65" fmla="*/ 3470048 w 4638512"/>
              <a:gd name="connsiteY65" fmla="*/ 0 h 4009962"/>
              <a:gd name="connsiteX66" fmla="*/ 4638512 w 4638512"/>
              <a:gd name="connsiteY66" fmla="*/ 2004981 h 4009962"/>
              <a:gd name="connsiteX67" fmla="*/ 3470048 w 4638512"/>
              <a:gd name="connsiteY67" fmla="*/ 4009962 h 4009962"/>
              <a:gd name="connsiteX68" fmla="*/ 1168463 w 4638512"/>
              <a:gd name="connsiteY68" fmla="*/ 4009962 h 4009962"/>
              <a:gd name="connsiteX69" fmla="*/ 0 w 4638512"/>
              <a:gd name="connsiteY69" fmla="*/ 2004981 h 4009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4638512" h="4009962">
                <a:moveTo>
                  <a:pt x="2045820" y="2246179"/>
                </a:moveTo>
                <a:cubicBezTo>
                  <a:pt x="2105351" y="2246179"/>
                  <a:pt x="2135116" y="2323694"/>
                  <a:pt x="2135116" y="2478723"/>
                </a:cubicBezTo>
                <a:cubicBezTo>
                  <a:pt x="2135116" y="2633753"/>
                  <a:pt x="2104731" y="2711267"/>
                  <a:pt x="2043959" y="2711267"/>
                </a:cubicBezTo>
                <a:cubicBezTo>
                  <a:pt x="1981637" y="2711267"/>
                  <a:pt x="1950477" y="2636078"/>
                  <a:pt x="1950477" y="2485699"/>
                </a:cubicBezTo>
                <a:cubicBezTo>
                  <a:pt x="1950477" y="2326019"/>
                  <a:pt x="1982258" y="2246179"/>
                  <a:pt x="2045820" y="2246179"/>
                </a:cubicBezTo>
                <a:close/>
                <a:moveTo>
                  <a:pt x="2052331" y="2134093"/>
                </a:moveTo>
                <a:cubicBezTo>
                  <a:pt x="1970785" y="2134093"/>
                  <a:pt x="1908541" y="2164401"/>
                  <a:pt x="1865598" y="2225018"/>
                </a:cubicBezTo>
                <a:cubicBezTo>
                  <a:pt x="1822655" y="2285634"/>
                  <a:pt x="1801183" y="2373768"/>
                  <a:pt x="1801183" y="2489420"/>
                </a:cubicBezTo>
                <a:cubicBezTo>
                  <a:pt x="1801183" y="2712352"/>
                  <a:pt x="1880558" y="2823818"/>
                  <a:pt x="2039308" y="2823818"/>
                </a:cubicBezTo>
                <a:cubicBezTo>
                  <a:pt x="2118373" y="2823818"/>
                  <a:pt x="2179067" y="2793743"/>
                  <a:pt x="2221390" y="2733591"/>
                </a:cubicBezTo>
                <a:cubicBezTo>
                  <a:pt x="2263713" y="2673440"/>
                  <a:pt x="2284875" y="2586934"/>
                  <a:pt x="2284875" y="2474072"/>
                </a:cubicBezTo>
                <a:cubicBezTo>
                  <a:pt x="2284875" y="2247419"/>
                  <a:pt x="2207360" y="2134093"/>
                  <a:pt x="2052331" y="2134093"/>
                </a:cubicBezTo>
                <a:close/>
                <a:moveTo>
                  <a:pt x="2619664" y="2130372"/>
                </a:moveTo>
                <a:cubicBezTo>
                  <a:pt x="2592378" y="2151146"/>
                  <a:pt x="2561838" y="2170215"/>
                  <a:pt x="2528041" y="2187578"/>
                </a:cubicBezTo>
                <a:cubicBezTo>
                  <a:pt x="2494245" y="2204941"/>
                  <a:pt x="2458278" y="2219204"/>
                  <a:pt x="2420141" y="2230366"/>
                </a:cubicBezTo>
                <a:lnTo>
                  <a:pt x="2420141" y="2354080"/>
                </a:lnTo>
                <a:cubicBezTo>
                  <a:pt x="2433163" y="2352529"/>
                  <a:pt x="2446341" y="2349971"/>
                  <a:pt x="2459673" y="2346406"/>
                </a:cubicBezTo>
                <a:cubicBezTo>
                  <a:pt x="2473006" y="2342840"/>
                  <a:pt x="2485873" y="2338499"/>
                  <a:pt x="2498276" y="2333383"/>
                </a:cubicBezTo>
                <a:cubicBezTo>
                  <a:pt x="2510678" y="2328267"/>
                  <a:pt x="2522383" y="2322531"/>
                  <a:pt x="2533390" y="2316175"/>
                </a:cubicBezTo>
                <a:cubicBezTo>
                  <a:pt x="2544397" y="2309819"/>
                  <a:pt x="2553931" y="2303075"/>
                  <a:pt x="2561993" y="2295944"/>
                </a:cubicBezTo>
                <a:lnTo>
                  <a:pt x="2561993" y="2812191"/>
                </a:lnTo>
                <a:lnTo>
                  <a:pt x="2708495" y="2812191"/>
                </a:lnTo>
                <a:lnTo>
                  <a:pt x="2708495" y="2130372"/>
                </a:lnTo>
                <a:close/>
                <a:moveTo>
                  <a:pt x="2598269" y="1315451"/>
                </a:moveTo>
                <a:cubicBezTo>
                  <a:pt x="2657801" y="1315451"/>
                  <a:pt x="2687566" y="1392966"/>
                  <a:pt x="2687566" y="1547995"/>
                </a:cubicBezTo>
                <a:cubicBezTo>
                  <a:pt x="2687566" y="1703024"/>
                  <a:pt x="2657181" y="1780539"/>
                  <a:pt x="2596409" y="1780539"/>
                </a:cubicBezTo>
                <a:cubicBezTo>
                  <a:pt x="2534087" y="1780539"/>
                  <a:pt x="2502926" y="1705350"/>
                  <a:pt x="2502926" y="1554971"/>
                </a:cubicBezTo>
                <a:cubicBezTo>
                  <a:pt x="2502926" y="1395291"/>
                  <a:pt x="2534707" y="1315451"/>
                  <a:pt x="2598269" y="1315451"/>
                </a:cubicBezTo>
                <a:close/>
                <a:moveTo>
                  <a:pt x="2604781" y="1203365"/>
                </a:moveTo>
                <a:cubicBezTo>
                  <a:pt x="2523235" y="1203365"/>
                  <a:pt x="2460991" y="1233673"/>
                  <a:pt x="2418048" y="1294290"/>
                </a:cubicBezTo>
                <a:cubicBezTo>
                  <a:pt x="2375105" y="1354906"/>
                  <a:pt x="2353633" y="1443040"/>
                  <a:pt x="2353633" y="1558692"/>
                </a:cubicBezTo>
                <a:cubicBezTo>
                  <a:pt x="2353633" y="1781624"/>
                  <a:pt x="2433008" y="1893090"/>
                  <a:pt x="2591758" y="1893090"/>
                </a:cubicBezTo>
                <a:cubicBezTo>
                  <a:pt x="2670823" y="1893090"/>
                  <a:pt x="2731517" y="1863015"/>
                  <a:pt x="2773840" y="1802863"/>
                </a:cubicBezTo>
                <a:cubicBezTo>
                  <a:pt x="2816163" y="1742712"/>
                  <a:pt x="2837325" y="1656206"/>
                  <a:pt x="2837325" y="1543344"/>
                </a:cubicBezTo>
                <a:cubicBezTo>
                  <a:pt x="2837325" y="1316691"/>
                  <a:pt x="2759810" y="1203365"/>
                  <a:pt x="2604781" y="1203365"/>
                </a:cubicBezTo>
                <a:close/>
                <a:moveTo>
                  <a:pt x="2067214" y="1199644"/>
                </a:moveTo>
                <a:cubicBezTo>
                  <a:pt x="2039928" y="1220418"/>
                  <a:pt x="2009388" y="1239487"/>
                  <a:pt x="1975591" y="1256850"/>
                </a:cubicBezTo>
                <a:cubicBezTo>
                  <a:pt x="1941795" y="1274213"/>
                  <a:pt x="1905828" y="1288476"/>
                  <a:pt x="1867691" y="1299638"/>
                </a:cubicBezTo>
                <a:lnTo>
                  <a:pt x="1867691" y="1423352"/>
                </a:lnTo>
                <a:cubicBezTo>
                  <a:pt x="1880713" y="1421801"/>
                  <a:pt x="1893891" y="1419243"/>
                  <a:pt x="1907223" y="1415678"/>
                </a:cubicBezTo>
                <a:cubicBezTo>
                  <a:pt x="1920556" y="1412112"/>
                  <a:pt x="1933423" y="1407771"/>
                  <a:pt x="1945826" y="1402655"/>
                </a:cubicBezTo>
                <a:cubicBezTo>
                  <a:pt x="1958228" y="1397539"/>
                  <a:pt x="1969933" y="1391803"/>
                  <a:pt x="1980940" y="1385447"/>
                </a:cubicBezTo>
                <a:cubicBezTo>
                  <a:pt x="1991947" y="1379091"/>
                  <a:pt x="2001481" y="1372347"/>
                  <a:pt x="2009543" y="1365216"/>
                </a:cubicBezTo>
                <a:lnTo>
                  <a:pt x="2009543" y="1881463"/>
                </a:lnTo>
                <a:lnTo>
                  <a:pt x="2156045" y="1881463"/>
                </a:lnTo>
                <a:lnTo>
                  <a:pt x="2156045" y="1199644"/>
                </a:lnTo>
                <a:close/>
                <a:moveTo>
                  <a:pt x="1451717" y="975276"/>
                </a:moveTo>
                <a:lnTo>
                  <a:pt x="2932580" y="975277"/>
                </a:lnTo>
                <a:lnTo>
                  <a:pt x="2932580" y="1360287"/>
                </a:lnTo>
                <a:lnTo>
                  <a:pt x="3300325" y="1360287"/>
                </a:lnTo>
                <a:lnTo>
                  <a:pt x="3300325" y="2920137"/>
                </a:lnTo>
                <a:cubicBezTo>
                  <a:pt x="3300325" y="2983620"/>
                  <a:pt x="3248862" y="3035083"/>
                  <a:pt x="3185379" y="3035083"/>
                </a:cubicBezTo>
                <a:lnTo>
                  <a:pt x="1451717" y="3035083"/>
                </a:lnTo>
                <a:cubicBezTo>
                  <a:pt x="1388234" y="3035083"/>
                  <a:pt x="1336771" y="2983619"/>
                  <a:pt x="1336771" y="2920137"/>
                </a:cubicBezTo>
                <a:lnTo>
                  <a:pt x="1336771" y="1090222"/>
                </a:lnTo>
                <a:cubicBezTo>
                  <a:pt x="1336771" y="1026739"/>
                  <a:pt x="1388234" y="975276"/>
                  <a:pt x="1451717" y="975276"/>
                </a:cubicBezTo>
                <a:close/>
                <a:moveTo>
                  <a:pt x="1471468" y="797915"/>
                </a:moveTo>
                <a:cubicBezTo>
                  <a:pt x="1297768" y="797915"/>
                  <a:pt x="1156956" y="938726"/>
                  <a:pt x="1156956" y="1112426"/>
                </a:cubicBezTo>
                <a:lnTo>
                  <a:pt x="1156956" y="2900449"/>
                </a:lnTo>
                <a:cubicBezTo>
                  <a:pt x="1156956" y="3074149"/>
                  <a:pt x="1297768" y="3214960"/>
                  <a:pt x="1471468" y="3214961"/>
                </a:cubicBezTo>
                <a:lnTo>
                  <a:pt x="3166302" y="3214961"/>
                </a:lnTo>
                <a:cubicBezTo>
                  <a:pt x="3340003" y="3214960"/>
                  <a:pt x="3480814" y="3074149"/>
                  <a:pt x="3480814" y="2900449"/>
                </a:cubicBezTo>
                <a:lnTo>
                  <a:pt x="3480814" y="1279104"/>
                </a:lnTo>
                <a:lnTo>
                  <a:pt x="2999625" y="797915"/>
                </a:lnTo>
                <a:close/>
                <a:moveTo>
                  <a:pt x="1168463" y="0"/>
                </a:moveTo>
                <a:lnTo>
                  <a:pt x="3470048" y="0"/>
                </a:lnTo>
                <a:lnTo>
                  <a:pt x="4638512" y="2004981"/>
                </a:lnTo>
                <a:lnTo>
                  <a:pt x="3470048" y="4009962"/>
                </a:lnTo>
                <a:lnTo>
                  <a:pt x="1168463" y="4009962"/>
                </a:lnTo>
                <a:lnTo>
                  <a:pt x="0" y="2004981"/>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Tree>
    <p:extLst>
      <p:ext uri="{BB962C8B-B14F-4D97-AF65-F5344CB8AC3E}">
        <p14:creationId xmlns:p14="http://schemas.microsoft.com/office/powerpoint/2010/main" val="325958085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63"/>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6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3" grpId="0"/>
      <p:bldP spid="64" grpId="0"/>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7" name="Group 26"/>
          <p:cNvGrpSpPr/>
          <p:nvPr/>
        </p:nvGrpSpPr>
        <p:grpSpPr>
          <a:xfrm rot="5400000">
            <a:off x="8313715" y="2793888"/>
            <a:ext cx="2222546" cy="4416425"/>
            <a:chOff x="6983531" y="2495731"/>
            <a:chExt cx="1714606" cy="3407102"/>
          </a:xfrm>
        </p:grpSpPr>
        <p:sp>
          <p:nvSpPr>
            <p:cNvPr id="35" name="Freeform 58"/>
            <p:cNvSpPr>
              <a:spLocks/>
            </p:cNvSpPr>
            <p:nvPr/>
          </p:nvSpPr>
          <p:spPr bwMode="auto">
            <a:xfrm>
              <a:off x="8237483" y="4013076"/>
              <a:ext cx="460654" cy="1020711"/>
            </a:xfrm>
            <a:custGeom>
              <a:avLst/>
              <a:gdLst>
                <a:gd name="T0" fmla="*/ 12 w 72"/>
                <a:gd name="T1" fmla="*/ 0 h 160"/>
                <a:gd name="T2" fmla="*/ 0 w 72"/>
                <a:gd name="T3" fmla="*/ 76 h 160"/>
                <a:gd name="T4" fmla="*/ 57 w 72"/>
                <a:gd name="T5" fmla="*/ 151 h 160"/>
                <a:gd name="T6" fmla="*/ 67 w 72"/>
                <a:gd name="T7" fmla="*/ 151 h 160"/>
                <a:gd name="T8" fmla="*/ 12 w 72"/>
                <a:gd name="T9" fmla="*/ 0 h 160"/>
              </a:gdLst>
              <a:ahLst/>
              <a:cxnLst>
                <a:cxn ang="0">
                  <a:pos x="T0" y="T1"/>
                </a:cxn>
                <a:cxn ang="0">
                  <a:pos x="T2" y="T3"/>
                </a:cxn>
                <a:cxn ang="0">
                  <a:pos x="T4" y="T5"/>
                </a:cxn>
                <a:cxn ang="0">
                  <a:pos x="T6" y="T7"/>
                </a:cxn>
                <a:cxn ang="0">
                  <a:pos x="T8" y="T9"/>
                </a:cxn>
              </a:cxnLst>
              <a:rect l="0" t="0" r="r" b="b"/>
              <a:pathLst>
                <a:path w="72" h="160">
                  <a:moveTo>
                    <a:pt x="12" y="0"/>
                  </a:moveTo>
                  <a:cubicBezTo>
                    <a:pt x="11" y="24"/>
                    <a:pt x="8" y="49"/>
                    <a:pt x="0" y="76"/>
                  </a:cubicBezTo>
                  <a:cubicBezTo>
                    <a:pt x="45" y="82"/>
                    <a:pt x="56" y="147"/>
                    <a:pt x="57" y="151"/>
                  </a:cubicBezTo>
                  <a:cubicBezTo>
                    <a:pt x="58" y="160"/>
                    <a:pt x="67" y="157"/>
                    <a:pt x="67" y="151"/>
                  </a:cubicBezTo>
                  <a:cubicBezTo>
                    <a:pt x="72" y="50"/>
                    <a:pt x="21" y="7"/>
                    <a:pt x="12" y="0"/>
                  </a:cubicBezTo>
                  <a:close/>
                </a:path>
              </a:pathLst>
            </a:custGeom>
            <a:solidFill>
              <a:srgbClr val="DC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normalizeH="0" baseline="0" noProof="0" dirty="0">
                <a:ln>
                  <a:noFill/>
                </a:ln>
                <a:solidFill>
                  <a:schemeClr val="tx2"/>
                </a:solidFill>
                <a:effectLst/>
                <a:uLnTx/>
                <a:uFillTx/>
              </a:endParaRPr>
            </a:p>
          </p:txBody>
        </p:sp>
        <p:sp>
          <p:nvSpPr>
            <p:cNvPr id="36" name="Freeform 59"/>
            <p:cNvSpPr>
              <a:spLocks/>
            </p:cNvSpPr>
            <p:nvPr/>
          </p:nvSpPr>
          <p:spPr bwMode="auto">
            <a:xfrm>
              <a:off x="6983531" y="4013076"/>
              <a:ext cx="455804" cy="1013436"/>
            </a:xfrm>
            <a:custGeom>
              <a:avLst/>
              <a:gdLst>
                <a:gd name="T0" fmla="*/ 59 w 71"/>
                <a:gd name="T1" fmla="*/ 0 h 159"/>
                <a:gd name="T2" fmla="*/ 5 w 71"/>
                <a:gd name="T3" fmla="*/ 150 h 159"/>
                <a:gd name="T4" fmla="*/ 15 w 71"/>
                <a:gd name="T5" fmla="*/ 150 h 159"/>
                <a:gd name="T6" fmla="*/ 71 w 71"/>
                <a:gd name="T7" fmla="*/ 75 h 159"/>
                <a:gd name="T8" fmla="*/ 59 w 71"/>
                <a:gd name="T9" fmla="*/ 0 h 159"/>
              </a:gdLst>
              <a:ahLst/>
              <a:cxnLst>
                <a:cxn ang="0">
                  <a:pos x="T0" y="T1"/>
                </a:cxn>
                <a:cxn ang="0">
                  <a:pos x="T2" y="T3"/>
                </a:cxn>
                <a:cxn ang="0">
                  <a:pos x="T4" y="T5"/>
                </a:cxn>
                <a:cxn ang="0">
                  <a:pos x="T6" y="T7"/>
                </a:cxn>
                <a:cxn ang="0">
                  <a:pos x="T8" y="T9"/>
                </a:cxn>
              </a:cxnLst>
              <a:rect l="0" t="0" r="r" b="b"/>
              <a:pathLst>
                <a:path w="71" h="159">
                  <a:moveTo>
                    <a:pt x="59" y="0"/>
                  </a:moveTo>
                  <a:cubicBezTo>
                    <a:pt x="48" y="9"/>
                    <a:pt x="0" y="52"/>
                    <a:pt x="5" y="150"/>
                  </a:cubicBezTo>
                  <a:cubicBezTo>
                    <a:pt x="5" y="156"/>
                    <a:pt x="14" y="159"/>
                    <a:pt x="15" y="150"/>
                  </a:cubicBezTo>
                  <a:cubicBezTo>
                    <a:pt x="16" y="146"/>
                    <a:pt x="27" y="82"/>
                    <a:pt x="71" y="75"/>
                  </a:cubicBezTo>
                  <a:cubicBezTo>
                    <a:pt x="63" y="49"/>
                    <a:pt x="60" y="23"/>
                    <a:pt x="59" y="0"/>
                  </a:cubicBezTo>
                  <a:close/>
                </a:path>
              </a:pathLst>
            </a:custGeom>
            <a:solidFill>
              <a:srgbClr val="DC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normalizeH="0" baseline="0" noProof="0" dirty="0">
                <a:ln>
                  <a:noFill/>
                </a:ln>
                <a:solidFill>
                  <a:schemeClr val="tx2"/>
                </a:solidFill>
                <a:effectLst/>
                <a:uLnTx/>
                <a:uFillTx/>
              </a:endParaRPr>
            </a:p>
          </p:txBody>
        </p:sp>
        <p:sp>
          <p:nvSpPr>
            <p:cNvPr id="37" name="Freeform 61"/>
            <p:cNvSpPr>
              <a:spLocks/>
            </p:cNvSpPr>
            <p:nvPr/>
          </p:nvSpPr>
          <p:spPr bwMode="auto">
            <a:xfrm>
              <a:off x="7642992" y="2495731"/>
              <a:ext cx="409739" cy="235176"/>
            </a:xfrm>
            <a:custGeom>
              <a:avLst/>
              <a:gdLst>
                <a:gd name="T0" fmla="*/ 64 w 64"/>
                <a:gd name="T1" fmla="*/ 37 h 37"/>
                <a:gd name="T2" fmla="*/ 32 w 64"/>
                <a:gd name="T3" fmla="*/ 0 h 37"/>
                <a:gd name="T4" fmla="*/ 32 w 64"/>
                <a:gd name="T5" fmla="*/ 0 h 37"/>
                <a:gd name="T6" fmla="*/ 0 w 64"/>
                <a:gd name="T7" fmla="*/ 37 h 37"/>
                <a:gd name="T8" fmla="*/ 64 w 64"/>
                <a:gd name="T9" fmla="*/ 37 h 37"/>
              </a:gdLst>
              <a:ahLst/>
              <a:cxnLst>
                <a:cxn ang="0">
                  <a:pos x="T0" y="T1"/>
                </a:cxn>
                <a:cxn ang="0">
                  <a:pos x="T2" y="T3"/>
                </a:cxn>
                <a:cxn ang="0">
                  <a:pos x="T4" y="T5"/>
                </a:cxn>
                <a:cxn ang="0">
                  <a:pos x="T6" y="T7"/>
                </a:cxn>
                <a:cxn ang="0">
                  <a:pos x="T8" y="T9"/>
                </a:cxn>
              </a:cxnLst>
              <a:rect l="0" t="0" r="r" b="b"/>
              <a:pathLst>
                <a:path w="64" h="37">
                  <a:moveTo>
                    <a:pt x="64" y="37"/>
                  </a:moveTo>
                  <a:cubicBezTo>
                    <a:pt x="51" y="14"/>
                    <a:pt x="38" y="0"/>
                    <a:pt x="32" y="0"/>
                  </a:cubicBezTo>
                  <a:cubicBezTo>
                    <a:pt x="32" y="0"/>
                    <a:pt x="32" y="0"/>
                    <a:pt x="32" y="0"/>
                  </a:cubicBezTo>
                  <a:cubicBezTo>
                    <a:pt x="26" y="0"/>
                    <a:pt x="13" y="14"/>
                    <a:pt x="0" y="37"/>
                  </a:cubicBezTo>
                  <a:lnTo>
                    <a:pt x="64" y="37"/>
                  </a:lnTo>
                  <a:close/>
                </a:path>
              </a:pathLst>
            </a:custGeom>
            <a:solidFill>
              <a:srgbClr val="DC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normalizeH="0" baseline="0" noProof="0" dirty="0">
                <a:ln>
                  <a:noFill/>
                </a:ln>
                <a:solidFill>
                  <a:schemeClr val="tx2"/>
                </a:solidFill>
                <a:effectLst/>
                <a:uLnTx/>
                <a:uFillTx/>
              </a:endParaRPr>
            </a:p>
          </p:txBody>
        </p:sp>
        <p:sp>
          <p:nvSpPr>
            <p:cNvPr id="38" name="Freeform 62"/>
            <p:cNvSpPr>
              <a:spLocks noEditPoints="1"/>
            </p:cNvSpPr>
            <p:nvPr/>
          </p:nvSpPr>
          <p:spPr bwMode="auto">
            <a:xfrm>
              <a:off x="7306234" y="2789095"/>
              <a:ext cx="1064350" cy="1690845"/>
            </a:xfrm>
            <a:custGeom>
              <a:avLst/>
              <a:gdLst>
                <a:gd name="T0" fmla="*/ 120 w 166"/>
                <a:gd name="T1" fmla="*/ 0 h 216"/>
                <a:gd name="T2" fmla="*/ 46 w 166"/>
                <a:gd name="T3" fmla="*/ 0 h 216"/>
                <a:gd name="T4" fmla="*/ 32 w 166"/>
                <a:gd name="T5" fmla="*/ 216 h 216"/>
                <a:gd name="T6" fmla="*/ 65 w 166"/>
                <a:gd name="T7" fmla="*/ 216 h 216"/>
                <a:gd name="T8" fmla="*/ 65 w 166"/>
                <a:gd name="T9" fmla="*/ 132 h 216"/>
                <a:gd name="T10" fmla="*/ 70 w 166"/>
                <a:gd name="T11" fmla="*/ 118 h 216"/>
                <a:gd name="T12" fmla="*/ 83 w 166"/>
                <a:gd name="T13" fmla="*/ 113 h 216"/>
                <a:gd name="T14" fmla="*/ 96 w 166"/>
                <a:gd name="T15" fmla="*/ 118 h 216"/>
                <a:gd name="T16" fmla="*/ 101 w 166"/>
                <a:gd name="T17" fmla="*/ 132 h 216"/>
                <a:gd name="T18" fmla="*/ 101 w 166"/>
                <a:gd name="T19" fmla="*/ 216 h 216"/>
                <a:gd name="T20" fmla="*/ 134 w 166"/>
                <a:gd name="T21" fmla="*/ 216 h 216"/>
                <a:gd name="T22" fmla="*/ 120 w 166"/>
                <a:gd name="T23" fmla="*/ 0 h 216"/>
                <a:gd name="T24" fmla="*/ 83 w 166"/>
                <a:gd name="T25" fmla="*/ 75 h 216"/>
                <a:gd name="T26" fmla="*/ 57 w 166"/>
                <a:gd name="T27" fmla="*/ 49 h 216"/>
                <a:gd name="T28" fmla="*/ 83 w 166"/>
                <a:gd name="T29" fmla="*/ 23 h 216"/>
                <a:gd name="T30" fmla="*/ 109 w 166"/>
                <a:gd name="T31" fmla="*/ 49 h 216"/>
                <a:gd name="T32" fmla="*/ 83 w 166"/>
                <a:gd name="T33" fmla="*/ 75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6" h="216">
                  <a:moveTo>
                    <a:pt x="120" y="0"/>
                  </a:moveTo>
                  <a:cubicBezTo>
                    <a:pt x="46" y="0"/>
                    <a:pt x="46" y="0"/>
                    <a:pt x="46" y="0"/>
                  </a:cubicBezTo>
                  <a:cubicBezTo>
                    <a:pt x="21" y="47"/>
                    <a:pt x="0" y="126"/>
                    <a:pt x="32" y="216"/>
                  </a:cubicBezTo>
                  <a:cubicBezTo>
                    <a:pt x="32" y="216"/>
                    <a:pt x="50" y="216"/>
                    <a:pt x="65" y="216"/>
                  </a:cubicBezTo>
                  <a:cubicBezTo>
                    <a:pt x="65" y="132"/>
                    <a:pt x="65" y="132"/>
                    <a:pt x="65" y="132"/>
                  </a:cubicBezTo>
                  <a:cubicBezTo>
                    <a:pt x="65" y="130"/>
                    <a:pt x="65" y="123"/>
                    <a:pt x="70" y="118"/>
                  </a:cubicBezTo>
                  <a:cubicBezTo>
                    <a:pt x="72" y="116"/>
                    <a:pt x="77" y="113"/>
                    <a:pt x="83" y="113"/>
                  </a:cubicBezTo>
                  <a:cubicBezTo>
                    <a:pt x="90" y="113"/>
                    <a:pt x="94" y="116"/>
                    <a:pt x="96" y="118"/>
                  </a:cubicBezTo>
                  <a:cubicBezTo>
                    <a:pt x="101" y="123"/>
                    <a:pt x="101" y="130"/>
                    <a:pt x="101" y="132"/>
                  </a:cubicBezTo>
                  <a:cubicBezTo>
                    <a:pt x="101" y="216"/>
                    <a:pt x="101" y="216"/>
                    <a:pt x="101" y="216"/>
                  </a:cubicBezTo>
                  <a:cubicBezTo>
                    <a:pt x="116" y="216"/>
                    <a:pt x="134" y="216"/>
                    <a:pt x="134" y="216"/>
                  </a:cubicBezTo>
                  <a:cubicBezTo>
                    <a:pt x="166" y="126"/>
                    <a:pt x="145" y="47"/>
                    <a:pt x="120" y="0"/>
                  </a:cubicBezTo>
                  <a:close/>
                  <a:moveTo>
                    <a:pt x="83" y="75"/>
                  </a:moveTo>
                  <a:cubicBezTo>
                    <a:pt x="69" y="75"/>
                    <a:pt x="57" y="63"/>
                    <a:pt x="57" y="49"/>
                  </a:cubicBezTo>
                  <a:cubicBezTo>
                    <a:pt x="57" y="35"/>
                    <a:pt x="69" y="23"/>
                    <a:pt x="83" y="23"/>
                  </a:cubicBezTo>
                  <a:cubicBezTo>
                    <a:pt x="97" y="23"/>
                    <a:pt x="109" y="35"/>
                    <a:pt x="109" y="49"/>
                  </a:cubicBezTo>
                  <a:cubicBezTo>
                    <a:pt x="109" y="63"/>
                    <a:pt x="97" y="75"/>
                    <a:pt x="83" y="75"/>
                  </a:cubicBezTo>
                  <a:close/>
                </a:path>
              </a:pathLst>
            </a:custGeom>
            <a:solidFill>
              <a:srgbClr val="DC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IN" sz="1800" b="0" i="0" u="none" strike="noStrike" kern="0" cap="none" normalizeH="0" baseline="0" noProof="0" dirty="0">
                <a:ln>
                  <a:noFill/>
                </a:ln>
                <a:solidFill>
                  <a:schemeClr val="tx2"/>
                </a:solidFill>
                <a:effectLst/>
                <a:uLnTx/>
                <a:uFillTx/>
              </a:endParaRPr>
            </a:p>
          </p:txBody>
        </p:sp>
        <p:sp>
          <p:nvSpPr>
            <p:cNvPr id="39" name="Freeform 38"/>
            <p:cNvSpPr/>
            <p:nvPr/>
          </p:nvSpPr>
          <p:spPr bwMode="auto">
            <a:xfrm>
              <a:off x="7528359" y="4479940"/>
              <a:ext cx="639006" cy="1422893"/>
            </a:xfrm>
            <a:custGeom>
              <a:avLst/>
              <a:gdLst>
                <a:gd name="connsiteX0" fmla="*/ 186612 w 858416"/>
                <a:gd name="connsiteY0" fmla="*/ 18661 h 1894115"/>
                <a:gd name="connsiteX1" fmla="*/ 0 w 858416"/>
                <a:gd name="connsiteY1" fmla="*/ 578498 h 1894115"/>
                <a:gd name="connsiteX2" fmla="*/ 177282 w 858416"/>
                <a:gd name="connsiteY2" fmla="*/ 410547 h 1894115"/>
                <a:gd name="connsiteX3" fmla="*/ 93306 w 858416"/>
                <a:gd name="connsiteY3" fmla="*/ 830425 h 1894115"/>
                <a:gd name="connsiteX4" fmla="*/ 205273 w 858416"/>
                <a:gd name="connsiteY4" fmla="*/ 662474 h 1894115"/>
                <a:gd name="connsiteX5" fmla="*/ 382555 w 858416"/>
                <a:gd name="connsiteY5" fmla="*/ 1894115 h 1894115"/>
                <a:gd name="connsiteX6" fmla="*/ 457200 w 858416"/>
                <a:gd name="connsiteY6" fmla="*/ 886408 h 1894115"/>
                <a:gd name="connsiteX7" fmla="*/ 531845 w 858416"/>
                <a:gd name="connsiteY7" fmla="*/ 1240972 h 1894115"/>
                <a:gd name="connsiteX8" fmla="*/ 587828 w 858416"/>
                <a:gd name="connsiteY8" fmla="*/ 709127 h 1894115"/>
                <a:gd name="connsiteX9" fmla="*/ 858416 w 858416"/>
                <a:gd name="connsiteY9" fmla="*/ 961053 h 1894115"/>
                <a:gd name="connsiteX10" fmla="*/ 690465 w 858416"/>
                <a:gd name="connsiteY10" fmla="*/ 578498 h 1894115"/>
                <a:gd name="connsiteX11" fmla="*/ 802433 w 858416"/>
                <a:gd name="connsiteY11" fmla="*/ 653143 h 1894115"/>
                <a:gd name="connsiteX12" fmla="*/ 587828 w 858416"/>
                <a:gd name="connsiteY12" fmla="*/ 0 h 1894115"/>
                <a:gd name="connsiteX13" fmla="*/ 186612 w 858416"/>
                <a:gd name="connsiteY13" fmla="*/ 18661 h 1894115"/>
                <a:gd name="connsiteX0" fmla="*/ 186612 w 802433"/>
                <a:gd name="connsiteY0" fmla="*/ 18661 h 1894115"/>
                <a:gd name="connsiteX1" fmla="*/ 0 w 802433"/>
                <a:gd name="connsiteY1" fmla="*/ 578498 h 1894115"/>
                <a:gd name="connsiteX2" fmla="*/ 177282 w 802433"/>
                <a:gd name="connsiteY2" fmla="*/ 410547 h 1894115"/>
                <a:gd name="connsiteX3" fmla="*/ 93306 w 802433"/>
                <a:gd name="connsiteY3" fmla="*/ 830425 h 1894115"/>
                <a:gd name="connsiteX4" fmla="*/ 205273 w 802433"/>
                <a:gd name="connsiteY4" fmla="*/ 662474 h 1894115"/>
                <a:gd name="connsiteX5" fmla="*/ 382555 w 802433"/>
                <a:gd name="connsiteY5" fmla="*/ 1894115 h 1894115"/>
                <a:gd name="connsiteX6" fmla="*/ 457200 w 802433"/>
                <a:gd name="connsiteY6" fmla="*/ 886408 h 1894115"/>
                <a:gd name="connsiteX7" fmla="*/ 531845 w 802433"/>
                <a:gd name="connsiteY7" fmla="*/ 1240972 h 1894115"/>
                <a:gd name="connsiteX8" fmla="*/ 587828 w 802433"/>
                <a:gd name="connsiteY8" fmla="*/ 709127 h 1894115"/>
                <a:gd name="connsiteX9" fmla="*/ 755780 w 802433"/>
                <a:gd name="connsiteY9" fmla="*/ 1035698 h 1894115"/>
                <a:gd name="connsiteX10" fmla="*/ 690465 w 802433"/>
                <a:gd name="connsiteY10" fmla="*/ 578498 h 1894115"/>
                <a:gd name="connsiteX11" fmla="*/ 802433 w 802433"/>
                <a:gd name="connsiteY11" fmla="*/ 653143 h 1894115"/>
                <a:gd name="connsiteX12" fmla="*/ 587828 w 802433"/>
                <a:gd name="connsiteY12" fmla="*/ 0 h 1894115"/>
                <a:gd name="connsiteX13" fmla="*/ 186612 w 802433"/>
                <a:gd name="connsiteY13" fmla="*/ 18661 h 1894115"/>
                <a:gd name="connsiteX0" fmla="*/ 186612 w 802433"/>
                <a:gd name="connsiteY0" fmla="*/ 18661 h 1894115"/>
                <a:gd name="connsiteX1" fmla="*/ 0 w 802433"/>
                <a:gd name="connsiteY1" fmla="*/ 578498 h 1894115"/>
                <a:gd name="connsiteX2" fmla="*/ 177282 w 802433"/>
                <a:gd name="connsiteY2" fmla="*/ 410547 h 1894115"/>
                <a:gd name="connsiteX3" fmla="*/ 93306 w 802433"/>
                <a:gd name="connsiteY3" fmla="*/ 830425 h 1894115"/>
                <a:gd name="connsiteX4" fmla="*/ 205273 w 802433"/>
                <a:gd name="connsiteY4" fmla="*/ 662474 h 1894115"/>
                <a:gd name="connsiteX5" fmla="*/ 382555 w 802433"/>
                <a:gd name="connsiteY5" fmla="*/ 1894115 h 1894115"/>
                <a:gd name="connsiteX6" fmla="*/ 457200 w 802433"/>
                <a:gd name="connsiteY6" fmla="*/ 923730 h 1894115"/>
                <a:gd name="connsiteX7" fmla="*/ 531845 w 802433"/>
                <a:gd name="connsiteY7" fmla="*/ 1240972 h 1894115"/>
                <a:gd name="connsiteX8" fmla="*/ 587828 w 802433"/>
                <a:gd name="connsiteY8" fmla="*/ 709127 h 1894115"/>
                <a:gd name="connsiteX9" fmla="*/ 755780 w 802433"/>
                <a:gd name="connsiteY9" fmla="*/ 1035698 h 1894115"/>
                <a:gd name="connsiteX10" fmla="*/ 690465 w 802433"/>
                <a:gd name="connsiteY10" fmla="*/ 578498 h 1894115"/>
                <a:gd name="connsiteX11" fmla="*/ 802433 w 802433"/>
                <a:gd name="connsiteY11" fmla="*/ 653143 h 1894115"/>
                <a:gd name="connsiteX12" fmla="*/ 587828 w 802433"/>
                <a:gd name="connsiteY12" fmla="*/ 0 h 1894115"/>
                <a:gd name="connsiteX13" fmla="*/ 186612 w 802433"/>
                <a:gd name="connsiteY13" fmla="*/ 18661 h 1894115"/>
                <a:gd name="connsiteX0" fmla="*/ 186612 w 802433"/>
                <a:gd name="connsiteY0" fmla="*/ 18661 h 1894115"/>
                <a:gd name="connsiteX1" fmla="*/ 0 w 802433"/>
                <a:gd name="connsiteY1" fmla="*/ 578498 h 1894115"/>
                <a:gd name="connsiteX2" fmla="*/ 177282 w 802433"/>
                <a:gd name="connsiteY2" fmla="*/ 410547 h 1894115"/>
                <a:gd name="connsiteX3" fmla="*/ 93306 w 802433"/>
                <a:gd name="connsiteY3" fmla="*/ 830425 h 1894115"/>
                <a:gd name="connsiteX4" fmla="*/ 205273 w 802433"/>
                <a:gd name="connsiteY4" fmla="*/ 662474 h 1894115"/>
                <a:gd name="connsiteX5" fmla="*/ 382555 w 802433"/>
                <a:gd name="connsiteY5" fmla="*/ 1894115 h 1894115"/>
                <a:gd name="connsiteX6" fmla="*/ 457200 w 802433"/>
                <a:gd name="connsiteY6" fmla="*/ 923730 h 1894115"/>
                <a:gd name="connsiteX7" fmla="*/ 625151 w 802433"/>
                <a:gd name="connsiteY7" fmla="*/ 1240972 h 1894115"/>
                <a:gd name="connsiteX8" fmla="*/ 587828 w 802433"/>
                <a:gd name="connsiteY8" fmla="*/ 709127 h 1894115"/>
                <a:gd name="connsiteX9" fmla="*/ 755780 w 802433"/>
                <a:gd name="connsiteY9" fmla="*/ 1035698 h 1894115"/>
                <a:gd name="connsiteX10" fmla="*/ 690465 w 802433"/>
                <a:gd name="connsiteY10" fmla="*/ 578498 h 1894115"/>
                <a:gd name="connsiteX11" fmla="*/ 802433 w 802433"/>
                <a:gd name="connsiteY11" fmla="*/ 653143 h 1894115"/>
                <a:gd name="connsiteX12" fmla="*/ 587828 w 802433"/>
                <a:gd name="connsiteY12" fmla="*/ 0 h 1894115"/>
                <a:gd name="connsiteX13" fmla="*/ 186612 w 802433"/>
                <a:gd name="connsiteY13" fmla="*/ 18661 h 1894115"/>
                <a:gd name="connsiteX0" fmla="*/ 186612 w 802433"/>
                <a:gd name="connsiteY0" fmla="*/ 18661 h 1894115"/>
                <a:gd name="connsiteX1" fmla="*/ 0 w 802433"/>
                <a:gd name="connsiteY1" fmla="*/ 578498 h 1894115"/>
                <a:gd name="connsiteX2" fmla="*/ 177282 w 802433"/>
                <a:gd name="connsiteY2" fmla="*/ 410547 h 1894115"/>
                <a:gd name="connsiteX3" fmla="*/ 93306 w 802433"/>
                <a:gd name="connsiteY3" fmla="*/ 830425 h 1894115"/>
                <a:gd name="connsiteX4" fmla="*/ 205273 w 802433"/>
                <a:gd name="connsiteY4" fmla="*/ 662474 h 1894115"/>
                <a:gd name="connsiteX5" fmla="*/ 382555 w 802433"/>
                <a:gd name="connsiteY5" fmla="*/ 1894115 h 1894115"/>
                <a:gd name="connsiteX6" fmla="*/ 513183 w 802433"/>
                <a:gd name="connsiteY6" fmla="*/ 989044 h 1894115"/>
                <a:gd name="connsiteX7" fmla="*/ 625151 w 802433"/>
                <a:gd name="connsiteY7" fmla="*/ 1240972 h 1894115"/>
                <a:gd name="connsiteX8" fmla="*/ 587828 w 802433"/>
                <a:gd name="connsiteY8" fmla="*/ 709127 h 1894115"/>
                <a:gd name="connsiteX9" fmla="*/ 755780 w 802433"/>
                <a:gd name="connsiteY9" fmla="*/ 1035698 h 1894115"/>
                <a:gd name="connsiteX10" fmla="*/ 690465 w 802433"/>
                <a:gd name="connsiteY10" fmla="*/ 578498 h 1894115"/>
                <a:gd name="connsiteX11" fmla="*/ 802433 w 802433"/>
                <a:gd name="connsiteY11" fmla="*/ 653143 h 1894115"/>
                <a:gd name="connsiteX12" fmla="*/ 587828 w 802433"/>
                <a:gd name="connsiteY12" fmla="*/ 0 h 1894115"/>
                <a:gd name="connsiteX13" fmla="*/ 186612 w 802433"/>
                <a:gd name="connsiteY13" fmla="*/ 18661 h 1894115"/>
                <a:gd name="connsiteX0" fmla="*/ 186612 w 802433"/>
                <a:gd name="connsiteY0" fmla="*/ 5961 h 1881415"/>
                <a:gd name="connsiteX1" fmla="*/ 0 w 802433"/>
                <a:gd name="connsiteY1" fmla="*/ 565798 h 1881415"/>
                <a:gd name="connsiteX2" fmla="*/ 177282 w 802433"/>
                <a:gd name="connsiteY2" fmla="*/ 397847 h 1881415"/>
                <a:gd name="connsiteX3" fmla="*/ 93306 w 802433"/>
                <a:gd name="connsiteY3" fmla="*/ 817725 h 1881415"/>
                <a:gd name="connsiteX4" fmla="*/ 205273 w 802433"/>
                <a:gd name="connsiteY4" fmla="*/ 649774 h 1881415"/>
                <a:gd name="connsiteX5" fmla="*/ 382555 w 802433"/>
                <a:gd name="connsiteY5" fmla="*/ 1881415 h 1881415"/>
                <a:gd name="connsiteX6" fmla="*/ 513183 w 802433"/>
                <a:gd name="connsiteY6" fmla="*/ 976344 h 1881415"/>
                <a:gd name="connsiteX7" fmla="*/ 625151 w 802433"/>
                <a:gd name="connsiteY7" fmla="*/ 1228272 h 1881415"/>
                <a:gd name="connsiteX8" fmla="*/ 587828 w 802433"/>
                <a:gd name="connsiteY8" fmla="*/ 696427 h 1881415"/>
                <a:gd name="connsiteX9" fmla="*/ 755780 w 802433"/>
                <a:gd name="connsiteY9" fmla="*/ 1022998 h 1881415"/>
                <a:gd name="connsiteX10" fmla="*/ 690465 w 802433"/>
                <a:gd name="connsiteY10" fmla="*/ 565798 h 1881415"/>
                <a:gd name="connsiteX11" fmla="*/ 802433 w 802433"/>
                <a:gd name="connsiteY11" fmla="*/ 640443 h 1881415"/>
                <a:gd name="connsiteX12" fmla="*/ 594178 w 802433"/>
                <a:gd name="connsiteY12" fmla="*/ 0 h 1881415"/>
                <a:gd name="connsiteX13" fmla="*/ 186612 w 802433"/>
                <a:gd name="connsiteY13" fmla="*/ 5961 h 1881415"/>
                <a:gd name="connsiteX0" fmla="*/ 186612 w 802433"/>
                <a:gd name="connsiteY0" fmla="*/ 5961 h 1881415"/>
                <a:gd name="connsiteX1" fmla="*/ 0 w 802433"/>
                <a:gd name="connsiteY1" fmla="*/ 565798 h 1881415"/>
                <a:gd name="connsiteX2" fmla="*/ 177282 w 802433"/>
                <a:gd name="connsiteY2" fmla="*/ 397847 h 1881415"/>
                <a:gd name="connsiteX3" fmla="*/ 93306 w 802433"/>
                <a:gd name="connsiteY3" fmla="*/ 817725 h 1881415"/>
                <a:gd name="connsiteX4" fmla="*/ 205273 w 802433"/>
                <a:gd name="connsiteY4" fmla="*/ 649774 h 1881415"/>
                <a:gd name="connsiteX5" fmla="*/ 382555 w 802433"/>
                <a:gd name="connsiteY5" fmla="*/ 1881415 h 1881415"/>
                <a:gd name="connsiteX6" fmla="*/ 513183 w 802433"/>
                <a:gd name="connsiteY6" fmla="*/ 976344 h 1881415"/>
                <a:gd name="connsiteX7" fmla="*/ 604876 w 802433"/>
                <a:gd name="connsiteY7" fmla="*/ 1167448 h 1881415"/>
                <a:gd name="connsiteX8" fmla="*/ 587828 w 802433"/>
                <a:gd name="connsiteY8" fmla="*/ 696427 h 1881415"/>
                <a:gd name="connsiteX9" fmla="*/ 755780 w 802433"/>
                <a:gd name="connsiteY9" fmla="*/ 1022998 h 1881415"/>
                <a:gd name="connsiteX10" fmla="*/ 690465 w 802433"/>
                <a:gd name="connsiteY10" fmla="*/ 565798 h 1881415"/>
                <a:gd name="connsiteX11" fmla="*/ 802433 w 802433"/>
                <a:gd name="connsiteY11" fmla="*/ 640443 h 1881415"/>
                <a:gd name="connsiteX12" fmla="*/ 594178 w 802433"/>
                <a:gd name="connsiteY12" fmla="*/ 0 h 1881415"/>
                <a:gd name="connsiteX13" fmla="*/ 186612 w 802433"/>
                <a:gd name="connsiteY13" fmla="*/ 5961 h 1881415"/>
                <a:gd name="connsiteX0" fmla="*/ 186612 w 802433"/>
                <a:gd name="connsiteY0" fmla="*/ 5961 h 1881415"/>
                <a:gd name="connsiteX1" fmla="*/ 0 w 802433"/>
                <a:gd name="connsiteY1" fmla="*/ 565798 h 1881415"/>
                <a:gd name="connsiteX2" fmla="*/ 177282 w 802433"/>
                <a:gd name="connsiteY2" fmla="*/ 397847 h 1881415"/>
                <a:gd name="connsiteX3" fmla="*/ 93306 w 802433"/>
                <a:gd name="connsiteY3" fmla="*/ 817725 h 1881415"/>
                <a:gd name="connsiteX4" fmla="*/ 205273 w 802433"/>
                <a:gd name="connsiteY4" fmla="*/ 649774 h 1881415"/>
                <a:gd name="connsiteX5" fmla="*/ 382555 w 802433"/>
                <a:gd name="connsiteY5" fmla="*/ 1881415 h 1881415"/>
                <a:gd name="connsiteX6" fmla="*/ 479393 w 802433"/>
                <a:gd name="connsiteY6" fmla="*/ 1057441 h 1881415"/>
                <a:gd name="connsiteX7" fmla="*/ 604876 w 802433"/>
                <a:gd name="connsiteY7" fmla="*/ 1167448 h 1881415"/>
                <a:gd name="connsiteX8" fmla="*/ 587828 w 802433"/>
                <a:gd name="connsiteY8" fmla="*/ 696427 h 1881415"/>
                <a:gd name="connsiteX9" fmla="*/ 755780 w 802433"/>
                <a:gd name="connsiteY9" fmla="*/ 1022998 h 1881415"/>
                <a:gd name="connsiteX10" fmla="*/ 690465 w 802433"/>
                <a:gd name="connsiteY10" fmla="*/ 565798 h 1881415"/>
                <a:gd name="connsiteX11" fmla="*/ 802433 w 802433"/>
                <a:gd name="connsiteY11" fmla="*/ 640443 h 1881415"/>
                <a:gd name="connsiteX12" fmla="*/ 594178 w 802433"/>
                <a:gd name="connsiteY12" fmla="*/ 0 h 1881415"/>
                <a:gd name="connsiteX13" fmla="*/ 186612 w 802433"/>
                <a:gd name="connsiteY13" fmla="*/ 5961 h 1881415"/>
                <a:gd name="connsiteX0" fmla="*/ 186612 w 802433"/>
                <a:gd name="connsiteY0" fmla="*/ 5961 h 1881415"/>
                <a:gd name="connsiteX1" fmla="*/ 0 w 802433"/>
                <a:gd name="connsiteY1" fmla="*/ 565798 h 1881415"/>
                <a:gd name="connsiteX2" fmla="*/ 177282 w 802433"/>
                <a:gd name="connsiteY2" fmla="*/ 397847 h 1881415"/>
                <a:gd name="connsiteX3" fmla="*/ 93306 w 802433"/>
                <a:gd name="connsiteY3" fmla="*/ 817725 h 1881415"/>
                <a:gd name="connsiteX4" fmla="*/ 205273 w 802433"/>
                <a:gd name="connsiteY4" fmla="*/ 649774 h 1881415"/>
                <a:gd name="connsiteX5" fmla="*/ 382555 w 802433"/>
                <a:gd name="connsiteY5" fmla="*/ 1881415 h 1881415"/>
                <a:gd name="connsiteX6" fmla="*/ 479393 w 802433"/>
                <a:gd name="connsiteY6" fmla="*/ 1057441 h 1881415"/>
                <a:gd name="connsiteX7" fmla="*/ 594740 w 802433"/>
                <a:gd name="connsiteY7" fmla="*/ 1201238 h 1881415"/>
                <a:gd name="connsiteX8" fmla="*/ 587828 w 802433"/>
                <a:gd name="connsiteY8" fmla="*/ 696427 h 1881415"/>
                <a:gd name="connsiteX9" fmla="*/ 755780 w 802433"/>
                <a:gd name="connsiteY9" fmla="*/ 1022998 h 1881415"/>
                <a:gd name="connsiteX10" fmla="*/ 690465 w 802433"/>
                <a:gd name="connsiteY10" fmla="*/ 565798 h 1881415"/>
                <a:gd name="connsiteX11" fmla="*/ 802433 w 802433"/>
                <a:gd name="connsiteY11" fmla="*/ 640443 h 1881415"/>
                <a:gd name="connsiteX12" fmla="*/ 594178 w 802433"/>
                <a:gd name="connsiteY12" fmla="*/ 0 h 1881415"/>
                <a:gd name="connsiteX13" fmla="*/ 186612 w 802433"/>
                <a:gd name="connsiteY13" fmla="*/ 5961 h 1881415"/>
                <a:gd name="connsiteX0" fmla="*/ 186612 w 802433"/>
                <a:gd name="connsiteY0" fmla="*/ 5961 h 1881415"/>
                <a:gd name="connsiteX1" fmla="*/ 0 w 802433"/>
                <a:gd name="connsiteY1" fmla="*/ 565798 h 1881415"/>
                <a:gd name="connsiteX2" fmla="*/ 177282 w 802433"/>
                <a:gd name="connsiteY2" fmla="*/ 397847 h 1881415"/>
                <a:gd name="connsiteX3" fmla="*/ 93306 w 802433"/>
                <a:gd name="connsiteY3" fmla="*/ 817725 h 1881415"/>
                <a:gd name="connsiteX4" fmla="*/ 205273 w 802433"/>
                <a:gd name="connsiteY4" fmla="*/ 649774 h 1881415"/>
                <a:gd name="connsiteX5" fmla="*/ 382555 w 802433"/>
                <a:gd name="connsiteY5" fmla="*/ 1881415 h 1881415"/>
                <a:gd name="connsiteX6" fmla="*/ 479393 w 802433"/>
                <a:gd name="connsiteY6" fmla="*/ 1057441 h 1881415"/>
                <a:gd name="connsiteX7" fmla="*/ 594740 w 802433"/>
                <a:gd name="connsiteY7" fmla="*/ 1201238 h 1881415"/>
                <a:gd name="connsiteX8" fmla="*/ 587828 w 802433"/>
                <a:gd name="connsiteY8" fmla="*/ 696427 h 1881415"/>
                <a:gd name="connsiteX9" fmla="*/ 772675 w 802433"/>
                <a:gd name="connsiteY9" fmla="*/ 1002725 h 1881415"/>
                <a:gd name="connsiteX10" fmla="*/ 690465 w 802433"/>
                <a:gd name="connsiteY10" fmla="*/ 565798 h 1881415"/>
                <a:gd name="connsiteX11" fmla="*/ 802433 w 802433"/>
                <a:gd name="connsiteY11" fmla="*/ 640443 h 1881415"/>
                <a:gd name="connsiteX12" fmla="*/ 594178 w 802433"/>
                <a:gd name="connsiteY12" fmla="*/ 0 h 1881415"/>
                <a:gd name="connsiteX13" fmla="*/ 186612 w 802433"/>
                <a:gd name="connsiteY13" fmla="*/ 5961 h 1881415"/>
                <a:gd name="connsiteX0" fmla="*/ 186612 w 802433"/>
                <a:gd name="connsiteY0" fmla="*/ 5961 h 1786801"/>
                <a:gd name="connsiteX1" fmla="*/ 0 w 802433"/>
                <a:gd name="connsiteY1" fmla="*/ 565798 h 1786801"/>
                <a:gd name="connsiteX2" fmla="*/ 177282 w 802433"/>
                <a:gd name="connsiteY2" fmla="*/ 397847 h 1786801"/>
                <a:gd name="connsiteX3" fmla="*/ 93306 w 802433"/>
                <a:gd name="connsiteY3" fmla="*/ 817725 h 1786801"/>
                <a:gd name="connsiteX4" fmla="*/ 205273 w 802433"/>
                <a:gd name="connsiteY4" fmla="*/ 649774 h 1786801"/>
                <a:gd name="connsiteX5" fmla="*/ 385934 w 802433"/>
                <a:gd name="connsiteY5" fmla="*/ 1786801 h 1786801"/>
                <a:gd name="connsiteX6" fmla="*/ 479393 w 802433"/>
                <a:gd name="connsiteY6" fmla="*/ 1057441 h 1786801"/>
                <a:gd name="connsiteX7" fmla="*/ 594740 w 802433"/>
                <a:gd name="connsiteY7" fmla="*/ 1201238 h 1786801"/>
                <a:gd name="connsiteX8" fmla="*/ 587828 w 802433"/>
                <a:gd name="connsiteY8" fmla="*/ 696427 h 1786801"/>
                <a:gd name="connsiteX9" fmla="*/ 772675 w 802433"/>
                <a:gd name="connsiteY9" fmla="*/ 1002725 h 1786801"/>
                <a:gd name="connsiteX10" fmla="*/ 690465 w 802433"/>
                <a:gd name="connsiteY10" fmla="*/ 565798 h 1786801"/>
                <a:gd name="connsiteX11" fmla="*/ 802433 w 802433"/>
                <a:gd name="connsiteY11" fmla="*/ 640443 h 1786801"/>
                <a:gd name="connsiteX12" fmla="*/ 594178 w 802433"/>
                <a:gd name="connsiteY12" fmla="*/ 0 h 1786801"/>
                <a:gd name="connsiteX13" fmla="*/ 186612 w 802433"/>
                <a:gd name="connsiteY13" fmla="*/ 5961 h 17868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02433" h="1786801">
                  <a:moveTo>
                    <a:pt x="186612" y="5961"/>
                  </a:moveTo>
                  <a:lnTo>
                    <a:pt x="0" y="565798"/>
                  </a:lnTo>
                  <a:lnTo>
                    <a:pt x="177282" y="397847"/>
                  </a:lnTo>
                  <a:lnTo>
                    <a:pt x="93306" y="817725"/>
                  </a:lnTo>
                  <a:lnTo>
                    <a:pt x="205273" y="649774"/>
                  </a:lnTo>
                  <a:lnTo>
                    <a:pt x="385934" y="1786801"/>
                  </a:lnTo>
                  <a:lnTo>
                    <a:pt x="479393" y="1057441"/>
                  </a:lnTo>
                  <a:lnTo>
                    <a:pt x="594740" y="1201238"/>
                  </a:lnTo>
                  <a:lnTo>
                    <a:pt x="587828" y="696427"/>
                  </a:lnTo>
                  <a:lnTo>
                    <a:pt x="772675" y="1002725"/>
                  </a:lnTo>
                  <a:lnTo>
                    <a:pt x="690465" y="565798"/>
                  </a:lnTo>
                  <a:lnTo>
                    <a:pt x="802433" y="640443"/>
                  </a:lnTo>
                  <a:lnTo>
                    <a:pt x="594178" y="0"/>
                  </a:lnTo>
                  <a:lnTo>
                    <a:pt x="186612" y="5961"/>
                  </a:lnTo>
                  <a:close/>
                </a:path>
              </a:pathLst>
            </a:custGeom>
            <a:solidFill>
              <a:srgbClr val="FCD116"/>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spcBef>
                  <a:spcPct val="0"/>
                </a:spcBef>
                <a:spcAft>
                  <a:spcPct val="0"/>
                </a:spcAft>
                <a:buClrTx/>
                <a:buSzTx/>
                <a:buFontTx/>
                <a:buNone/>
                <a:tabLst/>
                <a:defRPr/>
              </a:pPr>
              <a:endParaRPr kumimoji="0" lang="en-IN" sz="2400" b="0" i="0" u="none" strike="noStrike" kern="0" cap="none" normalizeH="0" baseline="0" noProof="0" dirty="0">
                <a:ln>
                  <a:noFill/>
                </a:ln>
                <a:solidFill>
                  <a:schemeClr val="tx2"/>
                </a:solidFill>
                <a:effectLst/>
                <a:uLnTx/>
                <a:uFillTx/>
                <a:latin typeface="Segoe UI"/>
                <a:ea typeface="Segoe UI" pitchFamily="34" charset="0"/>
                <a:cs typeface="Segoe UI" pitchFamily="34" charset="0"/>
              </a:endParaRPr>
            </a:p>
          </p:txBody>
        </p:sp>
        <p:sp>
          <p:nvSpPr>
            <p:cNvPr id="40" name="Freeform 39"/>
            <p:cNvSpPr/>
            <p:nvPr/>
          </p:nvSpPr>
          <p:spPr bwMode="auto">
            <a:xfrm>
              <a:off x="7699072" y="4479939"/>
              <a:ext cx="292740" cy="1146161"/>
            </a:xfrm>
            <a:custGeom>
              <a:avLst/>
              <a:gdLst>
                <a:gd name="connsiteX0" fmla="*/ 186612 w 858416"/>
                <a:gd name="connsiteY0" fmla="*/ 18661 h 1894115"/>
                <a:gd name="connsiteX1" fmla="*/ 0 w 858416"/>
                <a:gd name="connsiteY1" fmla="*/ 578498 h 1894115"/>
                <a:gd name="connsiteX2" fmla="*/ 177282 w 858416"/>
                <a:gd name="connsiteY2" fmla="*/ 410547 h 1894115"/>
                <a:gd name="connsiteX3" fmla="*/ 93306 w 858416"/>
                <a:gd name="connsiteY3" fmla="*/ 830425 h 1894115"/>
                <a:gd name="connsiteX4" fmla="*/ 205273 w 858416"/>
                <a:gd name="connsiteY4" fmla="*/ 662474 h 1894115"/>
                <a:gd name="connsiteX5" fmla="*/ 382555 w 858416"/>
                <a:gd name="connsiteY5" fmla="*/ 1894115 h 1894115"/>
                <a:gd name="connsiteX6" fmla="*/ 457200 w 858416"/>
                <a:gd name="connsiteY6" fmla="*/ 886408 h 1894115"/>
                <a:gd name="connsiteX7" fmla="*/ 531845 w 858416"/>
                <a:gd name="connsiteY7" fmla="*/ 1240972 h 1894115"/>
                <a:gd name="connsiteX8" fmla="*/ 587828 w 858416"/>
                <a:gd name="connsiteY8" fmla="*/ 709127 h 1894115"/>
                <a:gd name="connsiteX9" fmla="*/ 858416 w 858416"/>
                <a:gd name="connsiteY9" fmla="*/ 961053 h 1894115"/>
                <a:gd name="connsiteX10" fmla="*/ 690465 w 858416"/>
                <a:gd name="connsiteY10" fmla="*/ 578498 h 1894115"/>
                <a:gd name="connsiteX11" fmla="*/ 802433 w 858416"/>
                <a:gd name="connsiteY11" fmla="*/ 653143 h 1894115"/>
                <a:gd name="connsiteX12" fmla="*/ 587828 w 858416"/>
                <a:gd name="connsiteY12" fmla="*/ 0 h 1894115"/>
                <a:gd name="connsiteX13" fmla="*/ 186612 w 858416"/>
                <a:gd name="connsiteY13" fmla="*/ 18661 h 1894115"/>
                <a:gd name="connsiteX0" fmla="*/ 186612 w 802433"/>
                <a:gd name="connsiteY0" fmla="*/ 18661 h 1894115"/>
                <a:gd name="connsiteX1" fmla="*/ 0 w 802433"/>
                <a:gd name="connsiteY1" fmla="*/ 578498 h 1894115"/>
                <a:gd name="connsiteX2" fmla="*/ 177282 w 802433"/>
                <a:gd name="connsiteY2" fmla="*/ 410547 h 1894115"/>
                <a:gd name="connsiteX3" fmla="*/ 93306 w 802433"/>
                <a:gd name="connsiteY3" fmla="*/ 830425 h 1894115"/>
                <a:gd name="connsiteX4" fmla="*/ 205273 w 802433"/>
                <a:gd name="connsiteY4" fmla="*/ 662474 h 1894115"/>
                <a:gd name="connsiteX5" fmla="*/ 382555 w 802433"/>
                <a:gd name="connsiteY5" fmla="*/ 1894115 h 1894115"/>
                <a:gd name="connsiteX6" fmla="*/ 457200 w 802433"/>
                <a:gd name="connsiteY6" fmla="*/ 886408 h 1894115"/>
                <a:gd name="connsiteX7" fmla="*/ 531845 w 802433"/>
                <a:gd name="connsiteY7" fmla="*/ 1240972 h 1894115"/>
                <a:gd name="connsiteX8" fmla="*/ 587828 w 802433"/>
                <a:gd name="connsiteY8" fmla="*/ 709127 h 1894115"/>
                <a:gd name="connsiteX9" fmla="*/ 755780 w 802433"/>
                <a:gd name="connsiteY9" fmla="*/ 1035698 h 1894115"/>
                <a:gd name="connsiteX10" fmla="*/ 690465 w 802433"/>
                <a:gd name="connsiteY10" fmla="*/ 578498 h 1894115"/>
                <a:gd name="connsiteX11" fmla="*/ 802433 w 802433"/>
                <a:gd name="connsiteY11" fmla="*/ 653143 h 1894115"/>
                <a:gd name="connsiteX12" fmla="*/ 587828 w 802433"/>
                <a:gd name="connsiteY12" fmla="*/ 0 h 1894115"/>
                <a:gd name="connsiteX13" fmla="*/ 186612 w 802433"/>
                <a:gd name="connsiteY13" fmla="*/ 18661 h 1894115"/>
                <a:gd name="connsiteX0" fmla="*/ 186612 w 802433"/>
                <a:gd name="connsiteY0" fmla="*/ 18661 h 1894115"/>
                <a:gd name="connsiteX1" fmla="*/ 0 w 802433"/>
                <a:gd name="connsiteY1" fmla="*/ 578498 h 1894115"/>
                <a:gd name="connsiteX2" fmla="*/ 177282 w 802433"/>
                <a:gd name="connsiteY2" fmla="*/ 410547 h 1894115"/>
                <a:gd name="connsiteX3" fmla="*/ 93306 w 802433"/>
                <a:gd name="connsiteY3" fmla="*/ 830425 h 1894115"/>
                <a:gd name="connsiteX4" fmla="*/ 205273 w 802433"/>
                <a:gd name="connsiteY4" fmla="*/ 662474 h 1894115"/>
                <a:gd name="connsiteX5" fmla="*/ 382555 w 802433"/>
                <a:gd name="connsiteY5" fmla="*/ 1894115 h 1894115"/>
                <a:gd name="connsiteX6" fmla="*/ 457200 w 802433"/>
                <a:gd name="connsiteY6" fmla="*/ 923730 h 1894115"/>
                <a:gd name="connsiteX7" fmla="*/ 531845 w 802433"/>
                <a:gd name="connsiteY7" fmla="*/ 1240972 h 1894115"/>
                <a:gd name="connsiteX8" fmla="*/ 587828 w 802433"/>
                <a:gd name="connsiteY8" fmla="*/ 709127 h 1894115"/>
                <a:gd name="connsiteX9" fmla="*/ 755780 w 802433"/>
                <a:gd name="connsiteY9" fmla="*/ 1035698 h 1894115"/>
                <a:gd name="connsiteX10" fmla="*/ 690465 w 802433"/>
                <a:gd name="connsiteY10" fmla="*/ 578498 h 1894115"/>
                <a:gd name="connsiteX11" fmla="*/ 802433 w 802433"/>
                <a:gd name="connsiteY11" fmla="*/ 653143 h 1894115"/>
                <a:gd name="connsiteX12" fmla="*/ 587828 w 802433"/>
                <a:gd name="connsiteY12" fmla="*/ 0 h 1894115"/>
                <a:gd name="connsiteX13" fmla="*/ 186612 w 802433"/>
                <a:gd name="connsiteY13" fmla="*/ 18661 h 1894115"/>
                <a:gd name="connsiteX0" fmla="*/ 186612 w 802433"/>
                <a:gd name="connsiteY0" fmla="*/ 18661 h 1894115"/>
                <a:gd name="connsiteX1" fmla="*/ 0 w 802433"/>
                <a:gd name="connsiteY1" fmla="*/ 578498 h 1894115"/>
                <a:gd name="connsiteX2" fmla="*/ 177282 w 802433"/>
                <a:gd name="connsiteY2" fmla="*/ 410547 h 1894115"/>
                <a:gd name="connsiteX3" fmla="*/ 93306 w 802433"/>
                <a:gd name="connsiteY3" fmla="*/ 830425 h 1894115"/>
                <a:gd name="connsiteX4" fmla="*/ 205273 w 802433"/>
                <a:gd name="connsiteY4" fmla="*/ 662474 h 1894115"/>
                <a:gd name="connsiteX5" fmla="*/ 382555 w 802433"/>
                <a:gd name="connsiteY5" fmla="*/ 1894115 h 1894115"/>
                <a:gd name="connsiteX6" fmla="*/ 457200 w 802433"/>
                <a:gd name="connsiteY6" fmla="*/ 923730 h 1894115"/>
                <a:gd name="connsiteX7" fmla="*/ 625151 w 802433"/>
                <a:gd name="connsiteY7" fmla="*/ 1240972 h 1894115"/>
                <a:gd name="connsiteX8" fmla="*/ 587828 w 802433"/>
                <a:gd name="connsiteY8" fmla="*/ 709127 h 1894115"/>
                <a:gd name="connsiteX9" fmla="*/ 755780 w 802433"/>
                <a:gd name="connsiteY9" fmla="*/ 1035698 h 1894115"/>
                <a:gd name="connsiteX10" fmla="*/ 690465 w 802433"/>
                <a:gd name="connsiteY10" fmla="*/ 578498 h 1894115"/>
                <a:gd name="connsiteX11" fmla="*/ 802433 w 802433"/>
                <a:gd name="connsiteY11" fmla="*/ 653143 h 1894115"/>
                <a:gd name="connsiteX12" fmla="*/ 587828 w 802433"/>
                <a:gd name="connsiteY12" fmla="*/ 0 h 1894115"/>
                <a:gd name="connsiteX13" fmla="*/ 186612 w 802433"/>
                <a:gd name="connsiteY13" fmla="*/ 18661 h 1894115"/>
                <a:gd name="connsiteX0" fmla="*/ 186612 w 802433"/>
                <a:gd name="connsiteY0" fmla="*/ 18661 h 1894115"/>
                <a:gd name="connsiteX1" fmla="*/ 0 w 802433"/>
                <a:gd name="connsiteY1" fmla="*/ 578498 h 1894115"/>
                <a:gd name="connsiteX2" fmla="*/ 177282 w 802433"/>
                <a:gd name="connsiteY2" fmla="*/ 410547 h 1894115"/>
                <a:gd name="connsiteX3" fmla="*/ 93306 w 802433"/>
                <a:gd name="connsiteY3" fmla="*/ 830425 h 1894115"/>
                <a:gd name="connsiteX4" fmla="*/ 205273 w 802433"/>
                <a:gd name="connsiteY4" fmla="*/ 662474 h 1894115"/>
                <a:gd name="connsiteX5" fmla="*/ 382555 w 802433"/>
                <a:gd name="connsiteY5" fmla="*/ 1894115 h 1894115"/>
                <a:gd name="connsiteX6" fmla="*/ 513183 w 802433"/>
                <a:gd name="connsiteY6" fmla="*/ 989044 h 1894115"/>
                <a:gd name="connsiteX7" fmla="*/ 625151 w 802433"/>
                <a:gd name="connsiteY7" fmla="*/ 1240972 h 1894115"/>
                <a:gd name="connsiteX8" fmla="*/ 587828 w 802433"/>
                <a:gd name="connsiteY8" fmla="*/ 709127 h 1894115"/>
                <a:gd name="connsiteX9" fmla="*/ 755780 w 802433"/>
                <a:gd name="connsiteY9" fmla="*/ 1035698 h 1894115"/>
                <a:gd name="connsiteX10" fmla="*/ 690465 w 802433"/>
                <a:gd name="connsiteY10" fmla="*/ 578498 h 1894115"/>
                <a:gd name="connsiteX11" fmla="*/ 802433 w 802433"/>
                <a:gd name="connsiteY11" fmla="*/ 653143 h 1894115"/>
                <a:gd name="connsiteX12" fmla="*/ 587828 w 802433"/>
                <a:gd name="connsiteY12" fmla="*/ 0 h 1894115"/>
                <a:gd name="connsiteX13" fmla="*/ 186612 w 802433"/>
                <a:gd name="connsiteY13" fmla="*/ 18661 h 1894115"/>
                <a:gd name="connsiteX0" fmla="*/ 186612 w 802433"/>
                <a:gd name="connsiteY0" fmla="*/ 5961 h 1881415"/>
                <a:gd name="connsiteX1" fmla="*/ 0 w 802433"/>
                <a:gd name="connsiteY1" fmla="*/ 565798 h 1881415"/>
                <a:gd name="connsiteX2" fmla="*/ 177282 w 802433"/>
                <a:gd name="connsiteY2" fmla="*/ 397847 h 1881415"/>
                <a:gd name="connsiteX3" fmla="*/ 93306 w 802433"/>
                <a:gd name="connsiteY3" fmla="*/ 817725 h 1881415"/>
                <a:gd name="connsiteX4" fmla="*/ 205273 w 802433"/>
                <a:gd name="connsiteY4" fmla="*/ 649774 h 1881415"/>
                <a:gd name="connsiteX5" fmla="*/ 382555 w 802433"/>
                <a:gd name="connsiteY5" fmla="*/ 1881415 h 1881415"/>
                <a:gd name="connsiteX6" fmla="*/ 513183 w 802433"/>
                <a:gd name="connsiteY6" fmla="*/ 976344 h 1881415"/>
                <a:gd name="connsiteX7" fmla="*/ 625151 w 802433"/>
                <a:gd name="connsiteY7" fmla="*/ 1228272 h 1881415"/>
                <a:gd name="connsiteX8" fmla="*/ 587828 w 802433"/>
                <a:gd name="connsiteY8" fmla="*/ 696427 h 1881415"/>
                <a:gd name="connsiteX9" fmla="*/ 755780 w 802433"/>
                <a:gd name="connsiteY9" fmla="*/ 1022998 h 1881415"/>
                <a:gd name="connsiteX10" fmla="*/ 690465 w 802433"/>
                <a:gd name="connsiteY10" fmla="*/ 565798 h 1881415"/>
                <a:gd name="connsiteX11" fmla="*/ 802433 w 802433"/>
                <a:gd name="connsiteY11" fmla="*/ 640443 h 1881415"/>
                <a:gd name="connsiteX12" fmla="*/ 594178 w 802433"/>
                <a:gd name="connsiteY12" fmla="*/ 0 h 1881415"/>
                <a:gd name="connsiteX13" fmla="*/ 186612 w 802433"/>
                <a:gd name="connsiteY13" fmla="*/ 5961 h 1881415"/>
                <a:gd name="connsiteX0" fmla="*/ 186612 w 802433"/>
                <a:gd name="connsiteY0" fmla="*/ 5961 h 1881415"/>
                <a:gd name="connsiteX1" fmla="*/ 0 w 802433"/>
                <a:gd name="connsiteY1" fmla="*/ 565798 h 1881415"/>
                <a:gd name="connsiteX2" fmla="*/ 177282 w 802433"/>
                <a:gd name="connsiteY2" fmla="*/ 397847 h 1881415"/>
                <a:gd name="connsiteX3" fmla="*/ 93306 w 802433"/>
                <a:gd name="connsiteY3" fmla="*/ 817725 h 1881415"/>
                <a:gd name="connsiteX4" fmla="*/ 205273 w 802433"/>
                <a:gd name="connsiteY4" fmla="*/ 649774 h 1881415"/>
                <a:gd name="connsiteX5" fmla="*/ 382555 w 802433"/>
                <a:gd name="connsiteY5" fmla="*/ 1881415 h 1881415"/>
                <a:gd name="connsiteX6" fmla="*/ 513183 w 802433"/>
                <a:gd name="connsiteY6" fmla="*/ 976344 h 1881415"/>
                <a:gd name="connsiteX7" fmla="*/ 604876 w 802433"/>
                <a:gd name="connsiteY7" fmla="*/ 1167448 h 1881415"/>
                <a:gd name="connsiteX8" fmla="*/ 587828 w 802433"/>
                <a:gd name="connsiteY8" fmla="*/ 696427 h 1881415"/>
                <a:gd name="connsiteX9" fmla="*/ 755780 w 802433"/>
                <a:gd name="connsiteY9" fmla="*/ 1022998 h 1881415"/>
                <a:gd name="connsiteX10" fmla="*/ 690465 w 802433"/>
                <a:gd name="connsiteY10" fmla="*/ 565798 h 1881415"/>
                <a:gd name="connsiteX11" fmla="*/ 802433 w 802433"/>
                <a:gd name="connsiteY11" fmla="*/ 640443 h 1881415"/>
                <a:gd name="connsiteX12" fmla="*/ 594178 w 802433"/>
                <a:gd name="connsiteY12" fmla="*/ 0 h 1881415"/>
                <a:gd name="connsiteX13" fmla="*/ 186612 w 802433"/>
                <a:gd name="connsiteY13" fmla="*/ 5961 h 1881415"/>
                <a:gd name="connsiteX0" fmla="*/ 186612 w 802433"/>
                <a:gd name="connsiteY0" fmla="*/ 5961 h 1881415"/>
                <a:gd name="connsiteX1" fmla="*/ 0 w 802433"/>
                <a:gd name="connsiteY1" fmla="*/ 565798 h 1881415"/>
                <a:gd name="connsiteX2" fmla="*/ 177282 w 802433"/>
                <a:gd name="connsiteY2" fmla="*/ 397847 h 1881415"/>
                <a:gd name="connsiteX3" fmla="*/ 93306 w 802433"/>
                <a:gd name="connsiteY3" fmla="*/ 817725 h 1881415"/>
                <a:gd name="connsiteX4" fmla="*/ 205273 w 802433"/>
                <a:gd name="connsiteY4" fmla="*/ 649774 h 1881415"/>
                <a:gd name="connsiteX5" fmla="*/ 382555 w 802433"/>
                <a:gd name="connsiteY5" fmla="*/ 1881415 h 1881415"/>
                <a:gd name="connsiteX6" fmla="*/ 479393 w 802433"/>
                <a:gd name="connsiteY6" fmla="*/ 1057441 h 1881415"/>
                <a:gd name="connsiteX7" fmla="*/ 604876 w 802433"/>
                <a:gd name="connsiteY7" fmla="*/ 1167448 h 1881415"/>
                <a:gd name="connsiteX8" fmla="*/ 587828 w 802433"/>
                <a:gd name="connsiteY8" fmla="*/ 696427 h 1881415"/>
                <a:gd name="connsiteX9" fmla="*/ 755780 w 802433"/>
                <a:gd name="connsiteY9" fmla="*/ 1022998 h 1881415"/>
                <a:gd name="connsiteX10" fmla="*/ 690465 w 802433"/>
                <a:gd name="connsiteY10" fmla="*/ 565798 h 1881415"/>
                <a:gd name="connsiteX11" fmla="*/ 802433 w 802433"/>
                <a:gd name="connsiteY11" fmla="*/ 640443 h 1881415"/>
                <a:gd name="connsiteX12" fmla="*/ 594178 w 802433"/>
                <a:gd name="connsiteY12" fmla="*/ 0 h 1881415"/>
                <a:gd name="connsiteX13" fmla="*/ 186612 w 802433"/>
                <a:gd name="connsiteY13" fmla="*/ 5961 h 1881415"/>
                <a:gd name="connsiteX0" fmla="*/ 186612 w 802433"/>
                <a:gd name="connsiteY0" fmla="*/ 5961 h 1881415"/>
                <a:gd name="connsiteX1" fmla="*/ 0 w 802433"/>
                <a:gd name="connsiteY1" fmla="*/ 565798 h 1881415"/>
                <a:gd name="connsiteX2" fmla="*/ 177282 w 802433"/>
                <a:gd name="connsiteY2" fmla="*/ 397847 h 1881415"/>
                <a:gd name="connsiteX3" fmla="*/ 93306 w 802433"/>
                <a:gd name="connsiteY3" fmla="*/ 817725 h 1881415"/>
                <a:gd name="connsiteX4" fmla="*/ 205273 w 802433"/>
                <a:gd name="connsiteY4" fmla="*/ 649774 h 1881415"/>
                <a:gd name="connsiteX5" fmla="*/ 382555 w 802433"/>
                <a:gd name="connsiteY5" fmla="*/ 1881415 h 1881415"/>
                <a:gd name="connsiteX6" fmla="*/ 479393 w 802433"/>
                <a:gd name="connsiteY6" fmla="*/ 1057441 h 1881415"/>
                <a:gd name="connsiteX7" fmla="*/ 594740 w 802433"/>
                <a:gd name="connsiteY7" fmla="*/ 1201238 h 1881415"/>
                <a:gd name="connsiteX8" fmla="*/ 587828 w 802433"/>
                <a:gd name="connsiteY8" fmla="*/ 696427 h 1881415"/>
                <a:gd name="connsiteX9" fmla="*/ 755780 w 802433"/>
                <a:gd name="connsiteY9" fmla="*/ 1022998 h 1881415"/>
                <a:gd name="connsiteX10" fmla="*/ 690465 w 802433"/>
                <a:gd name="connsiteY10" fmla="*/ 565798 h 1881415"/>
                <a:gd name="connsiteX11" fmla="*/ 802433 w 802433"/>
                <a:gd name="connsiteY11" fmla="*/ 640443 h 1881415"/>
                <a:gd name="connsiteX12" fmla="*/ 594178 w 802433"/>
                <a:gd name="connsiteY12" fmla="*/ 0 h 1881415"/>
                <a:gd name="connsiteX13" fmla="*/ 186612 w 802433"/>
                <a:gd name="connsiteY13" fmla="*/ 5961 h 1881415"/>
                <a:gd name="connsiteX0" fmla="*/ 186612 w 802433"/>
                <a:gd name="connsiteY0" fmla="*/ 5961 h 1881415"/>
                <a:gd name="connsiteX1" fmla="*/ 0 w 802433"/>
                <a:gd name="connsiteY1" fmla="*/ 565798 h 1881415"/>
                <a:gd name="connsiteX2" fmla="*/ 177282 w 802433"/>
                <a:gd name="connsiteY2" fmla="*/ 397847 h 1881415"/>
                <a:gd name="connsiteX3" fmla="*/ 93306 w 802433"/>
                <a:gd name="connsiteY3" fmla="*/ 817725 h 1881415"/>
                <a:gd name="connsiteX4" fmla="*/ 205273 w 802433"/>
                <a:gd name="connsiteY4" fmla="*/ 649774 h 1881415"/>
                <a:gd name="connsiteX5" fmla="*/ 382555 w 802433"/>
                <a:gd name="connsiteY5" fmla="*/ 1881415 h 1881415"/>
                <a:gd name="connsiteX6" fmla="*/ 479393 w 802433"/>
                <a:gd name="connsiteY6" fmla="*/ 1057441 h 1881415"/>
                <a:gd name="connsiteX7" fmla="*/ 594740 w 802433"/>
                <a:gd name="connsiteY7" fmla="*/ 1201238 h 1881415"/>
                <a:gd name="connsiteX8" fmla="*/ 587828 w 802433"/>
                <a:gd name="connsiteY8" fmla="*/ 696427 h 1881415"/>
                <a:gd name="connsiteX9" fmla="*/ 772675 w 802433"/>
                <a:gd name="connsiteY9" fmla="*/ 1002725 h 1881415"/>
                <a:gd name="connsiteX10" fmla="*/ 690465 w 802433"/>
                <a:gd name="connsiteY10" fmla="*/ 565798 h 1881415"/>
                <a:gd name="connsiteX11" fmla="*/ 802433 w 802433"/>
                <a:gd name="connsiteY11" fmla="*/ 640443 h 1881415"/>
                <a:gd name="connsiteX12" fmla="*/ 594178 w 802433"/>
                <a:gd name="connsiteY12" fmla="*/ 0 h 1881415"/>
                <a:gd name="connsiteX13" fmla="*/ 186612 w 802433"/>
                <a:gd name="connsiteY13" fmla="*/ 5961 h 1881415"/>
                <a:gd name="connsiteX0" fmla="*/ 186612 w 802433"/>
                <a:gd name="connsiteY0" fmla="*/ 5961 h 1786801"/>
                <a:gd name="connsiteX1" fmla="*/ 0 w 802433"/>
                <a:gd name="connsiteY1" fmla="*/ 565798 h 1786801"/>
                <a:gd name="connsiteX2" fmla="*/ 177282 w 802433"/>
                <a:gd name="connsiteY2" fmla="*/ 397847 h 1786801"/>
                <a:gd name="connsiteX3" fmla="*/ 93306 w 802433"/>
                <a:gd name="connsiteY3" fmla="*/ 817725 h 1786801"/>
                <a:gd name="connsiteX4" fmla="*/ 205273 w 802433"/>
                <a:gd name="connsiteY4" fmla="*/ 649774 h 1786801"/>
                <a:gd name="connsiteX5" fmla="*/ 385934 w 802433"/>
                <a:gd name="connsiteY5" fmla="*/ 1786801 h 1786801"/>
                <a:gd name="connsiteX6" fmla="*/ 479393 w 802433"/>
                <a:gd name="connsiteY6" fmla="*/ 1057441 h 1786801"/>
                <a:gd name="connsiteX7" fmla="*/ 594740 w 802433"/>
                <a:gd name="connsiteY7" fmla="*/ 1201238 h 1786801"/>
                <a:gd name="connsiteX8" fmla="*/ 587828 w 802433"/>
                <a:gd name="connsiteY8" fmla="*/ 696427 h 1786801"/>
                <a:gd name="connsiteX9" fmla="*/ 772675 w 802433"/>
                <a:gd name="connsiteY9" fmla="*/ 1002725 h 1786801"/>
                <a:gd name="connsiteX10" fmla="*/ 690465 w 802433"/>
                <a:gd name="connsiteY10" fmla="*/ 565798 h 1786801"/>
                <a:gd name="connsiteX11" fmla="*/ 802433 w 802433"/>
                <a:gd name="connsiteY11" fmla="*/ 640443 h 1786801"/>
                <a:gd name="connsiteX12" fmla="*/ 594178 w 802433"/>
                <a:gd name="connsiteY12" fmla="*/ 0 h 1786801"/>
                <a:gd name="connsiteX13" fmla="*/ 186612 w 802433"/>
                <a:gd name="connsiteY13" fmla="*/ 5961 h 17868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02433" h="1786801">
                  <a:moveTo>
                    <a:pt x="186612" y="5961"/>
                  </a:moveTo>
                  <a:lnTo>
                    <a:pt x="0" y="565798"/>
                  </a:lnTo>
                  <a:lnTo>
                    <a:pt x="177282" y="397847"/>
                  </a:lnTo>
                  <a:lnTo>
                    <a:pt x="93306" y="817725"/>
                  </a:lnTo>
                  <a:lnTo>
                    <a:pt x="205273" y="649774"/>
                  </a:lnTo>
                  <a:lnTo>
                    <a:pt x="385934" y="1786801"/>
                  </a:lnTo>
                  <a:lnTo>
                    <a:pt x="479393" y="1057441"/>
                  </a:lnTo>
                  <a:lnTo>
                    <a:pt x="594740" y="1201238"/>
                  </a:lnTo>
                  <a:lnTo>
                    <a:pt x="587828" y="696427"/>
                  </a:lnTo>
                  <a:lnTo>
                    <a:pt x="772675" y="1002725"/>
                  </a:lnTo>
                  <a:lnTo>
                    <a:pt x="690465" y="565798"/>
                  </a:lnTo>
                  <a:lnTo>
                    <a:pt x="802433" y="640443"/>
                  </a:lnTo>
                  <a:lnTo>
                    <a:pt x="594178" y="0"/>
                  </a:lnTo>
                  <a:lnTo>
                    <a:pt x="186612" y="5961"/>
                  </a:lnTo>
                  <a:close/>
                </a:path>
              </a:pathLst>
            </a:custGeom>
            <a:solidFill>
              <a:srgbClr val="FFB900"/>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spcBef>
                  <a:spcPct val="0"/>
                </a:spcBef>
                <a:spcAft>
                  <a:spcPct val="0"/>
                </a:spcAft>
                <a:buClrTx/>
                <a:buSzTx/>
                <a:buFontTx/>
                <a:buNone/>
                <a:tabLst/>
                <a:defRPr/>
              </a:pPr>
              <a:endParaRPr kumimoji="0" lang="en-IN" sz="2400" b="0" i="0" u="none" strike="noStrike" kern="0" cap="none" normalizeH="0" baseline="0" noProof="0" dirty="0">
                <a:ln>
                  <a:noFill/>
                </a:ln>
                <a:solidFill>
                  <a:schemeClr val="tx2"/>
                </a:solidFill>
                <a:effectLst/>
                <a:uLnTx/>
                <a:uFillTx/>
                <a:latin typeface="Segoe UI"/>
                <a:ea typeface="Segoe UI" pitchFamily="34" charset="0"/>
                <a:cs typeface="Segoe UI" pitchFamily="34" charset="0"/>
              </a:endParaRPr>
            </a:p>
          </p:txBody>
        </p:sp>
      </p:grpSp>
      <p:sp>
        <p:nvSpPr>
          <p:cNvPr id="2" name="Title 1"/>
          <p:cNvSpPr>
            <a:spLocks noGrp="1"/>
          </p:cNvSpPr>
          <p:nvPr>
            <p:ph type="title"/>
          </p:nvPr>
        </p:nvSpPr>
        <p:spPr>
          <a:xfrm>
            <a:off x="269240" y="2084173"/>
            <a:ext cx="11653523" cy="1796217"/>
          </a:xfrm>
        </p:spPr>
        <p:txBody>
          <a:bodyPr/>
          <a:lstStyle/>
          <a:p>
            <a:r>
              <a:rPr lang="en-US" dirty="0"/>
              <a:t>ADL Store </a:t>
            </a:r>
            <a:br>
              <a:rPr lang="en-US" dirty="0"/>
            </a:br>
            <a:r>
              <a:rPr lang="en-US" dirty="0">
                <a:solidFill>
                  <a:schemeClr val="accent2"/>
                </a:solidFill>
              </a:rPr>
              <a:t>Hadoop integration </a:t>
            </a:r>
          </a:p>
        </p:txBody>
      </p:sp>
      <p:grpSp>
        <p:nvGrpSpPr>
          <p:cNvPr id="28" name="Group 27"/>
          <p:cNvGrpSpPr/>
          <p:nvPr/>
        </p:nvGrpSpPr>
        <p:grpSpPr>
          <a:xfrm>
            <a:off x="7045216" y="5123585"/>
            <a:ext cx="1647398" cy="1024992"/>
            <a:chOff x="7359541" y="3105096"/>
            <a:chExt cx="1647398" cy="1024992"/>
          </a:xfrm>
        </p:grpSpPr>
        <p:sp>
          <p:nvSpPr>
            <p:cNvPr id="18" name="Freeform 100"/>
            <p:cNvSpPr>
              <a:spLocks noEditPoints="1"/>
            </p:cNvSpPr>
            <p:nvPr/>
          </p:nvSpPr>
          <p:spPr bwMode="auto">
            <a:xfrm>
              <a:off x="8652075" y="3505561"/>
              <a:ext cx="354864" cy="355545"/>
            </a:xfrm>
            <a:custGeom>
              <a:avLst/>
              <a:gdLst>
                <a:gd name="T0" fmla="*/ 434 w 441"/>
                <a:gd name="T1" fmla="*/ 201 h 441"/>
                <a:gd name="T2" fmla="*/ 425 w 441"/>
                <a:gd name="T3" fmla="*/ 156 h 441"/>
                <a:gd name="T4" fmla="*/ 410 w 441"/>
                <a:gd name="T5" fmla="*/ 120 h 441"/>
                <a:gd name="T6" fmla="*/ 385 w 441"/>
                <a:gd name="T7" fmla="*/ 84 h 441"/>
                <a:gd name="T8" fmla="*/ 357 w 441"/>
                <a:gd name="T9" fmla="*/ 56 h 441"/>
                <a:gd name="T10" fmla="*/ 320 w 441"/>
                <a:gd name="T11" fmla="*/ 30 h 441"/>
                <a:gd name="T12" fmla="*/ 283 w 441"/>
                <a:gd name="T13" fmla="*/ 16 h 441"/>
                <a:gd name="T14" fmla="*/ 240 w 441"/>
                <a:gd name="T15" fmla="*/ 7 h 441"/>
                <a:gd name="T16" fmla="*/ 201 w 441"/>
                <a:gd name="T17" fmla="*/ 7 h 441"/>
                <a:gd name="T18" fmla="*/ 156 w 441"/>
                <a:gd name="T19" fmla="*/ 16 h 441"/>
                <a:gd name="T20" fmla="*/ 120 w 441"/>
                <a:gd name="T21" fmla="*/ 31 h 441"/>
                <a:gd name="T22" fmla="*/ 84 w 441"/>
                <a:gd name="T23" fmla="*/ 56 h 441"/>
                <a:gd name="T24" fmla="*/ 56 w 441"/>
                <a:gd name="T25" fmla="*/ 84 h 441"/>
                <a:gd name="T26" fmla="*/ 31 w 441"/>
                <a:gd name="T27" fmla="*/ 122 h 441"/>
                <a:gd name="T28" fmla="*/ 16 w 441"/>
                <a:gd name="T29" fmla="*/ 158 h 441"/>
                <a:gd name="T30" fmla="*/ 7 w 441"/>
                <a:gd name="T31" fmla="*/ 201 h 441"/>
                <a:gd name="T32" fmla="*/ 7 w 441"/>
                <a:gd name="T33" fmla="*/ 240 h 441"/>
                <a:gd name="T34" fmla="*/ 16 w 441"/>
                <a:gd name="T35" fmla="*/ 285 h 441"/>
                <a:gd name="T36" fmla="*/ 32 w 441"/>
                <a:gd name="T37" fmla="*/ 321 h 441"/>
                <a:gd name="T38" fmla="*/ 56 w 441"/>
                <a:gd name="T39" fmla="*/ 357 h 441"/>
                <a:gd name="T40" fmla="*/ 84 w 441"/>
                <a:gd name="T41" fmla="*/ 385 h 441"/>
                <a:gd name="T42" fmla="*/ 122 w 441"/>
                <a:gd name="T43" fmla="*/ 411 h 441"/>
                <a:gd name="T44" fmla="*/ 158 w 441"/>
                <a:gd name="T45" fmla="*/ 425 h 441"/>
                <a:gd name="T46" fmla="*/ 201 w 441"/>
                <a:gd name="T47" fmla="*/ 434 h 441"/>
                <a:gd name="T48" fmla="*/ 240 w 441"/>
                <a:gd name="T49" fmla="*/ 434 h 441"/>
                <a:gd name="T50" fmla="*/ 285 w 441"/>
                <a:gd name="T51" fmla="*/ 425 h 441"/>
                <a:gd name="T52" fmla="*/ 321 w 441"/>
                <a:gd name="T53" fmla="*/ 410 h 441"/>
                <a:gd name="T54" fmla="*/ 357 w 441"/>
                <a:gd name="T55" fmla="*/ 385 h 441"/>
                <a:gd name="T56" fmla="*/ 385 w 441"/>
                <a:gd name="T57" fmla="*/ 357 h 441"/>
                <a:gd name="T58" fmla="*/ 411 w 441"/>
                <a:gd name="T59" fmla="*/ 319 h 441"/>
                <a:gd name="T60" fmla="*/ 426 w 441"/>
                <a:gd name="T61" fmla="*/ 283 h 441"/>
                <a:gd name="T62" fmla="*/ 434 w 441"/>
                <a:gd name="T63" fmla="*/ 240 h 441"/>
                <a:gd name="T64" fmla="*/ 356 w 441"/>
                <a:gd name="T65" fmla="*/ 256 h 441"/>
                <a:gd name="T66" fmla="*/ 284 w 441"/>
                <a:gd name="T67" fmla="*/ 213 h 441"/>
                <a:gd name="T68" fmla="*/ 361 w 441"/>
                <a:gd name="T69" fmla="*/ 220 h 441"/>
                <a:gd name="T70" fmla="*/ 275 w 441"/>
                <a:gd name="T71" fmla="*/ 335 h 441"/>
                <a:gd name="T72" fmla="*/ 335 w 441"/>
                <a:gd name="T73" fmla="*/ 276 h 441"/>
                <a:gd name="T74" fmla="*/ 178 w 441"/>
                <a:gd name="T75" fmla="*/ 341 h 441"/>
                <a:gd name="T76" fmla="*/ 263 w 441"/>
                <a:gd name="T77" fmla="*/ 341 h 441"/>
                <a:gd name="T78" fmla="*/ 185 w 441"/>
                <a:gd name="T79" fmla="*/ 358 h 441"/>
                <a:gd name="T80" fmla="*/ 186 w 441"/>
                <a:gd name="T81" fmla="*/ 220 h 441"/>
                <a:gd name="T82" fmla="*/ 221 w 441"/>
                <a:gd name="T83" fmla="*/ 255 h 441"/>
                <a:gd name="T84" fmla="*/ 106 w 441"/>
                <a:gd name="T85" fmla="*/ 277 h 441"/>
                <a:gd name="T86" fmla="*/ 165 w 441"/>
                <a:gd name="T87" fmla="*/ 337 h 441"/>
                <a:gd name="T88" fmla="*/ 100 w 441"/>
                <a:gd name="T89" fmla="*/ 180 h 441"/>
                <a:gd name="T90" fmla="*/ 100 w 441"/>
                <a:gd name="T91" fmla="*/ 264 h 441"/>
                <a:gd name="T92" fmla="*/ 83 w 441"/>
                <a:gd name="T93" fmla="*/ 187 h 441"/>
                <a:gd name="T94" fmla="*/ 148 w 441"/>
                <a:gd name="T95" fmla="*/ 100 h 441"/>
                <a:gd name="T96" fmla="*/ 168 w 441"/>
                <a:gd name="T97" fmla="*/ 182 h 441"/>
                <a:gd name="T98" fmla="*/ 119 w 441"/>
                <a:gd name="T99" fmla="*/ 122 h 441"/>
                <a:gd name="T100" fmla="*/ 211 w 441"/>
                <a:gd name="T101" fmla="*/ 157 h 441"/>
                <a:gd name="T102" fmla="*/ 219 w 441"/>
                <a:gd name="T103" fmla="*/ 80 h 441"/>
                <a:gd name="T104" fmla="*/ 319 w 441"/>
                <a:gd name="T105" fmla="*/ 121 h 441"/>
                <a:gd name="T106" fmla="*/ 270 w 441"/>
                <a:gd name="T107" fmla="*/ 181 h 441"/>
                <a:gd name="T108" fmla="*/ 290 w 441"/>
                <a:gd name="T109" fmla="*/ 99 h 4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41" h="441">
                  <a:moveTo>
                    <a:pt x="441" y="232"/>
                  </a:moveTo>
                  <a:cubicBezTo>
                    <a:pt x="441" y="209"/>
                    <a:pt x="441" y="209"/>
                    <a:pt x="441" y="209"/>
                  </a:cubicBezTo>
                  <a:cubicBezTo>
                    <a:pt x="441" y="205"/>
                    <a:pt x="438" y="201"/>
                    <a:pt x="434" y="201"/>
                  </a:cubicBezTo>
                  <a:cubicBezTo>
                    <a:pt x="401" y="196"/>
                    <a:pt x="401" y="196"/>
                    <a:pt x="401" y="196"/>
                  </a:cubicBezTo>
                  <a:cubicBezTo>
                    <a:pt x="400" y="188"/>
                    <a:pt x="398" y="181"/>
                    <a:pt x="396" y="173"/>
                  </a:cubicBezTo>
                  <a:cubicBezTo>
                    <a:pt x="425" y="156"/>
                    <a:pt x="425" y="156"/>
                    <a:pt x="425" y="156"/>
                  </a:cubicBezTo>
                  <a:cubicBezTo>
                    <a:pt x="428" y="154"/>
                    <a:pt x="430" y="149"/>
                    <a:pt x="428" y="145"/>
                  </a:cubicBezTo>
                  <a:cubicBezTo>
                    <a:pt x="420" y="125"/>
                    <a:pt x="420" y="125"/>
                    <a:pt x="420" y="125"/>
                  </a:cubicBezTo>
                  <a:cubicBezTo>
                    <a:pt x="418" y="121"/>
                    <a:pt x="414" y="119"/>
                    <a:pt x="410" y="120"/>
                  </a:cubicBezTo>
                  <a:cubicBezTo>
                    <a:pt x="377" y="128"/>
                    <a:pt x="377" y="128"/>
                    <a:pt x="377" y="128"/>
                  </a:cubicBezTo>
                  <a:cubicBezTo>
                    <a:pt x="374" y="122"/>
                    <a:pt x="370" y="116"/>
                    <a:pt x="365" y="110"/>
                  </a:cubicBezTo>
                  <a:cubicBezTo>
                    <a:pt x="385" y="84"/>
                    <a:pt x="385" y="84"/>
                    <a:pt x="385" y="84"/>
                  </a:cubicBezTo>
                  <a:cubicBezTo>
                    <a:pt x="388" y="80"/>
                    <a:pt x="387" y="75"/>
                    <a:pt x="385" y="72"/>
                  </a:cubicBezTo>
                  <a:cubicBezTo>
                    <a:pt x="369" y="56"/>
                    <a:pt x="369" y="56"/>
                    <a:pt x="369" y="56"/>
                  </a:cubicBezTo>
                  <a:cubicBezTo>
                    <a:pt x="366" y="54"/>
                    <a:pt x="361" y="53"/>
                    <a:pt x="357" y="56"/>
                  </a:cubicBezTo>
                  <a:cubicBezTo>
                    <a:pt x="331" y="76"/>
                    <a:pt x="331" y="76"/>
                    <a:pt x="331" y="76"/>
                  </a:cubicBezTo>
                  <a:cubicBezTo>
                    <a:pt x="325" y="71"/>
                    <a:pt x="318" y="67"/>
                    <a:pt x="311" y="63"/>
                  </a:cubicBezTo>
                  <a:cubicBezTo>
                    <a:pt x="320" y="30"/>
                    <a:pt x="320" y="30"/>
                    <a:pt x="320" y="30"/>
                  </a:cubicBezTo>
                  <a:cubicBezTo>
                    <a:pt x="321" y="26"/>
                    <a:pt x="318" y="22"/>
                    <a:pt x="314" y="20"/>
                  </a:cubicBezTo>
                  <a:cubicBezTo>
                    <a:pt x="294" y="12"/>
                    <a:pt x="294" y="12"/>
                    <a:pt x="294" y="12"/>
                  </a:cubicBezTo>
                  <a:cubicBezTo>
                    <a:pt x="290" y="10"/>
                    <a:pt x="285" y="12"/>
                    <a:pt x="283" y="16"/>
                  </a:cubicBezTo>
                  <a:cubicBezTo>
                    <a:pt x="266" y="44"/>
                    <a:pt x="266" y="44"/>
                    <a:pt x="266" y="44"/>
                  </a:cubicBezTo>
                  <a:cubicBezTo>
                    <a:pt x="259" y="43"/>
                    <a:pt x="252" y="41"/>
                    <a:pt x="245" y="40"/>
                  </a:cubicBezTo>
                  <a:cubicBezTo>
                    <a:pt x="240" y="7"/>
                    <a:pt x="240" y="7"/>
                    <a:pt x="240" y="7"/>
                  </a:cubicBezTo>
                  <a:cubicBezTo>
                    <a:pt x="240" y="3"/>
                    <a:pt x="236" y="0"/>
                    <a:pt x="232" y="0"/>
                  </a:cubicBezTo>
                  <a:cubicBezTo>
                    <a:pt x="209" y="0"/>
                    <a:pt x="209" y="0"/>
                    <a:pt x="209" y="0"/>
                  </a:cubicBezTo>
                  <a:cubicBezTo>
                    <a:pt x="205" y="0"/>
                    <a:pt x="201" y="3"/>
                    <a:pt x="201" y="7"/>
                  </a:cubicBezTo>
                  <a:cubicBezTo>
                    <a:pt x="196" y="40"/>
                    <a:pt x="196" y="40"/>
                    <a:pt x="196" y="40"/>
                  </a:cubicBezTo>
                  <a:cubicBezTo>
                    <a:pt x="188" y="41"/>
                    <a:pt x="181" y="43"/>
                    <a:pt x="173" y="45"/>
                  </a:cubicBezTo>
                  <a:cubicBezTo>
                    <a:pt x="156" y="16"/>
                    <a:pt x="156" y="16"/>
                    <a:pt x="156" y="16"/>
                  </a:cubicBezTo>
                  <a:cubicBezTo>
                    <a:pt x="154" y="13"/>
                    <a:pt x="149" y="11"/>
                    <a:pt x="145" y="13"/>
                  </a:cubicBezTo>
                  <a:cubicBezTo>
                    <a:pt x="125" y="21"/>
                    <a:pt x="125" y="21"/>
                    <a:pt x="125" y="21"/>
                  </a:cubicBezTo>
                  <a:cubicBezTo>
                    <a:pt x="121" y="23"/>
                    <a:pt x="119" y="27"/>
                    <a:pt x="120" y="31"/>
                  </a:cubicBezTo>
                  <a:cubicBezTo>
                    <a:pt x="128" y="64"/>
                    <a:pt x="128" y="64"/>
                    <a:pt x="128" y="64"/>
                  </a:cubicBezTo>
                  <a:cubicBezTo>
                    <a:pt x="122" y="67"/>
                    <a:pt x="116" y="71"/>
                    <a:pt x="111" y="76"/>
                  </a:cubicBezTo>
                  <a:cubicBezTo>
                    <a:pt x="84" y="56"/>
                    <a:pt x="84" y="56"/>
                    <a:pt x="84" y="56"/>
                  </a:cubicBezTo>
                  <a:cubicBezTo>
                    <a:pt x="80" y="53"/>
                    <a:pt x="75" y="54"/>
                    <a:pt x="72" y="56"/>
                  </a:cubicBezTo>
                  <a:cubicBezTo>
                    <a:pt x="57" y="72"/>
                    <a:pt x="57" y="72"/>
                    <a:pt x="57" y="72"/>
                  </a:cubicBezTo>
                  <a:cubicBezTo>
                    <a:pt x="54" y="75"/>
                    <a:pt x="53" y="80"/>
                    <a:pt x="56" y="84"/>
                  </a:cubicBezTo>
                  <a:cubicBezTo>
                    <a:pt x="76" y="110"/>
                    <a:pt x="76" y="110"/>
                    <a:pt x="76" y="110"/>
                  </a:cubicBezTo>
                  <a:cubicBezTo>
                    <a:pt x="71" y="117"/>
                    <a:pt x="67" y="123"/>
                    <a:pt x="63" y="130"/>
                  </a:cubicBezTo>
                  <a:cubicBezTo>
                    <a:pt x="31" y="122"/>
                    <a:pt x="31" y="122"/>
                    <a:pt x="31" y="122"/>
                  </a:cubicBezTo>
                  <a:cubicBezTo>
                    <a:pt x="27" y="121"/>
                    <a:pt x="22" y="123"/>
                    <a:pt x="20" y="127"/>
                  </a:cubicBezTo>
                  <a:cubicBezTo>
                    <a:pt x="12" y="147"/>
                    <a:pt x="12" y="147"/>
                    <a:pt x="12" y="147"/>
                  </a:cubicBezTo>
                  <a:cubicBezTo>
                    <a:pt x="10" y="151"/>
                    <a:pt x="12" y="156"/>
                    <a:pt x="16" y="158"/>
                  </a:cubicBezTo>
                  <a:cubicBezTo>
                    <a:pt x="45" y="175"/>
                    <a:pt x="45" y="175"/>
                    <a:pt x="45" y="175"/>
                  </a:cubicBezTo>
                  <a:cubicBezTo>
                    <a:pt x="43" y="182"/>
                    <a:pt x="41" y="189"/>
                    <a:pt x="40" y="196"/>
                  </a:cubicBezTo>
                  <a:cubicBezTo>
                    <a:pt x="7" y="201"/>
                    <a:pt x="7" y="201"/>
                    <a:pt x="7" y="201"/>
                  </a:cubicBezTo>
                  <a:cubicBezTo>
                    <a:pt x="3" y="201"/>
                    <a:pt x="0" y="205"/>
                    <a:pt x="0" y="209"/>
                  </a:cubicBezTo>
                  <a:cubicBezTo>
                    <a:pt x="0" y="232"/>
                    <a:pt x="0" y="232"/>
                    <a:pt x="0" y="232"/>
                  </a:cubicBezTo>
                  <a:cubicBezTo>
                    <a:pt x="0" y="236"/>
                    <a:pt x="3" y="240"/>
                    <a:pt x="7" y="240"/>
                  </a:cubicBezTo>
                  <a:cubicBezTo>
                    <a:pt x="40" y="245"/>
                    <a:pt x="40" y="245"/>
                    <a:pt x="40" y="245"/>
                  </a:cubicBezTo>
                  <a:cubicBezTo>
                    <a:pt x="42" y="253"/>
                    <a:pt x="43" y="260"/>
                    <a:pt x="45" y="268"/>
                  </a:cubicBezTo>
                  <a:cubicBezTo>
                    <a:pt x="16" y="285"/>
                    <a:pt x="16" y="285"/>
                    <a:pt x="16" y="285"/>
                  </a:cubicBezTo>
                  <a:cubicBezTo>
                    <a:pt x="13" y="287"/>
                    <a:pt x="11" y="292"/>
                    <a:pt x="13" y="296"/>
                  </a:cubicBezTo>
                  <a:cubicBezTo>
                    <a:pt x="21" y="316"/>
                    <a:pt x="21" y="316"/>
                    <a:pt x="21" y="316"/>
                  </a:cubicBezTo>
                  <a:cubicBezTo>
                    <a:pt x="23" y="320"/>
                    <a:pt x="28" y="322"/>
                    <a:pt x="32" y="321"/>
                  </a:cubicBezTo>
                  <a:cubicBezTo>
                    <a:pt x="64" y="313"/>
                    <a:pt x="64" y="313"/>
                    <a:pt x="64" y="313"/>
                  </a:cubicBezTo>
                  <a:cubicBezTo>
                    <a:pt x="68" y="319"/>
                    <a:pt x="72" y="325"/>
                    <a:pt x="76" y="331"/>
                  </a:cubicBezTo>
                  <a:cubicBezTo>
                    <a:pt x="56" y="357"/>
                    <a:pt x="56" y="357"/>
                    <a:pt x="56" y="357"/>
                  </a:cubicBezTo>
                  <a:cubicBezTo>
                    <a:pt x="53" y="361"/>
                    <a:pt x="54" y="366"/>
                    <a:pt x="57" y="369"/>
                  </a:cubicBezTo>
                  <a:cubicBezTo>
                    <a:pt x="72" y="384"/>
                    <a:pt x="72" y="384"/>
                    <a:pt x="72" y="384"/>
                  </a:cubicBezTo>
                  <a:cubicBezTo>
                    <a:pt x="75" y="387"/>
                    <a:pt x="80" y="388"/>
                    <a:pt x="84" y="385"/>
                  </a:cubicBezTo>
                  <a:cubicBezTo>
                    <a:pt x="111" y="365"/>
                    <a:pt x="111" y="365"/>
                    <a:pt x="111" y="365"/>
                  </a:cubicBezTo>
                  <a:cubicBezTo>
                    <a:pt x="117" y="370"/>
                    <a:pt x="123" y="374"/>
                    <a:pt x="130" y="378"/>
                  </a:cubicBezTo>
                  <a:cubicBezTo>
                    <a:pt x="122" y="411"/>
                    <a:pt x="122" y="411"/>
                    <a:pt x="122" y="411"/>
                  </a:cubicBezTo>
                  <a:cubicBezTo>
                    <a:pt x="121" y="415"/>
                    <a:pt x="123" y="419"/>
                    <a:pt x="127" y="421"/>
                  </a:cubicBezTo>
                  <a:cubicBezTo>
                    <a:pt x="147" y="429"/>
                    <a:pt x="147" y="429"/>
                    <a:pt x="147" y="429"/>
                  </a:cubicBezTo>
                  <a:cubicBezTo>
                    <a:pt x="151" y="431"/>
                    <a:pt x="156" y="429"/>
                    <a:pt x="158" y="425"/>
                  </a:cubicBezTo>
                  <a:cubicBezTo>
                    <a:pt x="175" y="397"/>
                    <a:pt x="175" y="397"/>
                    <a:pt x="175" y="397"/>
                  </a:cubicBezTo>
                  <a:cubicBezTo>
                    <a:pt x="182" y="398"/>
                    <a:pt x="189" y="400"/>
                    <a:pt x="196" y="401"/>
                  </a:cubicBezTo>
                  <a:cubicBezTo>
                    <a:pt x="201" y="434"/>
                    <a:pt x="201" y="434"/>
                    <a:pt x="201" y="434"/>
                  </a:cubicBezTo>
                  <a:cubicBezTo>
                    <a:pt x="201" y="438"/>
                    <a:pt x="205" y="441"/>
                    <a:pt x="209" y="441"/>
                  </a:cubicBezTo>
                  <a:cubicBezTo>
                    <a:pt x="232" y="441"/>
                    <a:pt x="232" y="441"/>
                    <a:pt x="232" y="441"/>
                  </a:cubicBezTo>
                  <a:cubicBezTo>
                    <a:pt x="236" y="441"/>
                    <a:pt x="240" y="438"/>
                    <a:pt x="240" y="434"/>
                  </a:cubicBezTo>
                  <a:cubicBezTo>
                    <a:pt x="245" y="401"/>
                    <a:pt x="245" y="401"/>
                    <a:pt x="245" y="401"/>
                  </a:cubicBezTo>
                  <a:cubicBezTo>
                    <a:pt x="253" y="400"/>
                    <a:pt x="260" y="398"/>
                    <a:pt x="268" y="396"/>
                  </a:cubicBezTo>
                  <a:cubicBezTo>
                    <a:pt x="285" y="425"/>
                    <a:pt x="285" y="425"/>
                    <a:pt x="285" y="425"/>
                  </a:cubicBezTo>
                  <a:cubicBezTo>
                    <a:pt x="287" y="428"/>
                    <a:pt x="292" y="430"/>
                    <a:pt x="296" y="428"/>
                  </a:cubicBezTo>
                  <a:cubicBezTo>
                    <a:pt x="316" y="420"/>
                    <a:pt x="316" y="420"/>
                    <a:pt x="316" y="420"/>
                  </a:cubicBezTo>
                  <a:cubicBezTo>
                    <a:pt x="320" y="418"/>
                    <a:pt x="322" y="414"/>
                    <a:pt x="321" y="410"/>
                  </a:cubicBezTo>
                  <a:cubicBezTo>
                    <a:pt x="313" y="377"/>
                    <a:pt x="313" y="377"/>
                    <a:pt x="313" y="377"/>
                  </a:cubicBezTo>
                  <a:cubicBezTo>
                    <a:pt x="319" y="373"/>
                    <a:pt x="325" y="369"/>
                    <a:pt x="331" y="365"/>
                  </a:cubicBezTo>
                  <a:cubicBezTo>
                    <a:pt x="357" y="385"/>
                    <a:pt x="357" y="385"/>
                    <a:pt x="357" y="385"/>
                  </a:cubicBezTo>
                  <a:cubicBezTo>
                    <a:pt x="361" y="388"/>
                    <a:pt x="366" y="387"/>
                    <a:pt x="369" y="384"/>
                  </a:cubicBezTo>
                  <a:cubicBezTo>
                    <a:pt x="385" y="369"/>
                    <a:pt x="385" y="369"/>
                    <a:pt x="385" y="369"/>
                  </a:cubicBezTo>
                  <a:cubicBezTo>
                    <a:pt x="387" y="366"/>
                    <a:pt x="388" y="361"/>
                    <a:pt x="385" y="357"/>
                  </a:cubicBezTo>
                  <a:cubicBezTo>
                    <a:pt x="365" y="331"/>
                    <a:pt x="365" y="331"/>
                    <a:pt x="365" y="331"/>
                  </a:cubicBezTo>
                  <a:cubicBezTo>
                    <a:pt x="370" y="324"/>
                    <a:pt x="374" y="318"/>
                    <a:pt x="378" y="311"/>
                  </a:cubicBezTo>
                  <a:cubicBezTo>
                    <a:pt x="411" y="319"/>
                    <a:pt x="411" y="319"/>
                    <a:pt x="411" y="319"/>
                  </a:cubicBezTo>
                  <a:cubicBezTo>
                    <a:pt x="415" y="320"/>
                    <a:pt x="419" y="318"/>
                    <a:pt x="421" y="314"/>
                  </a:cubicBezTo>
                  <a:cubicBezTo>
                    <a:pt x="429" y="294"/>
                    <a:pt x="429" y="294"/>
                    <a:pt x="429" y="294"/>
                  </a:cubicBezTo>
                  <a:cubicBezTo>
                    <a:pt x="431" y="290"/>
                    <a:pt x="429" y="285"/>
                    <a:pt x="426" y="283"/>
                  </a:cubicBezTo>
                  <a:cubicBezTo>
                    <a:pt x="397" y="266"/>
                    <a:pt x="397" y="266"/>
                    <a:pt x="397" y="266"/>
                  </a:cubicBezTo>
                  <a:cubicBezTo>
                    <a:pt x="398" y="259"/>
                    <a:pt x="400" y="252"/>
                    <a:pt x="401" y="245"/>
                  </a:cubicBezTo>
                  <a:cubicBezTo>
                    <a:pt x="434" y="240"/>
                    <a:pt x="434" y="240"/>
                    <a:pt x="434" y="240"/>
                  </a:cubicBezTo>
                  <a:cubicBezTo>
                    <a:pt x="438" y="240"/>
                    <a:pt x="441" y="236"/>
                    <a:pt x="441" y="232"/>
                  </a:cubicBezTo>
                  <a:close/>
                  <a:moveTo>
                    <a:pt x="361" y="220"/>
                  </a:moveTo>
                  <a:cubicBezTo>
                    <a:pt x="361" y="238"/>
                    <a:pt x="356" y="256"/>
                    <a:pt x="356" y="256"/>
                  </a:cubicBezTo>
                  <a:cubicBezTo>
                    <a:pt x="354" y="264"/>
                    <a:pt x="346" y="267"/>
                    <a:pt x="339" y="263"/>
                  </a:cubicBezTo>
                  <a:cubicBezTo>
                    <a:pt x="284" y="228"/>
                    <a:pt x="284" y="228"/>
                    <a:pt x="284" y="228"/>
                  </a:cubicBezTo>
                  <a:cubicBezTo>
                    <a:pt x="277" y="224"/>
                    <a:pt x="277" y="217"/>
                    <a:pt x="284" y="213"/>
                  </a:cubicBezTo>
                  <a:cubicBezTo>
                    <a:pt x="339" y="178"/>
                    <a:pt x="339" y="178"/>
                    <a:pt x="339" y="178"/>
                  </a:cubicBezTo>
                  <a:cubicBezTo>
                    <a:pt x="346" y="174"/>
                    <a:pt x="354" y="177"/>
                    <a:pt x="356" y="185"/>
                  </a:cubicBezTo>
                  <a:cubicBezTo>
                    <a:pt x="356" y="185"/>
                    <a:pt x="361" y="203"/>
                    <a:pt x="361" y="220"/>
                  </a:cubicBezTo>
                  <a:close/>
                  <a:moveTo>
                    <a:pt x="321" y="321"/>
                  </a:moveTo>
                  <a:cubicBezTo>
                    <a:pt x="308" y="333"/>
                    <a:pt x="292" y="343"/>
                    <a:pt x="292" y="343"/>
                  </a:cubicBezTo>
                  <a:cubicBezTo>
                    <a:pt x="285" y="347"/>
                    <a:pt x="277" y="343"/>
                    <a:pt x="275" y="335"/>
                  </a:cubicBezTo>
                  <a:cubicBezTo>
                    <a:pt x="260" y="272"/>
                    <a:pt x="260" y="272"/>
                    <a:pt x="260" y="272"/>
                  </a:cubicBezTo>
                  <a:cubicBezTo>
                    <a:pt x="258" y="264"/>
                    <a:pt x="263" y="259"/>
                    <a:pt x="271" y="260"/>
                  </a:cubicBezTo>
                  <a:cubicBezTo>
                    <a:pt x="335" y="276"/>
                    <a:pt x="335" y="276"/>
                    <a:pt x="335" y="276"/>
                  </a:cubicBezTo>
                  <a:cubicBezTo>
                    <a:pt x="343" y="278"/>
                    <a:pt x="346" y="285"/>
                    <a:pt x="342" y="292"/>
                  </a:cubicBezTo>
                  <a:cubicBezTo>
                    <a:pt x="342" y="292"/>
                    <a:pt x="333" y="309"/>
                    <a:pt x="321" y="321"/>
                  </a:cubicBezTo>
                  <a:close/>
                  <a:moveTo>
                    <a:pt x="178" y="341"/>
                  </a:moveTo>
                  <a:cubicBezTo>
                    <a:pt x="213" y="285"/>
                    <a:pt x="213" y="285"/>
                    <a:pt x="213" y="285"/>
                  </a:cubicBezTo>
                  <a:cubicBezTo>
                    <a:pt x="217" y="278"/>
                    <a:pt x="224" y="278"/>
                    <a:pt x="228" y="285"/>
                  </a:cubicBezTo>
                  <a:cubicBezTo>
                    <a:pt x="263" y="341"/>
                    <a:pt x="263" y="341"/>
                    <a:pt x="263" y="341"/>
                  </a:cubicBezTo>
                  <a:cubicBezTo>
                    <a:pt x="267" y="348"/>
                    <a:pt x="264" y="356"/>
                    <a:pt x="256" y="358"/>
                  </a:cubicBezTo>
                  <a:cubicBezTo>
                    <a:pt x="256" y="358"/>
                    <a:pt x="238" y="363"/>
                    <a:pt x="221" y="363"/>
                  </a:cubicBezTo>
                  <a:cubicBezTo>
                    <a:pt x="203" y="363"/>
                    <a:pt x="185" y="358"/>
                    <a:pt x="185" y="358"/>
                  </a:cubicBezTo>
                  <a:cubicBezTo>
                    <a:pt x="177" y="356"/>
                    <a:pt x="174" y="348"/>
                    <a:pt x="178" y="341"/>
                  </a:cubicBezTo>
                  <a:close/>
                  <a:moveTo>
                    <a:pt x="221" y="255"/>
                  </a:moveTo>
                  <a:cubicBezTo>
                    <a:pt x="202" y="255"/>
                    <a:pt x="186" y="240"/>
                    <a:pt x="186" y="220"/>
                  </a:cubicBezTo>
                  <a:cubicBezTo>
                    <a:pt x="186" y="201"/>
                    <a:pt x="202" y="186"/>
                    <a:pt x="221" y="186"/>
                  </a:cubicBezTo>
                  <a:cubicBezTo>
                    <a:pt x="240" y="186"/>
                    <a:pt x="255" y="201"/>
                    <a:pt x="255" y="220"/>
                  </a:cubicBezTo>
                  <a:cubicBezTo>
                    <a:pt x="255" y="240"/>
                    <a:pt x="240" y="255"/>
                    <a:pt x="221" y="255"/>
                  </a:cubicBezTo>
                  <a:close/>
                  <a:moveTo>
                    <a:pt x="120" y="322"/>
                  </a:moveTo>
                  <a:cubicBezTo>
                    <a:pt x="108" y="310"/>
                    <a:pt x="99" y="294"/>
                    <a:pt x="99" y="294"/>
                  </a:cubicBezTo>
                  <a:cubicBezTo>
                    <a:pt x="95" y="286"/>
                    <a:pt x="98" y="279"/>
                    <a:pt x="106" y="277"/>
                  </a:cubicBezTo>
                  <a:cubicBezTo>
                    <a:pt x="170" y="262"/>
                    <a:pt x="170" y="262"/>
                    <a:pt x="170" y="262"/>
                  </a:cubicBezTo>
                  <a:cubicBezTo>
                    <a:pt x="178" y="260"/>
                    <a:pt x="182" y="265"/>
                    <a:pt x="181" y="273"/>
                  </a:cubicBezTo>
                  <a:cubicBezTo>
                    <a:pt x="165" y="337"/>
                    <a:pt x="165" y="337"/>
                    <a:pt x="165" y="337"/>
                  </a:cubicBezTo>
                  <a:cubicBezTo>
                    <a:pt x="163" y="345"/>
                    <a:pt x="156" y="348"/>
                    <a:pt x="149" y="344"/>
                  </a:cubicBezTo>
                  <a:cubicBezTo>
                    <a:pt x="149" y="344"/>
                    <a:pt x="133" y="335"/>
                    <a:pt x="120" y="322"/>
                  </a:cubicBezTo>
                  <a:close/>
                  <a:moveTo>
                    <a:pt x="100" y="180"/>
                  </a:moveTo>
                  <a:cubicBezTo>
                    <a:pt x="156" y="215"/>
                    <a:pt x="156" y="215"/>
                    <a:pt x="156" y="215"/>
                  </a:cubicBezTo>
                  <a:cubicBezTo>
                    <a:pt x="163" y="219"/>
                    <a:pt x="163" y="226"/>
                    <a:pt x="156" y="230"/>
                  </a:cubicBezTo>
                  <a:cubicBezTo>
                    <a:pt x="100" y="264"/>
                    <a:pt x="100" y="264"/>
                    <a:pt x="100" y="264"/>
                  </a:cubicBezTo>
                  <a:cubicBezTo>
                    <a:pt x="93" y="269"/>
                    <a:pt x="85" y="266"/>
                    <a:pt x="83" y="258"/>
                  </a:cubicBezTo>
                  <a:cubicBezTo>
                    <a:pt x="83" y="258"/>
                    <a:pt x="78" y="240"/>
                    <a:pt x="78" y="222"/>
                  </a:cubicBezTo>
                  <a:cubicBezTo>
                    <a:pt x="78" y="205"/>
                    <a:pt x="83" y="187"/>
                    <a:pt x="83" y="187"/>
                  </a:cubicBezTo>
                  <a:cubicBezTo>
                    <a:pt x="85" y="179"/>
                    <a:pt x="93" y="176"/>
                    <a:pt x="100" y="180"/>
                  </a:cubicBezTo>
                  <a:close/>
                  <a:moveTo>
                    <a:pt x="119" y="122"/>
                  </a:moveTo>
                  <a:cubicBezTo>
                    <a:pt x="131" y="109"/>
                    <a:pt x="148" y="100"/>
                    <a:pt x="148" y="100"/>
                  </a:cubicBezTo>
                  <a:cubicBezTo>
                    <a:pt x="155" y="96"/>
                    <a:pt x="162" y="100"/>
                    <a:pt x="164" y="108"/>
                  </a:cubicBezTo>
                  <a:cubicBezTo>
                    <a:pt x="179" y="171"/>
                    <a:pt x="179" y="171"/>
                    <a:pt x="179" y="171"/>
                  </a:cubicBezTo>
                  <a:cubicBezTo>
                    <a:pt x="181" y="179"/>
                    <a:pt x="176" y="184"/>
                    <a:pt x="168" y="182"/>
                  </a:cubicBezTo>
                  <a:cubicBezTo>
                    <a:pt x="104" y="167"/>
                    <a:pt x="104" y="167"/>
                    <a:pt x="104" y="167"/>
                  </a:cubicBezTo>
                  <a:cubicBezTo>
                    <a:pt x="96" y="165"/>
                    <a:pt x="93" y="158"/>
                    <a:pt x="97" y="151"/>
                  </a:cubicBezTo>
                  <a:cubicBezTo>
                    <a:pt x="97" y="151"/>
                    <a:pt x="106" y="134"/>
                    <a:pt x="119" y="122"/>
                  </a:cubicBezTo>
                  <a:close/>
                  <a:moveTo>
                    <a:pt x="261" y="102"/>
                  </a:moveTo>
                  <a:cubicBezTo>
                    <a:pt x="227" y="157"/>
                    <a:pt x="227" y="157"/>
                    <a:pt x="227" y="157"/>
                  </a:cubicBezTo>
                  <a:cubicBezTo>
                    <a:pt x="222" y="164"/>
                    <a:pt x="215" y="164"/>
                    <a:pt x="211" y="157"/>
                  </a:cubicBezTo>
                  <a:cubicBezTo>
                    <a:pt x="177" y="102"/>
                    <a:pt x="177" y="102"/>
                    <a:pt x="177" y="102"/>
                  </a:cubicBezTo>
                  <a:cubicBezTo>
                    <a:pt x="172" y="95"/>
                    <a:pt x="175" y="87"/>
                    <a:pt x="183" y="85"/>
                  </a:cubicBezTo>
                  <a:cubicBezTo>
                    <a:pt x="183" y="85"/>
                    <a:pt x="201" y="80"/>
                    <a:pt x="219" y="80"/>
                  </a:cubicBezTo>
                  <a:cubicBezTo>
                    <a:pt x="236" y="80"/>
                    <a:pt x="254" y="85"/>
                    <a:pt x="254" y="85"/>
                  </a:cubicBezTo>
                  <a:cubicBezTo>
                    <a:pt x="262" y="87"/>
                    <a:pt x="265" y="95"/>
                    <a:pt x="261" y="102"/>
                  </a:cubicBezTo>
                  <a:close/>
                  <a:moveTo>
                    <a:pt x="319" y="121"/>
                  </a:moveTo>
                  <a:cubicBezTo>
                    <a:pt x="332" y="133"/>
                    <a:pt x="341" y="149"/>
                    <a:pt x="341" y="149"/>
                  </a:cubicBezTo>
                  <a:cubicBezTo>
                    <a:pt x="345" y="156"/>
                    <a:pt x="342" y="164"/>
                    <a:pt x="334" y="166"/>
                  </a:cubicBezTo>
                  <a:cubicBezTo>
                    <a:pt x="270" y="181"/>
                    <a:pt x="270" y="181"/>
                    <a:pt x="270" y="181"/>
                  </a:cubicBezTo>
                  <a:cubicBezTo>
                    <a:pt x="262" y="183"/>
                    <a:pt x="257" y="178"/>
                    <a:pt x="259" y="170"/>
                  </a:cubicBezTo>
                  <a:cubicBezTo>
                    <a:pt x="274" y="106"/>
                    <a:pt x="274" y="106"/>
                    <a:pt x="274" y="106"/>
                  </a:cubicBezTo>
                  <a:cubicBezTo>
                    <a:pt x="276" y="98"/>
                    <a:pt x="283" y="95"/>
                    <a:pt x="290" y="99"/>
                  </a:cubicBezTo>
                  <a:cubicBezTo>
                    <a:pt x="290" y="99"/>
                    <a:pt x="307" y="108"/>
                    <a:pt x="319" y="121"/>
                  </a:cubicBez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sp>
          <p:nvSpPr>
            <p:cNvPr id="19" name="Freeform 100"/>
            <p:cNvSpPr>
              <a:spLocks noEditPoints="1"/>
            </p:cNvSpPr>
            <p:nvPr/>
          </p:nvSpPr>
          <p:spPr bwMode="auto">
            <a:xfrm>
              <a:off x="8142645" y="3406330"/>
              <a:ext cx="354864" cy="355545"/>
            </a:xfrm>
            <a:custGeom>
              <a:avLst/>
              <a:gdLst>
                <a:gd name="T0" fmla="*/ 434 w 441"/>
                <a:gd name="T1" fmla="*/ 201 h 441"/>
                <a:gd name="T2" fmla="*/ 425 w 441"/>
                <a:gd name="T3" fmla="*/ 156 h 441"/>
                <a:gd name="T4" fmla="*/ 410 w 441"/>
                <a:gd name="T5" fmla="*/ 120 h 441"/>
                <a:gd name="T6" fmla="*/ 385 w 441"/>
                <a:gd name="T7" fmla="*/ 84 h 441"/>
                <a:gd name="T8" fmla="*/ 357 w 441"/>
                <a:gd name="T9" fmla="*/ 56 h 441"/>
                <a:gd name="T10" fmla="*/ 320 w 441"/>
                <a:gd name="T11" fmla="*/ 30 h 441"/>
                <a:gd name="T12" fmla="*/ 283 w 441"/>
                <a:gd name="T13" fmla="*/ 16 h 441"/>
                <a:gd name="T14" fmla="*/ 240 w 441"/>
                <a:gd name="T15" fmla="*/ 7 h 441"/>
                <a:gd name="T16" fmla="*/ 201 w 441"/>
                <a:gd name="T17" fmla="*/ 7 h 441"/>
                <a:gd name="T18" fmla="*/ 156 w 441"/>
                <a:gd name="T19" fmla="*/ 16 h 441"/>
                <a:gd name="T20" fmla="*/ 120 w 441"/>
                <a:gd name="T21" fmla="*/ 31 h 441"/>
                <a:gd name="T22" fmla="*/ 84 w 441"/>
                <a:gd name="T23" fmla="*/ 56 h 441"/>
                <a:gd name="T24" fmla="*/ 56 w 441"/>
                <a:gd name="T25" fmla="*/ 84 h 441"/>
                <a:gd name="T26" fmla="*/ 31 w 441"/>
                <a:gd name="T27" fmla="*/ 122 h 441"/>
                <a:gd name="T28" fmla="*/ 16 w 441"/>
                <a:gd name="T29" fmla="*/ 158 h 441"/>
                <a:gd name="T30" fmla="*/ 7 w 441"/>
                <a:gd name="T31" fmla="*/ 201 h 441"/>
                <a:gd name="T32" fmla="*/ 7 w 441"/>
                <a:gd name="T33" fmla="*/ 240 h 441"/>
                <a:gd name="T34" fmla="*/ 16 w 441"/>
                <a:gd name="T35" fmla="*/ 285 h 441"/>
                <a:gd name="T36" fmla="*/ 32 w 441"/>
                <a:gd name="T37" fmla="*/ 321 h 441"/>
                <a:gd name="T38" fmla="*/ 56 w 441"/>
                <a:gd name="T39" fmla="*/ 357 h 441"/>
                <a:gd name="T40" fmla="*/ 84 w 441"/>
                <a:gd name="T41" fmla="*/ 385 h 441"/>
                <a:gd name="T42" fmla="*/ 122 w 441"/>
                <a:gd name="T43" fmla="*/ 411 h 441"/>
                <a:gd name="T44" fmla="*/ 158 w 441"/>
                <a:gd name="T45" fmla="*/ 425 h 441"/>
                <a:gd name="T46" fmla="*/ 201 w 441"/>
                <a:gd name="T47" fmla="*/ 434 h 441"/>
                <a:gd name="T48" fmla="*/ 240 w 441"/>
                <a:gd name="T49" fmla="*/ 434 h 441"/>
                <a:gd name="T50" fmla="*/ 285 w 441"/>
                <a:gd name="T51" fmla="*/ 425 h 441"/>
                <a:gd name="T52" fmla="*/ 321 w 441"/>
                <a:gd name="T53" fmla="*/ 410 h 441"/>
                <a:gd name="T54" fmla="*/ 357 w 441"/>
                <a:gd name="T55" fmla="*/ 385 h 441"/>
                <a:gd name="T56" fmla="*/ 385 w 441"/>
                <a:gd name="T57" fmla="*/ 357 h 441"/>
                <a:gd name="T58" fmla="*/ 411 w 441"/>
                <a:gd name="T59" fmla="*/ 319 h 441"/>
                <a:gd name="T60" fmla="*/ 426 w 441"/>
                <a:gd name="T61" fmla="*/ 283 h 441"/>
                <a:gd name="T62" fmla="*/ 434 w 441"/>
                <a:gd name="T63" fmla="*/ 240 h 441"/>
                <a:gd name="T64" fmla="*/ 356 w 441"/>
                <a:gd name="T65" fmla="*/ 256 h 441"/>
                <a:gd name="T66" fmla="*/ 284 w 441"/>
                <a:gd name="T67" fmla="*/ 213 h 441"/>
                <a:gd name="T68" fmla="*/ 361 w 441"/>
                <a:gd name="T69" fmla="*/ 220 h 441"/>
                <a:gd name="T70" fmla="*/ 275 w 441"/>
                <a:gd name="T71" fmla="*/ 335 h 441"/>
                <a:gd name="T72" fmla="*/ 335 w 441"/>
                <a:gd name="T73" fmla="*/ 276 h 441"/>
                <a:gd name="T74" fmla="*/ 178 w 441"/>
                <a:gd name="T75" fmla="*/ 341 h 441"/>
                <a:gd name="T76" fmla="*/ 263 w 441"/>
                <a:gd name="T77" fmla="*/ 341 h 441"/>
                <a:gd name="T78" fmla="*/ 185 w 441"/>
                <a:gd name="T79" fmla="*/ 358 h 441"/>
                <a:gd name="T80" fmla="*/ 186 w 441"/>
                <a:gd name="T81" fmla="*/ 220 h 441"/>
                <a:gd name="T82" fmla="*/ 221 w 441"/>
                <a:gd name="T83" fmla="*/ 255 h 441"/>
                <a:gd name="T84" fmla="*/ 106 w 441"/>
                <a:gd name="T85" fmla="*/ 277 h 441"/>
                <a:gd name="T86" fmla="*/ 165 w 441"/>
                <a:gd name="T87" fmla="*/ 337 h 441"/>
                <a:gd name="T88" fmla="*/ 100 w 441"/>
                <a:gd name="T89" fmla="*/ 180 h 441"/>
                <a:gd name="T90" fmla="*/ 100 w 441"/>
                <a:gd name="T91" fmla="*/ 264 h 441"/>
                <a:gd name="T92" fmla="*/ 83 w 441"/>
                <a:gd name="T93" fmla="*/ 187 h 441"/>
                <a:gd name="T94" fmla="*/ 148 w 441"/>
                <a:gd name="T95" fmla="*/ 100 h 441"/>
                <a:gd name="T96" fmla="*/ 168 w 441"/>
                <a:gd name="T97" fmla="*/ 182 h 441"/>
                <a:gd name="T98" fmla="*/ 119 w 441"/>
                <a:gd name="T99" fmla="*/ 122 h 441"/>
                <a:gd name="T100" fmla="*/ 211 w 441"/>
                <a:gd name="T101" fmla="*/ 157 h 441"/>
                <a:gd name="T102" fmla="*/ 219 w 441"/>
                <a:gd name="T103" fmla="*/ 80 h 441"/>
                <a:gd name="T104" fmla="*/ 319 w 441"/>
                <a:gd name="T105" fmla="*/ 121 h 441"/>
                <a:gd name="T106" fmla="*/ 270 w 441"/>
                <a:gd name="T107" fmla="*/ 181 h 441"/>
                <a:gd name="T108" fmla="*/ 290 w 441"/>
                <a:gd name="T109" fmla="*/ 99 h 4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41" h="441">
                  <a:moveTo>
                    <a:pt x="441" y="232"/>
                  </a:moveTo>
                  <a:cubicBezTo>
                    <a:pt x="441" y="209"/>
                    <a:pt x="441" y="209"/>
                    <a:pt x="441" y="209"/>
                  </a:cubicBezTo>
                  <a:cubicBezTo>
                    <a:pt x="441" y="205"/>
                    <a:pt x="438" y="201"/>
                    <a:pt x="434" y="201"/>
                  </a:cubicBezTo>
                  <a:cubicBezTo>
                    <a:pt x="401" y="196"/>
                    <a:pt x="401" y="196"/>
                    <a:pt x="401" y="196"/>
                  </a:cubicBezTo>
                  <a:cubicBezTo>
                    <a:pt x="400" y="188"/>
                    <a:pt x="398" y="181"/>
                    <a:pt x="396" y="173"/>
                  </a:cubicBezTo>
                  <a:cubicBezTo>
                    <a:pt x="425" y="156"/>
                    <a:pt x="425" y="156"/>
                    <a:pt x="425" y="156"/>
                  </a:cubicBezTo>
                  <a:cubicBezTo>
                    <a:pt x="428" y="154"/>
                    <a:pt x="430" y="149"/>
                    <a:pt x="428" y="145"/>
                  </a:cubicBezTo>
                  <a:cubicBezTo>
                    <a:pt x="420" y="125"/>
                    <a:pt x="420" y="125"/>
                    <a:pt x="420" y="125"/>
                  </a:cubicBezTo>
                  <a:cubicBezTo>
                    <a:pt x="418" y="121"/>
                    <a:pt x="414" y="119"/>
                    <a:pt x="410" y="120"/>
                  </a:cubicBezTo>
                  <a:cubicBezTo>
                    <a:pt x="377" y="128"/>
                    <a:pt x="377" y="128"/>
                    <a:pt x="377" y="128"/>
                  </a:cubicBezTo>
                  <a:cubicBezTo>
                    <a:pt x="374" y="122"/>
                    <a:pt x="370" y="116"/>
                    <a:pt x="365" y="110"/>
                  </a:cubicBezTo>
                  <a:cubicBezTo>
                    <a:pt x="385" y="84"/>
                    <a:pt x="385" y="84"/>
                    <a:pt x="385" y="84"/>
                  </a:cubicBezTo>
                  <a:cubicBezTo>
                    <a:pt x="388" y="80"/>
                    <a:pt x="387" y="75"/>
                    <a:pt x="385" y="72"/>
                  </a:cubicBezTo>
                  <a:cubicBezTo>
                    <a:pt x="369" y="56"/>
                    <a:pt x="369" y="56"/>
                    <a:pt x="369" y="56"/>
                  </a:cubicBezTo>
                  <a:cubicBezTo>
                    <a:pt x="366" y="54"/>
                    <a:pt x="361" y="53"/>
                    <a:pt x="357" y="56"/>
                  </a:cubicBezTo>
                  <a:cubicBezTo>
                    <a:pt x="331" y="76"/>
                    <a:pt x="331" y="76"/>
                    <a:pt x="331" y="76"/>
                  </a:cubicBezTo>
                  <a:cubicBezTo>
                    <a:pt x="325" y="71"/>
                    <a:pt x="318" y="67"/>
                    <a:pt x="311" y="63"/>
                  </a:cubicBezTo>
                  <a:cubicBezTo>
                    <a:pt x="320" y="30"/>
                    <a:pt x="320" y="30"/>
                    <a:pt x="320" y="30"/>
                  </a:cubicBezTo>
                  <a:cubicBezTo>
                    <a:pt x="321" y="26"/>
                    <a:pt x="318" y="22"/>
                    <a:pt x="314" y="20"/>
                  </a:cubicBezTo>
                  <a:cubicBezTo>
                    <a:pt x="294" y="12"/>
                    <a:pt x="294" y="12"/>
                    <a:pt x="294" y="12"/>
                  </a:cubicBezTo>
                  <a:cubicBezTo>
                    <a:pt x="290" y="10"/>
                    <a:pt x="285" y="12"/>
                    <a:pt x="283" y="16"/>
                  </a:cubicBezTo>
                  <a:cubicBezTo>
                    <a:pt x="266" y="44"/>
                    <a:pt x="266" y="44"/>
                    <a:pt x="266" y="44"/>
                  </a:cubicBezTo>
                  <a:cubicBezTo>
                    <a:pt x="259" y="43"/>
                    <a:pt x="252" y="41"/>
                    <a:pt x="245" y="40"/>
                  </a:cubicBezTo>
                  <a:cubicBezTo>
                    <a:pt x="240" y="7"/>
                    <a:pt x="240" y="7"/>
                    <a:pt x="240" y="7"/>
                  </a:cubicBezTo>
                  <a:cubicBezTo>
                    <a:pt x="240" y="3"/>
                    <a:pt x="236" y="0"/>
                    <a:pt x="232" y="0"/>
                  </a:cubicBezTo>
                  <a:cubicBezTo>
                    <a:pt x="209" y="0"/>
                    <a:pt x="209" y="0"/>
                    <a:pt x="209" y="0"/>
                  </a:cubicBezTo>
                  <a:cubicBezTo>
                    <a:pt x="205" y="0"/>
                    <a:pt x="201" y="3"/>
                    <a:pt x="201" y="7"/>
                  </a:cubicBezTo>
                  <a:cubicBezTo>
                    <a:pt x="196" y="40"/>
                    <a:pt x="196" y="40"/>
                    <a:pt x="196" y="40"/>
                  </a:cubicBezTo>
                  <a:cubicBezTo>
                    <a:pt x="188" y="41"/>
                    <a:pt x="181" y="43"/>
                    <a:pt x="173" y="45"/>
                  </a:cubicBezTo>
                  <a:cubicBezTo>
                    <a:pt x="156" y="16"/>
                    <a:pt x="156" y="16"/>
                    <a:pt x="156" y="16"/>
                  </a:cubicBezTo>
                  <a:cubicBezTo>
                    <a:pt x="154" y="13"/>
                    <a:pt x="149" y="11"/>
                    <a:pt x="145" y="13"/>
                  </a:cubicBezTo>
                  <a:cubicBezTo>
                    <a:pt x="125" y="21"/>
                    <a:pt x="125" y="21"/>
                    <a:pt x="125" y="21"/>
                  </a:cubicBezTo>
                  <a:cubicBezTo>
                    <a:pt x="121" y="23"/>
                    <a:pt x="119" y="27"/>
                    <a:pt x="120" y="31"/>
                  </a:cubicBezTo>
                  <a:cubicBezTo>
                    <a:pt x="128" y="64"/>
                    <a:pt x="128" y="64"/>
                    <a:pt x="128" y="64"/>
                  </a:cubicBezTo>
                  <a:cubicBezTo>
                    <a:pt x="122" y="67"/>
                    <a:pt x="116" y="71"/>
                    <a:pt x="111" y="76"/>
                  </a:cubicBezTo>
                  <a:cubicBezTo>
                    <a:pt x="84" y="56"/>
                    <a:pt x="84" y="56"/>
                    <a:pt x="84" y="56"/>
                  </a:cubicBezTo>
                  <a:cubicBezTo>
                    <a:pt x="80" y="53"/>
                    <a:pt x="75" y="54"/>
                    <a:pt x="72" y="56"/>
                  </a:cubicBezTo>
                  <a:cubicBezTo>
                    <a:pt x="57" y="72"/>
                    <a:pt x="57" y="72"/>
                    <a:pt x="57" y="72"/>
                  </a:cubicBezTo>
                  <a:cubicBezTo>
                    <a:pt x="54" y="75"/>
                    <a:pt x="53" y="80"/>
                    <a:pt x="56" y="84"/>
                  </a:cubicBezTo>
                  <a:cubicBezTo>
                    <a:pt x="76" y="110"/>
                    <a:pt x="76" y="110"/>
                    <a:pt x="76" y="110"/>
                  </a:cubicBezTo>
                  <a:cubicBezTo>
                    <a:pt x="71" y="117"/>
                    <a:pt x="67" y="123"/>
                    <a:pt x="63" y="130"/>
                  </a:cubicBezTo>
                  <a:cubicBezTo>
                    <a:pt x="31" y="122"/>
                    <a:pt x="31" y="122"/>
                    <a:pt x="31" y="122"/>
                  </a:cubicBezTo>
                  <a:cubicBezTo>
                    <a:pt x="27" y="121"/>
                    <a:pt x="22" y="123"/>
                    <a:pt x="20" y="127"/>
                  </a:cubicBezTo>
                  <a:cubicBezTo>
                    <a:pt x="12" y="147"/>
                    <a:pt x="12" y="147"/>
                    <a:pt x="12" y="147"/>
                  </a:cubicBezTo>
                  <a:cubicBezTo>
                    <a:pt x="10" y="151"/>
                    <a:pt x="12" y="156"/>
                    <a:pt x="16" y="158"/>
                  </a:cubicBezTo>
                  <a:cubicBezTo>
                    <a:pt x="45" y="175"/>
                    <a:pt x="45" y="175"/>
                    <a:pt x="45" y="175"/>
                  </a:cubicBezTo>
                  <a:cubicBezTo>
                    <a:pt x="43" y="182"/>
                    <a:pt x="41" y="189"/>
                    <a:pt x="40" y="196"/>
                  </a:cubicBezTo>
                  <a:cubicBezTo>
                    <a:pt x="7" y="201"/>
                    <a:pt x="7" y="201"/>
                    <a:pt x="7" y="201"/>
                  </a:cubicBezTo>
                  <a:cubicBezTo>
                    <a:pt x="3" y="201"/>
                    <a:pt x="0" y="205"/>
                    <a:pt x="0" y="209"/>
                  </a:cubicBezTo>
                  <a:cubicBezTo>
                    <a:pt x="0" y="232"/>
                    <a:pt x="0" y="232"/>
                    <a:pt x="0" y="232"/>
                  </a:cubicBezTo>
                  <a:cubicBezTo>
                    <a:pt x="0" y="236"/>
                    <a:pt x="3" y="240"/>
                    <a:pt x="7" y="240"/>
                  </a:cubicBezTo>
                  <a:cubicBezTo>
                    <a:pt x="40" y="245"/>
                    <a:pt x="40" y="245"/>
                    <a:pt x="40" y="245"/>
                  </a:cubicBezTo>
                  <a:cubicBezTo>
                    <a:pt x="42" y="253"/>
                    <a:pt x="43" y="260"/>
                    <a:pt x="45" y="268"/>
                  </a:cubicBezTo>
                  <a:cubicBezTo>
                    <a:pt x="16" y="285"/>
                    <a:pt x="16" y="285"/>
                    <a:pt x="16" y="285"/>
                  </a:cubicBezTo>
                  <a:cubicBezTo>
                    <a:pt x="13" y="287"/>
                    <a:pt x="11" y="292"/>
                    <a:pt x="13" y="296"/>
                  </a:cubicBezTo>
                  <a:cubicBezTo>
                    <a:pt x="21" y="316"/>
                    <a:pt x="21" y="316"/>
                    <a:pt x="21" y="316"/>
                  </a:cubicBezTo>
                  <a:cubicBezTo>
                    <a:pt x="23" y="320"/>
                    <a:pt x="28" y="322"/>
                    <a:pt x="32" y="321"/>
                  </a:cubicBezTo>
                  <a:cubicBezTo>
                    <a:pt x="64" y="313"/>
                    <a:pt x="64" y="313"/>
                    <a:pt x="64" y="313"/>
                  </a:cubicBezTo>
                  <a:cubicBezTo>
                    <a:pt x="68" y="319"/>
                    <a:pt x="72" y="325"/>
                    <a:pt x="76" y="331"/>
                  </a:cubicBezTo>
                  <a:cubicBezTo>
                    <a:pt x="56" y="357"/>
                    <a:pt x="56" y="357"/>
                    <a:pt x="56" y="357"/>
                  </a:cubicBezTo>
                  <a:cubicBezTo>
                    <a:pt x="53" y="361"/>
                    <a:pt x="54" y="366"/>
                    <a:pt x="57" y="369"/>
                  </a:cubicBezTo>
                  <a:cubicBezTo>
                    <a:pt x="72" y="384"/>
                    <a:pt x="72" y="384"/>
                    <a:pt x="72" y="384"/>
                  </a:cubicBezTo>
                  <a:cubicBezTo>
                    <a:pt x="75" y="387"/>
                    <a:pt x="80" y="388"/>
                    <a:pt x="84" y="385"/>
                  </a:cubicBezTo>
                  <a:cubicBezTo>
                    <a:pt x="111" y="365"/>
                    <a:pt x="111" y="365"/>
                    <a:pt x="111" y="365"/>
                  </a:cubicBezTo>
                  <a:cubicBezTo>
                    <a:pt x="117" y="370"/>
                    <a:pt x="123" y="374"/>
                    <a:pt x="130" y="378"/>
                  </a:cubicBezTo>
                  <a:cubicBezTo>
                    <a:pt x="122" y="411"/>
                    <a:pt x="122" y="411"/>
                    <a:pt x="122" y="411"/>
                  </a:cubicBezTo>
                  <a:cubicBezTo>
                    <a:pt x="121" y="415"/>
                    <a:pt x="123" y="419"/>
                    <a:pt x="127" y="421"/>
                  </a:cubicBezTo>
                  <a:cubicBezTo>
                    <a:pt x="147" y="429"/>
                    <a:pt x="147" y="429"/>
                    <a:pt x="147" y="429"/>
                  </a:cubicBezTo>
                  <a:cubicBezTo>
                    <a:pt x="151" y="431"/>
                    <a:pt x="156" y="429"/>
                    <a:pt x="158" y="425"/>
                  </a:cubicBezTo>
                  <a:cubicBezTo>
                    <a:pt x="175" y="397"/>
                    <a:pt x="175" y="397"/>
                    <a:pt x="175" y="397"/>
                  </a:cubicBezTo>
                  <a:cubicBezTo>
                    <a:pt x="182" y="398"/>
                    <a:pt x="189" y="400"/>
                    <a:pt x="196" y="401"/>
                  </a:cubicBezTo>
                  <a:cubicBezTo>
                    <a:pt x="201" y="434"/>
                    <a:pt x="201" y="434"/>
                    <a:pt x="201" y="434"/>
                  </a:cubicBezTo>
                  <a:cubicBezTo>
                    <a:pt x="201" y="438"/>
                    <a:pt x="205" y="441"/>
                    <a:pt x="209" y="441"/>
                  </a:cubicBezTo>
                  <a:cubicBezTo>
                    <a:pt x="232" y="441"/>
                    <a:pt x="232" y="441"/>
                    <a:pt x="232" y="441"/>
                  </a:cubicBezTo>
                  <a:cubicBezTo>
                    <a:pt x="236" y="441"/>
                    <a:pt x="240" y="438"/>
                    <a:pt x="240" y="434"/>
                  </a:cubicBezTo>
                  <a:cubicBezTo>
                    <a:pt x="245" y="401"/>
                    <a:pt x="245" y="401"/>
                    <a:pt x="245" y="401"/>
                  </a:cubicBezTo>
                  <a:cubicBezTo>
                    <a:pt x="253" y="400"/>
                    <a:pt x="260" y="398"/>
                    <a:pt x="268" y="396"/>
                  </a:cubicBezTo>
                  <a:cubicBezTo>
                    <a:pt x="285" y="425"/>
                    <a:pt x="285" y="425"/>
                    <a:pt x="285" y="425"/>
                  </a:cubicBezTo>
                  <a:cubicBezTo>
                    <a:pt x="287" y="428"/>
                    <a:pt x="292" y="430"/>
                    <a:pt x="296" y="428"/>
                  </a:cubicBezTo>
                  <a:cubicBezTo>
                    <a:pt x="316" y="420"/>
                    <a:pt x="316" y="420"/>
                    <a:pt x="316" y="420"/>
                  </a:cubicBezTo>
                  <a:cubicBezTo>
                    <a:pt x="320" y="418"/>
                    <a:pt x="322" y="414"/>
                    <a:pt x="321" y="410"/>
                  </a:cubicBezTo>
                  <a:cubicBezTo>
                    <a:pt x="313" y="377"/>
                    <a:pt x="313" y="377"/>
                    <a:pt x="313" y="377"/>
                  </a:cubicBezTo>
                  <a:cubicBezTo>
                    <a:pt x="319" y="373"/>
                    <a:pt x="325" y="369"/>
                    <a:pt x="331" y="365"/>
                  </a:cubicBezTo>
                  <a:cubicBezTo>
                    <a:pt x="357" y="385"/>
                    <a:pt x="357" y="385"/>
                    <a:pt x="357" y="385"/>
                  </a:cubicBezTo>
                  <a:cubicBezTo>
                    <a:pt x="361" y="388"/>
                    <a:pt x="366" y="387"/>
                    <a:pt x="369" y="384"/>
                  </a:cubicBezTo>
                  <a:cubicBezTo>
                    <a:pt x="385" y="369"/>
                    <a:pt x="385" y="369"/>
                    <a:pt x="385" y="369"/>
                  </a:cubicBezTo>
                  <a:cubicBezTo>
                    <a:pt x="387" y="366"/>
                    <a:pt x="388" y="361"/>
                    <a:pt x="385" y="357"/>
                  </a:cubicBezTo>
                  <a:cubicBezTo>
                    <a:pt x="365" y="331"/>
                    <a:pt x="365" y="331"/>
                    <a:pt x="365" y="331"/>
                  </a:cubicBezTo>
                  <a:cubicBezTo>
                    <a:pt x="370" y="324"/>
                    <a:pt x="374" y="318"/>
                    <a:pt x="378" y="311"/>
                  </a:cubicBezTo>
                  <a:cubicBezTo>
                    <a:pt x="411" y="319"/>
                    <a:pt x="411" y="319"/>
                    <a:pt x="411" y="319"/>
                  </a:cubicBezTo>
                  <a:cubicBezTo>
                    <a:pt x="415" y="320"/>
                    <a:pt x="419" y="318"/>
                    <a:pt x="421" y="314"/>
                  </a:cubicBezTo>
                  <a:cubicBezTo>
                    <a:pt x="429" y="294"/>
                    <a:pt x="429" y="294"/>
                    <a:pt x="429" y="294"/>
                  </a:cubicBezTo>
                  <a:cubicBezTo>
                    <a:pt x="431" y="290"/>
                    <a:pt x="429" y="285"/>
                    <a:pt x="426" y="283"/>
                  </a:cubicBezTo>
                  <a:cubicBezTo>
                    <a:pt x="397" y="266"/>
                    <a:pt x="397" y="266"/>
                    <a:pt x="397" y="266"/>
                  </a:cubicBezTo>
                  <a:cubicBezTo>
                    <a:pt x="398" y="259"/>
                    <a:pt x="400" y="252"/>
                    <a:pt x="401" y="245"/>
                  </a:cubicBezTo>
                  <a:cubicBezTo>
                    <a:pt x="434" y="240"/>
                    <a:pt x="434" y="240"/>
                    <a:pt x="434" y="240"/>
                  </a:cubicBezTo>
                  <a:cubicBezTo>
                    <a:pt x="438" y="240"/>
                    <a:pt x="441" y="236"/>
                    <a:pt x="441" y="232"/>
                  </a:cubicBezTo>
                  <a:close/>
                  <a:moveTo>
                    <a:pt x="361" y="220"/>
                  </a:moveTo>
                  <a:cubicBezTo>
                    <a:pt x="361" y="238"/>
                    <a:pt x="356" y="256"/>
                    <a:pt x="356" y="256"/>
                  </a:cubicBezTo>
                  <a:cubicBezTo>
                    <a:pt x="354" y="264"/>
                    <a:pt x="346" y="267"/>
                    <a:pt x="339" y="263"/>
                  </a:cubicBezTo>
                  <a:cubicBezTo>
                    <a:pt x="284" y="228"/>
                    <a:pt x="284" y="228"/>
                    <a:pt x="284" y="228"/>
                  </a:cubicBezTo>
                  <a:cubicBezTo>
                    <a:pt x="277" y="224"/>
                    <a:pt x="277" y="217"/>
                    <a:pt x="284" y="213"/>
                  </a:cubicBezTo>
                  <a:cubicBezTo>
                    <a:pt x="339" y="178"/>
                    <a:pt x="339" y="178"/>
                    <a:pt x="339" y="178"/>
                  </a:cubicBezTo>
                  <a:cubicBezTo>
                    <a:pt x="346" y="174"/>
                    <a:pt x="354" y="177"/>
                    <a:pt x="356" y="185"/>
                  </a:cubicBezTo>
                  <a:cubicBezTo>
                    <a:pt x="356" y="185"/>
                    <a:pt x="361" y="203"/>
                    <a:pt x="361" y="220"/>
                  </a:cubicBezTo>
                  <a:close/>
                  <a:moveTo>
                    <a:pt x="321" y="321"/>
                  </a:moveTo>
                  <a:cubicBezTo>
                    <a:pt x="308" y="333"/>
                    <a:pt x="292" y="343"/>
                    <a:pt x="292" y="343"/>
                  </a:cubicBezTo>
                  <a:cubicBezTo>
                    <a:pt x="285" y="347"/>
                    <a:pt x="277" y="343"/>
                    <a:pt x="275" y="335"/>
                  </a:cubicBezTo>
                  <a:cubicBezTo>
                    <a:pt x="260" y="272"/>
                    <a:pt x="260" y="272"/>
                    <a:pt x="260" y="272"/>
                  </a:cubicBezTo>
                  <a:cubicBezTo>
                    <a:pt x="258" y="264"/>
                    <a:pt x="263" y="259"/>
                    <a:pt x="271" y="260"/>
                  </a:cubicBezTo>
                  <a:cubicBezTo>
                    <a:pt x="335" y="276"/>
                    <a:pt x="335" y="276"/>
                    <a:pt x="335" y="276"/>
                  </a:cubicBezTo>
                  <a:cubicBezTo>
                    <a:pt x="343" y="278"/>
                    <a:pt x="346" y="285"/>
                    <a:pt x="342" y="292"/>
                  </a:cubicBezTo>
                  <a:cubicBezTo>
                    <a:pt x="342" y="292"/>
                    <a:pt x="333" y="309"/>
                    <a:pt x="321" y="321"/>
                  </a:cubicBezTo>
                  <a:close/>
                  <a:moveTo>
                    <a:pt x="178" y="341"/>
                  </a:moveTo>
                  <a:cubicBezTo>
                    <a:pt x="213" y="285"/>
                    <a:pt x="213" y="285"/>
                    <a:pt x="213" y="285"/>
                  </a:cubicBezTo>
                  <a:cubicBezTo>
                    <a:pt x="217" y="278"/>
                    <a:pt x="224" y="278"/>
                    <a:pt x="228" y="285"/>
                  </a:cubicBezTo>
                  <a:cubicBezTo>
                    <a:pt x="263" y="341"/>
                    <a:pt x="263" y="341"/>
                    <a:pt x="263" y="341"/>
                  </a:cubicBezTo>
                  <a:cubicBezTo>
                    <a:pt x="267" y="348"/>
                    <a:pt x="264" y="356"/>
                    <a:pt x="256" y="358"/>
                  </a:cubicBezTo>
                  <a:cubicBezTo>
                    <a:pt x="256" y="358"/>
                    <a:pt x="238" y="363"/>
                    <a:pt x="221" y="363"/>
                  </a:cubicBezTo>
                  <a:cubicBezTo>
                    <a:pt x="203" y="363"/>
                    <a:pt x="185" y="358"/>
                    <a:pt x="185" y="358"/>
                  </a:cubicBezTo>
                  <a:cubicBezTo>
                    <a:pt x="177" y="356"/>
                    <a:pt x="174" y="348"/>
                    <a:pt x="178" y="341"/>
                  </a:cubicBezTo>
                  <a:close/>
                  <a:moveTo>
                    <a:pt x="221" y="255"/>
                  </a:moveTo>
                  <a:cubicBezTo>
                    <a:pt x="202" y="255"/>
                    <a:pt x="186" y="240"/>
                    <a:pt x="186" y="220"/>
                  </a:cubicBezTo>
                  <a:cubicBezTo>
                    <a:pt x="186" y="201"/>
                    <a:pt x="202" y="186"/>
                    <a:pt x="221" y="186"/>
                  </a:cubicBezTo>
                  <a:cubicBezTo>
                    <a:pt x="240" y="186"/>
                    <a:pt x="255" y="201"/>
                    <a:pt x="255" y="220"/>
                  </a:cubicBezTo>
                  <a:cubicBezTo>
                    <a:pt x="255" y="240"/>
                    <a:pt x="240" y="255"/>
                    <a:pt x="221" y="255"/>
                  </a:cubicBezTo>
                  <a:close/>
                  <a:moveTo>
                    <a:pt x="120" y="322"/>
                  </a:moveTo>
                  <a:cubicBezTo>
                    <a:pt x="108" y="310"/>
                    <a:pt x="99" y="294"/>
                    <a:pt x="99" y="294"/>
                  </a:cubicBezTo>
                  <a:cubicBezTo>
                    <a:pt x="95" y="286"/>
                    <a:pt x="98" y="279"/>
                    <a:pt x="106" y="277"/>
                  </a:cubicBezTo>
                  <a:cubicBezTo>
                    <a:pt x="170" y="262"/>
                    <a:pt x="170" y="262"/>
                    <a:pt x="170" y="262"/>
                  </a:cubicBezTo>
                  <a:cubicBezTo>
                    <a:pt x="178" y="260"/>
                    <a:pt x="182" y="265"/>
                    <a:pt x="181" y="273"/>
                  </a:cubicBezTo>
                  <a:cubicBezTo>
                    <a:pt x="165" y="337"/>
                    <a:pt x="165" y="337"/>
                    <a:pt x="165" y="337"/>
                  </a:cubicBezTo>
                  <a:cubicBezTo>
                    <a:pt x="163" y="345"/>
                    <a:pt x="156" y="348"/>
                    <a:pt x="149" y="344"/>
                  </a:cubicBezTo>
                  <a:cubicBezTo>
                    <a:pt x="149" y="344"/>
                    <a:pt x="133" y="335"/>
                    <a:pt x="120" y="322"/>
                  </a:cubicBezTo>
                  <a:close/>
                  <a:moveTo>
                    <a:pt x="100" y="180"/>
                  </a:moveTo>
                  <a:cubicBezTo>
                    <a:pt x="156" y="215"/>
                    <a:pt x="156" y="215"/>
                    <a:pt x="156" y="215"/>
                  </a:cubicBezTo>
                  <a:cubicBezTo>
                    <a:pt x="163" y="219"/>
                    <a:pt x="163" y="226"/>
                    <a:pt x="156" y="230"/>
                  </a:cubicBezTo>
                  <a:cubicBezTo>
                    <a:pt x="100" y="264"/>
                    <a:pt x="100" y="264"/>
                    <a:pt x="100" y="264"/>
                  </a:cubicBezTo>
                  <a:cubicBezTo>
                    <a:pt x="93" y="269"/>
                    <a:pt x="85" y="266"/>
                    <a:pt x="83" y="258"/>
                  </a:cubicBezTo>
                  <a:cubicBezTo>
                    <a:pt x="83" y="258"/>
                    <a:pt x="78" y="240"/>
                    <a:pt x="78" y="222"/>
                  </a:cubicBezTo>
                  <a:cubicBezTo>
                    <a:pt x="78" y="205"/>
                    <a:pt x="83" y="187"/>
                    <a:pt x="83" y="187"/>
                  </a:cubicBezTo>
                  <a:cubicBezTo>
                    <a:pt x="85" y="179"/>
                    <a:pt x="93" y="176"/>
                    <a:pt x="100" y="180"/>
                  </a:cubicBezTo>
                  <a:close/>
                  <a:moveTo>
                    <a:pt x="119" y="122"/>
                  </a:moveTo>
                  <a:cubicBezTo>
                    <a:pt x="131" y="109"/>
                    <a:pt x="148" y="100"/>
                    <a:pt x="148" y="100"/>
                  </a:cubicBezTo>
                  <a:cubicBezTo>
                    <a:pt x="155" y="96"/>
                    <a:pt x="162" y="100"/>
                    <a:pt x="164" y="108"/>
                  </a:cubicBezTo>
                  <a:cubicBezTo>
                    <a:pt x="179" y="171"/>
                    <a:pt x="179" y="171"/>
                    <a:pt x="179" y="171"/>
                  </a:cubicBezTo>
                  <a:cubicBezTo>
                    <a:pt x="181" y="179"/>
                    <a:pt x="176" y="184"/>
                    <a:pt x="168" y="182"/>
                  </a:cubicBezTo>
                  <a:cubicBezTo>
                    <a:pt x="104" y="167"/>
                    <a:pt x="104" y="167"/>
                    <a:pt x="104" y="167"/>
                  </a:cubicBezTo>
                  <a:cubicBezTo>
                    <a:pt x="96" y="165"/>
                    <a:pt x="93" y="158"/>
                    <a:pt x="97" y="151"/>
                  </a:cubicBezTo>
                  <a:cubicBezTo>
                    <a:pt x="97" y="151"/>
                    <a:pt x="106" y="134"/>
                    <a:pt x="119" y="122"/>
                  </a:cubicBezTo>
                  <a:close/>
                  <a:moveTo>
                    <a:pt x="261" y="102"/>
                  </a:moveTo>
                  <a:cubicBezTo>
                    <a:pt x="227" y="157"/>
                    <a:pt x="227" y="157"/>
                    <a:pt x="227" y="157"/>
                  </a:cubicBezTo>
                  <a:cubicBezTo>
                    <a:pt x="222" y="164"/>
                    <a:pt x="215" y="164"/>
                    <a:pt x="211" y="157"/>
                  </a:cubicBezTo>
                  <a:cubicBezTo>
                    <a:pt x="177" y="102"/>
                    <a:pt x="177" y="102"/>
                    <a:pt x="177" y="102"/>
                  </a:cubicBezTo>
                  <a:cubicBezTo>
                    <a:pt x="172" y="95"/>
                    <a:pt x="175" y="87"/>
                    <a:pt x="183" y="85"/>
                  </a:cubicBezTo>
                  <a:cubicBezTo>
                    <a:pt x="183" y="85"/>
                    <a:pt x="201" y="80"/>
                    <a:pt x="219" y="80"/>
                  </a:cubicBezTo>
                  <a:cubicBezTo>
                    <a:pt x="236" y="80"/>
                    <a:pt x="254" y="85"/>
                    <a:pt x="254" y="85"/>
                  </a:cubicBezTo>
                  <a:cubicBezTo>
                    <a:pt x="262" y="87"/>
                    <a:pt x="265" y="95"/>
                    <a:pt x="261" y="102"/>
                  </a:cubicBezTo>
                  <a:close/>
                  <a:moveTo>
                    <a:pt x="319" y="121"/>
                  </a:moveTo>
                  <a:cubicBezTo>
                    <a:pt x="332" y="133"/>
                    <a:pt x="341" y="149"/>
                    <a:pt x="341" y="149"/>
                  </a:cubicBezTo>
                  <a:cubicBezTo>
                    <a:pt x="345" y="156"/>
                    <a:pt x="342" y="164"/>
                    <a:pt x="334" y="166"/>
                  </a:cubicBezTo>
                  <a:cubicBezTo>
                    <a:pt x="270" y="181"/>
                    <a:pt x="270" y="181"/>
                    <a:pt x="270" y="181"/>
                  </a:cubicBezTo>
                  <a:cubicBezTo>
                    <a:pt x="262" y="183"/>
                    <a:pt x="257" y="178"/>
                    <a:pt x="259" y="170"/>
                  </a:cubicBezTo>
                  <a:cubicBezTo>
                    <a:pt x="274" y="106"/>
                    <a:pt x="274" y="106"/>
                    <a:pt x="274" y="106"/>
                  </a:cubicBezTo>
                  <a:cubicBezTo>
                    <a:pt x="276" y="98"/>
                    <a:pt x="283" y="95"/>
                    <a:pt x="290" y="99"/>
                  </a:cubicBezTo>
                  <a:cubicBezTo>
                    <a:pt x="290" y="99"/>
                    <a:pt x="307" y="108"/>
                    <a:pt x="319" y="121"/>
                  </a:cubicBez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sp>
          <p:nvSpPr>
            <p:cNvPr id="21" name="Freeform 98"/>
            <p:cNvSpPr>
              <a:spLocks noEditPoints="1"/>
            </p:cNvSpPr>
            <p:nvPr/>
          </p:nvSpPr>
          <p:spPr bwMode="auto">
            <a:xfrm>
              <a:off x="7796633" y="3287348"/>
              <a:ext cx="295904" cy="295338"/>
            </a:xfrm>
            <a:custGeom>
              <a:avLst/>
              <a:gdLst>
                <a:gd name="T0" fmla="*/ 50 w 221"/>
                <a:gd name="T1" fmla="*/ 202 h 220"/>
                <a:gd name="T2" fmla="*/ 73 w 221"/>
                <a:gd name="T3" fmla="*/ 186 h 220"/>
                <a:gd name="T4" fmla="*/ 86 w 221"/>
                <a:gd name="T5" fmla="*/ 183 h 220"/>
                <a:gd name="T6" fmla="*/ 95 w 221"/>
                <a:gd name="T7" fmla="*/ 185 h 220"/>
                <a:gd name="T8" fmla="*/ 109 w 221"/>
                <a:gd name="T9" fmla="*/ 214 h 220"/>
                <a:gd name="T10" fmla="*/ 133 w 221"/>
                <a:gd name="T11" fmla="*/ 218 h 220"/>
                <a:gd name="T12" fmla="*/ 138 w 221"/>
                <a:gd name="T13" fmla="*/ 191 h 220"/>
                <a:gd name="T14" fmla="*/ 145 w 221"/>
                <a:gd name="T15" fmla="*/ 179 h 220"/>
                <a:gd name="T16" fmla="*/ 153 w 221"/>
                <a:gd name="T17" fmla="*/ 174 h 220"/>
                <a:gd name="T18" fmla="*/ 183 w 221"/>
                <a:gd name="T19" fmla="*/ 184 h 220"/>
                <a:gd name="T20" fmla="*/ 202 w 221"/>
                <a:gd name="T21" fmla="*/ 170 h 220"/>
                <a:gd name="T22" fmla="*/ 187 w 221"/>
                <a:gd name="T23" fmla="*/ 148 h 220"/>
                <a:gd name="T24" fmla="*/ 183 w 221"/>
                <a:gd name="T25" fmla="*/ 134 h 220"/>
                <a:gd name="T26" fmla="*/ 186 w 221"/>
                <a:gd name="T27" fmla="*/ 125 h 220"/>
                <a:gd name="T28" fmla="*/ 215 w 221"/>
                <a:gd name="T29" fmla="*/ 111 h 220"/>
                <a:gd name="T30" fmla="*/ 218 w 221"/>
                <a:gd name="T31" fmla="*/ 88 h 220"/>
                <a:gd name="T32" fmla="*/ 191 w 221"/>
                <a:gd name="T33" fmla="*/ 83 h 220"/>
                <a:gd name="T34" fmla="*/ 179 w 221"/>
                <a:gd name="T35" fmla="*/ 76 h 220"/>
                <a:gd name="T36" fmla="*/ 175 w 221"/>
                <a:gd name="T37" fmla="*/ 67 h 220"/>
                <a:gd name="T38" fmla="*/ 185 w 221"/>
                <a:gd name="T39" fmla="*/ 37 h 220"/>
                <a:gd name="T40" fmla="*/ 171 w 221"/>
                <a:gd name="T41" fmla="*/ 18 h 220"/>
                <a:gd name="T42" fmla="*/ 148 w 221"/>
                <a:gd name="T43" fmla="*/ 34 h 220"/>
                <a:gd name="T44" fmla="*/ 135 w 221"/>
                <a:gd name="T45" fmla="*/ 37 h 220"/>
                <a:gd name="T46" fmla="*/ 126 w 221"/>
                <a:gd name="T47" fmla="*/ 34 h 220"/>
                <a:gd name="T48" fmla="*/ 112 w 221"/>
                <a:gd name="T49" fmla="*/ 6 h 220"/>
                <a:gd name="T50" fmla="*/ 88 w 221"/>
                <a:gd name="T51" fmla="*/ 2 h 220"/>
                <a:gd name="T52" fmla="*/ 83 w 221"/>
                <a:gd name="T53" fmla="*/ 29 h 220"/>
                <a:gd name="T54" fmla="*/ 68 w 221"/>
                <a:gd name="T55" fmla="*/ 46 h 220"/>
                <a:gd name="T56" fmla="*/ 38 w 221"/>
                <a:gd name="T57" fmla="*/ 35 h 220"/>
                <a:gd name="T58" fmla="*/ 19 w 221"/>
                <a:gd name="T59" fmla="*/ 49 h 220"/>
                <a:gd name="T60" fmla="*/ 34 w 221"/>
                <a:gd name="T61" fmla="*/ 72 h 220"/>
                <a:gd name="T62" fmla="*/ 35 w 221"/>
                <a:gd name="T63" fmla="*/ 96 h 220"/>
                <a:gd name="T64" fmla="*/ 6 w 221"/>
                <a:gd name="T65" fmla="*/ 109 h 220"/>
                <a:gd name="T66" fmla="*/ 3 w 221"/>
                <a:gd name="T67" fmla="*/ 132 h 220"/>
                <a:gd name="T68" fmla="*/ 30 w 221"/>
                <a:gd name="T69" fmla="*/ 137 h 220"/>
                <a:gd name="T70" fmla="*/ 46 w 221"/>
                <a:gd name="T71" fmla="*/ 152 h 220"/>
                <a:gd name="T72" fmla="*/ 46 w 221"/>
                <a:gd name="T73" fmla="*/ 166 h 220"/>
                <a:gd name="T74" fmla="*/ 37 w 221"/>
                <a:gd name="T75" fmla="*/ 192 h 220"/>
                <a:gd name="T76" fmla="*/ 78 w 221"/>
                <a:gd name="T77" fmla="*/ 85 h 220"/>
                <a:gd name="T78" fmla="*/ 142 w 221"/>
                <a:gd name="T79" fmla="*/ 134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21" h="220">
                  <a:moveTo>
                    <a:pt x="37" y="192"/>
                  </a:moveTo>
                  <a:cubicBezTo>
                    <a:pt x="50" y="202"/>
                    <a:pt x="50" y="202"/>
                    <a:pt x="50" y="202"/>
                  </a:cubicBezTo>
                  <a:cubicBezTo>
                    <a:pt x="52" y="203"/>
                    <a:pt x="56" y="203"/>
                    <a:pt x="59" y="201"/>
                  </a:cubicBezTo>
                  <a:cubicBezTo>
                    <a:pt x="73" y="186"/>
                    <a:pt x="73" y="186"/>
                    <a:pt x="73" y="186"/>
                  </a:cubicBezTo>
                  <a:cubicBezTo>
                    <a:pt x="78" y="181"/>
                    <a:pt x="82" y="181"/>
                    <a:pt x="85" y="183"/>
                  </a:cubicBezTo>
                  <a:cubicBezTo>
                    <a:pt x="86" y="183"/>
                    <a:pt x="86" y="183"/>
                    <a:pt x="86" y="183"/>
                  </a:cubicBezTo>
                  <a:cubicBezTo>
                    <a:pt x="89" y="184"/>
                    <a:pt x="92" y="185"/>
                    <a:pt x="95" y="185"/>
                  </a:cubicBezTo>
                  <a:cubicBezTo>
                    <a:pt x="95" y="185"/>
                    <a:pt x="95" y="185"/>
                    <a:pt x="95" y="185"/>
                  </a:cubicBezTo>
                  <a:cubicBezTo>
                    <a:pt x="99" y="186"/>
                    <a:pt x="103" y="188"/>
                    <a:pt x="105" y="195"/>
                  </a:cubicBezTo>
                  <a:cubicBezTo>
                    <a:pt x="109" y="214"/>
                    <a:pt x="109" y="214"/>
                    <a:pt x="109" y="214"/>
                  </a:cubicBezTo>
                  <a:cubicBezTo>
                    <a:pt x="110" y="218"/>
                    <a:pt x="114" y="220"/>
                    <a:pt x="116" y="220"/>
                  </a:cubicBezTo>
                  <a:cubicBezTo>
                    <a:pt x="133" y="218"/>
                    <a:pt x="133" y="218"/>
                    <a:pt x="133" y="218"/>
                  </a:cubicBezTo>
                  <a:cubicBezTo>
                    <a:pt x="135" y="217"/>
                    <a:pt x="138" y="214"/>
                    <a:pt x="138" y="210"/>
                  </a:cubicBezTo>
                  <a:cubicBezTo>
                    <a:pt x="138" y="191"/>
                    <a:pt x="138" y="191"/>
                    <a:pt x="138" y="191"/>
                  </a:cubicBezTo>
                  <a:cubicBezTo>
                    <a:pt x="138" y="184"/>
                    <a:pt x="141" y="181"/>
                    <a:pt x="144" y="179"/>
                  </a:cubicBezTo>
                  <a:cubicBezTo>
                    <a:pt x="144" y="179"/>
                    <a:pt x="145" y="179"/>
                    <a:pt x="145" y="179"/>
                  </a:cubicBezTo>
                  <a:cubicBezTo>
                    <a:pt x="147" y="177"/>
                    <a:pt x="150" y="176"/>
                    <a:pt x="153" y="174"/>
                  </a:cubicBezTo>
                  <a:cubicBezTo>
                    <a:pt x="153" y="174"/>
                    <a:pt x="153" y="174"/>
                    <a:pt x="153" y="174"/>
                  </a:cubicBezTo>
                  <a:cubicBezTo>
                    <a:pt x="156" y="172"/>
                    <a:pt x="161" y="171"/>
                    <a:pt x="167" y="174"/>
                  </a:cubicBezTo>
                  <a:cubicBezTo>
                    <a:pt x="183" y="184"/>
                    <a:pt x="183" y="184"/>
                    <a:pt x="183" y="184"/>
                  </a:cubicBezTo>
                  <a:cubicBezTo>
                    <a:pt x="187" y="186"/>
                    <a:pt x="191" y="185"/>
                    <a:pt x="192" y="183"/>
                  </a:cubicBezTo>
                  <a:cubicBezTo>
                    <a:pt x="202" y="170"/>
                    <a:pt x="202" y="170"/>
                    <a:pt x="202" y="170"/>
                  </a:cubicBezTo>
                  <a:cubicBezTo>
                    <a:pt x="204" y="169"/>
                    <a:pt x="204" y="164"/>
                    <a:pt x="201" y="161"/>
                  </a:cubicBezTo>
                  <a:cubicBezTo>
                    <a:pt x="187" y="148"/>
                    <a:pt x="187" y="148"/>
                    <a:pt x="187" y="148"/>
                  </a:cubicBezTo>
                  <a:cubicBezTo>
                    <a:pt x="182" y="143"/>
                    <a:pt x="182" y="139"/>
                    <a:pt x="183" y="135"/>
                  </a:cubicBezTo>
                  <a:cubicBezTo>
                    <a:pt x="183" y="135"/>
                    <a:pt x="183" y="135"/>
                    <a:pt x="183" y="134"/>
                  </a:cubicBezTo>
                  <a:cubicBezTo>
                    <a:pt x="184" y="131"/>
                    <a:pt x="185" y="128"/>
                    <a:pt x="186" y="126"/>
                  </a:cubicBezTo>
                  <a:cubicBezTo>
                    <a:pt x="186" y="125"/>
                    <a:pt x="186" y="125"/>
                    <a:pt x="186" y="125"/>
                  </a:cubicBezTo>
                  <a:cubicBezTo>
                    <a:pt x="187" y="121"/>
                    <a:pt x="189" y="117"/>
                    <a:pt x="196" y="116"/>
                  </a:cubicBezTo>
                  <a:cubicBezTo>
                    <a:pt x="215" y="111"/>
                    <a:pt x="215" y="111"/>
                    <a:pt x="215" y="111"/>
                  </a:cubicBezTo>
                  <a:cubicBezTo>
                    <a:pt x="218" y="110"/>
                    <a:pt x="221" y="106"/>
                    <a:pt x="220" y="104"/>
                  </a:cubicBezTo>
                  <a:cubicBezTo>
                    <a:pt x="218" y="88"/>
                    <a:pt x="218" y="88"/>
                    <a:pt x="218" y="88"/>
                  </a:cubicBezTo>
                  <a:cubicBezTo>
                    <a:pt x="218" y="85"/>
                    <a:pt x="215" y="82"/>
                    <a:pt x="211" y="82"/>
                  </a:cubicBezTo>
                  <a:cubicBezTo>
                    <a:pt x="191" y="83"/>
                    <a:pt x="191" y="83"/>
                    <a:pt x="191" y="83"/>
                  </a:cubicBezTo>
                  <a:cubicBezTo>
                    <a:pt x="184" y="83"/>
                    <a:pt x="181" y="80"/>
                    <a:pt x="180" y="76"/>
                  </a:cubicBezTo>
                  <a:cubicBezTo>
                    <a:pt x="180" y="76"/>
                    <a:pt x="179" y="76"/>
                    <a:pt x="179" y="76"/>
                  </a:cubicBezTo>
                  <a:cubicBezTo>
                    <a:pt x="178" y="73"/>
                    <a:pt x="176" y="70"/>
                    <a:pt x="175" y="68"/>
                  </a:cubicBezTo>
                  <a:cubicBezTo>
                    <a:pt x="175" y="67"/>
                    <a:pt x="175" y="67"/>
                    <a:pt x="175" y="67"/>
                  </a:cubicBezTo>
                  <a:cubicBezTo>
                    <a:pt x="172" y="64"/>
                    <a:pt x="171" y="60"/>
                    <a:pt x="175" y="53"/>
                  </a:cubicBezTo>
                  <a:cubicBezTo>
                    <a:pt x="185" y="37"/>
                    <a:pt x="185" y="37"/>
                    <a:pt x="185" y="37"/>
                  </a:cubicBezTo>
                  <a:cubicBezTo>
                    <a:pt x="187" y="34"/>
                    <a:pt x="186" y="29"/>
                    <a:pt x="184" y="28"/>
                  </a:cubicBezTo>
                  <a:cubicBezTo>
                    <a:pt x="171" y="18"/>
                    <a:pt x="171" y="18"/>
                    <a:pt x="171" y="18"/>
                  </a:cubicBezTo>
                  <a:cubicBezTo>
                    <a:pt x="169" y="17"/>
                    <a:pt x="164" y="16"/>
                    <a:pt x="162" y="19"/>
                  </a:cubicBezTo>
                  <a:cubicBezTo>
                    <a:pt x="148" y="34"/>
                    <a:pt x="148" y="34"/>
                    <a:pt x="148" y="34"/>
                  </a:cubicBezTo>
                  <a:cubicBezTo>
                    <a:pt x="143" y="38"/>
                    <a:pt x="139" y="38"/>
                    <a:pt x="135" y="37"/>
                  </a:cubicBezTo>
                  <a:cubicBezTo>
                    <a:pt x="135" y="37"/>
                    <a:pt x="135" y="37"/>
                    <a:pt x="135" y="37"/>
                  </a:cubicBezTo>
                  <a:cubicBezTo>
                    <a:pt x="132" y="36"/>
                    <a:pt x="129" y="35"/>
                    <a:pt x="126" y="34"/>
                  </a:cubicBezTo>
                  <a:cubicBezTo>
                    <a:pt x="126" y="34"/>
                    <a:pt x="126" y="34"/>
                    <a:pt x="126" y="34"/>
                  </a:cubicBezTo>
                  <a:cubicBezTo>
                    <a:pt x="121" y="34"/>
                    <a:pt x="118" y="32"/>
                    <a:pt x="116" y="24"/>
                  </a:cubicBezTo>
                  <a:cubicBezTo>
                    <a:pt x="112" y="6"/>
                    <a:pt x="112" y="6"/>
                    <a:pt x="112" y="6"/>
                  </a:cubicBezTo>
                  <a:cubicBezTo>
                    <a:pt x="111" y="2"/>
                    <a:pt x="107" y="0"/>
                    <a:pt x="104" y="0"/>
                  </a:cubicBezTo>
                  <a:cubicBezTo>
                    <a:pt x="88" y="2"/>
                    <a:pt x="88" y="2"/>
                    <a:pt x="88" y="2"/>
                  </a:cubicBezTo>
                  <a:cubicBezTo>
                    <a:pt x="86" y="2"/>
                    <a:pt x="83" y="6"/>
                    <a:pt x="83" y="9"/>
                  </a:cubicBezTo>
                  <a:cubicBezTo>
                    <a:pt x="83" y="29"/>
                    <a:pt x="83" y="29"/>
                    <a:pt x="83" y="29"/>
                  </a:cubicBezTo>
                  <a:cubicBezTo>
                    <a:pt x="83" y="36"/>
                    <a:pt x="80" y="39"/>
                    <a:pt x="77" y="41"/>
                  </a:cubicBezTo>
                  <a:cubicBezTo>
                    <a:pt x="73" y="42"/>
                    <a:pt x="70" y="44"/>
                    <a:pt x="68" y="46"/>
                  </a:cubicBezTo>
                  <a:cubicBezTo>
                    <a:pt x="64" y="48"/>
                    <a:pt x="60" y="49"/>
                    <a:pt x="54" y="46"/>
                  </a:cubicBezTo>
                  <a:cubicBezTo>
                    <a:pt x="38" y="35"/>
                    <a:pt x="38" y="35"/>
                    <a:pt x="38" y="35"/>
                  </a:cubicBezTo>
                  <a:cubicBezTo>
                    <a:pt x="34" y="33"/>
                    <a:pt x="30" y="35"/>
                    <a:pt x="29" y="36"/>
                  </a:cubicBezTo>
                  <a:cubicBezTo>
                    <a:pt x="19" y="49"/>
                    <a:pt x="19" y="49"/>
                    <a:pt x="19" y="49"/>
                  </a:cubicBezTo>
                  <a:cubicBezTo>
                    <a:pt x="17" y="51"/>
                    <a:pt x="17" y="56"/>
                    <a:pt x="20" y="59"/>
                  </a:cubicBezTo>
                  <a:cubicBezTo>
                    <a:pt x="34" y="72"/>
                    <a:pt x="34" y="72"/>
                    <a:pt x="34" y="72"/>
                  </a:cubicBezTo>
                  <a:cubicBezTo>
                    <a:pt x="38" y="76"/>
                    <a:pt x="39" y="80"/>
                    <a:pt x="38" y="83"/>
                  </a:cubicBezTo>
                  <a:cubicBezTo>
                    <a:pt x="37" y="87"/>
                    <a:pt x="36" y="91"/>
                    <a:pt x="35" y="96"/>
                  </a:cubicBezTo>
                  <a:cubicBezTo>
                    <a:pt x="34" y="99"/>
                    <a:pt x="32" y="103"/>
                    <a:pt x="25" y="104"/>
                  </a:cubicBezTo>
                  <a:cubicBezTo>
                    <a:pt x="6" y="109"/>
                    <a:pt x="6" y="109"/>
                    <a:pt x="6" y="109"/>
                  </a:cubicBezTo>
                  <a:cubicBezTo>
                    <a:pt x="2" y="110"/>
                    <a:pt x="0" y="113"/>
                    <a:pt x="1" y="116"/>
                  </a:cubicBezTo>
                  <a:cubicBezTo>
                    <a:pt x="3" y="132"/>
                    <a:pt x="3" y="132"/>
                    <a:pt x="3" y="132"/>
                  </a:cubicBezTo>
                  <a:cubicBezTo>
                    <a:pt x="3" y="134"/>
                    <a:pt x="6" y="138"/>
                    <a:pt x="10" y="138"/>
                  </a:cubicBezTo>
                  <a:cubicBezTo>
                    <a:pt x="30" y="137"/>
                    <a:pt x="30" y="137"/>
                    <a:pt x="30" y="137"/>
                  </a:cubicBezTo>
                  <a:cubicBezTo>
                    <a:pt x="37" y="137"/>
                    <a:pt x="40" y="140"/>
                    <a:pt x="41" y="144"/>
                  </a:cubicBezTo>
                  <a:cubicBezTo>
                    <a:pt x="43" y="147"/>
                    <a:pt x="44" y="150"/>
                    <a:pt x="46" y="152"/>
                  </a:cubicBezTo>
                  <a:cubicBezTo>
                    <a:pt x="46" y="153"/>
                    <a:pt x="46" y="153"/>
                    <a:pt x="46" y="153"/>
                  </a:cubicBezTo>
                  <a:cubicBezTo>
                    <a:pt x="49" y="156"/>
                    <a:pt x="50" y="160"/>
                    <a:pt x="46" y="166"/>
                  </a:cubicBezTo>
                  <a:cubicBezTo>
                    <a:pt x="36" y="183"/>
                    <a:pt x="36" y="183"/>
                    <a:pt x="36" y="183"/>
                  </a:cubicBezTo>
                  <a:cubicBezTo>
                    <a:pt x="34" y="186"/>
                    <a:pt x="35" y="190"/>
                    <a:pt x="37" y="192"/>
                  </a:cubicBezTo>
                  <a:close/>
                  <a:moveTo>
                    <a:pt x="86" y="142"/>
                  </a:moveTo>
                  <a:cubicBezTo>
                    <a:pt x="68" y="128"/>
                    <a:pt x="65" y="103"/>
                    <a:pt x="78" y="85"/>
                  </a:cubicBezTo>
                  <a:cubicBezTo>
                    <a:pt x="92" y="68"/>
                    <a:pt x="117" y="64"/>
                    <a:pt x="135" y="78"/>
                  </a:cubicBezTo>
                  <a:cubicBezTo>
                    <a:pt x="152" y="92"/>
                    <a:pt x="156" y="117"/>
                    <a:pt x="142" y="134"/>
                  </a:cubicBezTo>
                  <a:cubicBezTo>
                    <a:pt x="129" y="152"/>
                    <a:pt x="103" y="155"/>
                    <a:pt x="86" y="142"/>
                  </a:cubicBez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sp>
          <p:nvSpPr>
            <p:cNvPr id="25" name="Freeform 98"/>
            <p:cNvSpPr>
              <a:spLocks noEditPoints="1"/>
            </p:cNvSpPr>
            <p:nvPr/>
          </p:nvSpPr>
          <p:spPr bwMode="auto">
            <a:xfrm>
              <a:off x="8203709" y="3834750"/>
              <a:ext cx="295904" cy="295338"/>
            </a:xfrm>
            <a:custGeom>
              <a:avLst/>
              <a:gdLst>
                <a:gd name="T0" fmla="*/ 50 w 221"/>
                <a:gd name="T1" fmla="*/ 202 h 220"/>
                <a:gd name="T2" fmla="*/ 73 w 221"/>
                <a:gd name="T3" fmla="*/ 186 h 220"/>
                <a:gd name="T4" fmla="*/ 86 w 221"/>
                <a:gd name="T5" fmla="*/ 183 h 220"/>
                <a:gd name="T6" fmla="*/ 95 w 221"/>
                <a:gd name="T7" fmla="*/ 185 h 220"/>
                <a:gd name="T8" fmla="*/ 109 w 221"/>
                <a:gd name="T9" fmla="*/ 214 h 220"/>
                <a:gd name="T10" fmla="*/ 133 w 221"/>
                <a:gd name="T11" fmla="*/ 218 h 220"/>
                <a:gd name="T12" fmla="*/ 138 w 221"/>
                <a:gd name="T13" fmla="*/ 191 h 220"/>
                <a:gd name="T14" fmla="*/ 145 w 221"/>
                <a:gd name="T15" fmla="*/ 179 h 220"/>
                <a:gd name="T16" fmla="*/ 153 w 221"/>
                <a:gd name="T17" fmla="*/ 174 h 220"/>
                <a:gd name="T18" fmla="*/ 183 w 221"/>
                <a:gd name="T19" fmla="*/ 184 h 220"/>
                <a:gd name="T20" fmla="*/ 202 w 221"/>
                <a:gd name="T21" fmla="*/ 170 h 220"/>
                <a:gd name="T22" fmla="*/ 187 w 221"/>
                <a:gd name="T23" fmla="*/ 148 h 220"/>
                <a:gd name="T24" fmla="*/ 183 w 221"/>
                <a:gd name="T25" fmla="*/ 134 h 220"/>
                <a:gd name="T26" fmla="*/ 186 w 221"/>
                <a:gd name="T27" fmla="*/ 125 h 220"/>
                <a:gd name="T28" fmla="*/ 215 w 221"/>
                <a:gd name="T29" fmla="*/ 111 h 220"/>
                <a:gd name="T30" fmla="*/ 218 w 221"/>
                <a:gd name="T31" fmla="*/ 88 h 220"/>
                <a:gd name="T32" fmla="*/ 191 w 221"/>
                <a:gd name="T33" fmla="*/ 83 h 220"/>
                <a:gd name="T34" fmla="*/ 179 w 221"/>
                <a:gd name="T35" fmla="*/ 76 h 220"/>
                <a:gd name="T36" fmla="*/ 175 w 221"/>
                <a:gd name="T37" fmla="*/ 67 h 220"/>
                <a:gd name="T38" fmla="*/ 185 w 221"/>
                <a:gd name="T39" fmla="*/ 37 h 220"/>
                <a:gd name="T40" fmla="*/ 171 w 221"/>
                <a:gd name="T41" fmla="*/ 18 h 220"/>
                <a:gd name="T42" fmla="*/ 148 w 221"/>
                <a:gd name="T43" fmla="*/ 34 h 220"/>
                <a:gd name="T44" fmla="*/ 135 w 221"/>
                <a:gd name="T45" fmla="*/ 37 h 220"/>
                <a:gd name="T46" fmla="*/ 126 w 221"/>
                <a:gd name="T47" fmla="*/ 34 h 220"/>
                <a:gd name="T48" fmla="*/ 112 w 221"/>
                <a:gd name="T49" fmla="*/ 6 h 220"/>
                <a:gd name="T50" fmla="*/ 88 w 221"/>
                <a:gd name="T51" fmla="*/ 2 h 220"/>
                <a:gd name="T52" fmla="*/ 83 w 221"/>
                <a:gd name="T53" fmla="*/ 29 h 220"/>
                <a:gd name="T54" fmla="*/ 68 w 221"/>
                <a:gd name="T55" fmla="*/ 46 h 220"/>
                <a:gd name="T56" fmla="*/ 38 w 221"/>
                <a:gd name="T57" fmla="*/ 35 h 220"/>
                <a:gd name="T58" fmla="*/ 19 w 221"/>
                <a:gd name="T59" fmla="*/ 49 h 220"/>
                <a:gd name="T60" fmla="*/ 34 w 221"/>
                <a:gd name="T61" fmla="*/ 72 h 220"/>
                <a:gd name="T62" fmla="*/ 35 w 221"/>
                <a:gd name="T63" fmla="*/ 96 h 220"/>
                <a:gd name="T64" fmla="*/ 6 w 221"/>
                <a:gd name="T65" fmla="*/ 109 h 220"/>
                <a:gd name="T66" fmla="*/ 3 w 221"/>
                <a:gd name="T67" fmla="*/ 132 h 220"/>
                <a:gd name="T68" fmla="*/ 30 w 221"/>
                <a:gd name="T69" fmla="*/ 137 h 220"/>
                <a:gd name="T70" fmla="*/ 46 w 221"/>
                <a:gd name="T71" fmla="*/ 152 h 220"/>
                <a:gd name="T72" fmla="*/ 46 w 221"/>
                <a:gd name="T73" fmla="*/ 166 h 220"/>
                <a:gd name="T74" fmla="*/ 37 w 221"/>
                <a:gd name="T75" fmla="*/ 192 h 220"/>
                <a:gd name="T76" fmla="*/ 78 w 221"/>
                <a:gd name="T77" fmla="*/ 85 h 220"/>
                <a:gd name="T78" fmla="*/ 142 w 221"/>
                <a:gd name="T79" fmla="*/ 134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21" h="220">
                  <a:moveTo>
                    <a:pt x="37" y="192"/>
                  </a:moveTo>
                  <a:cubicBezTo>
                    <a:pt x="50" y="202"/>
                    <a:pt x="50" y="202"/>
                    <a:pt x="50" y="202"/>
                  </a:cubicBezTo>
                  <a:cubicBezTo>
                    <a:pt x="52" y="203"/>
                    <a:pt x="56" y="203"/>
                    <a:pt x="59" y="201"/>
                  </a:cubicBezTo>
                  <a:cubicBezTo>
                    <a:pt x="73" y="186"/>
                    <a:pt x="73" y="186"/>
                    <a:pt x="73" y="186"/>
                  </a:cubicBezTo>
                  <a:cubicBezTo>
                    <a:pt x="78" y="181"/>
                    <a:pt x="82" y="181"/>
                    <a:pt x="85" y="183"/>
                  </a:cubicBezTo>
                  <a:cubicBezTo>
                    <a:pt x="86" y="183"/>
                    <a:pt x="86" y="183"/>
                    <a:pt x="86" y="183"/>
                  </a:cubicBezTo>
                  <a:cubicBezTo>
                    <a:pt x="89" y="184"/>
                    <a:pt x="92" y="185"/>
                    <a:pt x="95" y="185"/>
                  </a:cubicBezTo>
                  <a:cubicBezTo>
                    <a:pt x="95" y="185"/>
                    <a:pt x="95" y="185"/>
                    <a:pt x="95" y="185"/>
                  </a:cubicBezTo>
                  <a:cubicBezTo>
                    <a:pt x="99" y="186"/>
                    <a:pt x="103" y="188"/>
                    <a:pt x="105" y="195"/>
                  </a:cubicBezTo>
                  <a:cubicBezTo>
                    <a:pt x="109" y="214"/>
                    <a:pt x="109" y="214"/>
                    <a:pt x="109" y="214"/>
                  </a:cubicBezTo>
                  <a:cubicBezTo>
                    <a:pt x="110" y="218"/>
                    <a:pt x="114" y="220"/>
                    <a:pt x="116" y="220"/>
                  </a:cubicBezTo>
                  <a:cubicBezTo>
                    <a:pt x="133" y="218"/>
                    <a:pt x="133" y="218"/>
                    <a:pt x="133" y="218"/>
                  </a:cubicBezTo>
                  <a:cubicBezTo>
                    <a:pt x="135" y="217"/>
                    <a:pt x="138" y="214"/>
                    <a:pt x="138" y="210"/>
                  </a:cubicBezTo>
                  <a:cubicBezTo>
                    <a:pt x="138" y="191"/>
                    <a:pt x="138" y="191"/>
                    <a:pt x="138" y="191"/>
                  </a:cubicBezTo>
                  <a:cubicBezTo>
                    <a:pt x="138" y="184"/>
                    <a:pt x="141" y="181"/>
                    <a:pt x="144" y="179"/>
                  </a:cubicBezTo>
                  <a:cubicBezTo>
                    <a:pt x="144" y="179"/>
                    <a:pt x="145" y="179"/>
                    <a:pt x="145" y="179"/>
                  </a:cubicBezTo>
                  <a:cubicBezTo>
                    <a:pt x="147" y="177"/>
                    <a:pt x="150" y="176"/>
                    <a:pt x="153" y="174"/>
                  </a:cubicBezTo>
                  <a:cubicBezTo>
                    <a:pt x="153" y="174"/>
                    <a:pt x="153" y="174"/>
                    <a:pt x="153" y="174"/>
                  </a:cubicBezTo>
                  <a:cubicBezTo>
                    <a:pt x="156" y="172"/>
                    <a:pt x="161" y="171"/>
                    <a:pt x="167" y="174"/>
                  </a:cubicBezTo>
                  <a:cubicBezTo>
                    <a:pt x="183" y="184"/>
                    <a:pt x="183" y="184"/>
                    <a:pt x="183" y="184"/>
                  </a:cubicBezTo>
                  <a:cubicBezTo>
                    <a:pt x="187" y="186"/>
                    <a:pt x="191" y="185"/>
                    <a:pt x="192" y="183"/>
                  </a:cubicBezTo>
                  <a:cubicBezTo>
                    <a:pt x="202" y="170"/>
                    <a:pt x="202" y="170"/>
                    <a:pt x="202" y="170"/>
                  </a:cubicBezTo>
                  <a:cubicBezTo>
                    <a:pt x="204" y="169"/>
                    <a:pt x="204" y="164"/>
                    <a:pt x="201" y="161"/>
                  </a:cubicBezTo>
                  <a:cubicBezTo>
                    <a:pt x="187" y="148"/>
                    <a:pt x="187" y="148"/>
                    <a:pt x="187" y="148"/>
                  </a:cubicBezTo>
                  <a:cubicBezTo>
                    <a:pt x="182" y="143"/>
                    <a:pt x="182" y="139"/>
                    <a:pt x="183" y="135"/>
                  </a:cubicBezTo>
                  <a:cubicBezTo>
                    <a:pt x="183" y="135"/>
                    <a:pt x="183" y="135"/>
                    <a:pt x="183" y="134"/>
                  </a:cubicBezTo>
                  <a:cubicBezTo>
                    <a:pt x="184" y="131"/>
                    <a:pt x="185" y="128"/>
                    <a:pt x="186" y="126"/>
                  </a:cubicBezTo>
                  <a:cubicBezTo>
                    <a:pt x="186" y="125"/>
                    <a:pt x="186" y="125"/>
                    <a:pt x="186" y="125"/>
                  </a:cubicBezTo>
                  <a:cubicBezTo>
                    <a:pt x="187" y="121"/>
                    <a:pt x="189" y="117"/>
                    <a:pt x="196" y="116"/>
                  </a:cubicBezTo>
                  <a:cubicBezTo>
                    <a:pt x="215" y="111"/>
                    <a:pt x="215" y="111"/>
                    <a:pt x="215" y="111"/>
                  </a:cubicBezTo>
                  <a:cubicBezTo>
                    <a:pt x="218" y="110"/>
                    <a:pt x="221" y="106"/>
                    <a:pt x="220" y="104"/>
                  </a:cubicBezTo>
                  <a:cubicBezTo>
                    <a:pt x="218" y="88"/>
                    <a:pt x="218" y="88"/>
                    <a:pt x="218" y="88"/>
                  </a:cubicBezTo>
                  <a:cubicBezTo>
                    <a:pt x="218" y="85"/>
                    <a:pt x="215" y="82"/>
                    <a:pt x="211" y="82"/>
                  </a:cubicBezTo>
                  <a:cubicBezTo>
                    <a:pt x="191" y="83"/>
                    <a:pt x="191" y="83"/>
                    <a:pt x="191" y="83"/>
                  </a:cubicBezTo>
                  <a:cubicBezTo>
                    <a:pt x="184" y="83"/>
                    <a:pt x="181" y="80"/>
                    <a:pt x="180" y="76"/>
                  </a:cubicBezTo>
                  <a:cubicBezTo>
                    <a:pt x="180" y="76"/>
                    <a:pt x="179" y="76"/>
                    <a:pt x="179" y="76"/>
                  </a:cubicBezTo>
                  <a:cubicBezTo>
                    <a:pt x="178" y="73"/>
                    <a:pt x="176" y="70"/>
                    <a:pt x="175" y="68"/>
                  </a:cubicBezTo>
                  <a:cubicBezTo>
                    <a:pt x="175" y="67"/>
                    <a:pt x="175" y="67"/>
                    <a:pt x="175" y="67"/>
                  </a:cubicBezTo>
                  <a:cubicBezTo>
                    <a:pt x="172" y="64"/>
                    <a:pt x="171" y="60"/>
                    <a:pt x="175" y="53"/>
                  </a:cubicBezTo>
                  <a:cubicBezTo>
                    <a:pt x="185" y="37"/>
                    <a:pt x="185" y="37"/>
                    <a:pt x="185" y="37"/>
                  </a:cubicBezTo>
                  <a:cubicBezTo>
                    <a:pt x="187" y="34"/>
                    <a:pt x="186" y="29"/>
                    <a:pt x="184" y="28"/>
                  </a:cubicBezTo>
                  <a:cubicBezTo>
                    <a:pt x="171" y="18"/>
                    <a:pt x="171" y="18"/>
                    <a:pt x="171" y="18"/>
                  </a:cubicBezTo>
                  <a:cubicBezTo>
                    <a:pt x="169" y="17"/>
                    <a:pt x="164" y="16"/>
                    <a:pt x="162" y="19"/>
                  </a:cubicBezTo>
                  <a:cubicBezTo>
                    <a:pt x="148" y="34"/>
                    <a:pt x="148" y="34"/>
                    <a:pt x="148" y="34"/>
                  </a:cubicBezTo>
                  <a:cubicBezTo>
                    <a:pt x="143" y="38"/>
                    <a:pt x="139" y="38"/>
                    <a:pt x="135" y="37"/>
                  </a:cubicBezTo>
                  <a:cubicBezTo>
                    <a:pt x="135" y="37"/>
                    <a:pt x="135" y="37"/>
                    <a:pt x="135" y="37"/>
                  </a:cubicBezTo>
                  <a:cubicBezTo>
                    <a:pt x="132" y="36"/>
                    <a:pt x="129" y="35"/>
                    <a:pt x="126" y="34"/>
                  </a:cubicBezTo>
                  <a:cubicBezTo>
                    <a:pt x="126" y="34"/>
                    <a:pt x="126" y="34"/>
                    <a:pt x="126" y="34"/>
                  </a:cubicBezTo>
                  <a:cubicBezTo>
                    <a:pt x="121" y="34"/>
                    <a:pt x="118" y="32"/>
                    <a:pt x="116" y="24"/>
                  </a:cubicBezTo>
                  <a:cubicBezTo>
                    <a:pt x="112" y="6"/>
                    <a:pt x="112" y="6"/>
                    <a:pt x="112" y="6"/>
                  </a:cubicBezTo>
                  <a:cubicBezTo>
                    <a:pt x="111" y="2"/>
                    <a:pt x="107" y="0"/>
                    <a:pt x="104" y="0"/>
                  </a:cubicBezTo>
                  <a:cubicBezTo>
                    <a:pt x="88" y="2"/>
                    <a:pt x="88" y="2"/>
                    <a:pt x="88" y="2"/>
                  </a:cubicBezTo>
                  <a:cubicBezTo>
                    <a:pt x="86" y="2"/>
                    <a:pt x="83" y="6"/>
                    <a:pt x="83" y="9"/>
                  </a:cubicBezTo>
                  <a:cubicBezTo>
                    <a:pt x="83" y="29"/>
                    <a:pt x="83" y="29"/>
                    <a:pt x="83" y="29"/>
                  </a:cubicBezTo>
                  <a:cubicBezTo>
                    <a:pt x="83" y="36"/>
                    <a:pt x="80" y="39"/>
                    <a:pt x="77" y="41"/>
                  </a:cubicBezTo>
                  <a:cubicBezTo>
                    <a:pt x="73" y="42"/>
                    <a:pt x="70" y="44"/>
                    <a:pt x="68" y="46"/>
                  </a:cubicBezTo>
                  <a:cubicBezTo>
                    <a:pt x="64" y="48"/>
                    <a:pt x="60" y="49"/>
                    <a:pt x="54" y="46"/>
                  </a:cubicBezTo>
                  <a:cubicBezTo>
                    <a:pt x="38" y="35"/>
                    <a:pt x="38" y="35"/>
                    <a:pt x="38" y="35"/>
                  </a:cubicBezTo>
                  <a:cubicBezTo>
                    <a:pt x="34" y="33"/>
                    <a:pt x="30" y="35"/>
                    <a:pt x="29" y="36"/>
                  </a:cubicBezTo>
                  <a:cubicBezTo>
                    <a:pt x="19" y="49"/>
                    <a:pt x="19" y="49"/>
                    <a:pt x="19" y="49"/>
                  </a:cubicBezTo>
                  <a:cubicBezTo>
                    <a:pt x="17" y="51"/>
                    <a:pt x="17" y="56"/>
                    <a:pt x="20" y="59"/>
                  </a:cubicBezTo>
                  <a:cubicBezTo>
                    <a:pt x="34" y="72"/>
                    <a:pt x="34" y="72"/>
                    <a:pt x="34" y="72"/>
                  </a:cubicBezTo>
                  <a:cubicBezTo>
                    <a:pt x="38" y="76"/>
                    <a:pt x="39" y="80"/>
                    <a:pt x="38" y="83"/>
                  </a:cubicBezTo>
                  <a:cubicBezTo>
                    <a:pt x="37" y="87"/>
                    <a:pt x="36" y="91"/>
                    <a:pt x="35" y="96"/>
                  </a:cubicBezTo>
                  <a:cubicBezTo>
                    <a:pt x="34" y="99"/>
                    <a:pt x="32" y="103"/>
                    <a:pt x="25" y="104"/>
                  </a:cubicBezTo>
                  <a:cubicBezTo>
                    <a:pt x="6" y="109"/>
                    <a:pt x="6" y="109"/>
                    <a:pt x="6" y="109"/>
                  </a:cubicBezTo>
                  <a:cubicBezTo>
                    <a:pt x="2" y="110"/>
                    <a:pt x="0" y="113"/>
                    <a:pt x="1" y="116"/>
                  </a:cubicBezTo>
                  <a:cubicBezTo>
                    <a:pt x="3" y="132"/>
                    <a:pt x="3" y="132"/>
                    <a:pt x="3" y="132"/>
                  </a:cubicBezTo>
                  <a:cubicBezTo>
                    <a:pt x="3" y="134"/>
                    <a:pt x="6" y="138"/>
                    <a:pt x="10" y="138"/>
                  </a:cubicBezTo>
                  <a:cubicBezTo>
                    <a:pt x="30" y="137"/>
                    <a:pt x="30" y="137"/>
                    <a:pt x="30" y="137"/>
                  </a:cubicBezTo>
                  <a:cubicBezTo>
                    <a:pt x="37" y="137"/>
                    <a:pt x="40" y="140"/>
                    <a:pt x="41" y="144"/>
                  </a:cubicBezTo>
                  <a:cubicBezTo>
                    <a:pt x="43" y="147"/>
                    <a:pt x="44" y="150"/>
                    <a:pt x="46" y="152"/>
                  </a:cubicBezTo>
                  <a:cubicBezTo>
                    <a:pt x="46" y="153"/>
                    <a:pt x="46" y="153"/>
                    <a:pt x="46" y="153"/>
                  </a:cubicBezTo>
                  <a:cubicBezTo>
                    <a:pt x="49" y="156"/>
                    <a:pt x="50" y="160"/>
                    <a:pt x="46" y="166"/>
                  </a:cubicBezTo>
                  <a:cubicBezTo>
                    <a:pt x="36" y="183"/>
                    <a:pt x="36" y="183"/>
                    <a:pt x="36" y="183"/>
                  </a:cubicBezTo>
                  <a:cubicBezTo>
                    <a:pt x="34" y="186"/>
                    <a:pt x="35" y="190"/>
                    <a:pt x="37" y="192"/>
                  </a:cubicBezTo>
                  <a:close/>
                  <a:moveTo>
                    <a:pt x="86" y="142"/>
                  </a:moveTo>
                  <a:cubicBezTo>
                    <a:pt x="68" y="128"/>
                    <a:pt x="65" y="103"/>
                    <a:pt x="78" y="85"/>
                  </a:cubicBezTo>
                  <a:cubicBezTo>
                    <a:pt x="92" y="68"/>
                    <a:pt x="117" y="64"/>
                    <a:pt x="135" y="78"/>
                  </a:cubicBezTo>
                  <a:cubicBezTo>
                    <a:pt x="152" y="92"/>
                    <a:pt x="156" y="117"/>
                    <a:pt x="142" y="134"/>
                  </a:cubicBezTo>
                  <a:cubicBezTo>
                    <a:pt x="129" y="152"/>
                    <a:pt x="103" y="155"/>
                    <a:pt x="86" y="142"/>
                  </a:cubicBez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sp>
          <p:nvSpPr>
            <p:cNvPr id="26" name="Freeform 100"/>
            <p:cNvSpPr>
              <a:spLocks noEditPoints="1"/>
            </p:cNvSpPr>
            <p:nvPr/>
          </p:nvSpPr>
          <p:spPr bwMode="auto">
            <a:xfrm>
              <a:off x="7359541" y="3105096"/>
              <a:ext cx="354864" cy="355545"/>
            </a:xfrm>
            <a:custGeom>
              <a:avLst/>
              <a:gdLst>
                <a:gd name="T0" fmla="*/ 434 w 441"/>
                <a:gd name="T1" fmla="*/ 201 h 441"/>
                <a:gd name="T2" fmla="*/ 425 w 441"/>
                <a:gd name="T3" fmla="*/ 156 h 441"/>
                <a:gd name="T4" fmla="*/ 410 w 441"/>
                <a:gd name="T5" fmla="*/ 120 h 441"/>
                <a:gd name="T6" fmla="*/ 385 w 441"/>
                <a:gd name="T7" fmla="*/ 84 h 441"/>
                <a:gd name="T8" fmla="*/ 357 w 441"/>
                <a:gd name="T9" fmla="*/ 56 h 441"/>
                <a:gd name="T10" fmla="*/ 320 w 441"/>
                <a:gd name="T11" fmla="*/ 30 h 441"/>
                <a:gd name="T12" fmla="*/ 283 w 441"/>
                <a:gd name="T13" fmla="*/ 16 h 441"/>
                <a:gd name="T14" fmla="*/ 240 w 441"/>
                <a:gd name="T15" fmla="*/ 7 h 441"/>
                <a:gd name="T16" fmla="*/ 201 w 441"/>
                <a:gd name="T17" fmla="*/ 7 h 441"/>
                <a:gd name="T18" fmla="*/ 156 w 441"/>
                <a:gd name="T19" fmla="*/ 16 h 441"/>
                <a:gd name="T20" fmla="*/ 120 w 441"/>
                <a:gd name="T21" fmla="*/ 31 h 441"/>
                <a:gd name="T22" fmla="*/ 84 w 441"/>
                <a:gd name="T23" fmla="*/ 56 h 441"/>
                <a:gd name="T24" fmla="*/ 56 w 441"/>
                <a:gd name="T25" fmla="*/ 84 h 441"/>
                <a:gd name="T26" fmla="*/ 31 w 441"/>
                <a:gd name="T27" fmla="*/ 122 h 441"/>
                <a:gd name="T28" fmla="*/ 16 w 441"/>
                <a:gd name="T29" fmla="*/ 158 h 441"/>
                <a:gd name="T30" fmla="*/ 7 w 441"/>
                <a:gd name="T31" fmla="*/ 201 h 441"/>
                <a:gd name="T32" fmla="*/ 7 w 441"/>
                <a:gd name="T33" fmla="*/ 240 h 441"/>
                <a:gd name="T34" fmla="*/ 16 w 441"/>
                <a:gd name="T35" fmla="*/ 285 h 441"/>
                <a:gd name="T36" fmla="*/ 32 w 441"/>
                <a:gd name="T37" fmla="*/ 321 h 441"/>
                <a:gd name="T38" fmla="*/ 56 w 441"/>
                <a:gd name="T39" fmla="*/ 357 h 441"/>
                <a:gd name="T40" fmla="*/ 84 w 441"/>
                <a:gd name="T41" fmla="*/ 385 h 441"/>
                <a:gd name="T42" fmla="*/ 122 w 441"/>
                <a:gd name="T43" fmla="*/ 411 h 441"/>
                <a:gd name="T44" fmla="*/ 158 w 441"/>
                <a:gd name="T45" fmla="*/ 425 h 441"/>
                <a:gd name="T46" fmla="*/ 201 w 441"/>
                <a:gd name="T47" fmla="*/ 434 h 441"/>
                <a:gd name="T48" fmla="*/ 240 w 441"/>
                <a:gd name="T49" fmla="*/ 434 h 441"/>
                <a:gd name="T50" fmla="*/ 285 w 441"/>
                <a:gd name="T51" fmla="*/ 425 h 441"/>
                <a:gd name="T52" fmla="*/ 321 w 441"/>
                <a:gd name="T53" fmla="*/ 410 h 441"/>
                <a:gd name="T54" fmla="*/ 357 w 441"/>
                <a:gd name="T55" fmla="*/ 385 h 441"/>
                <a:gd name="T56" fmla="*/ 385 w 441"/>
                <a:gd name="T57" fmla="*/ 357 h 441"/>
                <a:gd name="T58" fmla="*/ 411 w 441"/>
                <a:gd name="T59" fmla="*/ 319 h 441"/>
                <a:gd name="T60" fmla="*/ 426 w 441"/>
                <a:gd name="T61" fmla="*/ 283 h 441"/>
                <a:gd name="T62" fmla="*/ 434 w 441"/>
                <a:gd name="T63" fmla="*/ 240 h 441"/>
                <a:gd name="T64" fmla="*/ 356 w 441"/>
                <a:gd name="T65" fmla="*/ 256 h 441"/>
                <a:gd name="T66" fmla="*/ 284 w 441"/>
                <a:gd name="T67" fmla="*/ 213 h 441"/>
                <a:gd name="T68" fmla="*/ 361 w 441"/>
                <a:gd name="T69" fmla="*/ 220 h 441"/>
                <a:gd name="T70" fmla="*/ 275 w 441"/>
                <a:gd name="T71" fmla="*/ 335 h 441"/>
                <a:gd name="T72" fmla="*/ 335 w 441"/>
                <a:gd name="T73" fmla="*/ 276 h 441"/>
                <a:gd name="T74" fmla="*/ 178 w 441"/>
                <a:gd name="T75" fmla="*/ 341 h 441"/>
                <a:gd name="T76" fmla="*/ 263 w 441"/>
                <a:gd name="T77" fmla="*/ 341 h 441"/>
                <a:gd name="T78" fmla="*/ 185 w 441"/>
                <a:gd name="T79" fmla="*/ 358 h 441"/>
                <a:gd name="T80" fmla="*/ 186 w 441"/>
                <a:gd name="T81" fmla="*/ 220 h 441"/>
                <a:gd name="T82" fmla="*/ 221 w 441"/>
                <a:gd name="T83" fmla="*/ 255 h 441"/>
                <a:gd name="T84" fmla="*/ 106 w 441"/>
                <a:gd name="T85" fmla="*/ 277 h 441"/>
                <a:gd name="T86" fmla="*/ 165 w 441"/>
                <a:gd name="T87" fmla="*/ 337 h 441"/>
                <a:gd name="T88" fmla="*/ 100 w 441"/>
                <a:gd name="T89" fmla="*/ 180 h 441"/>
                <a:gd name="T90" fmla="*/ 100 w 441"/>
                <a:gd name="T91" fmla="*/ 264 h 441"/>
                <a:gd name="T92" fmla="*/ 83 w 441"/>
                <a:gd name="T93" fmla="*/ 187 h 441"/>
                <a:gd name="T94" fmla="*/ 148 w 441"/>
                <a:gd name="T95" fmla="*/ 100 h 441"/>
                <a:gd name="T96" fmla="*/ 168 w 441"/>
                <a:gd name="T97" fmla="*/ 182 h 441"/>
                <a:gd name="T98" fmla="*/ 119 w 441"/>
                <a:gd name="T99" fmla="*/ 122 h 441"/>
                <a:gd name="T100" fmla="*/ 211 w 441"/>
                <a:gd name="T101" fmla="*/ 157 h 441"/>
                <a:gd name="T102" fmla="*/ 219 w 441"/>
                <a:gd name="T103" fmla="*/ 80 h 441"/>
                <a:gd name="T104" fmla="*/ 319 w 441"/>
                <a:gd name="T105" fmla="*/ 121 h 441"/>
                <a:gd name="T106" fmla="*/ 270 w 441"/>
                <a:gd name="T107" fmla="*/ 181 h 441"/>
                <a:gd name="T108" fmla="*/ 290 w 441"/>
                <a:gd name="T109" fmla="*/ 99 h 4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41" h="441">
                  <a:moveTo>
                    <a:pt x="441" y="232"/>
                  </a:moveTo>
                  <a:cubicBezTo>
                    <a:pt x="441" y="209"/>
                    <a:pt x="441" y="209"/>
                    <a:pt x="441" y="209"/>
                  </a:cubicBezTo>
                  <a:cubicBezTo>
                    <a:pt x="441" y="205"/>
                    <a:pt x="438" y="201"/>
                    <a:pt x="434" y="201"/>
                  </a:cubicBezTo>
                  <a:cubicBezTo>
                    <a:pt x="401" y="196"/>
                    <a:pt x="401" y="196"/>
                    <a:pt x="401" y="196"/>
                  </a:cubicBezTo>
                  <a:cubicBezTo>
                    <a:pt x="400" y="188"/>
                    <a:pt x="398" y="181"/>
                    <a:pt x="396" y="173"/>
                  </a:cubicBezTo>
                  <a:cubicBezTo>
                    <a:pt x="425" y="156"/>
                    <a:pt x="425" y="156"/>
                    <a:pt x="425" y="156"/>
                  </a:cubicBezTo>
                  <a:cubicBezTo>
                    <a:pt x="428" y="154"/>
                    <a:pt x="430" y="149"/>
                    <a:pt x="428" y="145"/>
                  </a:cubicBezTo>
                  <a:cubicBezTo>
                    <a:pt x="420" y="125"/>
                    <a:pt x="420" y="125"/>
                    <a:pt x="420" y="125"/>
                  </a:cubicBezTo>
                  <a:cubicBezTo>
                    <a:pt x="418" y="121"/>
                    <a:pt x="414" y="119"/>
                    <a:pt x="410" y="120"/>
                  </a:cubicBezTo>
                  <a:cubicBezTo>
                    <a:pt x="377" y="128"/>
                    <a:pt x="377" y="128"/>
                    <a:pt x="377" y="128"/>
                  </a:cubicBezTo>
                  <a:cubicBezTo>
                    <a:pt x="374" y="122"/>
                    <a:pt x="370" y="116"/>
                    <a:pt x="365" y="110"/>
                  </a:cubicBezTo>
                  <a:cubicBezTo>
                    <a:pt x="385" y="84"/>
                    <a:pt x="385" y="84"/>
                    <a:pt x="385" y="84"/>
                  </a:cubicBezTo>
                  <a:cubicBezTo>
                    <a:pt x="388" y="80"/>
                    <a:pt x="387" y="75"/>
                    <a:pt x="385" y="72"/>
                  </a:cubicBezTo>
                  <a:cubicBezTo>
                    <a:pt x="369" y="56"/>
                    <a:pt x="369" y="56"/>
                    <a:pt x="369" y="56"/>
                  </a:cubicBezTo>
                  <a:cubicBezTo>
                    <a:pt x="366" y="54"/>
                    <a:pt x="361" y="53"/>
                    <a:pt x="357" y="56"/>
                  </a:cubicBezTo>
                  <a:cubicBezTo>
                    <a:pt x="331" y="76"/>
                    <a:pt x="331" y="76"/>
                    <a:pt x="331" y="76"/>
                  </a:cubicBezTo>
                  <a:cubicBezTo>
                    <a:pt x="325" y="71"/>
                    <a:pt x="318" y="67"/>
                    <a:pt x="311" y="63"/>
                  </a:cubicBezTo>
                  <a:cubicBezTo>
                    <a:pt x="320" y="30"/>
                    <a:pt x="320" y="30"/>
                    <a:pt x="320" y="30"/>
                  </a:cubicBezTo>
                  <a:cubicBezTo>
                    <a:pt x="321" y="26"/>
                    <a:pt x="318" y="22"/>
                    <a:pt x="314" y="20"/>
                  </a:cubicBezTo>
                  <a:cubicBezTo>
                    <a:pt x="294" y="12"/>
                    <a:pt x="294" y="12"/>
                    <a:pt x="294" y="12"/>
                  </a:cubicBezTo>
                  <a:cubicBezTo>
                    <a:pt x="290" y="10"/>
                    <a:pt x="285" y="12"/>
                    <a:pt x="283" y="16"/>
                  </a:cubicBezTo>
                  <a:cubicBezTo>
                    <a:pt x="266" y="44"/>
                    <a:pt x="266" y="44"/>
                    <a:pt x="266" y="44"/>
                  </a:cubicBezTo>
                  <a:cubicBezTo>
                    <a:pt x="259" y="43"/>
                    <a:pt x="252" y="41"/>
                    <a:pt x="245" y="40"/>
                  </a:cubicBezTo>
                  <a:cubicBezTo>
                    <a:pt x="240" y="7"/>
                    <a:pt x="240" y="7"/>
                    <a:pt x="240" y="7"/>
                  </a:cubicBezTo>
                  <a:cubicBezTo>
                    <a:pt x="240" y="3"/>
                    <a:pt x="236" y="0"/>
                    <a:pt x="232" y="0"/>
                  </a:cubicBezTo>
                  <a:cubicBezTo>
                    <a:pt x="209" y="0"/>
                    <a:pt x="209" y="0"/>
                    <a:pt x="209" y="0"/>
                  </a:cubicBezTo>
                  <a:cubicBezTo>
                    <a:pt x="205" y="0"/>
                    <a:pt x="201" y="3"/>
                    <a:pt x="201" y="7"/>
                  </a:cubicBezTo>
                  <a:cubicBezTo>
                    <a:pt x="196" y="40"/>
                    <a:pt x="196" y="40"/>
                    <a:pt x="196" y="40"/>
                  </a:cubicBezTo>
                  <a:cubicBezTo>
                    <a:pt x="188" y="41"/>
                    <a:pt x="181" y="43"/>
                    <a:pt x="173" y="45"/>
                  </a:cubicBezTo>
                  <a:cubicBezTo>
                    <a:pt x="156" y="16"/>
                    <a:pt x="156" y="16"/>
                    <a:pt x="156" y="16"/>
                  </a:cubicBezTo>
                  <a:cubicBezTo>
                    <a:pt x="154" y="13"/>
                    <a:pt x="149" y="11"/>
                    <a:pt x="145" y="13"/>
                  </a:cubicBezTo>
                  <a:cubicBezTo>
                    <a:pt x="125" y="21"/>
                    <a:pt x="125" y="21"/>
                    <a:pt x="125" y="21"/>
                  </a:cubicBezTo>
                  <a:cubicBezTo>
                    <a:pt x="121" y="23"/>
                    <a:pt x="119" y="27"/>
                    <a:pt x="120" y="31"/>
                  </a:cubicBezTo>
                  <a:cubicBezTo>
                    <a:pt x="128" y="64"/>
                    <a:pt x="128" y="64"/>
                    <a:pt x="128" y="64"/>
                  </a:cubicBezTo>
                  <a:cubicBezTo>
                    <a:pt x="122" y="67"/>
                    <a:pt x="116" y="71"/>
                    <a:pt x="111" y="76"/>
                  </a:cubicBezTo>
                  <a:cubicBezTo>
                    <a:pt x="84" y="56"/>
                    <a:pt x="84" y="56"/>
                    <a:pt x="84" y="56"/>
                  </a:cubicBezTo>
                  <a:cubicBezTo>
                    <a:pt x="80" y="53"/>
                    <a:pt x="75" y="54"/>
                    <a:pt x="72" y="56"/>
                  </a:cubicBezTo>
                  <a:cubicBezTo>
                    <a:pt x="57" y="72"/>
                    <a:pt x="57" y="72"/>
                    <a:pt x="57" y="72"/>
                  </a:cubicBezTo>
                  <a:cubicBezTo>
                    <a:pt x="54" y="75"/>
                    <a:pt x="53" y="80"/>
                    <a:pt x="56" y="84"/>
                  </a:cubicBezTo>
                  <a:cubicBezTo>
                    <a:pt x="76" y="110"/>
                    <a:pt x="76" y="110"/>
                    <a:pt x="76" y="110"/>
                  </a:cubicBezTo>
                  <a:cubicBezTo>
                    <a:pt x="71" y="117"/>
                    <a:pt x="67" y="123"/>
                    <a:pt x="63" y="130"/>
                  </a:cubicBezTo>
                  <a:cubicBezTo>
                    <a:pt x="31" y="122"/>
                    <a:pt x="31" y="122"/>
                    <a:pt x="31" y="122"/>
                  </a:cubicBezTo>
                  <a:cubicBezTo>
                    <a:pt x="27" y="121"/>
                    <a:pt x="22" y="123"/>
                    <a:pt x="20" y="127"/>
                  </a:cubicBezTo>
                  <a:cubicBezTo>
                    <a:pt x="12" y="147"/>
                    <a:pt x="12" y="147"/>
                    <a:pt x="12" y="147"/>
                  </a:cubicBezTo>
                  <a:cubicBezTo>
                    <a:pt x="10" y="151"/>
                    <a:pt x="12" y="156"/>
                    <a:pt x="16" y="158"/>
                  </a:cubicBezTo>
                  <a:cubicBezTo>
                    <a:pt x="45" y="175"/>
                    <a:pt x="45" y="175"/>
                    <a:pt x="45" y="175"/>
                  </a:cubicBezTo>
                  <a:cubicBezTo>
                    <a:pt x="43" y="182"/>
                    <a:pt x="41" y="189"/>
                    <a:pt x="40" y="196"/>
                  </a:cubicBezTo>
                  <a:cubicBezTo>
                    <a:pt x="7" y="201"/>
                    <a:pt x="7" y="201"/>
                    <a:pt x="7" y="201"/>
                  </a:cubicBezTo>
                  <a:cubicBezTo>
                    <a:pt x="3" y="201"/>
                    <a:pt x="0" y="205"/>
                    <a:pt x="0" y="209"/>
                  </a:cubicBezTo>
                  <a:cubicBezTo>
                    <a:pt x="0" y="232"/>
                    <a:pt x="0" y="232"/>
                    <a:pt x="0" y="232"/>
                  </a:cubicBezTo>
                  <a:cubicBezTo>
                    <a:pt x="0" y="236"/>
                    <a:pt x="3" y="240"/>
                    <a:pt x="7" y="240"/>
                  </a:cubicBezTo>
                  <a:cubicBezTo>
                    <a:pt x="40" y="245"/>
                    <a:pt x="40" y="245"/>
                    <a:pt x="40" y="245"/>
                  </a:cubicBezTo>
                  <a:cubicBezTo>
                    <a:pt x="42" y="253"/>
                    <a:pt x="43" y="260"/>
                    <a:pt x="45" y="268"/>
                  </a:cubicBezTo>
                  <a:cubicBezTo>
                    <a:pt x="16" y="285"/>
                    <a:pt x="16" y="285"/>
                    <a:pt x="16" y="285"/>
                  </a:cubicBezTo>
                  <a:cubicBezTo>
                    <a:pt x="13" y="287"/>
                    <a:pt x="11" y="292"/>
                    <a:pt x="13" y="296"/>
                  </a:cubicBezTo>
                  <a:cubicBezTo>
                    <a:pt x="21" y="316"/>
                    <a:pt x="21" y="316"/>
                    <a:pt x="21" y="316"/>
                  </a:cubicBezTo>
                  <a:cubicBezTo>
                    <a:pt x="23" y="320"/>
                    <a:pt x="28" y="322"/>
                    <a:pt x="32" y="321"/>
                  </a:cubicBezTo>
                  <a:cubicBezTo>
                    <a:pt x="64" y="313"/>
                    <a:pt x="64" y="313"/>
                    <a:pt x="64" y="313"/>
                  </a:cubicBezTo>
                  <a:cubicBezTo>
                    <a:pt x="68" y="319"/>
                    <a:pt x="72" y="325"/>
                    <a:pt x="76" y="331"/>
                  </a:cubicBezTo>
                  <a:cubicBezTo>
                    <a:pt x="56" y="357"/>
                    <a:pt x="56" y="357"/>
                    <a:pt x="56" y="357"/>
                  </a:cubicBezTo>
                  <a:cubicBezTo>
                    <a:pt x="53" y="361"/>
                    <a:pt x="54" y="366"/>
                    <a:pt x="57" y="369"/>
                  </a:cubicBezTo>
                  <a:cubicBezTo>
                    <a:pt x="72" y="384"/>
                    <a:pt x="72" y="384"/>
                    <a:pt x="72" y="384"/>
                  </a:cubicBezTo>
                  <a:cubicBezTo>
                    <a:pt x="75" y="387"/>
                    <a:pt x="80" y="388"/>
                    <a:pt x="84" y="385"/>
                  </a:cubicBezTo>
                  <a:cubicBezTo>
                    <a:pt x="111" y="365"/>
                    <a:pt x="111" y="365"/>
                    <a:pt x="111" y="365"/>
                  </a:cubicBezTo>
                  <a:cubicBezTo>
                    <a:pt x="117" y="370"/>
                    <a:pt x="123" y="374"/>
                    <a:pt x="130" y="378"/>
                  </a:cubicBezTo>
                  <a:cubicBezTo>
                    <a:pt x="122" y="411"/>
                    <a:pt x="122" y="411"/>
                    <a:pt x="122" y="411"/>
                  </a:cubicBezTo>
                  <a:cubicBezTo>
                    <a:pt x="121" y="415"/>
                    <a:pt x="123" y="419"/>
                    <a:pt x="127" y="421"/>
                  </a:cubicBezTo>
                  <a:cubicBezTo>
                    <a:pt x="147" y="429"/>
                    <a:pt x="147" y="429"/>
                    <a:pt x="147" y="429"/>
                  </a:cubicBezTo>
                  <a:cubicBezTo>
                    <a:pt x="151" y="431"/>
                    <a:pt x="156" y="429"/>
                    <a:pt x="158" y="425"/>
                  </a:cubicBezTo>
                  <a:cubicBezTo>
                    <a:pt x="175" y="397"/>
                    <a:pt x="175" y="397"/>
                    <a:pt x="175" y="397"/>
                  </a:cubicBezTo>
                  <a:cubicBezTo>
                    <a:pt x="182" y="398"/>
                    <a:pt x="189" y="400"/>
                    <a:pt x="196" y="401"/>
                  </a:cubicBezTo>
                  <a:cubicBezTo>
                    <a:pt x="201" y="434"/>
                    <a:pt x="201" y="434"/>
                    <a:pt x="201" y="434"/>
                  </a:cubicBezTo>
                  <a:cubicBezTo>
                    <a:pt x="201" y="438"/>
                    <a:pt x="205" y="441"/>
                    <a:pt x="209" y="441"/>
                  </a:cubicBezTo>
                  <a:cubicBezTo>
                    <a:pt x="232" y="441"/>
                    <a:pt x="232" y="441"/>
                    <a:pt x="232" y="441"/>
                  </a:cubicBezTo>
                  <a:cubicBezTo>
                    <a:pt x="236" y="441"/>
                    <a:pt x="240" y="438"/>
                    <a:pt x="240" y="434"/>
                  </a:cubicBezTo>
                  <a:cubicBezTo>
                    <a:pt x="245" y="401"/>
                    <a:pt x="245" y="401"/>
                    <a:pt x="245" y="401"/>
                  </a:cubicBezTo>
                  <a:cubicBezTo>
                    <a:pt x="253" y="400"/>
                    <a:pt x="260" y="398"/>
                    <a:pt x="268" y="396"/>
                  </a:cubicBezTo>
                  <a:cubicBezTo>
                    <a:pt x="285" y="425"/>
                    <a:pt x="285" y="425"/>
                    <a:pt x="285" y="425"/>
                  </a:cubicBezTo>
                  <a:cubicBezTo>
                    <a:pt x="287" y="428"/>
                    <a:pt x="292" y="430"/>
                    <a:pt x="296" y="428"/>
                  </a:cubicBezTo>
                  <a:cubicBezTo>
                    <a:pt x="316" y="420"/>
                    <a:pt x="316" y="420"/>
                    <a:pt x="316" y="420"/>
                  </a:cubicBezTo>
                  <a:cubicBezTo>
                    <a:pt x="320" y="418"/>
                    <a:pt x="322" y="414"/>
                    <a:pt x="321" y="410"/>
                  </a:cubicBezTo>
                  <a:cubicBezTo>
                    <a:pt x="313" y="377"/>
                    <a:pt x="313" y="377"/>
                    <a:pt x="313" y="377"/>
                  </a:cubicBezTo>
                  <a:cubicBezTo>
                    <a:pt x="319" y="373"/>
                    <a:pt x="325" y="369"/>
                    <a:pt x="331" y="365"/>
                  </a:cubicBezTo>
                  <a:cubicBezTo>
                    <a:pt x="357" y="385"/>
                    <a:pt x="357" y="385"/>
                    <a:pt x="357" y="385"/>
                  </a:cubicBezTo>
                  <a:cubicBezTo>
                    <a:pt x="361" y="388"/>
                    <a:pt x="366" y="387"/>
                    <a:pt x="369" y="384"/>
                  </a:cubicBezTo>
                  <a:cubicBezTo>
                    <a:pt x="385" y="369"/>
                    <a:pt x="385" y="369"/>
                    <a:pt x="385" y="369"/>
                  </a:cubicBezTo>
                  <a:cubicBezTo>
                    <a:pt x="387" y="366"/>
                    <a:pt x="388" y="361"/>
                    <a:pt x="385" y="357"/>
                  </a:cubicBezTo>
                  <a:cubicBezTo>
                    <a:pt x="365" y="331"/>
                    <a:pt x="365" y="331"/>
                    <a:pt x="365" y="331"/>
                  </a:cubicBezTo>
                  <a:cubicBezTo>
                    <a:pt x="370" y="324"/>
                    <a:pt x="374" y="318"/>
                    <a:pt x="378" y="311"/>
                  </a:cubicBezTo>
                  <a:cubicBezTo>
                    <a:pt x="411" y="319"/>
                    <a:pt x="411" y="319"/>
                    <a:pt x="411" y="319"/>
                  </a:cubicBezTo>
                  <a:cubicBezTo>
                    <a:pt x="415" y="320"/>
                    <a:pt x="419" y="318"/>
                    <a:pt x="421" y="314"/>
                  </a:cubicBezTo>
                  <a:cubicBezTo>
                    <a:pt x="429" y="294"/>
                    <a:pt x="429" y="294"/>
                    <a:pt x="429" y="294"/>
                  </a:cubicBezTo>
                  <a:cubicBezTo>
                    <a:pt x="431" y="290"/>
                    <a:pt x="429" y="285"/>
                    <a:pt x="426" y="283"/>
                  </a:cubicBezTo>
                  <a:cubicBezTo>
                    <a:pt x="397" y="266"/>
                    <a:pt x="397" y="266"/>
                    <a:pt x="397" y="266"/>
                  </a:cubicBezTo>
                  <a:cubicBezTo>
                    <a:pt x="398" y="259"/>
                    <a:pt x="400" y="252"/>
                    <a:pt x="401" y="245"/>
                  </a:cubicBezTo>
                  <a:cubicBezTo>
                    <a:pt x="434" y="240"/>
                    <a:pt x="434" y="240"/>
                    <a:pt x="434" y="240"/>
                  </a:cubicBezTo>
                  <a:cubicBezTo>
                    <a:pt x="438" y="240"/>
                    <a:pt x="441" y="236"/>
                    <a:pt x="441" y="232"/>
                  </a:cubicBezTo>
                  <a:close/>
                  <a:moveTo>
                    <a:pt x="361" y="220"/>
                  </a:moveTo>
                  <a:cubicBezTo>
                    <a:pt x="361" y="238"/>
                    <a:pt x="356" y="256"/>
                    <a:pt x="356" y="256"/>
                  </a:cubicBezTo>
                  <a:cubicBezTo>
                    <a:pt x="354" y="264"/>
                    <a:pt x="346" y="267"/>
                    <a:pt x="339" y="263"/>
                  </a:cubicBezTo>
                  <a:cubicBezTo>
                    <a:pt x="284" y="228"/>
                    <a:pt x="284" y="228"/>
                    <a:pt x="284" y="228"/>
                  </a:cubicBezTo>
                  <a:cubicBezTo>
                    <a:pt x="277" y="224"/>
                    <a:pt x="277" y="217"/>
                    <a:pt x="284" y="213"/>
                  </a:cubicBezTo>
                  <a:cubicBezTo>
                    <a:pt x="339" y="178"/>
                    <a:pt x="339" y="178"/>
                    <a:pt x="339" y="178"/>
                  </a:cubicBezTo>
                  <a:cubicBezTo>
                    <a:pt x="346" y="174"/>
                    <a:pt x="354" y="177"/>
                    <a:pt x="356" y="185"/>
                  </a:cubicBezTo>
                  <a:cubicBezTo>
                    <a:pt x="356" y="185"/>
                    <a:pt x="361" y="203"/>
                    <a:pt x="361" y="220"/>
                  </a:cubicBezTo>
                  <a:close/>
                  <a:moveTo>
                    <a:pt x="321" y="321"/>
                  </a:moveTo>
                  <a:cubicBezTo>
                    <a:pt x="308" y="333"/>
                    <a:pt x="292" y="343"/>
                    <a:pt x="292" y="343"/>
                  </a:cubicBezTo>
                  <a:cubicBezTo>
                    <a:pt x="285" y="347"/>
                    <a:pt x="277" y="343"/>
                    <a:pt x="275" y="335"/>
                  </a:cubicBezTo>
                  <a:cubicBezTo>
                    <a:pt x="260" y="272"/>
                    <a:pt x="260" y="272"/>
                    <a:pt x="260" y="272"/>
                  </a:cubicBezTo>
                  <a:cubicBezTo>
                    <a:pt x="258" y="264"/>
                    <a:pt x="263" y="259"/>
                    <a:pt x="271" y="260"/>
                  </a:cubicBezTo>
                  <a:cubicBezTo>
                    <a:pt x="335" y="276"/>
                    <a:pt x="335" y="276"/>
                    <a:pt x="335" y="276"/>
                  </a:cubicBezTo>
                  <a:cubicBezTo>
                    <a:pt x="343" y="278"/>
                    <a:pt x="346" y="285"/>
                    <a:pt x="342" y="292"/>
                  </a:cubicBezTo>
                  <a:cubicBezTo>
                    <a:pt x="342" y="292"/>
                    <a:pt x="333" y="309"/>
                    <a:pt x="321" y="321"/>
                  </a:cubicBezTo>
                  <a:close/>
                  <a:moveTo>
                    <a:pt x="178" y="341"/>
                  </a:moveTo>
                  <a:cubicBezTo>
                    <a:pt x="213" y="285"/>
                    <a:pt x="213" y="285"/>
                    <a:pt x="213" y="285"/>
                  </a:cubicBezTo>
                  <a:cubicBezTo>
                    <a:pt x="217" y="278"/>
                    <a:pt x="224" y="278"/>
                    <a:pt x="228" y="285"/>
                  </a:cubicBezTo>
                  <a:cubicBezTo>
                    <a:pt x="263" y="341"/>
                    <a:pt x="263" y="341"/>
                    <a:pt x="263" y="341"/>
                  </a:cubicBezTo>
                  <a:cubicBezTo>
                    <a:pt x="267" y="348"/>
                    <a:pt x="264" y="356"/>
                    <a:pt x="256" y="358"/>
                  </a:cubicBezTo>
                  <a:cubicBezTo>
                    <a:pt x="256" y="358"/>
                    <a:pt x="238" y="363"/>
                    <a:pt x="221" y="363"/>
                  </a:cubicBezTo>
                  <a:cubicBezTo>
                    <a:pt x="203" y="363"/>
                    <a:pt x="185" y="358"/>
                    <a:pt x="185" y="358"/>
                  </a:cubicBezTo>
                  <a:cubicBezTo>
                    <a:pt x="177" y="356"/>
                    <a:pt x="174" y="348"/>
                    <a:pt x="178" y="341"/>
                  </a:cubicBezTo>
                  <a:close/>
                  <a:moveTo>
                    <a:pt x="221" y="255"/>
                  </a:moveTo>
                  <a:cubicBezTo>
                    <a:pt x="202" y="255"/>
                    <a:pt x="186" y="240"/>
                    <a:pt x="186" y="220"/>
                  </a:cubicBezTo>
                  <a:cubicBezTo>
                    <a:pt x="186" y="201"/>
                    <a:pt x="202" y="186"/>
                    <a:pt x="221" y="186"/>
                  </a:cubicBezTo>
                  <a:cubicBezTo>
                    <a:pt x="240" y="186"/>
                    <a:pt x="255" y="201"/>
                    <a:pt x="255" y="220"/>
                  </a:cubicBezTo>
                  <a:cubicBezTo>
                    <a:pt x="255" y="240"/>
                    <a:pt x="240" y="255"/>
                    <a:pt x="221" y="255"/>
                  </a:cubicBezTo>
                  <a:close/>
                  <a:moveTo>
                    <a:pt x="120" y="322"/>
                  </a:moveTo>
                  <a:cubicBezTo>
                    <a:pt x="108" y="310"/>
                    <a:pt x="99" y="294"/>
                    <a:pt x="99" y="294"/>
                  </a:cubicBezTo>
                  <a:cubicBezTo>
                    <a:pt x="95" y="286"/>
                    <a:pt x="98" y="279"/>
                    <a:pt x="106" y="277"/>
                  </a:cubicBezTo>
                  <a:cubicBezTo>
                    <a:pt x="170" y="262"/>
                    <a:pt x="170" y="262"/>
                    <a:pt x="170" y="262"/>
                  </a:cubicBezTo>
                  <a:cubicBezTo>
                    <a:pt x="178" y="260"/>
                    <a:pt x="182" y="265"/>
                    <a:pt x="181" y="273"/>
                  </a:cubicBezTo>
                  <a:cubicBezTo>
                    <a:pt x="165" y="337"/>
                    <a:pt x="165" y="337"/>
                    <a:pt x="165" y="337"/>
                  </a:cubicBezTo>
                  <a:cubicBezTo>
                    <a:pt x="163" y="345"/>
                    <a:pt x="156" y="348"/>
                    <a:pt x="149" y="344"/>
                  </a:cubicBezTo>
                  <a:cubicBezTo>
                    <a:pt x="149" y="344"/>
                    <a:pt x="133" y="335"/>
                    <a:pt x="120" y="322"/>
                  </a:cubicBezTo>
                  <a:close/>
                  <a:moveTo>
                    <a:pt x="100" y="180"/>
                  </a:moveTo>
                  <a:cubicBezTo>
                    <a:pt x="156" y="215"/>
                    <a:pt x="156" y="215"/>
                    <a:pt x="156" y="215"/>
                  </a:cubicBezTo>
                  <a:cubicBezTo>
                    <a:pt x="163" y="219"/>
                    <a:pt x="163" y="226"/>
                    <a:pt x="156" y="230"/>
                  </a:cubicBezTo>
                  <a:cubicBezTo>
                    <a:pt x="100" y="264"/>
                    <a:pt x="100" y="264"/>
                    <a:pt x="100" y="264"/>
                  </a:cubicBezTo>
                  <a:cubicBezTo>
                    <a:pt x="93" y="269"/>
                    <a:pt x="85" y="266"/>
                    <a:pt x="83" y="258"/>
                  </a:cubicBezTo>
                  <a:cubicBezTo>
                    <a:pt x="83" y="258"/>
                    <a:pt x="78" y="240"/>
                    <a:pt x="78" y="222"/>
                  </a:cubicBezTo>
                  <a:cubicBezTo>
                    <a:pt x="78" y="205"/>
                    <a:pt x="83" y="187"/>
                    <a:pt x="83" y="187"/>
                  </a:cubicBezTo>
                  <a:cubicBezTo>
                    <a:pt x="85" y="179"/>
                    <a:pt x="93" y="176"/>
                    <a:pt x="100" y="180"/>
                  </a:cubicBezTo>
                  <a:close/>
                  <a:moveTo>
                    <a:pt x="119" y="122"/>
                  </a:moveTo>
                  <a:cubicBezTo>
                    <a:pt x="131" y="109"/>
                    <a:pt x="148" y="100"/>
                    <a:pt x="148" y="100"/>
                  </a:cubicBezTo>
                  <a:cubicBezTo>
                    <a:pt x="155" y="96"/>
                    <a:pt x="162" y="100"/>
                    <a:pt x="164" y="108"/>
                  </a:cubicBezTo>
                  <a:cubicBezTo>
                    <a:pt x="179" y="171"/>
                    <a:pt x="179" y="171"/>
                    <a:pt x="179" y="171"/>
                  </a:cubicBezTo>
                  <a:cubicBezTo>
                    <a:pt x="181" y="179"/>
                    <a:pt x="176" y="184"/>
                    <a:pt x="168" y="182"/>
                  </a:cubicBezTo>
                  <a:cubicBezTo>
                    <a:pt x="104" y="167"/>
                    <a:pt x="104" y="167"/>
                    <a:pt x="104" y="167"/>
                  </a:cubicBezTo>
                  <a:cubicBezTo>
                    <a:pt x="96" y="165"/>
                    <a:pt x="93" y="158"/>
                    <a:pt x="97" y="151"/>
                  </a:cubicBezTo>
                  <a:cubicBezTo>
                    <a:pt x="97" y="151"/>
                    <a:pt x="106" y="134"/>
                    <a:pt x="119" y="122"/>
                  </a:cubicBezTo>
                  <a:close/>
                  <a:moveTo>
                    <a:pt x="261" y="102"/>
                  </a:moveTo>
                  <a:cubicBezTo>
                    <a:pt x="227" y="157"/>
                    <a:pt x="227" y="157"/>
                    <a:pt x="227" y="157"/>
                  </a:cubicBezTo>
                  <a:cubicBezTo>
                    <a:pt x="222" y="164"/>
                    <a:pt x="215" y="164"/>
                    <a:pt x="211" y="157"/>
                  </a:cubicBezTo>
                  <a:cubicBezTo>
                    <a:pt x="177" y="102"/>
                    <a:pt x="177" y="102"/>
                    <a:pt x="177" y="102"/>
                  </a:cubicBezTo>
                  <a:cubicBezTo>
                    <a:pt x="172" y="95"/>
                    <a:pt x="175" y="87"/>
                    <a:pt x="183" y="85"/>
                  </a:cubicBezTo>
                  <a:cubicBezTo>
                    <a:pt x="183" y="85"/>
                    <a:pt x="201" y="80"/>
                    <a:pt x="219" y="80"/>
                  </a:cubicBezTo>
                  <a:cubicBezTo>
                    <a:pt x="236" y="80"/>
                    <a:pt x="254" y="85"/>
                    <a:pt x="254" y="85"/>
                  </a:cubicBezTo>
                  <a:cubicBezTo>
                    <a:pt x="262" y="87"/>
                    <a:pt x="265" y="95"/>
                    <a:pt x="261" y="102"/>
                  </a:cubicBezTo>
                  <a:close/>
                  <a:moveTo>
                    <a:pt x="319" y="121"/>
                  </a:moveTo>
                  <a:cubicBezTo>
                    <a:pt x="332" y="133"/>
                    <a:pt x="341" y="149"/>
                    <a:pt x="341" y="149"/>
                  </a:cubicBezTo>
                  <a:cubicBezTo>
                    <a:pt x="345" y="156"/>
                    <a:pt x="342" y="164"/>
                    <a:pt x="334" y="166"/>
                  </a:cubicBezTo>
                  <a:cubicBezTo>
                    <a:pt x="270" y="181"/>
                    <a:pt x="270" y="181"/>
                    <a:pt x="270" y="181"/>
                  </a:cubicBezTo>
                  <a:cubicBezTo>
                    <a:pt x="262" y="183"/>
                    <a:pt x="257" y="178"/>
                    <a:pt x="259" y="170"/>
                  </a:cubicBezTo>
                  <a:cubicBezTo>
                    <a:pt x="274" y="106"/>
                    <a:pt x="274" y="106"/>
                    <a:pt x="274" y="106"/>
                  </a:cubicBezTo>
                  <a:cubicBezTo>
                    <a:pt x="276" y="98"/>
                    <a:pt x="283" y="95"/>
                    <a:pt x="290" y="99"/>
                  </a:cubicBezTo>
                  <a:cubicBezTo>
                    <a:pt x="290" y="99"/>
                    <a:pt x="307" y="108"/>
                    <a:pt x="319" y="121"/>
                  </a:cubicBez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grpSp>
      <p:grpSp>
        <p:nvGrpSpPr>
          <p:cNvPr id="29" name="Group 28"/>
          <p:cNvGrpSpPr/>
          <p:nvPr/>
        </p:nvGrpSpPr>
        <p:grpSpPr>
          <a:xfrm flipV="1">
            <a:off x="7045216" y="3867570"/>
            <a:ext cx="1647398" cy="1024992"/>
            <a:chOff x="7359541" y="3105096"/>
            <a:chExt cx="1647398" cy="1024992"/>
          </a:xfrm>
        </p:grpSpPr>
        <p:sp>
          <p:nvSpPr>
            <p:cNvPr id="30" name="Freeform 100"/>
            <p:cNvSpPr>
              <a:spLocks noEditPoints="1"/>
            </p:cNvSpPr>
            <p:nvPr/>
          </p:nvSpPr>
          <p:spPr bwMode="auto">
            <a:xfrm>
              <a:off x="8652075" y="3505561"/>
              <a:ext cx="354864" cy="355545"/>
            </a:xfrm>
            <a:custGeom>
              <a:avLst/>
              <a:gdLst>
                <a:gd name="T0" fmla="*/ 434 w 441"/>
                <a:gd name="T1" fmla="*/ 201 h 441"/>
                <a:gd name="T2" fmla="*/ 425 w 441"/>
                <a:gd name="T3" fmla="*/ 156 h 441"/>
                <a:gd name="T4" fmla="*/ 410 w 441"/>
                <a:gd name="T5" fmla="*/ 120 h 441"/>
                <a:gd name="T6" fmla="*/ 385 w 441"/>
                <a:gd name="T7" fmla="*/ 84 h 441"/>
                <a:gd name="T8" fmla="*/ 357 w 441"/>
                <a:gd name="T9" fmla="*/ 56 h 441"/>
                <a:gd name="T10" fmla="*/ 320 w 441"/>
                <a:gd name="T11" fmla="*/ 30 h 441"/>
                <a:gd name="T12" fmla="*/ 283 w 441"/>
                <a:gd name="T13" fmla="*/ 16 h 441"/>
                <a:gd name="T14" fmla="*/ 240 w 441"/>
                <a:gd name="T15" fmla="*/ 7 h 441"/>
                <a:gd name="T16" fmla="*/ 201 w 441"/>
                <a:gd name="T17" fmla="*/ 7 h 441"/>
                <a:gd name="T18" fmla="*/ 156 w 441"/>
                <a:gd name="T19" fmla="*/ 16 h 441"/>
                <a:gd name="T20" fmla="*/ 120 w 441"/>
                <a:gd name="T21" fmla="*/ 31 h 441"/>
                <a:gd name="T22" fmla="*/ 84 w 441"/>
                <a:gd name="T23" fmla="*/ 56 h 441"/>
                <a:gd name="T24" fmla="*/ 56 w 441"/>
                <a:gd name="T25" fmla="*/ 84 h 441"/>
                <a:gd name="T26" fmla="*/ 31 w 441"/>
                <a:gd name="T27" fmla="*/ 122 h 441"/>
                <a:gd name="T28" fmla="*/ 16 w 441"/>
                <a:gd name="T29" fmla="*/ 158 h 441"/>
                <a:gd name="T30" fmla="*/ 7 w 441"/>
                <a:gd name="T31" fmla="*/ 201 h 441"/>
                <a:gd name="T32" fmla="*/ 7 w 441"/>
                <a:gd name="T33" fmla="*/ 240 h 441"/>
                <a:gd name="T34" fmla="*/ 16 w 441"/>
                <a:gd name="T35" fmla="*/ 285 h 441"/>
                <a:gd name="T36" fmla="*/ 32 w 441"/>
                <a:gd name="T37" fmla="*/ 321 h 441"/>
                <a:gd name="T38" fmla="*/ 56 w 441"/>
                <a:gd name="T39" fmla="*/ 357 h 441"/>
                <a:gd name="T40" fmla="*/ 84 w 441"/>
                <a:gd name="T41" fmla="*/ 385 h 441"/>
                <a:gd name="T42" fmla="*/ 122 w 441"/>
                <a:gd name="T43" fmla="*/ 411 h 441"/>
                <a:gd name="T44" fmla="*/ 158 w 441"/>
                <a:gd name="T45" fmla="*/ 425 h 441"/>
                <a:gd name="T46" fmla="*/ 201 w 441"/>
                <a:gd name="T47" fmla="*/ 434 h 441"/>
                <a:gd name="T48" fmla="*/ 240 w 441"/>
                <a:gd name="T49" fmla="*/ 434 h 441"/>
                <a:gd name="T50" fmla="*/ 285 w 441"/>
                <a:gd name="T51" fmla="*/ 425 h 441"/>
                <a:gd name="T52" fmla="*/ 321 w 441"/>
                <a:gd name="T53" fmla="*/ 410 h 441"/>
                <a:gd name="T54" fmla="*/ 357 w 441"/>
                <a:gd name="T55" fmla="*/ 385 h 441"/>
                <a:gd name="T56" fmla="*/ 385 w 441"/>
                <a:gd name="T57" fmla="*/ 357 h 441"/>
                <a:gd name="T58" fmla="*/ 411 w 441"/>
                <a:gd name="T59" fmla="*/ 319 h 441"/>
                <a:gd name="T60" fmla="*/ 426 w 441"/>
                <a:gd name="T61" fmla="*/ 283 h 441"/>
                <a:gd name="T62" fmla="*/ 434 w 441"/>
                <a:gd name="T63" fmla="*/ 240 h 441"/>
                <a:gd name="T64" fmla="*/ 356 w 441"/>
                <a:gd name="T65" fmla="*/ 256 h 441"/>
                <a:gd name="T66" fmla="*/ 284 w 441"/>
                <a:gd name="T67" fmla="*/ 213 h 441"/>
                <a:gd name="T68" fmla="*/ 361 w 441"/>
                <a:gd name="T69" fmla="*/ 220 h 441"/>
                <a:gd name="T70" fmla="*/ 275 w 441"/>
                <a:gd name="T71" fmla="*/ 335 h 441"/>
                <a:gd name="T72" fmla="*/ 335 w 441"/>
                <a:gd name="T73" fmla="*/ 276 h 441"/>
                <a:gd name="T74" fmla="*/ 178 w 441"/>
                <a:gd name="T75" fmla="*/ 341 h 441"/>
                <a:gd name="T76" fmla="*/ 263 w 441"/>
                <a:gd name="T77" fmla="*/ 341 h 441"/>
                <a:gd name="T78" fmla="*/ 185 w 441"/>
                <a:gd name="T79" fmla="*/ 358 h 441"/>
                <a:gd name="T80" fmla="*/ 186 w 441"/>
                <a:gd name="T81" fmla="*/ 220 h 441"/>
                <a:gd name="T82" fmla="*/ 221 w 441"/>
                <a:gd name="T83" fmla="*/ 255 h 441"/>
                <a:gd name="T84" fmla="*/ 106 w 441"/>
                <a:gd name="T85" fmla="*/ 277 h 441"/>
                <a:gd name="T86" fmla="*/ 165 w 441"/>
                <a:gd name="T87" fmla="*/ 337 h 441"/>
                <a:gd name="T88" fmla="*/ 100 w 441"/>
                <a:gd name="T89" fmla="*/ 180 h 441"/>
                <a:gd name="T90" fmla="*/ 100 w 441"/>
                <a:gd name="T91" fmla="*/ 264 h 441"/>
                <a:gd name="T92" fmla="*/ 83 w 441"/>
                <a:gd name="T93" fmla="*/ 187 h 441"/>
                <a:gd name="T94" fmla="*/ 148 w 441"/>
                <a:gd name="T95" fmla="*/ 100 h 441"/>
                <a:gd name="T96" fmla="*/ 168 w 441"/>
                <a:gd name="T97" fmla="*/ 182 h 441"/>
                <a:gd name="T98" fmla="*/ 119 w 441"/>
                <a:gd name="T99" fmla="*/ 122 h 441"/>
                <a:gd name="T100" fmla="*/ 211 w 441"/>
                <a:gd name="T101" fmla="*/ 157 h 441"/>
                <a:gd name="T102" fmla="*/ 219 w 441"/>
                <a:gd name="T103" fmla="*/ 80 h 441"/>
                <a:gd name="T104" fmla="*/ 319 w 441"/>
                <a:gd name="T105" fmla="*/ 121 h 441"/>
                <a:gd name="T106" fmla="*/ 270 w 441"/>
                <a:gd name="T107" fmla="*/ 181 h 441"/>
                <a:gd name="T108" fmla="*/ 290 w 441"/>
                <a:gd name="T109" fmla="*/ 99 h 4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41" h="441">
                  <a:moveTo>
                    <a:pt x="441" y="232"/>
                  </a:moveTo>
                  <a:cubicBezTo>
                    <a:pt x="441" y="209"/>
                    <a:pt x="441" y="209"/>
                    <a:pt x="441" y="209"/>
                  </a:cubicBezTo>
                  <a:cubicBezTo>
                    <a:pt x="441" y="205"/>
                    <a:pt x="438" y="201"/>
                    <a:pt x="434" y="201"/>
                  </a:cubicBezTo>
                  <a:cubicBezTo>
                    <a:pt x="401" y="196"/>
                    <a:pt x="401" y="196"/>
                    <a:pt x="401" y="196"/>
                  </a:cubicBezTo>
                  <a:cubicBezTo>
                    <a:pt x="400" y="188"/>
                    <a:pt x="398" y="181"/>
                    <a:pt x="396" y="173"/>
                  </a:cubicBezTo>
                  <a:cubicBezTo>
                    <a:pt x="425" y="156"/>
                    <a:pt x="425" y="156"/>
                    <a:pt x="425" y="156"/>
                  </a:cubicBezTo>
                  <a:cubicBezTo>
                    <a:pt x="428" y="154"/>
                    <a:pt x="430" y="149"/>
                    <a:pt x="428" y="145"/>
                  </a:cubicBezTo>
                  <a:cubicBezTo>
                    <a:pt x="420" y="125"/>
                    <a:pt x="420" y="125"/>
                    <a:pt x="420" y="125"/>
                  </a:cubicBezTo>
                  <a:cubicBezTo>
                    <a:pt x="418" y="121"/>
                    <a:pt x="414" y="119"/>
                    <a:pt x="410" y="120"/>
                  </a:cubicBezTo>
                  <a:cubicBezTo>
                    <a:pt x="377" y="128"/>
                    <a:pt x="377" y="128"/>
                    <a:pt x="377" y="128"/>
                  </a:cubicBezTo>
                  <a:cubicBezTo>
                    <a:pt x="374" y="122"/>
                    <a:pt x="370" y="116"/>
                    <a:pt x="365" y="110"/>
                  </a:cubicBezTo>
                  <a:cubicBezTo>
                    <a:pt x="385" y="84"/>
                    <a:pt x="385" y="84"/>
                    <a:pt x="385" y="84"/>
                  </a:cubicBezTo>
                  <a:cubicBezTo>
                    <a:pt x="388" y="80"/>
                    <a:pt x="387" y="75"/>
                    <a:pt x="385" y="72"/>
                  </a:cubicBezTo>
                  <a:cubicBezTo>
                    <a:pt x="369" y="56"/>
                    <a:pt x="369" y="56"/>
                    <a:pt x="369" y="56"/>
                  </a:cubicBezTo>
                  <a:cubicBezTo>
                    <a:pt x="366" y="54"/>
                    <a:pt x="361" y="53"/>
                    <a:pt x="357" y="56"/>
                  </a:cubicBezTo>
                  <a:cubicBezTo>
                    <a:pt x="331" y="76"/>
                    <a:pt x="331" y="76"/>
                    <a:pt x="331" y="76"/>
                  </a:cubicBezTo>
                  <a:cubicBezTo>
                    <a:pt x="325" y="71"/>
                    <a:pt x="318" y="67"/>
                    <a:pt x="311" y="63"/>
                  </a:cubicBezTo>
                  <a:cubicBezTo>
                    <a:pt x="320" y="30"/>
                    <a:pt x="320" y="30"/>
                    <a:pt x="320" y="30"/>
                  </a:cubicBezTo>
                  <a:cubicBezTo>
                    <a:pt x="321" y="26"/>
                    <a:pt x="318" y="22"/>
                    <a:pt x="314" y="20"/>
                  </a:cubicBezTo>
                  <a:cubicBezTo>
                    <a:pt x="294" y="12"/>
                    <a:pt x="294" y="12"/>
                    <a:pt x="294" y="12"/>
                  </a:cubicBezTo>
                  <a:cubicBezTo>
                    <a:pt x="290" y="10"/>
                    <a:pt x="285" y="12"/>
                    <a:pt x="283" y="16"/>
                  </a:cubicBezTo>
                  <a:cubicBezTo>
                    <a:pt x="266" y="44"/>
                    <a:pt x="266" y="44"/>
                    <a:pt x="266" y="44"/>
                  </a:cubicBezTo>
                  <a:cubicBezTo>
                    <a:pt x="259" y="43"/>
                    <a:pt x="252" y="41"/>
                    <a:pt x="245" y="40"/>
                  </a:cubicBezTo>
                  <a:cubicBezTo>
                    <a:pt x="240" y="7"/>
                    <a:pt x="240" y="7"/>
                    <a:pt x="240" y="7"/>
                  </a:cubicBezTo>
                  <a:cubicBezTo>
                    <a:pt x="240" y="3"/>
                    <a:pt x="236" y="0"/>
                    <a:pt x="232" y="0"/>
                  </a:cubicBezTo>
                  <a:cubicBezTo>
                    <a:pt x="209" y="0"/>
                    <a:pt x="209" y="0"/>
                    <a:pt x="209" y="0"/>
                  </a:cubicBezTo>
                  <a:cubicBezTo>
                    <a:pt x="205" y="0"/>
                    <a:pt x="201" y="3"/>
                    <a:pt x="201" y="7"/>
                  </a:cubicBezTo>
                  <a:cubicBezTo>
                    <a:pt x="196" y="40"/>
                    <a:pt x="196" y="40"/>
                    <a:pt x="196" y="40"/>
                  </a:cubicBezTo>
                  <a:cubicBezTo>
                    <a:pt x="188" y="41"/>
                    <a:pt x="181" y="43"/>
                    <a:pt x="173" y="45"/>
                  </a:cubicBezTo>
                  <a:cubicBezTo>
                    <a:pt x="156" y="16"/>
                    <a:pt x="156" y="16"/>
                    <a:pt x="156" y="16"/>
                  </a:cubicBezTo>
                  <a:cubicBezTo>
                    <a:pt x="154" y="13"/>
                    <a:pt x="149" y="11"/>
                    <a:pt x="145" y="13"/>
                  </a:cubicBezTo>
                  <a:cubicBezTo>
                    <a:pt x="125" y="21"/>
                    <a:pt x="125" y="21"/>
                    <a:pt x="125" y="21"/>
                  </a:cubicBezTo>
                  <a:cubicBezTo>
                    <a:pt x="121" y="23"/>
                    <a:pt x="119" y="27"/>
                    <a:pt x="120" y="31"/>
                  </a:cubicBezTo>
                  <a:cubicBezTo>
                    <a:pt x="128" y="64"/>
                    <a:pt x="128" y="64"/>
                    <a:pt x="128" y="64"/>
                  </a:cubicBezTo>
                  <a:cubicBezTo>
                    <a:pt x="122" y="67"/>
                    <a:pt x="116" y="71"/>
                    <a:pt x="111" y="76"/>
                  </a:cubicBezTo>
                  <a:cubicBezTo>
                    <a:pt x="84" y="56"/>
                    <a:pt x="84" y="56"/>
                    <a:pt x="84" y="56"/>
                  </a:cubicBezTo>
                  <a:cubicBezTo>
                    <a:pt x="80" y="53"/>
                    <a:pt x="75" y="54"/>
                    <a:pt x="72" y="56"/>
                  </a:cubicBezTo>
                  <a:cubicBezTo>
                    <a:pt x="57" y="72"/>
                    <a:pt x="57" y="72"/>
                    <a:pt x="57" y="72"/>
                  </a:cubicBezTo>
                  <a:cubicBezTo>
                    <a:pt x="54" y="75"/>
                    <a:pt x="53" y="80"/>
                    <a:pt x="56" y="84"/>
                  </a:cubicBezTo>
                  <a:cubicBezTo>
                    <a:pt x="76" y="110"/>
                    <a:pt x="76" y="110"/>
                    <a:pt x="76" y="110"/>
                  </a:cubicBezTo>
                  <a:cubicBezTo>
                    <a:pt x="71" y="117"/>
                    <a:pt x="67" y="123"/>
                    <a:pt x="63" y="130"/>
                  </a:cubicBezTo>
                  <a:cubicBezTo>
                    <a:pt x="31" y="122"/>
                    <a:pt x="31" y="122"/>
                    <a:pt x="31" y="122"/>
                  </a:cubicBezTo>
                  <a:cubicBezTo>
                    <a:pt x="27" y="121"/>
                    <a:pt x="22" y="123"/>
                    <a:pt x="20" y="127"/>
                  </a:cubicBezTo>
                  <a:cubicBezTo>
                    <a:pt x="12" y="147"/>
                    <a:pt x="12" y="147"/>
                    <a:pt x="12" y="147"/>
                  </a:cubicBezTo>
                  <a:cubicBezTo>
                    <a:pt x="10" y="151"/>
                    <a:pt x="12" y="156"/>
                    <a:pt x="16" y="158"/>
                  </a:cubicBezTo>
                  <a:cubicBezTo>
                    <a:pt x="45" y="175"/>
                    <a:pt x="45" y="175"/>
                    <a:pt x="45" y="175"/>
                  </a:cubicBezTo>
                  <a:cubicBezTo>
                    <a:pt x="43" y="182"/>
                    <a:pt x="41" y="189"/>
                    <a:pt x="40" y="196"/>
                  </a:cubicBezTo>
                  <a:cubicBezTo>
                    <a:pt x="7" y="201"/>
                    <a:pt x="7" y="201"/>
                    <a:pt x="7" y="201"/>
                  </a:cubicBezTo>
                  <a:cubicBezTo>
                    <a:pt x="3" y="201"/>
                    <a:pt x="0" y="205"/>
                    <a:pt x="0" y="209"/>
                  </a:cubicBezTo>
                  <a:cubicBezTo>
                    <a:pt x="0" y="232"/>
                    <a:pt x="0" y="232"/>
                    <a:pt x="0" y="232"/>
                  </a:cubicBezTo>
                  <a:cubicBezTo>
                    <a:pt x="0" y="236"/>
                    <a:pt x="3" y="240"/>
                    <a:pt x="7" y="240"/>
                  </a:cubicBezTo>
                  <a:cubicBezTo>
                    <a:pt x="40" y="245"/>
                    <a:pt x="40" y="245"/>
                    <a:pt x="40" y="245"/>
                  </a:cubicBezTo>
                  <a:cubicBezTo>
                    <a:pt x="42" y="253"/>
                    <a:pt x="43" y="260"/>
                    <a:pt x="45" y="268"/>
                  </a:cubicBezTo>
                  <a:cubicBezTo>
                    <a:pt x="16" y="285"/>
                    <a:pt x="16" y="285"/>
                    <a:pt x="16" y="285"/>
                  </a:cubicBezTo>
                  <a:cubicBezTo>
                    <a:pt x="13" y="287"/>
                    <a:pt x="11" y="292"/>
                    <a:pt x="13" y="296"/>
                  </a:cubicBezTo>
                  <a:cubicBezTo>
                    <a:pt x="21" y="316"/>
                    <a:pt x="21" y="316"/>
                    <a:pt x="21" y="316"/>
                  </a:cubicBezTo>
                  <a:cubicBezTo>
                    <a:pt x="23" y="320"/>
                    <a:pt x="28" y="322"/>
                    <a:pt x="32" y="321"/>
                  </a:cubicBezTo>
                  <a:cubicBezTo>
                    <a:pt x="64" y="313"/>
                    <a:pt x="64" y="313"/>
                    <a:pt x="64" y="313"/>
                  </a:cubicBezTo>
                  <a:cubicBezTo>
                    <a:pt x="68" y="319"/>
                    <a:pt x="72" y="325"/>
                    <a:pt x="76" y="331"/>
                  </a:cubicBezTo>
                  <a:cubicBezTo>
                    <a:pt x="56" y="357"/>
                    <a:pt x="56" y="357"/>
                    <a:pt x="56" y="357"/>
                  </a:cubicBezTo>
                  <a:cubicBezTo>
                    <a:pt x="53" y="361"/>
                    <a:pt x="54" y="366"/>
                    <a:pt x="57" y="369"/>
                  </a:cubicBezTo>
                  <a:cubicBezTo>
                    <a:pt x="72" y="384"/>
                    <a:pt x="72" y="384"/>
                    <a:pt x="72" y="384"/>
                  </a:cubicBezTo>
                  <a:cubicBezTo>
                    <a:pt x="75" y="387"/>
                    <a:pt x="80" y="388"/>
                    <a:pt x="84" y="385"/>
                  </a:cubicBezTo>
                  <a:cubicBezTo>
                    <a:pt x="111" y="365"/>
                    <a:pt x="111" y="365"/>
                    <a:pt x="111" y="365"/>
                  </a:cubicBezTo>
                  <a:cubicBezTo>
                    <a:pt x="117" y="370"/>
                    <a:pt x="123" y="374"/>
                    <a:pt x="130" y="378"/>
                  </a:cubicBezTo>
                  <a:cubicBezTo>
                    <a:pt x="122" y="411"/>
                    <a:pt x="122" y="411"/>
                    <a:pt x="122" y="411"/>
                  </a:cubicBezTo>
                  <a:cubicBezTo>
                    <a:pt x="121" y="415"/>
                    <a:pt x="123" y="419"/>
                    <a:pt x="127" y="421"/>
                  </a:cubicBezTo>
                  <a:cubicBezTo>
                    <a:pt x="147" y="429"/>
                    <a:pt x="147" y="429"/>
                    <a:pt x="147" y="429"/>
                  </a:cubicBezTo>
                  <a:cubicBezTo>
                    <a:pt x="151" y="431"/>
                    <a:pt x="156" y="429"/>
                    <a:pt x="158" y="425"/>
                  </a:cubicBezTo>
                  <a:cubicBezTo>
                    <a:pt x="175" y="397"/>
                    <a:pt x="175" y="397"/>
                    <a:pt x="175" y="397"/>
                  </a:cubicBezTo>
                  <a:cubicBezTo>
                    <a:pt x="182" y="398"/>
                    <a:pt x="189" y="400"/>
                    <a:pt x="196" y="401"/>
                  </a:cubicBezTo>
                  <a:cubicBezTo>
                    <a:pt x="201" y="434"/>
                    <a:pt x="201" y="434"/>
                    <a:pt x="201" y="434"/>
                  </a:cubicBezTo>
                  <a:cubicBezTo>
                    <a:pt x="201" y="438"/>
                    <a:pt x="205" y="441"/>
                    <a:pt x="209" y="441"/>
                  </a:cubicBezTo>
                  <a:cubicBezTo>
                    <a:pt x="232" y="441"/>
                    <a:pt x="232" y="441"/>
                    <a:pt x="232" y="441"/>
                  </a:cubicBezTo>
                  <a:cubicBezTo>
                    <a:pt x="236" y="441"/>
                    <a:pt x="240" y="438"/>
                    <a:pt x="240" y="434"/>
                  </a:cubicBezTo>
                  <a:cubicBezTo>
                    <a:pt x="245" y="401"/>
                    <a:pt x="245" y="401"/>
                    <a:pt x="245" y="401"/>
                  </a:cubicBezTo>
                  <a:cubicBezTo>
                    <a:pt x="253" y="400"/>
                    <a:pt x="260" y="398"/>
                    <a:pt x="268" y="396"/>
                  </a:cubicBezTo>
                  <a:cubicBezTo>
                    <a:pt x="285" y="425"/>
                    <a:pt x="285" y="425"/>
                    <a:pt x="285" y="425"/>
                  </a:cubicBezTo>
                  <a:cubicBezTo>
                    <a:pt x="287" y="428"/>
                    <a:pt x="292" y="430"/>
                    <a:pt x="296" y="428"/>
                  </a:cubicBezTo>
                  <a:cubicBezTo>
                    <a:pt x="316" y="420"/>
                    <a:pt x="316" y="420"/>
                    <a:pt x="316" y="420"/>
                  </a:cubicBezTo>
                  <a:cubicBezTo>
                    <a:pt x="320" y="418"/>
                    <a:pt x="322" y="414"/>
                    <a:pt x="321" y="410"/>
                  </a:cubicBezTo>
                  <a:cubicBezTo>
                    <a:pt x="313" y="377"/>
                    <a:pt x="313" y="377"/>
                    <a:pt x="313" y="377"/>
                  </a:cubicBezTo>
                  <a:cubicBezTo>
                    <a:pt x="319" y="373"/>
                    <a:pt x="325" y="369"/>
                    <a:pt x="331" y="365"/>
                  </a:cubicBezTo>
                  <a:cubicBezTo>
                    <a:pt x="357" y="385"/>
                    <a:pt x="357" y="385"/>
                    <a:pt x="357" y="385"/>
                  </a:cubicBezTo>
                  <a:cubicBezTo>
                    <a:pt x="361" y="388"/>
                    <a:pt x="366" y="387"/>
                    <a:pt x="369" y="384"/>
                  </a:cubicBezTo>
                  <a:cubicBezTo>
                    <a:pt x="385" y="369"/>
                    <a:pt x="385" y="369"/>
                    <a:pt x="385" y="369"/>
                  </a:cubicBezTo>
                  <a:cubicBezTo>
                    <a:pt x="387" y="366"/>
                    <a:pt x="388" y="361"/>
                    <a:pt x="385" y="357"/>
                  </a:cubicBezTo>
                  <a:cubicBezTo>
                    <a:pt x="365" y="331"/>
                    <a:pt x="365" y="331"/>
                    <a:pt x="365" y="331"/>
                  </a:cubicBezTo>
                  <a:cubicBezTo>
                    <a:pt x="370" y="324"/>
                    <a:pt x="374" y="318"/>
                    <a:pt x="378" y="311"/>
                  </a:cubicBezTo>
                  <a:cubicBezTo>
                    <a:pt x="411" y="319"/>
                    <a:pt x="411" y="319"/>
                    <a:pt x="411" y="319"/>
                  </a:cubicBezTo>
                  <a:cubicBezTo>
                    <a:pt x="415" y="320"/>
                    <a:pt x="419" y="318"/>
                    <a:pt x="421" y="314"/>
                  </a:cubicBezTo>
                  <a:cubicBezTo>
                    <a:pt x="429" y="294"/>
                    <a:pt x="429" y="294"/>
                    <a:pt x="429" y="294"/>
                  </a:cubicBezTo>
                  <a:cubicBezTo>
                    <a:pt x="431" y="290"/>
                    <a:pt x="429" y="285"/>
                    <a:pt x="426" y="283"/>
                  </a:cubicBezTo>
                  <a:cubicBezTo>
                    <a:pt x="397" y="266"/>
                    <a:pt x="397" y="266"/>
                    <a:pt x="397" y="266"/>
                  </a:cubicBezTo>
                  <a:cubicBezTo>
                    <a:pt x="398" y="259"/>
                    <a:pt x="400" y="252"/>
                    <a:pt x="401" y="245"/>
                  </a:cubicBezTo>
                  <a:cubicBezTo>
                    <a:pt x="434" y="240"/>
                    <a:pt x="434" y="240"/>
                    <a:pt x="434" y="240"/>
                  </a:cubicBezTo>
                  <a:cubicBezTo>
                    <a:pt x="438" y="240"/>
                    <a:pt x="441" y="236"/>
                    <a:pt x="441" y="232"/>
                  </a:cubicBezTo>
                  <a:close/>
                  <a:moveTo>
                    <a:pt x="361" y="220"/>
                  </a:moveTo>
                  <a:cubicBezTo>
                    <a:pt x="361" y="238"/>
                    <a:pt x="356" y="256"/>
                    <a:pt x="356" y="256"/>
                  </a:cubicBezTo>
                  <a:cubicBezTo>
                    <a:pt x="354" y="264"/>
                    <a:pt x="346" y="267"/>
                    <a:pt x="339" y="263"/>
                  </a:cubicBezTo>
                  <a:cubicBezTo>
                    <a:pt x="284" y="228"/>
                    <a:pt x="284" y="228"/>
                    <a:pt x="284" y="228"/>
                  </a:cubicBezTo>
                  <a:cubicBezTo>
                    <a:pt x="277" y="224"/>
                    <a:pt x="277" y="217"/>
                    <a:pt x="284" y="213"/>
                  </a:cubicBezTo>
                  <a:cubicBezTo>
                    <a:pt x="339" y="178"/>
                    <a:pt x="339" y="178"/>
                    <a:pt x="339" y="178"/>
                  </a:cubicBezTo>
                  <a:cubicBezTo>
                    <a:pt x="346" y="174"/>
                    <a:pt x="354" y="177"/>
                    <a:pt x="356" y="185"/>
                  </a:cubicBezTo>
                  <a:cubicBezTo>
                    <a:pt x="356" y="185"/>
                    <a:pt x="361" y="203"/>
                    <a:pt x="361" y="220"/>
                  </a:cubicBezTo>
                  <a:close/>
                  <a:moveTo>
                    <a:pt x="321" y="321"/>
                  </a:moveTo>
                  <a:cubicBezTo>
                    <a:pt x="308" y="333"/>
                    <a:pt x="292" y="343"/>
                    <a:pt x="292" y="343"/>
                  </a:cubicBezTo>
                  <a:cubicBezTo>
                    <a:pt x="285" y="347"/>
                    <a:pt x="277" y="343"/>
                    <a:pt x="275" y="335"/>
                  </a:cubicBezTo>
                  <a:cubicBezTo>
                    <a:pt x="260" y="272"/>
                    <a:pt x="260" y="272"/>
                    <a:pt x="260" y="272"/>
                  </a:cubicBezTo>
                  <a:cubicBezTo>
                    <a:pt x="258" y="264"/>
                    <a:pt x="263" y="259"/>
                    <a:pt x="271" y="260"/>
                  </a:cubicBezTo>
                  <a:cubicBezTo>
                    <a:pt x="335" y="276"/>
                    <a:pt x="335" y="276"/>
                    <a:pt x="335" y="276"/>
                  </a:cubicBezTo>
                  <a:cubicBezTo>
                    <a:pt x="343" y="278"/>
                    <a:pt x="346" y="285"/>
                    <a:pt x="342" y="292"/>
                  </a:cubicBezTo>
                  <a:cubicBezTo>
                    <a:pt x="342" y="292"/>
                    <a:pt x="333" y="309"/>
                    <a:pt x="321" y="321"/>
                  </a:cubicBezTo>
                  <a:close/>
                  <a:moveTo>
                    <a:pt x="178" y="341"/>
                  </a:moveTo>
                  <a:cubicBezTo>
                    <a:pt x="213" y="285"/>
                    <a:pt x="213" y="285"/>
                    <a:pt x="213" y="285"/>
                  </a:cubicBezTo>
                  <a:cubicBezTo>
                    <a:pt x="217" y="278"/>
                    <a:pt x="224" y="278"/>
                    <a:pt x="228" y="285"/>
                  </a:cubicBezTo>
                  <a:cubicBezTo>
                    <a:pt x="263" y="341"/>
                    <a:pt x="263" y="341"/>
                    <a:pt x="263" y="341"/>
                  </a:cubicBezTo>
                  <a:cubicBezTo>
                    <a:pt x="267" y="348"/>
                    <a:pt x="264" y="356"/>
                    <a:pt x="256" y="358"/>
                  </a:cubicBezTo>
                  <a:cubicBezTo>
                    <a:pt x="256" y="358"/>
                    <a:pt x="238" y="363"/>
                    <a:pt x="221" y="363"/>
                  </a:cubicBezTo>
                  <a:cubicBezTo>
                    <a:pt x="203" y="363"/>
                    <a:pt x="185" y="358"/>
                    <a:pt x="185" y="358"/>
                  </a:cubicBezTo>
                  <a:cubicBezTo>
                    <a:pt x="177" y="356"/>
                    <a:pt x="174" y="348"/>
                    <a:pt x="178" y="341"/>
                  </a:cubicBezTo>
                  <a:close/>
                  <a:moveTo>
                    <a:pt x="221" y="255"/>
                  </a:moveTo>
                  <a:cubicBezTo>
                    <a:pt x="202" y="255"/>
                    <a:pt x="186" y="240"/>
                    <a:pt x="186" y="220"/>
                  </a:cubicBezTo>
                  <a:cubicBezTo>
                    <a:pt x="186" y="201"/>
                    <a:pt x="202" y="186"/>
                    <a:pt x="221" y="186"/>
                  </a:cubicBezTo>
                  <a:cubicBezTo>
                    <a:pt x="240" y="186"/>
                    <a:pt x="255" y="201"/>
                    <a:pt x="255" y="220"/>
                  </a:cubicBezTo>
                  <a:cubicBezTo>
                    <a:pt x="255" y="240"/>
                    <a:pt x="240" y="255"/>
                    <a:pt x="221" y="255"/>
                  </a:cubicBezTo>
                  <a:close/>
                  <a:moveTo>
                    <a:pt x="120" y="322"/>
                  </a:moveTo>
                  <a:cubicBezTo>
                    <a:pt x="108" y="310"/>
                    <a:pt x="99" y="294"/>
                    <a:pt x="99" y="294"/>
                  </a:cubicBezTo>
                  <a:cubicBezTo>
                    <a:pt x="95" y="286"/>
                    <a:pt x="98" y="279"/>
                    <a:pt x="106" y="277"/>
                  </a:cubicBezTo>
                  <a:cubicBezTo>
                    <a:pt x="170" y="262"/>
                    <a:pt x="170" y="262"/>
                    <a:pt x="170" y="262"/>
                  </a:cubicBezTo>
                  <a:cubicBezTo>
                    <a:pt x="178" y="260"/>
                    <a:pt x="182" y="265"/>
                    <a:pt x="181" y="273"/>
                  </a:cubicBezTo>
                  <a:cubicBezTo>
                    <a:pt x="165" y="337"/>
                    <a:pt x="165" y="337"/>
                    <a:pt x="165" y="337"/>
                  </a:cubicBezTo>
                  <a:cubicBezTo>
                    <a:pt x="163" y="345"/>
                    <a:pt x="156" y="348"/>
                    <a:pt x="149" y="344"/>
                  </a:cubicBezTo>
                  <a:cubicBezTo>
                    <a:pt x="149" y="344"/>
                    <a:pt x="133" y="335"/>
                    <a:pt x="120" y="322"/>
                  </a:cubicBezTo>
                  <a:close/>
                  <a:moveTo>
                    <a:pt x="100" y="180"/>
                  </a:moveTo>
                  <a:cubicBezTo>
                    <a:pt x="156" y="215"/>
                    <a:pt x="156" y="215"/>
                    <a:pt x="156" y="215"/>
                  </a:cubicBezTo>
                  <a:cubicBezTo>
                    <a:pt x="163" y="219"/>
                    <a:pt x="163" y="226"/>
                    <a:pt x="156" y="230"/>
                  </a:cubicBezTo>
                  <a:cubicBezTo>
                    <a:pt x="100" y="264"/>
                    <a:pt x="100" y="264"/>
                    <a:pt x="100" y="264"/>
                  </a:cubicBezTo>
                  <a:cubicBezTo>
                    <a:pt x="93" y="269"/>
                    <a:pt x="85" y="266"/>
                    <a:pt x="83" y="258"/>
                  </a:cubicBezTo>
                  <a:cubicBezTo>
                    <a:pt x="83" y="258"/>
                    <a:pt x="78" y="240"/>
                    <a:pt x="78" y="222"/>
                  </a:cubicBezTo>
                  <a:cubicBezTo>
                    <a:pt x="78" y="205"/>
                    <a:pt x="83" y="187"/>
                    <a:pt x="83" y="187"/>
                  </a:cubicBezTo>
                  <a:cubicBezTo>
                    <a:pt x="85" y="179"/>
                    <a:pt x="93" y="176"/>
                    <a:pt x="100" y="180"/>
                  </a:cubicBezTo>
                  <a:close/>
                  <a:moveTo>
                    <a:pt x="119" y="122"/>
                  </a:moveTo>
                  <a:cubicBezTo>
                    <a:pt x="131" y="109"/>
                    <a:pt x="148" y="100"/>
                    <a:pt x="148" y="100"/>
                  </a:cubicBezTo>
                  <a:cubicBezTo>
                    <a:pt x="155" y="96"/>
                    <a:pt x="162" y="100"/>
                    <a:pt x="164" y="108"/>
                  </a:cubicBezTo>
                  <a:cubicBezTo>
                    <a:pt x="179" y="171"/>
                    <a:pt x="179" y="171"/>
                    <a:pt x="179" y="171"/>
                  </a:cubicBezTo>
                  <a:cubicBezTo>
                    <a:pt x="181" y="179"/>
                    <a:pt x="176" y="184"/>
                    <a:pt x="168" y="182"/>
                  </a:cubicBezTo>
                  <a:cubicBezTo>
                    <a:pt x="104" y="167"/>
                    <a:pt x="104" y="167"/>
                    <a:pt x="104" y="167"/>
                  </a:cubicBezTo>
                  <a:cubicBezTo>
                    <a:pt x="96" y="165"/>
                    <a:pt x="93" y="158"/>
                    <a:pt x="97" y="151"/>
                  </a:cubicBezTo>
                  <a:cubicBezTo>
                    <a:pt x="97" y="151"/>
                    <a:pt x="106" y="134"/>
                    <a:pt x="119" y="122"/>
                  </a:cubicBezTo>
                  <a:close/>
                  <a:moveTo>
                    <a:pt x="261" y="102"/>
                  </a:moveTo>
                  <a:cubicBezTo>
                    <a:pt x="227" y="157"/>
                    <a:pt x="227" y="157"/>
                    <a:pt x="227" y="157"/>
                  </a:cubicBezTo>
                  <a:cubicBezTo>
                    <a:pt x="222" y="164"/>
                    <a:pt x="215" y="164"/>
                    <a:pt x="211" y="157"/>
                  </a:cubicBezTo>
                  <a:cubicBezTo>
                    <a:pt x="177" y="102"/>
                    <a:pt x="177" y="102"/>
                    <a:pt x="177" y="102"/>
                  </a:cubicBezTo>
                  <a:cubicBezTo>
                    <a:pt x="172" y="95"/>
                    <a:pt x="175" y="87"/>
                    <a:pt x="183" y="85"/>
                  </a:cubicBezTo>
                  <a:cubicBezTo>
                    <a:pt x="183" y="85"/>
                    <a:pt x="201" y="80"/>
                    <a:pt x="219" y="80"/>
                  </a:cubicBezTo>
                  <a:cubicBezTo>
                    <a:pt x="236" y="80"/>
                    <a:pt x="254" y="85"/>
                    <a:pt x="254" y="85"/>
                  </a:cubicBezTo>
                  <a:cubicBezTo>
                    <a:pt x="262" y="87"/>
                    <a:pt x="265" y="95"/>
                    <a:pt x="261" y="102"/>
                  </a:cubicBezTo>
                  <a:close/>
                  <a:moveTo>
                    <a:pt x="319" y="121"/>
                  </a:moveTo>
                  <a:cubicBezTo>
                    <a:pt x="332" y="133"/>
                    <a:pt x="341" y="149"/>
                    <a:pt x="341" y="149"/>
                  </a:cubicBezTo>
                  <a:cubicBezTo>
                    <a:pt x="345" y="156"/>
                    <a:pt x="342" y="164"/>
                    <a:pt x="334" y="166"/>
                  </a:cubicBezTo>
                  <a:cubicBezTo>
                    <a:pt x="270" y="181"/>
                    <a:pt x="270" y="181"/>
                    <a:pt x="270" y="181"/>
                  </a:cubicBezTo>
                  <a:cubicBezTo>
                    <a:pt x="262" y="183"/>
                    <a:pt x="257" y="178"/>
                    <a:pt x="259" y="170"/>
                  </a:cubicBezTo>
                  <a:cubicBezTo>
                    <a:pt x="274" y="106"/>
                    <a:pt x="274" y="106"/>
                    <a:pt x="274" y="106"/>
                  </a:cubicBezTo>
                  <a:cubicBezTo>
                    <a:pt x="276" y="98"/>
                    <a:pt x="283" y="95"/>
                    <a:pt x="290" y="99"/>
                  </a:cubicBezTo>
                  <a:cubicBezTo>
                    <a:pt x="290" y="99"/>
                    <a:pt x="307" y="108"/>
                    <a:pt x="319" y="121"/>
                  </a:cubicBez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sp>
          <p:nvSpPr>
            <p:cNvPr id="31" name="Freeform 100"/>
            <p:cNvSpPr>
              <a:spLocks noEditPoints="1"/>
            </p:cNvSpPr>
            <p:nvPr/>
          </p:nvSpPr>
          <p:spPr bwMode="auto">
            <a:xfrm>
              <a:off x="8142645" y="3406330"/>
              <a:ext cx="354864" cy="355545"/>
            </a:xfrm>
            <a:custGeom>
              <a:avLst/>
              <a:gdLst>
                <a:gd name="T0" fmla="*/ 434 w 441"/>
                <a:gd name="T1" fmla="*/ 201 h 441"/>
                <a:gd name="T2" fmla="*/ 425 w 441"/>
                <a:gd name="T3" fmla="*/ 156 h 441"/>
                <a:gd name="T4" fmla="*/ 410 w 441"/>
                <a:gd name="T5" fmla="*/ 120 h 441"/>
                <a:gd name="T6" fmla="*/ 385 w 441"/>
                <a:gd name="T7" fmla="*/ 84 h 441"/>
                <a:gd name="T8" fmla="*/ 357 w 441"/>
                <a:gd name="T9" fmla="*/ 56 h 441"/>
                <a:gd name="T10" fmla="*/ 320 w 441"/>
                <a:gd name="T11" fmla="*/ 30 h 441"/>
                <a:gd name="T12" fmla="*/ 283 w 441"/>
                <a:gd name="T13" fmla="*/ 16 h 441"/>
                <a:gd name="T14" fmla="*/ 240 w 441"/>
                <a:gd name="T15" fmla="*/ 7 h 441"/>
                <a:gd name="T16" fmla="*/ 201 w 441"/>
                <a:gd name="T17" fmla="*/ 7 h 441"/>
                <a:gd name="T18" fmla="*/ 156 w 441"/>
                <a:gd name="T19" fmla="*/ 16 h 441"/>
                <a:gd name="T20" fmla="*/ 120 w 441"/>
                <a:gd name="T21" fmla="*/ 31 h 441"/>
                <a:gd name="T22" fmla="*/ 84 w 441"/>
                <a:gd name="T23" fmla="*/ 56 h 441"/>
                <a:gd name="T24" fmla="*/ 56 w 441"/>
                <a:gd name="T25" fmla="*/ 84 h 441"/>
                <a:gd name="T26" fmla="*/ 31 w 441"/>
                <a:gd name="T27" fmla="*/ 122 h 441"/>
                <a:gd name="T28" fmla="*/ 16 w 441"/>
                <a:gd name="T29" fmla="*/ 158 h 441"/>
                <a:gd name="T30" fmla="*/ 7 w 441"/>
                <a:gd name="T31" fmla="*/ 201 h 441"/>
                <a:gd name="T32" fmla="*/ 7 w 441"/>
                <a:gd name="T33" fmla="*/ 240 h 441"/>
                <a:gd name="T34" fmla="*/ 16 w 441"/>
                <a:gd name="T35" fmla="*/ 285 h 441"/>
                <a:gd name="T36" fmla="*/ 32 w 441"/>
                <a:gd name="T37" fmla="*/ 321 h 441"/>
                <a:gd name="T38" fmla="*/ 56 w 441"/>
                <a:gd name="T39" fmla="*/ 357 h 441"/>
                <a:gd name="T40" fmla="*/ 84 w 441"/>
                <a:gd name="T41" fmla="*/ 385 h 441"/>
                <a:gd name="T42" fmla="*/ 122 w 441"/>
                <a:gd name="T43" fmla="*/ 411 h 441"/>
                <a:gd name="T44" fmla="*/ 158 w 441"/>
                <a:gd name="T45" fmla="*/ 425 h 441"/>
                <a:gd name="T46" fmla="*/ 201 w 441"/>
                <a:gd name="T47" fmla="*/ 434 h 441"/>
                <a:gd name="T48" fmla="*/ 240 w 441"/>
                <a:gd name="T49" fmla="*/ 434 h 441"/>
                <a:gd name="T50" fmla="*/ 285 w 441"/>
                <a:gd name="T51" fmla="*/ 425 h 441"/>
                <a:gd name="T52" fmla="*/ 321 w 441"/>
                <a:gd name="T53" fmla="*/ 410 h 441"/>
                <a:gd name="T54" fmla="*/ 357 w 441"/>
                <a:gd name="T55" fmla="*/ 385 h 441"/>
                <a:gd name="T56" fmla="*/ 385 w 441"/>
                <a:gd name="T57" fmla="*/ 357 h 441"/>
                <a:gd name="T58" fmla="*/ 411 w 441"/>
                <a:gd name="T59" fmla="*/ 319 h 441"/>
                <a:gd name="T60" fmla="*/ 426 w 441"/>
                <a:gd name="T61" fmla="*/ 283 h 441"/>
                <a:gd name="T62" fmla="*/ 434 w 441"/>
                <a:gd name="T63" fmla="*/ 240 h 441"/>
                <a:gd name="T64" fmla="*/ 356 w 441"/>
                <a:gd name="T65" fmla="*/ 256 h 441"/>
                <a:gd name="T66" fmla="*/ 284 w 441"/>
                <a:gd name="T67" fmla="*/ 213 h 441"/>
                <a:gd name="T68" fmla="*/ 361 w 441"/>
                <a:gd name="T69" fmla="*/ 220 h 441"/>
                <a:gd name="T70" fmla="*/ 275 w 441"/>
                <a:gd name="T71" fmla="*/ 335 h 441"/>
                <a:gd name="T72" fmla="*/ 335 w 441"/>
                <a:gd name="T73" fmla="*/ 276 h 441"/>
                <a:gd name="T74" fmla="*/ 178 w 441"/>
                <a:gd name="T75" fmla="*/ 341 h 441"/>
                <a:gd name="T76" fmla="*/ 263 w 441"/>
                <a:gd name="T77" fmla="*/ 341 h 441"/>
                <a:gd name="T78" fmla="*/ 185 w 441"/>
                <a:gd name="T79" fmla="*/ 358 h 441"/>
                <a:gd name="T80" fmla="*/ 186 w 441"/>
                <a:gd name="T81" fmla="*/ 220 h 441"/>
                <a:gd name="T82" fmla="*/ 221 w 441"/>
                <a:gd name="T83" fmla="*/ 255 h 441"/>
                <a:gd name="T84" fmla="*/ 106 w 441"/>
                <a:gd name="T85" fmla="*/ 277 h 441"/>
                <a:gd name="T86" fmla="*/ 165 w 441"/>
                <a:gd name="T87" fmla="*/ 337 h 441"/>
                <a:gd name="T88" fmla="*/ 100 w 441"/>
                <a:gd name="T89" fmla="*/ 180 h 441"/>
                <a:gd name="T90" fmla="*/ 100 w 441"/>
                <a:gd name="T91" fmla="*/ 264 h 441"/>
                <a:gd name="T92" fmla="*/ 83 w 441"/>
                <a:gd name="T93" fmla="*/ 187 h 441"/>
                <a:gd name="T94" fmla="*/ 148 w 441"/>
                <a:gd name="T95" fmla="*/ 100 h 441"/>
                <a:gd name="T96" fmla="*/ 168 w 441"/>
                <a:gd name="T97" fmla="*/ 182 h 441"/>
                <a:gd name="T98" fmla="*/ 119 w 441"/>
                <a:gd name="T99" fmla="*/ 122 h 441"/>
                <a:gd name="T100" fmla="*/ 211 w 441"/>
                <a:gd name="T101" fmla="*/ 157 h 441"/>
                <a:gd name="T102" fmla="*/ 219 w 441"/>
                <a:gd name="T103" fmla="*/ 80 h 441"/>
                <a:gd name="T104" fmla="*/ 319 w 441"/>
                <a:gd name="T105" fmla="*/ 121 h 441"/>
                <a:gd name="T106" fmla="*/ 270 w 441"/>
                <a:gd name="T107" fmla="*/ 181 h 441"/>
                <a:gd name="T108" fmla="*/ 290 w 441"/>
                <a:gd name="T109" fmla="*/ 99 h 4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41" h="441">
                  <a:moveTo>
                    <a:pt x="441" y="232"/>
                  </a:moveTo>
                  <a:cubicBezTo>
                    <a:pt x="441" y="209"/>
                    <a:pt x="441" y="209"/>
                    <a:pt x="441" y="209"/>
                  </a:cubicBezTo>
                  <a:cubicBezTo>
                    <a:pt x="441" y="205"/>
                    <a:pt x="438" y="201"/>
                    <a:pt x="434" y="201"/>
                  </a:cubicBezTo>
                  <a:cubicBezTo>
                    <a:pt x="401" y="196"/>
                    <a:pt x="401" y="196"/>
                    <a:pt x="401" y="196"/>
                  </a:cubicBezTo>
                  <a:cubicBezTo>
                    <a:pt x="400" y="188"/>
                    <a:pt x="398" y="181"/>
                    <a:pt x="396" y="173"/>
                  </a:cubicBezTo>
                  <a:cubicBezTo>
                    <a:pt x="425" y="156"/>
                    <a:pt x="425" y="156"/>
                    <a:pt x="425" y="156"/>
                  </a:cubicBezTo>
                  <a:cubicBezTo>
                    <a:pt x="428" y="154"/>
                    <a:pt x="430" y="149"/>
                    <a:pt x="428" y="145"/>
                  </a:cubicBezTo>
                  <a:cubicBezTo>
                    <a:pt x="420" y="125"/>
                    <a:pt x="420" y="125"/>
                    <a:pt x="420" y="125"/>
                  </a:cubicBezTo>
                  <a:cubicBezTo>
                    <a:pt x="418" y="121"/>
                    <a:pt x="414" y="119"/>
                    <a:pt x="410" y="120"/>
                  </a:cubicBezTo>
                  <a:cubicBezTo>
                    <a:pt x="377" y="128"/>
                    <a:pt x="377" y="128"/>
                    <a:pt x="377" y="128"/>
                  </a:cubicBezTo>
                  <a:cubicBezTo>
                    <a:pt x="374" y="122"/>
                    <a:pt x="370" y="116"/>
                    <a:pt x="365" y="110"/>
                  </a:cubicBezTo>
                  <a:cubicBezTo>
                    <a:pt x="385" y="84"/>
                    <a:pt x="385" y="84"/>
                    <a:pt x="385" y="84"/>
                  </a:cubicBezTo>
                  <a:cubicBezTo>
                    <a:pt x="388" y="80"/>
                    <a:pt x="387" y="75"/>
                    <a:pt x="385" y="72"/>
                  </a:cubicBezTo>
                  <a:cubicBezTo>
                    <a:pt x="369" y="56"/>
                    <a:pt x="369" y="56"/>
                    <a:pt x="369" y="56"/>
                  </a:cubicBezTo>
                  <a:cubicBezTo>
                    <a:pt x="366" y="54"/>
                    <a:pt x="361" y="53"/>
                    <a:pt x="357" y="56"/>
                  </a:cubicBezTo>
                  <a:cubicBezTo>
                    <a:pt x="331" y="76"/>
                    <a:pt x="331" y="76"/>
                    <a:pt x="331" y="76"/>
                  </a:cubicBezTo>
                  <a:cubicBezTo>
                    <a:pt x="325" y="71"/>
                    <a:pt x="318" y="67"/>
                    <a:pt x="311" y="63"/>
                  </a:cubicBezTo>
                  <a:cubicBezTo>
                    <a:pt x="320" y="30"/>
                    <a:pt x="320" y="30"/>
                    <a:pt x="320" y="30"/>
                  </a:cubicBezTo>
                  <a:cubicBezTo>
                    <a:pt x="321" y="26"/>
                    <a:pt x="318" y="22"/>
                    <a:pt x="314" y="20"/>
                  </a:cubicBezTo>
                  <a:cubicBezTo>
                    <a:pt x="294" y="12"/>
                    <a:pt x="294" y="12"/>
                    <a:pt x="294" y="12"/>
                  </a:cubicBezTo>
                  <a:cubicBezTo>
                    <a:pt x="290" y="10"/>
                    <a:pt x="285" y="12"/>
                    <a:pt x="283" y="16"/>
                  </a:cubicBezTo>
                  <a:cubicBezTo>
                    <a:pt x="266" y="44"/>
                    <a:pt x="266" y="44"/>
                    <a:pt x="266" y="44"/>
                  </a:cubicBezTo>
                  <a:cubicBezTo>
                    <a:pt x="259" y="43"/>
                    <a:pt x="252" y="41"/>
                    <a:pt x="245" y="40"/>
                  </a:cubicBezTo>
                  <a:cubicBezTo>
                    <a:pt x="240" y="7"/>
                    <a:pt x="240" y="7"/>
                    <a:pt x="240" y="7"/>
                  </a:cubicBezTo>
                  <a:cubicBezTo>
                    <a:pt x="240" y="3"/>
                    <a:pt x="236" y="0"/>
                    <a:pt x="232" y="0"/>
                  </a:cubicBezTo>
                  <a:cubicBezTo>
                    <a:pt x="209" y="0"/>
                    <a:pt x="209" y="0"/>
                    <a:pt x="209" y="0"/>
                  </a:cubicBezTo>
                  <a:cubicBezTo>
                    <a:pt x="205" y="0"/>
                    <a:pt x="201" y="3"/>
                    <a:pt x="201" y="7"/>
                  </a:cubicBezTo>
                  <a:cubicBezTo>
                    <a:pt x="196" y="40"/>
                    <a:pt x="196" y="40"/>
                    <a:pt x="196" y="40"/>
                  </a:cubicBezTo>
                  <a:cubicBezTo>
                    <a:pt x="188" y="41"/>
                    <a:pt x="181" y="43"/>
                    <a:pt x="173" y="45"/>
                  </a:cubicBezTo>
                  <a:cubicBezTo>
                    <a:pt x="156" y="16"/>
                    <a:pt x="156" y="16"/>
                    <a:pt x="156" y="16"/>
                  </a:cubicBezTo>
                  <a:cubicBezTo>
                    <a:pt x="154" y="13"/>
                    <a:pt x="149" y="11"/>
                    <a:pt x="145" y="13"/>
                  </a:cubicBezTo>
                  <a:cubicBezTo>
                    <a:pt x="125" y="21"/>
                    <a:pt x="125" y="21"/>
                    <a:pt x="125" y="21"/>
                  </a:cubicBezTo>
                  <a:cubicBezTo>
                    <a:pt x="121" y="23"/>
                    <a:pt x="119" y="27"/>
                    <a:pt x="120" y="31"/>
                  </a:cubicBezTo>
                  <a:cubicBezTo>
                    <a:pt x="128" y="64"/>
                    <a:pt x="128" y="64"/>
                    <a:pt x="128" y="64"/>
                  </a:cubicBezTo>
                  <a:cubicBezTo>
                    <a:pt x="122" y="67"/>
                    <a:pt x="116" y="71"/>
                    <a:pt x="111" y="76"/>
                  </a:cubicBezTo>
                  <a:cubicBezTo>
                    <a:pt x="84" y="56"/>
                    <a:pt x="84" y="56"/>
                    <a:pt x="84" y="56"/>
                  </a:cubicBezTo>
                  <a:cubicBezTo>
                    <a:pt x="80" y="53"/>
                    <a:pt x="75" y="54"/>
                    <a:pt x="72" y="56"/>
                  </a:cubicBezTo>
                  <a:cubicBezTo>
                    <a:pt x="57" y="72"/>
                    <a:pt x="57" y="72"/>
                    <a:pt x="57" y="72"/>
                  </a:cubicBezTo>
                  <a:cubicBezTo>
                    <a:pt x="54" y="75"/>
                    <a:pt x="53" y="80"/>
                    <a:pt x="56" y="84"/>
                  </a:cubicBezTo>
                  <a:cubicBezTo>
                    <a:pt x="76" y="110"/>
                    <a:pt x="76" y="110"/>
                    <a:pt x="76" y="110"/>
                  </a:cubicBezTo>
                  <a:cubicBezTo>
                    <a:pt x="71" y="117"/>
                    <a:pt x="67" y="123"/>
                    <a:pt x="63" y="130"/>
                  </a:cubicBezTo>
                  <a:cubicBezTo>
                    <a:pt x="31" y="122"/>
                    <a:pt x="31" y="122"/>
                    <a:pt x="31" y="122"/>
                  </a:cubicBezTo>
                  <a:cubicBezTo>
                    <a:pt x="27" y="121"/>
                    <a:pt x="22" y="123"/>
                    <a:pt x="20" y="127"/>
                  </a:cubicBezTo>
                  <a:cubicBezTo>
                    <a:pt x="12" y="147"/>
                    <a:pt x="12" y="147"/>
                    <a:pt x="12" y="147"/>
                  </a:cubicBezTo>
                  <a:cubicBezTo>
                    <a:pt x="10" y="151"/>
                    <a:pt x="12" y="156"/>
                    <a:pt x="16" y="158"/>
                  </a:cubicBezTo>
                  <a:cubicBezTo>
                    <a:pt x="45" y="175"/>
                    <a:pt x="45" y="175"/>
                    <a:pt x="45" y="175"/>
                  </a:cubicBezTo>
                  <a:cubicBezTo>
                    <a:pt x="43" y="182"/>
                    <a:pt x="41" y="189"/>
                    <a:pt x="40" y="196"/>
                  </a:cubicBezTo>
                  <a:cubicBezTo>
                    <a:pt x="7" y="201"/>
                    <a:pt x="7" y="201"/>
                    <a:pt x="7" y="201"/>
                  </a:cubicBezTo>
                  <a:cubicBezTo>
                    <a:pt x="3" y="201"/>
                    <a:pt x="0" y="205"/>
                    <a:pt x="0" y="209"/>
                  </a:cubicBezTo>
                  <a:cubicBezTo>
                    <a:pt x="0" y="232"/>
                    <a:pt x="0" y="232"/>
                    <a:pt x="0" y="232"/>
                  </a:cubicBezTo>
                  <a:cubicBezTo>
                    <a:pt x="0" y="236"/>
                    <a:pt x="3" y="240"/>
                    <a:pt x="7" y="240"/>
                  </a:cubicBezTo>
                  <a:cubicBezTo>
                    <a:pt x="40" y="245"/>
                    <a:pt x="40" y="245"/>
                    <a:pt x="40" y="245"/>
                  </a:cubicBezTo>
                  <a:cubicBezTo>
                    <a:pt x="42" y="253"/>
                    <a:pt x="43" y="260"/>
                    <a:pt x="45" y="268"/>
                  </a:cubicBezTo>
                  <a:cubicBezTo>
                    <a:pt x="16" y="285"/>
                    <a:pt x="16" y="285"/>
                    <a:pt x="16" y="285"/>
                  </a:cubicBezTo>
                  <a:cubicBezTo>
                    <a:pt x="13" y="287"/>
                    <a:pt x="11" y="292"/>
                    <a:pt x="13" y="296"/>
                  </a:cubicBezTo>
                  <a:cubicBezTo>
                    <a:pt x="21" y="316"/>
                    <a:pt x="21" y="316"/>
                    <a:pt x="21" y="316"/>
                  </a:cubicBezTo>
                  <a:cubicBezTo>
                    <a:pt x="23" y="320"/>
                    <a:pt x="28" y="322"/>
                    <a:pt x="32" y="321"/>
                  </a:cubicBezTo>
                  <a:cubicBezTo>
                    <a:pt x="64" y="313"/>
                    <a:pt x="64" y="313"/>
                    <a:pt x="64" y="313"/>
                  </a:cubicBezTo>
                  <a:cubicBezTo>
                    <a:pt x="68" y="319"/>
                    <a:pt x="72" y="325"/>
                    <a:pt x="76" y="331"/>
                  </a:cubicBezTo>
                  <a:cubicBezTo>
                    <a:pt x="56" y="357"/>
                    <a:pt x="56" y="357"/>
                    <a:pt x="56" y="357"/>
                  </a:cubicBezTo>
                  <a:cubicBezTo>
                    <a:pt x="53" y="361"/>
                    <a:pt x="54" y="366"/>
                    <a:pt x="57" y="369"/>
                  </a:cubicBezTo>
                  <a:cubicBezTo>
                    <a:pt x="72" y="384"/>
                    <a:pt x="72" y="384"/>
                    <a:pt x="72" y="384"/>
                  </a:cubicBezTo>
                  <a:cubicBezTo>
                    <a:pt x="75" y="387"/>
                    <a:pt x="80" y="388"/>
                    <a:pt x="84" y="385"/>
                  </a:cubicBezTo>
                  <a:cubicBezTo>
                    <a:pt x="111" y="365"/>
                    <a:pt x="111" y="365"/>
                    <a:pt x="111" y="365"/>
                  </a:cubicBezTo>
                  <a:cubicBezTo>
                    <a:pt x="117" y="370"/>
                    <a:pt x="123" y="374"/>
                    <a:pt x="130" y="378"/>
                  </a:cubicBezTo>
                  <a:cubicBezTo>
                    <a:pt x="122" y="411"/>
                    <a:pt x="122" y="411"/>
                    <a:pt x="122" y="411"/>
                  </a:cubicBezTo>
                  <a:cubicBezTo>
                    <a:pt x="121" y="415"/>
                    <a:pt x="123" y="419"/>
                    <a:pt x="127" y="421"/>
                  </a:cubicBezTo>
                  <a:cubicBezTo>
                    <a:pt x="147" y="429"/>
                    <a:pt x="147" y="429"/>
                    <a:pt x="147" y="429"/>
                  </a:cubicBezTo>
                  <a:cubicBezTo>
                    <a:pt x="151" y="431"/>
                    <a:pt x="156" y="429"/>
                    <a:pt x="158" y="425"/>
                  </a:cubicBezTo>
                  <a:cubicBezTo>
                    <a:pt x="175" y="397"/>
                    <a:pt x="175" y="397"/>
                    <a:pt x="175" y="397"/>
                  </a:cubicBezTo>
                  <a:cubicBezTo>
                    <a:pt x="182" y="398"/>
                    <a:pt x="189" y="400"/>
                    <a:pt x="196" y="401"/>
                  </a:cubicBezTo>
                  <a:cubicBezTo>
                    <a:pt x="201" y="434"/>
                    <a:pt x="201" y="434"/>
                    <a:pt x="201" y="434"/>
                  </a:cubicBezTo>
                  <a:cubicBezTo>
                    <a:pt x="201" y="438"/>
                    <a:pt x="205" y="441"/>
                    <a:pt x="209" y="441"/>
                  </a:cubicBezTo>
                  <a:cubicBezTo>
                    <a:pt x="232" y="441"/>
                    <a:pt x="232" y="441"/>
                    <a:pt x="232" y="441"/>
                  </a:cubicBezTo>
                  <a:cubicBezTo>
                    <a:pt x="236" y="441"/>
                    <a:pt x="240" y="438"/>
                    <a:pt x="240" y="434"/>
                  </a:cubicBezTo>
                  <a:cubicBezTo>
                    <a:pt x="245" y="401"/>
                    <a:pt x="245" y="401"/>
                    <a:pt x="245" y="401"/>
                  </a:cubicBezTo>
                  <a:cubicBezTo>
                    <a:pt x="253" y="400"/>
                    <a:pt x="260" y="398"/>
                    <a:pt x="268" y="396"/>
                  </a:cubicBezTo>
                  <a:cubicBezTo>
                    <a:pt x="285" y="425"/>
                    <a:pt x="285" y="425"/>
                    <a:pt x="285" y="425"/>
                  </a:cubicBezTo>
                  <a:cubicBezTo>
                    <a:pt x="287" y="428"/>
                    <a:pt x="292" y="430"/>
                    <a:pt x="296" y="428"/>
                  </a:cubicBezTo>
                  <a:cubicBezTo>
                    <a:pt x="316" y="420"/>
                    <a:pt x="316" y="420"/>
                    <a:pt x="316" y="420"/>
                  </a:cubicBezTo>
                  <a:cubicBezTo>
                    <a:pt x="320" y="418"/>
                    <a:pt x="322" y="414"/>
                    <a:pt x="321" y="410"/>
                  </a:cubicBezTo>
                  <a:cubicBezTo>
                    <a:pt x="313" y="377"/>
                    <a:pt x="313" y="377"/>
                    <a:pt x="313" y="377"/>
                  </a:cubicBezTo>
                  <a:cubicBezTo>
                    <a:pt x="319" y="373"/>
                    <a:pt x="325" y="369"/>
                    <a:pt x="331" y="365"/>
                  </a:cubicBezTo>
                  <a:cubicBezTo>
                    <a:pt x="357" y="385"/>
                    <a:pt x="357" y="385"/>
                    <a:pt x="357" y="385"/>
                  </a:cubicBezTo>
                  <a:cubicBezTo>
                    <a:pt x="361" y="388"/>
                    <a:pt x="366" y="387"/>
                    <a:pt x="369" y="384"/>
                  </a:cubicBezTo>
                  <a:cubicBezTo>
                    <a:pt x="385" y="369"/>
                    <a:pt x="385" y="369"/>
                    <a:pt x="385" y="369"/>
                  </a:cubicBezTo>
                  <a:cubicBezTo>
                    <a:pt x="387" y="366"/>
                    <a:pt x="388" y="361"/>
                    <a:pt x="385" y="357"/>
                  </a:cubicBezTo>
                  <a:cubicBezTo>
                    <a:pt x="365" y="331"/>
                    <a:pt x="365" y="331"/>
                    <a:pt x="365" y="331"/>
                  </a:cubicBezTo>
                  <a:cubicBezTo>
                    <a:pt x="370" y="324"/>
                    <a:pt x="374" y="318"/>
                    <a:pt x="378" y="311"/>
                  </a:cubicBezTo>
                  <a:cubicBezTo>
                    <a:pt x="411" y="319"/>
                    <a:pt x="411" y="319"/>
                    <a:pt x="411" y="319"/>
                  </a:cubicBezTo>
                  <a:cubicBezTo>
                    <a:pt x="415" y="320"/>
                    <a:pt x="419" y="318"/>
                    <a:pt x="421" y="314"/>
                  </a:cubicBezTo>
                  <a:cubicBezTo>
                    <a:pt x="429" y="294"/>
                    <a:pt x="429" y="294"/>
                    <a:pt x="429" y="294"/>
                  </a:cubicBezTo>
                  <a:cubicBezTo>
                    <a:pt x="431" y="290"/>
                    <a:pt x="429" y="285"/>
                    <a:pt x="426" y="283"/>
                  </a:cubicBezTo>
                  <a:cubicBezTo>
                    <a:pt x="397" y="266"/>
                    <a:pt x="397" y="266"/>
                    <a:pt x="397" y="266"/>
                  </a:cubicBezTo>
                  <a:cubicBezTo>
                    <a:pt x="398" y="259"/>
                    <a:pt x="400" y="252"/>
                    <a:pt x="401" y="245"/>
                  </a:cubicBezTo>
                  <a:cubicBezTo>
                    <a:pt x="434" y="240"/>
                    <a:pt x="434" y="240"/>
                    <a:pt x="434" y="240"/>
                  </a:cubicBezTo>
                  <a:cubicBezTo>
                    <a:pt x="438" y="240"/>
                    <a:pt x="441" y="236"/>
                    <a:pt x="441" y="232"/>
                  </a:cubicBezTo>
                  <a:close/>
                  <a:moveTo>
                    <a:pt x="361" y="220"/>
                  </a:moveTo>
                  <a:cubicBezTo>
                    <a:pt x="361" y="238"/>
                    <a:pt x="356" y="256"/>
                    <a:pt x="356" y="256"/>
                  </a:cubicBezTo>
                  <a:cubicBezTo>
                    <a:pt x="354" y="264"/>
                    <a:pt x="346" y="267"/>
                    <a:pt x="339" y="263"/>
                  </a:cubicBezTo>
                  <a:cubicBezTo>
                    <a:pt x="284" y="228"/>
                    <a:pt x="284" y="228"/>
                    <a:pt x="284" y="228"/>
                  </a:cubicBezTo>
                  <a:cubicBezTo>
                    <a:pt x="277" y="224"/>
                    <a:pt x="277" y="217"/>
                    <a:pt x="284" y="213"/>
                  </a:cubicBezTo>
                  <a:cubicBezTo>
                    <a:pt x="339" y="178"/>
                    <a:pt x="339" y="178"/>
                    <a:pt x="339" y="178"/>
                  </a:cubicBezTo>
                  <a:cubicBezTo>
                    <a:pt x="346" y="174"/>
                    <a:pt x="354" y="177"/>
                    <a:pt x="356" y="185"/>
                  </a:cubicBezTo>
                  <a:cubicBezTo>
                    <a:pt x="356" y="185"/>
                    <a:pt x="361" y="203"/>
                    <a:pt x="361" y="220"/>
                  </a:cubicBezTo>
                  <a:close/>
                  <a:moveTo>
                    <a:pt x="321" y="321"/>
                  </a:moveTo>
                  <a:cubicBezTo>
                    <a:pt x="308" y="333"/>
                    <a:pt x="292" y="343"/>
                    <a:pt x="292" y="343"/>
                  </a:cubicBezTo>
                  <a:cubicBezTo>
                    <a:pt x="285" y="347"/>
                    <a:pt x="277" y="343"/>
                    <a:pt x="275" y="335"/>
                  </a:cubicBezTo>
                  <a:cubicBezTo>
                    <a:pt x="260" y="272"/>
                    <a:pt x="260" y="272"/>
                    <a:pt x="260" y="272"/>
                  </a:cubicBezTo>
                  <a:cubicBezTo>
                    <a:pt x="258" y="264"/>
                    <a:pt x="263" y="259"/>
                    <a:pt x="271" y="260"/>
                  </a:cubicBezTo>
                  <a:cubicBezTo>
                    <a:pt x="335" y="276"/>
                    <a:pt x="335" y="276"/>
                    <a:pt x="335" y="276"/>
                  </a:cubicBezTo>
                  <a:cubicBezTo>
                    <a:pt x="343" y="278"/>
                    <a:pt x="346" y="285"/>
                    <a:pt x="342" y="292"/>
                  </a:cubicBezTo>
                  <a:cubicBezTo>
                    <a:pt x="342" y="292"/>
                    <a:pt x="333" y="309"/>
                    <a:pt x="321" y="321"/>
                  </a:cubicBezTo>
                  <a:close/>
                  <a:moveTo>
                    <a:pt x="178" y="341"/>
                  </a:moveTo>
                  <a:cubicBezTo>
                    <a:pt x="213" y="285"/>
                    <a:pt x="213" y="285"/>
                    <a:pt x="213" y="285"/>
                  </a:cubicBezTo>
                  <a:cubicBezTo>
                    <a:pt x="217" y="278"/>
                    <a:pt x="224" y="278"/>
                    <a:pt x="228" y="285"/>
                  </a:cubicBezTo>
                  <a:cubicBezTo>
                    <a:pt x="263" y="341"/>
                    <a:pt x="263" y="341"/>
                    <a:pt x="263" y="341"/>
                  </a:cubicBezTo>
                  <a:cubicBezTo>
                    <a:pt x="267" y="348"/>
                    <a:pt x="264" y="356"/>
                    <a:pt x="256" y="358"/>
                  </a:cubicBezTo>
                  <a:cubicBezTo>
                    <a:pt x="256" y="358"/>
                    <a:pt x="238" y="363"/>
                    <a:pt x="221" y="363"/>
                  </a:cubicBezTo>
                  <a:cubicBezTo>
                    <a:pt x="203" y="363"/>
                    <a:pt x="185" y="358"/>
                    <a:pt x="185" y="358"/>
                  </a:cubicBezTo>
                  <a:cubicBezTo>
                    <a:pt x="177" y="356"/>
                    <a:pt x="174" y="348"/>
                    <a:pt x="178" y="341"/>
                  </a:cubicBezTo>
                  <a:close/>
                  <a:moveTo>
                    <a:pt x="221" y="255"/>
                  </a:moveTo>
                  <a:cubicBezTo>
                    <a:pt x="202" y="255"/>
                    <a:pt x="186" y="240"/>
                    <a:pt x="186" y="220"/>
                  </a:cubicBezTo>
                  <a:cubicBezTo>
                    <a:pt x="186" y="201"/>
                    <a:pt x="202" y="186"/>
                    <a:pt x="221" y="186"/>
                  </a:cubicBezTo>
                  <a:cubicBezTo>
                    <a:pt x="240" y="186"/>
                    <a:pt x="255" y="201"/>
                    <a:pt x="255" y="220"/>
                  </a:cubicBezTo>
                  <a:cubicBezTo>
                    <a:pt x="255" y="240"/>
                    <a:pt x="240" y="255"/>
                    <a:pt x="221" y="255"/>
                  </a:cubicBezTo>
                  <a:close/>
                  <a:moveTo>
                    <a:pt x="120" y="322"/>
                  </a:moveTo>
                  <a:cubicBezTo>
                    <a:pt x="108" y="310"/>
                    <a:pt x="99" y="294"/>
                    <a:pt x="99" y="294"/>
                  </a:cubicBezTo>
                  <a:cubicBezTo>
                    <a:pt x="95" y="286"/>
                    <a:pt x="98" y="279"/>
                    <a:pt x="106" y="277"/>
                  </a:cubicBezTo>
                  <a:cubicBezTo>
                    <a:pt x="170" y="262"/>
                    <a:pt x="170" y="262"/>
                    <a:pt x="170" y="262"/>
                  </a:cubicBezTo>
                  <a:cubicBezTo>
                    <a:pt x="178" y="260"/>
                    <a:pt x="182" y="265"/>
                    <a:pt x="181" y="273"/>
                  </a:cubicBezTo>
                  <a:cubicBezTo>
                    <a:pt x="165" y="337"/>
                    <a:pt x="165" y="337"/>
                    <a:pt x="165" y="337"/>
                  </a:cubicBezTo>
                  <a:cubicBezTo>
                    <a:pt x="163" y="345"/>
                    <a:pt x="156" y="348"/>
                    <a:pt x="149" y="344"/>
                  </a:cubicBezTo>
                  <a:cubicBezTo>
                    <a:pt x="149" y="344"/>
                    <a:pt x="133" y="335"/>
                    <a:pt x="120" y="322"/>
                  </a:cubicBezTo>
                  <a:close/>
                  <a:moveTo>
                    <a:pt x="100" y="180"/>
                  </a:moveTo>
                  <a:cubicBezTo>
                    <a:pt x="156" y="215"/>
                    <a:pt x="156" y="215"/>
                    <a:pt x="156" y="215"/>
                  </a:cubicBezTo>
                  <a:cubicBezTo>
                    <a:pt x="163" y="219"/>
                    <a:pt x="163" y="226"/>
                    <a:pt x="156" y="230"/>
                  </a:cubicBezTo>
                  <a:cubicBezTo>
                    <a:pt x="100" y="264"/>
                    <a:pt x="100" y="264"/>
                    <a:pt x="100" y="264"/>
                  </a:cubicBezTo>
                  <a:cubicBezTo>
                    <a:pt x="93" y="269"/>
                    <a:pt x="85" y="266"/>
                    <a:pt x="83" y="258"/>
                  </a:cubicBezTo>
                  <a:cubicBezTo>
                    <a:pt x="83" y="258"/>
                    <a:pt x="78" y="240"/>
                    <a:pt x="78" y="222"/>
                  </a:cubicBezTo>
                  <a:cubicBezTo>
                    <a:pt x="78" y="205"/>
                    <a:pt x="83" y="187"/>
                    <a:pt x="83" y="187"/>
                  </a:cubicBezTo>
                  <a:cubicBezTo>
                    <a:pt x="85" y="179"/>
                    <a:pt x="93" y="176"/>
                    <a:pt x="100" y="180"/>
                  </a:cubicBezTo>
                  <a:close/>
                  <a:moveTo>
                    <a:pt x="119" y="122"/>
                  </a:moveTo>
                  <a:cubicBezTo>
                    <a:pt x="131" y="109"/>
                    <a:pt x="148" y="100"/>
                    <a:pt x="148" y="100"/>
                  </a:cubicBezTo>
                  <a:cubicBezTo>
                    <a:pt x="155" y="96"/>
                    <a:pt x="162" y="100"/>
                    <a:pt x="164" y="108"/>
                  </a:cubicBezTo>
                  <a:cubicBezTo>
                    <a:pt x="179" y="171"/>
                    <a:pt x="179" y="171"/>
                    <a:pt x="179" y="171"/>
                  </a:cubicBezTo>
                  <a:cubicBezTo>
                    <a:pt x="181" y="179"/>
                    <a:pt x="176" y="184"/>
                    <a:pt x="168" y="182"/>
                  </a:cubicBezTo>
                  <a:cubicBezTo>
                    <a:pt x="104" y="167"/>
                    <a:pt x="104" y="167"/>
                    <a:pt x="104" y="167"/>
                  </a:cubicBezTo>
                  <a:cubicBezTo>
                    <a:pt x="96" y="165"/>
                    <a:pt x="93" y="158"/>
                    <a:pt x="97" y="151"/>
                  </a:cubicBezTo>
                  <a:cubicBezTo>
                    <a:pt x="97" y="151"/>
                    <a:pt x="106" y="134"/>
                    <a:pt x="119" y="122"/>
                  </a:cubicBezTo>
                  <a:close/>
                  <a:moveTo>
                    <a:pt x="261" y="102"/>
                  </a:moveTo>
                  <a:cubicBezTo>
                    <a:pt x="227" y="157"/>
                    <a:pt x="227" y="157"/>
                    <a:pt x="227" y="157"/>
                  </a:cubicBezTo>
                  <a:cubicBezTo>
                    <a:pt x="222" y="164"/>
                    <a:pt x="215" y="164"/>
                    <a:pt x="211" y="157"/>
                  </a:cubicBezTo>
                  <a:cubicBezTo>
                    <a:pt x="177" y="102"/>
                    <a:pt x="177" y="102"/>
                    <a:pt x="177" y="102"/>
                  </a:cubicBezTo>
                  <a:cubicBezTo>
                    <a:pt x="172" y="95"/>
                    <a:pt x="175" y="87"/>
                    <a:pt x="183" y="85"/>
                  </a:cubicBezTo>
                  <a:cubicBezTo>
                    <a:pt x="183" y="85"/>
                    <a:pt x="201" y="80"/>
                    <a:pt x="219" y="80"/>
                  </a:cubicBezTo>
                  <a:cubicBezTo>
                    <a:pt x="236" y="80"/>
                    <a:pt x="254" y="85"/>
                    <a:pt x="254" y="85"/>
                  </a:cubicBezTo>
                  <a:cubicBezTo>
                    <a:pt x="262" y="87"/>
                    <a:pt x="265" y="95"/>
                    <a:pt x="261" y="102"/>
                  </a:cubicBezTo>
                  <a:close/>
                  <a:moveTo>
                    <a:pt x="319" y="121"/>
                  </a:moveTo>
                  <a:cubicBezTo>
                    <a:pt x="332" y="133"/>
                    <a:pt x="341" y="149"/>
                    <a:pt x="341" y="149"/>
                  </a:cubicBezTo>
                  <a:cubicBezTo>
                    <a:pt x="345" y="156"/>
                    <a:pt x="342" y="164"/>
                    <a:pt x="334" y="166"/>
                  </a:cubicBezTo>
                  <a:cubicBezTo>
                    <a:pt x="270" y="181"/>
                    <a:pt x="270" y="181"/>
                    <a:pt x="270" y="181"/>
                  </a:cubicBezTo>
                  <a:cubicBezTo>
                    <a:pt x="262" y="183"/>
                    <a:pt x="257" y="178"/>
                    <a:pt x="259" y="170"/>
                  </a:cubicBezTo>
                  <a:cubicBezTo>
                    <a:pt x="274" y="106"/>
                    <a:pt x="274" y="106"/>
                    <a:pt x="274" y="106"/>
                  </a:cubicBezTo>
                  <a:cubicBezTo>
                    <a:pt x="276" y="98"/>
                    <a:pt x="283" y="95"/>
                    <a:pt x="290" y="99"/>
                  </a:cubicBezTo>
                  <a:cubicBezTo>
                    <a:pt x="290" y="99"/>
                    <a:pt x="307" y="108"/>
                    <a:pt x="319" y="121"/>
                  </a:cubicBez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sp>
          <p:nvSpPr>
            <p:cNvPr id="32" name="Freeform 98"/>
            <p:cNvSpPr>
              <a:spLocks noEditPoints="1"/>
            </p:cNvSpPr>
            <p:nvPr/>
          </p:nvSpPr>
          <p:spPr bwMode="auto">
            <a:xfrm>
              <a:off x="7796633" y="3287348"/>
              <a:ext cx="295904" cy="295338"/>
            </a:xfrm>
            <a:custGeom>
              <a:avLst/>
              <a:gdLst>
                <a:gd name="T0" fmla="*/ 50 w 221"/>
                <a:gd name="T1" fmla="*/ 202 h 220"/>
                <a:gd name="T2" fmla="*/ 73 w 221"/>
                <a:gd name="T3" fmla="*/ 186 h 220"/>
                <a:gd name="T4" fmla="*/ 86 w 221"/>
                <a:gd name="T5" fmla="*/ 183 h 220"/>
                <a:gd name="T6" fmla="*/ 95 w 221"/>
                <a:gd name="T7" fmla="*/ 185 h 220"/>
                <a:gd name="T8" fmla="*/ 109 w 221"/>
                <a:gd name="T9" fmla="*/ 214 h 220"/>
                <a:gd name="T10" fmla="*/ 133 w 221"/>
                <a:gd name="T11" fmla="*/ 218 h 220"/>
                <a:gd name="T12" fmla="*/ 138 w 221"/>
                <a:gd name="T13" fmla="*/ 191 h 220"/>
                <a:gd name="T14" fmla="*/ 145 w 221"/>
                <a:gd name="T15" fmla="*/ 179 h 220"/>
                <a:gd name="T16" fmla="*/ 153 w 221"/>
                <a:gd name="T17" fmla="*/ 174 h 220"/>
                <a:gd name="T18" fmla="*/ 183 w 221"/>
                <a:gd name="T19" fmla="*/ 184 h 220"/>
                <a:gd name="T20" fmla="*/ 202 w 221"/>
                <a:gd name="T21" fmla="*/ 170 h 220"/>
                <a:gd name="T22" fmla="*/ 187 w 221"/>
                <a:gd name="T23" fmla="*/ 148 h 220"/>
                <a:gd name="T24" fmla="*/ 183 w 221"/>
                <a:gd name="T25" fmla="*/ 134 h 220"/>
                <a:gd name="T26" fmla="*/ 186 w 221"/>
                <a:gd name="T27" fmla="*/ 125 h 220"/>
                <a:gd name="T28" fmla="*/ 215 w 221"/>
                <a:gd name="T29" fmla="*/ 111 h 220"/>
                <a:gd name="T30" fmla="*/ 218 w 221"/>
                <a:gd name="T31" fmla="*/ 88 h 220"/>
                <a:gd name="T32" fmla="*/ 191 w 221"/>
                <a:gd name="T33" fmla="*/ 83 h 220"/>
                <a:gd name="T34" fmla="*/ 179 w 221"/>
                <a:gd name="T35" fmla="*/ 76 h 220"/>
                <a:gd name="T36" fmla="*/ 175 w 221"/>
                <a:gd name="T37" fmla="*/ 67 h 220"/>
                <a:gd name="T38" fmla="*/ 185 w 221"/>
                <a:gd name="T39" fmla="*/ 37 h 220"/>
                <a:gd name="T40" fmla="*/ 171 w 221"/>
                <a:gd name="T41" fmla="*/ 18 h 220"/>
                <a:gd name="T42" fmla="*/ 148 w 221"/>
                <a:gd name="T43" fmla="*/ 34 h 220"/>
                <a:gd name="T44" fmla="*/ 135 w 221"/>
                <a:gd name="T45" fmla="*/ 37 h 220"/>
                <a:gd name="T46" fmla="*/ 126 w 221"/>
                <a:gd name="T47" fmla="*/ 34 h 220"/>
                <a:gd name="T48" fmla="*/ 112 w 221"/>
                <a:gd name="T49" fmla="*/ 6 h 220"/>
                <a:gd name="T50" fmla="*/ 88 w 221"/>
                <a:gd name="T51" fmla="*/ 2 h 220"/>
                <a:gd name="T52" fmla="*/ 83 w 221"/>
                <a:gd name="T53" fmla="*/ 29 h 220"/>
                <a:gd name="T54" fmla="*/ 68 w 221"/>
                <a:gd name="T55" fmla="*/ 46 h 220"/>
                <a:gd name="T56" fmla="*/ 38 w 221"/>
                <a:gd name="T57" fmla="*/ 35 h 220"/>
                <a:gd name="T58" fmla="*/ 19 w 221"/>
                <a:gd name="T59" fmla="*/ 49 h 220"/>
                <a:gd name="T60" fmla="*/ 34 w 221"/>
                <a:gd name="T61" fmla="*/ 72 h 220"/>
                <a:gd name="T62" fmla="*/ 35 w 221"/>
                <a:gd name="T63" fmla="*/ 96 h 220"/>
                <a:gd name="T64" fmla="*/ 6 w 221"/>
                <a:gd name="T65" fmla="*/ 109 h 220"/>
                <a:gd name="T66" fmla="*/ 3 w 221"/>
                <a:gd name="T67" fmla="*/ 132 h 220"/>
                <a:gd name="T68" fmla="*/ 30 w 221"/>
                <a:gd name="T69" fmla="*/ 137 h 220"/>
                <a:gd name="T70" fmla="*/ 46 w 221"/>
                <a:gd name="T71" fmla="*/ 152 h 220"/>
                <a:gd name="T72" fmla="*/ 46 w 221"/>
                <a:gd name="T73" fmla="*/ 166 h 220"/>
                <a:gd name="T74" fmla="*/ 37 w 221"/>
                <a:gd name="T75" fmla="*/ 192 h 220"/>
                <a:gd name="T76" fmla="*/ 78 w 221"/>
                <a:gd name="T77" fmla="*/ 85 h 220"/>
                <a:gd name="T78" fmla="*/ 142 w 221"/>
                <a:gd name="T79" fmla="*/ 134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21" h="220">
                  <a:moveTo>
                    <a:pt x="37" y="192"/>
                  </a:moveTo>
                  <a:cubicBezTo>
                    <a:pt x="50" y="202"/>
                    <a:pt x="50" y="202"/>
                    <a:pt x="50" y="202"/>
                  </a:cubicBezTo>
                  <a:cubicBezTo>
                    <a:pt x="52" y="203"/>
                    <a:pt x="56" y="203"/>
                    <a:pt x="59" y="201"/>
                  </a:cubicBezTo>
                  <a:cubicBezTo>
                    <a:pt x="73" y="186"/>
                    <a:pt x="73" y="186"/>
                    <a:pt x="73" y="186"/>
                  </a:cubicBezTo>
                  <a:cubicBezTo>
                    <a:pt x="78" y="181"/>
                    <a:pt x="82" y="181"/>
                    <a:pt x="85" y="183"/>
                  </a:cubicBezTo>
                  <a:cubicBezTo>
                    <a:pt x="86" y="183"/>
                    <a:pt x="86" y="183"/>
                    <a:pt x="86" y="183"/>
                  </a:cubicBezTo>
                  <a:cubicBezTo>
                    <a:pt x="89" y="184"/>
                    <a:pt x="92" y="185"/>
                    <a:pt x="95" y="185"/>
                  </a:cubicBezTo>
                  <a:cubicBezTo>
                    <a:pt x="95" y="185"/>
                    <a:pt x="95" y="185"/>
                    <a:pt x="95" y="185"/>
                  </a:cubicBezTo>
                  <a:cubicBezTo>
                    <a:pt x="99" y="186"/>
                    <a:pt x="103" y="188"/>
                    <a:pt x="105" y="195"/>
                  </a:cubicBezTo>
                  <a:cubicBezTo>
                    <a:pt x="109" y="214"/>
                    <a:pt x="109" y="214"/>
                    <a:pt x="109" y="214"/>
                  </a:cubicBezTo>
                  <a:cubicBezTo>
                    <a:pt x="110" y="218"/>
                    <a:pt x="114" y="220"/>
                    <a:pt x="116" y="220"/>
                  </a:cubicBezTo>
                  <a:cubicBezTo>
                    <a:pt x="133" y="218"/>
                    <a:pt x="133" y="218"/>
                    <a:pt x="133" y="218"/>
                  </a:cubicBezTo>
                  <a:cubicBezTo>
                    <a:pt x="135" y="217"/>
                    <a:pt x="138" y="214"/>
                    <a:pt x="138" y="210"/>
                  </a:cubicBezTo>
                  <a:cubicBezTo>
                    <a:pt x="138" y="191"/>
                    <a:pt x="138" y="191"/>
                    <a:pt x="138" y="191"/>
                  </a:cubicBezTo>
                  <a:cubicBezTo>
                    <a:pt x="138" y="184"/>
                    <a:pt x="141" y="181"/>
                    <a:pt x="144" y="179"/>
                  </a:cubicBezTo>
                  <a:cubicBezTo>
                    <a:pt x="144" y="179"/>
                    <a:pt x="145" y="179"/>
                    <a:pt x="145" y="179"/>
                  </a:cubicBezTo>
                  <a:cubicBezTo>
                    <a:pt x="147" y="177"/>
                    <a:pt x="150" y="176"/>
                    <a:pt x="153" y="174"/>
                  </a:cubicBezTo>
                  <a:cubicBezTo>
                    <a:pt x="153" y="174"/>
                    <a:pt x="153" y="174"/>
                    <a:pt x="153" y="174"/>
                  </a:cubicBezTo>
                  <a:cubicBezTo>
                    <a:pt x="156" y="172"/>
                    <a:pt x="161" y="171"/>
                    <a:pt x="167" y="174"/>
                  </a:cubicBezTo>
                  <a:cubicBezTo>
                    <a:pt x="183" y="184"/>
                    <a:pt x="183" y="184"/>
                    <a:pt x="183" y="184"/>
                  </a:cubicBezTo>
                  <a:cubicBezTo>
                    <a:pt x="187" y="186"/>
                    <a:pt x="191" y="185"/>
                    <a:pt x="192" y="183"/>
                  </a:cubicBezTo>
                  <a:cubicBezTo>
                    <a:pt x="202" y="170"/>
                    <a:pt x="202" y="170"/>
                    <a:pt x="202" y="170"/>
                  </a:cubicBezTo>
                  <a:cubicBezTo>
                    <a:pt x="204" y="169"/>
                    <a:pt x="204" y="164"/>
                    <a:pt x="201" y="161"/>
                  </a:cubicBezTo>
                  <a:cubicBezTo>
                    <a:pt x="187" y="148"/>
                    <a:pt x="187" y="148"/>
                    <a:pt x="187" y="148"/>
                  </a:cubicBezTo>
                  <a:cubicBezTo>
                    <a:pt x="182" y="143"/>
                    <a:pt x="182" y="139"/>
                    <a:pt x="183" y="135"/>
                  </a:cubicBezTo>
                  <a:cubicBezTo>
                    <a:pt x="183" y="135"/>
                    <a:pt x="183" y="135"/>
                    <a:pt x="183" y="134"/>
                  </a:cubicBezTo>
                  <a:cubicBezTo>
                    <a:pt x="184" y="131"/>
                    <a:pt x="185" y="128"/>
                    <a:pt x="186" y="126"/>
                  </a:cubicBezTo>
                  <a:cubicBezTo>
                    <a:pt x="186" y="125"/>
                    <a:pt x="186" y="125"/>
                    <a:pt x="186" y="125"/>
                  </a:cubicBezTo>
                  <a:cubicBezTo>
                    <a:pt x="187" y="121"/>
                    <a:pt x="189" y="117"/>
                    <a:pt x="196" y="116"/>
                  </a:cubicBezTo>
                  <a:cubicBezTo>
                    <a:pt x="215" y="111"/>
                    <a:pt x="215" y="111"/>
                    <a:pt x="215" y="111"/>
                  </a:cubicBezTo>
                  <a:cubicBezTo>
                    <a:pt x="218" y="110"/>
                    <a:pt x="221" y="106"/>
                    <a:pt x="220" y="104"/>
                  </a:cubicBezTo>
                  <a:cubicBezTo>
                    <a:pt x="218" y="88"/>
                    <a:pt x="218" y="88"/>
                    <a:pt x="218" y="88"/>
                  </a:cubicBezTo>
                  <a:cubicBezTo>
                    <a:pt x="218" y="85"/>
                    <a:pt x="215" y="82"/>
                    <a:pt x="211" y="82"/>
                  </a:cubicBezTo>
                  <a:cubicBezTo>
                    <a:pt x="191" y="83"/>
                    <a:pt x="191" y="83"/>
                    <a:pt x="191" y="83"/>
                  </a:cubicBezTo>
                  <a:cubicBezTo>
                    <a:pt x="184" y="83"/>
                    <a:pt x="181" y="80"/>
                    <a:pt x="180" y="76"/>
                  </a:cubicBezTo>
                  <a:cubicBezTo>
                    <a:pt x="180" y="76"/>
                    <a:pt x="179" y="76"/>
                    <a:pt x="179" y="76"/>
                  </a:cubicBezTo>
                  <a:cubicBezTo>
                    <a:pt x="178" y="73"/>
                    <a:pt x="176" y="70"/>
                    <a:pt x="175" y="68"/>
                  </a:cubicBezTo>
                  <a:cubicBezTo>
                    <a:pt x="175" y="67"/>
                    <a:pt x="175" y="67"/>
                    <a:pt x="175" y="67"/>
                  </a:cubicBezTo>
                  <a:cubicBezTo>
                    <a:pt x="172" y="64"/>
                    <a:pt x="171" y="60"/>
                    <a:pt x="175" y="53"/>
                  </a:cubicBezTo>
                  <a:cubicBezTo>
                    <a:pt x="185" y="37"/>
                    <a:pt x="185" y="37"/>
                    <a:pt x="185" y="37"/>
                  </a:cubicBezTo>
                  <a:cubicBezTo>
                    <a:pt x="187" y="34"/>
                    <a:pt x="186" y="29"/>
                    <a:pt x="184" y="28"/>
                  </a:cubicBezTo>
                  <a:cubicBezTo>
                    <a:pt x="171" y="18"/>
                    <a:pt x="171" y="18"/>
                    <a:pt x="171" y="18"/>
                  </a:cubicBezTo>
                  <a:cubicBezTo>
                    <a:pt x="169" y="17"/>
                    <a:pt x="164" y="16"/>
                    <a:pt x="162" y="19"/>
                  </a:cubicBezTo>
                  <a:cubicBezTo>
                    <a:pt x="148" y="34"/>
                    <a:pt x="148" y="34"/>
                    <a:pt x="148" y="34"/>
                  </a:cubicBezTo>
                  <a:cubicBezTo>
                    <a:pt x="143" y="38"/>
                    <a:pt x="139" y="38"/>
                    <a:pt x="135" y="37"/>
                  </a:cubicBezTo>
                  <a:cubicBezTo>
                    <a:pt x="135" y="37"/>
                    <a:pt x="135" y="37"/>
                    <a:pt x="135" y="37"/>
                  </a:cubicBezTo>
                  <a:cubicBezTo>
                    <a:pt x="132" y="36"/>
                    <a:pt x="129" y="35"/>
                    <a:pt x="126" y="34"/>
                  </a:cubicBezTo>
                  <a:cubicBezTo>
                    <a:pt x="126" y="34"/>
                    <a:pt x="126" y="34"/>
                    <a:pt x="126" y="34"/>
                  </a:cubicBezTo>
                  <a:cubicBezTo>
                    <a:pt x="121" y="34"/>
                    <a:pt x="118" y="32"/>
                    <a:pt x="116" y="24"/>
                  </a:cubicBezTo>
                  <a:cubicBezTo>
                    <a:pt x="112" y="6"/>
                    <a:pt x="112" y="6"/>
                    <a:pt x="112" y="6"/>
                  </a:cubicBezTo>
                  <a:cubicBezTo>
                    <a:pt x="111" y="2"/>
                    <a:pt x="107" y="0"/>
                    <a:pt x="104" y="0"/>
                  </a:cubicBezTo>
                  <a:cubicBezTo>
                    <a:pt x="88" y="2"/>
                    <a:pt x="88" y="2"/>
                    <a:pt x="88" y="2"/>
                  </a:cubicBezTo>
                  <a:cubicBezTo>
                    <a:pt x="86" y="2"/>
                    <a:pt x="83" y="6"/>
                    <a:pt x="83" y="9"/>
                  </a:cubicBezTo>
                  <a:cubicBezTo>
                    <a:pt x="83" y="29"/>
                    <a:pt x="83" y="29"/>
                    <a:pt x="83" y="29"/>
                  </a:cubicBezTo>
                  <a:cubicBezTo>
                    <a:pt x="83" y="36"/>
                    <a:pt x="80" y="39"/>
                    <a:pt x="77" y="41"/>
                  </a:cubicBezTo>
                  <a:cubicBezTo>
                    <a:pt x="73" y="42"/>
                    <a:pt x="70" y="44"/>
                    <a:pt x="68" y="46"/>
                  </a:cubicBezTo>
                  <a:cubicBezTo>
                    <a:pt x="64" y="48"/>
                    <a:pt x="60" y="49"/>
                    <a:pt x="54" y="46"/>
                  </a:cubicBezTo>
                  <a:cubicBezTo>
                    <a:pt x="38" y="35"/>
                    <a:pt x="38" y="35"/>
                    <a:pt x="38" y="35"/>
                  </a:cubicBezTo>
                  <a:cubicBezTo>
                    <a:pt x="34" y="33"/>
                    <a:pt x="30" y="35"/>
                    <a:pt x="29" y="36"/>
                  </a:cubicBezTo>
                  <a:cubicBezTo>
                    <a:pt x="19" y="49"/>
                    <a:pt x="19" y="49"/>
                    <a:pt x="19" y="49"/>
                  </a:cubicBezTo>
                  <a:cubicBezTo>
                    <a:pt x="17" y="51"/>
                    <a:pt x="17" y="56"/>
                    <a:pt x="20" y="59"/>
                  </a:cubicBezTo>
                  <a:cubicBezTo>
                    <a:pt x="34" y="72"/>
                    <a:pt x="34" y="72"/>
                    <a:pt x="34" y="72"/>
                  </a:cubicBezTo>
                  <a:cubicBezTo>
                    <a:pt x="38" y="76"/>
                    <a:pt x="39" y="80"/>
                    <a:pt x="38" y="83"/>
                  </a:cubicBezTo>
                  <a:cubicBezTo>
                    <a:pt x="37" y="87"/>
                    <a:pt x="36" y="91"/>
                    <a:pt x="35" y="96"/>
                  </a:cubicBezTo>
                  <a:cubicBezTo>
                    <a:pt x="34" y="99"/>
                    <a:pt x="32" y="103"/>
                    <a:pt x="25" y="104"/>
                  </a:cubicBezTo>
                  <a:cubicBezTo>
                    <a:pt x="6" y="109"/>
                    <a:pt x="6" y="109"/>
                    <a:pt x="6" y="109"/>
                  </a:cubicBezTo>
                  <a:cubicBezTo>
                    <a:pt x="2" y="110"/>
                    <a:pt x="0" y="113"/>
                    <a:pt x="1" y="116"/>
                  </a:cubicBezTo>
                  <a:cubicBezTo>
                    <a:pt x="3" y="132"/>
                    <a:pt x="3" y="132"/>
                    <a:pt x="3" y="132"/>
                  </a:cubicBezTo>
                  <a:cubicBezTo>
                    <a:pt x="3" y="134"/>
                    <a:pt x="6" y="138"/>
                    <a:pt x="10" y="138"/>
                  </a:cubicBezTo>
                  <a:cubicBezTo>
                    <a:pt x="30" y="137"/>
                    <a:pt x="30" y="137"/>
                    <a:pt x="30" y="137"/>
                  </a:cubicBezTo>
                  <a:cubicBezTo>
                    <a:pt x="37" y="137"/>
                    <a:pt x="40" y="140"/>
                    <a:pt x="41" y="144"/>
                  </a:cubicBezTo>
                  <a:cubicBezTo>
                    <a:pt x="43" y="147"/>
                    <a:pt x="44" y="150"/>
                    <a:pt x="46" y="152"/>
                  </a:cubicBezTo>
                  <a:cubicBezTo>
                    <a:pt x="46" y="153"/>
                    <a:pt x="46" y="153"/>
                    <a:pt x="46" y="153"/>
                  </a:cubicBezTo>
                  <a:cubicBezTo>
                    <a:pt x="49" y="156"/>
                    <a:pt x="50" y="160"/>
                    <a:pt x="46" y="166"/>
                  </a:cubicBezTo>
                  <a:cubicBezTo>
                    <a:pt x="36" y="183"/>
                    <a:pt x="36" y="183"/>
                    <a:pt x="36" y="183"/>
                  </a:cubicBezTo>
                  <a:cubicBezTo>
                    <a:pt x="34" y="186"/>
                    <a:pt x="35" y="190"/>
                    <a:pt x="37" y="192"/>
                  </a:cubicBezTo>
                  <a:close/>
                  <a:moveTo>
                    <a:pt x="86" y="142"/>
                  </a:moveTo>
                  <a:cubicBezTo>
                    <a:pt x="68" y="128"/>
                    <a:pt x="65" y="103"/>
                    <a:pt x="78" y="85"/>
                  </a:cubicBezTo>
                  <a:cubicBezTo>
                    <a:pt x="92" y="68"/>
                    <a:pt x="117" y="64"/>
                    <a:pt x="135" y="78"/>
                  </a:cubicBezTo>
                  <a:cubicBezTo>
                    <a:pt x="152" y="92"/>
                    <a:pt x="156" y="117"/>
                    <a:pt x="142" y="134"/>
                  </a:cubicBezTo>
                  <a:cubicBezTo>
                    <a:pt x="129" y="152"/>
                    <a:pt x="103" y="155"/>
                    <a:pt x="86" y="142"/>
                  </a:cubicBez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sp>
          <p:nvSpPr>
            <p:cNvPr id="33" name="Freeform 98"/>
            <p:cNvSpPr>
              <a:spLocks noEditPoints="1"/>
            </p:cNvSpPr>
            <p:nvPr/>
          </p:nvSpPr>
          <p:spPr bwMode="auto">
            <a:xfrm>
              <a:off x="8203709" y="3834750"/>
              <a:ext cx="295904" cy="295338"/>
            </a:xfrm>
            <a:custGeom>
              <a:avLst/>
              <a:gdLst>
                <a:gd name="T0" fmla="*/ 50 w 221"/>
                <a:gd name="T1" fmla="*/ 202 h 220"/>
                <a:gd name="T2" fmla="*/ 73 w 221"/>
                <a:gd name="T3" fmla="*/ 186 h 220"/>
                <a:gd name="T4" fmla="*/ 86 w 221"/>
                <a:gd name="T5" fmla="*/ 183 h 220"/>
                <a:gd name="T6" fmla="*/ 95 w 221"/>
                <a:gd name="T7" fmla="*/ 185 h 220"/>
                <a:gd name="T8" fmla="*/ 109 w 221"/>
                <a:gd name="T9" fmla="*/ 214 h 220"/>
                <a:gd name="T10" fmla="*/ 133 w 221"/>
                <a:gd name="T11" fmla="*/ 218 h 220"/>
                <a:gd name="T12" fmla="*/ 138 w 221"/>
                <a:gd name="T13" fmla="*/ 191 h 220"/>
                <a:gd name="T14" fmla="*/ 145 w 221"/>
                <a:gd name="T15" fmla="*/ 179 h 220"/>
                <a:gd name="T16" fmla="*/ 153 w 221"/>
                <a:gd name="T17" fmla="*/ 174 h 220"/>
                <a:gd name="T18" fmla="*/ 183 w 221"/>
                <a:gd name="T19" fmla="*/ 184 h 220"/>
                <a:gd name="T20" fmla="*/ 202 w 221"/>
                <a:gd name="T21" fmla="*/ 170 h 220"/>
                <a:gd name="T22" fmla="*/ 187 w 221"/>
                <a:gd name="T23" fmla="*/ 148 h 220"/>
                <a:gd name="T24" fmla="*/ 183 w 221"/>
                <a:gd name="T25" fmla="*/ 134 h 220"/>
                <a:gd name="T26" fmla="*/ 186 w 221"/>
                <a:gd name="T27" fmla="*/ 125 h 220"/>
                <a:gd name="T28" fmla="*/ 215 w 221"/>
                <a:gd name="T29" fmla="*/ 111 h 220"/>
                <a:gd name="T30" fmla="*/ 218 w 221"/>
                <a:gd name="T31" fmla="*/ 88 h 220"/>
                <a:gd name="T32" fmla="*/ 191 w 221"/>
                <a:gd name="T33" fmla="*/ 83 h 220"/>
                <a:gd name="T34" fmla="*/ 179 w 221"/>
                <a:gd name="T35" fmla="*/ 76 h 220"/>
                <a:gd name="T36" fmla="*/ 175 w 221"/>
                <a:gd name="T37" fmla="*/ 67 h 220"/>
                <a:gd name="T38" fmla="*/ 185 w 221"/>
                <a:gd name="T39" fmla="*/ 37 h 220"/>
                <a:gd name="T40" fmla="*/ 171 w 221"/>
                <a:gd name="T41" fmla="*/ 18 h 220"/>
                <a:gd name="T42" fmla="*/ 148 w 221"/>
                <a:gd name="T43" fmla="*/ 34 h 220"/>
                <a:gd name="T44" fmla="*/ 135 w 221"/>
                <a:gd name="T45" fmla="*/ 37 h 220"/>
                <a:gd name="T46" fmla="*/ 126 w 221"/>
                <a:gd name="T47" fmla="*/ 34 h 220"/>
                <a:gd name="T48" fmla="*/ 112 w 221"/>
                <a:gd name="T49" fmla="*/ 6 h 220"/>
                <a:gd name="T50" fmla="*/ 88 w 221"/>
                <a:gd name="T51" fmla="*/ 2 h 220"/>
                <a:gd name="T52" fmla="*/ 83 w 221"/>
                <a:gd name="T53" fmla="*/ 29 h 220"/>
                <a:gd name="T54" fmla="*/ 68 w 221"/>
                <a:gd name="T55" fmla="*/ 46 h 220"/>
                <a:gd name="T56" fmla="*/ 38 w 221"/>
                <a:gd name="T57" fmla="*/ 35 h 220"/>
                <a:gd name="T58" fmla="*/ 19 w 221"/>
                <a:gd name="T59" fmla="*/ 49 h 220"/>
                <a:gd name="T60" fmla="*/ 34 w 221"/>
                <a:gd name="T61" fmla="*/ 72 h 220"/>
                <a:gd name="T62" fmla="*/ 35 w 221"/>
                <a:gd name="T63" fmla="*/ 96 h 220"/>
                <a:gd name="T64" fmla="*/ 6 w 221"/>
                <a:gd name="T65" fmla="*/ 109 h 220"/>
                <a:gd name="T66" fmla="*/ 3 w 221"/>
                <a:gd name="T67" fmla="*/ 132 h 220"/>
                <a:gd name="T68" fmla="*/ 30 w 221"/>
                <a:gd name="T69" fmla="*/ 137 h 220"/>
                <a:gd name="T70" fmla="*/ 46 w 221"/>
                <a:gd name="T71" fmla="*/ 152 h 220"/>
                <a:gd name="T72" fmla="*/ 46 w 221"/>
                <a:gd name="T73" fmla="*/ 166 h 220"/>
                <a:gd name="T74" fmla="*/ 37 w 221"/>
                <a:gd name="T75" fmla="*/ 192 h 220"/>
                <a:gd name="T76" fmla="*/ 78 w 221"/>
                <a:gd name="T77" fmla="*/ 85 h 220"/>
                <a:gd name="T78" fmla="*/ 142 w 221"/>
                <a:gd name="T79" fmla="*/ 134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21" h="220">
                  <a:moveTo>
                    <a:pt x="37" y="192"/>
                  </a:moveTo>
                  <a:cubicBezTo>
                    <a:pt x="50" y="202"/>
                    <a:pt x="50" y="202"/>
                    <a:pt x="50" y="202"/>
                  </a:cubicBezTo>
                  <a:cubicBezTo>
                    <a:pt x="52" y="203"/>
                    <a:pt x="56" y="203"/>
                    <a:pt x="59" y="201"/>
                  </a:cubicBezTo>
                  <a:cubicBezTo>
                    <a:pt x="73" y="186"/>
                    <a:pt x="73" y="186"/>
                    <a:pt x="73" y="186"/>
                  </a:cubicBezTo>
                  <a:cubicBezTo>
                    <a:pt x="78" y="181"/>
                    <a:pt x="82" y="181"/>
                    <a:pt x="85" y="183"/>
                  </a:cubicBezTo>
                  <a:cubicBezTo>
                    <a:pt x="86" y="183"/>
                    <a:pt x="86" y="183"/>
                    <a:pt x="86" y="183"/>
                  </a:cubicBezTo>
                  <a:cubicBezTo>
                    <a:pt x="89" y="184"/>
                    <a:pt x="92" y="185"/>
                    <a:pt x="95" y="185"/>
                  </a:cubicBezTo>
                  <a:cubicBezTo>
                    <a:pt x="95" y="185"/>
                    <a:pt x="95" y="185"/>
                    <a:pt x="95" y="185"/>
                  </a:cubicBezTo>
                  <a:cubicBezTo>
                    <a:pt x="99" y="186"/>
                    <a:pt x="103" y="188"/>
                    <a:pt x="105" y="195"/>
                  </a:cubicBezTo>
                  <a:cubicBezTo>
                    <a:pt x="109" y="214"/>
                    <a:pt x="109" y="214"/>
                    <a:pt x="109" y="214"/>
                  </a:cubicBezTo>
                  <a:cubicBezTo>
                    <a:pt x="110" y="218"/>
                    <a:pt x="114" y="220"/>
                    <a:pt x="116" y="220"/>
                  </a:cubicBezTo>
                  <a:cubicBezTo>
                    <a:pt x="133" y="218"/>
                    <a:pt x="133" y="218"/>
                    <a:pt x="133" y="218"/>
                  </a:cubicBezTo>
                  <a:cubicBezTo>
                    <a:pt x="135" y="217"/>
                    <a:pt x="138" y="214"/>
                    <a:pt x="138" y="210"/>
                  </a:cubicBezTo>
                  <a:cubicBezTo>
                    <a:pt x="138" y="191"/>
                    <a:pt x="138" y="191"/>
                    <a:pt x="138" y="191"/>
                  </a:cubicBezTo>
                  <a:cubicBezTo>
                    <a:pt x="138" y="184"/>
                    <a:pt x="141" y="181"/>
                    <a:pt x="144" y="179"/>
                  </a:cubicBezTo>
                  <a:cubicBezTo>
                    <a:pt x="144" y="179"/>
                    <a:pt x="145" y="179"/>
                    <a:pt x="145" y="179"/>
                  </a:cubicBezTo>
                  <a:cubicBezTo>
                    <a:pt x="147" y="177"/>
                    <a:pt x="150" y="176"/>
                    <a:pt x="153" y="174"/>
                  </a:cubicBezTo>
                  <a:cubicBezTo>
                    <a:pt x="153" y="174"/>
                    <a:pt x="153" y="174"/>
                    <a:pt x="153" y="174"/>
                  </a:cubicBezTo>
                  <a:cubicBezTo>
                    <a:pt x="156" y="172"/>
                    <a:pt x="161" y="171"/>
                    <a:pt x="167" y="174"/>
                  </a:cubicBezTo>
                  <a:cubicBezTo>
                    <a:pt x="183" y="184"/>
                    <a:pt x="183" y="184"/>
                    <a:pt x="183" y="184"/>
                  </a:cubicBezTo>
                  <a:cubicBezTo>
                    <a:pt x="187" y="186"/>
                    <a:pt x="191" y="185"/>
                    <a:pt x="192" y="183"/>
                  </a:cubicBezTo>
                  <a:cubicBezTo>
                    <a:pt x="202" y="170"/>
                    <a:pt x="202" y="170"/>
                    <a:pt x="202" y="170"/>
                  </a:cubicBezTo>
                  <a:cubicBezTo>
                    <a:pt x="204" y="169"/>
                    <a:pt x="204" y="164"/>
                    <a:pt x="201" y="161"/>
                  </a:cubicBezTo>
                  <a:cubicBezTo>
                    <a:pt x="187" y="148"/>
                    <a:pt x="187" y="148"/>
                    <a:pt x="187" y="148"/>
                  </a:cubicBezTo>
                  <a:cubicBezTo>
                    <a:pt x="182" y="143"/>
                    <a:pt x="182" y="139"/>
                    <a:pt x="183" y="135"/>
                  </a:cubicBezTo>
                  <a:cubicBezTo>
                    <a:pt x="183" y="135"/>
                    <a:pt x="183" y="135"/>
                    <a:pt x="183" y="134"/>
                  </a:cubicBezTo>
                  <a:cubicBezTo>
                    <a:pt x="184" y="131"/>
                    <a:pt x="185" y="128"/>
                    <a:pt x="186" y="126"/>
                  </a:cubicBezTo>
                  <a:cubicBezTo>
                    <a:pt x="186" y="125"/>
                    <a:pt x="186" y="125"/>
                    <a:pt x="186" y="125"/>
                  </a:cubicBezTo>
                  <a:cubicBezTo>
                    <a:pt x="187" y="121"/>
                    <a:pt x="189" y="117"/>
                    <a:pt x="196" y="116"/>
                  </a:cubicBezTo>
                  <a:cubicBezTo>
                    <a:pt x="215" y="111"/>
                    <a:pt x="215" y="111"/>
                    <a:pt x="215" y="111"/>
                  </a:cubicBezTo>
                  <a:cubicBezTo>
                    <a:pt x="218" y="110"/>
                    <a:pt x="221" y="106"/>
                    <a:pt x="220" y="104"/>
                  </a:cubicBezTo>
                  <a:cubicBezTo>
                    <a:pt x="218" y="88"/>
                    <a:pt x="218" y="88"/>
                    <a:pt x="218" y="88"/>
                  </a:cubicBezTo>
                  <a:cubicBezTo>
                    <a:pt x="218" y="85"/>
                    <a:pt x="215" y="82"/>
                    <a:pt x="211" y="82"/>
                  </a:cubicBezTo>
                  <a:cubicBezTo>
                    <a:pt x="191" y="83"/>
                    <a:pt x="191" y="83"/>
                    <a:pt x="191" y="83"/>
                  </a:cubicBezTo>
                  <a:cubicBezTo>
                    <a:pt x="184" y="83"/>
                    <a:pt x="181" y="80"/>
                    <a:pt x="180" y="76"/>
                  </a:cubicBezTo>
                  <a:cubicBezTo>
                    <a:pt x="180" y="76"/>
                    <a:pt x="179" y="76"/>
                    <a:pt x="179" y="76"/>
                  </a:cubicBezTo>
                  <a:cubicBezTo>
                    <a:pt x="178" y="73"/>
                    <a:pt x="176" y="70"/>
                    <a:pt x="175" y="68"/>
                  </a:cubicBezTo>
                  <a:cubicBezTo>
                    <a:pt x="175" y="67"/>
                    <a:pt x="175" y="67"/>
                    <a:pt x="175" y="67"/>
                  </a:cubicBezTo>
                  <a:cubicBezTo>
                    <a:pt x="172" y="64"/>
                    <a:pt x="171" y="60"/>
                    <a:pt x="175" y="53"/>
                  </a:cubicBezTo>
                  <a:cubicBezTo>
                    <a:pt x="185" y="37"/>
                    <a:pt x="185" y="37"/>
                    <a:pt x="185" y="37"/>
                  </a:cubicBezTo>
                  <a:cubicBezTo>
                    <a:pt x="187" y="34"/>
                    <a:pt x="186" y="29"/>
                    <a:pt x="184" y="28"/>
                  </a:cubicBezTo>
                  <a:cubicBezTo>
                    <a:pt x="171" y="18"/>
                    <a:pt x="171" y="18"/>
                    <a:pt x="171" y="18"/>
                  </a:cubicBezTo>
                  <a:cubicBezTo>
                    <a:pt x="169" y="17"/>
                    <a:pt x="164" y="16"/>
                    <a:pt x="162" y="19"/>
                  </a:cubicBezTo>
                  <a:cubicBezTo>
                    <a:pt x="148" y="34"/>
                    <a:pt x="148" y="34"/>
                    <a:pt x="148" y="34"/>
                  </a:cubicBezTo>
                  <a:cubicBezTo>
                    <a:pt x="143" y="38"/>
                    <a:pt x="139" y="38"/>
                    <a:pt x="135" y="37"/>
                  </a:cubicBezTo>
                  <a:cubicBezTo>
                    <a:pt x="135" y="37"/>
                    <a:pt x="135" y="37"/>
                    <a:pt x="135" y="37"/>
                  </a:cubicBezTo>
                  <a:cubicBezTo>
                    <a:pt x="132" y="36"/>
                    <a:pt x="129" y="35"/>
                    <a:pt x="126" y="34"/>
                  </a:cubicBezTo>
                  <a:cubicBezTo>
                    <a:pt x="126" y="34"/>
                    <a:pt x="126" y="34"/>
                    <a:pt x="126" y="34"/>
                  </a:cubicBezTo>
                  <a:cubicBezTo>
                    <a:pt x="121" y="34"/>
                    <a:pt x="118" y="32"/>
                    <a:pt x="116" y="24"/>
                  </a:cubicBezTo>
                  <a:cubicBezTo>
                    <a:pt x="112" y="6"/>
                    <a:pt x="112" y="6"/>
                    <a:pt x="112" y="6"/>
                  </a:cubicBezTo>
                  <a:cubicBezTo>
                    <a:pt x="111" y="2"/>
                    <a:pt x="107" y="0"/>
                    <a:pt x="104" y="0"/>
                  </a:cubicBezTo>
                  <a:cubicBezTo>
                    <a:pt x="88" y="2"/>
                    <a:pt x="88" y="2"/>
                    <a:pt x="88" y="2"/>
                  </a:cubicBezTo>
                  <a:cubicBezTo>
                    <a:pt x="86" y="2"/>
                    <a:pt x="83" y="6"/>
                    <a:pt x="83" y="9"/>
                  </a:cubicBezTo>
                  <a:cubicBezTo>
                    <a:pt x="83" y="29"/>
                    <a:pt x="83" y="29"/>
                    <a:pt x="83" y="29"/>
                  </a:cubicBezTo>
                  <a:cubicBezTo>
                    <a:pt x="83" y="36"/>
                    <a:pt x="80" y="39"/>
                    <a:pt x="77" y="41"/>
                  </a:cubicBezTo>
                  <a:cubicBezTo>
                    <a:pt x="73" y="42"/>
                    <a:pt x="70" y="44"/>
                    <a:pt x="68" y="46"/>
                  </a:cubicBezTo>
                  <a:cubicBezTo>
                    <a:pt x="64" y="48"/>
                    <a:pt x="60" y="49"/>
                    <a:pt x="54" y="46"/>
                  </a:cubicBezTo>
                  <a:cubicBezTo>
                    <a:pt x="38" y="35"/>
                    <a:pt x="38" y="35"/>
                    <a:pt x="38" y="35"/>
                  </a:cubicBezTo>
                  <a:cubicBezTo>
                    <a:pt x="34" y="33"/>
                    <a:pt x="30" y="35"/>
                    <a:pt x="29" y="36"/>
                  </a:cubicBezTo>
                  <a:cubicBezTo>
                    <a:pt x="19" y="49"/>
                    <a:pt x="19" y="49"/>
                    <a:pt x="19" y="49"/>
                  </a:cubicBezTo>
                  <a:cubicBezTo>
                    <a:pt x="17" y="51"/>
                    <a:pt x="17" y="56"/>
                    <a:pt x="20" y="59"/>
                  </a:cubicBezTo>
                  <a:cubicBezTo>
                    <a:pt x="34" y="72"/>
                    <a:pt x="34" y="72"/>
                    <a:pt x="34" y="72"/>
                  </a:cubicBezTo>
                  <a:cubicBezTo>
                    <a:pt x="38" y="76"/>
                    <a:pt x="39" y="80"/>
                    <a:pt x="38" y="83"/>
                  </a:cubicBezTo>
                  <a:cubicBezTo>
                    <a:pt x="37" y="87"/>
                    <a:pt x="36" y="91"/>
                    <a:pt x="35" y="96"/>
                  </a:cubicBezTo>
                  <a:cubicBezTo>
                    <a:pt x="34" y="99"/>
                    <a:pt x="32" y="103"/>
                    <a:pt x="25" y="104"/>
                  </a:cubicBezTo>
                  <a:cubicBezTo>
                    <a:pt x="6" y="109"/>
                    <a:pt x="6" y="109"/>
                    <a:pt x="6" y="109"/>
                  </a:cubicBezTo>
                  <a:cubicBezTo>
                    <a:pt x="2" y="110"/>
                    <a:pt x="0" y="113"/>
                    <a:pt x="1" y="116"/>
                  </a:cubicBezTo>
                  <a:cubicBezTo>
                    <a:pt x="3" y="132"/>
                    <a:pt x="3" y="132"/>
                    <a:pt x="3" y="132"/>
                  </a:cubicBezTo>
                  <a:cubicBezTo>
                    <a:pt x="3" y="134"/>
                    <a:pt x="6" y="138"/>
                    <a:pt x="10" y="138"/>
                  </a:cubicBezTo>
                  <a:cubicBezTo>
                    <a:pt x="30" y="137"/>
                    <a:pt x="30" y="137"/>
                    <a:pt x="30" y="137"/>
                  </a:cubicBezTo>
                  <a:cubicBezTo>
                    <a:pt x="37" y="137"/>
                    <a:pt x="40" y="140"/>
                    <a:pt x="41" y="144"/>
                  </a:cubicBezTo>
                  <a:cubicBezTo>
                    <a:pt x="43" y="147"/>
                    <a:pt x="44" y="150"/>
                    <a:pt x="46" y="152"/>
                  </a:cubicBezTo>
                  <a:cubicBezTo>
                    <a:pt x="46" y="153"/>
                    <a:pt x="46" y="153"/>
                    <a:pt x="46" y="153"/>
                  </a:cubicBezTo>
                  <a:cubicBezTo>
                    <a:pt x="49" y="156"/>
                    <a:pt x="50" y="160"/>
                    <a:pt x="46" y="166"/>
                  </a:cubicBezTo>
                  <a:cubicBezTo>
                    <a:pt x="36" y="183"/>
                    <a:pt x="36" y="183"/>
                    <a:pt x="36" y="183"/>
                  </a:cubicBezTo>
                  <a:cubicBezTo>
                    <a:pt x="34" y="186"/>
                    <a:pt x="35" y="190"/>
                    <a:pt x="37" y="192"/>
                  </a:cubicBezTo>
                  <a:close/>
                  <a:moveTo>
                    <a:pt x="86" y="142"/>
                  </a:moveTo>
                  <a:cubicBezTo>
                    <a:pt x="68" y="128"/>
                    <a:pt x="65" y="103"/>
                    <a:pt x="78" y="85"/>
                  </a:cubicBezTo>
                  <a:cubicBezTo>
                    <a:pt x="92" y="68"/>
                    <a:pt x="117" y="64"/>
                    <a:pt x="135" y="78"/>
                  </a:cubicBezTo>
                  <a:cubicBezTo>
                    <a:pt x="152" y="92"/>
                    <a:pt x="156" y="117"/>
                    <a:pt x="142" y="134"/>
                  </a:cubicBezTo>
                  <a:cubicBezTo>
                    <a:pt x="129" y="152"/>
                    <a:pt x="103" y="155"/>
                    <a:pt x="86" y="142"/>
                  </a:cubicBez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sp>
          <p:nvSpPr>
            <p:cNvPr id="34" name="Freeform 100"/>
            <p:cNvSpPr>
              <a:spLocks noEditPoints="1"/>
            </p:cNvSpPr>
            <p:nvPr/>
          </p:nvSpPr>
          <p:spPr bwMode="auto">
            <a:xfrm>
              <a:off x="7359541" y="3105096"/>
              <a:ext cx="354864" cy="355545"/>
            </a:xfrm>
            <a:custGeom>
              <a:avLst/>
              <a:gdLst>
                <a:gd name="T0" fmla="*/ 434 w 441"/>
                <a:gd name="T1" fmla="*/ 201 h 441"/>
                <a:gd name="T2" fmla="*/ 425 w 441"/>
                <a:gd name="T3" fmla="*/ 156 h 441"/>
                <a:gd name="T4" fmla="*/ 410 w 441"/>
                <a:gd name="T5" fmla="*/ 120 h 441"/>
                <a:gd name="T6" fmla="*/ 385 w 441"/>
                <a:gd name="T7" fmla="*/ 84 h 441"/>
                <a:gd name="T8" fmla="*/ 357 w 441"/>
                <a:gd name="T9" fmla="*/ 56 h 441"/>
                <a:gd name="T10" fmla="*/ 320 w 441"/>
                <a:gd name="T11" fmla="*/ 30 h 441"/>
                <a:gd name="T12" fmla="*/ 283 w 441"/>
                <a:gd name="T13" fmla="*/ 16 h 441"/>
                <a:gd name="T14" fmla="*/ 240 w 441"/>
                <a:gd name="T15" fmla="*/ 7 h 441"/>
                <a:gd name="T16" fmla="*/ 201 w 441"/>
                <a:gd name="T17" fmla="*/ 7 h 441"/>
                <a:gd name="T18" fmla="*/ 156 w 441"/>
                <a:gd name="T19" fmla="*/ 16 h 441"/>
                <a:gd name="T20" fmla="*/ 120 w 441"/>
                <a:gd name="T21" fmla="*/ 31 h 441"/>
                <a:gd name="T22" fmla="*/ 84 w 441"/>
                <a:gd name="T23" fmla="*/ 56 h 441"/>
                <a:gd name="T24" fmla="*/ 56 w 441"/>
                <a:gd name="T25" fmla="*/ 84 h 441"/>
                <a:gd name="T26" fmla="*/ 31 w 441"/>
                <a:gd name="T27" fmla="*/ 122 h 441"/>
                <a:gd name="T28" fmla="*/ 16 w 441"/>
                <a:gd name="T29" fmla="*/ 158 h 441"/>
                <a:gd name="T30" fmla="*/ 7 w 441"/>
                <a:gd name="T31" fmla="*/ 201 h 441"/>
                <a:gd name="T32" fmla="*/ 7 w 441"/>
                <a:gd name="T33" fmla="*/ 240 h 441"/>
                <a:gd name="T34" fmla="*/ 16 w 441"/>
                <a:gd name="T35" fmla="*/ 285 h 441"/>
                <a:gd name="T36" fmla="*/ 32 w 441"/>
                <a:gd name="T37" fmla="*/ 321 h 441"/>
                <a:gd name="T38" fmla="*/ 56 w 441"/>
                <a:gd name="T39" fmla="*/ 357 h 441"/>
                <a:gd name="T40" fmla="*/ 84 w 441"/>
                <a:gd name="T41" fmla="*/ 385 h 441"/>
                <a:gd name="T42" fmla="*/ 122 w 441"/>
                <a:gd name="T43" fmla="*/ 411 h 441"/>
                <a:gd name="T44" fmla="*/ 158 w 441"/>
                <a:gd name="T45" fmla="*/ 425 h 441"/>
                <a:gd name="T46" fmla="*/ 201 w 441"/>
                <a:gd name="T47" fmla="*/ 434 h 441"/>
                <a:gd name="T48" fmla="*/ 240 w 441"/>
                <a:gd name="T49" fmla="*/ 434 h 441"/>
                <a:gd name="T50" fmla="*/ 285 w 441"/>
                <a:gd name="T51" fmla="*/ 425 h 441"/>
                <a:gd name="T52" fmla="*/ 321 w 441"/>
                <a:gd name="T53" fmla="*/ 410 h 441"/>
                <a:gd name="T54" fmla="*/ 357 w 441"/>
                <a:gd name="T55" fmla="*/ 385 h 441"/>
                <a:gd name="T56" fmla="*/ 385 w 441"/>
                <a:gd name="T57" fmla="*/ 357 h 441"/>
                <a:gd name="T58" fmla="*/ 411 w 441"/>
                <a:gd name="T59" fmla="*/ 319 h 441"/>
                <a:gd name="T60" fmla="*/ 426 w 441"/>
                <a:gd name="T61" fmla="*/ 283 h 441"/>
                <a:gd name="T62" fmla="*/ 434 w 441"/>
                <a:gd name="T63" fmla="*/ 240 h 441"/>
                <a:gd name="T64" fmla="*/ 356 w 441"/>
                <a:gd name="T65" fmla="*/ 256 h 441"/>
                <a:gd name="T66" fmla="*/ 284 w 441"/>
                <a:gd name="T67" fmla="*/ 213 h 441"/>
                <a:gd name="T68" fmla="*/ 361 w 441"/>
                <a:gd name="T69" fmla="*/ 220 h 441"/>
                <a:gd name="T70" fmla="*/ 275 w 441"/>
                <a:gd name="T71" fmla="*/ 335 h 441"/>
                <a:gd name="T72" fmla="*/ 335 w 441"/>
                <a:gd name="T73" fmla="*/ 276 h 441"/>
                <a:gd name="T74" fmla="*/ 178 w 441"/>
                <a:gd name="T75" fmla="*/ 341 h 441"/>
                <a:gd name="T76" fmla="*/ 263 w 441"/>
                <a:gd name="T77" fmla="*/ 341 h 441"/>
                <a:gd name="T78" fmla="*/ 185 w 441"/>
                <a:gd name="T79" fmla="*/ 358 h 441"/>
                <a:gd name="T80" fmla="*/ 186 w 441"/>
                <a:gd name="T81" fmla="*/ 220 h 441"/>
                <a:gd name="T82" fmla="*/ 221 w 441"/>
                <a:gd name="T83" fmla="*/ 255 h 441"/>
                <a:gd name="T84" fmla="*/ 106 w 441"/>
                <a:gd name="T85" fmla="*/ 277 h 441"/>
                <a:gd name="T86" fmla="*/ 165 w 441"/>
                <a:gd name="T87" fmla="*/ 337 h 441"/>
                <a:gd name="T88" fmla="*/ 100 w 441"/>
                <a:gd name="T89" fmla="*/ 180 h 441"/>
                <a:gd name="T90" fmla="*/ 100 w 441"/>
                <a:gd name="T91" fmla="*/ 264 h 441"/>
                <a:gd name="T92" fmla="*/ 83 w 441"/>
                <a:gd name="T93" fmla="*/ 187 h 441"/>
                <a:gd name="T94" fmla="*/ 148 w 441"/>
                <a:gd name="T95" fmla="*/ 100 h 441"/>
                <a:gd name="T96" fmla="*/ 168 w 441"/>
                <a:gd name="T97" fmla="*/ 182 h 441"/>
                <a:gd name="T98" fmla="*/ 119 w 441"/>
                <a:gd name="T99" fmla="*/ 122 h 441"/>
                <a:gd name="T100" fmla="*/ 211 w 441"/>
                <a:gd name="T101" fmla="*/ 157 h 441"/>
                <a:gd name="T102" fmla="*/ 219 w 441"/>
                <a:gd name="T103" fmla="*/ 80 h 441"/>
                <a:gd name="T104" fmla="*/ 319 w 441"/>
                <a:gd name="T105" fmla="*/ 121 h 441"/>
                <a:gd name="T106" fmla="*/ 270 w 441"/>
                <a:gd name="T107" fmla="*/ 181 h 441"/>
                <a:gd name="T108" fmla="*/ 290 w 441"/>
                <a:gd name="T109" fmla="*/ 99 h 4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41" h="441">
                  <a:moveTo>
                    <a:pt x="441" y="232"/>
                  </a:moveTo>
                  <a:cubicBezTo>
                    <a:pt x="441" y="209"/>
                    <a:pt x="441" y="209"/>
                    <a:pt x="441" y="209"/>
                  </a:cubicBezTo>
                  <a:cubicBezTo>
                    <a:pt x="441" y="205"/>
                    <a:pt x="438" y="201"/>
                    <a:pt x="434" y="201"/>
                  </a:cubicBezTo>
                  <a:cubicBezTo>
                    <a:pt x="401" y="196"/>
                    <a:pt x="401" y="196"/>
                    <a:pt x="401" y="196"/>
                  </a:cubicBezTo>
                  <a:cubicBezTo>
                    <a:pt x="400" y="188"/>
                    <a:pt x="398" y="181"/>
                    <a:pt x="396" y="173"/>
                  </a:cubicBezTo>
                  <a:cubicBezTo>
                    <a:pt x="425" y="156"/>
                    <a:pt x="425" y="156"/>
                    <a:pt x="425" y="156"/>
                  </a:cubicBezTo>
                  <a:cubicBezTo>
                    <a:pt x="428" y="154"/>
                    <a:pt x="430" y="149"/>
                    <a:pt x="428" y="145"/>
                  </a:cubicBezTo>
                  <a:cubicBezTo>
                    <a:pt x="420" y="125"/>
                    <a:pt x="420" y="125"/>
                    <a:pt x="420" y="125"/>
                  </a:cubicBezTo>
                  <a:cubicBezTo>
                    <a:pt x="418" y="121"/>
                    <a:pt x="414" y="119"/>
                    <a:pt x="410" y="120"/>
                  </a:cubicBezTo>
                  <a:cubicBezTo>
                    <a:pt x="377" y="128"/>
                    <a:pt x="377" y="128"/>
                    <a:pt x="377" y="128"/>
                  </a:cubicBezTo>
                  <a:cubicBezTo>
                    <a:pt x="374" y="122"/>
                    <a:pt x="370" y="116"/>
                    <a:pt x="365" y="110"/>
                  </a:cubicBezTo>
                  <a:cubicBezTo>
                    <a:pt x="385" y="84"/>
                    <a:pt x="385" y="84"/>
                    <a:pt x="385" y="84"/>
                  </a:cubicBezTo>
                  <a:cubicBezTo>
                    <a:pt x="388" y="80"/>
                    <a:pt x="387" y="75"/>
                    <a:pt x="385" y="72"/>
                  </a:cubicBezTo>
                  <a:cubicBezTo>
                    <a:pt x="369" y="56"/>
                    <a:pt x="369" y="56"/>
                    <a:pt x="369" y="56"/>
                  </a:cubicBezTo>
                  <a:cubicBezTo>
                    <a:pt x="366" y="54"/>
                    <a:pt x="361" y="53"/>
                    <a:pt x="357" y="56"/>
                  </a:cubicBezTo>
                  <a:cubicBezTo>
                    <a:pt x="331" y="76"/>
                    <a:pt x="331" y="76"/>
                    <a:pt x="331" y="76"/>
                  </a:cubicBezTo>
                  <a:cubicBezTo>
                    <a:pt x="325" y="71"/>
                    <a:pt x="318" y="67"/>
                    <a:pt x="311" y="63"/>
                  </a:cubicBezTo>
                  <a:cubicBezTo>
                    <a:pt x="320" y="30"/>
                    <a:pt x="320" y="30"/>
                    <a:pt x="320" y="30"/>
                  </a:cubicBezTo>
                  <a:cubicBezTo>
                    <a:pt x="321" y="26"/>
                    <a:pt x="318" y="22"/>
                    <a:pt x="314" y="20"/>
                  </a:cubicBezTo>
                  <a:cubicBezTo>
                    <a:pt x="294" y="12"/>
                    <a:pt x="294" y="12"/>
                    <a:pt x="294" y="12"/>
                  </a:cubicBezTo>
                  <a:cubicBezTo>
                    <a:pt x="290" y="10"/>
                    <a:pt x="285" y="12"/>
                    <a:pt x="283" y="16"/>
                  </a:cubicBezTo>
                  <a:cubicBezTo>
                    <a:pt x="266" y="44"/>
                    <a:pt x="266" y="44"/>
                    <a:pt x="266" y="44"/>
                  </a:cubicBezTo>
                  <a:cubicBezTo>
                    <a:pt x="259" y="43"/>
                    <a:pt x="252" y="41"/>
                    <a:pt x="245" y="40"/>
                  </a:cubicBezTo>
                  <a:cubicBezTo>
                    <a:pt x="240" y="7"/>
                    <a:pt x="240" y="7"/>
                    <a:pt x="240" y="7"/>
                  </a:cubicBezTo>
                  <a:cubicBezTo>
                    <a:pt x="240" y="3"/>
                    <a:pt x="236" y="0"/>
                    <a:pt x="232" y="0"/>
                  </a:cubicBezTo>
                  <a:cubicBezTo>
                    <a:pt x="209" y="0"/>
                    <a:pt x="209" y="0"/>
                    <a:pt x="209" y="0"/>
                  </a:cubicBezTo>
                  <a:cubicBezTo>
                    <a:pt x="205" y="0"/>
                    <a:pt x="201" y="3"/>
                    <a:pt x="201" y="7"/>
                  </a:cubicBezTo>
                  <a:cubicBezTo>
                    <a:pt x="196" y="40"/>
                    <a:pt x="196" y="40"/>
                    <a:pt x="196" y="40"/>
                  </a:cubicBezTo>
                  <a:cubicBezTo>
                    <a:pt x="188" y="41"/>
                    <a:pt x="181" y="43"/>
                    <a:pt x="173" y="45"/>
                  </a:cubicBezTo>
                  <a:cubicBezTo>
                    <a:pt x="156" y="16"/>
                    <a:pt x="156" y="16"/>
                    <a:pt x="156" y="16"/>
                  </a:cubicBezTo>
                  <a:cubicBezTo>
                    <a:pt x="154" y="13"/>
                    <a:pt x="149" y="11"/>
                    <a:pt x="145" y="13"/>
                  </a:cubicBezTo>
                  <a:cubicBezTo>
                    <a:pt x="125" y="21"/>
                    <a:pt x="125" y="21"/>
                    <a:pt x="125" y="21"/>
                  </a:cubicBezTo>
                  <a:cubicBezTo>
                    <a:pt x="121" y="23"/>
                    <a:pt x="119" y="27"/>
                    <a:pt x="120" y="31"/>
                  </a:cubicBezTo>
                  <a:cubicBezTo>
                    <a:pt x="128" y="64"/>
                    <a:pt x="128" y="64"/>
                    <a:pt x="128" y="64"/>
                  </a:cubicBezTo>
                  <a:cubicBezTo>
                    <a:pt x="122" y="67"/>
                    <a:pt x="116" y="71"/>
                    <a:pt x="111" y="76"/>
                  </a:cubicBezTo>
                  <a:cubicBezTo>
                    <a:pt x="84" y="56"/>
                    <a:pt x="84" y="56"/>
                    <a:pt x="84" y="56"/>
                  </a:cubicBezTo>
                  <a:cubicBezTo>
                    <a:pt x="80" y="53"/>
                    <a:pt x="75" y="54"/>
                    <a:pt x="72" y="56"/>
                  </a:cubicBezTo>
                  <a:cubicBezTo>
                    <a:pt x="57" y="72"/>
                    <a:pt x="57" y="72"/>
                    <a:pt x="57" y="72"/>
                  </a:cubicBezTo>
                  <a:cubicBezTo>
                    <a:pt x="54" y="75"/>
                    <a:pt x="53" y="80"/>
                    <a:pt x="56" y="84"/>
                  </a:cubicBezTo>
                  <a:cubicBezTo>
                    <a:pt x="76" y="110"/>
                    <a:pt x="76" y="110"/>
                    <a:pt x="76" y="110"/>
                  </a:cubicBezTo>
                  <a:cubicBezTo>
                    <a:pt x="71" y="117"/>
                    <a:pt x="67" y="123"/>
                    <a:pt x="63" y="130"/>
                  </a:cubicBezTo>
                  <a:cubicBezTo>
                    <a:pt x="31" y="122"/>
                    <a:pt x="31" y="122"/>
                    <a:pt x="31" y="122"/>
                  </a:cubicBezTo>
                  <a:cubicBezTo>
                    <a:pt x="27" y="121"/>
                    <a:pt x="22" y="123"/>
                    <a:pt x="20" y="127"/>
                  </a:cubicBezTo>
                  <a:cubicBezTo>
                    <a:pt x="12" y="147"/>
                    <a:pt x="12" y="147"/>
                    <a:pt x="12" y="147"/>
                  </a:cubicBezTo>
                  <a:cubicBezTo>
                    <a:pt x="10" y="151"/>
                    <a:pt x="12" y="156"/>
                    <a:pt x="16" y="158"/>
                  </a:cubicBezTo>
                  <a:cubicBezTo>
                    <a:pt x="45" y="175"/>
                    <a:pt x="45" y="175"/>
                    <a:pt x="45" y="175"/>
                  </a:cubicBezTo>
                  <a:cubicBezTo>
                    <a:pt x="43" y="182"/>
                    <a:pt x="41" y="189"/>
                    <a:pt x="40" y="196"/>
                  </a:cubicBezTo>
                  <a:cubicBezTo>
                    <a:pt x="7" y="201"/>
                    <a:pt x="7" y="201"/>
                    <a:pt x="7" y="201"/>
                  </a:cubicBezTo>
                  <a:cubicBezTo>
                    <a:pt x="3" y="201"/>
                    <a:pt x="0" y="205"/>
                    <a:pt x="0" y="209"/>
                  </a:cubicBezTo>
                  <a:cubicBezTo>
                    <a:pt x="0" y="232"/>
                    <a:pt x="0" y="232"/>
                    <a:pt x="0" y="232"/>
                  </a:cubicBezTo>
                  <a:cubicBezTo>
                    <a:pt x="0" y="236"/>
                    <a:pt x="3" y="240"/>
                    <a:pt x="7" y="240"/>
                  </a:cubicBezTo>
                  <a:cubicBezTo>
                    <a:pt x="40" y="245"/>
                    <a:pt x="40" y="245"/>
                    <a:pt x="40" y="245"/>
                  </a:cubicBezTo>
                  <a:cubicBezTo>
                    <a:pt x="42" y="253"/>
                    <a:pt x="43" y="260"/>
                    <a:pt x="45" y="268"/>
                  </a:cubicBezTo>
                  <a:cubicBezTo>
                    <a:pt x="16" y="285"/>
                    <a:pt x="16" y="285"/>
                    <a:pt x="16" y="285"/>
                  </a:cubicBezTo>
                  <a:cubicBezTo>
                    <a:pt x="13" y="287"/>
                    <a:pt x="11" y="292"/>
                    <a:pt x="13" y="296"/>
                  </a:cubicBezTo>
                  <a:cubicBezTo>
                    <a:pt x="21" y="316"/>
                    <a:pt x="21" y="316"/>
                    <a:pt x="21" y="316"/>
                  </a:cubicBezTo>
                  <a:cubicBezTo>
                    <a:pt x="23" y="320"/>
                    <a:pt x="28" y="322"/>
                    <a:pt x="32" y="321"/>
                  </a:cubicBezTo>
                  <a:cubicBezTo>
                    <a:pt x="64" y="313"/>
                    <a:pt x="64" y="313"/>
                    <a:pt x="64" y="313"/>
                  </a:cubicBezTo>
                  <a:cubicBezTo>
                    <a:pt x="68" y="319"/>
                    <a:pt x="72" y="325"/>
                    <a:pt x="76" y="331"/>
                  </a:cubicBezTo>
                  <a:cubicBezTo>
                    <a:pt x="56" y="357"/>
                    <a:pt x="56" y="357"/>
                    <a:pt x="56" y="357"/>
                  </a:cubicBezTo>
                  <a:cubicBezTo>
                    <a:pt x="53" y="361"/>
                    <a:pt x="54" y="366"/>
                    <a:pt x="57" y="369"/>
                  </a:cubicBezTo>
                  <a:cubicBezTo>
                    <a:pt x="72" y="384"/>
                    <a:pt x="72" y="384"/>
                    <a:pt x="72" y="384"/>
                  </a:cubicBezTo>
                  <a:cubicBezTo>
                    <a:pt x="75" y="387"/>
                    <a:pt x="80" y="388"/>
                    <a:pt x="84" y="385"/>
                  </a:cubicBezTo>
                  <a:cubicBezTo>
                    <a:pt x="111" y="365"/>
                    <a:pt x="111" y="365"/>
                    <a:pt x="111" y="365"/>
                  </a:cubicBezTo>
                  <a:cubicBezTo>
                    <a:pt x="117" y="370"/>
                    <a:pt x="123" y="374"/>
                    <a:pt x="130" y="378"/>
                  </a:cubicBezTo>
                  <a:cubicBezTo>
                    <a:pt x="122" y="411"/>
                    <a:pt x="122" y="411"/>
                    <a:pt x="122" y="411"/>
                  </a:cubicBezTo>
                  <a:cubicBezTo>
                    <a:pt x="121" y="415"/>
                    <a:pt x="123" y="419"/>
                    <a:pt x="127" y="421"/>
                  </a:cubicBezTo>
                  <a:cubicBezTo>
                    <a:pt x="147" y="429"/>
                    <a:pt x="147" y="429"/>
                    <a:pt x="147" y="429"/>
                  </a:cubicBezTo>
                  <a:cubicBezTo>
                    <a:pt x="151" y="431"/>
                    <a:pt x="156" y="429"/>
                    <a:pt x="158" y="425"/>
                  </a:cubicBezTo>
                  <a:cubicBezTo>
                    <a:pt x="175" y="397"/>
                    <a:pt x="175" y="397"/>
                    <a:pt x="175" y="397"/>
                  </a:cubicBezTo>
                  <a:cubicBezTo>
                    <a:pt x="182" y="398"/>
                    <a:pt x="189" y="400"/>
                    <a:pt x="196" y="401"/>
                  </a:cubicBezTo>
                  <a:cubicBezTo>
                    <a:pt x="201" y="434"/>
                    <a:pt x="201" y="434"/>
                    <a:pt x="201" y="434"/>
                  </a:cubicBezTo>
                  <a:cubicBezTo>
                    <a:pt x="201" y="438"/>
                    <a:pt x="205" y="441"/>
                    <a:pt x="209" y="441"/>
                  </a:cubicBezTo>
                  <a:cubicBezTo>
                    <a:pt x="232" y="441"/>
                    <a:pt x="232" y="441"/>
                    <a:pt x="232" y="441"/>
                  </a:cubicBezTo>
                  <a:cubicBezTo>
                    <a:pt x="236" y="441"/>
                    <a:pt x="240" y="438"/>
                    <a:pt x="240" y="434"/>
                  </a:cubicBezTo>
                  <a:cubicBezTo>
                    <a:pt x="245" y="401"/>
                    <a:pt x="245" y="401"/>
                    <a:pt x="245" y="401"/>
                  </a:cubicBezTo>
                  <a:cubicBezTo>
                    <a:pt x="253" y="400"/>
                    <a:pt x="260" y="398"/>
                    <a:pt x="268" y="396"/>
                  </a:cubicBezTo>
                  <a:cubicBezTo>
                    <a:pt x="285" y="425"/>
                    <a:pt x="285" y="425"/>
                    <a:pt x="285" y="425"/>
                  </a:cubicBezTo>
                  <a:cubicBezTo>
                    <a:pt x="287" y="428"/>
                    <a:pt x="292" y="430"/>
                    <a:pt x="296" y="428"/>
                  </a:cubicBezTo>
                  <a:cubicBezTo>
                    <a:pt x="316" y="420"/>
                    <a:pt x="316" y="420"/>
                    <a:pt x="316" y="420"/>
                  </a:cubicBezTo>
                  <a:cubicBezTo>
                    <a:pt x="320" y="418"/>
                    <a:pt x="322" y="414"/>
                    <a:pt x="321" y="410"/>
                  </a:cubicBezTo>
                  <a:cubicBezTo>
                    <a:pt x="313" y="377"/>
                    <a:pt x="313" y="377"/>
                    <a:pt x="313" y="377"/>
                  </a:cubicBezTo>
                  <a:cubicBezTo>
                    <a:pt x="319" y="373"/>
                    <a:pt x="325" y="369"/>
                    <a:pt x="331" y="365"/>
                  </a:cubicBezTo>
                  <a:cubicBezTo>
                    <a:pt x="357" y="385"/>
                    <a:pt x="357" y="385"/>
                    <a:pt x="357" y="385"/>
                  </a:cubicBezTo>
                  <a:cubicBezTo>
                    <a:pt x="361" y="388"/>
                    <a:pt x="366" y="387"/>
                    <a:pt x="369" y="384"/>
                  </a:cubicBezTo>
                  <a:cubicBezTo>
                    <a:pt x="385" y="369"/>
                    <a:pt x="385" y="369"/>
                    <a:pt x="385" y="369"/>
                  </a:cubicBezTo>
                  <a:cubicBezTo>
                    <a:pt x="387" y="366"/>
                    <a:pt x="388" y="361"/>
                    <a:pt x="385" y="357"/>
                  </a:cubicBezTo>
                  <a:cubicBezTo>
                    <a:pt x="365" y="331"/>
                    <a:pt x="365" y="331"/>
                    <a:pt x="365" y="331"/>
                  </a:cubicBezTo>
                  <a:cubicBezTo>
                    <a:pt x="370" y="324"/>
                    <a:pt x="374" y="318"/>
                    <a:pt x="378" y="311"/>
                  </a:cubicBezTo>
                  <a:cubicBezTo>
                    <a:pt x="411" y="319"/>
                    <a:pt x="411" y="319"/>
                    <a:pt x="411" y="319"/>
                  </a:cubicBezTo>
                  <a:cubicBezTo>
                    <a:pt x="415" y="320"/>
                    <a:pt x="419" y="318"/>
                    <a:pt x="421" y="314"/>
                  </a:cubicBezTo>
                  <a:cubicBezTo>
                    <a:pt x="429" y="294"/>
                    <a:pt x="429" y="294"/>
                    <a:pt x="429" y="294"/>
                  </a:cubicBezTo>
                  <a:cubicBezTo>
                    <a:pt x="431" y="290"/>
                    <a:pt x="429" y="285"/>
                    <a:pt x="426" y="283"/>
                  </a:cubicBezTo>
                  <a:cubicBezTo>
                    <a:pt x="397" y="266"/>
                    <a:pt x="397" y="266"/>
                    <a:pt x="397" y="266"/>
                  </a:cubicBezTo>
                  <a:cubicBezTo>
                    <a:pt x="398" y="259"/>
                    <a:pt x="400" y="252"/>
                    <a:pt x="401" y="245"/>
                  </a:cubicBezTo>
                  <a:cubicBezTo>
                    <a:pt x="434" y="240"/>
                    <a:pt x="434" y="240"/>
                    <a:pt x="434" y="240"/>
                  </a:cubicBezTo>
                  <a:cubicBezTo>
                    <a:pt x="438" y="240"/>
                    <a:pt x="441" y="236"/>
                    <a:pt x="441" y="232"/>
                  </a:cubicBezTo>
                  <a:close/>
                  <a:moveTo>
                    <a:pt x="361" y="220"/>
                  </a:moveTo>
                  <a:cubicBezTo>
                    <a:pt x="361" y="238"/>
                    <a:pt x="356" y="256"/>
                    <a:pt x="356" y="256"/>
                  </a:cubicBezTo>
                  <a:cubicBezTo>
                    <a:pt x="354" y="264"/>
                    <a:pt x="346" y="267"/>
                    <a:pt x="339" y="263"/>
                  </a:cubicBezTo>
                  <a:cubicBezTo>
                    <a:pt x="284" y="228"/>
                    <a:pt x="284" y="228"/>
                    <a:pt x="284" y="228"/>
                  </a:cubicBezTo>
                  <a:cubicBezTo>
                    <a:pt x="277" y="224"/>
                    <a:pt x="277" y="217"/>
                    <a:pt x="284" y="213"/>
                  </a:cubicBezTo>
                  <a:cubicBezTo>
                    <a:pt x="339" y="178"/>
                    <a:pt x="339" y="178"/>
                    <a:pt x="339" y="178"/>
                  </a:cubicBezTo>
                  <a:cubicBezTo>
                    <a:pt x="346" y="174"/>
                    <a:pt x="354" y="177"/>
                    <a:pt x="356" y="185"/>
                  </a:cubicBezTo>
                  <a:cubicBezTo>
                    <a:pt x="356" y="185"/>
                    <a:pt x="361" y="203"/>
                    <a:pt x="361" y="220"/>
                  </a:cubicBezTo>
                  <a:close/>
                  <a:moveTo>
                    <a:pt x="321" y="321"/>
                  </a:moveTo>
                  <a:cubicBezTo>
                    <a:pt x="308" y="333"/>
                    <a:pt x="292" y="343"/>
                    <a:pt x="292" y="343"/>
                  </a:cubicBezTo>
                  <a:cubicBezTo>
                    <a:pt x="285" y="347"/>
                    <a:pt x="277" y="343"/>
                    <a:pt x="275" y="335"/>
                  </a:cubicBezTo>
                  <a:cubicBezTo>
                    <a:pt x="260" y="272"/>
                    <a:pt x="260" y="272"/>
                    <a:pt x="260" y="272"/>
                  </a:cubicBezTo>
                  <a:cubicBezTo>
                    <a:pt x="258" y="264"/>
                    <a:pt x="263" y="259"/>
                    <a:pt x="271" y="260"/>
                  </a:cubicBezTo>
                  <a:cubicBezTo>
                    <a:pt x="335" y="276"/>
                    <a:pt x="335" y="276"/>
                    <a:pt x="335" y="276"/>
                  </a:cubicBezTo>
                  <a:cubicBezTo>
                    <a:pt x="343" y="278"/>
                    <a:pt x="346" y="285"/>
                    <a:pt x="342" y="292"/>
                  </a:cubicBezTo>
                  <a:cubicBezTo>
                    <a:pt x="342" y="292"/>
                    <a:pt x="333" y="309"/>
                    <a:pt x="321" y="321"/>
                  </a:cubicBezTo>
                  <a:close/>
                  <a:moveTo>
                    <a:pt x="178" y="341"/>
                  </a:moveTo>
                  <a:cubicBezTo>
                    <a:pt x="213" y="285"/>
                    <a:pt x="213" y="285"/>
                    <a:pt x="213" y="285"/>
                  </a:cubicBezTo>
                  <a:cubicBezTo>
                    <a:pt x="217" y="278"/>
                    <a:pt x="224" y="278"/>
                    <a:pt x="228" y="285"/>
                  </a:cubicBezTo>
                  <a:cubicBezTo>
                    <a:pt x="263" y="341"/>
                    <a:pt x="263" y="341"/>
                    <a:pt x="263" y="341"/>
                  </a:cubicBezTo>
                  <a:cubicBezTo>
                    <a:pt x="267" y="348"/>
                    <a:pt x="264" y="356"/>
                    <a:pt x="256" y="358"/>
                  </a:cubicBezTo>
                  <a:cubicBezTo>
                    <a:pt x="256" y="358"/>
                    <a:pt x="238" y="363"/>
                    <a:pt x="221" y="363"/>
                  </a:cubicBezTo>
                  <a:cubicBezTo>
                    <a:pt x="203" y="363"/>
                    <a:pt x="185" y="358"/>
                    <a:pt x="185" y="358"/>
                  </a:cubicBezTo>
                  <a:cubicBezTo>
                    <a:pt x="177" y="356"/>
                    <a:pt x="174" y="348"/>
                    <a:pt x="178" y="341"/>
                  </a:cubicBezTo>
                  <a:close/>
                  <a:moveTo>
                    <a:pt x="221" y="255"/>
                  </a:moveTo>
                  <a:cubicBezTo>
                    <a:pt x="202" y="255"/>
                    <a:pt x="186" y="240"/>
                    <a:pt x="186" y="220"/>
                  </a:cubicBezTo>
                  <a:cubicBezTo>
                    <a:pt x="186" y="201"/>
                    <a:pt x="202" y="186"/>
                    <a:pt x="221" y="186"/>
                  </a:cubicBezTo>
                  <a:cubicBezTo>
                    <a:pt x="240" y="186"/>
                    <a:pt x="255" y="201"/>
                    <a:pt x="255" y="220"/>
                  </a:cubicBezTo>
                  <a:cubicBezTo>
                    <a:pt x="255" y="240"/>
                    <a:pt x="240" y="255"/>
                    <a:pt x="221" y="255"/>
                  </a:cubicBezTo>
                  <a:close/>
                  <a:moveTo>
                    <a:pt x="120" y="322"/>
                  </a:moveTo>
                  <a:cubicBezTo>
                    <a:pt x="108" y="310"/>
                    <a:pt x="99" y="294"/>
                    <a:pt x="99" y="294"/>
                  </a:cubicBezTo>
                  <a:cubicBezTo>
                    <a:pt x="95" y="286"/>
                    <a:pt x="98" y="279"/>
                    <a:pt x="106" y="277"/>
                  </a:cubicBezTo>
                  <a:cubicBezTo>
                    <a:pt x="170" y="262"/>
                    <a:pt x="170" y="262"/>
                    <a:pt x="170" y="262"/>
                  </a:cubicBezTo>
                  <a:cubicBezTo>
                    <a:pt x="178" y="260"/>
                    <a:pt x="182" y="265"/>
                    <a:pt x="181" y="273"/>
                  </a:cubicBezTo>
                  <a:cubicBezTo>
                    <a:pt x="165" y="337"/>
                    <a:pt x="165" y="337"/>
                    <a:pt x="165" y="337"/>
                  </a:cubicBezTo>
                  <a:cubicBezTo>
                    <a:pt x="163" y="345"/>
                    <a:pt x="156" y="348"/>
                    <a:pt x="149" y="344"/>
                  </a:cubicBezTo>
                  <a:cubicBezTo>
                    <a:pt x="149" y="344"/>
                    <a:pt x="133" y="335"/>
                    <a:pt x="120" y="322"/>
                  </a:cubicBezTo>
                  <a:close/>
                  <a:moveTo>
                    <a:pt x="100" y="180"/>
                  </a:moveTo>
                  <a:cubicBezTo>
                    <a:pt x="156" y="215"/>
                    <a:pt x="156" y="215"/>
                    <a:pt x="156" y="215"/>
                  </a:cubicBezTo>
                  <a:cubicBezTo>
                    <a:pt x="163" y="219"/>
                    <a:pt x="163" y="226"/>
                    <a:pt x="156" y="230"/>
                  </a:cubicBezTo>
                  <a:cubicBezTo>
                    <a:pt x="100" y="264"/>
                    <a:pt x="100" y="264"/>
                    <a:pt x="100" y="264"/>
                  </a:cubicBezTo>
                  <a:cubicBezTo>
                    <a:pt x="93" y="269"/>
                    <a:pt x="85" y="266"/>
                    <a:pt x="83" y="258"/>
                  </a:cubicBezTo>
                  <a:cubicBezTo>
                    <a:pt x="83" y="258"/>
                    <a:pt x="78" y="240"/>
                    <a:pt x="78" y="222"/>
                  </a:cubicBezTo>
                  <a:cubicBezTo>
                    <a:pt x="78" y="205"/>
                    <a:pt x="83" y="187"/>
                    <a:pt x="83" y="187"/>
                  </a:cubicBezTo>
                  <a:cubicBezTo>
                    <a:pt x="85" y="179"/>
                    <a:pt x="93" y="176"/>
                    <a:pt x="100" y="180"/>
                  </a:cubicBezTo>
                  <a:close/>
                  <a:moveTo>
                    <a:pt x="119" y="122"/>
                  </a:moveTo>
                  <a:cubicBezTo>
                    <a:pt x="131" y="109"/>
                    <a:pt x="148" y="100"/>
                    <a:pt x="148" y="100"/>
                  </a:cubicBezTo>
                  <a:cubicBezTo>
                    <a:pt x="155" y="96"/>
                    <a:pt x="162" y="100"/>
                    <a:pt x="164" y="108"/>
                  </a:cubicBezTo>
                  <a:cubicBezTo>
                    <a:pt x="179" y="171"/>
                    <a:pt x="179" y="171"/>
                    <a:pt x="179" y="171"/>
                  </a:cubicBezTo>
                  <a:cubicBezTo>
                    <a:pt x="181" y="179"/>
                    <a:pt x="176" y="184"/>
                    <a:pt x="168" y="182"/>
                  </a:cubicBezTo>
                  <a:cubicBezTo>
                    <a:pt x="104" y="167"/>
                    <a:pt x="104" y="167"/>
                    <a:pt x="104" y="167"/>
                  </a:cubicBezTo>
                  <a:cubicBezTo>
                    <a:pt x="96" y="165"/>
                    <a:pt x="93" y="158"/>
                    <a:pt x="97" y="151"/>
                  </a:cubicBezTo>
                  <a:cubicBezTo>
                    <a:pt x="97" y="151"/>
                    <a:pt x="106" y="134"/>
                    <a:pt x="119" y="122"/>
                  </a:cubicBezTo>
                  <a:close/>
                  <a:moveTo>
                    <a:pt x="261" y="102"/>
                  </a:moveTo>
                  <a:cubicBezTo>
                    <a:pt x="227" y="157"/>
                    <a:pt x="227" y="157"/>
                    <a:pt x="227" y="157"/>
                  </a:cubicBezTo>
                  <a:cubicBezTo>
                    <a:pt x="222" y="164"/>
                    <a:pt x="215" y="164"/>
                    <a:pt x="211" y="157"/>
                  </a:cubicBezTo>
                  <a:cubicBezTo>
                    <a:pt x="177" y="102"/>
                    <a:pt x="177" y="102"/>
                    <a:pt x="177" y="102"/>
                  </a:cubicBezTo>
                  <a:cubicBezTo>
                    <a:pt x="172" y="95"/>
                    <a:pt x="175" y="87"/>
                    <a:pt x="183" y="85"/>
                  </a:cubicBezTo>
                  <a:cubicBezTo>
                    <a:pt x="183" y="85"/>
                    <a:pt x="201" y="80"/>
                    <a:pt x="219" y="80"/>
                  </a:cubicBezTo>
                  <a:cubicBezTo>
                    <a:pt x="236" y="80"/>
                    <a:pt x="254" y="85"/>
                    <a:pt x="254" y="85"/>
                  </a:cubicBezTo>
                  <a:cubicBezTo>
                    <a:pt x="262" y="87"/>
                    <a:pt x="265" y="95"/>
                    <a:pt x="261" y="102"/>
                  </a:cubicBezTo>
                  <a:close/>
                  <a:moveTo>
                    <a:pt x="319" y="121"/>
                  </a:moveTo>
                  <a:cubicBezTo>
                    <a:pt x="332" y="133"/>
                    <a:pt x="341" y="149"/>
                    <a:pt x="341" y="149"/>
                  </a:cubicBezTo>
                  <a:cubicBezTo>
                    <a:pt x="345" y="156"/>
                    <a:pt x="342" y="164"/>
                    <a:pt x="334" y="166"/>
                  </a:cubicBezTo>
                  <a:cubicBezTo>
                    <a:pt x="270" y="181"/>
                    <a:pt x="270" y="181"/>
                    <a:pt x="270" y="181"/>
                  </a:cubicBezTo>
                  <a:cubicBezTo>
                    <a:pt x="262" y="183"/>
                    <a:pt x="257" y="178"/>
                    <a:pt x="259" y="170"/>
                  </a:cubicBezTo>
                  <a:cubicBezTo>
                    <a:pt x="274" y="106"/>
                    <a:pt x="274" y="106"/>
                    <a:pt x="274" y="106"/>
                  </a:cubicBezTo>
                  <a:cubicBezTo>
                    <a:pt x="276" y="98"/>
                    <a:pt x="283" y="95"/>
                    <a:pt x="290" y="99"/>
                  </a:cubicBezTo>
                  <a:cubicBezTo>
                    <a:pt x="290" y="99"/>
                    <a:pt x="307" y="108"/>
                    <a:pt x="319" y="121"/>
                  </a:cubicBez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grpSp>
      <p:sp>
        <p:nvSpPr>
          <p:cNvPr id="24" name="Freeform 23"/>
          <p:cNvSpPr>
            <a:spLocks noChangeAspect="1"/>
          </p:cNvSpPr>
          <p:nvPr/>
        </p:nvSpPr>
        <p:spPr bwMode="auto">
          <a:xfrm>
            <a:off x="9574186" y="3426569"/>
            <a:ext cx="1280437" cy="966617"/>
          </a:xfrm>
          <a:custGeom>
            <a:avLst/>
            <a:gdLst>
              <a:gd name="connsiteX0" fmla="*/ 5546725 w 8802688"/>
              <a:gd name="connsiteY0" fmla="*/ 4819650 h 6677025"/>
              <a:gd name="connsiteX1" fmla="*/ 5573713 w 8802688"/>
              <a:gd name="connsiteY1" fmla="*/ 4926013 h 6677025"/>
              <a:gd name="connsiteX2" fmla="*/ 5603875 w 8802688"/>
              <a:gd name="connsiteY2" fmla="*/ 5024438 h 6677025"/>
              <a:gd name="connsiteX3" fmla="*/ 5630863 w 8802688"/>
              <a:gd name="connsiteY3" fmla="*/ 5122863 h 6677025"/>
              <a:gd name="connsiteX4" fmla="*/ 5657850 w 8802688"/>
              <a:gd name="connsiteY4" fmla="*/ 5229225 h 6677025"/>
              <a:gd name="connsiteX5" fmla="*/ 5668963 w 8802688"/>
              <a:gd name="connsiteY5" fmla="*/ 5313363 h 6677025"/>
              <a:gd name="connsiteX6" fmla="*/ 5681663 w 8802688"/>
              <a:gd name="connsiteY6" fmla="*/ 5399088 h 6677025"/>
              <a:gd name="connsiteX7" fmla="*/ 5686425 w 8802688"/>
              <a:gd name="connsiteY7" fmla="*/ 5484813 h 6677025"/>
              <a:gd name="connsiteX8" fmla="*/ 5689600 w 8802688"/>
              <a:gd name="connsiteY8" fmla="*/ 5572126 h 6677025"/>
              <a:gd name="connsiteX9" fmla="*/ 5695950 w 8802688"/>
              <a:gd name="connsiteY9" fmla="*/ 5749926 h 6677025"/>
              <a:gd name="connsiteX10" fmla="*/ 5695950 w 8802688"/>
              <a:gd name="connsiteY10" fmla="*/ 5940426 h 6677025"/>
              <a:gd name="connsiteX11" fmla="*/ 5692775 w 8802688"/>
              <a:gd name="connsiteY11" fmla="*/ 5957888 h 6677025"/>
              <a:gd name="connsiteX12" fmla="*/ 5689600 w 8802688"/>
              <a:gd name="connsiteY12" fmla="*/ 5978526 h 6677025"/>
              <a:gd name="connsiteX13" fmla="*/ 5681663 w 8802688"/>
              <a:gd name="connsiteY13" fmla="*/ 6002338 h 6677025"/>
              <a:gd name="connsiteX14" fmla="*/ 5672138 w 8802688"/>
              <a:gd name="connsiteY14" fmla="*/ 6029326 h 6677025"/>
              <a:gd name="connsiteX15" fmla="*/ 5659438 w 8802688"/>
              <a:gd name="connsiteY15" fmla="*/ 6053138 h 6677025"/>
              <a:gd name="connsiteX16" fmla="*/ 5648325 w 8802688"/>
              <a:gd name="connsiteY16" fmla="*/ 6070601 h 6677025"/>
              <a:gd name="connsiteX17" fmla="*/ 5634038 w 8802688"/>
              <a:gd name="connsiteY17" fmla="*/ 6086476 h 6677025"/>
              <a:gd name="connsiteX18" fmla="*/ 5627688 w 8802688"/>
              <a:gd name="connsiteY18" fmla="*/ 6088063 h 6677025"/>
              <a:gd name="connsiteX19" fmla="*/ 5621338 w 8802688"/>
              <a:gd name="connsiteY19" fmla="*/ 6088063 h 6677025"/>
              <a:gd name="connsiteX20" fmla="*/ 5526088 w 8802688"/>
              <a:gd name="connsiteY20" fmla="*/ 6100763 h 6677025"/>
              <a:gd name="connsiteX21" fmla="*/ 5430838 w 8802688"/>
              <a:gd name="connsiteY21" fmla="*/ 6107113 h 6677025"/>
              <a:gd name="connsiteX22" fmla="*/ 5338763 w 8802688"/>
              <a:gd name="connsiteY22" fmla="*/ 6107113 h 6677025"/>
              <a:gd name="connsiteX23" fmla="*/ 5249862 w 8802688"/>
              <a:gd name="connsiteY23" fmla="*/ 6103938 h 6677025"/>
              <a:gd name="connsiteX24" fmla="*/ 5068887 w 8802688"/>
              <a:gd name="connsiteY24" fmla="*/ 6094413 h 6677025"/>
              <a:gd name="connsiteX25" fmla="*/ 4973637 w 8802688"/>
              <a:gd name="connsiteY25" fmla="*/ 6091238 h 6677025"/>
              <a:gd name="connsiteX26" fmla="*/ 4878387 w 8802688"/>
              <a:gd name="connsiteY26" fmla="*/ 6088063 h 6677025"/>
              <a:gd name="connsiteX27" fmla="*/ 5045075 w 8802688"/>
              <a:gd name="connsiteY27" fmla="*/ 5780088 h 6677025"/>
              <a:gd name="connsiteX28" fmla="*/ 5213350 w 8802688"/>
              <a:gd name="connsiteY28" fmla="*/ 5467350 h 6677025"/>
              <a:gd name="connsiteX29" fmla="*/ 5380038 w 8802688"/>
              <a:gd name="connsiteY29" fmla="*/ 5149850 h 6677025"/>
              <a:gd name="connsiteX30" fmla="*/ 576262 w 8802688"/>
              <a:gd name="connsiteY30" fmla="*/ 4632325 h 6677025"/>
              <a:gd name="connsiteX31" fmla="*/ 685799 w 8802688"/>
              <a:gd name="connsiteY31" fmla="*/ 4827588 h 6677025"/>
              <a:gd name="connsiteX32" fmla="*/ 796925 w 8802688"/>
              <a:gd name="connsiteY32" fmla="*/ 5030788 h 6677025"/>
              <a:gd name="connsiteX33" fmla="*/ 909637 w 8802688"/>
              <a:gd name="connsiteY33" fmla="*/ 5235575 h 6677025"/>
              <a:gd name="connsiteX34" fmla="*/ 1019175 w 8802688"/>
              <a:gd name="connsiteY34" fmla="*/ 5456238 h 6677025"/>
              <a:gd name="connsiteX35" fmla="*/ 1031875 w 8802688"/>
              <a:gd name="connsiteY35" fmla="*/ 5481638 h 6677025"/>
              <a:gd name="connsiteX36" fmla="*/ 1039812 w 8802688"/>
              <a:gd name="connsiteY36" fmla="*/ 5508626 h 6677025"/>
              <a:gd name="connsiteX37" fmla="*/ 1046162 w 8802688"/>
              <a:gd name="connsiteY37" fmla="*/ 5532438 h 6677025"/>
              <a:gd name="connsiteX38" fmla="*/ 1049337 w 8802688"/>
              <a:gd name="connsiteY38" fmla="*/ 5559426 h 6677025"/>
              <a:gd name="connsiteX39" fmla="*/ 1049337 w 8802688"/>
              <a:gd name="connsiteY39" fmla="*/ 5580063 h 6677025"/>
              <a:gd name="connsiteX40" fmla="*/ 1046162 w 8802688"/>
              <a:gd name="connsiteY40" fmla="*/ 5600701 h 6677025"/>
              <a:gd name="connsiteX41" fmla="*/ 1039812 w 8802688"/>
              <a:gd name="connsiteY41" fmla="*/ 5621338 h 6677025"/>
              <a:gd name="connsiteX42" fmla="*/ 1028699 w 8802688"/>
              <a:gd name="connsiteY42" fmla="*/ 5640388 h 6677025"/>
              <a:gd name="connsiteX43" fmla="*/ 1019175 w 8802688"/>
              <a:gd name="connsiteY43" fmla="*/ 5657851 h 6677025"/>
              <a:gd name="connsiteX44" fmla="*/ 1004887 w 8802688"/>
              <a:gd name="connsiteY44" fmla="*/ 5672138 h 6677025"/>
              <a:gd name="connsiteX45" fmla="*/ 987425 w 8802688"/>
              <a:gd name="connsiteY45" fmla="*/ 5684838 h 6677025"/>
              <a:gd name="connsiteX46" fmla="*/ 968375 w 8802688"/>
              <a:gd name="connsiteY46" fmla="*/ 5695951 h 6677025"/>
              <a:gd name="connsiteX47" fmla="*/ 947737 w 8802688"/>
              <a:gd name="connsiteY47" fmla="*/ 5705476 h 6677025"/>
              <a:gd name="connsiteX48" fmla="*/ 923925 w 8802688"/>
              <a:gd name="connsiteY48" fmla="*/ 5711826 h 6677025"/>
              <a:gd name="connsiteX49" fmla="*/ 896937 w 8802688"/>
              <a:gd name="connsiteY49" fmla="*/ 5713413 h 6677025"/>
              <a:gd name="connsiteX50" fmla="*/ 871537 w 8802688"/>
              <a:gd name="connsiteY50" fmla="*/ 5716588 h 6677025"/>
              <a:gd name="connsiteX51" fmla="*/ 844549 w 8802688"/>
              <a:gd name="connsiteY51" fmla="*/ 5716588 h 6677025"/>
              <a:gd name="connsiteX52" fmla="*/ 814387 w 8802688"/>
              <a:gd name="connsiteY52" fmla="*/ 5716588 h 6677025"/>
              <a:gd name="connsiteX53" fmla="*/ 787399 w 8802688"/>
              <a:gd name="connsiteY53" fmla="*/ 5713413 h 6677025"/>
              <a:gd name="connsiteX54" fmla="*/ 757237 w 8802688"/>
              <a:gd name="connsiteY54" fmla="*/ 5711826 h 6677025"/>
              <a:gd name="connsiteX55" fmla="*/ 728662 w 8802688"/>
              <a:gd name="connsiteY55" fmla="*/ 5702301 h 6677025"/>
              <a:gd name="connsiteX56" fmla="*/ 695325 w 8802688"/>
              <a:gd name="connsiteY56" fmla="*/ 5692776 h 6677025"/>
              <a:gd name="connsiteX57" fmla="*/ 636587 w 8802688"/>
              <a:gd name="connsiteY57" fmla="*/ 5668963 h 6677025"/>
              <a:gd name="connsiteX58" fmla="*/ 576262 w 8802688"/>
              <a:gd name="connsiteY58" fmla="*/ 5637213 h 6677025"/>
              <a:gd name="connsiteX59" fmla="*/ 520699 w 8802688"/>
              <a:gd name="connsiteY59" fmla="*/ 5600701 h 6677025"/>
              <a:gd name="connsiteX60" fmla="*/ 463549 w 8802688"/>
              <a:gd name="connsiteY60" fmla="*/ 5556251 h 6677025"/>
              <a:gd name="connsiteX61" fmla="*/ 406399 w 8802688"/>
              <a:gd name="connsiteY61" fmla="*/ 5508626 h 6677025"/>
              <a:gd name="connsiteX62" fmla="*/ 360362 w 8802688"/>
              <a:gd name="connsiteY62" fmla="*/ 5457826 h 6677025"/>
              <a:gd name="connsiteX63" fmla="*/ 312737 w 8802688"/>
              <a:gd name="connsiteY63" fmla="*/ 5405438 h 6677025"/>
              <a:gd name="connsiteX64" fmla="*/ 269875 w 8802688"/>
              <a:gd name="connsiteY64" fmla="*/ 5351463 h 6677025"/>
              <a:gd name="connsiteX65" fmla="*/ 234949 w 8802688"/>
              <a:gd name="connsiteY65" fmla="*/ 5294313 h 6677025"/>
              <a:gd name="connsiteX66" fmla="*/ 207962 w 8802688"/>
              <a:gd name="connsiteY66" fmla="*/ 5238750 h 6677025"/>
              <a:gd name="connsiteX67" fmla="*/ 184149 w 8802688"/>
              <a:gd name="connsiteY67" fmla="*/ 5184775 h 6677025"/>
              <a:gd name="connsiteX68" fmla="*/ 177799 w 8802688"/>
              <a:gd name="connsiteY68" fmla="*/ 5157788 h 6677025"/>
              <a:gd name="connsiteX69" fmla="*/ 173037 w 8802688"/>
              <a:gd name="connsiteY69" fmla="*/ 5130800 h 6677025"/>
              <a:gd name="connsiteX70" fmla="*/ 169862 w 8802688"/>
              <a:gd name="connsiteY70" fmla="*/ 5105400 h 6677025"/>
              <a:gd name="connsiteX71" fmla="*/ 166687 w 8802688"/>
              <a:gd name="connsiteY71" fmla="*/ 5081588 h 6677025"/>
              <a:gd name="connsiteX72" fmla="*/ 169862 w 8802688"/>
              <a:gd name="connsiteY72" fmla="*/ 5054600 h 6677025"/>
              <a:gd name="connsiteX73" fmla="*/ 173037 w 8802688"/>
              <a:gd name="connsiteY73" fmla="*/ 5024438 h 6677025"/>
              <a:gd name="connsiteX74" fmla="*/ 180975 w 8802688"/>
              <a:gd name="connsiteY74" fmla="*/ 4997450 h 6677025"/>
              <a:gd name="connsiteX75" fmla="*/ 190499 w 8802688"/>
              <a:gd name="connsiteY75" fmla="*/ 4973638 h 6677025"/>
              <a:gd name="connsiteX76" fmla="*/ 201612 w 8802688"/>
              <a:gd name="connsiteY76" fmla="*/ 4949825 h 6677025"/>
              <a:gd name="connsiteX77" fmla="*/ 214312 w 8802688"/>
              <a:gd name="connsiteY77" fmla="*/ 4929188 h 6677025"/>
              <a:gd name="connsiteX78" fmla="*/ 228599 w 8802688"/>
              <a:gd name="connsiteY78" fmla="*/ 4908550 h 6677025"/>
              <a:gd name="connsiteX79" fmla="*/ 241299 w 8802688"/>
              <a:gd name="connsiteY79" fmla="*/ 4894263 h 6677025"/>
              <a:gd name="connsiteX80" fmla="*/ 285749 w 8802688"/>
              <a:gd name="connsiteY80" fmla="*/ 4851400 h 6677025"/>
              <a:gd name="connsiteX81" fmla="*/ 330199 w 8802688"/>
              <a:gd name="connsiteY81" fmla="*/ 4816475 h 6677025"/>
              <a:gd name="connsiteX82" fmla="*/ 377825 w 8802688"/>
              <a:gd name="connsiteY82" fmla="*/ 4779963 h 6677025"/>
              <a:gd name="connsiteX83" fmla="*/ 422275 w 8802688"/>
              <a:gd name="connsiteY83" fmla="*/ 4748213 h 6677025"/>
              <a:gd name="connsiteX84" fmla="*/ 507999 w 8802688"/>
              <a:gd name="connsiteY84" fmla="*/ 4687888 h 6677025"/>
              <a:gd name="connsiteX85" fmla="*/ 544512 w 8802688"/>
              <a:gd name="connsiteY85" fmla="*/ 4662488 h 6677025"/>
              <a:gd name="connsiteX86" fmla="*/ 6180138 w 8802688"/>
              <a:gd name="connsiteY86" fmla="*/ 3546475 h 6677025"/>
              <a:gd name="connsiteX87" fmla="*/ 6124576 w 8802688"/>
              <a:gd name="connsiteY87" fmla="*/ 3562350 h 6677025"/>
              <a:gd name="connsiteX88" fmla="*/ 6076951 w 8802688"/>
              <a:gd name="connsiteY88" fmla="*/ 3579813 h 6677025"/>
              <a:gd name="connsiteX89" fmla="*/ 6037263 w 8802688"/>
              <a:gd name="connsiteY89" fmla="*/ 3600450 h 6677025"/>
              <a:gd name="connsiteX90" fmla="*/ 6002338 w 8802688"/>
              <a:gd name="connsiteY90" fmla="*/ 3624263 h 6677025"/>
              <a:gd name="connsiteX91" fmla="*/ 5978526 w 8802688"/>
              <a:gd name="connsiteY91" fmla="*/ 3651250 h 6677025"/>
              <a:gd name="connsiteX92" fmla="*/ 5961063 w 8802688"/>
              <a:gd name="connsiteY92" fmla="*/ 3678238 h 6677025"/>
              <a:gd name="connsiteX93" fmla="*/ 5948363 w 8802688"/>
              <a:gd name="connsiteY93" fmla="*/ 3705225 h 6677025"/>
              <a:gd name="connsiteX94" fmla="*/ 5945188 w 8802688"/>
              <a:gd name="connsiteY94" fmla="*/ 3719513 h 6677025"/>
              <a:gd name="connsiteX95" fmla="*/ 5945188 w 8802688"/>
              <a:gd name="connsiteY95" fmla="*/ 3733800 h 6677025"/>
              <a:gd name="connsiteX96" fmla="*/ 5986463 w 8802688"/>
              <a:gd name="connsiteY96" fmla="*/ 3698875 h 6677025"/>
              <a:gd name="connsiteX97" fmla="*/ 6046788 w 8802688"/>
              <a:gd name="connsiteY97" fmla="*/ 3654425 h 6677025"/>
              <a:gd name="connsiteX98" fmla="*/ 6115051 w 8802688"/>
              <a:gd name="connsiteY98" fmla="*/ 3600450 h 6677025"/>
              <a:gd name="connsiteX99" fmla="*/ 6148388 w 8802688"/>
              <a:gd name="connsiteY99" fmla="*/ 3573463 h 6677025"/>
              <a:gd name="connsiteX100" fmla="*/ 279400 w 8802688"/>
              <a:gd name="connsiteY100" fmla="*/ 2203450 h 6677025"/>
              <a:gd name="connsiteX101" fmla="*/ 354013 w 8802688"/>
              <a:gd name="connsiteY101" fmla="*/ 2203450 h 6677025"/>
              <a:gd name="connsiteX102" fmla="*/ 327025 w 8802688"/>
              <a:gd name="connsiteY102" fmla="*/ 2274888 h 6677025"/>
              <a:gd name="connsiteX103" fmla="*/ 303213 w 8802688"/>
              <a:gd name="connsiteY103" fmla="*/ 2343150 h 6677025"/>
              <a:gd name="connsiteX104" fmla="*/ 261938 w 8802688"/>
              <a:gd name="connsiteY104" fmla="*/ 2482850 h 6677025"/>
              <a:gd name="connsiteX105" fmla="*/ 217488 w 8802688"/>
              <a:gd name="connsiteY105" fmla="*/ 2625726 h 6677025"/>
              <a:gd name="connsiteX106" fmla="*/ 193675 w 8802688"/>
              <a:gd name="connsiteY106" fmla="*/ 2693988 h 6677025"/>
              <a:gd name="connsiteX107" fmla="*/ 166688 w 8802688"/>
              <a:gd name="connsiteY107" fmla="*/ 2765425 h 6677025"/>
              <a:gd name="connsiteX108" fmla="*/ 169863 w 8802688"/>
              <a:gd name="connsiteY108" fmla="*/ 2792413 h 6677025"/>
              <a:gd name="connsiteX109" fmla="*/ 173038 w 8802688"/>
              <a:gd name="connsiteY109" fmla="*/ 2819400 h 6677025"/>
              <a:gd name="connsiteX110" fmla="*/ 180975 w 8802688"/>
              <a:gd name="connsiteY110" fmla="*/ 2844801 h 6677025"/>
              <a:gd name="connsiteX111" fmla="*/ 190500 w 8802688"/>
              <a:gd name="connsiteY111" fmla="*/ 2871788 h 6677025"/>
              <a:gd name="connsiteX112" fmla="*/ 201613 w 8802688"/>
              <a:gd name="connsiteY112" fmla="*/ 2895601 h 6677025"/>
              <a:gd name="connsiteX113" fmla="*/ 214313 w 8802688"/>
              <a:gd name="connsiteY113" fmla="*/ 2916238 h 6677025"/>
              <a:gd name="connsiteX114" fmla="*/ 228600 w 8802688"/>
              <a:gd name="connsiteY114" fmla="*/ 2935288 h 6677025"/>
              <a:gd name="connsiteX115" fmla="*/ 241300 w 8802688"/>
              <a:gd name="connsiteY115" fmla="*/ 2952751 h 6677025"/>
              <a:gd name="connsiteX116" fmla="*/ 242888 w 8802688"/>
              <a:gd name="connsiteY116" fmla="*/ 2959101 h 6677025"/>
              <a:gd name="connsiteX117" fmla="*/ 242888 w 8802688"/>
              <a:gd name="connsiteY117" fmla="*/ 2963863 h 6677025"/>
              <a:gd name="connsiteX118" fmla="*/ 255588 w 8802688"/>
              <a:gd name="connsiteY118" fmla="*/ 2973388 h 6677025"/>
              <a:gd name="connsiteX119" fmla="*/ 266700 w 8802688"/>
              <a:gd name="connsiteY119" fmla="*/ 2979738 h 6677025"/>
              <a:gd name="connsiteX120" fmla="*/ 288925 w 8802688"/>
              <a:gd name="connsiteY120" fmla="*/ 2984501 h 6677025"/>
              <a:gd name="connsiteX121" fmla="*/ 336550 w 8802688"/>
              <a:gd name="connsiteY121" fmla="*/ 2987676 h 6677025"/>
              <a:gd name="connsiteX122" fmla="*/ 388938 w 8802688"/>
              <a:gd name="connsiteY122" fmla="*/ 2987676 h 6677025"/>
              <a:gd name="connsiteX123" fmla="*/ 404813 w 8802688"/>
              <a:gd name="connsiteY123" fmla="*/ 2987676 h 6677025"/>
              <a:gd name="connsiteX124" fmla="*/ 425450 w 8802688"/>
              <a:gd name="connsiteY124" fmla="*/ 2982913 h 6677025"/>
              <a:gd name="connsiteX125" fmla="*/ 469900 w 8802688"/>
              <a:gd name="connsiteY125" fmla="*/ 2963863 h 6677025"/>
              <a:gd name="connsiteX126" fmla="*/ 520700 w 8802688"/>
              <a:gd name="connsiteY126" fmla="*/ 2940051 h 6677025"/>
              <a:gd name="connsiteX127" fmla="*/ 576263 w 8802688"/>
              <a:gd name="connsiteY127" fmla="*/ 2914651 h 6677025"/>
              <a:gd name="connsiteX128" fmla="*/ 573088 w 8802688"/>
              <a:gd name="connsiteY128" fmla="*/ 2946401 h 6677025"/>
              <a:gd name="connsiteX129" fmla="*/ 568325 w 8802688"/>
              <a:gd name="connsiteY129" fmla="*/ 2979738 h 6677025"/>
              <a:gd name="connsiteX130" fmla="*/ 558801 w 8802688"/>
              <a:gd name="connsiteY130" fmla="*/ 3008313 h 6677025"/>
              <a:gd name="connsiteX131" fmla="*/ 544513 w 8802688"/>
              <a:gd name="connsiteY131" fmla="*/ 3038476 h 6677025"/>
              <a:gd name="connsiteX132" fmla="*/ 528638 w 8802688"/>
              <a:gd name="connsiteY132" fmla="*/ 3062288 h 6677025"/>
              <a:gd name="connsiteX133" fmla="*/ 508000 w 8802688"/>
              <a:gd name="connsiteY133" fmla="*/ 3086101 h 6677025"/>
              <a:gd name="connsiteX134" fmla="*/ 487363 w 8802688"/>
              <a:gd name="connsiteY134" fmla="*/ 3106738 h 6677025"/>
              <a:gd name="connsiteX135" fmla="*/ 463550 w 8802688"/>
              <a:gd name="connsiteY135" fmla="*/ 3124201 h 6677025"/>
              <a:gd name="connsiteX136" fmla="*/ 439738 w 8802688"/>
              <a:gd name="connsiteY136" fmla="*/ 3136901 h 6677025"/>
              <a:gd name="connsiteX137" fmla="*/ 412750 w 8802688"/>
              <a:gd name="connsiteY137" fmla="*/ 3148013 h 6677025"/>
              <a:gd name="connsiteX138" fmla="*/ 382588 w 8802688"/>
              <a:gd name="connsiteY138" fmla="*/ 3157538 h 6677025"/>
              <a:gd name="connsiteX139" fmla="*/ 357188 w 8802688"/>
              <a:gd name="connsiteY139" fmla="*/ 3160713 h 6677025"/>
              <a:gd name="connsiteX140" fmla="*/ 327025 w 8802688"/>
              <a:gd name="connsiteY140" fmla="*/ 3160713 h 6677025"/>
              <a:gd name="connsiteX141" fmla="*/ 296863 w 8802688"/>
              <a:gd name="connsiteY141" fmla="*/ 3157538 h 6677025"/>
              <a:gd name="connsiteX142" fmla="*/ 269875 w 8802688"/>
              <a:gd name="connsiteY142" fmla="*/ 3148013 h 6677025"/>
              <a:gd name="connsiteX143" fmla="*/ 241300 w 8802688"/>
              <a:gd name="connsiteY143" fmla="*/ 3136901 h 6677025"/>
              <a:gd name="connsiteX144" fmla="*/ 228600 w 8802688"/>
              <a:gd name="connsiteY144" fmla="*/ 3130551 h 6677025"/>
              <a:gd name="connsiteX145" fmla="*/ 214313 w 8802688"/>
              <a:gd name="connsiteY145" fmla="*/ 3119438 h 6677025"/>
              <a:gd name="connsiteX146" fmla="*/ 187325 w 8802688"/>
              <a:gd name="connsiteY146" fmla="*/ 3092451 h 6677025"/>
              <a:gd name="connsiteX147" fmla="*/ 160338 w 8802688"/>
              <a:gd name="connsiteY147" fmla="*/ 3055938 h 6677025"/>
              <a:gd name="connsiteX148" fmla="*/ 133350 w 8802688"/>
              <a:gd name="connsiteY148" fmla="*/ 3017838 h 6677025"/>
              <a:gd name="connsiteX149" fmla="*/ 109538 w 8802688"/>
              <a:gd name="connsiteY149" fmla="*/ 2970213 h 6677025"/>
              <a:gd name="connsiteX150" fmla="*/ 85725 w 8802688"/>
              <a:gd name="connsiteY150" fmla="*/ 2922588 h 6677025"/>
              <a:gd name="connsiteX151" fmla="*/ 65088 w 8802688"/>
              <a:gd name="connsiteY151" fmla="*/ 2868613 h 6677025"/>
              <a:gd name="connsiteX152" fmla="*/ 47625 w 8802688"/>
              <a:gd name="connsiteY152" fmla="*/ 2816225 h 6677025"/>
              <a:gd name="connsiteX153" fmla="*/ 30163 w 8802688"/>
              <a:gd name="connsiteY153" fmla="*/ 2762250 h 6677025"/>
              <a:gd name="connsiteX154" fmla="*/ 17463 w 8802688"/>
              <a:gd name="connsiteY154" fmla="*/ 2708275 h 6677025"/>
              <a:gd name="connsiteX155" fmla="*/ 9525 w 8802688"/>
              <a:gd name="connsiteY155" fmla="*/ 2655888 h 6677025"/>
              <a:gd name="connsiteX156" fmla="*/ 3175 w 8802688"/>
              <a:gd name="connsiteY156" fmla="*/ 2608263 h 6677025"/>
              <a:gd name="connsiteX157" fmla="*/ 0 w 8802688"/>
              <a:gd name="connsiteY157" fmla="*/ 2563813 h 6677025"/>
              <a:gd name="connsiteX158" fmla="*/ 0 w 8802688"/>
              <a:gd name="connsiteY158" fmla="*/ 2524125 h 6677025"/>
              <a:gd name="connsiteX159" fmla="*/ 9525 w 8802688"/>
              <a:gd name="connsiteY159" fmla="*/ 2492375 h 6677025"/>
              <a:gd name="connsiteX160" fmla="*/ 11113 w 8802688"/>
              <a:gd name="connsiteY160" fmla="*/ 2476500 h 6677025"/>
              <a:gd name="connsiteX161" fmla="*/ 17463 w 8802688"/>
              <a:gd name="connsiteY161" fmla="*/ 2465388 h 6677025"/>
              <a:gd name="connsiteX162" fmla="*/ 47625 w 8802688"/>
              <a:gd name="connsiteY162" fmla="*/ 2425700 h 6677025"/>
              <a:gd name="connsiteX163" fmla="*/ 79375 w 8802688"/>
              <a:gd name="connsiteY163" fmla="*/ 2387600 h 6677025"/>
              <a:gd name="connsiteX164" fmla="*/ 112713 w 8802688"/>
              <a:gd name="connsiteY164" fmla="*/ 2352675 h 6677025"/>
              <a:gd name="connsiteX165" fmla="*/ 149225 w 8802688"/>
              <a:gd name="connsiteY165" fmla="*/ 2322513 h 6677025"/>
              <a:gd name="connsiteX166" fmla="*/ 217488 w 8802688"/>
              <a:gd name="connsiteY166" fmla="*/ 2260600 h 6677025"/>
              <a:gd name="connsiteX167" fmla="*/ 5886450 w 8802688"/>
              <a:gd name="connsiteY167" fmla="*/ 2019300 h 6677025"/>
              <a:gd name="connsiteX168" fmla="*/ 5907087 w 8802688"/>
              <a:gd name="connsiteY168" fmla="*/ 2022475 h 6677025"/>
              <a:gd name="connsiteX169" fmla="*/ 5930900 w 8802688"/>
              <a:gd name="connsiteY169" fmla="*/ 2028825 h 6677025"/>
              <a:gd name="connsiteX170" fmla="*/ 5957888 w 8802688"/>
              <a:gd name="connsiteY170" fmla="*/ 2036763 h 6677025"/>
              <a:gd name="connsiteX171" fmla="*/ 5984875 w 8802688"/>
              <a:gd name="connsiteY171" fmla="*/ 2049463 h 6677025"/>
              <a:gd name="connsiteX172" fmla="*/ 6010275 w 8802688"/>
              <a:gd name="connsiteY172" fmla="*/ 2060575 h 6677025"/>
              <a:gd name="connsiteX173" fmla="*/ 6034088 w 8802688"/>
              <a:gd name="connsiteY173" fmla="*/ 2078038 h 6677025"/>
              <a:gd name="connsiteX174" fmla="*/ 6057900 w 8802688"/>
              <a:gd name="connsiteY174" fmla="*/ 2093913 h 6677025"/>
              <a:gd name="connsiteX175" fmla="*/ 5951538 w 8802688"/>
              <a:gd name="connsiteY175" fmla="*/ 2170113 h 6677025"/>
              <a:gd name="connsiteX176" fmla="*/ 5897562 w 8802688"/>
              <a:gd name="connsiteY176" fmla="*/ 2209800 h 6677025"/>
              <a:gd name="connsiteX177" fmla="*/ 5838825 w 8802688"/>
              <a:gd name="connsiteY177" fmla="*/ 2244725 h 6677025"/>
              <a:gd name="connsiteX178" fmla="*/ 5811837 w 8802688"/>
              <a:gd name="connsiteY178" fmla="*/ 2216150 h 6677025"/>
              <a:gd name="connsiteX179" fmla="*/ 5788025 w 8802688"/>
              <a:gd name="connsiteY179" fmla="*/ 2182813 h 6677025"/>
              <a:gd name="connsiteX180" fmla="*/ 5775325 w 8802688"/>
              <a:gd name="connsiteY180" fmla="*/ 2165350 h 6677025"/>
              <a:gd name="connsiteX181" fmla="*/ 5770562 w 8802688"/>
              <a:gd name="connsiteY181" fmla="*/ 2146300 h 6677025"/>
              <a:gd name="connsiteX182" fmla="*/ 5764212 w 8802688"/>
              <a:gd name="connsiteY182" fmla="*/ 2132013 h 6677025"/>
              <a:gd name="connsiteX183" fmla="*/ 5764212 w 8802688"/>
              <a:gd name="connsiteY183" fmla="*/ 2117725 h 6677025"/>
              <a:gd name="connsiteX184" fmla="*/ 5770562 w 8802688"/>
              <a:gd name="connsiteY184" fmla="*/ 2101850 h 6677025"/>
              <a:gd name="connsiteX185" fmla="*/ 5778500 w 8802688"/>
              <a:gd name="connsiteY185" fmla="*/ 2087563 h 6677025"/>
              <a:gd name="connsiteX186" fmla="*/ 5791200 w 8802688"/>
              <a:gd name="connsiteY186" fmla="*/ 2073275 h 6677025"/>
              <a:gd name="connsiteX187" fmla="*/ 5805487 w 8802688"/>
              <a:gd name="connsiteY187" fmla="*/ 2057400 h 6677025"/>
              <a:gd name="connsiteX188" fmla="*/ 5821362 w 8802688"/>
              <a:gd name="connsiteY188" fmla="*/ 2046288 h 6677025"/>
              <a:gd name="connsiteX189" fmla="*/ 5838825 w 8802688"/>
              <a:gd name="connsiteY189" fmla="*/ 2033588 h 6677025"/>
              <a:gd name="connsiteX190" fmla="*/ 5853112 w 8802688"/>
              <a:gd name="connsiteY190" fmla="*/ 2025650 h 6677025"/>
              <a:gd name="connsiteX191" fmla="*/ 5870575 w 8802688"/>
              <a:gd name="connsiteY191" fmla="*/ 2022475 h 6677025"/>
              <a:gd name="connsiteX192" fmla="*/ 6169026 w 8802688"/>
              <a:gd name="connsiteY192" fmla="*/ 1685925 h 6677025"/>
              <a:gd name="connsiteX193" fmla="*/ 6076951 w 8802688"/>
              <a:gd name="connsiteY193" fmla="*/ 1712913 h 6677025"/>
              <a:gd name="connsiteX194" fmla="*/ 5984875 w 8802688"/>
              <a:gd name="connsiteY194" fmla="*/ 1739900 h 6677025"/>
              <a:gd name="connsiteX195" fmla="*/ 5938838 w 8802688"/>
              <a:gd name="connsiteY195" fmla="*/ 1757363 h 6677025"/>
              <a:gd name="connsiteX196" fmla="*/ 5894388 w 8802688"/>
              <a:gd name="connsiteY196" fmla="*/ 1774825 h 6677025"/>
              <a:gd name="connsiteX197" fmla="*/ 5849938 w 8802688"/>
              <a:gd name="connsiteY197" fmla="*/ 1798638 h 6677025"/>
              <a:gd name="connsiteX198" fmla="*/ 5805488 w 8802688"/>
              <a:gd name="connsiteY198" fmla="*/ 1828800 h 6677025"/>
              <a:gd name="connsiteX199" fmla="*/ 5764213 w 8802688"/>
              <a:gd name="connsiteY199" fmla="*/ 1862138 h 6677025"/>
              <a:gd name="connsiteX200" fmla="*/ 5722938 w 8802688"/>
              <a:gd name="connsiteY200" fmla="*/ 1897063 h 6677025"/>
              <a:gd name="connsiteX201" fmla="*/ 5683250 w 8802688"/>
              <a:gd name="connsiteY201" fmla="*/ 1933575 h 6677025"/>
              <a:gd name="connsiteX202" fmla="*/ 5648325 w 8802688"/>
              <a:gd name="connsiteY202" fmla="*/ 1971675 h 6677025"/>
              <a:gd name="connsiteX203" fmla="*/ 5576888 w 8802688"/>
              <a:gd name="connsiteY203" fmla="*/ 2052638 h 6677025"/>
              <a:gd name="connsiteX204" fmla="*/ 5502275 w 8802688"/>
              <a:gd name="connsiteY204" fmla="*/ 2128838 h 6677025"/>
              <a:gd name="connsiteX205" fmla="*/ 5522913 w 8802688"/>
              <a:gd name="connsiteY205" fmla="*/ 2122488 h 6677025"/>
              <a:gd name="connsiteX206" fmla="*/ 5543550 w 8802688"/>
              <a:gd name="connsiteY206" fmla="*/ 2117725 h 6677025"/>
              <a:gd name="connsiteX207" fmla="*/ 5586413 w 8802688"/>
              <a:gd name="connsiteY207" fmla="*/ 2098675 h 6677025"/>
              <a:gd name="connsiteX208" fmla="*/ 5607050 w 8802688"/>
              <a:gd name="connsiteY208" fmla="*/ 2093913 h 6677025"/>
              <a:gd name="connsiteX209" fmla="*/ 5624513 w 8802688"/>
              <a:gd name="connsiteY209" fmla="*/ 2087563 h 6677025"/>
              <a:gd name="connsiteX210" fmla="*/ 5641975 w 8802688"/>
              <a:gd name="connsiteY210" fmla="*/ 2087563 h 6677025"/>
              <a:gd name="connsiteX211" fmla="*/ 5657850 w 8802688"/>
              <a:gd name="connsiteY211" fmla="*/ 2093913 h 6677025"/>
              <a:gd name="connsiteX212" fmla="*/ 5832475 w 8802688"/>
              <a:gd name="connsiteY212" fmla="*/ 2357438 h 6677025"/>
              <a:gd name="connsiteX213" fmla="*/ 5975350 w 8802688"/>
              <a:gd name="connsiteY213" fmla="*/ 2265363 h 6677025"/>
              <a:gd name="connsiteX214" fmla="*/ 6115051 w 8802688"/>
              <a:gd name="connsiteY214" fmla="*/ 2170113 h 6677025"/>
              <a:gd name="connsiteX215" fmla="*/ 6264276 w 8802688"/>
              <a:gd name="connsiteY215" fmla="*/ 2078038 h 6677025"/>
              <a:gd name="connsiteX216" fmla="*/ 6340476 w 8802688"/>
              <a:gd name="connsiteY216" fmla="*/ 2030413 h 6677025"/>
              <a:gd name="connsiteX217" fmla="*/ 6424613 w 8802688"/>
              <a:gd name="connsiteY217" fmla="*/ 1982788 h 6677025"/>
              <a:gd name="connsiteX218" fmla="*/ 6400801 w 8802688"/>
              <a:gd name="connsiteY218" fmla="*/ 1981200 h 6677025"/>
              <a:gd name="connsiteX219" fmla="*/ 6364288 w 8802688"/>
              <a:gd name="connsiteY219" fmla="*/ 1971675 h 6677025"/>
              <a:gd name="connsiteX220" fmla="*/ 6323013 w 8802688"/>
              <a:gd name="connsiteY220" fmla="*/ 1958975 h 6677025"/>
              <a:gd name="connsiteX221" fmla="*/ 6302376 w 8802688"/>
              <a:gd name="connsiteY221" fmla="*/ 1947863 h 6677025"/>
              <a:gd name="connsiteX222" fmla="*/ 6281738 w 8802688"/>
              <a:gd name="connsiteY222" fmla="*/ 1935163 h 6677025"/>
              <a:gd name="connsiteX223" fmla="*/ 6261101 w 8802688"/>
              <a:gd name="connsiteY223" fmla="*/ 1917700 h 6677025"/>
              <a:gd name="connsiteX224" fmla="*/ 6240463 w 8802688"/>
              <a:gd name="connsiteY224" fmla="*/ 1900238 h 6677025"/>
              <a:gd name="connsiteX225" fmla="*/ 6221413 w 8802688"/>
              <a:gd name="connsiteY225" fmla="*/ 1876425 h 6677025"/>
              <a:gd name="connsiteX226" fmla="*/ 6203951 w 8802688"/>
              <a:gd name="connsiteY226" fmla="*/ 1849438 h 6677025"/>
              <a:gd name="connsiteX227" fmla="*/ 6192838 w 8802688"/>
              <a:gd name="connsiteY227" fmla="*/ 1817688 h 6677025"/>
              <a:gd name="connsiteX228" fmla="*/ 6180138 w 8802688"/>
              <a:gd name="connsiteY228" fmla="*/ 1778000 h 6677025"/>
              <a:gd name="connsiteX229" fmla="*/ 6170613 w 8802688"/>
              <a:gd name="connsiteY229" fmla="*/ 1736725 h 6677025"/>
              <a:gd name="connsiteX230" fmla="*/ 8401050 w 8802688"/>
              <a:gd name="connsiteY230" fmla="*/ 1338262 h 6677025"/>
              <a:gd name="connsiteX231" fmla="*/ 8332788 w 8802688"/>
              <a:gd name="connsiteY231" fmla="*/ 1382712 h 6677025"/>
              <a:gd name="connsiteX232" fmla="*/ 8264525 w 8802688"/>
              <a:gd name="connsiteY232" fmla="*/ 1430337 h 6677025"/>
              <a:gd name="connsiteX233" fmla="*/ 8131175 w 8802688"/>
              <a:gd name="connsiteY233" fmla="*/ 1531937 h 6677025"/>
              <a:gd name="connsiteX234" fmla="*/ 8002588 w 8802688"/>
              <a:gd name="connsiteY234" fmla="*/ 1630363 h 6677025"/>
              <a:gd name="connsiteX235" fmla="*/ 7886700 w 8802688"/>
              <a:gd name="connsiteY235" fmla="*/ 1722438 h 6677025"/>
              <a:gd name="connsiteX236" fmla="*/ 7920038 w 8802688"/>
              <a:gd name="connsiteY236" fmla="*/ 1727200 h 6677025"/>
              <a:gd name="connsiteX237" fmla="*/ 7954963 w 8802688"/>
              <a:gd name="connsiteY237" fmla="*/ 1727200 h 6677025"/>
              <a:gd name="connsiteX238" fmla="*/ 7993063 w 8802688"/>
              <a:gd name="connsiteY238" fmla="*/ 1725613 h 6677025"/>
              <a:gd name="connsiteX239" fmla="*/ 8029575 w 8802688"/>
              <a:gd name="connsiteY239" fmla="*/ 1716088 h 6677025"/>
              <a:gd name="connsiteX240" fmla="*/ 8064500 w 8802688"/>
              <a:gd name="connsiteY240" fmla="*/ 1703388 h 6677025"/>
              <a:gd name="connsiteX241" fmla="*/ 8101013 w 8802688"/>
              <a:gd name="connsiteY241" fmla="*/ 1689100 h 6677025"/>
              <a:gd name="connsiteX242" fmla="*/ 8135938 w 8802688"/>
              <a:gd name="connsiteY242" fmla="*/ 1668463 h 6677025"/>
              <a:gd name="connsiteX243" fmla="*/ 8172450 w 8802688"/>
              <a:gd name="connsiteY243" fmla="*/ 1644650 h 6677025"/>
              <a:gd name="connsiteX244" fmla="*/ 8204200 w 8802688"/>
              <a:gd name="connsiteY244" fmla="*/ 1617662 h 6677025"/>
              <a:gd name="connsiteX245" fmla="*/ 8237538 w 8802688"/>
              <a:gd name="connsiteY245" fmla="*/ 1587500 h 6677025"/>
              <a:gd name="connsiteX246" fmla="*/ 8270875 w 8802688"/>
              <a:gd name="connsiteY246" fmla="*/ 1555750 h 6677025"/>
              <a:gd name="connsiteX247" fmla="*/ 8299450 w 8802688"/>
              <a:gd name="connsiteY247" fmla="*/ 1516062 h 6677025"/>
              <a:gd name="connsiteX248" fmla="*/ 8329613 w 8802688"/>
              <a:gd name="connsiteY248" fmla="*/ 1477963 h 6677025"/>
              <a:gd name="connsiteX249" fmla="*/ 8356600 w 8802688"/>
              <a:gd name="connsiteY249" fmla="*/ 1433512 h 6677025"/>
              <a:gd name="connsiteX250" fmla="*/ 8380413 w 8802688"/>
              <a:gd name="connsiteY250" fmla="*/ 1389062 h 6677025"/>
              <a:gd name="connsiteX251" fmla="*/ 4067176 w 8802688"/>
              <a:gd name="connsiteY251" fmla="*/ 1181100 h 6677025"/>
              <a:gd name="connsiteX252" fmla="*/ 3979864 w 8802688"/>
              <a:gd name="connsiteY252" fmla="*/ 1184275 h 6677025"/>
              <a:gd name="connsiteX253" fmla="*/ 3900489 w 8802688"/>
              <a:gd name="connsiteY253" fmla="*/ 1192213 h 6677025"/>
              <a:gd name="connsiteX254" fmla="*/ 3860801 w 8802688"/>
              <a:gd name="connsiteY254" fmla="*/ 1201738 h 6677025"/>
              <a:gd name="connsiteX255" fmla="*/ 3825876 w 8802688"/>
              <a:gd name="connsiteY255" fmla="*/ 1211263 h 6677025"/>
              <a:gd name="connsiteX256" fmla="*/ 3790951 w 8802688"/>
              <a:gd name="connsiteY256" fmla="*/ 1219200 h 6677025"/>
              <a:gd name="connsiteX257" fmla="*/ 3757613 w 8802688"/>
              <a:gd name="connsiteY257" fmla="*/ 1231900 h 6677025"/>
              <a:gd name="connsiteX258" fmla="*/ 3724276 w 8802688"/>
              <a:gd name="connsiteY258" fmla="*/ 1246188 h 6677025"/>
              <a:gd name="connsiteX259" fmla="*/ 3695701 w 8802688"/>
              <a:gd name="connsiteY259" fmla="*/ 1260475 h 6677025"/>
              <a:gd name="connsiteX260" fmla="*/ 3665538 w 8802688"/>
              <a:gd name="connsiteY260" fmla="*/ 1279525 h 6677025"/>
              <a:gd name="connsiteX261" fmla="*/ 3635376 w 8802688"/>
              <a:gd name="connsiteY261" fmla="*/ 1296988 h 6677025"/>
              <a:gd name="connsiteX262" fmla="*/ 3608388 w 8802688"/>
              <a:gd name="connsiteY262" fmla="*/ 1317625 h 6677025"/>
              <a:gd name="connsiteX263" fmla="*/ 3581401 w 8802688"/>
              <a:gd name="connsiteY263" fmla="*/ 1341438 h 6677025"/>
              <a:gd name="connsiteX264" fmla="*/ 3557588 w 8802688"/>
              <a:gd name="connsiteY264" fmla="*/ 1365250 h 6677025"/>
              <a:gd name="connsiteX265" fmla="*/ 3533776 w 8802688"/>
              <a:gd name="connsiteY265" fmla="*/ 1392238 h 6677025"/>
              <a:gd name="connsiteX266" fmla="*/ 3509963 w 8802688"/>
              <a:gd name="connsiteY266" fmla="*/ 1419225 h 6677025"/>
              <a:gd name="connsiteX267" fmla="*/ 3489326 w 8802688"/>
              <a:gd name="connsiteY267" fmla="*/ 1450975 h 6677025"/>
              <a:gd name="connsiteX268" fmla="*/ 3468688 w 8802688"/>
              <a:gd name="connsiteY268" fmla="*/ 1481138 h 6677025"/>
              <a:gd name="connsiteX269" fmla="*/ 3448051 w 8802688"/>
              <a:gd name="connsiteY269" fmla="*/ 1516063 h 6677025"/>
              <a:gd name="connsiteX270" fmla="*/ 3413126 w 8802688"/>
              <a:gd name="connsiteY270" fmla="*/ 1590675 h 6677025"/>
              <a:gd name="connsiteX271" fmla="*/ 3379788 w 8802688"/>
              <a:gd name="connsiteY271" fmla="*/ 1671638 h 6677025"/>
              <a:gd name="connsiteX272" fmla="*/ 3349626 w 8802688"/>
              <a:gd name="connsiteY272" fmla="*/ 1763713 h 6677025"/>
              <a:gd name="connsiteX273" fmla="*/ 3325813 w 8802688"/>
              <a:gd name="connsiteY273" fmla="*/ 1865313 h 6677025"/>
              <a:gd name="connsiteX274" fmla="*/ 3302001 w 8802688"/>
              <a:gd name="connsiteY274" fmla="*/ 1971676 h 6677025"/>
              <a:gd name="connsiteX275" fmla="*/ 3281363 w 8802688"/>
              <a:gd name="connsiteY275" fmla="*/ 2090738 h 6677025"/>
              <a:gd name="connsiteX276" fmla="*/ 3368676 w 8802688"/>
              <a:gd name="connsiteY276" fmla="*/ 1944688 h 6677025"/>
              <a:gd name="connsiteX277" fmla="*/ 3451226 w 8802688"/>
              <a:gd name="connsiteY277" fmla="*/ 1787526 h 6677025"/>
              <a:gd name="connsiteX278" fmla="*/ 3533776 w 8802688"/>
              <a:gd name="connsiteY278" fmla="*/ 1624013 h 6677025"/>
              <a:gd name="connsiteX279" fmla="*/ 3617913 w 8802688"/>
              <a:gd name="connsiteY279" fmla="*/ 1454150 h 6677025"/>
              <a:gd name="connsiteX280" fmla="*/ 3652838 w 8802688"/>
              <a:gd name="connsiteY280" fmla="*/ 1454150 h 6677025"/>
              <a:gd name="connsiteX281" fmla="*/ 3656013 w 8802688"/>
              <a:gd name="connsiteY281" fmla="*/ 1495425 h 6677025"/>
              <a:gd name="connsiteX282" fmla="*/ 3659188 w 8802688"/>
              <a:gd name="connsiteY282" fmla="*/ 1531938 h 6677025"/>
              <a:gd name="connsiteX283" fmla="*/ 3673476 w 8802688"/>
              <a:gd name="connsiteY283" fmla="*/ 1600200 h 6677025"/>
              <a:gd name="connsiteX284" fmla="*/ 3686176 w 8802688"/>
              <a:gd name="connsiteY284" fmla="*/ 1658938 h 6677025"/>
              <a:gd name="connsiteX285" fmla="*/ 3689351 w 8802688"/>
              <a:gd name="connsiteY285" fmla="*/ 1689100 h 6677025"/>
              <a:gd name="connsiteX286" fmla="*/ 3692526 w 8802688"/>
              <a:gd name="connsiteY286" fmla="*/ 1716088 h 6677025"/>
              <a:gd name="connsiteX287" fmla="*/ 3713163 w 8802688"/>
              <a:gd name="connsiteY287" fmla="*/ 1662113 h 6677025"/>
              <a:gd name="connsiteX288" fmla="*/ 3736976 w 8802688"/>
              <a:gd name="connsiteY288" fmla="*/ 1609725 h 6677025"/>
              <a:gd name="connsiteX289" fmla="*/ 3757613 w 8802688"/>
              <a:gd name="connsiteY289" fmla="*/ 1562101 h 6677025"/>
              <a:gd name="connsiteX290" fmla="*/ 3784601 w 8802688"/>
              <a:gd name="connsiteY290" fmla="*/ 1514475 h 6677025"/>
              <a:gd name="connsiteX291" fmla="*/ 3811588 w 8802688"/>
              <a:gd name="connsiteY291" fmla="*/ 1471613 h 6677025"/>
              <a:gd name="connsiteX292" fmla="*/ 3840163 w 8802688"/>
              <a:gd name="connsiteY292" fmla="*/ 1430338 h 6677025"/>
              <a:gd name="connsiteX293" fmla="*/ 3870326 w 8802688"/>
              <a:gd name="connsiteY293" fmla="*/ 1392238 h 6677025"/>
              <a:gd name="connsiteX294" fmla="*/ 3906839 w 8802688"/>
              <a:gd name="connsiteY294" fmla="*/ 1355725 h 6677025"/>
              <a:gd name="connsiteX295" fmla="*/ 3941764 w 8802688"/>
              <a:gd name="connsiteY295" fmla="*/ 1327150 h 6677025"/>
              <a:gd name="connsiteX296" fmla="*/ 3979864 w 8802688"/>
              <a:gd name="connsiteY296" fmla="*/ 1296988 h 6677025"/>
              <a:gd name="connsiteX297" fmla="*/ 4022726 w 8802688"/>
              <a:gd name="connsiteY297" fmla="*/ 1273175 h 6677025"/>
              <a:gd name="connsiteX298" fmla="*/ 4067176 w 8802688"/>
              <a:gd name="connsiteY298" fmla="*/ 1249363 h 6677025"/>
              <a:gd name="connsiteX299" fmla="*/ 4117976 w 8802688"/>
              <a:gd name="connsiteY299" fmla="*/ 1231900 h 6677025"/>
              <a:gd name="connsiteX300" fmla="*/ 4167189 w 8802688"/>
              <a:gd name="connsiteY300" fmla="*/ 1216025 h 6677025"/>
              <a:gd name="connsiteX301" fmla="*/ 4224339 w 8802688"/>
              <a:gd name="connsiteY301" fmla="*/ 1201738 h 6677025"/>
              <a:gd name="connsiteX302" fmla="*/ 4286251 w 8802688"/>
              <a:gd name="connsiteY302" fmla="*/ 1195388 h 6677025"/>
              <a:gd name="connsiteX303" fmla="*/ 4170364 w 8802688"/>
              <a:gd name="connsiteY303" fmla="*/ 1184275 h 6677025"/>
              <a:gd name="connsiteX304" fmla="*/ 4117976 w 8802688"/>
              <a:gd name="connsiteY304" fmla="*/ 1181100 h 6677025"/>
              <a:gd name="connsiteX305" fmla="*/ 5586413 w 8802688"/>
              <a:gd name="connsiteY305" fmla="*/ 1166812 h 6677025"/>
              <a:gd name="connsiteX306" fmla="*/ 5481638 w 8802688"/>
              <a:gd name="connsiteY306" fmla="*/ 1204912 h 6677025"/>
              <a:gd name="connsiteX307" fmla="*/ 5437188 w 8802688"/>
              <a:gd name="connsiteY307" fmla="*/ 1225550 h 6677025"/>
              <a:gd name="connsiteX308" fmla="*/ 5399088 w 8802688"/>
              <a:gd name="connsiteY308" fmla="*/ 1243012 h 6677025"/>
              <a:gd name="connsiteX309" fmla="*/ 5365751 w 8802688"/>
              <a:gd name="connsiteY309" fmla="*/ 1260475 h 6677025"/>
              <a:gd name="connsiteX310" fmla="*/ 5335588 w 8802688"/>
              <a:gd name="connsiteY310" fmla="*/ 1282700 h 6677025"/>
              <a:gd name="connsiteX311" fmla="*/ 5308601 w 8802688"/>
              <a:gd name="connsiteY311" fmla="*/ 1300162 h 6677025"/>
              <a:gd name="connsiteX312" fmla="*/ 5287963 w 8802688"/>
              <a:gd name="connsiteY312" fmla="*/ 1320800 h 6677025"/>
              <a:gd name="connsiteX313" fmla="*/ 5270501 w 8802688"/>
              <a:gd name="connsiteY313" fmla="*/ 1341437 h 6677025"/>
              <a:gd name="connsiteX314" fmla="*/ 5259388 w 8802688"/>
              <a:gd name="connsiteY314" fmla="*/ 1362075 h 6677025"/>
              <a:gd name="connsiteX315" fmla="*/ 5246688 w 8802688"/>
              <a:gd name="connsiteY315" fmla="*/ 1385887 h 6677025"/>
              <a:gd name="connsiteX316" fmla="*/ 5240338 w 8802688"/>
              <a:gd name="connsiteY316" fmla="*/ 1409700 h 6677025"/>
              <a:gd name="connsiteX317" fmla="*/ 5237163 w 8802688"/>
              <a:gd name="connsiteY317" fmla="*/ 1436687 h 6677025"/>
              <a:gd name="connsiteX318" fmla="*/ 5237163 w 8802688"/>
              <a:gd name="connsiteY318" fmla="*/ 1463675 h 6677025"/>
              <a:gd name="connsiteX319" fmla="*/ 5240338 w 8802688"/>
              <a:gd name="connsiteY319" fmla="*/ 1492250 h 6677025"/>
              <a:gd name="connsiteX320" fmla="*/ 5246688 w 8802688"/>
              <a:gd name="connsiteY320" fmla="*/ 1525587 h 6677025"/>
              <a:gd name="connsiteX321" fmla="*/ 5287963 w 8802688"/>
              <a:gd name="connsiteY321" fmla="*/ 1484312 h 6677025"/>
              <a:gd name="connsiteX322" fmla="*/ 5330826 w 8802688"/>
              <a:gd name="connsiteY322" fmla="*/ 1439862 h 6677025"/>
              <a:gd name="connsiteX323" fmla="*/ 5416551 w 8802688"/>
              <a:gd name="connsiteY323" fmla="*/ 1347787 h 6677025"/>
              <a:gd name="connsiteX324" fmla="*/ 5499101 w 8802688"/>
              <a:gd name="connsiteY324" fmla="*/ 1252537 h 6677025"/>
              <a:gd name="connsiteX325" fmla="*/ 5540376 w 8802688"/>
              <a:gd name="connsiteY325" fmla="*/ 1208087 h 6677025"/>
              <a:gd name="connsiteX326" fmla="*/ 5434013 w 8802688"/>
              <a:gd name="connsiteY326" fmla="*/ 0 h 6677025"/>
              <a:gd name="connsiteX327" fmla="*/ 5519738 w 8802688"/>
              <a:gd name="connsiteY327" fmla="*/ 3175 h 6677025"/>
              <a:gd name="connsiteX328" fmla="*/ 5610226 w 8802688"/>
              <a:gd name="connsiteY328" fmla="*/ 12700 h 6677025"/>
              <a:gd name="connsiteX329" fmla="*/ 5699126 w 8802688"/>
              <a:gd name="connsiteY329" fmla="*/ 30163 h 6677025"/>
              <a:gd name="connsiteX330" fmla="*/ 5788026 w 8802688"/>
              <a:gd name="connsiteY330" fmla="*/ 50800 h 6677025"/>
              <a:gd name="connsiteX331" fmla="*/ 5876926 w 8802688"/>
              <a:gd name="connsiteY331" fmla="*/ 77788 h 6677025"/>
              <a:gd name="connsiteX332" fmla="*/ 5965826 w 8802688"/>
              <a:gd name="connsiteY332" fmla="*/ 111125 h 6677025"/>
              <a:gd name="connsiteX333" fmla="*/ 6054726 w 8802688"/>
              <a:gd name="connsiteY333" fmla="*/ 146050 h 6677025"/>
              <a:gd name="connsiteX334" fmla="*/ 6142038 w 8802688"/>
              <a:gd name="connsiteY334" fmla="*/ 187325 h 6677025"/>
              <a:gd name="connsiteX335" fmla="*/ 6237288 w 8802688"/>
              <a:gd name="connsiteY335" fmla="*/ 258763 h 6677025"/>
              <a:gd name="connsiteX336" fmla="*/ 6329363 w 8802688"/>
              <a:gd name="connsiteY336" fmla="*/ 333375 h 6677025"/>
              <a:gd name="connsiteX337" fmla="*/ 6418263 w 8802688"/>
              <a:gd name="connsiteY337" fmla="*/ 407988 h 6677025"/>
              <a:gd name="connsiteX338" fmla="*/ 6507163 w 8802688"/>
              <a:gd name="connsiteY338" fmla="*/ 485775 h 6677025"/>
              <a:gd name="connsiteX339" fmla="*/ 6677026 w 8802688"/>
              <a:gd name="connsiteY339" fmla="*/ 639763 h 6677025"/>
              <a:gd name="connsiteX340" fmla="*/ 6762751 w 8802688"/>
              <a:gd name="connsiteY340" fmla="*/ 714375 h 6677025"/>
              <a:gd name="connsiteX341" fmla="*/ 6846888 w 8802688"/>
              <a:gd name="connsiteY341" fmla="*/ 785813 h 6677025"/>
              <a:gd name="connsiteX342" fmla="*/ 6846888 w 8802688"/>
              <a:gd name="connsiteY342" fmla="*/ 796926 h 6677025"/>
              <a:gd name="connsiteX343" fmla="*/ 6851651 w 8802688"/>
              <a:gd name="connsiteY343" fmla="*/ 812801 h 6677025"/>
              <a:gd name="connsiteX344" fmla="*/ 6858001 w 8802688"/>
              <a:gd name="connsiteY344" fmla="*/ 823913 h 6677025"/>
              <a:gd name="connsiteX345" fmla="*/ 6867526 w 8802688"/>
              <a:gd name="connsiteY345" fmla="*/ 836613 h 6677025"/>
              <a:gd name="connsiteX346" fmla="*/ 6878638 w 8802688"/>
              <a:gd name="connsiteY346" fmla="*/ 844550 h 6677025"/>
              <a:gd name="connsiteX347" fmla="*/ 6891338 w 8802688"/>
              <a:gd name="connsiteY347" fmla="*/ 854075 h 6677025"/>
              <a:gd name="connsiteX348" fmla="*/ 6905626 w 8802688"/>
              <a:gd name="connsiteY348" fmla="*/ 857250 h 6677025"/>
              <a:gd name="connsiteX349" fmla="*/ 6919913 w 8802688"/>
              <a:gd name="connsiteY349" fmla="*/ 860425 h 6677025"/>
              <a:gd name="connsiteX350" fmla="*/ 6973888 w 8802688"/>
              <a:gd name="connsiteY350" fmla="*/ 868363 h 6677025"/>
              <a:gd name="connsiteX351" fmla="*/ 7024688 w 8802688"/>
              <a:gd name="connsiteY351" fmla="*/ 884238 h 6677025"/>
              <a:gd name="connsiteX352" fmla="*/ 7072313 w 8802688"/>
              <a:gd name="connsiteY352" fmla="*/ 901700 h 6677025"/>
              <a:gd name="connsiteX353" fmla="*/ 7116763 w 8802688"/>
              <a:gd name="connsiteY353" fmla="*/ 925513 h 6677025"/>
              <a:gd name="connsiteX354" fmla="*/ 7158038 w 8802688"/>
              <a:gd name="connsiteY354" fmla="*/ 952500 h 6677025"/>
              <a:gd name="connsiteX355" fmla="*/ 7199313 w 8802688"/>
              <a:gd name="connsiteY355" fmla="*/ 981075 h 6677025"/>
              <a:gd name="connsiteX356" fmla="*/ 7235826 w 8802688"/>
              <a:gd name="connsiteY356" fmla="*/ 1014413 h 6677025"/>
              <a:gd name="connsiteX357" fmla="*/ 7270751 w 8802688"/>
              <a:gd name="connsiteY357" fmla="*/ 1049338 h 6677025"/>
              <a:gd name="connsiteX358" fmla="*/ 7307263 w 8802688"/>
              <a:gd name="connsiteY358" fmla="*/ 1089025 h 6677025"/>
              <a:gd name="connsiteX359" fmla="*/ 7337426 w 8802688"/>
              <a:gd name="connsiteY359" fmla="*/ 1127125 h 6677025"/>
              <a:gd name="connsiteX360" fmla="*/ 7399338 w 8802688"/>
              <a:gd name="connsiteY360" fmla="*/ 1211263 h 6677025"/>
              <a:gd name="connsiteX361" fmla="*/ 7454901 w 8802688"/>
              <a:gd name="connsiteY361" fmla="*/ 1296988 h 6677025"/>
              <a:gd name="connsiteX362" fmla="*/ 7512051 w 8802688"/>
              <a:gd name="connsiteY362" fmla="*/ 1382713 h 6677025"/>
              <a:gd name="connsiteX363" fmla="*/ 7069138 w 8802688"/>
              <a:gd name="connsiteY363" fmla="*/ 1492250 h 6677025"/>
              <a:gd name="connsiteX364" fmla="*/ 7083426 w 8802688"/>
              <a:gd name="connsiteY364" fmla="*/ 1573213 h 6677025"/>
              <a:gd name="connsiteX365" fmla="*/ 7092951 w 8802688"/>
              <a:gd name="connsiteY365" fmla="*/ 1611313 h 6677025"/>
              <a:gd name="connsiteX366" fmla="*/ 7104063 w 8802688"/>
              <a:gd name="connsiteY366" fmla="*/ 1647826 h 6677025"/>
              <a:gd name="connsiteX367" fmla="*/ 7116763 w 8802688"/>
              <a:gd name="connsiteY367" fmla="*/ 1677988 h 6677025"/>
              <a:gd name="connsiteX368" fmla="*/ 7131051 w 8802688"/>
              <a:gd name="connsiteY368" fmla="*/ 1706563 h 6677025"/>
              <a:gd name="connsiteX369" fmla="*/ 7150101 w 8802688"/>
              <a:gd name="connsiteY369" fmla="*/ 1733550 h 6677025"/>
              <a:gd name="connsiteX370" fmla="*/ 7170738 w 8802688"/>
              <a:gd name="connsiteY370" fmla="*/ 1754188 h 6677025"/>
              <a:gd name="connsiteX371" fmla="*/ 7191376 w 8802688"/>
              <a:gd name="connsiteY371" fmla="*/ 1774825 h 6677025"/>
              <a:gd name="connsiteX372" fmla="*/ 7218363 w 8802688"/>
              <a:gd name="connsiteY372" fmla="*/ 1790700 h 6677025"/>
              <a:gd name="connsiteX373" fmla="*/ 7243763 w 8802688"/>
              <a:gd name="connsiteY373" fmla="*/ 1801813 h 6677025"/>
              <a:gd name="connsiteX374" fmla="*/ 7277101 w 8802688"/>
              <a:gd name="connsiteY374" fmla="*/ 1811338 h 6677025"/>
              <a:gd name="connsiteX375" fmla="*/ 7310438 w 8802688"/>
              <a:gd name="connsiteY375" fmla="*/ 1814513 h 6677025"/>
              <a:gd name="connsiteX376" fmla="*/ 7348538 w 8802688"/>
              <a:gd name="connsiteY376" fmla="*/ 1811338 h 6677025"/>
              <a:gd name="connsiteX377" fmla="*/ 7392988 w 8802688"/>
              <a:gd name="connsiteY377" fmla="*/ 1804988 h 6677025"/>
              <a:gd name="connsiteX378" fmla="*/ 7437438 w 8802688"/>
              <a:gd name="connsiteY378" fmla="*/ 1793875 h 6677025"/>
              <a:gd name="connsiteX379" fmla="*/ 7550151 w 8802688"/>
              <a:gd name="connsiteY379" fmla="*/ 1906588 h 6677025"/>
              <a:gd name="connsiteX380" fmla="*/ 7362826 w 8802688"/>
              <a:gd name="connsiteY380" fmla="*/ 1941513 h 6677025"/>
              <a:gd name="connsiteX381" fmla="*/ 7221538 w 8802688"/>
              <a:gd name="connsiteY381" fmla="*/ 1974850 h 6677025"/>
              <a:gd name="connsiteX382" fmla="*/ 7164388 w 8802688"/>
              <a:gd name="connsiteY382" fmla="*/ 1992313 h 6677025"/>
              <a:gd name="connsiteX383" fmla="*/ 7116763 w 8802688"/>
              <a:gd name="connsiteY383" fmla="*/ 2006600 h 6677025"/>
              <a:gd name="connsiteX384" fmla="*/ 7075488 w 8802688"/>
              <a:gd name="connsiteY384" fmla="*/ 2025650 h 6677025"/>
              <a:gd name="connsiteX385" fmla="*/ 7038976 w 8802688"/>
              <a:gd name="connsiteY385" fmla="*/ 2046288 h 6677025"/>
              <a:gd name="connsiteX386" fmla="*/ 7011988 w 8802688"/>
              <a:gd name="connsiteY386" fmla="*/ 2066925 h 6677025"/>
              <a:gd name="connsiteX387" fmla="*/ 6988176 w 8802688"/>
              <a:gd name="connsiteY387" fmla="*/ 2093913 h 6677025"/>
              <a:gd name="connsiteX388" fmla="*/ 6970713 w 8802688"/>
              <a:gd name="connsiteY388" fmla="*/ 2122488 h 6677025"/>
              <a:gd name="connsiteX389" fmla="*/ 6956426 w 8802688"/>
              <a:gd name="connsiteY389" fmla="*/ 2159000 h 6677025"/>
              <a:gd name="connsiteX390" fmla="*/ 6943726 w 8802688"/>
              <a:gd name="connsiteY390" fmla="*/ 2197100 h 6677025"/>
              <a:gd name="connsiteX391" fmla="*/ 6935788 w 8802688"/>
              <a:gd name="connsiteY391" fmla="*/ 2241550 h 6677025"/>
              <a:gd name="connsiteX392" fmla="*/ 6926263 w 8802688"/>
              <a:gd name="connsiteY392" fmla="*/ 2295525 h 6677025"/>
              <a:gd name="connsiteX393" fmla="*/ 6919913 w 8802688"/>
              <a:gd name="connsiteY393" fmla="*/ 2355850 h 6677025"/>
              <a:gd name="connsiteX394" fmla="*/ 6946901 w 8802688"/>
              <a:gd name="connsiteY394" fmla="*/ 2298700 h 6677025"/>
              <a:gd name="connsiteX395" fmla="*/ 6973888 w 8802688"/>
              <a:gd name="connsiteY395" fmla="*/ 2244725 h 6677025"/>
              <a:gd name="connsiteX396" fmla="*/ 7004051 w 8802688"/>
              <a:gd name="connsiteY396" fmla="*/ 2200275 h 6677025"/>
              <a:gd name="connsiteX397" fmla="*/ 7015163 w 8802688"/>
              <a:gd name="connsiteY397" fmla="*/ 2182813 h 6677025"/>
              <a:gd name="connsiteX398" fmla="*/ 7031038 w 8802688"/>
              <a:gd name="connsiteY398" fmla="*/ 2168525 h 6677025"/>
              <a:gd name="connsiteX399" fmla="*/ 7081838 w 8802688"/>
              <a:gd name="connsiteY399" fmla="*/ 2117725 h 6677025"/>
              <a:gd name="connsiteX400" fmla="*/ 7127876 w 8802688"/>
              <a:gd name="connsiteY400" fmla="*/ 2073276 h 6677025"/>
              <a:gd name="connsiteX401" fmla="*/ 7181851 w 8802688"/>
              <a:gd name="connsiteY401" fmla="*/ 2030413 h 6677025"/>
              <a:gd name="connsiteX402" fmla="*/ 7253288 w 8802688"/>
              <a:gd name="connsiteY402" fmla="*/ 1981200 h 6677025"/>
              <a:gd name="connsiteX403" fmla="*/ 7226301 w 8802688"/>
              <a:gd name="connsiteY403" fmla="*/ 2135188 h 6677025"/>
              <a:gd name="connsiteX404" fmla="*/ 7197726 w 8802688"/>
              <a:gd name="connsiteY404" fmla="*/ 2268538 h 6677025"/>
              <a:gd name="connsiteX405" fmla="*/ 7170738 w 8802688"/>
              <a:gd name="connsiteY405" fmla="*/ 2390775 h 6677025"/>
              <a:gd name="connsiteX406" fmla="*/ 7140576 w 8802688"/>
              <a:gd name="connsiteY406" fmla="*/ 2503488 h 6677025"/>
              <a:gd name="connsiteX407" fmla="*/ 7178676 w 8802688"/>
              <a:gd name="connsiteY407" fmla="*/ 2503488 h 6677025"/>
              <a:gd name="connsiteX408" fmla="*/ 7235826 w 8802688"/>
              <a:gd name="connsiteY408" fmla="*/ 2414588 h 6677025"/>
              <a:gd name="connsiteX409" fmla="*/ 7289801 w 8802688"/>
              <a:gd name="connsiteY409" fmla="*/ 2316163 h 6677025"/>
              <a:gd name="connsiteX410" fmla="*/ 7345363 w 8802688"/>
              <a:gd name="connsiteY410" fmla="*/ 2217738 h 6677025"/>
              <a:gd name="connsiteX411" fmla="*/ 7402513 w 8802688"/>
              <a:gd name="connsiteY411" fmla="*/ 2128838 h 6677025"/>
              <a:gd name="connsiteX412" fmla="*/ 7405688 w 8802688"/>
              <a:gd name="connsiteY412" fmla="*/ 2117725 h 6677025"/>
              <a:gd name="connsiteX413" fmla="*/ 7413626 w 8802688"/>
              <a:gd name="connsiteY413" fmla="*/ 2108200 h 6677025"/>
              <a:gd name="connsiteX414" fmla="*/ 7426326 w 8802688"/>
              <a:gd name="connsiteY414" fmla="*/ 2098675 h 6677025"/>
              <a:gd name="connsiteX415" fmla="*/ 7443788 w 8802688"/>
              <a:gd name="connsiteY415" fmla="*/ 2093913 h 6677025"/>
              <a:gd name="connsiteX416" fmla="*/ 7478713 w 8802688"/>
              <a:gd name="connsiteY416" fmla="*/ 2076451 h 6677025"/>
              <a:gd name="connsiteX417" fmla="*/ 7497763 w 8802688"/>
              <a:gd name="connsiteY417" fmla="*/ 2066925 h 6677025"/>
              <a:gd name="connsiteX418" fmla="*/ 7512051 w 8802688"/>
              <a:gd name="connsiteY418" fmla="*/ 2054225 h 6677025"/>
              <a:gd name="connsiteX419" fmla="*/ 7539038 w 8802688"/>
              <a:gd name="connsiteY419" fmla="*/ 2084388 h 6677025"/>
              <a:gd name="connsiteX420" fmla="*/ 7553326 w 8802688"/>
              <a:gd name="connsiteY420" fmla="*/ 2098675 h 6677025"/>
              <a:gd name="connsiteX421" fmla="*/ 7562851 w 8802688"/>
              <a:gd name="connsiteY421" fmla="*/ 2114550 h 6677025"/>
              <a:gd name="connsiteX422" fmla="*/ 7573963 w 8802688"/>
              <a:gd name="connsiteY422" fmla="*/ 2135188 h 6677025"/>
              <a:gd name="connsiteX423" fmla="*/ 7580313 w 8802688"/>
              <a:gd name="connsiteY423" fmla="*/ 2155825 h 6677025"/>
              <a:gd name="connsiteX424" fmla="*/ 7586663 w 8802688"/>
              <a:gd name="connsiteY424" fmla="*/ 2176463 h 6677025"/>
              <a:gd name="connsiteX425" fmla="*/ 7586663 w 8802688"/>
              <a:gd name="connsiteY425" fmla="*/ 2203450 h 6677025"/>
              <a:gd name="connsiteX426" fmla="*/ 7586663 w 8802688"/>
              <a:gd name="connsiteY426" fmla="*/ 2262188 h 6677025"/>
              <a:gd name="connsiteX427" fmla="*/ 7580313 w 8802688"/>
              <a:gd name="connsiteY427" fmla="*/ 2322513 h 6677025"/>
              <a:gd name="connsiteX428" fmla="*/ 7569201 w 8802688"/>
              <a:gd name="connsiteY428" fmla="*/ 2452688 h 6677025"/>
              <a:gd name="connsiteX429" fmla="*/ 7556501 w 8802688"/>
              <a:gd name="connsiteY429" fmla="*/ 2587625 h 6677025"/>
              <a:gd name="connsiteX430" fmla="*/ 7550151 w 8802688"/>
              <a:gd name="connsiteY430" fmla="*/ 2659063 h 6677025"/>
              <a:gd name="connsiteX431" fmla="*/ 7550151 w 8802688"/>
              <a:gd name="connsiteY431" fmla="*/ 2727325 h 6677025"/>
              <a:gd name="connsiteX432" fmla="*/ 7589838 w 8802688"/>
              <a:gd name="connsiteY432" fmla="*/ 2613025 h 6677025"/>
              <a:gd name="connsiteX433" fmla="*/ 7624763 w 8802688"/>
              <a:gd name="connsiteY433" fmla="*/ 2503488 h 6677025"/>
              <a:gd name="connsiteX434" fmla="*/ 7654926 w 8802688"/>
              <a:gd name="connsiteY434" fmla="*/ 2390775 h 6677025"/>
              <a:gd name="connsiteX435" fmla="*/ 7666038 w 8802688"/>
              <a:gd name="connsiteY435" fmla="*/ 2333625 h 6677025"/>
              <a:gd name="connsiteX436" fmla="*/ 7675563 w 8802688"/>
              <a:gd name="connsiteY436" fmla="*/ 2278063 h 6677025"/>
              <a:gd name="connsiteX437" fmla="*/ 7681913 w 8802688"/>
              <a:gd name="connsiteY437" fmla="*/ 2224088 h 6677025"/>
              <a:gd name="connsiteX438" fmla="*/ 7688263 w 8802688"/>
              <a:gd name="connsiteY438" fmla="*/ 2168525 h 6677025"/>
              <a:gd name="connsiteX439" fmla="*/ 7689851 w 8802688"/>
              <a:gd name="connsiteY439" fmla="*/ 2111375 h 6677025"/>
              <a:gd name="connsiteX440" fmla="*/ 7689851 w 8802688"/>
              <a:gd name="connsiteY440" fmla="*/ 2054225 h 6677025"/>
              <a:gd name="connsiteX441" fmla="*/ 7688263 w 8802688"/>
              <a:gd name="connsiteY441" fmla="*/ 1998663 h 6677025"/>
              <a:gd name="connsiteX442" fmla="*/ 7681913 w 8802688"/>
              <a:gd name="connsiteY442" fmla="*/ 1941513 h 6677025"/>
              <a:gd name="connsiteX443" fmla="*/ 7672388 w 8802688"/>
              <a:gd name="connsiteY443" fmla="*/ 1885950 h 6677025"/>
              <a:gd name="connsiteX444" fmla="*/ 7661276 w 8802688"/>
              <a:gd name="connsiteY444" fmla="*/ 1831975 h 6677025"/>
              <a:gd name="connsiteX445" fmla="*/ 7654926 w 8802688"/>
              <a:gd name="connsiteY445" fmla="*/ 1811338 h 6677025"/>
              <a:gd name="connsiteX446" fmla="*/ 7651751 w 8802688"/>
              <a:gd name="connsiteY446" fmla="*/ 1790700 h 6677025"/>
              <a:gd name="connsiteX447" fmla="*/ 7651751 w 8802688"/>
              <a:gd name="connsiteY447" fmla="*/ 1773238 h 6677025"/>
              <a:gd name="connsiteX448" fmla="*/ 7651751 w 8802688"/>
              <a:gd name="connsiteY448" fmla="*/ 1754188 h 6677025"/>
              <a:gd name="connsiteX449" fmla="*/ 7654926 w 8802688"/>
              <a:gd name="connsiteY449" fmla="*/ 1736725 h 6677025"/>
              <a:gd name="connsiteX450" fmla="*/ 7661276 w 8802688"/>
              <a:gd name="connsiteY450" fmla="*/ 1719263 h 6677025"/>
              <a:gd name="connsiteX451" fmla="*/ 7675563 w 8802688"/>
              <a:gd name="connsiteY451" fmla="*/ 1689100 h 6677025"/>
              <a:gd name="connsiteX452" fmla="*/ 7696201 w 8802688"/>
              <a:gd name="connsiteY452" fmla="*/ 1665288 h 6677025"/>
              <a:gd name="connsiteX453" fmla="*/ 7720013 w 8802688"/>
              <a:gd name="connsiteY453" fmla="*/ 1641476 h 6677025"/>
              <a:gd name="connsiteX454" fmla="*/ 7743826 w 8802688"/>
              <a:gd name="connsiteY454" fmla="*/ 1620838 h 6677025"/>
              <a:gd name="connsiteX455" fmla="*/ 7773988 w 8802688"/>
              <a:gd name="connsiteY455" fmla="*/ 1606550 h 6677025"/>
              <a:gd name="connsiteX456" fmla="*/ 7805738 w 8802688"/>
              <a:gd name="connsiteY456" fmla="*/ 1590675 h 6677025"/>
              <a:gd name="connsiteX457" fmla="*/ 7839076 w 8802688"/>
              <a:gd name="connsiteY457" fmla="*/ 1576388 h 6677025"/>
              <a:gd name="connsiteX458" fmla="*/ 7904163 w 8802688"/>
              <a:gd name="connsiteY458" fmla="*/ 1538288 h 6677025"/>
              <a:gd name="connsiteX459" fmla="*/ 7967663 w 8802688"/>
              <a:gd name="connsiteY459" fmla="*/ 1495425 h 6677025"/>
              <a:gd name="connsiteX460" fmla="*/ 8026401 w 8802688"/>
              <a:gd name="connsiteY460" fmla="*/ 1447801 h 6677025"/>
              <a:gd name="connsiteX461" fmla="*/ 8085138 w 8802688"/>
              <a:gd name="connsiteY461" fmla="*/ 1398588 h 6677025"/>
              <a:gd name="connsiteX462" fmla="*/ 8142288 w 8802688"/>
              <a:gd name="connsiteY462" fmla="*/ 1344613 h 6677025"/>
              <a:gd name="connsiteX463" fmla="*/ 8255001 w 8802688"/>
              <a:gd name="connsiteY463" fmla="*/ 1235076 h 6677025"/>
              <a:gd name="connsiteX464" fmla="*/ 8275638 w 8802688"/>
              <a:gd name="connsiteY464" fmla="*/ 1208088 h 6677025"/>
              <a:gd name="connsiteX465" fmla="*/ 8296276 w 8802688"/>
              <a:gd name="connsiteY465" fmla="*/ 1187450 h 6677025"/>
              <a:gd name="connsiteX466" fmla="*/ 8318501 w 8802688"/>
              <a:gd name="connsiteY466" fmla="*/ 1168400 h 6677025"/>
              <a:gd name="connsiteX467" fmla="*/ 8339138 w 8802688"/>
              <a:gd name="connsiteY467" fmla="*/ 1154113 h 6677025"/>
              <a:gd name="connsiteX468" fmla="*/ 8359776 w 8802688"/>
              <a:gd name="connsiteY468" fmla="*/ 1144588 h 6677025"/>
              <a:gd name="connsiteX469" fmla="*/ 8377238 w 8802688"/>
              <a:gd name="connsiteY469" fmla="*/ 1139825 h 6677025"/>
              <a:gd name="connsiteX470" fmla="*/ 8397876 w 8802688"/>
              <a:gd name="connsiteY470" fmla="*/ 1139825 h 6677025"/>
              <a:gd name="connsiteX471" fmla="*/ 8415338 w 8802688"/>
              <a:gd name="connsiteY471" fmla="*/ 1139825 h 6677025"/>
              <a:gd name="connsiteX472" fmla="*/ 8435976 w 8802688"/>
              <a:gd name="connsiteY472" fmla="*/ 1144588 h 6677025"/>
              <a:gd name="connsiteX473" fmla="*/ 8455026 w 8802688"/>
              <a:gd name="connsiteY473" fmla="*/ 1154113 h 6677025"/>
              <a:gd name="connsiteX474" fmla="*/ 8472488 w 8802688"/>
              <a:gd name="connsiteY474" fmla="*/ 1166813 h 6677025"/>
              <a:gd name="connsiteX475" fmla="*/ 8489951 w 8802688"/>
              <a:gd name="connsiteY475" fmla="*/ 1181100 h 6677025"/>
              <a:gd name="connsiteX476" fmla="*/ 8504238 w 8802688"/>
              <a:gd name="connsiteY476" fmla="*/ 1198563 h 6677025"/>
              <a:gd name="connsiteX477" fmla="*/ 8523288 w 8802688"/>
              <a:gd name="connsiteY477" fmla="*/ 1219201 h 6677025"/>
              <a:gd name="connsiteX478" fmla="*/ 8537576 w 8802688"/>
              <a:gd name="connsiteY478" fmla="*/ 1243013 h 6677025"/>
              <a:gd name="connsiteX479" fmla="*/ 8551863 w 8802688"/>
              <a:gd name="connsiteY479" fmla="*/ 1270000 h 6677025"/>
              <a:gd name="connsiteX480" fmla="*/ 8605838 w 8802688"/>
              <a:gd name="connsiteY480" fmla="*/ 1403350 h 6677025"/>
              <a:gd name="connsiteX481" fmla="*/ 8659813 w 8802688"/>
              <a:gd name="connsiteY481" fmla="*/ 1531938 h 6677025"/>
              <a:gd name="connsiteX482" fmla="*/ 8680451 w 8802688"/>
              <a:gd name="connsiteY482" fmla="*/ 1593850 h 6677025"/>
              <a:gd name="connsiteX483" fmla="*/ 8704263 w 8802688"/>
              <a:gd name="connsiteY483" fmla="*/ 1658938 h 6677025"/>
              <a:gd name="connsiteX484" fmla="*/ 8721726 w 8802688"/>
              <a:gd name="connsiteY484" fmla="*/ 1725613 h 6677025"/>
              <a:gd name="connsiteX485" fmla="*/ 8737601 w 8802688"/>
              <a:gd name="connsiteY485" fmla="*/ 1793875 h 6677025"/>
              <a:gd name="connsiteX486" fmla="*/ 8763001 w 8802688"/>
              <a:gd name="connsiteY486" fmla="*/ 1974850 h 6677025"/>
              <a:gd name="connsiteX487" fmla="*/ 8785226 w 8802688"/>
              <a:gd name="connsiteY487" fmla="*/ 2149475 h 6677025"/>
              <a:gd name="connsiteX488" fmla="*/ 8789988 w 8802688"/>
              <a:gd name="connsiteY488" fmla="*/ 2238375 h 6677025"/>
              <a:gd name="connsiteX489" fmla="*/ 8796338 w 8802688"/>
              <a:gd name="connsiteY489" fmla="*/ 2325688 h 6677025"/>
              <a:gd name="connsiteX490" fmla="*/ 8802688 w 8802688"/>
              <a:gd name="connsiteY490" fmla="*/ 2411413 h 6677025"/>
              <a:gd name="connsiteX491" fmla="*/ 8802688 w 8802688"/>
              <a:gd name="connsiteY491" fmla="*/ 2497138 h 6677025"/>
              <a:gd name="connsiteX492" fmla="*/ 8802688 w 8802688"/>
              <a:gd name="connsiteY492" fmla="*/ 2584450 h 6677025"/>
              <a:gd name="connsiteX493" fmla="*/ 8796338 w 8802688"/>
              <a:gd name="connsiteY493" fmla="*/ 2670175 h 6677025"/>
              <a:gd name="connsiteX494" fmla="*/ 8789988 w 8802688"/>
              <a:gd name="connsiteY494" fmla="*/ 2752725 h 6677025"/>
              <a:gd name="connsiteX495" fmla="*/ 8778876 w 8802688"/>
              <a:gd name="connsiteY495" fmla="*/ 2840038 h 6677025"/>
              <a:gd name="connsiteX496" fmla="*/ 8763001 w 8802688"/>
              <a:gd name="connsiteY496" fmla="*/ 2922588 h 6677025"/>
              <a:gd name="connsiteX497" fmla="*/ 8748713 w 8802688"/>
              <a:gd name="connsiteY497" fmla="*/ 3006725 h 6677025"/>
              <a:gd name="connsiteX498" fmla="*/ 8724901 w 8802688"/>
              <a:gd name="connsiteY498" fmla="*/ 3092450 h 6677025"/>
              <a:gd name="connsiteX499" fmla="*/ 8701088 w 8802688"/>
              <a:gd name="connsiteY499" fmla="*/ 3175000 h 6677025"/>
              <a:gd name="connsiteX500" fmla="*/ 8670926 w 8802688"/>
              <a:gd name="connsiteY500" fmla="*/ 3249613 h 6677025"/>
              <a:gd name="connsiteX501" fmla="*/ 8642351 w 8802688"/>
              <a:gd name="connsiteY501" fmla="*/ 3321050 h 6677025"/>
              <a:gd name="connsiteX502" fmla="*/ 8609013 w 8802688"/>
              <a:gd name="connsiteY502" fmla="*/ 3389313 h 6677025"/>
              <a:gd name="connsiteX503" fmla="*/ 8575676 w 8802688"/>
              <a:gd name="connsiteY503" fmla="*/ 3451225 h 6677025"/>
              <a:gd name="connsiteX504" fmla="*/ 8543926 w 8802688"/>
              <a:gd name="connsiteY504" fmla="*/ 3514725 h 6677025"/>
              <a:gd name="connsiteX505" fmla="*/ 8507413 w 8802688"/>
              <a:gd name="connsiteY505" fmla="*/ 3570288 h 6677025"/>
              <a:gd name="connsiteX506" fmla="*/ 8469313 w 8802688"/>
              <a:gd name="connsiteY506" fmla="*/ 3621088 h 6677025"/>
              <a:gd name="connsiteX507" fmla="*/ 8431213 w 8802688"/>
              <a:gd name="connsiteY507" fmla="*/ 3671888 h 6677025"/>
              <a:gd name="connsiteX508" fmla="*/ 8391526 w 8802688"/>
              <a:gd name="connsiteY508" fmla="*/ 3719513 h 6677025"/>
              <a:gd name="connsiteX509" fmla="*/ 8350251 w 8802688"/>
              <a:gd name="connsiteY509" fmla="*/ 3760788 h 6677025"/>
              <a:gd name="connsiteX510" fmla="*/ 8305801 w 8802688"/>
              <a:gd name="connsiteY510" fmla="*/ 3802063 h 6677025"/>
              <a:gd name="connsiteX511" fmla="*/ 8261351 w 8802688"/>
              <a:gd name="connsiteY511" fmla="*/ 3838575 h 6677025"/>
              <a:gd name="connsiteX512" fmla="*/ 8216901 w 8802688"/>
              <a:gd name="connsiteY512" fmla="*/ 3870325 h 6677025"/>
              <a:gd name="connsiteX513" fmla="*/ 8172451 w 8802688"/>
              <a:gd name="connsiteY513" fmla="*/ 3903663 h 6677025"/>
              <a:gd name="connsiteX514" fmla="*/ 8124826 w 8802688"/>
              <a:gd name="connsiteY514" fmla="*/ 3930650 h 6677025"/>
              <a:gd name="connsiteX515" fmla="*/ 8074026 w 8802688"/>
              <a:gd name="connsiteY515" fmla="*/ 3954463 h 6677025"/>
              <a:gd name="connsiteX516" fmla="*/ 8023226 w 8802688"/>
              <a:gd name="connsiteY516" fmla="*/ 3978275 h 6677025"/>
              <a:gd name="connsiteX517" fmla="*/ 7972426 w 8802688"/>
              <a:gd name="connsiteY517" fmla="*/ 3995738 h 6677025"/>
              <a:gd name="connsiteX518" fmla="*/ 7920038 w 8802688"/>
              <a:gd name="connsiteY518" fmla="*/ 4013200 h 6677025"/>
              <a:gd name="connsiteX519" fmla="*/ 7866063 w 8802688"/>
              <a:gd name="connsiteY519" fmla="*/ 4029075 h 6677025"/>
              <a:gd name="connsiteX520" fmla="*/ 7812088 w 8802688"/>
              <a:gd name="connsiteY520" fmla="*/ 4040188 h 6677025"/>
              <a:gd name="connsiteX521" fmla="*/ 7756526 w 8802688"/>
              <a:gd name="connsiteY521" fmla="*/ 4049713 h 6677025"/>
              <a:gd name="connsiteX522" fmla="*/ 7699376 w 8802688"/>
              <a:gd name="connsiteY522" fmla="*/ 4057650 h 6677025"/>
              <a:gd name="connsiteX523" fmla="*/ 7640638 w 8802688"/>
              <a:gd name="connsiteY523" fmla="*/ 4064000 h 6677025"/>
              <a:gd name="connsiteX524" fmla="*/ 7583488 w 8802688"/>
              <a:gd name="connsiteY524" fmla="*/ 4067175 h 6677025"/>
              <a:gd name="connsiteX525" fmla="*/ 7521576 w 8802688"/>
              <a:gd name="connsiteY525" fmla="*/ 4067175 h 6677025"/>
              <a:gd name="connsiteX526" fmla="*/ 7461251 w 8802688"/>
              <a:gd name="connsiteY526" fmla="*/ 4067175 h 6677025"/>
              <a:gd name="connsiteX527" fmla="*/ 7399338 w 8802688"/>
              <a:gd name="connsiteY527" fmla="*/ 4064000 h 6677025"/>
              <a:gd name="connsiteX528" fmla="*/ 7270751 w 8802688"/>
              <a:gd name="connsiteY528" fmla="*/ 4052888 h 6677025"/>
              <a:gd name="connsiteX529" fmla="*/ 7140576 w 8802688"/>
              <a:gd name="connsiteY529" fmla="*/ 4033838 h 6677025"/>
              <a:gd name="connsiteX530" fmla="*/ 7018338 w 8802688"/>
              <a:gd name="connsiteY530" fmla="*/ 4016375 h 6677025"/>
              <a:gd name="connsiteX531" fmla="*/ 6896101 w 8802688"/>
              <a:gd name="connsiteY531" fmla="*/ 3992563 h 6677025"/>
              <a:gd name="connsiteX532" fmla="*/ 6780213 w 8802688"/>
              <a:gd name="connsiteY532" fmla="*/ 3965575 h 6677025"/>
              <a:gd name="connsiteX533" fmla="*/ 6664326 w 8802688"/>
              <a:gd name="connsiteY533" fmla="*/ 3937000 h 6677025"/>
              <a:gd name="connsiteX534" fmla="*/ 6438901 w 8802688"/>
              <a:gd name="connsiteY534" fmla="*/ 3870325 h 6677025"/>
              <a:gd name="connsiteX535" fmla="*/ 6326188 w 8802688"/>
              <a:gd name="connsiteY535" fmla="*/ 3841750 h 6677025"/>
              <a:gd name="connsiteX536" fmla="*/ 6216651 w 8802688"/>
              <a:gd name="connsiteY536" fmla="*/ 3811588 h 6677025"/>
              <a:gd name="connsiteX537" fmla="*/ 6186488 w 8802688"/>
              <a:gd name="connsiteY537" fmla="*/ 3951288 h 6677025"/>
              <a:gd name="connsiteX538" fmla="*/ 6162676 w 8802688"/>
              <a:gd name="connsiteY538" fmla="*/ 4094163 h 6677025"/>
              <a:gd name="connsiteX539" fmla="*/ 6153151 w 8802688"/>
              <a:gd name="connsiteY539" fmla="*/ 4171950 h 6677025"/>
              <a:gd name="connsiteX540" fmla="*/ 6148388 w 8802688"/>
              <a:gd name="connsiteY540" fmla="*/ 4244975 h 6677025"/>
              <a:gd name="connsiteX541" fmla="*/ 6142038 w 8802688"/>
              <a:gd name="connsiteY541" fmla="*/ 4325938 h 6677025"/>
              <a:gd name="connsiteX542" fmla="*/ 6142038 w 8802688"/>
              <a:gd name="connsiteY542" fmla="*/ 4408488 h 6677025"/>
              <a:gd name="connsiteX543" fmla="*/ 6142038 w 8802688"/>
              <a:gd name="connsiteY543" fmla="*/ 4438650 h 6677025"/>
              <a:gd name="connsiteX544" fmla="*/ 6148388 w 8802688"/>
              <a:gd name="connsiteY544" fmla="*/ 4468813 h 6677025"/>
              <a:gd name="connsiteX545" fmla="*/ 6156326 w 8802688"/>
              <a:gd name="connsiteY545" fmla="*/ 4500563 h 6677025"/>
              <a:gd name="connsiteX546" fmla="*/ 6169026 w 8802688"/>
              <a:gd name="connsiteY546" fmla="*/ 4530725 h 6677025"/>
              <a:gd name="connsiteX547" fmla="*/ 6183313 w 8802688"/>
              <a:gd name="connsiteY547" fmla="*/ 4554538 h 6677025"/>
              <a:gd name="connsiteX548" fmla="*/ 6203951 w 8802688"/>
              <a:gd name="connsiteY548" fmla="*/ 4575175 h 6677025"/>
              <a:gd name="connsiteX549" fmla="*/ 6213476 w 8802688"/>
              <a:gd name="connsiteY549" fmla="*/ 4584700 h 6677025"/>
              <a:gd name="connsiteX550" fmla="*/ 6224588 w 8802688"/>
              <a:gd name="connsiteY550" fmla="*/ 4591050 h 6677025"/>
              <a:gd name="connsiteX551" fmla="*/ 6237288 w 8802688"/>
              <a:gd name="connsiteY551" fmla="*/ 4594225 h 6677025"/>
              <a:gd name="connsiteX552" fmla="*/ 6251576 w 8802688"/>
              <a:gd name="connsiteY552" fmla="*/ 4595813 h 6677025"/>
              <a:gd name="connsiteX553" fmla="*/ 6281738 w 8802688"/>
              <a:gd name="connsiteY553" fmla="*/ 4608513 h 6677025"/>
              <a:gd name="connsiteX554" fmla="*/ 6313488 w 8802688"/>
              <a:gd name="connsiteY554" fmla="*/ 4619625 h 6677025"/>
              <a:gd name="connsiteX555" fmla="*/ 6350001 w 8802688"/>
              <a:gd name="connsiteY555" fmla="*/ 4629150 h 6677025"/>
              <a:gd name="connsiteX556" fmla="*/ 6384926 w 8802688"/>
              <a:gd name="connsiteY556" fmla="*/ 4632325 h 6677025"/>
              <a:gd name="connsiteX557" fmla="*/ 6405563 w 8802688"/>
              <a:gd name="connsiteY557" fmla="*/ 4632325 h 6677025"/>
              <a:gd name="connsiteX558" fmla="*/ 6424613 w 8802688"/>
              <a:gd name="connsiteY558" fmla="*/ 4629150 h 6677025"/>
              <a:gd name="connsiteX559" fmla="*/ 6445251 w 8802688"/>
              <a:gd name="connsiteY559" fmla="*/ 4622800 h 6677025"/>
              <a:gd name="connsiteX560" fmla="*/ 6465888 w 8802688"/>
              <a:gd name="connsiteY560" fmla="*/ 4616450 h 6677025"/>
              <a:gd name="connsiteX561" fmla="*/ 6486526 w 8802688"/>
              <a:gd name="connsiteY561" fmla="*/ 4605338 h 6677025"/>
              <a:gd name="connsiteX562" fmla="*/ 6507163 w 8802688"/>
              <a:gd name="connsiteY562" fmla="*/ 4594225 h 6677025"/>
              <a:gd name="connsiteX563" fmla="*/ 6527801 w 8802688"/>
              <a:gd name="connsiteY563" fmla="*/ 4575175 h 6677025"/>
              <a:gd name="connsiteX564" fmla="*/ 6548438 w 8802688"/>
              <a:gd name="connsiteY564" fmla="*/ 4557713 h 6677025"/>
              <a:gd name="connsiteX565" fmla="*/ 6578601 w 8802688"/>
              <a:gd name="connsiteY565" fmla="*/ 4516438 h 6677025"/>
              <a:gd name="connsiteX566" fmla="*/ 6608763 w 8802688"/>
              <a:gd name="connsiteY566" fmla="*/ 4476750 h 6677025"/>
              <a:gd name="connsiteX567" fmla="*/ 6673851 w 8802688"/>
              <a:gd name="connsiteY567" fmla="*/ 4403725 h 6677025"/>
              <a:gd name="connsiteX568" fmla="*/ 6704013 w 8802688"/>
              <a:gd name="connsiteY568" fmla="*/ 4364038 h 6677025"/>
              <a:gd name="connsiteX569" fmla="*/ 6731001 w 8802688"/>
              <a:gd name="connsiteY569" fmla="*/ 4319588 h 6677025"/>
              <a:gd name="connsiteX570" fmla="*/ 6754813 w 8802688"/>
              <a:gd name="connsiteY570" fmla="*/ 4275138 h 6677025"/>
              <a:gd name="connsiteX571" fmla="*/ 6762751 w 8802688"/>
              <a:gd name="connsiteY571" fmla="*/ 4248150 h 6677025"/>
              <a:gd name="connsiteX572" fmla="*/ 6772276 w 8802688"/>
              <a:gd name="connsiteY572" fmla="*/ 4221163 h 6677025"/>
              <a:gd name="connsiteX573" fmla="*/ 6775451 w 8802688"/>
              <a:gd name="connsiteY573" fmla="*/ 4210050 h 6677025"/>
              <a:gd name="connsiteX574" fmla="*/ 6783388 w 8802688"/>
              <a:gd name="connsiteY574" fmla="*/ 4197350 h 6677025"/>
              <a:gd name="connsiteX575" fmla="*/ 6796088 w 8802688"/>
              <a:gd name="connsiteY575" fmla="*/ 4192588 h 6677025"/>
              <a:gd name="connsiteX576" fmla="*/ 6813551 w 8802688"/>
              <a:gd name="connsiteY576" fmla="*/ 4183063 h 6677025"/>
              <a:gd name="connsiteX577" fmla="*/ 6848476 w 8802688"/>
              <a:gd name="connsiteY577" fmla="*/ 4168775 h 6677025"/>
              <a:gd name="connsiteX578" fmla="*/ 6867526 w 8802688"/>
              <a:gd name="connsiteY578" fmla="*/ 4159250 h 6677025"/>
              <a:gd name="connsiteX579" fmla="*/ 6881813 w 8802688"/>
              <a:gd name="connsiteY579" fmla="*/ 4148138 h 6677025"/>
              <a:gd name="connsiteX580" fmla="*/ 6881813 w 8802688"/>
              <a:gd name="connsiteY580" fmla="*/ 4200525 h 6677025"/>
              <a:gd name="connsiteX581" fmla="*/ 6875463 w 8802688"/>
              <a:gd name="connsiteY581" fmla="*/ 4254500 h 6677025"/>
              <a:gd name="connsiteX582" fmla="*/ 6867526 w 8802688"/>
              <a:gd name="connsiteY582" fmla="*/ 4302125 h 6677025"/>
              <a:gd name="connsiteX583" fmla="*/ 6854826 w 8802688"/>
              <a:gd name="connsiteY583" fmla="*/ 4349750 h 6677025"/>
              <a:gd name="connsiteX584" fmla="*/ 6840538 w 8802688"/>
              <a:gd name="connsiteY584" fmla="*/ 4394200 h 6677025"/>
              <a:gd name="connsiteX585" fmla="*/ 6823076 w 8802688"/>
              <a:gd name="connsiteY585" fmla="*/ 4435475 h 6677025"/>
              <a:gd name="connsiteX586" fmla="*/ 6800851 w 8802688"/>
              <a:gd name="connsiteY586" fmla="*/ 4475163 h 6677025"/>
              <a:gd name="connsiteX587" fmla="*/ 6775451 w 8802688"/>
              <a:gd name="connsiteY587" fmla="*/ 4510088 h 6677025"/>
              <a:gd name="connsiteX588" fmla="*/ 6748463 w 8802688"/>
              <a:gd name="connsiteY588" fmla="*/ 4546600 h 6677025"/>
              <a:gd name="connsiteX589" fmla="*/ 6718301 w 8802688"/>
              <a:gd name="connsiteY589" fmla="*/ 4575175 h 6677025"/>
              <a:gd name="connsiteX590" fmla="*/ 6683376 w 8802688"/>
              <a:gd name="connsiteY590" fmla="*/ 4605338 h 6677025"/>
              <a:gd name="connsiteX591" fmla="*/ 6646863 w 8802688"/>
              <a:gd name="connsiteY591" fmla="*/ 4629150 h 6677025"/>
              <a:gd name="connsiteX592" fmla="*/ 6608763 w 8802688"/>
              <a:gd name="connsiteY592" fmla="*/ 4652963 h 6677025"/>
              <a:gd name="connsiteX593" fmla="*/ 6567488 w 8802688"/>
              <a:gd name="connsiteY593" fmla="*/ 4673600 h 6677025"/>
              <a:gd name="connsiteX594" fmla="*/ 6521451 w 8802688"/>
              <a:gd name="connsiteY594" fmla="*/ 4691063 h 6677025"/>
              <a:gd name="connsiteX595" fmla="*/ 6473826 w 8802688"/>
              <a:gd name="connsiteY595" fmla="*/ 4706938 h 6677025"/>
              <a:gd name="connsiteX596" fmla="*/ 6438901 w 8802688"/>
              <a:gd name="connsiteY596" fmla="*/ 4718050 h 6677025"/>
              <a:gd name="connsiteX597" fmla="*/ 6403976 w 8802688"/>
              <a:gd name="connsiteY597" fmla="*/ 4727575 h 6677025"/>
              <a:gd name="connsiteX598" fmla="*/ 6370638 w 8802688"/>
              <a:gd name="connsiteY598" fmla="*/ 4733925 h 6677025"/>
              <a:gd name="connsiteX599" fmla="*/ 6334126 w 8802688"/>
              <a:gd name="connsiteY599" fmla="*/ 4735513 h 6677025"/>
              <a:gd name="connsiteX600" fmla="*/ 6302376 w 8802688"/>
              <a:gd name="connsiteY600" fmla="*/ 4735513 h 6677025"/>
              <a:gd name="connsiteX601" fmla="*/ 6265863 w 8802688"/>
              <a:gd name="connsiteY601" fmla="*/ 4733925 h 6677025"/>
              <a:gd name="connsiteX602" fmla="*/ 6234113 w 8802688"/>
              <a:gd name="connsiteY602" fmla="*/ 4724400 h 6677025"/>
              <a:gd name="connsiteX603" fmla="*/ 6200776 w 8802688"/>
              <a:gd name="connsiteY603" fmla="*/ 4714875 h 6677025"/>
              <a:gd name="connsiteX604" fmla="*/ 6169026 w 8802688"/>
              <a:gd name="connsiteY604" fmla="*/ 4703763 h 6677025"/>
              <a:gd name="connsiteX605" fmla="*/ 6135688 w 8802688"/>
              <a:gd name="connsiteY605" fmla="*/ 4691063 h 6677025"/>
              <a:gd name="connsiteX606" fmla="*/ 6102351 w 8802688"/>
              <a:gd name="connsiteY606" fmla="*/ 4673600 h 6677025"/>
              <a:gd name="connsiteX607" fmla="*/ 6073776 w 8802688"/>
              <a:gd name="connsiteY607" fmla="*/ 4656138 h 6677025"/>
              <a:gd name="connsiteX608" fmla="*/ 6040438 w 8802688"/>
              <a:gd name="connsiteY608" fmla="*/ 4632325 h 6677025"/>
              <a:gd name="connsiteX609" fmla="*/ 6010276 w 8802688"/>
              <a:gd name="connsiteY609" fmla="*/ 4611688 h 6677025"/>
              <a:gd name="connsiteX610" fmla="*/ 5984876 w 8802688"/>
              <a:gd name="connsiteY610" fmla="*/ 4584700 h 6677025"/>
              <a:gd name="connsiteX611" fmla="*/ 5954713 w 8802688"/>
              <a:gd name="connsiteY611" fmla="*/ 4557713 h 6677025"/>
              <a:gd name="connsiteX612" fmla="*/ 5903913 w 8802688"/>
              <a:gd name="connsiteY612" fmla="*/ 4510088 h 6677025"/>
              <a:gd name="connsiteX613" fmla="*/ 5853113 w 8802688"/>
              <a:gd name="connsiteY613" fmla="*/ 4465638 h 6677025"/>
              <a:gd name="connsiteX614" fmla="*/ 5802313 w 8802688"/>
              <a:gd name="connsiteY614" fmla="*/ 4424363 h 6677025"/>
              <a:gd name="connsiteX615" fmla="*/ 5746751 w 8802688"/>
              <a:gd name="connsiteY615" fmla="*/ 4384675 h 6677025"/>
              <a:gd name="connsiteX616" fmla="*/ 5692776 w 8802688"/>
              <a:gd name="connsiteY616" fmla="*/ 4349750 h 6677025"/>
              <a:gd name="connsiteX617" fmla="*/ 5635626 w 8802688"/>
              <a:gd name="connsiteY617" fmla="*/ 4316413 h 6677025"/>
              <a:gd name="connsiteX618" fmla="*/ 5576888 w 8802688"/>
              <a:gd name="connsiteY618" fmla="*/ 4284663 h 6677025"/>
              <a:gd name="connsiteX619" fmla="*/ 5519738 w 8802688"/>
              <a:gd name="connsiteY619" fmla="*/ 4254500 h 6677025"/>
              <a:gd name="connsiteX620" fmla="*/ 5399088 w 8802688"/>
              <a:gd name="connsiteY620" fmla="*/ 4197350 h 6677025"/>
              <a:gd name="connsiteX621" fmla="*/ 5276851 w 8802688"/>
              <a:gd name="connsiteY621" fmla="*/ 4141788 h 6677025"/>
              <a:gd name="connsiteX622" fmla="*/ 5027613 w 8802688"/>
              <a:gd name="connsiteY622" fmla="*/ 4033838 h 6677025"/>
              <a:gd name="connsiteX623" fmla="*/ 5110163 w 8802688"/>
              <a:gd name="connsiteY623" fmla="*/ 4090988 h 6677025"/>
              <a:gd name="connsiteX624" fmla="*/ 5151438 w 8802688"/>
              <a:gd name="connsiteY624" fmla="*/ 4121150 h 6677025"/>
              <a:gd name="connsiteX625" fmla="*/ 5191126 w 8802688"/>
              <a:gd name="connsiteY625" fmla="*/ 4151313 h 6677025"/>
              <a:gd name="connsiteX626" fmla="*/ 5226051 w 8802688"/>
              <a:gd name="connsiteY626" fmla="*/ 4183063 h 6677025"/>
              <a:gd name="connsiteX627" fmla="*/ 5260976 w 8802688"/>
              <a:gd name="connsiteY627" fmla="*/ 4219575 h 6677025"/>
              <a:gd name="connsiteX628" fmla="*/ 5294313 w 8802688"/>
              <a:gd name="connsiteY628" fmla="*/ 4254500 h 6677025"/>
              <a:gd name="connsiteX629" fmla="*/ 5324476 w 8802688"/>
              <a:gd name="connsiteY629" fmla="*/ 4295775 h 6677025"/>
              <a:gd name="connsiteX630" fmla="*/ 5356226 w 8802688"/>
              <a:gd name="connsiteY630" fmla="*/ 4329113 h 6677025"/>
              <a:gd name="connsiteX631" fmla="*/ 5392738 w 8802688"/>
              <a:gd name="connsiteY631" fmla="*/ 4370388 h 6677025"/>
              <a:gd name="connsiteX632" fmla="*/ 5410201 w 8802688"/>
              <a:gd name="connsiteY632" fmla="*/ 4391025 h 6677025"/>
              <a:gd name="connsiteX633" fmla="*/ 5422901 w 8802688"/>
              <a:gd name="connsiteY633" fmla="*/ 4411663 h 6677025"/>
              <a:gd name="connsiteX634" fmla="*/ 5430838 w 8802688"/>
              <a:gd name="connsiteY634" fmla="*/ 4430713 h 6677025"/>
              <a:gd name="connsiteX635" fmla="*/ 5434013 w 8802688"/>
              <a:gd name="connsiteY635" fmla="*/ 4445000 h 6677025"/>
              <a:gd name="connsiteX636" fmla="*/ 5376863 w 8802688"/>
              <a:gd name="connsiteY636" fmla="*/ 4656138 h 6677025"/>
              <a:gd name="connsiteX637" fmla="*/ 5348288 w 8802688"/>
              <a:gd name="connsiteY637" fmla="*/ 4759325 h 6677025"/>
              <a:gd name="connsiteX638" fmla="*/ 5314951 w 8802688"/>
              <a:gd name="connsiteY638" fmla="*/ 4864100 h 6677025"/>
              <a:gd name="connsiteX639" fmla="*/ 5280026 w 8802688"/>
              <a:gd name="connsiteY639" fmla="*/ 4965700 h 6677025"/>
              <a:gd name="connsiteX640" fmla="*/ 5243513 w 8802688"/>
              <a:gd name="connsiteY640" fmla="*/ 5068888 h 6677025"/>
              <a:gd name="connsiteX641" fmla="*/ 5205413 w 8802688"/>
              <a:gd name="connsiteY641" fmla="*/ 5167313 h 6677025"/>
              <a:gd name="connsiteX642" fmla="*/ 5160963 w 8802688"/>
              <a:gd name="connsiteY642" fmla="*/ 5268913 h 6677025"/>
              <a:gd name="connsiteX643" fmla="*/ 5116513 w 8802688"/>
              <a:gd name="connsiteY643" fmla="*/ 5362575 h 6677025"/>
              <a:gd name="connsiteX644" fmla="*/ 5068888 w 8802688"/>
              <a:gd name="connsiteY644" fmla="*/ 5457825 h 6677025"/>
              <a:gd name="connsiteX645" fmla="*/ 5014913 w 8802688"/>
              <a:gd name="connsiteY645" fmla="*/ 5553075 h 6677025"/>
              <a:gd name="connsiteX646" fmla="*/ 4960938 w 8802688"/>
              <a:gd name="connsiteY646" fmla="*/ 5643563 h 6677025"/>
              <a:gd name="connsiteX647" fmla="*/ 4902201 w 8802688"/>
              <a:gd name="connsiteY647" fmla="*/ 5732463 h 6677025"/>
              <a:gd name="connsiteX648" fmla="*/ 4837113 w 8802688"/>
              <a:gd name="connsiteY648" fmla="*/ 5815013 h 6677025"/>
              <a:gd name="connsiteX649" fmla="*/ 4768850 w 8802688"/>
              <a:gd name="connsiteY649" fmla="*/ 5899150 h 6677025"/>
              <a:gd name="connsiteX650" fmla="*/ 4694238 w 8802688"/>
              <a:gd name="connsiteY650" fmla="*/ 5978525 h 6677025"/>
              <a:gd name="connsiteX651" fmla="*/ 4581525 w 8802688"/>
              <a:gd name="connsiteY651" fmla="*/ 6062663 h 6677025"/>
              <a:gd name="connsiteX652" fmla="*/ 4470400 w 8802688"/>
              <a:gd name="connsiteY652" fmla="*/ 6151563 h 6677025"/>
              <a:gd name="connsiteX653" fmla="*/ 4360863 w 8802688"/>
              <a:gd name="connsiteY653" fmla="*/ 6246813 h 6677025"/>
              <a:gd name="connsiteX654" fmla="*/ 4303713 w 8802688"/>
              <a:gd name="connsiteY654" fmla="*/ 6296025 h 6677025"/>
              <a:gd name="connsiteX655" fmla="*/ 4248150 w 8802688"/>
              <a:gd name="connsiteY655" fmla="*/ 6350000 h 6677025"/>
              <a:gd name="connsiteX656" fmla="*/ 4221163 w 8802688"/>
              <a:gd name="connsiteY656" fmla="*/ 6365875 h 6677025"/>
              <a:gd name="connsiteX657" fmla="*/ 4194175 w 8802688"/>
              <a:gd name="connsiteY657" fmla="*/ 6386513 h 6677025"/>
              <a:gd name="connsiteX658" fmla="*/ 4167188 w 8802688"/>
              <a:gd name="connsiteY658" fmla="*/ 6407150 h 6677025"/>
              <a:gd name="connsiteX659" fmla="*/ 4140200 w 8802688"/>
              <a:gd name="connsiteY659" fmla="*/ 6430963 h 6677025"/>
              <a:gd name="connsiteX660" fmla="*/ 4117975 w 8802688"/>
              <a:gd name="connsiteY660" fmla="*/ 6454775 h 6677025"/>
              <a:gd name="connsiteX661" fmla="*/ 4095750 w 8802688"/>
              <a:gd name="connsiteY661" fmla="*/ 6481763 h 6677025"/>
              <a:gd name="connsiteX662" fmla="*/ 4078288 w 8802688"/>
              <a:gd name="connsiteY662" fmla="*/ 6510338 h 6677025"/>
              <a:gd name="connsiteX663" fmla="*/ 4064000 w 8802688"/>
              <a:gd name="connsiteY663" fmla="*/ 6537325 h 6677025"/>
              <a:gd name="connsiteX664" fmla="*/ 4033838 w 8802688"/>
              <a:gd name="connsiteY664" fmla="*/ 6564313 h 6677025"/>
              <a:gd name="connsiteX665" fmla="*/ 4003675 w 8802688"/>
              <a:gd name="connsiteY665" fmla="*/ 6588125 h 6677025"/>
              <a:gd name="connsiteX666" fmla="*/ 3975100 w 8802688"/>
              <a:gd name="connsiteY666" fmla="*/ 6608763 h 6677025"/>
              <a:gd name="connsiteX667" fmla="*/ 3944938 w 8802688"/>
              <a:gd name="connsiteY667" fmla="*/ 6626225 h 6677025"/>
              <a:gd name="connsiteX668" fmla="*/ 3914775 w 8802688"/>
              <a:gd name="connsiteY668" fmla="*/ 6645275 h 6677025"/>
              <a:gd name="connsiteX669" fmla="*/ 3884613 w 8802688"/>
              <a:gd name="connsiteY669" fmla="*/ 6656388 h 6677025"/>
              <a:gd name="connsiteX670" fmla="*/ 3852863 w 8802688"/>
              <a:gd name="connsiteY670" fmla="*/ 6665913 h 6677025"/>
              <a:gd name="connsiteX671" fmla="*/ 3822700 w 8802688"/>
              <a:gd name="connsiteY671" fmla="*/ 6673850 h 6677025"/>
              <a:gd name="connsiteX672" fmla="*/ 3790950 w 8802688"/>
              <a:gd name="connsiteY672" fmla="*/ 6677025 h 6677025"/>
              <a:gd name="connsiteX673" fmla="*/ 3760788 w 8802688"/>
              <a:gd name="connsiteY673" fmla="*/ 6677025 h 6677025"/>
              <a:gd name="connsiteX674" fmla="*/ 3727450 w 8802688"/>
              <a:gd name="connsiteY674" fmla="*/ 6673850 h 6677025"/>
              <a:gd name="connsiteX675" fmla="*/ 3697288 w 8802688"/>
              <a:gd name="connsiteY675" fmla="*/ 6669088 h 6677025"/>
              <a:gd name="connsiteX676" fmla="*/ 3668713 w 8802688"/>
              <a:gd name="connsiteY676" fmla="*/ 6659563 h 6677025"/>
              <a:gd name="connsiteX677" fmla="*/ 3638550 w 8802688"/>
              <a:gd name="connsiteY677" fmla="*/ 6646863 h 6677025"/>
              <a:gd name="connsiteX678" fmla="*/ 3608388 w 8802688"/>
              <a:gd name="connsiteY678" fmla="*/ 6632575 h 6677025"/>
              <a:gd name="connsiteX679" fmla="*/ 3579813 w 8802688"/>
              <a:gd name="connsiteY679" fmla="*/ 6611938 h 6677025"/>
              <a:gd name="connsiteX680" fmla="*/ 3525838 w 8802688"/>
              <a:gd name="connsiteY680" fmla="*/ 6543675 h 6677025"/>
              <a:gd name="connsiteX681" fmla="*/ 3475038 w 8802688"/>
              <a:gd name="connsiteY681" fmla="*/ 6472238 h 6677025"/>
              <a:gd name="connsiteX682" fmla="*/ 3427413 w 8802688"/>
              <a:gd name="connsiteY682" fmla="*/ 6400800 h 6677025"/>
              <a:gd name="connsiteX683" fmla="*/ 3379788 w 8802688"/>
              <a:gd name="connsiteY683" fmla="*/ 6326188 h 6677025"/>
              <a:gd name="connsiteX684" fmla="*/ 3335338 w 8802688"/>
              <a:gd name="connsiteY684" fmla="*/ 6251575 h 6677025"/>
              <a:gd name="connsiteX685" fmla="*/ 3294063 w 8802688"/>
              <a:gd name="connsiteY685" fmla="*/ 6175375 h 6677025"/>
              <a:gd name="connsiteX686" fmla="*/ 3252788 w 8802688"/>
              <a:gd name="connsiteY686" fmla="*/ 6097588 h 6677025"/>
              <a:gd name="connsiteX687" fmla="*/ 3209925 w 8802688"/>
              <a:gd name="connsiteY687" fmla="*/ 6015038 h 6677025"/>
              <a:gd name="connsiteX688" fmla="*/ 3195638 w 8802688"/>
              <a:gd name="connsiteY688" fmla="*/ 5999163 h 6677025"/>
              <a:gd name="connsiteX689" fmla="*/ 3186113 w 8802688"/>
              <a:gd name="connsiteY689" fmla="*/ 5984875 h 6677025"/>
              <a:gd name="connsiteX690" fmla="*/ 3181350 w 8802688"/>
              <a:gd name="connsiteY690" fmla="*/ 5967413 h 6677025"/>
              <a:gd name="connsiteX691" fmla="*/ 3175000 w 8802688"/>
              <a:gd name="connsiteY691" fmla="*/ 5946775 h 6677025"/>
              <a:gd name="connsiteX692" fmla="*/ 3171825 w 8802688"/>
              <a:gd name="connsiteY692" fmla="*/ 5927725 h 6677025"/>
              <a:gd name="connsiteX693" fmla="*/ 3171825 w 8802688"/>
              <a:gd name="connsiteY693" fmla="*/ 5907088 h 6677025"/>
              <a:gd name="connsiteX694" fmla="*/ 3175000 w 8802688"/>
              <a:gd name="connsiteY694" fmla="*/ 5886450 h 6677025"/>
              <a:gd name="connsiteX695" fmla="*/ 3181350 w 8802688"/>
              <a:gd name="connsiteY695" fmla="*/ 5865813 h 6677025"/>
              <a:gd name="connsiteX696" fmla="*/ 3189288 w 8802688"/>
              <a:gd name="connsiteY696" fmla="*/ 5845175 h 6677025"/>
              <a:gd name="connsiteX697" fmla="*/ 3201988 w 8802688"/>
              <a:gd name="connsiteY697" fmla="*/ 5824538 h 6677025"/>
              <a:gd name="connsiteX698" fmla="*/ 3213100 w 8802688"/>
              <a:gd name="connsiteY698" fmla="*/ 5803900 h 6677025"/>
              <a:gd name="connsiteX699" fmla="*/ 3230563 w 8802688"/>
              <a:gd name="connsiteY699" fmla="*/ 5783263 h 6677025"/>
              <a:gd name="connsiteX700" fmla="*/ 3249613 w 8802688"/>
              <a:gd name="connsiteY700" fmla="*/ 5764213 h 6677025"/>
              <a:gd name="connsiteX701" fmla="*/ 3270250 w 8802688"/>
              <a:gd name="connsiteY701" fmla="*/ 5746750 h 6677025"/>
              <a:gd name="connsiteX702" fmla="*/ 3294063 w 8802688"/>
              <a:gd name="connsiteY702" fmla="*/ 5732463 h 6677025"/>
              <a:gd name="connsiteX703" fmla="*/ 3321050 w 8802688"/>
              <a:gd name="connsiteY703" fmla="*/ 5716588 h 6677025"/>
              <a:gd name="connsiteX704" fmla="*/ 3362325 w 8802688"/>
              <a:gd name="connsiteY704" fmla="*/ 5699125 h 6677025"/>
              <a:gd name="connsiteX705" fmla="*/ 3403600 w 8802688"/>
              <a:gd name="connsiteY705" fmla="*/ 5681663 h 6677025"/>
              <a:gd name="connsiteX706" fmla="*/ 3492500 w 8802688"/>
              <a:gd name="connsiteY706" fmla="*/ 5637213 h 6677025"/>
              <a:gd name="connsiteX707" fmla="*/ 3587750 w 8802688"/>
              <a:gd name="connsiteY707" fmla="*/ 5583238 h 6677025"/>
              <a:gd name="connsiteX708" fmla="*/ 3692525 w 8802688"/>
              <a:gd name="connsiteY708" fmla="*/ 5529263 h 6677025"/>
              <a:gd name="connsiteX709" fmla="*/ 3692525 w 8802688"/>
              <a:gd name="connsiteY709" fmla="*/ 5081588 h 6677025"/>
              <a:gd name="connsiteX710" fmla="*/ 3683000 w 8802688"/>
              <a:gd name="connsiteY710" fmla="*/ 5116513 h 6677025"/>
              <a:gd name="connsiteX711" fmla="*/ 3673475 w 8802688"/>
              <a:gd name="connsiteY711" fmla="*/ 5153025 h 6677025"/>
              <a:gd name="connsiteX712" fmla="*/ 3665538 w 8802688"/>
              <a:gd name="connsiteY712" fmla="*/ 5184775 h 6677025"/>
              <a:gd name="connsiteX713" fmla="*/ 3652838 w 8802688"/>
              <a:gd name="connsiteY713" fmla="*/ 5211763 h 6677025"/>
              <a:gd name="connsiteX714" fmla="*/ 3641725 w 8802688"/>
              <a:gd name="connsiteY714" fmla="*/ 5238750 h 6677025"/>
              <a:gd name="connsiteX715" fmla="*/ 3629025 w 8802688"/>
              <a:gd name="connsiteY715" fmla="*/ 5265738 h 6677025"/>
              <a:gd name="connsiteX716" fmla="*/ 3614738 w 8802688"/>
              <a:gd name="connsiteY716" fmla="*/ 5286375 h 6677025"/>
              <a:gd name="connsiteX717" fmla="*/ 3600450 w 8802688"/>
              <a:gd name="connsiteY717" fmla="*/ 5307013 h 6677025"/>
              <a:gd name="connsiteX718" fmla="*/ 3581400 w 8802688"/>
              <a:gd name="connsiteY718" fmla="*/ 5324475 h 6677025"/>
              <a:gd name="connsiteX719" fmla="*/ 3567113 w 8802688"/>
              <a:gd name="connsiteY719" fmla="*/ 5340350 h 6677025"/>
              <a:gd name="connsiteX720" fmla="*/ 3549650 w 8802688"/>
              <a:gd name="connsiteY720" fmla="*/ 5354638 h 6677025"/>
              <a:gd name="connsiteX721" fmla="*/ 3529013 w 8802688"/>
              <a:gd name="connsiteY721" fmla="*/ 5365750 h 6677025"/>
              <a:gd name="connsiteX722" fmla="*/ 3489325 w 8802688"/>
              <a:gd name="connsiteY722" fmla="*/ 5386388 h 6677025"/>
              <a:gd name="connsiteX723" fmla="*/ 3451225 w 8802688"/>
              <a:gd name="connsiteY723" fmla="*/ 5402263 h 6677025"/>
              <a:gd name="connsiteX724" fmla="*/ 3406775 w 8802688"/>
              <a:gd name="connsiteY724" fmla="*/ 5413375 h 6677025"/>
              <a:gd name="connsiteX725" fmla="*/ 3365500 w 8802688"/>
              <a:gd name="connsiteY725" fmla="*/ 5419725 h 6677025"/>
              <a:gd name="connsiteX726" fmla="*/ 3321050 w 8802688"/>
              <a:gd name="connsiteY726" fmla="*/ 5422900 h 6677025"/>
              <a:gd name="connsiteX727" fmla="*/ 3273425 w 8802688"/>
              <a:gd name="connsiteY727" fmla="*/ 5422900 h 6677025"/>
              <a:gd name="connsiteX728" fmla="*/ 3182938 w 8802688"/>
              <a:gd name="connsiteY728" fmla="*/ 5419725 h 6677025"/>
              <a:gd name="connsiteX729" fmla="*/ 3097213 w 8802688"/>
              <a:gd name="connsiteY729" fmla="*/ 5416550 h 6677025"/>
              <a:gd name="connsiteX730" fmla="*/ 2838450 w 8802688"/>
              <a:gd name="connsiteY730" fmla="*/ 5416550 h 6677025"/>
              <a:gd name="connsiteX731" fmla="*/ 2770188 w 8802688"/>
              <a:gd name="connsiteY731" fmla="*/ 5416550 h 6677025"/>
              <a:gd name="connsiteX732" fmla="*/ 2708275 w 8802688"/>
              <a:gd name="connsiteY732" fmla="*/ 5413375 h 6677025"/>
              <a:gd name="connsiteX733" fmla="*/ 2678113 w 8802688"/>
              <a:gd name="connsiteY733" fmla="*/ 5408613 h 6677025"/>
              <a:gd name="connsiteX734" fmla="*/ 2647950 w 8802688"/>
              <a:gd name="connsiteY734" fmla="*/ 5402263 h 6677025"/>
              <a:gd name="connsiteX735" fmla="*/ 2622550 w 8802688"/>
              <a:gd name="connsiteY735" fmla="*/ 5395913 h 6677025"/>
              <a:gd name="connsiteX736" fmla="*/ 2598738 w 8802688"/>
              <a:gd name="connsiteY736" fmla="*/ 5384800 h 6677025"/>
              <a:gd name="connsiteX737" fmla="*/ 2574925 w 8802688"/>
              <a:gd name="connsiteY737" fmla="*/ 5368925 h 6677025"/>
              <a:gd name="connsiteX738" fmla="*/ 2554288 w 8802688"/>
              <a:gd name="connsiteY738" fmla="*/ 5354638 h 6677025"/>
              <a:gd name="connsiteX739" fmla="*/ 2532063 w 8802688"/>
              <a:gd name="connsiteY739" fmla="*/ 5330825 h 6677025"/>
              <a:gd name="connsiteX740" fmla="*/ 2514600 w 8802688"/>
              <a:gd name="connsiteY740" fmla="*/ 5307013 h 6677025"/>
              <a:gd name="connsiteX741" fmla="*/ 2500313 w 8802688"/>
              <a:gd name="connsiteY741" fmla="*/ 5276850 h 6677025"/>
              <a:gd name="connsiteX742" fmla="*/ 2484438 w 8802688"/>
              <a:gd name="connsiteY742" fmla="*/ 5241925 h 6677025"/>
              <a:gd name="connsiteX743" fmla="*/ 2476500 w 8802688"/>
              <a:gd name="connsiteY743" fmla="*/ 5202238 h 6677025"/>
              <a:gd name="connsiteX744" fmla="*/ 2466975 w 8802688"/>
              <a:gd name="connsiteY744" fmla="*/ 5154613 h 6677025"/>
              <a:gd name="connsiteX745" fmla="*/ 2466975 w 8802688"/>
              <a:gd name="connsiteY745" fmla="*/ 5229225 h 6677025"/>
              <a:gd name="connsiteX746" fmla="*/ 2466975 w 8802688"/>
              <a:gd name="connsiteY746" fmla="*/ 5341938 h 6677025"/>
              <a:gd name="connsiteX747" fmla="*/ 2466975 w 8802688"/>
              <a:gd name="connsiteY747" fmla="*/ 5440363 h 6677025"/>
              <a:gd name="connsiteX748" fmla="*/ 2463800 w 8802688"/>
              <a:gd name="connsiteY748" fmla="*/ 5538788 h 6677025"/>
              <a:gd name="connsiteX749" fmla="*/ 2459038 w 8802688"/>
              <a:gd name="connsiteY749" fmla="*/ 5634038 h 6677025"/>
              <a:gd name="connsiteX750" fmla="*/ 2452688 w 8802688"/>
              <a:gd name="connsiteY750" fmla="*/ 5681663 h 6677025"/>
              <a:gd name="connsiteX751" fmla="*/ 2443163 w 8802688"/>
              <a:gd name="connsiteY751" fmla="*/ 5729288 h 6677025"/>
              <a:gd name="connsiteX752" fmla="*/ 2435225 w 8802688"/>
              <a:gd name="connsiteY752" fmla="*/ 5776913 h 6677025"/>
              <a:gd name="connsiteX753" fmla="*/ 2422525 w 8802688"/>
              <a:gd name="connsiteY753" fmla="*/ 5824538 h 6677025"/>
              <a:gd name="connsiteX754" fmla="*/ 2408238 w 8802688"/>
              <a:gd name="connsiteY754" fmla="*/ 5868988 h 6677025"/>
              <a:gd name="connsiteX755" fmla="*/ 2390775 w 8802688"/>
              <a:gd name="connsiteY755" fmla="*/ 5916613 h 6677025"/>
              <a:gd name="connsiteX756" fmla="*/ 2368550 w 8802688"/>
              <a:gd name="connsiteY756" fmla="*/ 5961063 h 6677025"/>
              <a:gd name="connsiteX757" fmla="*/ 2343150 w 8802688"/>
              <a:gd name="connsiteY757" fmla="*/ 6002338 h 6677025"/>
              <a:gd name="connsiteX758" fmla="*/ 2316163 w 8802688"/>
              <a:gd name="connsiteY758" fmla="*/ 6046788 h 6677025"/>
              <a:gd name="connsiteX759" fmla="*/ 2282825 w 8802688"/>
              <a:gd name="connsiteY759" fmla="*/ 6088063 h 6677025"/>
              <a:gd name="connsiteX760" fmla="*/ 2268538 w 8802688"/>
              <a:gd name="connsiteY760" fmla="*/ 6103938 h 6677025"/>
              <a:gd name="connsiteX761" fmla="*/ 2255838 w 8802688"/>
              <a:gd name="connsiteY761" fmla="*/ 6121400 h 6677025"/>
              <a:gd name="connsiteX762" fmla="*/ 2238375 w 8802688"/>
              <a:gd name="connsiteY762" fmla="*/ 6156325 h 6677025"/>
              <a:gd name="connsiteX763" fmla="*/ 2224088 w 8802688"/>
              <a:gd name="connsiteY763" fmla="*/ 6199188 h 6677025"/>
              <a:gd name="connsiteX764" fmla="*/ 2211388 w 8802688"/>
              <a:gd name="connsiteY764" fmla="*/ 6243638 h 6677025"/>
              <a:gd name="connsiteX765" fmla="*/ 2193925 w 8802688"/>
              <a:gd name="connsiteY765" fmla="*/ 6335713 h 6677025"/>
              <a:gd name="connsiteX766" fmla="*/ 2181225 w 8802688"/>
              <a:gd name="connsiteY766" fmla="*/ 6383338 h 6677025"/>
              <a:gd name="connsiteX767" fmla="*/ 2170113 w 8802688"/>
              <a:gd name="connsiteY767" fmla="*/ 6424613 h 6677025"/>
              <a:gd name="connsiteX768" fmla="*/ 2166938 w 8802688"/>
              <a:gd name="connsiteY768" fmla="*/ 6442075 h 6677025"/>
              <a:gd name="connsiteX769" fmla="*/ 2157413 w 8802688"/>
              <a:gd name="connsiteY769" fmla="*/ 6459538 h 6677025"/>
              <a:gd name="connsiteX770" fmla="*/ 2143125 w 8802688"/>
              <a:gd name="connsiteY770" fmla="*/ 6478588 h 6677025"/>
              <a:gd name="connsiteX771" fmla="*/ 2125663 w 8802688"/>
              <a:gd name="connsiteY771" fmla="*/ 6496050 h 6677025"/>
              <a:gd name="connsiteX772" fmla="*/ 2101850 w 8802688"/>
              <a:gd name="connsiteY772" fmla="*/ 6510338 h 6677025"/>
              <a:gd name="connsiteX773" fmla="*/ 2078038 w 8802688"/>
              <a:gd name="connsiteY773" fmla="*/ 6526213 h 6677025"/>
              <a:gd name="connsiteX774" fmla="*/ 2051050 w 8802688"/>
              <a:gd name="connsiteY774" fmla="*/ 6534150 h 6677025"/>
              <a:gd name="connsiteX775" fmla="*/ 2020888 w 8802688"/>
              <a:gd name="connsiteY775" fmla="*/ 6537325 h 6677025"/>
              <a:gd name="connsiteX776" fmla="*/ 1828800 w 8802688"/>
              <a:gd name="connsiteY776" fmla="*/ 6507163 h 6677025"/>
              <a:gd name="connsiteX777" fmla="*/ 1628775 w 8802688"/>
              <a:gd name="connsiteY777" fmla="*/ 6478588 h 6677025"/>
              <a:gd name="connsiteX778" fmla="*/ 1525588 w 8802688"/>
              <a:gd name="connsiteY778" fmla="*/ 6457950 h 6677025"/>
              <a:gd name="connsiteX779" fmla="*/ 1420813 w 8802688"/>
              <a:gd name="connsiteY779" fmla="*/ 6435725 h 6677025"/>
              <a:gd name="connsiteX780" fmla="*/ 1316038 w 8802688"/>
              <a:gd name="connsiteY780" fmla="*/ 6415088 h 6677025"/>
              <a:gd name="connsiteX781" fmla="*/ 1206500 w 8802688"/>
              <a:gd name="connsiteY781" fmla="*/ 6389688 h 6677025"/>
              <a:gd name="connsiteX782" fmla="*/ 1168400 w 8802688"/>
              <a:gd name="connsiteY782" fmla="*/ 6370638 h 6677025"/>
              <a:gd name="connsiteX783" fmla="*/ 1150938 w 8802688"/>
              <a:gd name="connsiteY783" fmla="*/ 6362700 h 6677025"/>
              <a:gd name="connsiteX784" fmla="*/ 1135063 w 8802688"/>
              <a:gd name="connsiteY784" fmla="*/ 6353175 h 6677025"/>
              <a:gd name="connsiteX785" fmla="*/ 1123950 w 8802688"/>
              <a:gd name="connsiteY785" fmla="*/ 6342063 h 6677025"/>
              <a:gd name="connsiteX786" fmla="*/ 1111250 w 8802688"/>
              <a:gd name="connsiteY786" fmla="*/ 6326188 h 6677025"/>
              <a:gd name="connsiteX787" fmla="*/ 1103313 w 8802688"/>
              <a:gd name="connsiteY787" fmla="*/ 6311900 h 6677025"/>
              <a:gd name="connsiteX788" fmla="*/ 1093788 w 8802688"/>
              <a:gd name="connsiteY788" fmla="*/ 6294438 h 6677025"/>
              <a:gd name="connsiteX789" fmla="*/ 1087438 w 8802688"/>
              <a:gd name="connsiteY789" fmla="*/ 6275388 h 6677025"/>
              <a:gd name="connsiteX790" fmla="*/ 1084263 w 8802688"/>
              <a:gd name="connsiteY790" fmla="*/ 6254750 h 6677025"/>
              <a:gd name="connsiteX791" fmla="*/ 1082675 w 8802688"/>
              <a:gd name="connsiteY791" fmla="*/ 6234113 h 6677025"/>
              <a:gd name="connsiteX792" fmla="*/ 1082675 w 8802688"/>
              <a:gd name="connsiteY792" fmla="*/ 6210300 h 6677025"/>
              <a:gd name="connsiteX793" fmla="*/ 1084263 w 8802688"/>
              <a:gd name="connsiteY793" fmla="*/ 6154738 h 6677025"/>
              <a:gd name="connsiteX794" fmla="*/ 1093788 w 8802688"/>
              <a:gd name="connsiteY794" fmla="*/ 6088063 h 6677025"/>
              <a:gd name="connsiteX795" fmla="*/ 1120775 w 8802688"/>
              <a:gd name="connsiteY795" fmla="*/ 6046788 h 6677025"/>
              <a:gd name="connsiteX796" fmla="*/ 1144588 w 8802688"/>
              <a:gd name="connsiteY796" fmla="*/ 5999163 h 6677025"/>
              <a:gd name="connsiteX797" fmla="*/ 1162050 w 8802688"/>
              <a:gd name="connsiteY797" fmla="*/ 5948363 h 6677025"/>
              <a:gd name="connsiteX798" fmla="*/ 1176338 w 8802688"/>
              <a:gd name="connsiteY798" fmla="*/ 5899150 h 6677025"/>
              <a:gd name="connsiteX799" fmla="*/ 1189038 w 8802688"/>
              <a:gd name="connsiteY799" fmla="*/ 5845175 h 6677025"/>
              <a:gd name="connsiteX800" fmla="*/ 1198563 w 8802688"/>
              <a:gd name="connsiteY800" fmla="*/ 5788025 h 6677025"/>
              <a:gd name="connsiteX801" fmla="*/ 1203325 w 8802688"/>
              <a:gd name="connsiteY801" fmla="*/ 5735638 h 6677025"/>
              <a:gd name="connsiteX802" fmla="*/ 1206500 w 8802688"/>
              <a:gd name="connsiteY802" fmla="*/ 5678488 h 6677025"/>
              <a:gd name="connsiteX803" fmla="*/ 1212850 w 8802688"/>
              <a:gd name="connsiteY803" fmla="*/ 5657850 h 6677025"/>
              <a:gd name="connsiteX804" fmla="*/ 1216025 w 8802688"/>
              <a:gd name="connsiteY804" fmla="*/ 5634038 h 6677025"/>
              <a:gd name="connsiteX805" fmla="*/ 1216025 w 8802688"/>
              <a:gd name="connsiteY805" fmla="*/ 5613400 h 6677025"/>
              <a:gd name="connsiteX806" fmla="*/ 1216025 w 8802688"/>
              <a:gd name="connsiteY806" fmla="*/ 5589588 h 6677025"/>
              <a:gd name="connsiteX807" fmla="*/ 1209675 w 8802688"/>
              <a:gd name="connsiteY807" fmla="*/ 5541963 h 6677025"/>
              <a:gd name="connsiteX808" fmla="*/ 1198563 w 8802688"/>
              <a:gd name="connsiteY808" fmla="*/ 5497513 h 6677025"/>
              <a:gd name="connsiteX809" fmla="*/ 1179513 w 8802688"/>
              <a:gd name="connsiteY809" fmla="*/ 5453063 h 6677025"/>
              <a:gd name="connsiteX810" fmla="*/ 1165225 w 8802688"/>
              <a:gd name="connsiteY810" fmla="*/ 5410200 h 6677025"/>
              <a:gd name="connsiteX811" fmla="*/ 1131888 w 8802688"/>
              <a:gd name="connsiteY811" fmla="*/ 5341938 h 6677025"/>
              <a:gd name="connsiteX812" fmla="*/ 1069975 w 8802688"/>
              <a:gd name="connsiteY812" fmla="*/ 5238750 h 6677025"/>
              <a:gd name="connsiteX813" fmla="*/ 1012825 w 8802688"/>
              <a:gd name="connsiteY813" fmla="*/ 5130800 h 6677025"/>
              <a:gd name="connsiteX814" fmla="*/ 957263 w 8802688"/>
              <a:gd name="connsiteY814" fmla="*/ 5027613 h 6677025"/>
              <a:gd name="connsiteX815" fmla="*/ 903288 w 8802688"/>
              <a:gd name="connsiteY815" fmla="*/ 4919663 h 6677025"/>
              <a:gd name="connsiteX816" fmla="*/ 855663 w 8802688"/>
              <a:gd name="connsiteY816" fmla="*/ 4813300 h 6677025"/>
              <a:gd name="connsiteX817" fmla="*/ 811213 w 8802688"/>
              <a:gd name="connsiteY817" fmla="*/ 4706938 h 6677025"/>
              <a:gd name="connsiteX818" fmla="*/ 769938 w 8802688"/>
              <a:gd name="connsiteY818" fmla="*/ 4598988 h 6677025"/>
              <a:gd name="connsiteX819" fmla="*/ 733425 w 8802688"/>
              <a:gd name="connsiteY819" fmla="*/ 4492625 h 6677025"/>
              <a:gd name="connsiteX820" fmla="*/ 701675 w 8802688"/>
              <a:gd name="connsiteY820" fmla="*/ 4383088 h 6677025"/>
              <a:gd name="connsiteX821" fmla="*/ 671513 w 8802688"/>
              <a:gd name="connsiteY821" fmla="*/ 4271963 h 6677025"/>
              <a:gd name="connsiteX822" fmla="*/ 647700 w 8802688"/>
              <a:gd name="connsiteY822" fmla="*/ 4162425 h 6677025"/>
              <a:gd name="connsiteX823" fmla="*/ 630238 w 8802688"/>
              <a:gd name="connsiteY823" fmla="*/ 4049713 h 6677025"/>
              <a:gd name="connsiteX824" fmla="*/ 617538 w 8802688"/>
              <a:gd name="connsiteY824" fmla="*/ 3937000 h 6677025"/>
              <a:gd name="connsiteX825" fmla="*/ 609600 w 8802688"/>
              <a:gd name="connsiteY825" fmla="*/ 3821113 h 6677025"/>
              <a:gd name="connsiteX826" fmla="*/ 609600 w 8802688"/>
              <a:gd name="connsiteY826" fmla="*/ 3705225 h 6677025"/>
              <a:gd name="connsiteX827" fmla="*/ 612775 w 8802688"/>
              <a:gd name="connsiteY827" fmla="*/ 3586163 h 6677025"/>
              <a:gd name="connsiteX828" fmla="*/ 620713 w 8802688"/>
              <a:gd name="connsiteY828" fmla="*/ 3470275 h 6677025"/>
              <a:gd name="connsiteX829" fmla="*/ 636588 w 8802688"/>
              <a:gd name="connsiteY829" fmla="*/ 3354388 h 6677025"/>
              <a:gd name="connsiteX830" fmla="*/ 657225 w 8802688"/>
              <a:gd name="connsiteY830" fmla="*/ 3243263 h 6677025"/>
              <a:gd name="connsiteX831" fmla="*/ 681038 w 8802688"/>
              <a:gd name="connsiteY831" fmla="*/ 3136900 h 6677025"/>
              <a:gd name="connsiteX832" fmla="*/ 709613 w 8802688"/>
              <a:gd name="connsiteY832" fmla="*/ 3032125 h 6677025"/>
              <a:gd name="connsiteX833" fmla="*/ 746125 w 8802688"/>
              <a:gd name="connsiteY833" fmla="*/ 2932113 h 6677025"/>
              <a:gd name="connsiteX834" fmla="*/ 784225 w 8802688"/>
              <a:gd name="connsiteY834" fmla="*/ 2833688 h 6677025"/>
              <a:gd name="connsiteX835" fmla="*/ 828675 w 8802688"/>
              <a:gd name="connsiteY835" fmla="*/ 2735263 h 6677025"/>
              <a:gd name="connsiteX836" fmla="*/ 879475 w 8802688"/>
              <a:gd name="connsiteY836" fmla="*/ 2643188 h 6677025"/>
              <a:gd name="connsiteX837" fmla="*/ 933450 w 8802688"/>
              <a:gd name="connsiteY837" fmla="*/ 2551113 h 6677025"/>
              <a:gd name="connsiteX838" fmla="*/ 992188 w 8802688"/>
              <a:gd name="connsiteY838" fmla="*/ 2465388 h 6677025"/>
              <a:gd name="connsiteX839" fmla="*/ 1055688 w 8802688"/>
              <a:gd name="connsiteY839" fmla="*/ 2379663 h 6677025"/>
              <a:gd name="connsiteX840" fmla="*/ 1123950 w 8802688"/>
              <a:gd name="connsiteY840" fmla="*/ 2295525 h 6677025"/>
              <a:gd name="connsiteX841" fmla="*/ 1195388 w 8802688"/>
              <a:gd name="connsiteY841" fmla="*/ 2212975 h 6677025"/>
              <a:gd name="connsiteX842" fmla="*/ 1271588 w 8802688"/>
              <a:gd name="connsiteY842" fmla="*/ 2132013 h 6677025"/>
              <a:gd name="connsiteX843" fmla="*/ 1355725 w 8802688"/>
              <a:gd name="connsiteY843" fmla="*/ 2054225 h 6677025"/>
              <a:gd name="connsiteX844" fmla="*/ 1423988 w 8802688"/>
              <a:gd name="connsiteY844" fmla="*/ 2001838 h 6677025"/>
              <a:gd name="connsiteX845" fmla="*/ 1495425 w 8802688"/>
              <a:gd name="connsiteY845" fmla="*/ 1951038 h 6677025"/>
              <a:gd name="connsiteX846" fmla="*/ 1566863 w 8802688"/>
              <a:gd name="connsiteY846" fmla="*/ 1900238 h 6677025"/>
              <a:gd name="connsiteX847" fmla="*/ 1641475 w 8802688"/>
              <a:gd name="connsiteY847" fmla="*/ 1855788 h 6677025"/>
              <a:gd name="connsiteX848" fmla="*/ 1714500 w 8802688"/>
              <a:gd name="connsiteY848" fmla="*/ 1814513 h 6677025"/>
              <a:gd name="connsiteX849" fmla="*/ 1789113 w 8802688"/>
              <a:gd name="connsiteY849" fmla="*/ 1774825 h 6677025"/>
              <a:gd name="connsiteX850" fmla="*/ 1866900 w 8802688"/>
              <a:gd name="connsiteY850" fmla="*/ 1739900 h 6677025"/>
              <a:gd name="connsiteX851" fmla="*/ 1944688 w 8802688"/>
              <a:gd name="connsiteY851" fmla="*/ 1703388 h 6677025"/>
              <a:gd name="connsiteX852" fmla="*/ 2020888 w 8802688"/>
              <a:gd name="connsiteY852" fmla="*/ 1671638 h 6677025"/>
              <a:gd name="connsiteX853" fmla="*/ 2101850 w 8802688"/>
              <a:gd name="connsiteY853" fmla="*/ 1641476 h 6677025"/>
              <a:gd name="connsiteX854" fmla="*/ 2184400 w 8802688"/>
              <a:gd name="connsiteY854" fmla="*/ 1614488 h 6677025"/>
              <a:gd name="connsiteX855" fmla="*/ 2268538 w 8802688"/>
              <a:gd name="connsiteY855" fmla="*/ 1587500 h 6677025"/>
              <a:gd name="connsiteX856" fmla="*/ 2351088 w 8802688"/>
              <a:gd name="connsiteY856" fmla="*/ 1562100 h 6677025"/>
              <a:gd name="connsiteX857" fmla="*/ 2436813 w 8802688"/>
              <a:gd name="connsiteY857" fmla="*/ 1538288 h 6677025"/>
              <a:gd name="connsiteX858" fmla="*/ 2616200 w 8802688"/>
              <a:gd name="connsiteY858" fmla="*/ 1492250 h 6677025"/>
              <a:gd name="connsiteX859" fmla="*/ 2725738 w 8802688"/>
              <a:gd name="connsiteY859" fmla="*/ 1492250 h 6677025"/>
              <a:gd name="connsiteX860" fmla="*/ 2654300 w 8802688"/>
              <a:gd name="connsiteY860" fmla="*/ 1590675 h 6677025"/>
              <a:gd name="connsiteX861" fmla="*/ 2582863 w 8802688"/>
              <a:gd name="connsiteY861" fmla="*/ 1682750 h 6677025"/>
              <a:gd name="connsiteX862" fmla="*/ 2435225 w 8802688"/>
              <a:gd name="connsiteY862" fmla="*/ 1866901 h 6677025"/>
              <a:gd name="connsiteX863" fmla="*/ 2363788 w 8802688"/>
              <a:gd name="connsiteY863" fmla="*/ 1958975 h 6677025"/>
              <a:gd name="connsiteX864" fmla="*/ 2295525 w 8802688"/>
              <a:gd name="connsiteY864" fmla="*/ 2052638 h 6677025"/>
              <a:gd name="connsiteX865" fmla="*/ 2228850 w 8802688"/>
              <a:gd name="connsiteY865" fmla="*/ 2144713 h 6677025"/>
              <a:gd name="connsiteX866" fmla="*/ 2200275 w 8802688"/>
              <a:gd name="connsiteY866" fmla="*/ 2192338 h 6677025"/>
              <a:gd name="connsiteX867" fmla="*/ 2170113 w 8802688"/>
              <a:gd name="connsiteY867" fmla="*/ 2241550 h 6677025"/>
              <a:gd name="connsiteX868" fmla="*/ 2089150 w 8802688"/>
              <a:gd name="connsiteY868" fmla="*/ 2355850 h 6677025"/>
              <a:gd name="connsiteX869" fmla="*/ 2047875 w 8802688"/>
              <a:gd name="connsiteY869" fmla="*/ 2411413 h 6677025"/>
              <a:gd name="connsiteX870" fmla="*/ 2012950 w 8802688"/>
              <a:gd name="connsiteY870" fmla="*/ 2471738 h 6677025"/>
              <a:gd name="connsiteX871" fmla="*/ 1979613 w 8802688"/>
              <a:gd name="connsiteY871" fmla="*/ 2530475 h 6677025"/>
              <a:gd name="connsiteX872" fmla="*/ 1952625 w 8802688"/>
              <a:gd name="connsiteY872" fmla="*/ 2592388 h 6677025"/>
              <a:gd name="connsiteX873" fmla="*/ 1928813 w 8802688"/>
              <a:gd name="connsiteY873" fmla="*/ 2659063 h 6677025"/>
              <a:gd name="connsiteX874" fmla="*/ 1917700 w 8802688"/>
              <a:gd name="connsiteY874" fmla="*/ 2693988 h 6677025"/>
              <a:gd name="connsiteX875" fmla="*/ 1911350 w 8802688"/>
              <a:gd name="connsiteY875" fmla="*/ 2727325 h 6677025"/>
              <a:gd name="connsiteX876" fmla="*/ 1893888 w 8802688"/>
              <a:gd name="connsiteY876" fmla="*/ 2776538 h 6677025"/>
              <a:gd name="connsiteX877" fmla="*/ 1881188 w 8802688"/>
              <a:gd name="connsiteY877" fmla="*/ 2824163 h 6677025"/>
              <a:gd name="connsiteX878" fmla="*/ 1873250 w 8802688"/>
              <a:gd name="connsiteY878" fmla="*/ 2868613 h 6677025"/>
              <a:gd name="connsiteX879" fmla="*/ 1873250 w 8802688"/>
              <a:gd name="connsiteY879" fmla="*/ 2916238 h 6677025"/>
              <a:gd name="connsiteX880" fmla="*/ 1876425 w 8802688"/>
              <a:gd name="connsiteY880" fmla="*/ 2962275 h 6677025"/>
              <a:gd name="connsiteX881" fmla="*/ 1881188 w 8802688"/>
              <a:gd name="connsiteY881" fmla="*/ 3006725 h 6677025"/>
              <a:gd name="connsiteX882" fmla="*/ 1893888 w 8802688"/>
              <a:gd name="connsiteY882" fmla="*/ 3048000 h 6677025"/>
              <a:gd name="connsiteX883" fmla="*/ 1905000 w 8802688"/>
              <a:gd name="connsiteY883" fmla="*/ 3092450 h 6677025"/>
              <a:gd name="connsiteX884" fmla="*/ 1924050 w 8802688"/>
              <a:gd name="connsiteY884" fmla="*/ 3133725 h 6677025"/>
              <a:gd name="connsiteX885" fmla="*/ 1944688 w 8802688"/>
              <a:gd name="connsiteY885" fmla="*/ 3171825 h 6677025"/>
              <a:gd name="connsiteX886" fmla="*/ 1965325 w 8802688"/>
              <a:gd name="connsiteY886" fmla="*/ 3214688 h 6677025"/>
              <a:gd name="connsiteX887" fmla="*/ 1989138 w 8802688"/>
              <a:gd name="connsiteY887" fmla="*/ 3252788 h 6677025"/>
              <a:gd name="connsiteX888" fmla="*/ 2041525 w 8802688"/>
              <a:gd name="connsiteY888" fmla="*/ 3327400 h 6677025"/>
              <a:gd name="connsiteX889" fmla="*/ 2095500 w 8802688"/>
              <a:gd name="connsiteY889" fmla="*/ 3398838 h 6677025"/>
              <a:gd name="connsiteX890" fmla="*/ 2149475 w 8802688"/>
              <a:gd name="connsiteY890" fmla="*/ 3470275 h 6677025"/>
              <a:gd name="connsiteX891" fmla="*/ 2197100 w 8802688"/>
              <a:gd name="connsiteY891" fmla="*/ 3541713 h 6677025"/>
              <a:gd name="connsiteX892" fmla="*/ 2217738 w 8802688"/>
              <a:gd name="connsiteY892" fmla="*/ 3576638 h 6677025"/>
              <a:gd name="connsiteX893" fmla="*/ 2238375 w 8802688"/>
              <a:gd name="connsiteY893" fmla="*/ 3613150 h 6677025"/>
              <a:gd name="connsiteX894" fmla="*/ 2252663 w 8802688"/>
              <a:gd name="connsiteY894" fmla="*/ 3648075 h 6677025"/>
              <a:gd name="connsiteX895" fmla="*/ 2268538 w 8802688"/>
              <a:gd name="connsiteY895" fmla="*/ 3684588 h 6677025"/>
              <a:gd name="connsiteX896" fmla="*/ 2279650 w 8802688"/>
              <a:gd name="connsiteY896" fmla="*/ 3722688 h 6677025"/>
              <a:gd name="connsiteX897" fmla="*/ 2286000 w 8802688"/>
              <a:gd name="connsiteY897" fmla="*/ 3757613 h 6677025"/>
              <a:gd name="connsiteX898" fmla="*/ 2289175 w 8802688"/>
              <a:gd name="connsiteY898" fmla="*/ 3797300 h 6677025"/>
              <a:gd name="connsiteX899" fmla="*/ 2289175 w 8802688"/>
              <a:gd name="connsiteY899" fmla="*/ 3835400 h 6677025"/>
              <a:gd name="connsiteX900" fmla="*/ 2286000 w 8802688"/>
              <a:gd name="connsiteY900" fmla="*/ 3873500 h 6677025"/>
              <a:gd name="connsiteX901" fmla="*/ 2276475 w 8802688"/>
              <a:gd name="connsiteY901" fmla="*/ 3916363 h 6677025"/>
              <a:gd name="connsiteX902" fmla="*/ 2262188 w 8802688"/>
              <a:gd name="connsiteY902" fmla="*/ 3954463 h 6677025"/>
              <a:gd name="connsiteX903" fmla="*/ 2244725 w 8802688"/>
              <a:gd name="connsiteY903" fmla="*/ 3995738 h 6677025"/>
              <a:gd name="connsiteX904" fmla="*/ 2232025 w 8802688"/>
              <a:gd name="connsiteY904" fmla="*/ 4013200 h 6677025"/>
              <a:gd name="connsiteX905" fmla="*/ 2224088 w 8802688"/>
              <a:gd name="connsiteY905" fmla="*/ 4037013 h 6677025"/>
              <a:gd name="connsiteX906" fmla="*/ 2217738 w 8802688"/>
              <a:gd name="connsiteY906" fmla="*/ 4064000 h 6677025"/>
              <a:gd name="connsiteX907" fmla="*/ 2217738 w 8802688"/>
              <a:gd name="connsiteY907" fmla="*/ 4090988 h 6677025"/>
              <a:gd name="connsiteX908" fmla="*/ 2217738 w 8802688"/>
              <a:gd name="connsiteY908" fmla="*/ 4117975 h 6677025"/>
              <a:gd name="connsiteX909" fmla="*/ 2224088 w 8802688"/>
              <a:gd name="connsiteY909" fmla="*/ 4144963 h 6677025"/>
              <a:gd name="connsiteX910" fmla="*/ 2232025 w 8802688"/>
              <a:gd name="connsiteY910" fmla="*/ 4168775 h 6677025"/>
              <a:gd name="connsiteX911" fmla="*/ 2244725 w 8802688"/>
              <a:gd name="connsiteY911" fmla="*/ 4183063 h 6677025"/>
              <a:gd name="connsiteX912" fmla="*/ 2306638 w 8802688"/>
              <a:gd name="connsiteY912" fmla="*/ 4251325 h 6677025"/>
              <a:gd name="connsiteX913" fmla="*/ 2368550 w 8802688"/>
              <a:gd name="connsiteY913" fmla="*/ 4313238 h 6677025"/>
              <a:gd name="connsiteX914" fmla="*/ 2435225 w 8802688"/>
              <a:gd name="connsiteY914" fmla="*/ 4373563 h 6677025"/>
              <a:gd name="connsiteX915" fmla="*/ 2497138 w 8802688"/>
              <a:gd name="connsiteY915" fmla="*/ 4424363 h 6677025"/>
              <a:gd name="connsiteX916" fmla="*/ 2562225 w 8802688"/>
              <a:gd name="connsiteY916" fmla="*/ 4471988 h 6677025"/>
              <a:gd name="connsiteX917" fmla="*/ 2627313 w 8802688"/>
              <a:gd name="connsiteY917" fmla="*/ 4510088 h 6677025"/>
              <a:gd name="connsiteX918" fmla="*/ 2660650 w 8802688"/>
              <a:gd name="connsiteY918" fmla="*/ 4527550 h 6677025"/>
              <a:gd name="connsiteX919" fmla="*/ 2695575 w 8802688"/>
              <a:gd name="connsiteY919" fmla="*/ 4543425 h 6677025"/>
              <a:gd name="connsiteX920" fmla="*/ 2728913 w 8802688"/>
              <a:gd name="connsiteY920" fmla="*/ 4554538 h 6677025"/>
              <a:gd name="connsiteX921" fmla="*/ 2763838 w 8802688"/>
              <a:gd name="connsiteY921" fmla="*/ 4567238 h 6677025"/>
              <a:gd name="connsiteX922" fmla="*/ 2800350 w 8802688"/>
              <a:gd name="connsiteY922" fmla="*/ 4575175 h 6677025"/>
              <a:gd name="connsiteX923" fmla="*/ 2835275 w 8802688"/>
              <a:gd name="connsiteY923" fmla="*/ 4584700 h 6677025"/>
              <a:gd name="connsiteX924" fmla="*/ 2871788 w 8802688"/>
              <a:gd name="connsiteY924" fmla="*/ 4591050 h 6677025"/>
              <a:gd name="connsiteX925" fmla="*/ 2906713 w 8802688"/>
              <a:gd name="connsiteY925" fmla="*/ 4594225 h 6677025"/>
              <a:gd name="connsiteX926" fmla="*/ 2943225 w 8802688"/>
              <a:gd name="connsiteY926" fmla="*/ 4594225 h 6677025"/>
              <a:gd name="connsiteX927" fmla="*/ 2981325 w 8802688"/>
              <a:gd name="connsiteY927" fmla="*/ 4594225 h 6677025"/>
              <a:gd name="connsiteX928" fmla="*/ 3021013 w 8802688"/>
              <a:gd name="connsiteY928" fmla="*/ 4591050 h 6677025"/>
              <a:gd name="connsiteX929" fmla="*/ 3059113 w 8802688"/>
              <a:gd name="connsiteY929" fmla="*/ 4584700 h 6677025"/>
              <a:gd name="connsiteX930" fmla="*/ 3097213 w 8802688"/>
              <a:gd name="connsiteY930" fmla="*/ 4575175 h 6677025"/>
              <a:gd name="connsiteX931" fmla="*/ 3138488 w 8802688"/>
              <a:gd name="connsiteY931" fmla="*/ 4564063 h 6677025"/>
              <a:gd name="connsiteX932" fmla="*/ 3178175 w 8802688"/>
              <a:gd name="connsiteY932" fmla="*/ 4551363 h 6677025"/>
              <a:gd name="connsiteX933" fmla="*/ 3219450 w 8802688"/>
              <a:gd name="connsiteY933" fmla="*/ 4537075 h 6677025"/>
              <a:gd name="connsiteX934" fmla="*/ 3263900 w 8802688"/>
              <a:gd name="connsiteY934" fmla="*/ 4516438 h 6677025"/>
              <a:gd name="connsiteX935" fmla="*/ 3305175 w 8802688"/>
              <a:gd name="connsiteY935" fmla="*/ 4495800 h 6677025"/>
              <a:gd name="connsiteX936" fmla="*/ 3349625 w 8802688"/>
              <a:gd name="connsiteY936" fmla="*/ 4471988 h 6677025"/>
              <a:gd name="connsiteX937" fmla="*/ 3394075 w 8802688"/>
              <a:gd name="connsiteY937" fmla="*/ 4445000 h 6677025"/>
              <a:gd name="connsiteX938" fmla="*/ 3617913 w 8802688"/>
              <a:gd name="connsiteY938" fmla="*/ 4329113 h 6677025"/>
              <a:gd name="connsiteX939" fmla="*/ 3730625 w 8802688"/>
              <a:gd name="connsiteY939" fmla="*/ 4271963 h 6677025"/>
              <a:gd name="connsiteX940" fmla="*/ 3843338 w 8802688"/>
              <a:gd name="connsiteY940" fmla="*/ 4216400 h 6677025"/>
              <a:gd name="connsiteX941" fmla="*/ 3959225 w 8802688"/>
              <a:gd name="connsiteY941" fmla="*/ 4168775 h 6677025"/>
              <a:gd name="connsiteX942" fmla="*/ 4019550 w 8802688"/>
              <a:gd name="connsiteY942" fmla="*/ 4144963 h 6677025"/>
              <a:gd name="connsiteX943" fmla="*/ 4078288 w 8802688"/>
              <a:gd name="connsiteY943" fmla="*/ 4124325 h 6677025"/>
              <a:gd name="connsiteX944" fmla="*/ 4138613 w 8802688"/>
              <a:gd name="connsiteY944" fmla="*/ 4108450 h 6677025"/>
              <a:gd name="connsiteX945" fmla="*/ 4197350 w 8802688"/>
              <a:gd name="connsiteY945" fmla="*/ 4094163 h 6677025"/>
              <a:gd name="connsiteX946" fmla="*/ 4259263 w 8802688"/>
              <a:gd name="connsiteY946" fmla="*/ 4081463 h 6677025"/>
              <a:gd name="connsiteX947" fmla="*/ 4322763 w 8802688"/>
              <a:gd name="connsiteY947" fmla="*/ 4073525 h 6677025"/>
              <a:gd name="connsiteX948" fmla="*/ 4337050 w 8802688"/>
              <a:gd name="connsiteY948" fmla="*/ 4067175 h 6677025"/>
              <a:gd name="connsiteX949" fmla="*/ 4354513 w 8802688"/>
              <a:gd name="connsiteY949" fmla="*/ 4057650 h 6677025"/>
              <a:gd name="connsiteX950" fmla="*/ 4375150 w 8802688"/>
              <a:gd name="connsiteY950" fmla="*/ 4043363 h 6677025"/>
              <a:gd name="connsiteX951" fmla="*/ 4397375 w 8802688"/>
              <a:gd name="connsiteY951" fmla="*/ 4025900 h 6677025"/>
              <a:gd name="connsiteX952" fmla="*/ 4418013 w 8802688"/>
              <a:gd name="connsiteY952" fmla="*/ 4002088 h 6677025"/>
              <a:gd name="connsiteX953" fmla="*/ 4438650 w 8802688"/>
              <a:gd name="connsiteY953" fmla="*/ 3978275 h 6677025"/>
              <a:gd name="connsiteX954" fmla="*/ 4456113 w 8802688"/>
              <a:gd name="connsiteY954" fmla="*/ 3951288 h 6677025"/>
              <a:gd name="connsiteX955" fmla="*/ 4470400 w 8802688"/>
              <a:gd name="connsiteY955" fmla="*/ 3921125 h 6677025"/>
              <a:gd name="connsiteX956" fmla="*/ 4497388 w 8802688"/>
              <a:gd name="connsiteY956" fmla="*/ 3844925 h 6677025"/>
              <a:gd name="connsiteX957" fmla="*/ 4518025 w 8802688"/>
              <a:gd name="connsiteY957" fmla="*/ 3767138 h 6677025"/>
              <a:gd name="connsiteX958" fmla="*/ 4537075 w 8802688"/>
              <a:gd name="connsiteY958" fmla="*/ 3689350 h 6677025"/>
              <a:gd name="connsiteX959" fmla="*/ 4548188 w 8802688"/>
              <a:gd name="connsiteY959" fmla="*/ 3613150 h 6677025"/>
              <a:gd name="connsiteX960" fmla="*/ 4560888 w 8802688"/>
              <a:gd name="connsiteY960" fmla="*/ 3535363 h 6677025"/>
              <a:gd name="connsiteX961" fmla="*/ 4565650 w 8802688"/>
              <a:gd name="connsiteY961" fmla="*/ 3457575 h 6677025"/>
              <a:gd name="connsiteX962" fmla="*/ 4572000 w 8802688"/>
              <a:gd name="connsiteY962" fmla="*/ 3381375 h 6677025"/>
              <a:gd name="connsiteX963" fmla="*/ 4572000 w 8802688"/>
              <a:gd name="connsiteY963" fmla="*/ 3300413 h 6677025"/>
              <a:gd name="connsiteX964" fmla="*/ 4572000 w 8802688"/>
              <a:gd name="connsiteY964" fmla="*/ 3222625 h 6677025"/>
              <a:gd name="connsiteX965" fmla="*/ 4568825 w 8802688"/>
              <a:gd name="connsiteY965" fmla="*/ 3143250 h 6677025"/>
              <a:gd name="connsiteX966" fmla="*/ 4562475 w 8802688"/>
              <a:gd name="connsiteY966" fmla="*/ 3062288 h 6677025"/>
              <a:gd name="connsiteX967" fmla="*/ 4554538 w 8802688"/>
              <a:gd name="connsiteY967" fmla="*/ 2982913 h 6677025"/>
              <a:gd name="connsiteX968" fmla="*/ 4533900 w 8802688"/>
              <a:gd name="connsiteY968" fmla="*/ 2819400 h 6677025"/>
              <a:gd name="connsiteX969" fmla="*/ 4506913 w 8802688"/>
              <a:gd name="connsiteY969" fmla="*/ 2652713 h 6677025"/>
              <a:gd name="connsiteX970" fmla="*/ 4479925 w 8802688"/>
              <a:gd name="connsiteY970" fmla="*/ 2476500 h 6677025"/>
              <a:gd name="connsiteX971" fmla="*/ 4446588 w 8802688"/>
              <a:gd name="connsiteY971" fmla="*/ 2292351 h 6677025"/>
              <a:gd name="connsiteX972" fmla="*/ 4429125 w 8802688"/>
              <a:gd name="connsiteY972" fmla="*/ 2197100 h 6677025"/>
              <a:gd name="connsiteX973" fmla="*/ 4408488 w 8802688"/>
              <a:gd name="connsiteY973" fmla="*/ 2098675 h 6677025"/>
              <a:gd name="connsiteX974" fmla="*/ 4384675 w 8802688"/>
              <a:gd name="connsiteY974" fmla="*/ 2005013 h 6677025"/>
              <a:gd name="connsiteX975" fmla="*/ 4360863 w 8802688"/>
              <a:gd name="connsiteY975" fmla="*/ 1906588 h 6677025"/>
              <a:gd name="connsiteX976" fmla="*/ 4360863 w 8802688"/>
              <a:gd name="connsiteY976" fmla="*/ 2765425 h 6677025"/>
              <a:gd name="connsiteX977" fmla="*/ 4360863 w 8802688"/>
              <a:gd name="connsiteY977" fmla="*/ 3698875 h 6677025"/>
              <a:gd name="connsiteX978" fmla="*/ 4357688 w 8802688"/>
              <a:gd name="connsiteY978" fmla="*/ 3725863 h 6677025"/>
              <a:gd name="connsiteX979" fmla="*/ 4354513 w 8802688"/>
              <a:gd name="connsiteY979" fmla="*/ 3752850 h 6677025"/>
              <a:gd name="connsiteX980" fmla="*/ 4349750 w 8802688"/>
              <a:gd name="connsiteY980" fmla="*/ 3776663 h 6677025"/>
              <a:gd name="connsiteX981" fmla="*/ 4340225 w 8802688"/>
              <a:gd name="connsiteY981" fmla="*/ 3797300 h 6677025"/>
              <a:gd name="connsiteX982" fmla="*/ 4327525 w 8802688"/>
              <a:gd name="connsiteY982" fmla="*/ 3817938 h 6677025"/>
              <a:gd name="connsiteX983" fmla="*/ 4316413 w 8802688"/>
              <a:gd name="connsiteY983" fmla="*/ 3838575 h 6677025"/>
              <a:gd name="connsiteX984" fmla="*/ 4302125 w 8802688"/>
              <a:gd name="connsiteY984" fmla="*/ 3856038 h 6677025"/>
              <a:gd name="connsiteX985" fmla="*/ 4286250 w 8802688"/>
              <a:gd name="connsiteY985" fmla="*/ 3870325 h 6677025"/>
              <a:gd name="connsiteX986" fmla="*/ 4265613 w 8802688"/>
              <a:gd name="connsiteY986" fmla="*/ 3886200 h 6677025"/>
              <a:gd name="connsiteX987" fmla="*/ 4248150 w 8802688"/>
              <a:gd name="connsiteY987" fmla="*/ 3900488 h 6677025"/>
              <a:gd name="connsiteX988" fmla="*/ 4203700 w 8802688"/>
              <a:gd name="connsiteY988" fmla="*/ 3924300 h 6677025"/>
              <a:gd name="connsiteX989" fmla="*/ 4152900 w 8802688"/>
              <a:gd name="connsiteY989" fmla="*/ 3944938 h 6677025"/>
              <a:gd name="connsiteX990" fmla="*/ 4098925 w 8802688"/>
              <a:gd name="connsiteY990" fmla="*/ 3960813 h 6677025"/>
              <a:gd name="connsiteX991" fmla="*/ 4000500 w 8802688"/>
              <a:gd name="connsiteY991" fmla="*/ 3989388 h 6677025"/>
              <a:gd name="connsiteX992" fmla="*/ 3906838 w 8802688"/>
              <a:gd name="connsiteY992" fmla="*/ 4022725 h 6677025"/>
              <a:gd name="connsiteX993" fmla="*/ 3811588 w 8802688"/>
              <a:gd name="connsiteY993" fmla="*/ 4057650 h 6677025"/>
              <a:gd name="connsiteX994" fmla="*/ 3716338 w 8802688"/>
              <a:gd name="connsiteY994" fmla="*/ 4100513 h 6677025"/>
              <a:gd name="connsiteX995" fmla="*/ 3621088 w 8802688"/>
              <a:gd name="connsiteY995" fmla="*/ 4144963 h 6677025"/>
              <a:gd name="connsiteX996" fmla="*/ 3532188 w 8802688"/>
              <a:gd name="connsiteY996" fmla="*/ 4192588 h 6677025"/>
              <a:gd name="connsiteX997" fmla="*/ 3441700 w 8802688"/>
              <a:gd name="connsiteY997" fmla="*/ 4243388 h 6677025"/>
              <a:gd name="connsiteX998" fmla="*/ 3359150 w 8802688"/>
              <a:gd name="connsiteY998" fmla="*/ 4295775 h 6677025"/>
              <a:gd name="connsiteX999" fmla="*/ 3287713 w 8802688"/>
              <a:gd name="connsiteY999" fmla="*/ 4329113 h 6677025"/>
              <a:gd name="connsiteX1000" fmla="*/ 3222625 w 8802688"/>
              <a:gd name="connsiteY1000" fmla="*/ 4359275 h 6677025"/>
              <a:gd name="connsiteX1001" fmla="*/ 3157538 w 8802688"/>
              <a:gd name="connsiteY1001" fmla="*/ 4379913 h 6677025"/>
              <a:gd name="connsiteX1002" fmla="*/ 3094038 w 8802688"/>
              <a:gd name="connsiteY1002" fmla="*/ 4400550 h 6677025"/>
              <a:gd name="connsiteX1003" fmla="*/ 3032125 w 8802688"/>
              <a:gd name="connsiteY1003" fmla="*/ 4411663 h 6677025"/>
              <a:gd name="connsiteX1004" fmla="*/ 2973388 w 8802688"/>
              <a:gd name="connsiteY1004" fmla="*/ 4421188 h 6677025"/>
              <a:gd name="connsiteX1005" fmla="*/ 2913063 w 8802688"/>
              <a:gd name="connsiteY1005" fmla="*/ 4421188 h 6677025"/>
              <a:gd name="connsiteX1006" fmla="*/ 2857500 w 8802688"/>
              <a:gd name="connsiteY1006" fmla="*/ 4418013 h 6677025"/>
              <a:gd name="connsiteX1007" fmla="*/ 2803525 w 8802688"/>
              <a:gd name="connsiteY1007" fmla="*/ 4406900 h 6677025"/>
              <a:gd name="connsiteX1008" fmla="*/ 2749550 w 8802688"/>
              <a:gd name="connsiteY1008" fmla="*/ 4391025 h 6677025"/>
              <a:gd name="connsiteX1009" fmla="*/ 2698750 w 8802688"/>
              <a:gd name="connsiteY1009" fmla="*/ 4367213 h 6677025"/>
              <a:gd name="connsiteX1010" fmla="*/ 2647950 w 8802688"/>
              <a:gd name="connsiteY1010" fmla="*/ 4337050 h 6677025"/>
              <a:gd name="connsiteX1011" fmla="*/ 2600325 w 8802688"/>
              <a:gd name="connsiteY1011" fmla="*/ 4302125 h 6677025"/>
              <a:gd name="connsiteX1012" fmla="*/ 2554288 w 8802688"/>
              <a:gd name="connsiteY1012" fmla="*/ 4257675 h 6677025"/>
              <a:gd name="connsiteX1013" fmla="*/ 2508250 w 8802688"/>
              <a:gd name="connsiteY1013" fmla="*/ 4206875 h 6677025"/>
              <a:gd name="connsiteX1014" fmla="*/ 2466975 w 8802688"/>
              <a:gd name="connsiteY1014" fmla="*/ 4148138 h 6677025"/>
              <a:gd name="connsiteX1015" fmla="*/ 2452688 w 8802688"/>
              <a:gd name="connsiteY1015" fmla="*/ 4117975 h 6677025"/>
              <a:gd name="connsiteX1016" fmla="*/ 2439988 w 8802688"/>
              <a:gd name="connsiteY1016" fmla="*/ 4084638 h 6677025"/>
              <a:gd name="connsiteX1017" fmla="*/ 2428875 w 8802688"/>
              <a:gd name="connsiteY1017" fmla="*/ 4049713 h 6677025"/>
              <a:gd name="connsiteX1018" fmla="*/ 2419350 w 8802688"/>
              <a:gd name="connsiteY1018" fmla="*/ 4016375 h 6677025"/>
              <a:gd name="connsiteX1019" fmla="*/ 2416175 w 8802688"/>
              <a:gd name="connsiteY1019" fmla="*/ 3981450 h 6677025"/>
              <a:gd name="connsiteX1020" fmla="*/ 2416175 w 8802688"/>
              <a:gd name="connsiteY1020" fmla="*/ 3948113 h 6677025"/>
              <a:gd name="connsiteX1021" fmla="*/ 2419350 w 8802688"/>
              <a:gd name="connsiteY1021" fmla="*/ 3916363 h 6677025"/>
              <a:gd name="connsiteX1022" fmla="*/ 2425700 w 8802688"/>
              <a:gd name="connsiteY1022" fmla="*/ 3900488 h 6677025"/>
              <a:gd name="connsiteX1023" fmla="*/ 2432050 w 8802688"/>
              <a:gd name="connsiteY1023" fmla="*/ 3886200 h 6677025"/>
              <a:gd name="connsiteX1024" fmla="*/ 2446338 w 8802688"/>
              <a:gd name="connsiteY1024" fmla="*/ 3829050 h 6677025"/>
              <a:gd name="connsiteX1025" fmla="*/ 2463800 w 8802688"/>
              <a:gd name="connsiteY1025" fmla="*/ 3778250 h 6677025"/>
              <a:gd name="connsiteX1026" fmla="*/ 2484438 w 8802688"/>
              <a:gd name="connsiteY1026" fmla="*/ 3730625 h 6677025"/>
              <a:gd name="connsiteX1027" fmla="*/ 2508250 w 8802688"/>
              <a:gd name="connsiteY1027" fmla="*/ 3684588 h 6677025"/>
              <a:gd name="connsiteX1028" fmla="*/ 2535238 w 8802688"/>
              <a:gd name="connsiteY1028" fmla="*/ 3638550 h 6677025"/>
              <a:gd name="connsiteX1029" fmla="*/ 2559050 w 8802688"/>
              <a:gd name="connsiteY1029" fmla="*/ 3597275 h 6677025"/>
              <a:gd name="connsiteX1030" fmla="*/ 2616200 w 8802688"/>
              <a:gd name="connsiteY1030" fmla="*/ 3511550 h 6677025"/>
              <a:gd name="connsiteX1031" fmla="*/ 2667000 w 8802688"/>
              <a:gd name="connsiteY1031" fmla="*/ 3406775 h 6677025"/>
              <a:gd name="connsiteX1032" fmla="*/ 2705100 w 8802688"/>
              <a:gd name="connsiteY1032" fmla="*/ 3311525 h 6677025"/>
              <a:gd name="connsiteX1033" fmla="*/ 2735263 w 8802688"/>
              <a:gd name="connsiteY1033" fmla="*/ 3222625 h 6677025"/>
              <a:gd name="connsiteX1034" fmla="*/ 2763838 w 8802688"/>
              <a:gd name="connsiteY1034" fmla="*/ 3136900 h 6677025"/>
              <a:gd name="connsiteX1035" fmla="*/ 2722563 w 8802688"/>
              <a:gd name="connsiteY1035" fmla="*/ 3181350 h 6677025"/>
              <a:gd name="connsiteX1036" fmla="*/ 2681288 w 8802688"/>
              <a:gd name="connsiteY1036" fmla="*/ 3228975 h 6677025"/>
              <a:gd name="connsiteX1037" fmla="*/ 2598738 w 8802688"/>
              <a:gd name="connsiteY1037" fmla="*/ 3330575 h 6677025"/>
              <a:gd name="connsiteX1038" fmla="*/ 2514600 w 8802688"/>
              <a:gd name="connsiteY1038" fmla="*/ 3436938 h 6677025"/>
              <a:gd name="connsiteX1039" fmla="*/ 2432050 w 8802688"/>
              <a:gd name="connsiteY1039" fmla="*/ 3549650 h 6677025"/>
              <a:gd name="connsiteX1040" fmla="*/ 2374900 w 8802688"/>
              <a:gd name="connsiteY1040" fmla="*/ 3478213 h 6677025"/>
              <a:gd name="connsiteX1041" fmla="*/ 2324100 w 8802688"/>
              <a:gd name="connsiteY1041" fmla="*/ 3409950 h 6677025"/>
              <a:gd name="connsiteX1042" fmla="*/ 2276475 w 8802688"/>
              <a:gd name="connsiteY1042" fmla="*/ 3338513 h 6677025"/>
              <a:gd name="connsiteX1043" fmla="*/ 2228850 w 8802688"/>
              <a:gd name="connsiteY1043" fmla="*/ 3267075 h 6677025"/>
              <a:gd name="connsiteX1044" fmla="*/ 2143125 w 8802688"/>
              <a:gd name="connsiteY1044" fmla="*/ 3127375 h 6677025"/>
              <a:gd name="connsiteX1045" fmla="*/ 2060575 w 8802688"/>
              <a:gd name="connsiteY1045" fmla="*/ 2987675 h 6677025"/>
              <a:gd name="connsiteX1046" fmla="*/ 2047875 w 8802688"/>
              <a:gd name="connsiteY1046" fmla="*/ 2973388 h 6677025"/>
              <a:gd name="connsiteX1047" fmla="*/ 2039938 w 8802688"/>
              <a:gd name="connsiteY1047" fmla="*/ 2955925 h 6677025"/>
              <a:gd name="connsiteX1048" fmla="*/ 2030413 w 8802688"/>
              <a:gd name="connsiteY1048" fmla="*/ 2935288 h 6677025"/>
              <a:gd name="connsiteX1049" fmla="*/ 2027238 w 8802688"/>
              <a:gd name="connsiteY1049" fmla="*/ 2914650 h 6677025"/>
              <a:gd name="connsiteX1050" fmla="*/ 2020888 w 8802688"/>
              <a:gd name="connsiteY1050" fmla="*/ 2871788 h 6677025"/>
              <a:gd name="connsiteX1051" fmla="*/ 2020888 w 8802688"/>
              <a:gd name="connsiteY1051" fmla="*/ 2840038 h 6677025"/>
              <a:gd name="connsiteX1052" fmla="*/ 2063750 w 8802688"/>
              <a:gd name="connsiteY1052" fmla="*/ 2755900 h 6677025"/>
              <a:gd name="connsiteX1053" fmla="*/ 2101850 w 8802688"/>
              <a:gd name="connsiteY1053" fmla="*/ 2673350 h 6677025"/>
              <a:gd name="connsiteX1054" fmla="*/ 2176463 w 8802688"/>
              <a:gd name="connsiteY1054" fmla="*/ 2506663 h 6677025"/>
              <a:gd name="connsiteX1055" fmla="*/ 2214563 w 8802688"/>
              <a:gd name="connsiteY1055" fmla="*/ 2428875 h 6677025"/>
              <a:gd name="connsiteX1056" fmla="*/ 2255838 w 8802688"/>
              <a:gd name="connsiteY1056" fmla="*/ 2352675 h 6677025"/>
              <a:gd name="connsiteX1057" fmla="*/ 2303463 w 8802688"/>
              <a:gd name="connsiteY1057" fmla="*/ 2274888 h 6677025"/>
              <a:gd name="connsiteX1058" fmla="*/ 2330450 w 8802688"/>
              <a:gd name="connsiteY1058" fmla="*/ 2238375 h 6677025"/>
              <a:gd name="connsiteX1059" fmla="*/ 2357438 w 8802688"/>
              <a:gd name="connsiteY1059" fmla="*/ 2203450 h 6677025"/>
              <a:gd name="connsiteX1060" fmla="*/ 2482850 w 8802688"/>
              <a:gd name="connsiteY1060" fmla="*/ 2054225 h 6677025"/>
              <a:gd name="connsiteX1061" fmla="*/ 2613025 w 8802688"/>
              <a:gd name="connsiteY1061" fmla="*/ 1909763 h 6677025"/>
              <a:gd name="connsiteX1062" fmla="*/ 2743200 w 8802688"/>
              <a:gd name="connsiteY1062" fmla="*/ 1766888 h 6677025"/>
              <a:gd name="connsiteX1063" fmla="*/ 2874963 w 8802688"/>
              <a:gd name="connsiteY1063" fmla="*/ 1630363 h 6677025"/>
              <a:gd name="connsiteX1064" fmla="*/ 3138488 w 8802688"/>
              <a:gd name="connsiteY1064" fmla="*/ 1358900 h 6677025"/>
              <a:gd name="connsiteX1065" fmla="*/ 3267075 w 8802688"/>
              <a:gd name="connsiteY1065" fmla="*/ 1222376 h 6677025"/>
              <a:gd name="connsiteX1066" fmla="*/ 3394075 w 8802688"/>
              <a:gd name="connsiteY1066" fmla="*/ 1082675 h 6677025"/>
              <a:gd name="connsiteX1067" fmla="*/ 3430588 w 8802688"/>
              <a:gd name="connsiteY1067" fmla="*/ 1044576 h 6677025"/>
              <a:gd name="connsiteX1068" fmla="*/ 3468688 w 8802688"/>
              <a:gd name="connsiteY1068" fmla="*/ 1011238 h 6677025"/>
              <a:gd name="connsiteX1069" fmla="*/ 3508375 w 8802688"/>
              <a:gd name="connsiteY1069" fmla="*/ 984250 h 6677025"/>
              <a:gd name="connsiteX1070" fmla="*/ 3546475 w 8802688"/>
              <a:gd name="connsiteY1070" fmla="*/ 963613 h 6677025"/>
              <a:gd name="connsiteX1071" fmla="*/ 3587750 w 8802688"/>
              <a:gd name="connsiteY1071" fmla="*/ 946150 h 6677025"/>
              <a:gd name="connsiteX1072" fmla="*/ 3629025 w 8802688"/>
              <a:gd name="connsiteY1072" fmla="*/ 933450 h 6677025"/>
              <a:gd name="connsiteX1073" fmla="*/ 3671888 w 8802688"/>
              <a:gd name="connsiteY1073" fmla="*/ 922338 h 6677025"/>
              <a:gd name="connsiteX1074" fmla="*/ 3716338 w 8802688"/>
              <a:gd name="connsiteY1074" fmla="*/ 915988 h 6677025"/>
              <a:gd name="connsiteX1075" fmla="*/ 3802063 w 8802688"/>
              <a:gd name="connsiteY1075" fmla="*/ 904875 h 6677025"/>
              <a:gd name="connsiteX1076" fmla="*/ 3890963 w 8802688"/>
              <a:gd name="connsiteY1076" fmla="*/ 895350 h 6677025"/>
              <a:gd name="connsiteX1077" fmla="*/ 3932238 w 8802688"/>
              <a:gd name="connsiteY1077" fmla="*/ 889000 h 6677025"/>
              <a:gd name="connsiteX1078" fmla="*/ 3976688 w 8802688"/>
              <a:gd name="connsiteY1078" fmla="*/ 881063 h 6677025"/>
              <a:gd name="connsiteX1079" fmla="*/ 4022725 w 8802688"/>
              <a:gd name="connsiteY1079" fmla="*/ 871538 h 6677025"/>
              <a:gd name="connsiteX1080" fmla="*/ 4064000 w 8802688"/>
              <a:gd name="connsiteY1080" fmla="*/ 860425 h 6677025"/>
              <a:gd name="connsiteX1081" fmla="*/ 4090988 w 8802688"/>
              <a:gd name="connsiteY1081" fmla="*/ 857250 h 6677025"/>
              <a:gd name="connsiteX1082" fmla="*/ 4117975 w 8802688"/>
              <a:gd name="connsiteY1082" fmla="*/ 854075 h 6677025"/>
              <a:gd name="connsiteX1083" fmla="*/ 4143375 w 8802688"/>
              <a:gd name="connsiteY1083" fmla="*/ 844550 h 6677025"/>
              <a:gd name="connsiteX1084" fmla="*/ 4170363 w 8802688"/>
              <a:gd name="connsiteY1084" fmla="*/ 836613 h 6677025"/>
              <a:gd name="connsiteX1085" fmla="*/ 4191000 w 8802688"/>
              <a:gd name="connsiteY1085" fmla="*/ 823913 h 6677025"/>
              <a:gd name="connsiteX1086" fmla="*/ 4214813 w 8802688"/>
              <a:gd name="connsiteY1086" fmla="*/ 812801 h 6677025"/>
              <a:gd name="connsiteX1087" fmla="*/ 4233863 w 8802688"/>
              <a:gd name="connsiteY1087" fmla="*/ 796926 h 6677025"/>
              <a:gd name="connsiteX1088" fmla="*/ 4248150 w 8802688"/>
              <a:gd name="connsiteY1088" fmla="*/ 785813 h 6677025"/>
              <a:gd name="connsiteX1089" fmla="*/ 3876675 w 8802688"/>
              <a:gd name="connsiteY1089" fmla="*/ 785813 h 6677025"/>
              <a:gd name="connsiteX1090" fmla="*/ 3906838 w 8802688"/>
              <a:gd name="connsiteY1090" fmla="*/ 728663 h 6677025"/>
              <a:gd name="connsiteX1091" fmla="*/ 3938588 w 8802688"/>
              <a:gd name="connsiteY1091" fmla="*/ 677863 h 6677025"/>
              <a:gd name="connsiteX1092" fmla="*/ 3971925 w 8802688"/>
              <a:gd name="connsiteY1092" fmla="*/ 630238 h 6677025"/>
              <a:gd name="connsiteX1093" fmla="*/ 4006850 w 8802688"/>
              <a:gd name="connsiteY1093" fmla="*/ 585788 h 6677025"/>
              <a:gd name="connsiteX1094" fmla="*/ 4046538 w 8802688"/>
              <a:gd name="connsiteY1094" fmla="*/ 544513 h 6677025"/>
              <a:gd name="connsiteX1095" fmla="*/ 4084638 w 8802688"/>
              <a:gd name="connsiteY1095" fmla="*/ 506413 h 6677025"/>
              <a:gd name="connsiteX1096" fmla="*/ 4125913 w 8802688"/>
              <a:gd name="connsiteY1096" fmla="*/ 466725 h 6677025"/>
              <a:gd name="connsiteX1097" fmla="*/ 4170363 w 8802688"/>
              <a:gd name="connsiteY1097" fmla="*/ 434975 h 6677025"/>
              <a:gd name="connsiteX1098" fmla="*/ 4211638 w 8802688"/>
              <a:gd name="connsiteY1098" fmla="*/ 401638 h 6677025"/>
              <a:gd name="connsiteX1099" fmla="*/ 4259263 w 8802688"/>
              <a:gd name="connsiteY1099" fmla="*/ 373063 h 6677025"/>
              <a:gd name="connsiteX1100" fmla="*/ 4303713 w 8802688"/>
              <a:gd name="connsiteY1100" fmla="*/ 342900 h 6677025"/>
              <a:gd name="connsiteX1101" fmla="*/ 4351338 w 8802688"/>
              <a:gd name="connsiteY1101" fmla="*/ 315913 h 6677025"/>
              <a:gd name="connsiteX1102" fmla="*/ 4446588 w 8802688"/>
              <a:gd name="connsiteY1102" fmla="*/ 268288 h 6677025"/>
              <a:gd name="connsiteX1103" fmla="*/ 4545013 w 8802688"/>
              <a:gd name="connsiteY1103" fmla="*/ 223838 h 6677025"/>
              <a:gd name="connsiteX1104" fmla="*/ 4654550 w 8802688"/>
              <a:gd name="connsiteY1104" fmla="*/ 193675 h 6677025"/>
              <a:gd name="connsiteX1105" fmla="*/ 4768850 w 8802688"/>
              <a:gd name="connsiteY1105" fmla="*/ 163513 h 6677025"/>
              <a:gd name="connsiteX1106" fmla="*/ 4991101 w 8802688"/>
              <a:gd name="connsiteY1106" fmla="*/ 98425 h 6677025"/>
              <a:gd name="connsiteX1107" fmla="*/ 5100638 w 8802688"/>
              <a:gd name="connsiteY1107" fmla="*/ 69850 h 6677025"/>
              <a:gd name="connsiteX1108" fmla="*/ 5213351 w 8802688"/>
              <a:gd name="connsiteY1108" fmla="*/ 39688 h 6677025"/>
              <a:gd name="connsiteX1109" fmla="*/ 5324476 w 8802688"/>
              <a:gd name="connsiteY1109" fmla="*/ 19050 h 66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Lst>
            <a:rect l="l" t="t" r="r" b="b"/>
            <a:pathLst>
              <a:path w="8802688" h="6677025">
                <a:moveTo>
                  <a:pt x="5546725" y="4819650"/>
                </a:moveTo>
                <a:lnTo>
                  <a:pt x="5573713" y="4926013"/>
                </a:lnTo>
                <a:lnTo>
                  <a:pt x="5603875" y="5024438"/>
                </a:lnTo>
                <a:lnTo>
                  <a:pt x="5630863" y="5122863"/>
                </a:lnTo>
                <a:lnTo>
                  <a:pt x="5657850" y="5229225"/>
                </a:lnTo>
                <a:lnTo>
                  <a:pt x="5668963" y="5313363"/>
                </a:lnTo>
                <a:lnTo>
                  <a:pt x="5681663" y="5399088"/>
                </a:lnTo>
                <a:lnTo>
                  <a:pt x="5686425" y="5484813"/>
                </a:lnTo>
                <a:lnTo>
                  <a:pt x="5689600" y="5572126"/>
                </a:lnTo>
                <a:lnTo>
                  <a:pt x="5695950" y="5749926"/>
                </a:lnTo>
                <a:lnTo>
                  <a:pt x="5695950" y="5940426"/>
                </a:lnTo>
                <a:lnTo>
                  <a:pt x="5692775" y="5957888"/>
                </a:lnTo>
                <a:lnTo>
                  <a:pt x="5689600" y="5978526"/>
                </a:lnTo>
                <a:lnTo>
                  <a:pt x="5681663" y="6002338"/>
                </a:lnTo>
                <a:lnTo>
                  <a:pt x="5672138" y="6029326"/>
                </a:lnTo>
                <a:lnTo>
                  <a:pt x="5659438" y="6053138"/>
                </a:lnTo>
                <a:lnTo>
                  <a:pt x="5648325" y="6070601"/>
                </a:lnTo>
                <a:lnTo>
                  <a:pt x="5634038" y="6086476"/>
                </a:lnTo>
                <a:lnTo>
                  <a:pt x="5627688" y="6088063"/>
                </a:lnTo>
                <a:lnTo>
                  <a:pt x="5621338" y="6088063"/>
                </a:lnTo>
                <a:lnTo>
                  <a:pt x="5526088" y="6100763"/>
                </a:lnTo>
                <a:lnTo>
                  <a:pt x="5430838" y="6107113"/>
                </a:lnTo>
                <a:lnTo>
                  <a:pt x="5338763" y="6107113"/>
                </a:lnTo>
                <a:lnTo>
                  <a:pt x="5249862" y="6103938"/>
                </a:lnTo>
                <a:lnTo>
                  <a:pt x="5068887" y="6094413"/>
                </a:lnTo>
                <a:lnTo>
                  <a:pt x="4973637" y="6091238"/>
                </a:lnTo>
                <a:lnTo>
                  <a:pt x="4878387" y="6088063"/>
                </a:lnTo>
                <a:lnTo>
                  <a:pt x="5045075" y="5780088"/>
                </a:lnTo>
                <a:lnTo>
                  <a:pt x="5213350" y="5467350"/>
                </a:lnTo>
                <a:lnTo>
                  <a:pt x="5380038" y="5149850"/>
                </a:lnTo>
                <a:close/>
                <a:moveTo>
                  <a:pt x="576262" y="4632325"/>
                </a:moveTo>
                <a:lnTo>
                  <a:pt x="685799" y="4827588"/>
                </a:lnTo>
                <a:lnTo>
                  <a:pt x="796925" y="5030788"/>
                </a:lnTo>
                <a:lnTo>
                  <a:pt x="909637" y="5235575"/>
                </a:lnTo>
                <a:lnTo>
                  <a:pt x="1019175" y="5456238"/>
                </a:lnTo>
                <a:lnTo>
                  <a:pt x="1031875" y="5481638"/>
                </a:lnTo>
                <a:lnTo>
                  <a:pt x="1039812" y="5508626"/>
                </a:lnTo>
                <a:lnTo>
                  <a:pt x="1046162" y="5532438"/>
                </a:lnTo>
                <a:lnTo>
                  <a:pt x="1049337" y="5559426"/>
                </a:lnTo>
                <a:lnTo>
                  <a:pt x="1049337" y="5580063"/>
                </a:lnTo>
                <a:lnTo>
                  <a:pt x="1046162" y="5600701"/>
                </a:lnTo>
                <a:lnTo>
                  <a:pt x="1039812" y="5621338"/>
                </a:lnTo>
                <a:lnTo>
                  <a:pt x="1028699" y="5640388"/>
                </a:lnTo>
                <a:lnTo>
                  <a:pt x="1019175" y="5657851"/>
                </a:lnTo>
                <a:lnTo>
                  <a:pt x="1004887" y="5672138"/>
                </a:lnTo>
                <a:lnTo>
                  <a:pt x="987425" y="5684838"/>
                </a:lnTo>
                <a:lnTo>
                  <a:pt x="968375" y="5695951"/>
                </a:lnTo>
                <a:lnTo>
                  <a:pt x="947737" y="5705476"/>
                </a:lnTo>
                <a:lnTo>
                  <a:pt x="923925" y="5711826"/>
                </a:lnTo>
                <a:lnTo>
                  <a:pt x="896937" y="5713413"/>
                </a:lnTo>
                <a:lnTo>
                  <a:pt x="871537" y="5716588"/>
                </a:lnTo>
                <a:lnTo>
                  <a:pt x="844549" y="5716588"/>
                </a:lnTo>
                <a:lnTo>
                  <a:pt x="814387" y="5716588"/>
                </a:lnTo>
                <a:lnTo>
                  <a:pt x="787399" y="5713413"/>
                </a:lnTo>
                <a:lnTo>
                  <a:pt x="757237" y="5711826"/>
                </a:lnTo>
                <a:lnTo>
                  <a:pt x="728662" y="5702301"/>
                </a:lnTo>
                <a:lnTo>
                  <a:pt x="695325" y="5692776"/>
                </a:lnTo>
                <a:lnTo>
                  <a:pt x="636587" y="5668963"/>
                </a:lnTo>
                <a:lnTo>
                  <a:pt x="576262" y="5637213"/>
                </a:lnTo>
                <a:lnTo>
                  <a:pt x="520699" y="5600701"/>
                </a:lnTo>
                <a:lnTo>
                  <a:pt x="463549" y="5556251"/>
                </a:lnTo>
                <a:lnTo>
                  <a:pt x="406399" y="5508626"/>
                </a:lnTo>
                <a:lnTo>
                  <a:pt x="360362" y="5457826"/>
                </a:lnTo>
                <a:lnTo>
                  <a:pt x="312737" y="5405438"/>
                </a:lnTo>
                <a:lnTo>
                  <a:pt x="269875" y="5351463"/>
                </a:lnTo>
                <a:lnTo>
                  <a:pt x="234949" y="5294313"/>
                </a:lnTo>
                <a:lnTo>
                  <a:pt x="207962" y="5238750"/>
                </a:lnTo>
                <a:lnTo>
                  <a:pt x="184149" y="5184775"/>
                </a:lnTo>
                <a:lnTo>
                  <a:pt x="177799" y="5157788"/>
                </a:lnTo>
                <a:lnTo>
                  <a:pt x="173037" y="5130800"/>
                </a:lnTo>
                <a:lnTo>
                  <a:pt x="169862" y="5105400"/>
                </a:lnTo>
                <a:lnTo>
                  <a:pt x="166687" y="5081588"/>
                </a:lnTo>
                <a:lnTo>
                  <a:pt x="169862" y="5054600"/>
                </a:lnTo>
                <a:lnTo>
                  <a:pt x="173037" y="5024438"/>
                </a:lnTo>
                <a:lnTo>
                  <a:pt x="180975" y="4997450"/>
                </a:lnTo>
                <a:lnTo>
                  <a:pt x="190499" y="4973638"/>
                </a:lnTo>
                <a:lnTo>
                  <a:pt x="201612" y="4949825"/>
                </a:lnTo>
                <a:lnTo>
                  <a:pt x="214312" y="4929188"/>
                </a:lnTo>
                <a:lnTo>
                  <a:pt x="228599" y="4908550"/>
                </a:lnTo>
                <a:lnTo>
                  <a:pt x="241299" y="4894263"/>
                </a:lnTo>
                <a:lnTo>
                  <a:pt x="285749" y="4851400"/>
                </a:lnTo>
                <a:lnTo>
                  <a:pt x="330199" y="4816475"/>
                </a:lnTo>
                <a:lnTo>
                  <a:pt x="377825" y="4779963"/>
                </a:lnTo>
                <a:lnTo>
                  <a:pt x="422275" y="4748213"/>
                </a:lnTo>
                <a:lnTo>
                  <a:pt x="507999" y="4687888"/>
                </a:lnTo>
                <a:lnTo>
                  <a:pt x="544512" y="4662488"/>
                </a:lnTo>
                <a:close/>
                <a:moveTo>
                  <a:pt x="6180138" y="3546475"/>
                </a:moveTo>
                <a:lnTo>
                  <a:pt x="6124576" y="3562350"/>
                </a:lnTo>
                <a:lnTo>
                  <a:pt x="6076951" y="3579813"/>
                </a:lnTo>
                <a:lnTo>
                  <a:pt x="6037263" y="3600450"/>
                </a:lnTo>
                <a:lnTo>
                  <a:pt x="6002338" y="3624263"/>
                </a:lnTo>
                <a:lnTo>
                  <a:pt x="5978526" y="3651250"/>
                </a:lnTo>
                <a:lnTo>
                  <a:pt x="5961063" y="3678238"/>
                </a:lnTo>
                <a:lnTo>
                  <a:pt x="5948363" y="3705225"/>
                </a:lnTo>
                <a:lnTo>
                  <a:pt x="5945188" y="3719513"/>
                </a:lnTo>
                <a:lnTo>
                  <a:pt x="5945188" y="3733800"/>
                </a:lnTo>
                <a:lnTo>
                  <a:pt x="5986463" y="3698875"/>
                </a:lnTo>
                <a:lnTo>
                  <a:pt x="6046788" y="3654425"/>
                </a:lnTo>
                <a:lnTo>
                  <a:pt x="6115051" y="3600450"/>
                </a:lnTo>
                <a:lnTo>
                  <a:pt x="6148388" y="3573463"/>
                </a:lnTo>
                <a:close/>
                <a:moveTo>
                  <a:pt x="279400" y="2203450"/>
                </a:moveTo>
                <a:lnTo>
                  <a:pt x="354013" y="2203450"/>
                </a:lnTo>
                <a:lnTo>
                  <a:pt x="327025" y="2274888"/>
                </a:lnTo>
                <a:lnTo>
                  <a:pt x="303213" y="2343150"/>
                </a:lnTo>
                <a:lnTo>
                  <a:pt x="261938" y="2482850"/>
                </a:lnTo>
                <a:lnTo>
                  <a:pt x="217488" y="2625726"/>
                </a:lnTo>
                <a:lnTo>
                  <a:pt x="193675" y="2693988"/>
                </a:lnTo>
                <a:lnTo>
                  <a:pt x="166688" y="2765425"/>
                </a:lnTo>
                <a:lnTo>
                  <a:pt x="169863" y="2792413"/>
                </a:lnTo>
                <a:lnTo>
                  <a:pt x="173038" y="2819400"/>
                </a:lnTo>
                <a:lnTo>
                  <a:pt x="180975" y="2844801"/>
                </a:lnTo>
                <a:lnTo>
                  <a:pt x="190500" y="2871788"/>
                </a:lnTo>
                <a:lnTo>
                  <a:pt x="201613" y="2895601"/>
                </a:lnTo>
                <a:lnTo>
                  <a:pt x="214313" y="2916238"/>
                </a:lnTo>
                <a:lnTo>
                  <a:pt x="228600" y="2935288"/>
                </a:lnTo>
                <a:lnTo>
                  <a:pt x="241300" y="2952751"/>
                </a:lnTo>
                <a:lnTo>
                  <a:pt x="242888" y="2959101"/>
                </a:lnTo>
                <a:lnTo>
                  <a:pt x="242888" y="2963863"/>
                </a:lnTo>
                <a:lnTo>
                  <a:pt x="255588" y="2973388"/>
                </a:lnTo>
                <a:lnTo>
                  <a:pt x="266700" y="2979738"/>
                </a:lnTo>
                <a:lnTo>
                  <a:pt x="288925" y="2984501"/>
                </a:lnTo>
                <a:lnTo>
                  <a:pt x="336550" y="2987676"/>
                </a:lnTo>
                <a:lnTo>
                  <a:pt x="388938" y="2987676"/>
                </a:lnTo>
                <a:lnTo>
                  <a:pt x="404813" y="2987676"/>
                </a:lnTo>
                <a:lnTo>
                  <a:pt x="425450" y="2982913"/>
                </a:lnTo>
                <a:lnTo>
                  <a:pt x="469900" y="2963863"/>
                </a:lnTo>
                <a:lnTo>
                  <a:pt x="520700" y="2940051"/>
                </a:lnTo>
                <a:lnTo>
                  <a:pt x="576263" y="2914651"/>
                </a:lnTo>
                <a:lnTo>
                  <a:pt x="573088" y="2946401"/>
                </a:lnTo>
                <a:lnTo>
                  <a:pt x="568325" y="2979738"/>
                </a:lnTo>
                <a:lnTo>
                  <a:pt x="558801" y="3008313"/>
                </a:lnTo>
                <a:lnTo>
                  <a:pt x="544513" y="3038476"/>
                </a:lnTo>
                <a:lnTo>
                  <a:pt x="528638" y="3062288"/>
                </a:lnTo>
                <a:lnTo>
                  <a:pt x="508000" y="3086101"/>
                </a:lnTo>
                <a:lnTo>
                  <a:pt x="487363" y="3106738"/>
                </a:lnTo>
                <a:lnTo>
                  <a:pt x="463550" y="3124201"/>
                </a:lnTo>
                <a:lnTo>
                  <a:pt x="439738" y="3136901"/>
                </a:lnTo>
                <a:lnTo>
                  <a:pt x="412750" y="3148013"/>
                </a:lnTo>
                <a:lnTo>
                  <a:pt x="382588" y="3157538"/>
                </a:lnTo>
                <a:lnTo>
                  <a:pt x="357188" y="3160713"/>
                </a:lnTo>
                <a:lnTo>
                  <a:pt x="327025" y="3160713"/>
                </a:lnTo>
                <a:lnTo>
                  <a:pt x="296863" y="3157538"/>
                </a:lnTo>
                <a:lnTo>
                  <a:pt x="269875" y="3148013"/>
                </a:lnTo>
                <a:lnTo>
                  <a:pt x="241300" y="3136901"/>
                </a:lnTo>
                <a:lnTo>
                  <a:pt x="228600" y="3130551"/>
                </a:lnTo>
                <a:lnTo>
                  <a:pt x="214313" y="3119438"/>
                </a:lnTo>
                <a:lnTo>
                  <a:pt x="187325" y="3092451"/>
                </a:lnTo>
                <a:lnTo>
                  <a:pt x="160338" y="3055938"/>
                </a:lnTo>
                <a:lnTo>
                  <a:pt x="133350" y="3017838"/>
                </a:lnTo>
                <a:lnTo>
                  <a:pt x="109538" y="2970213"/>
                </a:lnTo>
                <a:lnTo>
                  <a:pt x="85725" y="2922588"/>
                </a:lnTo>
                <a:lnTo>
                  <a:pt x="65088" y="2868613"/>
                </a:lnTo>
                <a:lnTo>
                  <a:pt x="47625" y="2816225"/>
                </a:lnTo>
                <a:lnTo>
                  <a:pt x="30163" y="2762250"/>
                </a:lnTo>
                <a:lnTo>
                  <a:pt x="17463" y="2708275"/>
                </a:lnTo>
                <a:lnTo>
                  <a:pt x="9525" y="2655888"/>
                </a:lnTo>
                <a:lnTo>
                  <a:pt x="3175" y="2608263"/>
                </a:lnTo>
                <a:lnTo>
                  <a:pt x="0" y="2563813"/>
                </a:lnTo>
                <a:lnTo>
                  <a:pt x="0" y="2524125"/>
                </a:lnTo>
                <a:lnTo>
                  <a:pt x="9525" y="2492375"/>
                </a:lnTo>
                <a:lnTo>
                  <a:pt x="11113" y="2476500"/>
                </a:lnTo>
                <a:lnTo>
                  <a:pt x="17463" y="2465388"/>
                </a:lnTo>
                <a:lnTo>
                  <a:pt x="47625" y="2425700"/>
                </a:lnTo>
                <a:lnTo>
                  <a:pt x="79375" y="2387600"/>
                </a:lnTo>
                <a:lnTo>
                  <a:pt x="112713" y="2352675"/>
                </a:lnTo>
                <a:lnTo>
                  <a:pt x="149225" y="2322513"/>
                </a:lnTo>
                <a:lnTo>
                  <a:pt x="217488" y="2260600"/>
                </a:lnTo>
                <a:close/>
                <a:moveTo>
                  <a:pt x="5886450" y="2019300"/>
                </a:moveTo>
                <a:lnTo>
                  <a:pt x="5907087" y="2022475"/>
                </a:lnTo>
                <a:lnTo>
                  <a:pt x="5930900" y="2028825"/>
                </a:lnTo>
                <a:lnTo>
                  <a:pt x="5957888" y="2036763"/>
                </a:lnTo>
                <a:lnTo>
                  <a:pt x="5984875" y="2049463"/>
                </a:lnTo>
                <a:lnTo>
                  <a:pt x="6010275" y="2060575"/>
                </a:lnTo>
                <a:lnTo>
                  <a:pt x="6034088" y="2078038"/>
                </a:lnTo>
                <a:lnTo>
                  <a:pt x="6057900" y="2093913"/>
                </a:lnTo>
                <a:lnTo>
                  <a:pt x="5951538" y="2170113"/>
                </a:lnTo>
                <a:lnTo>
                  <a:pt x="5897562" y="2209800"/>
                </a:lnTo>
                <a:lnTo>
                  <a:pt x="5838825" y="2244725"/>
                </a:lnTo>
                <a:lnTo>
                  <a:pt x="5811837" y="2216150"/>
                </a:lnTo>
                <a:lnTo>
                  <a:pt x="5788025" y="2182813"/>
                </a:lnTo>
                <a:lnTo>
                  <a:pt x="5775325" y="2165350"/>
                </a:lnTo>
                <a:lnTo>
                  <a:pt x="5770562" y="2146300"/>
                </a:lnTo>
                <a:lnTo>
                  <a:pt x="5764212" y="2132013"/>
                </a:lnTo>
                <a:lnTo>
                  <a:pt x="5764212" y="2117725"/>
                </a:lnTo>
                <a:lnTo>
                  <a:pt x="5770562" y="2101850"/>
                </a:lnTo>
                <a:lnTo>
                  <a:pt x="5778500" y="2087563"/>
                </a:lnTo>
                <a:lnTo>
                  <a:pt x="5791200" y="2073275"/>
                </a:lnTo>
                <a:lnTo>
                  <a:pt x="5805487" y="2057400"/>
                </a:lnTo>
                <a:lnTo>
                  <a:pt x="5821362" y="2046288"/>
                </a:lnTo>
                <a:lnTo>
                  <a:pt x="5838825" y="2033588"/>
                </a:lnTo>
                <a:lnTo>
                  <a:pt x="5853112" y="2025650"/>
                </a:lnTo>
                <a:lnTo>
                  <a:pt x="5870575" y="2022475"/>
                </a:lnTo>
                <a:close/>
                <a:moveTo>
                  <a:pt x="6169026" y="1685925"/>
                </a:moveTo>
                <a:lnTo>
                  <a:pt x="6076951" y="1712913"/>
                </a:lnTo>
                <a:lnTo>
                  <a:pt x="5984875" y="1739900"/>
                </a:lnTo>
                <a:lnTo>
                  <a:pt x="5938838" y="1757363"/>
                </a:lnTo>
                <a:lnTo>
                  <a:pt x="5894388" y="1774825"/>
                </a:lnTo>
                <a:lnTo>
                  <a:pt x="5849938" y="1798638"/>
                </a:lnTo>
                <a:lnTo>
                  <a:pt x="5805488" y="1828800"/>
                </a:lnTo>
                <a:lnTo>
                  <a:pt x="5764213" y="1862138"/>
                </a:lnTo>
                <a:lnTo>
                  <a:pt x="5722938" y="1897063"/>
                </a:lnTo>
                <a:lnTo>
                  <a:pt x="5683250" y="1933575"/>
                </a:lnTo>
                <a:lnTo>
                  <a:pt x="5648325" y="1971675"/>
                </a:lnTo>
                <a:lnTo>
                  <a:pt x="5576888" y="2052638"/>
                </a:lnTo>
                <a:lnTo>
                  <a:pt x="5502275" y="2128838"/>
                </a:lnTo>
                <a:lnTo>
                  <a:pt x="5522913" y="2122488"/>
                </a:lnTo>
                <a:lnTo>
                  <a:pt x="5543550" y="2117725"/>
                </a:lnTo>
                <a:lnTo>
                  <a:pt x="5586413" y="2098675"/>
                </a:lnTo>
                <a:lnTo>
                  <a:pt x="5607050" y="2093913"/>
                </a:lnTo>
                <a:lnTo>
                  <a:pt x="5624513" y="2087563"/>
                </a:lnTo>
                <a:lnTo>
                  <a:pt x="5641975" y="2087563"/>
                </a:lnTo>
                <a:lnTo>
                  <a:pt x="5657850" y="2093913"/>
                </a:lnTo>
                <a:lnTo>
                  <a:pt x="5832475" y="2357438"/>
                </a:lnTo>
                <a:lnTo>
                  <a:pt x="5975350" y="2265363"/>
                </a:lnTo>
                <a:lnTo>
                  <a:pt x="6115051" y="2170113"/>
                </a:lnTo>
                <a:lnTo>
                  <a:pt x="6264276" y="2078038"/>
                </a:lnTo>
                <a:lnTo>
                  <a:pt x="6340476" y="2030413"/>
                </a:lnTo>
                <a:lnTo>
                  <a:pt x="6424613" y="1982788"/>
                </a:lnTo>
                <a:lnTo>
                  <a:pt x="6400801" y="1981200"/>
                </a:lnTo>
                <a:lnTo>
                  <a:pt x="6364288" y="1971675"/>
                </a:lnTo>
                <a:lnTo>
                  <a:pt x="6323013" y="1958975"/>
                </a:lnTo>
                <a:lnTo>
                  <a:pt x="6302376" y="1947863"/>
                </a:lnTo>
                <a:lnTo>
                  <a:pt x="6281738" y="1935163"/>
                </a:lnTo>
                <a:lnTo>
                  <a:pt x="6261101" y="1917700"/>
                </a:lnTo>
                <a:lnTo>
                  <a:pt x="6240463" y="1900238"/>
                </a:lnTo>
                <a:lnTo>
                  <a:pt x="6221413" y="1876425"/>
                </a:lnTo>
                <a:lnTo>
                  <a:pt x="6203951" y="1849438"/>
                </a:lnTo>
                <a:lnTo>
                  <a:pt x="6192838" y="1817688"/>
                </a:lnTo>
                <a:lnTo>
                  <a:pt x="6180138" y="1778000"/>
                </a:lnTo>
                <a:lnTo>
                  <a:pt x="6170613" y="1736725"/>
                </a:lnTo>
                <a:close/>
                <a:moveTo>
                  <a:pt x="8401050" y="1338262"/>
                </a:moveTo>
                <a:lnTo>
                  <a:pt x="8332788" y="1382712"/>
                </a:lnTo>
                <a:lnTo>
                  <a:pt x="8264525" y="1430337"/>
                </a:lnTo>
                <a:lnTo>
                  <a:pt x="8131175" y="1531937"/>
                </a:lnTo>
                <a:lnTo>
                  <a:pt x="8002588" y="1630363"/>
                </a:lnTo>
                <a:lnTo>
                  <a:pt x="7886700" y="1722438"/>
                </a:lnTo>
                <a:lnTo>
                  <a:pt x="7920038" y="1727200"/>
                </a:lnTo>
                <a:lnTo>
                  <a:pt x="7954963" y="1727200"/>
                </a:lnTo>
                <a:lnTo>
                  <a:pt x="7993063" y="1725613"/>
                </a:lnTo>
                <a:lnTo>
                  <a:pt x="8029575" y="1716088"/>
                </a:lnTo>
                <a:lnTo>
                  <a:pt x="8064500" y="1703388"/>
                </a:lnTo>
                <a:lnTo>
                  <a:pt x="8101013" y="1689100"/>
                </a:lnTo>
                <a:lnTo>
                  <a:pt x="8135938" y="1668463"/>
                </a:lnTo>
                <a:lnTo>
                  <a:pt x="8172450" y="1644650"/>
                </a:lnTo>
                <a:lnTo>
                  <a:pt x="8204200" y="1617662"/>
                </a:lnTo>
                <a:lnTo>
                  <a:pt x="8237538" y="1587500"/>
                </a:lnTo>
                <a:lnTo>
                  <a:pt x="8270875" y="1555750"/>
                </a:lnTo>
                <a:lnTo>
                  <a:pt x="8299450" y="1516062"/>
                </a:lnTo>
                <a:lnTo>
                  <a:pt x="8329613" y="1477963"/>
                </a:lnTo>
                <a:lnTo>
                  <a:pt x="8356600" y="1433512"/>
                </a:lnTo>
                <a:lnTo>
                  <a:pt x="8380413" y="1389062"/>
                </a:lnTo>
                <a:close/>
                <a:moveTo>
                  <a:pt x="4067176" y="1181100"/>
                </a:moveTo>
                <a:lnTo>
                  <a:pt x="3979864" y="1184275"/>
                </a:lnTo>
                <a:lnTo>
                  <a:pt x="3900489" y="1192213"/>
                </a:lnTo>
                <a:lnTo>
                  <a:pt x="3860801" y="1201738"/>
                </a:lnTo>
                <a:lnTo>
                  <a:pt x="3825876" y="1211263"/>
                </a:lnTo>
                <a:lnTo>
                  <a:pt x="3790951" y="1219200"/>
                </a:lnTo>
                <a:lnTo>
                  <a:pt x="3757613" y="1231900"/>
                </a:lnTo>
                <a:lnTo>
                  <a:pt x="3724276" y="1246188"/>
                </a:lnTo>
                <a:lnTo>
                  <a:pt x="3695701" y="1260475"/>
                </a:lnTo>
                <a:lnTo>
                  <a:pt x="3665538" y="1279525"/>
                </a:lnTo>
                <a:lnTo>
                  <a:pt x="3635376" y="1296988"/>
                </a:lnTo>
                <a:lnTo>
                  <a:pt x="3608388" y="1317625"/>
                </a:lnTo>
                <a:lnTo>
                  <a:pt x="3581401" y="1341438"/>
                </a:lnTo>
                <a:lnTo>
                  <a:pt x="3557588" y="1365250"/>
                </a:lnTo>
                <a:lnTo>
                  <a:pt x="3533776" y="1392238"/>
                </a:lnTo>
                <a:lnTo>
                  <a:pt x="3509963" y="1419225"/>
                </a:lnTo>
                <a:lnTo>
                  <a:pt x="3489326" y="1450975"/>
                </a:lnTo>
                <a:lnTo>
                  <a:pt x="3468688" y="1481138"/>
                </a:lnTo>
                <a:lnTo>
                  <a:pt x="3448051" y="1516063"/>
                </a:lnTo>
                <a:lnTo>
                  <a:pt x="3413126" y="1590675"/>
                </a:lnTo>
                <a:lnTo>
                  <a:pt x="3379788" y="1671638"/>
                </a:lnTo>
                <a:lnTo>
                  <a:pt x="3349626" y="1763713"/>
                </a:lnTo>
                <a:lnTo>
                  <a:pt x="3325813" y="1865313"/>
                </a:lnTo>
                <a:lnTo>
                  <a:pt x="3302001" y="1971676"/>
                </a:lnTo>
                <a:lnTo>
                  <a:pt x="3281363" y="2090738"/>
                </a:lnTo>
                <a:lnTo>
                  <a:pt x="3368676" y="1944688"/>
                </a:lnTo>
                <a:lnTo>
                  <a:pt x="3451226" y="1787526"/>
                </a:lnTo>
                <a:lnTo>
                  <a:pt x="3533776" y="1624013"/>
                </a:lnTo>
                <a:lnTo>
                  <a:pt x="3617913" y="1454150"/>
                </a:lnTo>
                <a:lnTo>
                  <a:pt x="3652838" y="1454150"/>
                </a:lnTo>
                <a:lnTo>
                  <a:pt x="3656013" y="1495425"/>
                </a:lnTo>
                <a:lnTo>
                  <a:pt x="3659188" y="1531938"/>
                </a:lnTo>
                <a:lnTo>
                  <a:pt x="3673476" y="1600200"/>
                </a:lnTo>
                <a:lnTo>
                  <a:pt x="3686176" y="1658938"/>
                </a:lnTo>
                <a:lnTo>
                  <a:pt x="3689351" y="1689100"/>
                </a:lnTo>
                <a:lnTo>
                  <a:pt x="3692526" y="1716088"/>
                </a:lnTo>
                <a:lnTo>
                  <a:pt x="3713163" y="1662113"/>
                </a:lnTo>
                <a:lnTo>
                  <a:pt x="3736976" y="1609725"/>
                </a:lnTo>
                <a:lnTo>
                  <a:pt x="3757613" y="1562101"/>
                </a:lnTo>
                <a:lnTo>
                  <a:pt x="3784601" y="1514475"/>
                </a:lnTo>
                <a:lnTo>
                  <a:pt x="3811588" y="1471613"/>
                </a:lnTo>
                <a:lnTo>
                  <a:pt x="3840163" y="1430338"/>
                </a:lnTo>
                <a:lnTo>
                  <a:pt x="3870326" y="1392238"/>
                </a:lnTo>
                <a:lnTo>
                  <a:pt x="3906839" y="1355725"/>
                </a:lnTo>
                <a:lnTo>
                  <a:pt x="3941764" y="1327150"/>
                </a:lnTo>
                <a:lnTo>
                  <a:pt x="3979864" y="1296988"/>
                </a:lnTo>
                <a:lnTo>
                  <a:pt x="4022726" y="1273175"/>
                </a:lnTo>
                <a:lnTo>
                  <a:pt x="4067176" y="1249363"/>
                </a:lnTo>
                <a:lnTo>
                  <a:pt x="4117976" y="1231900"/>
                </a:lnTo>
                <a:lnTo>
                  <a:pt x="4167189" y="1216025"/>
                </a:lnTo>
                <a:lnTo>
                  <a:pt x="4224339" y="1201738"/>
                </a:lnTo>
                <a:lnTo>
                  <a:pt x="4286251" y="1195388"/>
                </a:lnTo>
                <a:lnTo>
                  <a:pt x="4170364" y="1184275"/>
                </a:lnTo>
                <a:lnTo>
                  <a:pt x="4117976" y="1181100"/>
                </a:lnTo>
                <a:close/>
                <a:moveTo>
                  <a:pt x="5586413" y="1166812"/>
                </a:moveTo>
                <a:lnTo>
                  <a:pt x="5481638" y="1204912"/>
                </a:lnTo>
                <a:lnTo>
                  <a:pt x="5437188" y="1225550"/>
                </a:lnTo>
                <a:lnTo>
                  <a:pt x="5399088" y="1243012"/>
                </a:lnTo>
                <a:lnTo>
                  <a:pt x="5365751" y="1260475"/>
                </a:lnTo>
                <a:lnTo>
                  <a:pt x="5335588" y="1282700"/>
                </a:lnTo>
                <a:lnTo>
                  <a:pt x="5308601" y="1300162"/>
                </a:lnTo>
                <a:lnTo>
                  <a:pt x="5287963" y="1320800"/>
                </a:lnTo>
                <a:lnTo>
                  <a:pt x="5270501" y="1341437"/>
                </a:lnTo>
                <a:lnTo>
                  <a:pt x="5259388" y="1362075"/>
                </a:lnTo>
                <a:lnTo>
                  <a:pt x="5246688" y="1385887"/>
                </a:lnTo>
                <a:lnTo>
                  <a:pt x="5240338" y="1409700"/>
                </a:lnTo>
                <a:lnTo>
                  <a:pt x="5237163" y="1436687"/>
                </a:lnTo>
                <a:lnTo>
                  <a:pt x="5237163" y="1463675"/>
                </a:lnTo>
                <a:lnTo>
                  <a:pt x="5240338" y="1492250"/>
                </a:lnTo>
                <a:lnTo>
                  <a:pt x="5246688" y="1525587"/>
                </a:lnTo>
                <a:lnTo>
                  <a:pt x="5287963" y="1484312"/>
                </a:lnTo>
                <a:lnTo>
                  <a:pt x="5330826" y="1439862"/>
                </a:lnTo>
                <a:lnTo>
                  <a:pt x="5416551" y="1347787"/>
                </a:lnTo>
                <a:lnTo>
                  <a:pt x="5499101" y="1252537"/>
                </a:lnTo>
                <a:lnTo>
                  <a:pt x="5540376" y="1208087"/>
                </a:lnTo>
                <a:close/>
                <a:moveTo>
                  <a:pt x="5434013" y="0"/>
                </a:moveTo>
                <a:lnTo>
                  <a:pt x="5519738" y="3175"/>
                </a:lnTo>
                <a:lnTo>
                  <a:pt x="5610226" y="12700"/>
                </a:lnTo>
                <a:lnTo>
                  <a:pt x="5699126" y="30163"/>
                </a:lnTo>
                <a:lnTo>
                  <a:pt x="5788026" y="50800"/>
                </a:lnTo>
                <a:lnTo>
                  <a:pt x="5876926" y="77788"/>
                </a:lnTo>
                <a:lnTo>
                  <a:pt x="5965826" y="111125"/>
                </a:lnTo>
                <a:lnTo>
                  <a:pt x="6054726" y="146050"/>
                </a:lnTo>
                <a:lnTo>
                  <a:pt x="6142038" y="187325"/>
                </a:lnTo>
                <a:lnTo>
                  <a:pt x="6237288" y="258763"/>
                </a:lnTo>
                <a:lnTo>
                  <a:pt x="6329363" y="333375"/>
                </a:lnTo>
                <a:lnTo>
                  <a:pt x="6418263" y="407988"/>
                </a:lnTo>
                <a:lnTo>
                  <a:pt x="6507163" y="485775"/>
                </a:lnTo>
                <a:lnTo>
                  <a:pt x="6677026" y="639763"/>
                </a:lnTo>
                <a:lnTo>
                  <a:pt x="6762751" y="714375"/>
                </a:lnTo>
                <a:lnTo>
                  <a:pt x="6846888" y="785813"/>
                </a:lnTo>
                <a:lnTo>
                  <a:pt x="6846888" y="796926"/>
                </a:lnTo>
                <a:lnTo>
                  <a:pt x="6851651" y="812801"/>
                </a:lnTo>
                <a:lnTo>
                  <a:pt x="6858001" y="823913"/>
                </a:lnTo>
                <a:lnTo>
                  <a:pt x="6867526" y="836613"/>
                </a:lnTo>
                <a:lnTo>
                  <a:pt x="6878638" y="844550"/>
                </a:lnTo>
                <a:lnTo>
                  <a:pt x="6891338" y="854075"/>
                </a:lnTo>
                <a:lnTo>
                  <a:pt x="6905626" y="857250"/>
                </a:lnTo>
                <a:lnTo>
                  <a:pt x="6919913" y="860425"/>
                </a:lnTo>
                <a:lnTo>
                  <a:pt x="6973888" y="868363"/>
                </a:lnTo>
                <a:lnTo>
                  <a:pt x="7024688" y="884238"/>
                </a:lnTo>
                <a:lnTo>
                  <a:pt x="7072313" y="901700"/>
                </a:lnTo>
                <a:lnTo>
                  <a:pt x="7116763" y="925513"/>
                </a:lnTo>
                <a:lnTo>
                  <a:pt x="7158038" y="952500"/>
                </a:lnTo>
                <a:lnTo>
                  <a:pt x="7199313" y="981075"/>
                </a:lnTo>
                <a:lnTo>
                  <a:pt x="7235826" y="1014413"/>
                </a:lnTo>
                <a:lnTo>
                  <a:pt x="7270751" y="1049338"/>
                </a:lnTo>
                <a:lnTo>
                  <a:pt x="7307263" y="1089025"/>
                </a:lnTo>
                <a:lnTo>
                  <a:pt x="7337426" y="1127125"/>
                </a:lnTo>
                <a:lnTo>
                  <a:pt x="7399338" y="1211263"/>
                </a:lnTo>
                <a:lnTo>
                  <a:pt x="7454901" y="1296988"/>
                </a:lnTo>
                <a:lnTo>
                  <a:pt x="7512051" y="1382713"/>
                </a:lnTo>
                <a:lnTo>
                  <a:pt x="7069138" y="1492250"/>
                </a:lnTo>
                <a:lnTo>
                  <a:pt x="7083426" y="1573213"/>
                </a:lnTo>
                <a:lnTo>
                  <a:pt x="7092951" y="1611313"/>
                </a:lnTo>
                <a:lnTo>
                  <a:pt x="7104063" y="1647826"/>
                </a:lnTo>
                <a:lnTo>
                  <a:pt x="7116763" y="1677988"/>
                </a:lnTo>
                <a:lnTo>
                  <a:pt x="7131051" y="1706563"/>
                </a:lnTo>
                <a:lnTo>
                  <a:pt x="7150101" y="1733550"/>
                </a:lnTo>
                <a:lnTo>
                  <a:pt x="7170738" y="1754188"/>
                </a:lnTo>
                <a:lnTo>
                  <a:pt x="7191376" y="1774825"/>
                </a:lnTo>
                <a:lnTo>
                  <a:pt x="7218363" y="1790700"/>
                </a:lnTo>
                <a:lnTo>
                  <a:pt x="7243763" y="1801813"/>
                </a:lnTo>
                <a:lnTo>
                  <a:pt x="7277101" y="1811338"/>
                </a:lnTo>
                <a:lnTo>
                  <a:pt x="7310438" y="1814513"/>
                </a:lnTo>
                <a:lnTo>
                  <a:pt x="7348538" y="1811338"/>
                </a:lnTo>
                <a:lnTo>
                  <a:pt x="7392988" y="1804988"/>
                </a:lnTo>
                <a:lnTo>
                  <a:pt x="7437438" y="1793875"/>
                </a:lnTo>
                <a:lnTo>
                  <a:pt x="7550151" y="1906588"/>
                </a:lnTo>
                <a:lnTo>
                  <a:pt x="7362826" y="1941513"/>
                </a:lnTo>
                <a:lnTo>
                  <a:pt x="7221538" y="1974850"/>
                </a:lnTo>
                <a:lnTo>
                  <a:pt x="7164388" y="1992313"/>
                </a:lnTo>
                <a:lnTo>
                  <a:pt x="7116763" y="2006600"/>
                </a:lnTo>
                <a:lnTo>
                  <a:pt x="7075488" y="2025650"/>
                </a:lnTo>
                <a:lnTo>
                  <a:pt x="7038976" y="2046288"/>
                </a:lnTo>
                <a:lnTo>
                  <a:pt x="7011988" y="2066925"/>
                </a:lnTo>
                <a:lnTo>
                  <a:pt x="6988176" y="2093913"/>
                </a:lnTo>
                <a:lnTo>
                  <a:pt x="6970713" y="2122488"/>
                </a:lnTo>
                <a:lnTo>
                  <a:pt x="6956426" y="2159000"/>
                </a:lnTo>
                <a:lnTo>
                  <a:pt x="6943726" y="2197100"/>
                </a:lnTo>
                <a:lnTo>
                  <a:pt x="6935788" y="2241550"/>
                </a:lnTo>
                <a:lnTo>
                  <a:pt x="6926263" y="2295525"/>
                </a:lnTo>
                <a:lnTo>
                  <a:pt x="6919913" y="2355850"/>
                </a:lnTo>
                <a:lnTo>
                  <a:pt x="6946901" y="2298700"/>
                </a:lnTo>
                <a:lnTo>
                  <a:pt x="6973888" y="2244725"/>
                </a:lnTo>
                <a:lnTo>
                  <a:pt x="7004051" y="2200275"/>
                </a:lnTo>
                <a:lnTo>
                  <a:pt x="7015163" y="2182813"/>
                </a:lnTo>
                <a:lnTo>
                  <a:pt x="7031038" y="2168525"/>
                </a:lnTo>
                <a:lnTo>
                  <a:pt x="7081838" y="2117725"/>
                </a:lnTo>
                <a:lnTo>
                  <a:pt x="7127876" y="2073276"/>
                </a:lnTo>
                <a:lnTo>
                  <a:pt x="7181851" y="2030413"/>
                </a:lnTo>
                <a:lnTo>
                  <a:pt x="7253288" y="1981200"/>
                </a:lnTo>
                <a:lnTo>
                  <a:pt x="7226301" y="2135188"/>
                </a:lnTo>
                <a:lnTo>
                  <a:pt x="7197726" y="2268538"/>
                </a:lnTo>
                <a:lnTo>
                  <a:pt x="7170738" y="2390775"/>
                </a:lnTo>
                <a:lnTo>
                  <a:pt x="7140576" y="2503488"/>
                </a:lnTo>
                <a:lnTo>
                  <a:pt x="7178676" y="2503488"/>
                </a:lnTo>
                <a:lnTo>
                  <a:pt x="7235826" y="2414588"/>
                </a:lnTo>
                <a:lnTo>
                  <a:pt x="7289801" y="2316163"/>
                </a:lnTo>
                <a:lnTo>
                  <a:pt x="7345363" y="2217738"/>
                </a:lnTo>
                <a:lnTo>
                  <a:pt x="7402513" y="2128838"/>
                </a:lnTo>
                <a:lnTo>
                  <a:pt x="7405688" y="2117725"/>
                </a:lnTo>
                <a:lnTo>
                  <a:pt x="7413626" y="2108200"/>
                </a:lnTo>
                <a:lnTo>
                  <a:pt x="7426326" y="2098675"/>
                </a:lnTo>
                <a:lnTo>
                  <a:pt x="7443788" y="2093913"/>
                </a:lnTo>
                <a:lnTo>
                  <a:pt x="7478713" y="2076451"/>
                </a:lnTo>
                <a:lnTo>
                  <a:pt x="7497763" y="2066925"/>
                </a:lnTo>
                <a:lnTo>
                  <a:pt x="7512051" y="2054225"/>
                </a:lnTo>
                <a:lnTo>
                  <a:pt x="7539038" y="2084388"/>
                </a:lnTo>
                <a:lnTo>
                  <a:pt x="7553326" y="2098675"/>
                </a:lnTo>
                <a:lnTo>
                  <a:pt x="7562851" y="2114550"/>
                </a:lnTo>
                <a:lnTo>
                  <a:pt x="7573963" y="2135188"/>
                </a:lnTo>
                <a:lnTo>
                  <a:pt x="7580313" y="2155825"/>
                </a:lnTo>
                <a:lnTo>
                  <a:pt x="7586663" y="2176463"/>
                </a:lnTo>
                <a:lnTo>
                  <a:pt x="7586663" y="2203450"/>
                </a:lnTo>
                <a:lnTo>
                  <a:pt x="7586663" y="2262188"/>
                </a:lnTo>
                <a:lnTo>
                  <a:pt x="7580313" y="2322513"/>
                </a:lnTo>
                <a:lnTo>
                  <a:pt x="7569201" y="2452688"/>
                </a:lnTo>
                <a:lnTo>
                  <a:pt x="7556501" y="2587625"/>
                </a:lnTo>
                <a:lnTo>
                  <a:pt x="7550151" y="2659063"/>
                </a:lnTo>
                <a:lnTo>
                  <a:pt x="7550151" y="2727325"/>
                </a:lnTo>
                <a:lnTo>
                  <a:pt x="7589838" y="2613025"/>
                </a:lnTo>
                <a:lnTo>
                  <a:pt x="7624763" y="2503488"/>
                </a:lnTo>
                <a:lnTo>
                  <a:pt x="7654926" y="2390775"/>
                </a:lnTo>
                <a:lnTo>
                  <a:pt x="7666038" y="2333625"/>
                </a:lnTo>
                <a:lnTo>
                  <a:pt x="7675563" y="2278063"/>
                </a:lnTo>
                <a:lnTo>
                  <a:pt x="7681913" y="2224088"/>
                </a:lnTo>
                <a:lnTo>
                  <a:pt x="7688263" y="2168525"/>
                </a:lnTo>
                <a:lnTo>
                  <a:pt x="7689851" y="2111375"/>
                </a:lnTo>
                <a:lnTo>
                  <a:pt x="7689851" y="2054225"/>
                </a:lnTo>
                <a:lnTo>
                  <a:pt x="7688263" y="1998663"/>
                </a:lnTo>
                <a:lnTo>
                  <a:pt x="7681913" y="1941513"/>
                </a:lnTo>
                <a:lnTo>
                  <a:pt x="7672388" y="1885950"/>
                </a:lnTo>
                <a:lnTo>
                  <a:pt x="7661276" y="1831975"/>
                </a:lnTo>
                <a:lnTo>
                  <a:pt x="7654926" y="1811338"/>
                </a:lnTo>
                <a:lnTo>
                  <a:pt x="7651751" y="1790700"/>
                </a:lnTo>
                <a:lnTo>
                  <a:pt x="7651751" y="1773238"/>
                </a:lnTo>
                <a:lnTo>
                  <a:pt x="7651751" y="1754188"/>
                </a:lnTo>
                <a:lnTo>
                  <a:pt x="7654926" y="1736725"/>
                </a:lnTo>
                <a:lnTo>
                  <a:pt x="7661276" y="1719263"/>
                </a:lnTo>
                <a:lnTo>
                  <a:pt x="7675563" y="1689100"/>
                </a:lnTo>
                <a:lnTo>
                  <a:pt x="7696201" y="1665288"/>
                </a:lnTo>
                <a:lnTo>
                  <a:pt x="7720013" y="1641476"/>
                </a:lnTo>
                <a:lnTo>
                  <a:pt x="7743826" y="1620838"/>
                </a:lnTo>
                <a:lnTo>
                  <a:pt x="7773988" y="1606550"/>
                </a:lnTo>
                <a:lnTo>
                  <a:pt x="7805738" y="1590675"/>
                </a:lnTo>
                <a:lnTo>
                  <a:pt x="7839076" y="1576388"/>
                </a:lnTo>
                <a:lnTo>
                  <a:pt x="7904163" y="1538288"/>
                </a:lnTo>
                <a:lnTo>
                  <a:pt x="7967663" y="1495425"/>
                </a:lnTo>
                <a:lnTo>
                  <a:pt x="8026401" y="1447801"/>
                </a:lnTo>
                <a:lnTo>
                  <a:pt x="8085138" y="1398588"/>
                </a:lnTo>
                <a:lnTo>
                  <a:pt x="8142288" y="1344613"/>
                </a:lnTo>
                <a:lnTo>
                  <a:pt x="8255001" y="1235076"/>
                </a:lnTo>
                <a:lnTo>
                  <a:pt x="8275638" y="1208088"/>
                </a:lnTo>
                <a:lnTo>
                  <a:pt x="8296276" y="1187450"/>
                </a:lnTo>
                <a:lnTo>
                  <a:pt x="8318501" y="1168400"/>
                </a:lnTo>
                <a:lnTo>
                  <a:pt x="8339138" y="1154113"/>
                </a:lnTo>
                <a:lnTo>
                  <a:pt x="8359776" y="1144588"/>
                </a:lnTo>
                <a:lnTo>
                  <a:pt x="8377238" y="1139825"/>
                </a:lnTo>
                <a:lnTo>
                  <a:pt x="8397876" y="1139825"/>
                </a:lnTo>
                <a:lnTo>
                  <a:pt x="8415338" y="1139825"/>
                </a:lnTo>
                <a:lnTo>
                  <a:pt x="8435976" y="1144588"/>
                </a:lnTo>
                <a:lnTo>
                  <a:pt x="8455026" y="1154113"/>
                </a:lnTo>
                <a:lnTo>
                  <a:pt x="8472488" y="1166813"/>
                </a:lnTo>
                <a:lnTo>
                  <a:pt x="8489951" y="1181100"/>
                </a:lnTo>
                <a:lnTo>
                  <a:pt x="8504238" y="1198563"/>
                </a:lnTo>
                <a:lnTo>
                  <a:pt x="8523288" y="1219201"/>
                </a:lnTo>
                <a:lnTo>
                  <a:pt x="8537576" y="1243013"/>
                </a:lnTo>
                <a:lnTo>
                  <a:pt x="8551863" y="1270000"/>
                </a:lnTo>
                <a:lnTo>
                  <a:pt x="8605838" y="1403350"/>
                </a:lnTo>
                <a:lnTo>
                  <a:pt x="8659813" y="1531938"/>
                </a:lnTo>
                <a:lnTo>
                  <a:pt x="8680451" y="1593850"/>
                </a:lnTo>
                <a:lnTo>
                  <a:pt x="8704263" y="1658938"/>
                </a:lnTo>
                <a:lnTo>
                  <a:pt x="8721726" y="1725613"/>
                </a:lnTo>
                <a:lnTo>
                  <a:pt x="8737601" y="1793875"/>
                </a:lnTo>
                <a:lnTo>
                  <a:pt x="8763001" y="1974850"/>
                </a:lnTo>
                <a:lnTo>
                  <a:pt x="8785226" y="2149475"/>
                </a:lnTo>
                <a:lnTo>
                  <a:pt x="8789988" y="2238375"/>
                </a:lnTo>
                <a:lnTo>
                  <a:pt x="8796338" y="2325688"/>
                </a:lnTo>
                <a:lnTo>
                  <a:pt x="8802688" y="2411413"/>
                </a:lnTo>
                <a:lnTo>
                  <a:pt x="8802688" y="2497138"/>
                </a:lnTo>
                <a:lnTo>
                  <a:pt x="8802688" y="2584450"/>
                </a:lnTo>
                <a:lnTo>
                  <a:pt x="8796338" y="2670175"/>
                </a:lnTo>
                <a:lnTo>
                  <a:pt x="8789988" y="2752725"/>
                </a:lnTo>
                <a:lnTo>
                  <a:pt x="8778876" y="2840038"/>
                </a:lnTo>
                <a:lnTo>
                  <a:pt x="8763001" y="2922588"/>
                </a:lnTo>
                <a:lnTo>
                  <a:pt x="8748713" y="3006725"/>
                </a:lnTo>
                <a:lnTo>
                  <a:pt x="8724901" y="3092450"/>
                </a:lnTo>
                <a:lnTo>
                  <a:pt x="8701088" y="3175000"/>
                </a:lnTo>
                <a:lnTo>
                  <a:pt x="8670926" y="3249613"/>
                </a:lnTo>
                <a:lnTo>
                  <a:pt x="8642351" y="3321050"/>
                </a:lnTo>
                <a:lnTo>
                  <a:pt x="8609013" y="3389313"/>
                </a:lnTo>
                <a:lnTo>
                  <a:pt x="8575676" y="3451225"/>
                </a:lnTo>
                <a:lnTo>
                  <a:pt x="8543926" y="3514725"/>
                </a:lnTo>
                <a:lnTo>
                  <a:pt x="8507413" y="3570288"/>
                </a:lnTo>
                <a:lnTo>
                  <a:pt x="8469313" y="3621088"/>
                </a:lnTo>
                <a:lnTo>
                  <a:pt x="8431213" y="3671888"/>
                </a:lnTo>
                <a:lnTo>
                  <a:pt x="8391526" y="3719513"/>
                </a:lnTo>
                <a:lnTo>
                  <a:pt x="8350251" y="3760788"/>
                </a:lnTo>
                <a:lnTo>
                  <a:pt x="8305801" y="3802063"/>
                </a:lnTo>
                <a:lnTo>
                  <a:pt x="8261351" y="3838575"/>
                </a:lnTo>
                <a:lnTo>
                  <a:pt x="8216901" y="3870325"/>
                </a:lnTo>
                <a:lnTo>
                  <a:pt x="8172451" y="3903663"/>
                </a:lnTo>
                <a:lnTo>
                  <a:pt x="8124826" y="3930650"/>
                </a:lnTo>
                <a:lnTo>
                  <a:pt x="8074026" y="3954463"/>
                </a:lnTo>
                <a:lnTo>
                  <a:pt x="8023226" y="3978275"/>
                </a:lnTo>
                <a:lnTo>
                  <a:pt x="7972426" y="3995738"/>
                </a:lnTo>
                <a:lnTo>
                  <a:pt x="7920038" y="4013200"/>
                </a:lnTo>
                <a:lnTo>
                  <a:pt x="7866063" y="4029075"/>
                </a:lnTo>
                <a:lnTo>
                  <a:pt x="7812088" y="4040188"/>
                </a:lnTo>
                <a:lnTo>
                  <a:pt x="7756526" y="4049713"/>
                </a:lnTo>
                <a:lnTo>
                  <a:pt x="7699376" y="4057650"/>
                </a:lnTo>
                <a:lnTo>
                  <a:pt x="7640638" y="4064000"/>
                </a:lnTo>
                <a:lnTo>
                  <a:pt x="7583488" y="4067175"/>
                </a:lnTo>
                <a:lnTo>
                  <a:pt x="7521576" y="4067175"/>
                </a:lnTo>
                <a:lnTo>
                  <a:pt x="7461251" y="4067175"/>
                </a:lnTo>
                <a:lnTo>
                  <a:pt x="7399338" y="4064000"/>
                </a:lnTo>
                <a:lnTo>
                  <a:pt x="7270751" y="4052888"/>
                </a:lnTo>
                <a:lnTo>
                  <a:pt x="7140576" y="4033838"/>
                </a:lnTo>
                <a:lnTo>
                  <a:pt x="7018338" y="4016375"/>
                </a:lnTo>
                <a:lnTo>
                  <a:pt x="6896101" y="3992563"/>
                </a:lnTo>
                <a:lnTo>
                  <a:pt x="6780213" y="3965575"/>
                </a:lnTo>
                <a:lnTo>
                  <a:pt x="6664326" y="3937000"/>
                </a:lnTo>
                <a:lnTo>
                  <a:pt x="6438901" y="3870325"/>
                </a:lnTo>
                <a:lnTo>
                  <a:pt x="6326188" y="3841750"/>
                </a:lnTo>
                <a:lnTo>
                  <a:pt x="6216651" y="3811588"/>
                </a:lnTo>
                <a:lnTo>
                  <a:pt x="6186488" y="3951288"/>
                </a:lnTo>
                <a:lnTo>
                  <a:pt x="6162676" y="4094163"/>
                </a:lnTo>
                <a:lnTo>
                  <a:pt x="6153151" y="4171950"/>
                </a:lnTo>
                <a:lnTo>
                  <a:pt x="6148388" y="4244975"/>
                </a:lnTo>
                <a:lnTo>
                  <a:pt x="6142038" y="4325938"/>
                </a:lnTo>
                <a:lnTo>
                  <a:pt x="6142038" y="4408488"/>
                </a:lnTo>
                <a:lnTo>
                  <a:pt x="6142038" y="4438650"/>
                </a:lnTo>
                <a:lnTo>
                  <a:pt x="6148388" y="4468813"/>
                </a:lnTo>
                <a:lnTo>
                  <a:pt x="6156326" y="4500563"/>
                </a:lnTo>
                <a:lnTo>
                  <a:pt x="6169026" y="4530725"/>
                </a:lnTo>
                <a:lnTo>
                  <a:pt x="6183313" y="4554538"/>
                </a:lnTo>
                <a:lnTo>
                  <a:pt x="6203951" y="4575175"/>
                </a:lnTo>
                <a:lnTo>
                  <a:pt x="6213476" y="4584700"/>
                </a:lnTo>
                <a:lnTo>
                  <a:pt x="6224588" y="4591050"/>
                </a:lnTo>
                <a:lnTo>
                  <a:pt x="6237288" y="4594225"/>
                </a:lnTo>
                <a:lnTo>
                  <a:pt x="6251576" y="4595813"/>
                </a:lnTo>
                <a:lnTo>
                  <a:pt x="6281738" y="4608513"/>
                </a:lnTo>
                <a:lnTo>
                  <a:pt x="6313488" y="4619625"/>
                </a:lnTo>
                <a:lnTo>
                  <a:pt x="6350001" y="4629150"/>
                </a:lnTo>
                <a:lnTo>
                  <a:pt x="6384926" y="4632325"/>
                </a:lnTo>
                <a:lnTo>
                  <a:pt x="6405563" y="4632325"/>
                </a:lnTo>
                <a:lnTo>
                  <a:pt x="6424613" y="4629150"/>
                </a:lnTo>
                <a:lnTo>
                  <a:pt x="6445251" y="4622800"/>
                </a:lnTo>
                <a:lnTo>
                  <a:pt x="6465888" y="4616450"/>
                </a:lnTo>
                <a:lnTo>
                  <a:pt x="6486526" y="4605338"/>
                </a:lnTo>
                <a:lnTo>
                  <a:pt x="6507163" y="4594225"/>
                </a:lnTo>
                <a:lnTo>
                  <a:pt x="6527801" y="4575175"/>
                </a:lnTo>
                <a:lnTo>
                  <a:pt x="6548438" y="4557713"/>
                </a:lnTo>
                <a:lnTo>
                  <a:pt x="6578601" y="4516438"/>
                </a:lnTo>
                <a:lnTo>
                  <a:pt x="6608763" y="4476750"/>
                </a:lnTo>
                <a:lnTo>
                  <a:pt x="6673851" y="4403725"/>
                </a:lnTo>
                <a:lnTo>
                  <a:pt x="6704013" y="4364038"/>
                </a:lnTo>
                <a:lnTo>
                  <a:pt x="6731001" y="4319588"/>
                </a:lnTo>
                <a:lnTo>
                  <a:pt x="6754813" y="4275138"/>
                </a:lnTo>
                <a:lnTo>
                  <a:pt x="6762751" y="4248150"/>
                </a:lnTo>
                <a:lnTo>
                  <a:pt x="6772276" y="4221163"/>
                </a:lnTo>
                <a:lnTo>
                  <a:pt x="6775451" y="4210050"/>
                </a:lnTo>
                <a:lnTo>
                  <a:pt x="6783388" y="4197350"/>
                </a:lnTo>
                <a:lnTo>
                  <a:pt x="6796088" y="4192588"/>
                </a:lnTo>
                <a:lnTo>
                  <a:pt x="6813551" y="4183063"/>
                </a:lnTo>
                <a:lnTo>
                  <a:pt x="6848476" y="4168775"/>
                </a:lnTo>
                <a:lnTo>
                  <a:pt x="6867526" y="4159250"/>
                </a:lnTo>
                <a:lnTo>
                  <a:pt x="6881813" y="4148138"/>
                </a:lnTo>
                <a:lnTo>
                  <a:pt x="6881813" y="4200525"/>
                </a:lnTo>
                <a:lnTo>
                  <a:pt x="6875463" y="4254500"/>
                </a:lnTo>
                <a:lnTo>
                  <a:pt x="6867526" y="4302125"/>
                </a:lnTo>
                <a:lnTo>
                  <a:pt x="6854826" y="4349750"/>
                </a:lnTo>
                <a:lnTo>
                  <a:pt x="6840538" y="4394200"/>
                </a:lnTo>
                <a:lnTo>
                  <a:pt x="6823076" y="4435475"/>
                </a:lnTo>
                <a:lnTo>
                  <a:pt x="6800851" y="4475163"/>
                </a:lnTo>
                <a:lnTo>
                  <a:pt x="6775451" y="4510088"/>
                </a:lnTo>
                <a:lnTo>
                  <a:pt x="6748463" y="4546600"/>
                </a:lnTo>
                <a:lnTo>
                  <a:pt x="6718301" y="4575175"/>
                </a:lnTo>
                <a:lnTo>
                  <a:pt x="6683376" y="4605338"/>
                </a:lnTo>
                <a:lnTo>
                  <a:pt x="6646863" y="4629150"/>
                </a:lnTo>
                <a:lnTo>
                  <a:pt x="6608763" y="4652963"/>
                </a:lnTo>
                <a:lnTo>
                  <a:pt x="6567488" y="4673600"/>
                </a:lnTo>
                <a:lnTo>
                  <a:pt x="6521451" y="4691063"/>
                </a:lnTo>
                <a:lnTo>
                  <a:pt x="6473826" y="4706938"/>
                </a:lnTo>
                <a:lnTo>
                  <a:pt x="6438901" y="4718050"/>
                </a:lnTo>
                <a:lnTo>
                  <a:pt x="6403976" y="4727575"/>
                </a:lnTo>
                <a:lnTo>
                  <a:pt x="6370638" y="4733925"/>
                </a:lnTo>
                <a:lnTo>
                  <a:pt x="6334126" y="4735513"/>
                </a:lnTo>
                <a:lnTo>
                  <a:pt x="6302376" y="4735513"/>
                </a:lnTo>
                <a:lnTo>
                  <a:pt x="6265863" y="4733925"/>
                </a:lnTo>
                <a:lnTo>
                  <a:pt x="6234113" y="4724400"/>
                </a:lnTo>
                <a:lnTo>
                  <a:pt x="6200776" y="4714875"/>
                </a:lnTo>
                <a:lnTo>
                  <a:pt x="6169026" y="4703763"/>
                </a:lnTo>
                <a:lnTo>
                  <a:pt x="6135688" y="4691063"/>
                </a:lnTo>
                <a:lnTo>
                  <a:pt x="6102351" y="4673600"/>
                </a:lnTo>
                <a:lnTo>
                  <a:pt x="6073776" y="4656138"/>
                </a:lnTo>
                <a:lnTo>
                  <a:pt x="6040438" y="4632325"/>
                </a:lnTo>
                <a:lnTo>
                  <a:pt x="6010276" y="4611688"/>
                </a:lnTo>
                <a:lnTo>
                  <a:pt x="5984876" y="4584700"/>
                </a:lnTo>
                <a:lnTo>
                  <a:pt x="5954713" y="4557713"/>
                </a:lnTo>
                <a:lnTo>
                  <a:pt x="5903913" y="4510088"/>
                </a:lnTo>
                <a:lnTo>
                  <a:pt x="5853113" y="4465638"/>
                </a:lnTo>
                <a:lnTo>
                  <a:pt x="5802313" y="4424363"/>
                </a:lnTo>
                <a:lnTo>
                  <a:pt x="5746751" y="4384675"/>
                </a:lnTo>
                <a:lnTo>
                  <a:pt x="5692776" y="4349750"/>
                </a:lnTo>
                <a:lnTo>
                  <a:pt x="5635626" y="4316413"/>
                </a:lnTo>
                <a:lnTo>
                  <a:pt x="5576888" y="4284663"/>
                </a:lnTo>
                <a:lnTo>
                  <a:pt x="5519738" y="4254500"/>
                </a:lnTo>
                <a:lnTo>
                  <a:pt x="5399088" y="4197350"/>
                </a:lnTo>
                <a:lnTo>
                  <a:pt x="5276851" y="4141788"/>
                </a:lnTo>
                <a:lnTo>
                  <a:pt x="5027613" y="4033838"/>
                </a:lnTo>
                <a:lnTo>
                  <a:pt x="5110163" y="4090988"/>
                </a:lnTo>
                <a:lnTo>
                  <a:pt x="5151438" y="4121150"/>
                </a:lnTo>
                <a:lnTo>
                  <a:pt x="5191126" y="4151313"/>
                </a:lnTo>
                <a:lnTo>
                  <a:pt x="5226051" y="4183063"/>
                </a:lnTo>
                <a:lnTo>
                  <a:pt x="5260976" y="4219575"/>
                </a:lnTo>
                <a:lnTo>
                  <a:pt x="5294313" y="4254500"/>
                </a:lnTo>
                <a:lnTo>
                  <a:pt x="5324476" y="4295775"/>
                </a:lnTo>
                <a:lnTo>
                  <a:pt x="5356226" y="4329113"/>
                </a:lnTo>
                <a:lnTo>
                  <a:pt x="5392738" y="4370388"/>
                </a:lnTo>
                <a:lnTo>
                  <a:pt x="5410201" y="4391025"/>
                </a:lnTo>
                <a:lnTo>
                  <a:pt x="5422901" y="4411663"/>
                </a:lnTo>
                <a:lnTo>
                  <a:pt x="5430838" y="4430713"/>
                </a:lnTo>
                <a:lnTo>
                  <a:pt x="5434013" y="4445000"/>
                </a:lnTo>
                <a:lnTo>
                  <a:pt x="5376863" y="4656138"/>
                </a:lnTo>
                <a:lnTo>
                  <a:pt x="5348288" y="4759325"/>
                </a:lnTo>
                <a:lnTo>
                  <a:pt x="5314951" y="4864100"/>
                </a:lnTo>
                <a:lnTo>
                  <a:pt x="5280026" y="4965700"/>
                </a:lnTo>
                <a:lnTo>
                  <a:pt x="5243513" y="5068888"/>
                </a:lnTo>
                <a:lnTo>
                  <a:pt x="5205413" y="5167313"/>
                </a:lnTo>
                <a:lnTo>
                  <a:pt x="5160963" y="5268913"/>
                </a:lnTo>
                <a:lnTo>
                  <a:pt x="5116513" y="5362575"/>
                </a:lnTo>
                <a:lnTo>
                  <a:pt x="5068888" y="5457825"/>
                </a:lnTo>
                <a:lnTo>
                  <a:pt x="5014913" y="5553075"/>
                </a:lnTo>
                <a:lnTo>
                  <a:pt x="4960938" y="5643563"/>
                </a:lnTo>
                <a:lnTo>
                  <a:pt x="4902201" y="5732463"/>
                </a:lnTo>
                <a:lnTo>
                  <a:pt x="4837113" y="5815013"/>
                </a:lnTo>
                <a:lnTo>
                  <a:pt x="4768850" y="5899150"/>
                </a:lnTo>
                <a:lnTo>
                  <a:pt x="4694238" y="5978525"/>
                </a:lnTo>
                <a:lnTo>
                  <a:pt x="4581525" y="6062663"/>
                </a:lnTo>
                <a:lnTo>
                  <a:pt x="4470400" y="6151563"/>
                </a:lnTo>
                <a:lnTo>
                  <a:pt x="4360863" y="6246813"/>
                </a:lnTo>
                <a:lnTo>
                  <a:pt x="4303713" y="6296025"/>
                </a:lnTo>
                <a:lnTo>
                  <a:pt x="4248150" y="6350000"/>
                </a:lnTo>
                <a:lnTo>
                  <a:pt x="4221163" y="6365875"/>
                </a:lnTo>
                <a:lnTo>
                  <a:pt x="4194175" y="6386513"/>
                </a:lnTo>
                <a:lnTo>
                  <a:pt x="4167188" y="6407150"/>
                </a:lnTo>
                <a:lnTo>
                  <a:pt x="4140200" y="6430963"/>
                </a:lnTo>
                <a:lnTo>
                  <a:pt x="4117975" y="6454775"/>
                </a:lnTo>
                <a:lnTo>
                  <a:pt x="4095750" y="6481763"/>
                </a:lnTo>
                <a:lnTo>
                  <a:pt x="4078288" y="6510338"/>
                </a:lnTo>
                <a:lnTo>
                  <a:pt x="4064000" y="6537325"/>
                </a:lnTo>
                <a:lnTo>
                  <a:pt x="4033838" y="6564313"/>
                </a:lnTo>
                <a:lnTo>
                  <a:pt x="4003675" y="6588125"/>
                </a:lnTo>
                <a:lnTo>
                  <a:pt x="3975100" y="6608763"/>
                </a:lnTo>
                <a:lnTo>
                  <a:pt x="3944938" y="6626225"/>
                </a:lnTo>
                <a:lnTo>
                  <a:pt x="3914775" y="6645275"/>
                </a:lnTo>
                <a:lnTo>
                  <a:pt x="3884613" y="6656388"/>
                </a:lnTo>
                <a:lnTo>
                  <a:pt x="3852863" y="6665913"/>
                </a:lnTo>
                <a:lnTo>
                  <a:pt x="3822700" y="6673850"/>
                </a:lnTo>
                <a:lnTo>
                  <a:pt x="3790950" y="6677025"/>
                </a:lnTo>
                <a:lnTo>
                  <a:pt x="3760788" y="6677025"/>
                </a:lnTo>
                <a:lnTo>
                  <a:pt x="3727450" y="6673850"/>
                </a:lnTo>
                <a:lnTo>
                  <a:pt x="3697288" y="6669088"/>
                </a:lnTo>
                <a:lnTo>
                  <a:pt x="3668713" y="6659563"/>
                </a:lnTo>
                <a:lnTo>
                  <a:pt x="3638550" y="6646863"/>
                </a:lnTo>
                <a:lnTo>
                  <a:pt x="3608388" y="6632575"/>
                </a:lnTo>
                <a:lnTo>
                  <a:pt x="3579813" y="6611938"/>
                </a:lnTo>
                <a:lnTo>
                  <a:pt x="3525838" y="6543675"/>
                </a:lnTo>
                <a:lnTo>
                  <a:pt x="3475038" y="6472238"/>
                </a:lnTo>
                <a:lnTo>
                  <a:pt x="3427413" y="6400800"/>
                </a:lnTo>
                <a:lnTo>
                  <a:pt x="3379788" y="6326188"/>
                </a:lnTo>
                <a:lnTo>
                  <a:pt x="3335338" y="6251575"/>
                </a:lnTo>
                <a:lnTo>
                  <a:pt x="3294063" y="6175375"/>
                </a:lnTo>
                <a:lnTo>
                  <a:pt x="3252788" y="6097588"/>
                </a:lnTo>
                <a:lnTo>
                  <a:pt x="3209925" y="6015038"/>
                </a:lnTo>
                <a:lnTo>
                  <a:pt x="3195638" y="5999163"/>
                </a:lnTo>
                <a:lnTo>
                  <a:pt x="3186113" y="5984875"/>
                </a:lnTo>
                <a:lnTo>
                  <a:pt x="3181350" y="5967413"/>
                </a:lnTo>
                <a:lnTo>
                  <a:pt x="3175000" y="5946775"/>
                </a:lnTo>
                <a:lnTo>
                  <a:pt x="3171825" y="5927725"/>
                </a:lnTo>
                <a:lnTo>
                  <a:pt x="3171825" y="5907088"/>
                </a:lnTo>
                <a:lnTo>
                  <a:pt x="3175000" y="5886450"/>
                </a:lnTo>
                <a:lnTo>
                  <a:pt x="3181350" y="5865813"/>
                </a:lnTo>
                <a:lnTo>
                  <a:pt x="3189288" y="5845175"/>
                </a:lnTo>
                <a:lnTo>
                  <a:pt x="3201988" y="5824538"/>
                </a:lnTo>
                <a:lnTo>
                  <a:pt x="3213100" y="5803900"/>
                </a:lnTo>
                <a:lnTo>
                  <a:pt x="3230563" y="5783263"/>
                </a:lnTo>
                <a:lnTo>
                  <a:pt x="3249613" y="5764213"/>
                </a:lnTo>
                <a:lnTo>
                  <a:pt x="3270250" y="5746750"/>
                </a:lnTo>
                <a:lnTo>
                  <a:pt x="3294063" y="5732463"/>
                </a:lnTo>
                <a:lnTo>
                  <a:pt x="3321050" y="5716588"/>
                </a:lnTo>
                <a:lnTo>
                  <a:pt x="3362325" y="5699125"/>
                </a:lnTo>
                <a:lnTo>
                  <a:pt x="3403600" y="5681663"/>
                </a:lnTo>
                <a:lnTo>
                  <a:pt x="3492500" y="5637213"/>
                </a:lnTo>
                <a:lnTo>
                  <a:pt x="3587750" y="5583238"/>
                </a:lnTo>
                <a:lnTo>
                  <a:pt x="3692525" y="5529263"/>
                </a:lnTo>
                <a:lnTo>
                  <a:pt x="3692525" y="5081588"/>
                </a:lnTo>
                <a:lnTo>
                  <a:pt x="3683000" y="5116513"/>
                </a:lnTo>
                <a:lnTo>
                  <a:pt x="3673475" y="5153025"/>
                </a:lnTo>
                <a:lnTo>
                  <a:pt x="3665538" y="5184775"/>
                </a:lnTo>
                <a:lnTo>
                  <a:pt x="3652838" y="5211763"/>
                </a:lnTo>
                <a:lnTo>
                  <a:pt x="3641725" y="5238750"/>
                </a:lnTo>
                <a:lnTo>
                  <a:pt x="3629025" y="5265738"/>
                </a:lnTo>
                <a:lnTo>
                  <a:pt x="3614738" y="5286375"/>
                </a:lnTo>
                <a:lnTo>
                  <a:pt x="3600450" y="5307013"/>
                </a:lnTo>
                <a:lnTo>
                  <a:pt x="3581400" y="5324475"/>
                </a:lnTo>
                <a:lnTo>
                  <a:pt x="3567113" y="5340350"/>
                </a:lnTo>
                <a:lnTo>
                  <a:pt x="3549650" y="5354638"/>
                </a:lnTo>
                <a:lnTo>
                  <a:pt x="3529013" y="5365750"/>
                </a:lnTo>
                <a:lnTo>
                  <a:pt x="3489325" y="5386388"/>
                </a:lnTo>
                <a:lnTo>
                  <a:pt x="3451225" y="5402263"/>
                </a:lnTo>
                <a:lnTo>
                  <a:pt x="3406775" y="5413375"/>
                </a:lnTo>
                <a:lnTo>
                  <a:pt x="3365500" y="5419725"/>
                </a:lnTo>
                <a:lnTo>
                  <a:pt x="3321050" y="5422900"/>
                </a:lnTo>
                <a:lnTo>
                  <a:pt x="3273425" y="5422900"/>
                </a:lnTo>
                <a:lnTo>
                  <a:pt x="3182938" y="5419725"/>
                </a:lnTo>
                <a:lnTo>
                  <a:pt x="3097213" y="5416550"/>
                </a:lnTo>
                <a:lnTo>
                  <a:pt x="2838450" y="5416550"/>
                </a:lnTo>
                <a:lnTo>
                  <a:pt x="2770188" y="5416550"/>
                </a:lnTo>
                <a:lnTo>
                  <a:pt x="2708275" y="5413375"/>
                </a:lnTo>
                <a:lnTo>
                  <a:pt x="2678113" y="5408613"/>
                </a:lnTo>
                <a:lnTo>
                  <a:pt x="2647950" y="5402263"/>
                </a:lnTo>
                <a:lnTo>
                  <a:pt x="2622550" y="5395913"/>
                </a:lnTo>
                <a:lnTo>
                  <a:pt x="2598738" y="5384800"/>
                </a:lnTo>
                <a:lnTo>
                  <a:pt x="2574925" y="5368925"/>
                </a:lnTo>
                <a:lnTo>
                  <a:pt x="2554288" y="5354638"/>
                </a:lnTo>
                <a:lnTo>
                  <a:pt x="2532063" y="5330825"/>
                </a:lnTo>
                <a:lnTo>
                  <a:pt x="2514600" y="5307013"/>
                </a:lnTo>
                <a:lnTo>
                  <a:pt x="2500313" y="5276850"/>
                </a:lnTo>
                <a:lnTo>
                  <a:pt x="2484438" y="5241925"/>
                </a:lnTo>
                <a:lnTo>
                  <a:pt x="2476500" y="5202238"/>
                </a:lnTo>
                <a:lnTo>
                  <a:pt x="2466975" y="5154613"/>
                </a:lnTo>
                <a:lnTo>
                  <a:pt x="2466975" y="5229225"/>
                </a:lnTo>
                <a:lnTo>
                  <a:pt x="2466975" y="5341938"/>
                </a:lnTo>
                <a:lnTo>
                  <a:pt x="2466975" y="5440363"/>
                </a:lnTo>
                <a:lnTo>
                  <a:pt x="2463800" y="5538788"/>
                </a:lnTo>
                <a:lnTo>
                  <a:pt x="2459038" y="5634038"/>
                </a:lnTo>
                <a:lnTo>
                  <a:pt x="2452688" y="5681663"/>
                </a:lnTo>
                <a:lnTo>
                  <a:pt x="2443163" y="5729288"/>
                </a:lnTo>
                <a:lnTo>
                  <a:pt x="2435225" y="5776913"/>
                </a:lnTo>
                <a:lnTo>
                  <a:pt x="2422525" y="5824538"/>
                </a:lnTo>
                <a:lnTo>
                  <a:pt x="2408238" y="5868988"/>
                </a:lnTo>
                <a:lnTo>
                  <a:pt x="2390775" y="5916613"/>
                </a:lnTo>
                <a:lnTo>
                  <a:pt x="2368550" y="5961063"/>
                </a:lnTo>
                <a:lnTo>
                  <a:pt x="2343150" y="6002338"/>
                </a:lnTo>
                <a:lnTo>
                  <a:pt x="2316163" y="6046788"/>
                </a:lnTo>
                <a:lnTo>
                  <a:pt x="2282825" y="6088063"/>
                </a:lnTo>
                <a:lnTo>
                  <a:pt x="2268538" y="6103938"/>
                </a:lnTo>
                <a:lnTo>
                  <a:pt x="2255838" y="6121400"/>
                </a:lnTo>
                <a:lnTo>
                  <a:pt x="2238375" y="6156325"/>
                </a:lnTo>
                <a:lnTo>
                  <a:pt x="2224088" y="6199188"/>
                </a:lnTo>
                <a:lnTo>
                  <a:pt x="2211388" y="6243638"/>
                </a:lnTo>
                <a:lnTo>
                  <a:pt x="2193925" y="6335713"/>
                </a:lnTo>
                <a:lnTo>
                  <a:pt x="2181225" y="6383338"/>
                </a:lnTo>
                <a:lnTo>
                  <a:pt x="2170113" y="6424613"/>
                </a:lnTo>
                <a:lnTo>
                  <a:pt x="2166938" y="6442075"/>
                </a:lnTo>
                <a:lnTo>
                  <a:pt x="2157413" y="6459538"/>
                </a:lnTo>
                <a:lnTo>
                  <a:pt x="2143125" y="6478588"/>
                </a:lnTo>
                <a:lnTo>
                  <a:pt x="2125663" y="6496050"/>
                </a:lnTo>
                <a:lnTo>
                  <a:pt x="2101850" y="6510338"/>
                </a:lnTo>
                <a:lnTo>
                  <a:pt x="2078038" y="6526213"/>
                </a:lnTo>
                <a:lnTo>
                  <a:pt x="2051050" y="6534150"/>
                </a:lnTo>
                <a:lnTo>
                  <a:pt x="2020888" y="6537325"/>
                </a:lnTo>
                <a:lnTo>
                  <a:pt x="1828800" y="6507163"/>
                </a:lnTo>
                <a:lnTo>
                  <a:pt x="1628775" y="6478588"/>
                </a:lnTo>
                <a:lnTo>
                  <a:pt x="1525588" y="6457950"/>
                </a:lnTo>
                <a:lnTo>
                  <a:pt x="1420813" y="6435725"/>
                </a:lnTo>
                <a:lnTo>
                  <a:pt x="1316038" y="6415088"/>
                </a:lnTo>
                <a:lnTo>
                  <a:pt x="1206500" y="6389688"/>
                </a:lnTo>
                <a:lnTo>
                  <a:pt x="1168400" y="6370638"/>
                </a:lnTo>
                <a:lnTo>
                  <a:pt x="1150938" y="6362700"/>
                </a:lnTo>
                <a:lnTo>
                  <a:pt x="1135063" y="6353175"/>
                </a:lnTo>
                <a:lnTo>
                  <a:pt x="1123950" y="6342063"/>
                </a:lnTo>
                <a:lnTo>
                  <a:pt x="1111250" y="6326188"/>
                </a:lnTo>
                <a:lnTo>
                  <a:pt x="1103313" y="6311900"/>
                </a:lnTo>
                <a:lnTo>
                  <a:pt x="1093788" y="6294438"/>
                </a:lnTo>
                <a:lnTo>
                  <a:pt x="1087438" y="6275388"/>
                </a:lnTo>
                <a:lnTo>
                  <a:pt x="1084263" y="6254750"/>
                </a:lnTo>
                <a:lnTo>
                  <a:pt x="1082675" y="6234113"/>
                </a:lnTo>
                <a:lnTo>
                  <a:pt x="1082675" y="6210300"/>
                </a:lnTo>
                <a:lnTo>
                  <a:pt x="1084263" y="6154738"/>
                </a:lnTo>
                <a:lnTo>
                  <a:pt x="1093788" y="6088063"/>
                </a:lnTo>
                <a:lnTo>
                  <a:pt x="1120775" y="6046788"/>
                </a:lnTo>
                <a:lnTo>
                  <a:pt x="1144588" y="5999163"/>
                </a:lnTo>
                <a:lnTo>
                  <a:pt x="1162050" y="5948363"/>
                </a:lnTo>
                <a:lnTo>
                  <a:pt x="1176338" y="5899150"/>
                </a:lnTo>
                <a:lnTo>
                  <a:pt x="1189038" y="5845175"/>
                </a:lnTo>
                <a:lnTo>
                  <a:pt x="1198563" y="5788025"/>
                </a:lnTo>
                <a:lnTo>
                  <a:pt x="1203325" y="5735638"/>
                </a:lnTo>
                <a:lnTo>
                  <a:pt x="1206500" y="5678488"/>
                </a:lnTo>
                <a:lnTo>
                  <a:pt x="1212850" y="5657850"/>
                </a:lnTo>
                <a:lnTo>
                  <a:pt x="1216025" y="5634038"/>
                </a:lnTo>
                <a:lnTo>
                  <a:pt x="1216025" y="5613400"/>
                </a:lnTo>
                <a:lnTo>
                  <a:pt x="1216025" y="5589588"/>
                </a:lnTo>
                <a:lnTo>
                  <a:pt x="1209675" y="5541963"/>
                </a:lnTo>
                <a:lnTo>
                  <a:pt x="1198563" y="5497513"/>
                </a:lnTo>
                <a:lnTo>
                  <a:pt x="1179513" y="5453063"/>
                </a:lnTo>
                <a:lnTo>
                  <a:pt x="1165225" y="5410200"/>
                </a:lnTo>
                <a:lnTo>
                  <a:pt x="1131888" y="5341938"/>
                </a:lnTo>
                <a:lnTo>
                  <a:pt x="1069975" y="5238750"/>
                </a:lnTo>
                <a:lnTo>
                  <a:pt x="1012825" y="5130800"/>
                </a:lnTo>
                <a:lnTo>
                  <a:pt x="957263" y="5027613"/>
                </a:lnTo>
                <a:lnTo>
                  <a:pt x="903288" y="4919663"/>
                </a:lnTo>
                <a:lnTo>
                  <a:pt x="855663" y="4813300"/>
                </a:lnTo>
                <a:lnTo>
                  <a:pt x="811213" y="4706938"/>
                </a:lnTo>
                <a:lnTo>
                  <a:pt x="769938" y="4598988"/>
                </a:lnTo>
                <a:lnTo>
                  <a:pt x="733425" y="4492625"/>
                </a:lnTo>
                <a:lnTo>
                  <a:pt x="701675" y="4383088"/>
                </a:lnTo>
                <a:lnTo>
                  <a:pt x="671513" y="4271963"/>
                </a:lnTo>
                <a:lnTo>
                  <a:pt x="647700" y="4162425"/>
                </a:lnTo>
                <a:lnTo>
                  <a:pt x="630238" y="4049713"/>
                </a:lnTo>
                <a:lnTo>
                  <a:pt x="617538" y="3937000"/>
                </a:lnTo>
                <a:lnTo>
                  <a:pt x="609600" y="3821113"/>
                </a:lnTo>
                <a:lnTo>
                  <a:pt x="609600" y="3705225"/>
                </a:lnTo>
                <a:lnTo>
                  <a:pt x="612775" y="3586163"/>
                </a:lnTo>
                <a:lnTo>
                  <a:pt x="620713" y="3470275"/>
                </a:lnTo>
                <a:lnTo>
                  <a:pt x="636588" y="3354388"/>
                </a:lnTo>
                <a:lnTo>
                  <a:pt x="657225" y="3243263"/>
                </a:lnTo>
                <a:lnTo>
                  <a:pt x="681038" y="3136900"/>
                </a:lnTo>
                <a:lnTo>
                  <a:pt x="709613" y="3032125"/>
                </a:lnTo>
                <a:lnTo>
                  <a:pt x="746125" y="2932113"/>
                </a:lnTo>
                <a:lnTo>
                  <a:pt x="784225" y="2833688"/>
                </a:lnTo>
                <a:lnTo>
                  <a:pt x="828675" y="2735263"/>
                </a:lnTo>
                <a:lnTo>
                  <a:pt x="879475" y="2643188"/>
                </a:lnTo>
                <a:lnTo>
                  <a:pt x="933450" y="2551113"/>
                </a:lnTo>
                <a:lnTo>
                  <a:pt x="992188" y="2465388"/>
                </a:lnTo>
                <a:lnTo>
                  <a:pt x="1055688" y="2379663"/>
                </a:lnTo>
                <a:lnTo>
                  <a:pt x="1123950" y="2295525"/>
                </a:lnTo>
                <a:lnTo>
                  <a:pt x="1195388" y="2212975"/>
                </a:lnTo>
                <a:lnTo>
                  <a:pt x="1271588" y="2132013"/>
                </a:lnTo>
                <a:lnTo>
                  <a:pt x="1355725" y="2054225"/>
                </a:lnTo>
                <a:lnTo>
                  <a:pt x="1423988" y="2001838"/>
                </a:lnTo>
                <a:lnTo>
                  <a:pt x="1495425" y="1951038"/>
                </a:lnTo>
                <a:lnTo>
                  <a:pt x="1566863" y="1900238"/>
                </a:lnTo>
                <a:lnTo>
                  <a:pt x="1641475" y="1855788"/>
                </a:lnTo>
                <a:lnTo>
                  <a:pt x="1714500" y="1814513"/>
                </a:lnTo>
                <a:lnTo>
                  <a:pt x="1789113" y="1774825"/>
                </a:lnTo>
                <a:lnTo>
                  <a:pt x="1866900" y="1739900"/>
                </a:lnTo>
                <a:lnTo>
                  <a:pt x="1944688" y="1703388"/>
                </a:lnTo>
                <a:lnTo>
                  <a:pt x="2020888" y="1671638"/>
                </a:lnTo>
                <a:lnTo>
                  <a:pt x="2101850" y="1641476"/>
                </a:lnTo>
                <a:lnTo>
                  <a:pt x="2184400" y="1614488"/>
                </a:lnTo>
                <a:lnTo>
                  <a:pt x="2268538" y="1587500"/>
                </a:lnTo>
                <a:lnTo>
                  <a:pt x="2351088" y="1562100"/>
                </a:lnTo>
                <a:lnTo>
                  <a:pt x="2436813" y="1538288"/>
                </a:lnTo>
                <a:lnTo>
                  <a:pt x="2616200" y="1492250"/>
                </a:lnTo>
                <a:lnTo>
                  <a:pt x="2725738" y="1492250"/>
                </a:lnTo>
                <a:lnTo>
                  <a:pt x="2654300" y="1590675"/>
                </a:lnTo>
                <a:lnTo>
                  <a:pt x="2582863" y="1682750"/>
                </a:lnTo>
                <a:lnTo>
                  <a:pt x="2435225" y="1866901"/>
                </a:lnTo>
                <a:lnTo>
                  <a:pt x="2363788" y="1958975"/>
                </a:lnTo>
                <a:lnTo>
                  <a:pt x="2295525" y="2052638"/>
                </a:lnTo>
                <a:lnTo>
                  <a:pt x="2228850" y="2144713"/>
                </a:lnTo>
                <a:lnTo>
                  <a:pt x="2200275" y="2192338"/>
                </a:lnTo>
                <a:lnTo>
                  <a:pt x="2170113" y="2241550"/>
                </a:lnTo>
                <a:lnTo>
                  <a:pt x="2089150" y="2355850"/>
                </a:lnTo>
                <a:lnTo>
                  <a:pt x="2047875" y="2411413"/>
                </a:lnTo>
                <a:lnTo>
                  <a:pt x="2012950" y="2471738"/>
                </a:lnTo>
                <a:lnTo>
                  <a:pt x="1979613" y="2530475"/>
                </a:lnTo>
                <a:lnTo>
                  <a:pt x="1952625" y="2592388"/>
                </a:lnTo>
                <a:lnTo>
                  <a:pt x="1928813" y="2659063"/>
                </a:lnTo>
                <a:lnTo>
                  <a:pt x="1917700" y="2693988"/>
                </a:lnTo>
                <a:lnTo>
                  <a:pt x="1911350" y="2727325"/>
                </a:lnTo>
                <a:lnTo>
                  <a:pt x="1893888" y="2776538"/>
                </a:lnTo>
                <a:lnTo>
                  <a:pt x="1881188" y="2824163"/>
                </a:lnTo>
                <a:lnTo>
                  <a:pt x="1873250" y="2868613"/>
                </a:lnTo>
                <a:lnTo>
                  <a:pt x="1873250" y="2916238"/>
                </a:lnTo>
                <a:lnTo>
                  <a:pt x="1876425" y="2962275"/>
                </a:lnTo>
                <a:lnTo>
                  <a:pt x="1881188" y="3006725"/>
                </a:lnTo>
                <a:lnTo>
                  <a:pt x="1893888" y="3048000"/>
                </a:lnTo>
                <a:lnTo>
                  <a:pt x="1905000" y="3092450"/>
                </a:lnTo>
                <a:lnTo>
                  <a:pt x="1924050" y="3133725"/>
                </a:lnTo>
                <a:lnTo>
                  <a:pt x="1944688" y="3171825"/>
                </a:lnTo>
                <a:lnTo>
                  <a:pt x="1965325" y="3214688"/>
                </a:lnTo>
                <a:lnTo>
                  <a:pt x="1989138" y="3252788"/>
                </a:lnTo>
                <a:lnTo>
                  <a:pt x="2041525" y="3327400"/>
                </a:lnTo>
                <a:lnTo>
                  <a:pt x="2095500" y="3398838"/>
                </a:lnTo>
                <a:lnTo>
                  <a:pt x="2149475" y="3470275"/>
                </a:lnTo>
                <a:lnTo>
                  <a:pt x="2197100" y="3541713"/>
                </a:lnTo>
                <a:lnTo>
                  <a:pt x="2217738" y="3576638"/>
                </a:lnTo>
                <a:lnTo>
                  <a:pt x="2238375" y="3613150"/>
                </a:lnTo>
                <a:lnTo>
                  <a:pt x="2252663" y="3648075"/>
                </a:lnTo>
                <a:lnTo>
                  <a:pt x="2268538" y="3684588"/>
                </a:lnTo>
                <a:lnTo>
                  <a:pt x="2279650" y="3722688"/>
                </a:lnTo>
                <a:lnTo>
                  <a:pt x="2286000" y="3757613"/>
                </a:lnTo>
                <a:lnTo>
                  <a:pt x="2289175" y="3797300"/>
                </a:lnTo>
                <a:lnTo>
                  <a:pt x="2289175" y="3835400"/>
                </a:lnTo>
                <a:lnTo>
                  <a:pt x="2286000" y="3873500"/>
                </a:lnTo>
                <a:lnTo>
                  <a:pt x="2276475" y="3916363"/>
                </a:lnTo>
                <a:lnTo>
                  <a:pt x="2262188" y="3954463"/>
                </a:lnTo>
                <a:lnTo>
                  <a:pt x="2244725" y="3995738"/>
                </a:lnTo>
                <a:lnTo>
                  <a:pt x="2232025" y="4013200"/>
                </a:lnTo>
                <a:lnTo>
                  <a:pt x="2224088" y="4037013"/>
                </a:lnTo>
                <a:lnTo>
                  <a:pt x="2217738" y="4064000"/>
                </a:lnTo>
                <a:lnTo>
                  <a:pt x="2217738" y="4090988"/>
                </a:lnTo>
                <a:lnTo>
                  <a:pt x="2217738" y="4117975"/>
                </a:lnTo>
                <a:lnTo>
                  <a:pt x="2224088" y="4144963"/>
                </a:lnTo>
                <a:lnTo>
                  <a:pt x="2232025" y="4168775"/>
                </a:lnTo>
                <a:lnTo>
                  <a:pt x="2244725" y="4183063"/>
                </a:lnTo>
                <a:lnTo>
                  <a:pt x="2306638" y="4251325"/>
                </a:lnTo>
                <a:lnTo>
                  <a:pt x="2368550" y="4313238"/>
                </a:lnTo>
                <a:lnTo>
                  <a:pt x="2435225" y="4373563"/>
                </a:lnTo>
                <a:lnTo>
                  <a:pt x="2497138" y="4424363"/>
                </a:lnTo>
                <a:lnTo>
                  <a:pt x="2562225" y="4471988"/>
                </a:lnTo>
                <a:lnTo>
                  <a:pt x="2627313" y="4510088"/>
                </a:lnTo>
                <a:lnTo>
                  <a:pt x="2660650" y="4527550"/>
                </a:lnTo>
                <a:lnTo>
                  <a:pt x="2695575" y="4543425"/>
                </a:lnTo>
                <a:lnTo>
                  <a:pt x="2728913" y="4554538"/>
                </a:lnTo>
                <a:lnTo>
                  <a:pt x="2763838" y="4567238"/>
                </a:lnTo>
                <a:lnTo>
                  <a:pt x="2800350" y="4575175"/>
                </a:lnTo>
                <a:lnTo>
                  <a:pt x="2835275" y="4584700"/>
                </a:lnTo>
                <a:lnTo>
                  <a:pt x="2871788" y="4591050"/>
                </a:lnTo>
                <a:lnTo>
                  <a:pt x="2906713" y="4594225"/>
                </a:lnTo>
                <a:lnTo>
                  <a:pt x="2943225" y="4594225"/>
                </a:lnTo>
                <a:lnTo>
                  <a:pt x="2981325" y="4594225"/>
                </a:lnTo>
                <a:lnTo>
                  <a:pt x="3021013" y="4591050"/>
                </a:lnTo>
                <a:lnTo>
                  <a:pt x="3059113" y="4584700"/>
                </a:lnTo>
                <a:lnTo>
                  <a:pt x="3097213" y="4575175"/>
                </a:lnTo>
                <a:lnTo>
                  <a:pt x="3138488" y="4564063"/>
                </a:lnTo>
                <a:lnTo>
                  <a:pt x="3178175" y="4551363"/>
                </a:lnTo>
                <a:lnTo>
                  <a:pt x="3219450" y="4537075"/>
                </a:lnTo>
                <a:lnTo>
                  <a:pt x="3263900" y="4516438"/>
                </a:lnTo>
                <a:lnTo>
                  <a:pt x="3305175" y="4495800"/>
                </a:lnTo>
                <a:lnTo>
                  <a:pt x="3349625" y="4471988"/>
                </a:lnTo>
                <a:lnTo>
                  <a:pt x="3394075" y="4445000"/>
                </a:lnTo>
                <a:lnTo>
                  <a:pt x="3617913" y="4329113"/>
                </a:lnTo>
                <a:lnTo>
                  <a:pt x="3730625" y="4271963"/>
                </a:lnTo>
                <a:lnTo>
                  <a:pt x="3843338" y="4216400"/>
                </a:lnTo>
                <a:lnTo>
                  <a:pt x="3959225" y="4168775"/>
                </a:lnTo>
                <a:lnTo>
                  <a:pt x="4019550" y="4144963"/>
                </a:lnTo>
                <a:lnTo>
                  <a:pt x="4078288" y="4124325"/>
                </a:lnTo>
                <a:lnTo>
                  <a:pt x="4138613" y="4108450"/>
                </a:lnTo>
                <a:lnTo>
                  <a:pt x="4197350" y="4094163"/>
                </a:lnTo>
                <a:lnTo>
                  <a:pt x="4259263" y="4081463"/>
                </a:lnTo>
                <a:lnTo>
                  <a:pt x="4322763" y="4073525"/>
                </a:lnTo>
                <a:lnTo>
                  <a:pt x="4337050" y="4067175"/>
                </a:lnTo>
                <a:lnTo>
                  <a:pt x="4354513" y="4057650"/>
                </a:lnTo>
                <a:lnTo>
                  <a:pt x="4375150" y="4043363"/>
                </a:lnTo>
                <a:lnTo>
                  <a:pt x="4397375" y="4025900"/>
                </a:lnTo>
                <a:lnTo>
                  <a:pt x="4418013" y="4002088"/>
                </a:lnTo>
                <a:lnTo>
                  <a:pt x="4438650" y="3978275"/>
                </a:lnTo>
                <a:lnTo>
                  <a:pt x="4456113" y="3951288"/>
                </a:lnTo>
                <a:lnTo>
                  <a:pt x="4470400" y="3921125"/>
                </a:lnTo>
                <a:lnTo>
                  <a:pt x="4497388" y="3844925"/>
                </a:lnTo>
                <a:lnTo>
                  <a:pt x="4518025" y="3767138"/>
                </a:lnTo>
                <a:lnTo>
                  <a:pt x="4537075" y="3689350"/>
                </a:lnTo>
                <a:lnTo>
                  <a:pt x="4548188" y="3613150"/>
                </a:lnTo>
                <a:lnTo>
                  <a:pt x="4560888" y="3535363"/>
                </a:lnTo>
                <a:lnTo>
                  <a:pt x="4565650" y="3457575"/>
                </a:lnTo>
                <a:lnTo>
                  <a:pt x="4572000" y="3381375"/>
                </a:lnTo>
                <a:lnTo>
                  <a:pt x="4572000" y="3300413"/>
                </a:lnTo>
                <a:lnTo>
                  <a:pt x="4572000" y="3222625"/>
                </a:lnTo>
                <a:lnTo>
                  <a:pt x="4568825" y="3143250"/>
                </a:lnTo>
                <a:lnTo>
                  <a:pt x="4562475" y="3062288"/>
                </a:lnTo>
                <a:lnTo>
                  <a:pt x="4554538" y="2982913"/>
                </a:lnTo>
                <a:lnTo>
                  <a:pt x="4533900" y="2819400"/>
                </a:lnTo>
                <a:lnTo>
                  <a:pt x="4506913" y="2652713"/>
                </a:lnTo>
                <a:lnTo>
                  <a:pt x="4479925" y="2476500"/>
                </a:lnTo>
                <a:lnTo>
                  <a:pt x="4446588" y="2292351"/>
                </a:lnTo>
                <a:lnTo>
                  <a:pt x="4429125" y="2197100"/>
                </a:lnTo>
                <a:lnTo>
                  <a:pt x="4408488" y="2098675"/>
                </a:lnTo>
                <a:lnTo>
                  <a:pt x="4384675" y="2005013"/>
                </a:lnTo>
                <a:lnTo>
                  <a:pt x="4360863" y="1906588"/>
                </a:lnTo>
                <a:lnTo>
                  <a:pt x="4360863" y="2765425"/>
                </a:lnTo>
                <a:lnTo>
                  <a:pt x="4360863" y="3698875"/>
                </a:lnTo>
                <a:lnTo>
                  <a:pt x="4357688" y="3725863"/>
                </a:lnTo>
                <a:lnTo>
                  <a:pt x="4354513" y="3752850"/>
                </a:lnTo>
                <a:lnTo>
                  <a:pt x="4349750" y="3776663"/>
                </a:lnTo>
                <a:lnTo>
                  <a:pt x="4340225" y="3797300"/>
                </a:lnTo>
                <a:lnTo>
                  <a:pt x="4327525" y="3817938"/>
                </a:lnTo>
                <a:lnTo>
                  <a:pt x="4316413" y="3838575"/>
                </a:lnTo>
                <a:lnTo>
                  <a:pt x="4302125" y="3856038"/>
                </a:lnTo>
                <a:lnTo>
                  <a:pt x="4286250" y="3870325"/>
                </a:lnTo>
                <a:lnTo>
                  <a:pt x="4265613" y="3886200"/>
                </a:lnTo>
                <a:lnTo>
                  <a:pt x="4248150" y="3900488"/>
                </a:lnTo>
                <a:lnTo>
                  <a:pt x="4203700" y="3924300"/>
                </a:lnTo>
                <a:lnTo>
                  <a:pt x="4152900" y="3944938"/>
                </a:lnTo>
                <a:lnTo>
                  <a:pt x="4098925" y="3960813"/>
                </a:lnTo>
                <a:lnTo>
                  <a:pt x="4000500" y="3989388"/>
                </a:lnTo>
                <a:lnTo>
                  <a:pt x="3906838" y="4022725"/>
                </a:lnTo>
                <a:lnTo>
                  <a:pt x="3811588" y="4057650"/>
                </a:lnTo>
                <a:lnTo>
                  <a:pt x="3716338" y="4100513"/>
                </a:lnTo>
                <a:lnTo>
                  <a:pt x="3621088" y="4144963"/>
                </a:lnTo>
                <a:lnTo>
                  <a:pt x="3532188" y="4192588"/>
                </a:lnTo>
                <a:lnTo>
                  <a:pt x="3441700" y="4243388"/>
                </a:lnTo>
                <a:lnTo>
                  <a:pt x="3359150" y="4295775"/>
                </a:lnTo>
                <a:lnTo>
                  <a:pt x="3287713" y="4329113"/>
                </a:lnTo>
                <a:lnTo>
                  <a:pt x="3222625" y="4359275"/>
                </a:lnTo>
                <a:lnTo>
                  <a:pt x="3157538" y="4379913"/>
                </a:lnTo>
                <a:lnTo>
                  <a:pt x="3094038" y="4400550"/>
                </a:lnTo>
                <a:lnTo>
                  <a:pt x="3032125" y="4411663"/>
                </a:lnTo>
                <a:lnTo>
                  <a:pt x="2973388" y="4421188"/>
                </a:lnTo>
                <a:lnTo>
                  <a:pt x="2913063" y="4421188"/>
                </a:lnTo>
                <a:lnTo>
                  <a:pt x="2857500" y="4418013"/>
                </a:lnTo>
                <a:lnTo>
                  <a:pt x="2803525" y="4406900"/>
                </a:lnTo>
                <a:lnTo>
                  <a:pt x="2749550" y="4391025"/>
                </a:lnTo>
                <a:lnTo>
                  <a:pt x="2698750" y="4367213"/>
                </a:lnTo>
                <a:lnTo>
                  <a:pt x="2647950" y="4337050"/>
                </a:lnTo>
                <a:lnTo>
                  <a:pt x="2600325" y="4302125"/>
                </a:lnTo>
                <a:lnTo>
                  <a:pt x="2554288" y="4257675"/>
                </a:lnTo>
                <a:lnTo>
                  <a:pt x="2508250" y="4206875"/>
                </a:lnTo>
                <a:lnTo>
                  <a:pt x="2466975" y="4148138"/>
                </a:lnTo>
                <a:lnTo>
                  <a:pt x="2452688" y="4117975"/>
                </a:lnTo>
                <a:lnTo>
                  <a:pt x="2439988" y="4084638"/>
                </a:lnTo>
                <a:lnTo>
                  <a:pt x="2428875" y="4049713"/>
                </a:lnTo>
                <a:lnTo>
                  <a:pt x="2419350" y="4016375"/>
                </a:lnTo>
                <a:lnTo>
                  <a:pt x="2416175" y="3981450"/>
                </a:lnTo>
                <a:lnTo>
                  <a:pt x="2416175" y="3948113"/>
                </a:lnTo>
                <a:lnTo>
                  <a:pt x="2419350" y="3916363"/>
                </a:lnTo>
                <a:lnTo>
                  <a:pt x="2425700" y="3900488"/>
                </a:lnTo>
                <a:lnTo>
                  <a:pt x="2432050" y="3886200"/>
                </a:lnTo>
                <a:lnTo>
                  <a:pt x="2446338" y="3829050"/>
                </a:lnTo>
                <a:lnTo>
                  <a:pt x="2463800" y="3778250"/>
                </a:lnTo>
                <a:lnTo>
                  <a:pt x="2484438" y="3730625"/>
                </a:lnTo>
                <a:lnTo>
                  <a:pt x="2508250" y="3684588"/>
                </a:lnTo>
                <a:lnTo>
                  <a:pt x="2535238" y="3638550"/>
                </a:lnTo>
                <a:lnTo>
                  <a:pt x="2559050" y="3597275"/>
                </a:lnTo>
                <a:lnTo>
                  <a:pt x="2616200" y="3511550"/>
                </a:lnTo>
                <a:lnTo>
                  <a:pt x="2667000" y="3406775"/>
                </a:lnTo>
                <a:lnTo>
                  <a:pt x="2705100" y="3311525"/>
                </a:lnTo>
                <a:lnTo>
                  <a:pt x="2735263" y="3222625"/>
                </a:lnTo>
                <a:lnTo>
                  <a:pt x="2763838" y="3136900"/>
                </a:lnTo>
                <a:lnTo>
                  <a:pt x="2722563" y="3181350"/>
                </a:lnTo>
                <a:lnTo>
                  <a:pt x="2681288" y="3228975"/>
                </a:lnTo>
                <a:lnTo>
                  <a:pt x="2598738" y="3330575"/>
                </a:lnTo>
                <a:lnTo>
                  <a:pt x="2514600" y="3436938"/>
                </a:lnTo>
                <a:lnTo>
                  <a:pt x="2432050" y="3549650"/>
                </a:lnTo>
                <a:lnTo>
                  <a:pt x="2374900" y="3478213"/>
                </a:lnTo>
                <a:lnTo>
                  <a:pt x="2324100" y="3409950"/>
                </a:lnTo>
                <a:lnTo>
                  <a:pt x="2276475" y="3338513"/>
                </a:lnTo>
                <a:lnTo>
                  <a:pt x="2228850" y="3267075"/>
                </a:lnTo>
                <a:lnTo>
                  <a:pt x="2143125" y="3127375"/>
                </a:lnTo>
                <a:lnTo>
                  <a:pt x="2060575" y="2987675"/>
                </a:lnTo>
                <a:lnTo>
                  <a:pt x="2047875" y="2973388"/>
                </a:lnTo>
                <a:lnTo>
                  <a:pt x="2039938" y="2955925"/>
                </a:lnTo>
                <a:lnTo>
                  <a:pt x="2030413" y="2935288"/>
                </a:lnTo>
                <a:lnTo>
                  <a:pt x="2027238" y="2914650"/>
                </a:lnTo>
                <a:lnTo>
                  <a:pt x="2020888" y="2871788"/>
                </a:lnTo>
                <a:lnTo>
                  <a:pt x="2020888" y="2840038"/>
                </a:lnTo>
                <a:lnTo>
                  <a:pt x="2063750" y="2755900"/>
                </a:lnTo>
                <a:lnTo>
                  <a:pt x="2101850" y="2673350"/>
                </a:lnTo>
                <a:lnTo>
                  <a:pt x="2176463" y="2506663"/>
                </a:lnTo>
                <a:lnTo>
                  <a:pt x="2214563" y="2428875"/>
                </a:lnTo>
                <a:lnTo>
                  <a:pt x="2255838" y="2352675"/>
                </a:lnTo>
                <a:lnTo>
                  <a:pt x="2303463" y="2274888"/>
                </a:lnTo>
                <a:lnTo>
                  <a:pt x="2330450" y="2238375"/>
                </a:lnTo>
                <a:lnTo>
                  <a:pt x="2357438" y="2203450"/>
                </a:lnTo>
                <a:lnTo>
                  <a:pt x="2482850" y="2054225"/>
                </a:lnTo>
                <a:lnTo>
                  <a:pt x="2613025" y="1909763"/>
                </a:lnTo>
                <a:lnTo>
                  <a:pt x="2743200" y="1766888"/>
                </a:lnTo>
                <a:lnTo>
                  <a:pt x="2874963" y="1630363"/>
                </a:lnTo>
                <a:lnTo>
                  <a:pt x="3138488" y="1358900"/>
                </a:lnTo>
                <a:lnTo>
                  <a:pt x="3267075" y="1222376"/>
                </a:lnTo>
                <a:lnTo>
                  <a:pt x="3394075" y="1082675"/>
                </a:lnTo>
                <a:lnTo>
                  <a:pt x="3430588" y="1044576"/>
                </a:lnTo>
                <a:lnTo>
                  <a:pt x="3468688" y="1011238"/>
                </a:lnTo>
                <a:lnTo>
                  <a:pt x="3508375" y="984250"/>
                </a:lnTo>
                <a:lnTo>
                  <a:pt x="3546475" y="963613"/>
                </a:lnTo>
                <a:lnTo>
                  <a:pt x="3587750" y="946150"/>
                </a:lnTo>
                <a:lnTo>
                  <a:pt x="3629025" y="933450"/>
                </a:lnTo>
                <a:lnTo>
                  <a:pt x="3671888" y="922338"/>
                </a:lnTo>
                <a:lnTo>
                  <a:pt x="3716338" y="915988"/>
                </a:lnTo>
                <a:lnTo>
                  <a:pt x="3802063" y="904875"/>
                </a:lnTo>
                <a:lnTo>
                  <a:pt x="3890963" y="895350"/>
                </a:lnTo>
                <a:lnTo>
                  <a:pt x="3932238" y="889000"/>
                </a:lnTo>
                <a:lnTo>
                  <a:pt x="3976688" y="881063"/>
                </a:lnTo>
                <a:lnTo>
                  <a:pt x="4022725" y="871538"/>
                </a:lnTo>
                <a:lnTo>
                  <a:pt x="4064000" y="860425"/>
                </a:lnTo>
                <a:lnTo>
                  <a:pt x="4090988" y="857250"/>
                </a:lnTo>
                <a:lnTo>
                  <a:pt x="4117975" y="854075"/>
                </a:lnTo>
                <a:lnTo>
                  <a:pt x="4143375" y="844550"/>
                </a:lnTo>
                <a:lnTo>
                  <a:pt x="4170363" y="836613"/>
                </a:lnTo>
                <a:lnTo>
                  <a:pt x="4191000" y="823913"/>
                </a:lnTo>
                <a:lnTo>
                  <a:pt x="4214813" y="812801"/>
                </a:lnTo>
                <a:lnTo>
                  <a:pt x="4233863" y="796926"/>
                </a:lnTo>
                <a:lnTo>
                  <a:pt x="4248150" y="785813"/>
                </a:lnTo>
                <a:lnTo>
                  <a:pt x="3876675" y="785813"/>
                </a:lnTo>
                <a:lnTo>
                  <a:pt x="3906838" y="728663"/>
                </a:lnTo>
                <a:lnTo>
                  <a:pt x="3938588" y="677863"/>
                </a:lnTo>
                <a:lnTo>
                  <a:pt x="3971925" y="630238"/>
                </a:lnTo>
                <a:lnTo>
                  <a:pt x="4006850" y="585788"/>
                </a:lnTo>
                <a:lnTo>
                  <a:pt x="4046538" y="544513"/>
                </a:lnTo>
                <a:lnTo>
                  <a:pt x="4084638" y="506413"/>
                </a:lnTo>
                <a:lnTo>
                  <a:pt x="4125913" y="466725"/>
                </a:lnTo>
                <a:lnTo>
                  <a:pt x="4170363" y="434975"/>
                </a:lnTo>
                <a:lnTo>
                  <a:pt x="4211638" y="401638"/>
                </a:lnTo>
                <a:lnTo>
                  <a:pt x="4259263" y="373063"/>
                </a:lnTo>
                <a:lnTo>
                  <a:pt x="4303713" y="342900"/>
                </a:lnTo>
                <a:lnTo>
                  <a:pt x="4351338" y="315913"/>
                </a:lnTo>
                <a:lnTo>
                  <a:pt x="4446588" y="268288"/>
                </a:lnTo>
                <a:lnTo>
                  <a:pt x="4545013" y="223838"/>
                </a:lnTo>
                <a:lnTo>
                  <a:pt x="4654550" y="193675"/>
                </a:lnTo>
                <a:lnTo>
                  <a:pt x="4768850" y="163513"/>
                </a:lnTo>
                <a:lnTo>
                  <a:pt x="4991101" y="98425"/>
                </a:lnTo>
                <a:lnTo>
                  <a:pt x="5100638" y="69850"/>
                </a:lnTo>
                <a:lnTo>
                  <a:pt x="5213351" y="39688"/>
                </a:lnTo>
                <a:lnTo>
                  <a:pt x="5324476" y="19050"/>
                </a:lnTo>
                <a:close/>
              </a:path>
            </a:pathLst>
          </a:custGeom>
          <a:solidFill>
            <a:schemeClr val="accent6"/>
          </a:solidFill>
          <a:ln>
            <a:noFill/>
          </a:ln>
        </p:spPr>
        <p:txBody>
          <a:bodyPr vert="horz" wrap="square" lIns="89592" tIns="44796" rIns="89592" bIns="44796" numCol="1" anchor="t" anchorCtr="0" compatLnSpc="1">
            <a:prstTxWarp prst="textNoShape">
              <a:avLst/>
            </a:prstTxWarp>
          </a:bodyPr>
          <a:lstStyle/>
          <a:p>
            <a:pPr defTabSz="912803" fontAlgn="base"/>
            <a:endParaRPr lang="en-IN" sz="1567" dirty="0">
              <a:solidFill>
                <a:srgbClr val="000000"/>
              </a:solidFill>
            </a:endParaRPr>
          </a:p>
        </p:txBody>
      </p:sp>
    </p:spTree>
    <p:extLst>
      <p:ext uri="{BB962C8B-B14F-4D97-AF65-F5344CB8AC3E}">
        <p14:creationId xmlns:p14="http://schemas.microsoft.com/office/powerpoint/2010/main" val="123517256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DL Store is HDFS-compatible</a:t>
            </a:r>
          </a:p>
        </p:txBody>
      </p:sp>
      <p:sp>
        <p:nvSpPr>
          <p:cNvPr id="4" name="Rectangle 3"/>
          <p:cNvSpPr/>
          <p:nvPr/>
        </p:nvSpPr>
        <p:spPr>
          <a:xfrm>
            <a:off x="434975" y="1113848"/>
            <a:ext cx="11322050" cy="923330"/>
          </a:xfrm>
          <a:prstGeom prst="rect">
            <a:avLst/>
          </a:prstGeom>
          <a:noFill/>
        </p:spPr>
        <p:txBody>
          <a:bodyPr wrap="square" lIns="0" tIns="91440" rIns="0" bIns="91440">
            <a:spAutoFit/>
          </a:bodyPr>
          <a:lstStyle/>
          <a:p>
            <a:r>
              <a:rPr lang="en-US" sz="2400" dirty="0">
                <a:solidFill>
                  <a:schemeClr val="accent2"/>
                </a:solidFill>
                <a:latin typeface="+mj-lt"/>
              </a:rPr>
              <a:t>With a WebHDFS endpoint Azure Data Lake Store is a Hadoop-compatible file system that integrates seamlessly with Azure HDInsight</a:t>
            </a:r>
          </a:p>
        </p:txBody>
      </p:sp>
      <p:sp>
        <p:nvSpPr>
          <p:cNvPr id="5" name="Slide Number Placeholder 4"/>
          <p:cNvSpPr>
            <a:spLocks noGrp="1"/>
          </p:cNvSpPr>
          <p:nvPr>
            <p:ph type="sldNum" sz="quarter" idx="4"/>
          </p:nvPr>
        </p:nvSpPr>
        <p:spPr/>
        <p:txBody>
          <a:bodyPr/>
          <a:lstStyle/>
          <a:p>
            <a:pPr>
              <a:defRPr/>
            </a:pPr>
            <a:fld id="{75FAD755-3BD0-2447-A9DF-109DAABEFD99}" type="slidenum">
              <a:rPr lang="en-US" smtClean="0"/>
              <a:pPr>
                <a:defRPr/>
              </a:pPr>
              <a:t>33</a:t>
            </a:fld>
            <a:endParaRPr lang="en-US" dirty="0"/>
          </a:p>
        </p:txBody>
      </p:sp>
      <p:grpSp>
        <p:nvGrpSpPr>
          <p:cNvPr id="39" name="Group 38"/>
          <p:cNvGrpSpPr/>
          <p:nvPr/>
        </p:nvGrpSpPr>
        <p:grpSpPr>
          <a:xfrm>
            <a:off x="461183" y="2185436"/>
            <a:ext cx="11531595" cy="708780"/>
            <a:chOff x="452117" y="2142779"/>
            <a:chExt cx="11304908" cy="694945"/>
          </a:xfrm>
        </p:grpSpPr>
        <p:sp>
          <p:nvSpPr>
            <p:cNvPr id="40" name="TextBox 39"/>
            <p:cNvSpPr txBox="1"/>
            <p:nvPr/>
          </p:nvSpPr>
          <p:spPr>
            <a:xfrm>
              <a:off x="452117" y="2142780"/>
              <a:ext cx="1387239" cy="694944"/>
            </a:xfrm>
            <a:prstGeom prst="rect">
              <a:avLst/>
            </a:prstGeom>
            <a:solidFill>
              <a:srgbClr val="969696"/>
            </a:solidFill>
          </p:spPr>
          <p:txBody>
            <a:bodyPr wrap="square" lIns="91440" tIns="146304" rIns="91440" bIns="146304" rtlCol="0" anchor="ctr" anchorCtr="0">
              <a:noAutofit/>
            </a:bodyPr>
            <a:lstStyle/>
            <a:p>
              <a:pPr algn="ctr" defTabSz="951358">
                <a:defRPr/>
              </a:pPr>
              <a:r>
                <a:rPr lang="en-US" sz="1400" kern="0" dirty="0">
                  <a:solidFill>
                    <a:srgbClr val="FFFFFF"/>
                  </a:solidFill>
                  <a:latin typeface="Segoe UI Semibold" panose="020B0702040204020203" pitchFamily="34" charset="0"/>
                  <a:cs typeface="Segoe UI Semibold" panose="020B0702040204020203" pitchFamily="34" charset="0"/>
                </a:rPr>
                <a:t>Map reduce</a:t>
              </a:r>
            </a:p>
          </p:txBody>
        </p:sp>
        <p:sp>
          <p:nvSpPr>
            <p:cNvPr id="41" name="TextBox 40"/>
            <p:cNvSpPr txBox="1"/>
            <p:nvPr/>
          </p:nvSpPr>
          <p:spPr>
            <a:xfrm>
              <a:off x="3332023" y="2142779"/>
              <a:ext cx="1572546" cy="694944"/>
            </a:xfrm>
            <a:prstGeom prst="rect">
              <a:avLst/>
            </a:prstGeom>
            <a:solidFill>
              <a:srgbClr val="FF8C00"/>
            </a:solidFill>
          </p:spPr>
          <p:txBody>
            <a:bodyPr wrap="square" lIns="91440" tIns="146304" rIns="91440" bIns="146304" rtlCol="0" anchor="ctr" anchorCtr="0">
              <a:noAutofit/>
            </a:bodyPr>
            <a:lstStyle/>
            <a:p>
              <a:pPr algn="ctr" defTabSz="951358">
                <a:defRPr/>
              </a:pPr>
              <a:r>
                <a:rPr lang="en-US" sz="1400" kern="0" dirty="0">
                  <a:solidFill>
                    <a:srgbClr val="FFFFFF"/>
                  </a:solidFill>
                  <a:latin typeface="Segoe UI Semibold" panose="020B0702040204020203" pitchFamily="34" charset="0"/>
                  <a:cs typeface="Segoe UI Semibold" panose="020B0702040204020203" pitchFamily="34" charset="0"/>
                </a:rPr>
                <a:t>HBase transactions</a:t>
              </a:r>
            </a:p>
          </p:txBody>
        </p:sp>
        <p:sp>
          <p:nvSpPr>
            <p:cNvPr id="42" name="TextBox 41"/>
            <p:cNvSpPr txBox="1"/>
            <p:nvPr/>
          </p:nvSpPr>
          <p:spPr>
            <a:xfrm>
              <a:off x="7321456" y="2142780"/>
              <a:ext cx="4435569" cy="694944"/>
            </a:xfrm>
            <a:prstGeom prst="rect">
              <a:avLst/>
            </a:prstGeom>
            <a:solidFill>
              <a:srgbClr val="0070C0"/>
            </a:solidFill>
            <a:ln>
              <a:solidFill>
                <a:schemeClr val="tx1"/>
              </a:solidFill>
            </a:ln>
          </p:spPr>
          <p:txBody>
            <a:bodyPr wrap="square" lIns="182880" tIns="146304" rIns="182880" bIns="146304" rtlCol="0" anchor="ctr">
              <a:noAutofit/>
            </a:bodyPr>
            <a:lstStyle/>
            <a:p>
              <a:pPr algn="ctr" defTabSz="951358">
                <a:defRPr/>
              </a:pPr>
              <a:r>
                <a:rPr lang="en-US" sz="1400" kern="0" dirty="0">
                  <a:solidFill>
                    <a:srgbClr val="FFFFFF"/>
                  </a:solidFill>
                  <a:latin typeface="Segoe UI Semibold" panose="020B0702040204020203" pitchFamily="34" charset="0"/>
                  <a:cs typeface="Segoe UI Semibold" panose="020B0702040204020203" pitchFamily="34" charset="0"/>
                </a:rPr>
                <a:t>Any HDFS application</a:t>
              </a:r>
            </a:p>
          </p:txBody>
        </p:sp>
        <p:sp>
          <p:nvSpPr>
            <p:cNvPr id="43" name="TextBox 42"/>
            <p:cNvSpPr txBox="1"/>
            <p:nvPr/>
          </p:nvSpPr>
          <p:spPr>
            <a:xfrm>
              <a:off x="1946105" y="2142780"/>
              <a:ext cx="1278235" cy="694944"/>
            </a:xfrm>
            <a:prstGeom prst="rect">
              <a:avLst/>
            </a:prstGeom>
            <a:solidFill>
              <a:srgbClr val="FFC000"/>
            </a:solidFill>
          </p:spPr>
          <p:txBody>
            <a:bodyPr wrap="square" lIns="91440" tIns="146304" rIns="91440" bIns="146304" rtlCol="0" anchor="ctr" anchorCtr="0">
              <a:noAutofit/>
            </a:bodyPr>
            <a:lstStyle/>
            <a:p>
              <a:pPr algn="ctr" defTabSz="951358">
                <a:defRPr/>
              </a:pPr>
              <a:r>
                <a:rPr lang="en-US" sz="1400" kern="0" dirty="0">
                  <a:solidFill>
                    <a:srgbClr val="FFFFFF"/>
                  </a:solidFill>
                  <a:latin typeface="Segoe UI Semibold" panose="020B0702040204020203" pitchFamily="34" charset="0"/>
                  <a:cs typeface="Segoe UI Semibold" panose="020B0702040204020203" pitchFamily="34" charset="0"/>
                </a:rPr>
                <a:t>Hive query</a:t>
              </a:r>
            </a:p>
          </p:txBody>
        </p:sp>
      </p:grpSp>
      <p:cxnSp>
        <p:nvCxnSpPr>
          <p:cNvPr id="45" name="Straight Arrow Connector 44"/>
          <p:cNvCxnSpPr>
            <a:stCxn id="40" idx="2"/>
          </p:cNvCxnSpPr>
          <p:nvPr/>
        </p:nvCxnSpPr>
        <p:spPr>
          <a:xfrm>
            <a:off x="1168714" y="2894222"/>
            <a:ext cx="2065" cy="345643"/>
          </a:xfrm>
          <a:prstGeom prst="straightConnector1">
            <a:avLst/>
          </a:prstGeom>
          <a:noFill/>
          <a:ln w="19050" cap="flat" cmpd="sng" algn="ctr">
            <a:solidFill>
              <a:schemeClr val="bg1">
                <a:lumMod val="50000"/>
              </a:schemeClr>
            </a:solidFill>
            <a:prstDash val="solid"/>
            <a:miter lim="800000"/>
            <a:headEnd type="none"/>
            <a:tailEnd type="triangle" w="med" len="sm"/>
          </a:ln>
          <a:effectLst/>
        </p:spPr>
      </p:cxnSp>
      <p:cxnSp>
        <p:nvCxnSpPr>
          <p:cNvPr id="47" name="Straight Arrow Connector 46"/>
          <p:cNvCxnSpPr/>
          <p:nvPr/>
        </p:nvCxnSpPr>
        <p:spPr>
          <a:xfrm>
            <a:off x="2634639" y="2895280"/>
            <a:ext cx="2065" cy="344580"/>
          </a:xfrm>
          <a:prstGeom prst="straightConnector1">
            <a:avLst/>
          </a:prstGeom>
          <a:noFill/>
          <a:ln w="19050" cap="flat" cmpd="sng" algn="ctr">
            <a:solidFill>
              <a:schemeClr val="bg1">
                <a:lumMod val="50000"/>
              </a:schemeClr>
            </a:solidFill>
            <a:prstDash val="solid"/>
            <a:miter lim="800000"/>
            <a:headEnd type="none"/>
            <a:tailEnd type="triangle" w="med" len="sm"/>
          </a:ln>
          <a:effectLst/>
        </p:spPr>
      </p:cxnSp>
      <p:cxnSp>
        <p:nvCxnSpPr>
          <p:cNvPr id="48" name="Straight Arrow Connector 47"/>
          <p:cNvCxnSpPr/>
          <p:nvPr/>
        </p:nvCxnSpPr>
        <p:spPr>
          <a:xfrm>
            <a:off x="4196020" y="2895280"/>
            <a:ext cx="2065" cy="344580"/>
          </a:xfrm>
          <a:prstGeom prst="straightConnector1">
            <a:avLst/>
          </a:prstGeom>
          <a:noFill/>
          <a:ln w="19050" cap="flat" cmpd="sng" algn="ctr">
            <a:solidFill>
              <a:schemeClr val="bg1">
                <a:lumMod val="50000"/>
              </a:schemeClr>
            </a:solidFill>
            <a:prstDash val="solid"/>
            <a:miter lim="800000"/>
            <a:headEnd type="none"/>
            <a:tailEnd type="triangle" w="med" len="sm"/>
          </a:ln>
          <a:effectLst/>
        </p:spPr>
      </p:cxnSp>
      <p:grpSp>
        <p:nvGrpSpPr>
          <p:cNvPr id="54" name="Group 53"/>
          <p:cNvGrpSpPr/>
          <p:nvPr/>
        </p:nvGrpSpPr>
        <p:grpSpPr>
          <a:xfrm>
            <a:off x="461183" y="3211187"/>
            <a:ext cx="6290454" cy="859774"/>
            <a:chOff x="452117" y="3148508"/>
            <a:chExt cx="6166797" cy="842992"/>
          </a:xfrm>
        </p:grpSpPr>
        <p:sp>
          <p:nvSpPr>
            <p:cNvPr id="55" name="Rectangle 54"/>
            <p:cNvSpPr/>
            <p:nvPr/>
          </p:nvSpPr>
          <p:spPr bwMode="auto">
            <a:xfrm>
              <a:off x="452117" y="3183089"/>
              <a:ext cx="6166797" cy="808411"/>
            </a:xfrm>
            <a:prstGeom prst="rect">
              <a:avLst/>
            </a:prstGeom>
            <a:solidFill>
              <a:srgbClr val="0078D7">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1083" fontAlgn="base">
                <a:defRPr/>
              </a:pPr>
              <a:endParaRPr lang="en-US" sz="1100" kern="0" dirty="0">
                <a:gradFill>
                  <a:gsLst>
                    <a:gs pos="0">
                      <a:srgbClr val="FFFFFF"/>
                    </a:gs>
                    <a:gs pos="100000">
                      <a:srgbClr val="FFFFFF"/>
                    </a:gs>
                  </a:gsLst>
                  <a:lin ang="5400000" scaled="0"/>
                </a:gradFill>
                <a:latin typeface="Cambria" panose="02040503050406030204" pitchFamily="18" charset="0"/>
                <a:ea typeface="Segoe UI" pitchFamily="34" charset="0"/>
                <a:cs typeface="Segoe UI Light" panose="020B0502040204020203" pitchFamily="34" charset="0"/>
              </a:endParaRPr>
            </a:p>
          </p:txBody>
        </p:sp>
        <p:sp>
          <p:nvSpPr>
            <p:cNvPr id="56" name="TextBox 55"/>
            <p:cNvSpPr txBox="1"/>
            <p:nvPr/>
          </p:nvSpPr>
          <p:spPr>
            <a:xfrm>
              <a:off x="1589550" y="3148508"/>
              <a:ext cx="2176653" cy="510909"/>
            </a:xfrm>
            <a:prstGeom prst="rect">
              <a:avLst/>
            </a:prstGeom>
            <a:noFill/>
          </p:spPr>
          <p:txBody>
            <a:bodyPr wrap="square" lIns="182880" tIns="146304" rIns="182880" bIns="146304" rtlCol="0">
              <a:spAutoFit/>
            </a:bodyPr>
            <a:lstStyle/>
            <a:p>
              <a:pPr algn="ctr" defTabSz="951358">
                <a:defRPr/>
              </a:pPr>
              <a:r>
                <a:rPr lang="en-US" sz="1400" kern="0" dirty="0">
                  <a:solidFill>
                    <a:srgbClr val="FFFFFF"/>
                  </a:solidFill>
                  <a:latin typeface="Segoe UI Semibold" panose="020B0702040204020203" pitchFamily="34" charset="0"/>
                  <a:cs typeface="Segoe UI Semibold" panose="020B0702040204020203" pitchFamily="34" charset="0"/>
                </a:rPr>
                <a:t>Azure HDInsight</a:t>
              </a:r>
            </a:p>
          </p:txBody>
        </p:sp>
        <p:sp>
          <p:nvSpPr>
            <p:cNvPr id="57" name="Rectangle 56"/>
            <p:cNvSpPr/>
            <p:nvPr/>
          </p:nvSpPr>
          <p:spPr bwMode="auto">
            <a:xfrm>
              <a:off x="556643" y="3610893"/>
              <a:ext cx="5987569" cy="342341"/>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51083" fontAlgn="base">
                <a:defRPr/>
              </a:pPr>
              <a:r>
                <a:rPr lang="en-US" sz="1400" kern="0" dirty="0">
                  <a:solidFill>
                    <a:srgbClr val="505050"/>
                  </a:solidFill>
                  <a:latin typeface="Segoe UI Semibold" panose="020B0702040204020203" pitchFamily="34" charset="0"/>
                  <a:ea typeface="Segoe UI" pitchFamily="34" charset="0"/>
                  <a:cs typeface="Segoe UI Semibold" panose="020B0702040204020203" pitchFamily="34" charset="0"/>
                </a:rPr>
                <a:t>Hadoop WebHDFS client</a:t>
              </a:r>
            </a:p>
          </p:txBody>
        </p:sp>
        <p:sp>
          <p:nvSpPr>
            <p:cNvPr id="58" name="Freeform 78"/>
            <p:cNvSpPr>
              <a:spLocks noChangeAspect="1"/>
            </p:cNvSpPr>
            <p:nvPr/>
          </p:nvSpPr>
          <p:spPr bwMode="auto">
            <a:xfrm>
              <a:off x="603854" y="3244188"/>
              <a:ext cx="455636" cy="319551"/>
            </a:xfrm>
            <a:custGeom>
              <a:avLst/>
              <a:gdLst>
                <a:gd name="connsiteX0" fmla="*/ 5546725 w 8802688"/>
                <a:gd name="connsiteY0" fmla="*/ 4819650 h 6677025"/>
                <a:gd name="connsiteX1" fmla="*/ 5573713 w 8802688"/>
                <a:gd name="connsiteY1" fmla="*/ 4926013 h 6677025"/>
                <a:gd name="connsiteX2" fmla="*/ 5603875 w 8802688"/>
                <a:gd name="connsiteY2" fmla="*/ 5024438 h 6677025"/>
                <a:gd name="connsiteX3" fmla="*/ 5630863 w 8802688"/>
                <a:gd name="connsiteY3" fmla="*/ 5122863 h 6677025"/>
                <a:gd name="connsiteX4" fmla="*/ 5657850 w 8802688"/>
                <a:gd name="connsiteY4" fmla="*/ 5229225 h 6677025"/>
                <a:gd name="connsiteX5" fmla="*/ 5668963 w 8802688"/>
                <a:gd name="connsiteY5" fmla="*/ 5313363 h 6677025"/>
                <a:gd name="connsiteX6" fmla="*/ 5681663 w 8802688"/>
                <a:gd name="connsiteY6" fmla="*/ 5399088 h 6677025"/>
                <a:gd name="connsiteX7" fmla="*/ 5686425 w 8802688"/>
                <a:gd name="connsiteY7" fmla="*/ 5484813 h 6677025"/>
                <a:gd name="connsiteX8" fmla="*/ 5689600 w 8802688"/>
                <a:gd name="connsiteY8" fmla="*/ 5572126 h 6677025"/>
                <a:gd name="connsiteX9" fmla="*/ 5695950 w 8802688"/>
                <a:gd name="connsiteY9" fmla="*/ 5749926 h 6677025"/>
                <a:gd name="connsiteX10" fmla="*/ 5695950 w 8802688"/>
                <a:gd name="connsiteY10" fmla="*/ 5940426 h 6677025"/>
                <a:gd name="connsiteX11" fmla="*/ 5692775 w 8802688"/>
                <a:gd name="connsiteY11" fmla="*/ 5957888 h 6677025"/>
                <a:gd name="connsiteX12" fmla="*/ 5689600 w 8802688"/>
                <a:gd name="connsiteY12" fmla="*/ 5978526 h 6677025"/>
                <a:gd name="connsiteX13" fmla="*/ 5681663 w 8802688"/>
                <a:gd name="connsiteY13" fmla="*/ 6002338 h 6677025"/>
                <a:gd name="connsiteX14" fmla="*/ 5672138 w 8802688"/>
                <a:gd name="connsiteY14" fmla="*/ 6029326 h 6677025"/>
                <a:gd name="connsiteX15" fmla="*/ 5659438 w 8802688"/>
                <a:gd name="connsiteY15" fmla="*/ 6053138 h 6677025"/>
                <a:gd name="connsiteX16" fmla="*/ 5648325 w 8802688"/>
                <a:gd name="connsiteY16" fmla="*/ 6070601 h 6677025"/>
                <a:gd name="connsiteX17" fmla="*/ 5634038 w 8802688"/>
                <a:gd name="connsiteY17" fmla="*/ 6086476 h 6677025"/>
                <a:gd name="connsiteX18" fmla="*/ 5627688 w 8802688"/>
                <a:gd name="connsiteY18" fmla="*/ 6088063 h 6677025"/>
                <a:gd name="connsiteX19" fmla="*/ 5621338 w 8802688"/>
                <a:gd name="connsiteY19" fmla="*/ 6088063 h 6677025"/>
                <a:gd name="connsiteX20" fmla="*/ 5526088 w 8802688"/>
                <a:gd name="connsiteY20" fmla="*/ 6100763 h 6677025"/>
                <a:gd name="connsiteX21" fmla="*/ 5430838 w 8802688"/>
                <a:gd name="connsiteY21" fmla="*/ 6107113 h 6677025"/>
                <a:gd name="connsiteX22" fmla="*/ 5338763 w 8802688"/>
                <a:gd name="connsiteY22" fmla="*/ 6107113 h 6677025"/>
                <a:gd name="connsiteX23" fmla="*/ 5249862 w 8802688"/>
                <a:gd name="connsiteY23" fmla="*/ 6103938 h 6677025"/>
                <a:gd name="connsiteX24" fmla="*/ 5068887 w 8802688"/>
                <a:gd name="connsiteY24" fmla="*/ 6094413 h 6677025"/>
                <a:gd name="connsiteX25" fmla="*/ 4973637 w 8802688"/>
                <a:gd name="connsiteY25" fmla="*/ 6091238 h 6677025"/>
                <a:gd name="connsiteX26" fmla="*/ 4878387 w 8802688"/>
                <a:gd name="connsiteY26" fmla="*/ 6088063 h 6677025"/>
                <a:gd name="connsiteX27" fmla="*/ 5045075 w 8802688"/>
                <a:gd name="connsiteY27" fmla="*/ 5780088 h 6677025"/>
                <a:gd name="connsiteX28" fmla="*/ 5213350 w 8802688"/>
                <a:gd name="connsiteY28" fmla="*/ 5467350 h 6677025"/>
                <a:gd name="connsiteX29" fmla="*/ 5380038 w 8802688"/>
                <a:gd name="connsiteY29" fmla="*/ 5149850 h 6677025"/>
                <a:gd name="connsiteX30" fmla="*/ 576262 w 8802688"/>
                <a:gd name="connsiteY30" fmla="*/ 4632325 h 6677025"/>
                <a:gd name="connsiteX31" fmla="*/ 685799 w 8802688"/>
                <a:gd name="connsiteY31" fmla="*/ 4827588 h 6677025"/>
                <a:gd name="connsiteX32" fmla="*/ 796925 w 8802688"/>
                <a:gd name="connsiteY32" fmla="*/ 5030788 h 6677025"/>
                <a:gd name="connsiteX33" fmla="*/ 909637 w 8802688"/>
                <a:gd name="connsiteY33" fmla="*/ 5235575 h 6677025"/>
                <a:gd name="connsiteX34" fmla="*/ 1019175 w 8802688"/>
                <a:gd name="connsiteY34" fmla="*/ 5456238 h 6677025"/>
                <a:gd name="connsiteX35" fmla="*/ 1031875 w 8802688"/>
                <a:gd name="connsiteY35" fmla="*/ 5481638 h 6677025"/>
                <a:gd name="connsiteX36" fmla="*/ 1039812 w 8802688"/>
                <a:gd name="connsiteY36" fmla="*/ 5508626 h 6677025"/>
                <a:gd name="connsiteX37" fmla="*/ 1046162 w 8802688"/>
                <a:gd name="connsiteY37" fmla="*/ 5532438 h 6677025"/>
                <a:gd name="connsiteX38" fmla="*/ 1049337 w 8802688"/>
                <a:gd name="connsiteY38" fmla="*/ 5559426 h 6677025"/>
                <a:gd name="connsiteX39" fmla="*/ 1049337 w 8802688"/>
                <a:gd name="connsiteY39" fmla="*/ 5580063 h 6677025"/>
                <a:gd name="connsiteX40" fmla="*/ 1046162 w 8802688"/>
                <a:gd name="connsiteY40" fmla="*/ 5600701 h 6677025"/>
                <a:gd name="connsiteX41" fmla="*/ 1039812 w 8802688"/>
                <a:gd name="connsiteY41" fmla="*/ 5621338 h 6677025"/>
                <a:gd name="connsiteX42" fmla="*/ 1028699 w 8802688"/>
                <a:gd name="connsiteY42" fmla="*/ 5640388 h 6677025"/>
                <a:gd name="connsiteX43" fmla="*/ 1019175 w 8802688"/>
                <a:gd name="connsiteY43" fmla="*/ 5657851 h 6677025"/>
                <a:gd name="connsiteX44" fmla="*/ 1004887 w 8802688"/>
                <a:gd name="connsiteY44" fmla="*/ 5672138 h 6677025"/>
                <a:gd name="connsiteX45" fmla="*/ 987425 w 8802688"/>
                <a:gd name="connsiteY45" fmla="*/ 5684838 h 6677025"/>
                <a:gd name="connsiteX46" fmla="*/ 968375 w 8802688"/>
                <a:gd name="connsiteY46" fmla="*/ 5695951 h 6677025"/>
                <a:gd name="connsiteX47" fmla="*/ 947737 w 8802688"/>
                <a:gd name="connsiteY47" fmla="*/ 5705476 h 6677025"/>
                <a:gd name="connsiteX48" fmla="*/ 923925 w 8802688"/>
                <a:gd name="connsiteY48" fmla="*/ 5711826 h 6677025"/>
                <a:gd name="connsiteX49" fmla="*/ 896937 w 8802688"/>
                <a:gd name="connsiteY49" fmla="*/ 5713413 h 6677025"/>
                <a:gd name="connsiteX50" fmla="*/ 871537 w 8802688"/>
                <a:gd name="connsiteY50" fmla="*/ 5716588 h 6677025"/>
                <a:gd name="connsiteX51" fmla="*/ 844549 w 8802688"/>
                <a:gd name="connsiteY51" fmla="*/ 5716588 h 6677025"/>
                <a:gd name="connsiteX52" fmla="*/ 814387 w 8802688"/>
                <a:gd name="connsiteY52" fmla="*/ 5716588 h 6677025"/>
                <a:gd name="connsiteX53" fmla="*/ 787399 w 8802688"/>
                <a:gd name="connsiteY53" fmla="*/ 5713413 h 6677025"/>
                <a:gd name="connsiteX54" fmla="*/ 757237 w 8802688"/>
                <a:gd name="connsiteY54" fmla="*/ 5711826 h 6677025"/>
                <a:gd name="connsiteX55" fmla="*/ 728662 w 8802688"/>
                <a:gd name="connsiteY55" fmla="*/ 5702301 h 6677025"/>
                <a:gd name="connsiteX56" fmla="*/ 695325 w 8802688"/>
                <a:gd name="connsiteY56" fmla="*/ 5692776 h 6677025"/>
                <a:gd name="connsiteX57" fmla="*/ 636587 w 8802688"/>
                <a:gd name="connsiteY57" fmla="*/ 5668963 h 6677025"/>
                <a:gd name="connsiteX58" fmla="*/ 576262 w 8802688"/>
                <a:gd name="connsiteY58" fmla="*/ 5637213 h 6677025"/>
                <a:gd name="connsiteX59" fmla="*/ 520699 w 8802688"/>
                <a:gd name="connsiteY59" fmla="*/ 5600701 h 6677025"/>
                <a:gd name="connsiteX60" fmla="*/ 463549 w 8802688"/>
                <a:gd name="connsiteY60" fmla="*/ 5556251 h 6677025"/>
                <a:gd name="connsiteX61" fmla="*/ 406399 w 8802688"/>
                <a:gd name="connsiteY61" fmla="*/ 5508626 h 6677025"/>
                <a:gd name="connsiteX62" fmla="*/ 360362 w 8802688"/>
                <a:gd name="connsiteY62" fmla="*/ 5457826 h 6677025"/>
                <a:gd name="connsiteX63" fmla="*/ 312737 w 8802688"/>
                <a:gd name="connsiteY63" fmla="*/ 5405438 h 6677025"/>
                <a:gd name="connsiteX64" fmla="*/ 269875 w 8802688"/>
                <a:gd name="connsiteY64" fmla="*/ 5351463 h 6677025"/>
                <a:gd name="connsiteX65" fmla="*/ 234949 w 8802688"/>
                <a:gd name="connsiteY65" fmla="*/ 5294313 h 6677025"/>
                <a:gd name="connsiteX66" fmla="*/ 207962 w 8802688"/>
                <a:gd name="connsiteY66" fmla="*/ 5238750 h 6677025"/>
                <a:gd name="connsiteX67" fmla="*/ 184149 w 8802688"/>
                <a:gd name="connsiteY67" fmla="*/ 5184775 h 6677025"/>
                <a:gd name="connsiteX68" fmla="*/ 177799 w 8802688"/>
                <a:gd name="connsiteY68" fmla="*/ 5157788 h 6677025"/>
                <a:gd name="connsiteX69" fmla="*/ 173037 w 8802688"/>
                <a:gd name="connsiteY69" fmla="*/ 5130800 h 6677025"/>
                <a:gd name="connsiteX70" fmla="*/ 169862 w 8802688"/>
                <a:gd name="connsiteY70" fmla="*/ 5105400 h 6677025"/>
                <a:gd name="connsiteX71" fmla="*/ 166687 w 8802688"/>
                <a:gd name="connsiteY71" fmla="*/ 5081588 h 6677025"/>
                <a:gd name="connsiteX72" fmla="*/ 169862 w 8802688"/>
                <a:gd name="connsiteY72" fmla="*/ 5054600 h 6677025"/>
                <a:gd name="connsiteX73" fmla="*/ 173037 w 8802688"/>
                <a:gd name="connsiteY73" fmla="*/ 5024438 h 6677025"/>
                <a:gd name="connsiteX74" fmla="*/ 180975 w 8802688"/>
                <a:gd name="connsiteY74" fmla="*/ 4997450 h 6677025"/>
                <a:gd name="connsiteX75" fmla="*/ 190499 w 8802688"/>
                <a:gd name="connsiteY75" fmla="*/ 4973638 h 6677025"/>
                <a:gd name="connsiteX76" fmla="*/ 201612 w 8802688"/>
                <a:gd name="connsiteY76" fmla="*/ 4949825 h 6677025"/>
                <a:gd name="connsiteX77" fmla="*/ 214312 w 8802688"/>
                <a:gd name="connsiteY77" fmla="*/ 4929188 h 6677025"/>
                <a:gd name="connsiteX78" fmla="*/ 228599 w 8802688"/>
                <a:gd name="connsiteY78" fmla="*/ 4908550 h 6677025"/>
                <a:gd name="connsiteX79" fmla="*/ 241299 w 8802688"/>
                <a:gd name="connsiteY79" fmla="*/ 4894263 h 6677025"/>
                <a:gd name="connsiteX80" fmla="*/ 285749 w 8802688"/>
                <a:gd name="connsiteY80" fmla="*/ 4851400 h 6677025"/>
                <a:gd name="connsiteX81" fmla="*/ 330199 w 8802688"/>
                <a:gd name="connsiteY81" fmla="*/ 4816475 h 6677025"/>
                <a:gd name="connsiteX82" fmla="*/ 377825 w 8802688"/>
                <a:gd name="connsiteY82" fmla="*/ 4779963 h 6677025"/>
                <a:gd name="connsiteX83" fmla="*/ 422275 w 8802688"/>
                <a:gd name="connsiteY83" fmla="*/ 4748213 h 6677025"/>
                <a:gd name="connsiteX84" fmla="*/ 507999 w 8802688"/>
                <a:gd name="connsiteY84" fmla="*/ 4687888 h 6677025"/>
                <a:gd name="connsiteX85" fmla="*/ 544512 w 8802688"/>
                <a:gd name="connsiteY85" fmla="*/ 4662488 h 6677025"/>
                <a:gd name="connsiteX86" fmla="*/ 6180138 w 8802688"/>
                <a:gd name="connsiteY86" fmla="*/ 3546475 h 6677025"/>
                <a:gd name="connsiteX87" fmla="*/ 6124576 w 8802688"/>
                <a:gd name="connsiteY87" fmla="*/ 3562350 h 6677025"/>
                <a:gd name="connsiteX88" fmla="*/ 6076951 w 8802688"/>
                <a:gd name="connsiteY88" fmla="*/ 3579813 h 6677025"/>
                <a:gd name="connsiteX89" fmla="*/ 6037263 w 8802688"/>
                <a:gd name="connsiteY89" fmla="*/ 3600450 h 6677025"/>
                <a:gd name="connsiteX90" fmla="*/ 6002338 w 8802688"/>
                <a:gd name="connsiteY90" fmla="*/ 3624263 h 6677025"/>
                <a:gd name="connsiteX91" fmla="*/ 5978526 w 8802688"/>
                <a:gd name="connsiteY91" fmla="*/ 3651250 h 6677025"/>
                <a:gd name="connsiteX92" fmla="*/ 5961063 w 8802688"/>
                <a:gd name="connsiteY92" fmla="*/ 3678238 h 6677025"/>
                <a:gd name="connsiteX93" fmla="*/ 5948363 w 8802688"/>
                <a:gd name="connsiteY93" fmla="*/ 3705225 h 6677025"/>
                <a:gd name="connsiteX94" fmla="*/ 5945188 w 8802688"/>
                <a:gd name="connsiteY94" fmla="*/ 3719513 h 6677025"/>
                <a:gd name="connsiteX95" fmla="*/ 5945188 w 8802688"/>
                <a:gd name="connsiteY95" fmla="*/ 3733800 h 6677025"/>
                <a:gd name="connsiteX96" fmla="*/ 5986463 w 8802688"/>
                <a:gd name="connsiteY96" fmla="*/ 3698875 h 6677025"/>
                <a:gd name="connsiteX97" fmla="*/ 6046788 w 8802688"/>
                <a:gd name="connsiteY97" fmla="*/ 3654425 h 6677025"/>
                <a:gd name="connsiteX98" fmla="*/ 6115051 w 8802688"/>
                <a:gd name="connsiteY98" fmla="*/ 3600450 h 6677025"/>
                <a:gd name="connsiteX99" fmla="*/ 6148388 w 8802688"/>
                <a:gd name="connsiteY99" fmla="*/ 3573463 h 6677025"/>
                <a:gd name="connsiteX100" fmla="*/ 279400 w 8802688"/>
                <a:gd name="connsiteY100" fmla="*/ 2203450 h 6677025"/>
                <a:gd name="connsiteX101" fmla="*/ 354013 w 8802688"/>
                <a:gd name="connsiteY101" fmla="*/ 2203450 h 6677025"/>
                <a:gd name="connsiteX102" fmla="*/ 327025 w 8802688"/>
                <a:gd name="connsiteY102" fmla="*/ 2274888 h 6677025"/>
                <a:gd name="connsiteX103" fmla="*/ 303213 w 8802688"/>
                <a:gd name="connsiteY103" fmla="*/ 2343150 h 6677025"/>
                <a:gd name="connsiteX104" fmla="*/ 261938 w 8802688"/>
                <a:gd name="connsiteY104" fmla="*/ 2482850 h 6677025"/>
                <a:gd name="connsiteX105" fmla="*/ 217488 w 8802688"/>
                <a:gd name="connsiteY105" fmla="*/ 2625726 h 6677025"/>
                <a:gd name="connsiteX106" fmla="*/ 193675 w 8802688"/>
                <a:gd name="connsiteY106" fmla="*/ 2693988 h 6677025"/>
                <a:gd name="connsiteX107" fmla="*/ 166688 w 8802688"/>
                <a:gd name="connsiteY107" fmla="*/ 2765425 h 6677025"/>
                <a:gd name="connsiteX108" fmla="*/ 169863 w 8802688"/>
                <a:gd name="connsiteY108" fmla="*/ 2792413 h 6677025"/>
                <a:gd name="connsiteX109" fmla="*/ 173038 w 8802688"/>
                <a:gd name="connsiteY109" fmla="*/ 2819400 h 6677025"/>
                <a:gd name="connsiteX110" fmla="*/ 180975 w 8802688"/>
                <a:gd name="connsiteY110" fmla="*/ 2844801 h 6677025"/>
                <a:gd name="connsiteX111" fmla="*/ 190500 w 8802688"/>
                <a:gd name="connsiteY111" fmla="*/ 2871788 h 6677025"/>
                <a:gd name="connsiteX112" fmla="*/ 201613 w 8802688"/>
                <a:gd name="connsiteY112" fmla="*/ 2895601 h 6677025"/>
                <a:gd name="connsiteX113" fmla="*/ 214313 w 8802688"/>
                <a:gd name="connsiteY113" fmla="*/ 2916238 h 6677025"/>
                <a:gd name="connsiteX114" fmla="*/ 228600 w 8802688"/>
                <a:gd name="connsiteY114" fmla="*/ 2935288 h 6677025"/>
                <a:gd name="connsiteX115" fmla="*/ 241300 w 8802688"/>
                <a:gd name="connsiteY115" fmla="*/ 2952751 h 6677025"/>
                <a:gd name="connsiteX116" fmla="*/ 242888 w 8802688"/>
                <a:gd name="connsiteY116" fmla="*/ 2959101 h 6677025"/>
                <a:gd name="connsiteX117" fmla="*/ 242888 w 8802688"/>
                <a:gd name="connsiteY117" fmla="*/ 2963863 h 6677025"/>
                <a:gd name="connsiteX118" fmla="*/ 255588 w 8802688"/>
                <a:gd name="connsiteY118" fmla="*/ 2973388 h 6677025"/>
                <a:gd name="connsiteX119" fmla="*/ 266700 w 8802688"/>
                <a:gd name="connsiteY119" fmla="*/ 2979738 h 6677025"/>
                <a:gd name="connsiteX120" fmla="*/ 288925 w 8802688"/>
                <a:gd name="connsiteY120" fmla="*/ 2984501 h 6677025"/>
                <a:gd name="connsiteX121" fmla="*/ 336550 w 8802688"/>
                <a:gd name="connsiteY121" fmla="*/ 2987676 h 6677025"/>
                <a:gd name="connsiteX122" fmla="*/ 388938 w 8802688"/>
                <a:gd name="connsiteY122" fmla="*/ 2987676 h 6677025"/>
                <a:gd name="connsiteX123" fmla="*/ 404813 w 8802688"/>
                <a:gd name="connsiteY123" fmla="*/ 2987676 h 6677025"/>
                <a:gd name="connsiteX124" fmla="*/ 425450 w 8802688"/>
                <a:gd name="connsiteY124" fmla="*/ 2982913 h 6677025"/>
                <a:gd name="connsiteX125" fmla="*/ 469900 w 8802688"/>
                <a:gd name="connsiteY125" fmla="*/ 2963863 h 6677025"/>
                <a:gd name="connsiteX126" fmla="*/ 520700 w 8802688"/>
                <a:gd name="connsiteY126" fmla="*/ 2940051 h 6677025"/>
                <a:gd name="connsiteX127" fmla="*/ 576263 w 8802688"/>
                <a:gd name="connsiteY127" fmla="*/ 2914651 h 6677025"/>
                <a:gd name="connsiteX128" fmla="*/ 573088 w 8802688"/>
                <a:gd name="connsiteY128" fmla="*/ 2946401 h 6677025"/>
                <a:gd name="connsiteX129" fmla="*/ 568325 w 8802688"/>
                <a:gd name="connsiteY129" fmla="*/ 2979738 h 6677025"/>
                <a:gd name="connsiteX130" fmla="*/ 558801 w 8802688"/>
                <a:gd name="connsiteY130" fmla="*/ 3008313 h 6677025"/>
                <a:gd name="connsiteX131" fmla="*/ 544513 w 8802688"/>
                <a:gd name="connsiteY131" fmla="*/ 3038476 h 6677025"/>
                <a:gd name="connsiteX132" fmla="*/ 528638 w 8802688"/>
                <a:gd name="connsiteY132" fmla="*/ 3062288 h 6677025"/>
                <a:gd name="connsiteX133" fmla="*/ 508000 w 8802688"/>
                <a:gd name="connsiteY133" fmla="*/ 3086101 h 6677025"/>
                <a:gd name="connsiteX134" fmla="*/ 487363 w 8802688"/>
                <a:gd name="connsiteY134" fmla="*/ 3106738 h 6677025"/>
                <a:gd name="connsiteX135" fmla="*/ 463550 w 8802688"/>
                <a:gd name="connsiteY135" fmla="*/ 3124201 h 6677025"/>
                <a:gd name="connsiteX136" fmla="*/ 439738 w 8802688"/>
                <a:gd name="connsiteY136" fmla="*/ 3136901 h 6677025"/>
                <a:gd name="connsiteX137" fmla="*/ 412750 w 8802688"/>
                <a:gd name="connsiteY137" fmla="*/ 3148013 h 6677025"/>
                <a:gd name="connsiteX138" fmla="*/ 382588 w 8802688"/>
                <a:gd name="connsiteY138" fmla="*/ 3157538 h 6677025"/>
                <a:gd name="connsiteX139" fmla="*/ 357188 w 8802688"/>
                <a:gd name="connsiteY139" fmla="*/ 3160713 h 6677025"/>
                <a:gd name="connsiteX140" fmla="*/ 327025 w 8802688"/>
                <a:gd name="connsiteY140" fmla="*/ 3160713 h 6677025"/>
                <a:gd name="connsiteX141" fmla="*/ 296863 w 8802688"/>
                <a:gd name="connsiteY141" fmla="*/ 3157538 h 6677025"/>
                <a:gd name="connsiteX142" fmla="*/ 269875 w 8802688"/>
                <a:gd name="connsiteY142" fmla="*/ 3148013 h 6677025"/>
                <a:gd name="connsiteX143" fmla="*/ 241300 w 8802688"/>
                <a:gd name="connsiteY143" fmla="*/ 3136901 h 6677025"/>
                <a:gd name="connsiteX144" fmla="*/ 228600 w 8802688"/>
                <a:gd name="connsiteY144" fmla="*/ 3130551 h 6677025"/>
                <a:gd name="connsiteX145" fmla="*/ 214313 w 8802688"/>
                <a:gd name="connsiteY145" fmla="*/ 3119438 h 6677025"/>
                <a:gd name="connsiteX146" fmla="*/ 187325 w 8802688"/>
                <a:gd name="connsiteY146" fmla="*/ 3092451 h 6677025"/>
                <a:gd name="connsiteX147" fmla="*/ 160338 w 8802688"/>
                <a:gd name="connsiteY147" fmla="*/ 3055938 h 6677025"/>
                <a:gd name="connsiteX148" fmla="*/ 133350 w 8802688"/>
                <a:gd name="connsiteY148" fmla="*/ 3017838 h 6677025"/>
                <a:gd name="connsiteX149" fmla="*/ 109538 w 8802688"/>
                <a:gd name="connsiteY149" fmla="*/ 2970213 h 6677025"/>
                <a:gd name="connsiteX150" fmla="*/ 85725 w 8802688"/>
                <a:gd name="connsiteY150" fmla="*/ 2922588 h 6677025"/>
                <a:gd name="connsiteX151" fmla="*/ 65088 w 8802688"/>
                <a:gd name="connsiteY151" fmla="*/ 2868613 h 6677025"/>
                <a:gd name="connsiteX152" fmla="*/ 47625 w 8802688"/>
                <a:gd name="connsiteY152" fmla="*/ 2816225 h 6677025"/>
                <a:gd name="connsiteX153" fmla="*/ 30163 w 8802688"/>
                <a:gd name="connsiteY153" fmla="*/ 2762250 h 6677025"/>
                <a:gd name="connsiteX154" fmla="*/ 17463 w 8802688"/>
                <a:gd name="connsiteY154" fmla="*/ 2708275 h 6677025"/>
                <a:gd name="connsiteX155" fmla="*/ 9525 w 8802688"/>
                <a:gd name="connsiteY155" fmla="*/ 2655888 h 6677025"/>
                <a:gd name="connsiteX156" fmla="*/ 3175 w 8802688"/>
                <a:gd name="connsiteY156" fmla="*/ 2608263 h 6677025"/>
                <a:gd name="connsiteX157" fmla="*/ 0 w 8802688"/>
                <a:gd name="connsiteY157" fmla="*/ 2563813 h 6677025"/>
                <a:gd name="connsiteX158" fmla="*/ 0 w 8802688"/>
                <a:gd name="connsiteY158" fmla="*/ 2524125 h 6677025"/>
                <a:gd name="connsiteX159" fmla="*/ 9525 w 8802688"/>
                <a:gd name="connsiteY159" fmla="*/ 2492375 h 6677025"/>
                <a:gd name="connsiteX160" fmla="*/ 11113 w 8802688"/>
                <a:gd name="connsiteY160" fmla="*/ 2476500 h 6677025"/>
                <a:gd name="connsiteX161" fmla="*/ 17463 w 8802688"/>
                <a:gd name="connsiteY161" fmla="*/ 2465388 h 6677025"/>
                <a:gd name="connsiteX162" fmla="*/ 47625 w 8802688"/>
                <a:gd name="connsiteY162" fmla="*/ 2425700 h 6677025"/>
                <a:gd name="connsiteX163" fmla="*/ 79375 w 8802688"/>
                <a:gd name="connsiteY163" fmla="*/ 2387600 h 6677025"/>
                <a:gd name="connsiteX164" fmla="*/ 112713 w 8802688"/>
                <a:gd name="connsiteY164" fmla="*/ 2352675 h 6677025"/>
                <a:gd name="connsiteX165" fmla="*/ 149225 w 8802688"/>
                <a:gd name="connsiteY165" fmla="*/ 2322513 h 6677025"/>
                <a:gd name="connsiteX166" fmla="*/ 217488 w 8802688"/>
                <a:gd name="connsiteY166" fmla="*/ 2260600 h 6677025"/>
                <a:gd name="connsiteX167" fmla="*/ 5886450 w 8802688"/>
                <a:gd name="connsiteY167" fmla="*/ 2019300 h 6677025"/>
                <a:gd name="connsiteX168" fmla="*/ 5907087 w 8802688"/>
                <a:gd name="connsiteY168" fmla="*/ 2022475 h 6677025"/>
                <a:gd name="connsiteX169" fmla="*/ 5930900 w 8802688"/>
                <a:gd name="connsiteY169" fmla="*/ 2028825 h 6677025"/>
                <a:gd name="connsiteX170" fmla="*/ 5957888 w 8802688"/>
                <a:gd name="connsiteY170" fmla="*/ 2036763 h 6677025"/>
                <a:gd name="connsiteX171" fmla="*/ 5984875 w 8802688"/>
                <a:gd name="connsiteY171" fmla="*/ 2049463 h 6677025"/>
                <a:gd name="connsiteX172" fmla="*/ 6010275 w 8802688"/>
                <a:gd name="connsiteY172" fmla="*/ 2060575 h 6677025"/>
                <a:gd name="connsiteX173" fmla="*/ 6034088 w 8802688"/>
                <a:gd name="connsiteY173" fmla="*/ 2078038 h 6677025"/>
                <a:gd name="connsiteX174" fmla="*/ 6057900 w 8802688"/>
                <a:gd name="connsiteY174" fmla="*/ 2093913 h 6677025"/>
                <a:gd name="connsiteX175" fmla="*/ 5951538 w 8802688"/>
                <a:gd name="connsiteY175" fmla="*/ 2170113 h 6677025"/>
                <a:gd name="connsiteX176" fmla="*/ 5897562 w 8802688"/>
                <a:gd name="connsiteY176" fmla="*/ 2209800 h 6677025"/>
                <a:gd name="connsiteX177" fmla="*/ 5838825 w 8802688"/>
                <a:gd name="connsiteY177" fmla="*/ 2244725 h 6677025"/>
                <a:gd name="connsiteX178" fmla="*/ 5811837 w 8802688"/>
                <a:gd name="connsiteY178" fmla="*/ 2216150 h 6677025"/>
                <a:gd name="connsiteX179" fmla="*/ 5788025 w 8802688"/>
                <a:gd name="connsiteY179" fmla="*/ 2182813 h 6677025"/>
                <a:gd name="connsiteX180" fmla="*/ 5775325 w 8802688"/>
                <a:gd name="connsiteY180" fmla="*/ 2165350 h 6677025"/>
                <a:gd name="connsiteX181" fmla="*/ 5770562 w 8802688"/>
                <a:gd name="connsiteY181" fmla="*/ 2146300 h 6677025"/>
                <a:gd name="connsiteX182" fmla="*/ 5764212 w 8802688"/>
                <a:gd name="connsiteY182" fmla="*/ 2132013 h 6677025"/>
                <a:gd name="connsiteX183" fmla="*/ 5764212 w 8802688"/>
                <a:gd name="connsiteY183" fmla="*/ 2117725 h 6677025"/>
                <a:gd name="connsiteX184" fmla="*/ 5770562 w 8802688"/>
                <a:gd name="connsiteY184" fmla="*/ 2101850 h 6677025"/>
                <a:gd name="connsiteX185" fmla="*/ 5778500 w 8802688"/>
                <a:gd name="connsiteY185" fmla="*/ 2087563 h 6677025"/>
                <a:gd name="connsiteX186" fmla="*/ 5791200 w 8802688"/>
                <a:gd name="connsiteY186" fmla="*/ 2073275 h 6677025"/>
                <a:gd name="connsiteX187" fmla="*/ 5805487 w 8802688"/>
                <a:gd name="connsiteY187" fmla="*/ 2057400 h 6677025"/>
                <a:gd name="connsiteX188" fmla="*/ 5821362 w 8802688"/>
                <a:gd name="connsiteY188" fmla="*/ 2046288 h 6677025"/>
                <a:gd name="connsiteX189" fmla="*/ 5838825 w 8802688"/>
                <a:gd name="connsiteY189" fmla="*/ 2033588 h 6677025"/>
                <a:gd name="connsiteX190" fmla="*/ 5853112 w 8802688"/>
                <a:gd name="connsiteY190" fmla="*/ 2025650 h 6677025"/>
                <a:gd name="connsiteX191" fmla="*/ 5870575 w 8802688"/>
                <a:gd name="connsiteY191" fmla="*/ 2022475 h 6677025"/>
                <a:gd name="connsiteX192" fmla="*/ 6169026 w 8802688"/>
                <a:gd name="connsiteY192" fmla="*/ 1685925 h 6677025"/>
                <a:gd name="connsiteX193" fmla="*/ 6076951 w 8802688"/>
                <a:gd name="connsiteY193" fmla="*/ 1712913 h 6677025"/>
                <a:gd name="connsiteX194" fmla="*/ 5984875 w 8802688"/>
                <a:gd name="connsiteY194" fmla="*/ 1739900 h 6677025"/>
                <a:gd name="connsiteX195" fmla="*/ 5938838 w 8802688"/>
                <a:gd name="connsiteY195" fmla="*/ 1757363 h 6677025"/>
                <a:gd name="connsiteX196" fmla="*/ 5894388 w 8802688"/>
                <a:gd name="connsiteY196" fmla="*/ 1774825 h 6677025"/>
                <a:gd name="connsiteX197" fmla="*/ 5849938 w 8802688"/>
                <a:gd name="connsiteY197" fmla="*/ 1798638 h 6677025"/>
                <a:gd name="connsiteX198" fmla="*/ 5805488 w 8802688"/>
                <a:gd name="connsiteY198" fmla="*/ 1828800 h 6677025"/>
                <a:gd name="connsiteX199" fmla="*/ 5764213 w 8802688"/>
                <a:gd name="connsiteY199" fmla="*/ 1862138 h 6677025"/>
                <a:gd name="connsiteX200" fmla="*/ 5722938 w 8802688"/>
                <a:gd name="connsiteY200" fmla="*/ 1897063 h 6677025"/>
                <a:gd name="connsiteX201" fmla="*/ 5683250 w 8802688"/>
                <a:gd name="connsiteY201" fmla="*/ 1933575 h 6677025"/>
                <a:gd name="connsiteX202" fmla="*/ 5648325 w 8802688"/>
                <a:gd name="connsiteY202" fmla="*/ 1971675 h 6677025"/>
                <a:gd name="connsiteX203" fmla="*/ 5576888 w 8802688"/>
                <a:gd name="connsiteY203" fmla="*/ 2052638 h 6677025"/>
                <a:gd name="connsiteX204" fmla="*/ 5502275 w 8802688"/>
                <a:gd name="connsiteY204" fmla="*/ 2128838 h 6677025"/>
                <a:gd name="connsiteX205" fmla="*/ 5522913 w 8802688"/>
                <a:gd name="connsiteY205" fmla="*/ 2122488 h 6677025"/>
                <a:gd name="connsiteX206" fmla="*/ 5543550 w 8802688"/>
                <a:gd name="connsiteY206" fmla="*/ 2117725 h 6677025"/>
                <a:gd name="connsiteX207" fmla="*/ 5586413 w 8802688"/>
                <a:gd name="connsiteY207" fmla="*/ 2098675 h 6677025"/>
                <a:gd name="connsiteX208" fmla="*/ 5607050 w 8802688"/>
                <a:gd name="connsiteY208" fmla="*/ 2093913 h 6677025"/>
                <a:gd name="connsiteX209" fmla="*/ 5624513 w 8802688"/>
                <a:gd name="connsiteY209" fmla="*/ 2087563 h 6677025"/>
                <a:gd name="connsiteX210" fmla="*/ 5641975 w 8802688"/>
                <a:gd name="connsiteY210" fmla="*/ 2087563 h 6677025"/>
                <a:gd name="connsiteX211" fmla="*/ 5657850 w 8802688"/>
                <a:gd name="connsiteY211" fmla="*/ 2093913 h 6677025"/>
                <a:gd name="connsiteX212" fmla="*/ 5832475 w 8802688"/>
                <a:gd name="connsiteY212" fmla="*/ 2357438 h 6677025"/>
                <a:gd name="connsiteX213" fmla="*/ 5975350 w 8802688"/>
                <a:gd name="connsiteY213" fmla="*/ 2265363 h 6677025"/>
                <a:gd name="connsiteX214" fmla="*/ 6115051 w 8802688"/>
                <a:gd name="connsiteY214" fmla="*/ 2170113 h 6677025"/>
                <a:gd name="connsiteX215" fmla="*/ 6264276 w 8802688"/>
                <a:gd name="connsiteY215" fmla="*/ 2078038 h 6677025"/>
                <a:gd name="connsiteX216" fmla="*/ 6340476 w 8802688"/>
                <a:gd name="connsiteY216" fmla="*/ 2030413 h 6677025"/>
                <a:gd name="connsiteX217" fmla="*/ 6424613 w 8802688"/>
                <a:gd name="connsiteY217" fmla="*/ 1982788 h 6677025"/>
                <a:gd name="connsiteX218" fmla="*/ 6400801 w 8802688"/>
                <a:gd name="connsiteY218" fmla="*/ 1981200 h 6677025"/>
                <a:gd name="connsiteX219" fmla="*/ 6364288 w 8802688"/>
                <a:gd name="connsiteY219" fmla="*/ 1971675 h 6677025"/>
                <a:gd name="connsiteX220" fmla="*/ 6323013 w 8802688"/>
                <a:gd name="connsiteY220" fmla="*/ 1958975 h 6677025"/>
                <a:gd name="connsiteX221" fmla="*/ 6302376 w 8802688"/>
                <a:gd name="connsiteY221" fmla="*/ 1947863 h 6677025"/>
                <a:gd name="connsiteX222" fmla="*/ 6281738 w 8802688"/>
                <a:gd name="connsiteY222" fmla="*/ 1935163 h 6677025"/>
                <a:gd name="connsiteX223" fmla="*/ 6261101 w 8802688"/>
                <a:gd name="connsiteY223" fmla="*/ 1917700 h 6677025"/>
                <a:gd name="connsiteX224" fmla="*/ 6240463 w 8802688"/>
                <a:gd name="connsiteY224" fmla="*/ 1900238 h 6677025"/>
                <a:gd name="connsiteX225" fmla="*/ 6221413 w 8802688"/>
                <a:gd name="connsiteY225" fmla="*/ 1876425 h 6677025"/>
                <a:gd name="connsiteX226" fmla="*/ 6203951 w 8802688"/>
                <a:gd name="connsiteY226" fmla="*/ 1849438 h 6677025"/>
                <a:gd name="connsiteX227" fmla="*/ 6192838 w 8802688"/>
                <a:gd name="connsiteY227" fmla="*/ 1817688 h 6677025"/>
                <a:gd name="connsiteX228" fmla="*/ 6180138 w 8802688"/>
                <a:gd name="connsiteY228" fmla="*/ 1778000 h 6677025"/>
                <a:gd name="connsiteX229" fmla="*/ 6170613 w 8802688"/>
                <a:gd name="connsiteY229" fmla="*/ 1736725 h 6677025"/>
                <a:gd name="connsiteX230" fmla="*/ 8401050 w 8802688"/>
                <a:gd name="connsiteY230" fmla="*/ 1338262 h 6677025"/>
                <a:gd name="connsiteX231" fmla="*/ 8332788 w 8802688"/>
                <a:gd name="connsiteY231" fmla="*/ 1382712 h 6677025"/>
                <a:gd name="connsiteX232" fmla="*/ 8264525 w 8802688"/>
                <a:gd name="connsiteY232" fmla="*/ 1430337 h 6677025"/>
                <a:gd name="connsiteX233" fmla="*/ 8131175 w 8802688"/>
                <a:gd name="connsiteY233" fmla="*/ 1531937 h 6677025"/>
                <a:gd name="connsiteX234" fmla="*/ 8002588 w 8802688"/>
                <a:gd name="connsiteY234" fmla="*/ 1630363 h 6677025"/>
                <a:gd name="connsiteX235" fmla="*/ 7886700 w 8802688"/>
                <a:gd name="connsiteY235" fmla="*/ 1722438 h 6677025"/>
                <a:gd name="connsiteX236" fmla="*/ 7920038 w 8802688"/>
                <a:gd name="connsiteY236" fmla="*/ 1727200 h 6677025"/>
                <a:gd name="connsiteX237" fmla="*/ 7954963 w 8802688"/>
                <a:gd name="connsiteY237" fmla="*/ 1727200 h 6677025"/>
                <a:gd name="connsiteX238" fmla="*/ 7993063 w 8802688"/>
                <a:gd name="connsiteY238" fmla="*/ 1725613 h 6677025"/>
                <a:gd name="connsiteX239" fmla="*/ 8029575 w 8802688"/>
                <a:gd name="connsiteY239" fmla="*/ 1716088 h 6677025"/>
                <a:gd name="connsiteX240" fmla="*/ 8064500 w 8802688"/>
                <a:gd name="connsiteY240" fmla="*/ 1703388 h 6677025"/>
                <a:gd name="connsiteX241" fmla="*/ 8101013 w 8802688"/>
                <a:gd name="connsiteY241" fmla="*/ 1689100 h 6677025"/>
                <a:gd name="connsiteX242" fmla="*/ 8135938 w 8802688"/>
                <a:gd name="connsiteY242" fmla="*/ 1668463 h 6677025"/>
                <a:gd name="connsiteX243" fmla="*/ 8172450 w 8802688"/>
                <a:gd name="connsiteY243" fmla="*/ 1644650 h 6677025"/>
                <a:gd name="connsiteX244" fmla="*/ 8204200 w 8802688"/>
                <a:gd name="connsiteY244" fmla="*/ 1617662 h 6677025"/>
                <a:gd name="connsiteX245" fmla="*/ 8237538 w 8802688"/>
                <a:gd name="connsiteY245" fmla="*/ 1587500 h 6677025"/>
                <a:gd name="connsiteX246" fmla="*/ 8270875 w 8802688"/>
                <a:gd name="connsiteY246" fmla="*/ 1555750 h 6677025"/>
                <a:gd name="connsiteX247" fmla="*/ 8299450 w 8802688"/>
                <a:gd name="connsiteY247" fmla="*/ 1516062 h 6677025"/>
                <a:gd name="connsiteX248" fmla="*/ 8329613 w 8802688"/>
                <a:gd name="connsiteY248" fmla="*/ 1477963 h 6677025"/>
                <a:gd name="connsiteX249" fmla="*/ 8356600 w 8802688"/>
                <a:gd name="connsiteY249" fmla="*/ 1433512 h 6677025"/>
                <a:gd name="connsiteX250" fmla="*/ 8380413 w 8802688"/>
                <a:gd name="connsiteY250" fmla="*/ 1389062 h 6677025"/>
                <a:gd name="connsiteX251" fmla="*/ 4067176 w 8802688"/>
                <a:gd name="connsiteY251" fmla="*/ 1181100 h 6677025"/>
                <a:gd name="connsiteX252" fmla="*/ 3979864 w 8802688"/>
                <a:gd name="connsiteY252" fmla="*/ 1184275 h 6677025"/>
                <a:gd name="connsiteX253" fmla="*/ 3900489 w 8802688"/>
                <a:gd name="connsiteY253" fmla="*/ 1192213 h 6677025"/>
                <a:gd name="connsiteX254" fmla="*/ 3860801 w 8802688"/>
                <a:gd name="connsiteY254" fmla="*/ 1201738 h 6677025"/>
                <a:gd name="connsiteX255" fmla="*/ 3825876 w 8802688"/>
                <a:gd name="connsiteY255" fmla="*/ 1211263 h 6677025"/>
                <a:gd name="connsiteX256" fmla="*/ 3790951 w 8802688"/>
                <a:gd name="connsiteY256" fmla="*/ 1219200 h 6677025"/>
                <a:gd name="connsiteX257" fmla="*/ 3757613 w 8802688"/>
                <a:gd name="connsiteY257" fmla="*/ 1231900 h 6677025"/>
                <a:gd name="connsiteX258" fmla="*/ 3724276 w 8802688"/>
                <a:gd name="connsiteY258" fmla="*/ 1246188 h 6677025"/>
                <a:gd name="connsiteX259" fmla="*/ 3695701 w 8802688"/>
                <a:gd name="connsiteY259" fmla="*/ 1260475 h 6677025"/>
                <a:gd name="connsiteX260" fmla="*/ 3665538 w 8802688"/>
                <a:gd name="connsiteY260" fmla="*/ 1279525 h 6677025"/>
                <a:gd name="connsiteX261" fmla="*/ 3635376 w 8802688"/>
                <a:gd name="connsiteY261" fmla="*/ 1296988 h 6677025"/>
                <a:gd name="connsiteX262" fmla="*/ 3608388 w 8802688"/>
                <a:gd name="connsiteY262" fmla="*/ 1317625 h 6677025"/>
                <a:gd name="connsiteX263" fmla="*/ 3581401 w 8802688"/>
                <a:gd name="connsiteY263" fmla="*/ 1341438 h 6677025"/>
                <a:gd name="connsiteX264" fmla="*/ 3557588 w 8802688"/>
                <a:gd name="connsiteY264" fmla="*/ 1365250 h 6677025"/>
                <a:gd name="connsiteX265" fmla="*/ 3533776 w 8802688"/>
                <a:gd name="connsiteY265" fmla="*/ 1392238 h 6677025"/>
                <a:gd name="connsiteX266" fmla="*/ 3509963 w 8802688"/>
                <a:gd name="connsiteY266" fmla="*/ 1419225 h 6677025"/>
                <a:gd name="connsiteX267" fmla="*/ 3489326 w 8802688"/>
                <a:gd name="connsiteY267" fmla="*/ 1450975 h 6677025"/>
                <a:gd name="connsiteX268" fmla="*/ 3468688 w 8802688"/>
                <a:gd name="connsiteY268" fmla="*/ 1481138 h 6677025"/>
                <a:gd name="connsiteX269" fmla="*/ 3448051 w 8802688"/>
                <a:gd name="connsiteY269" fmla="*/ 1516063 h 6677025"/>
                <a:gd name="connsiteX270" fmla="*/ 3413126 w 8802688"/>
                <a:gd name="connsiteY270" fmla="*/ 1590675 h 6677025"/>
                <a:gd name="connsiteX271" fmla="*/ 3379788 w 8802688"/>
                <a:gd name="connsiteY271" fmla="*/ 1671638 h 6677025"/>
                <a:gd name="connsiteX272" fmla="*/ 3349626 w 8802688"/>
                <a:gd name="connsiteY272" fmla="*/ 1763713 h 6677025"/>
                <a:gd name="connsiteX273" fmla="*/ 3325813 w 8802688"/>
                <a:gd name="connsiteY273" fmla="*/ 1865313 h 6677025"/>
                <a:gd name="connsiteX274" fmla="*/ 3302001 w 8802688"/>
                <a:gd name="connsiteY274" fmla="*/ 1971676 h 6677025"/>
                <a:gd name="connsiteX275" fmla="*/ 3281363 w 8802688"/>
                <a:gd name="connsiteY275" fmla="*/ 2090738 h 6677025"/>
                <a:gd name="connsiteX276" fmla="*/ 3368676 w 8802688"/>
                <a:gd name="connsiteY276" fmla="*/ 1944688 h 6677025"/>
                <a:gd name="connsiteX277" fmla="*/ 3451226 w 8802688"/>
                <a:gd name="connsiteY277" fmla="*/ 1787526 h 6677025"/>
                <a:gd name="connsiteX278" fmla="*/ 3533776 w 8802688"/>
                <a:gd name="connsiteY278" fmla="*/ 1624013 h 6677025"/>
                <a:gd name="connsiteX279" fmla="*/ 3617913 w 8802688"/>
                <a:gd name="connsiteY279" fmla="*/ 1454150 h 6677025"/>
                <a:gd name="connsiteX280" fmla="*/ 3652838 w 8802688"/>
                <a:gd name="connsiteY280" fmla="*/ 1454150 h 6677025"/>
                <a:gd name="connsiteX281" fmla="*/ 3656013 w 8802688"/>
                <a:gd name="connsiteY281" fmla="*/ 1495425 h 6677025"/>
                <a:gd name="connsiteX282" fmla="*/ 3659188 w 8802688"/>
                <a:gd name="connsiteY282" fmla="*/ 1531938 h 6677025"/>
                <a:gd name="connsiteX283" fmla="*/ 3673476 w 8802688"/>
                <a:gd name="connsiteY283" fmla="*/ 1600200 h 6677025"/>
                <a:gd name="connsiteX284" fmla="*/ 3686176 w 8802688"/>
                <a:gd name="connsiteY284" fmla="*/ 1658938 h 6677025"/>
                <a:gd name="connsiteX285" fmla="*/ 3689351 w 8802688"/>
                <a:gd name="connsiteY285" fmla="*/ 1689100 h 6677025"/>
                <a:gd name="connsiteX286" fmla="*/ 3692526 w 8802688"/>
                <a:gd name="connsiteY286" fmla="*/ 1716088 h 6677025"/>
                <a:gd name="connsiteX287" fmla="*/ 3713163 w 8802688"/>
                <a:gd name="connsiteY287" fmla="*/ 1662113 h 6677025"/>
                <a:gd name="connsiteX288" fmla="*/ 3736976 w 8802688"/>
                <a:gd name="connsiteY288" fmla="*/ 1609725 h 6677025"/>
                <a:gd name="connsiteX289" fmla="*/ 3757613 w 8802688"/>
                <a:gd name="connsiteY289" fmla="*/ 1562101 h 6677025"/>
                <a:gd name="connsiteX290" fmla="*/ 3784601 w 8802688"/>
                <a:gd name="connsiteY290" fmla="*/ 1514475 h 6677025"/>
                <a:gd name="connsiteX291" fmla="*/ 3811588 w 8802688"/>
                <a:gd name="connsiteY291" fmla="*/ 1471613 h 6677025"/>
                <a:gd name="connsiteX292" fmla="*/ 3840163 w 8802688"/>
                <a:gd name="connsiteY292" fmla="*/ 1430338 h 6677025"/>
                <a:gd name="connsiteX293" fmla="*/ 3870326 w 8802688"/>
                <a:gd name="connsiteY293" fmla="*/ 1392238 h 6677025"/>
                <a:gd name="connsiteX294" fmla="*/ 3906839 w 8802688"/>
                <a:gd name="connsiteY294" fmla="*/ 1355725 h 6677025"/>
                <a:gd name="connsiteX295" fmla="*/ 3941764 w 8802688"/>
                <a:gd name="connsiteY295" fmla="*/ 1327150 h 6677025"/>
                <a:gd name="connsiteX296" fmla="*/ 3979864 w 8802688"/>
                <a:gd name="connsiteY296" fmla="*/ 1296988 h 6677025"/>
                <a:gd name="connsiteX297" fmla="*/ 4022726 w 8802688"/>
                <a:gd name="connsiteY297" fmla="*/ 1273175 h 6677025"/>
                <a:gd name="connsiteX298" fmla="*/ 4067176 w 8802688"/>
                <a:gd name="connsiteY298" fmla="*/ 1249363 h 6677025"/>
                <a:gd name="connsiteX299" fmla="*/ 4117976 w 8802688"/>
                <a:gd name="connsiteY299" fmla="*/ 1231900 h 6677025"/>
                <a:gd name="connsiteX300" fmla="*/ 4167189 w 8802688"/>
                <a:gd name="connsiteY300" fmla="*/ 1216025 h 6677025"/>
                <a:gd name="connsiteX301" fmla="*/ 4224339 w 8802688"/>
                <a:gd name="connsiteY301" fmla="*/ 1201738 h 6677025"/>
                <a:gd name="connsiteX302" fmla="*/ 4286251 w 8802688"/>
                <a:gd name="connsiteY302" fmla="*/ 1195388 h 6677025"/>
                <a:gd name="connsiteX303" fmla="*/ 4170364 w 8802688"/>
                <a:gd name="connsiteY303" fmla="*/ 1184275 h 6677025"/>
                <a:gd name="connsiteX304" fmla="*/ 4117976 w 8802688"/>
                <a:gd name="connsiteY304" fmla="*/ 1181100 h 6677025"/>
                <a:gd name="connsiteX305" fmla="*/ 5586413 w 8802688"/>
                <a:gd name="connsiteY305" fmla="*/ 1166812 h 6677025"/>
                <a:gd name="connsiteX306" fmla="*/ 5481638 w 8802688"/>
                <a:gd name="connsiteY306" fmla="*/ 1204912 h 6677025"/>
                <a:gd name="connsiteX307" fmla="*/ 5437188 w 8802688"/>
                <a:gd name="connsiteY307" fmla="*/ 1225550 h 6677025"/>
                <a:gd name="connsiteX308" fmla="*/ 5399088 w 8802688"/>
                <a:gd name="connsiteY308" fmla="*/ 1243012 h 6677025"/>
                <a:gd name="connsiteX309" fmla="*/ 5365751 w 8802688"/>
                <a:gd name="connsiteY309" fmla="*/ 1260475 h 6677025"/>
                <a:gd name="connsiteX310" fmla="*/ 5335588 w 8802688"/>
                <a:gd name="connsiteY310" fmla="*/ 1282700 h 6677025"/>
                <a:gd name="connsiteX311" fmla="*/ 5308601 w 8802688"/>
                <a:gd name="connsiteY311" fmla="*/ 1300162 h 6677025"/>
                <a:gd name="connsiteX312" fmla="*/ 5287963 w 8802688"/>
                <a:gd name="connsiteY312" fmla="*/ 1320800 h 6677025"/>
                <a:gd name="connsiteX313" fmla="*/ 5270501 w 8802688"/>
                <a:gd name="connsiteY313" fmla="*/ 1341437 h 6677025"/>
                <a:gd name="connsiteX314" fmla="*/ 5259388 w 8802688"/>
                <a:gd name="connsiteY314" fmla="*/ 1362075 h 6677025"/>
                <a:gd name="connsiteX315" fmla="*/ 5246688 w 8802688"/>
                <a:gd name="connsiteY315" fmla="*/ 1385887 h 6677025"/>
                <a:gd name="connsiteX316" fmla="*/ 5240338 w 8802688"/>
                <a:gd name="connsiteY316" fmla="*/ 1409700 h 6677025"/>
                <a:gd name="connsiteX317" fmla="*/ 5237163 w 8802688"/>
                <a:gd name="connsiteY317" fmla="*/ 1436687 h 6677025"/>
                <a:gd name="connsiteX318" fmla="*/ 5237163 w 8802688"/>
                <a:gd name="connsiteY318" fmla="*/ 1463675 h 6677025"/>
                <a:gd name="connsiteX319" fmla="*/ 5240338 w 8802688"/>
                <a:gd name="connsiteY319" fmla="*/ 1492250 h 6677025"/>
                <a:gd name="connsiteX320" fmla="*/ 5246688 w 8802688"/>
                <a:gd name="connsiteY320" fmla="*/ 1525587 h 6677025"/>
                <a:gd name="connsiteX321" fmla="*/ 5287963 w 8802688"/>
                <a:gd name="connsiteY321" fmla="*/ 1484312 h 6677025"/>
                <a:gd name="connsiteX322" fmla="*/ 5330826 w 8802688"/>
                <a:gd name="connsiteY322" fmla="*/ 1439862 h 6677025"/>
                <a:gd name="connsiteX323" fmla="*/ 5416551 w 8802688"/>
                <a:gd name="connsiteY323" fmla="*/ 1347787 h 6677025"/>
                <a:gd name="connsiteX324" fmla="*/ 5499101 w 8802688"/>
                <a:gd name="connsiteY324" fmla="*/ 1252537 h 6677025"/>
                <a:gd name="connsiteX325" fmla="*/ 5540376 w 8802688"/>
                <a:gd name="connsiteY325" fmla="*/ 1208087 h 6677025"/>
                <a:gd name="connsiteX326" fmla="*/ 5434013 w 8802688"/>
                <a:gd name="connsiteY326" fmla="*/ 0 h 6677025"/>
                <a:gd name="connsiteX327" fmla="*/ 5519738 w 8802688"/>
                <a:gd name="connsiteY327" fmla="*/ 3175 h 6677025"/>
                <a:gd name="connsiteX328" fmla="*/ 5610226 w 8802688"/>
                <a:gd name="connsiteY328" fmla="*/ 12700 h 6677025"/>
                <a:gd name="connsiteX329" fmla="*/ 5699126 w 8802688"/>
                <a:gd name="connsiteY329" fmla="*/ 30163 h 6677025"/>
                <a:gd name="connsiteX330" fmla="*/ 5788026 w 8802688"/>
                <a:gd name="connsiteY330" fmla="*/ 50800 h 6677025"/>
                <a:gd name="connsiteX331" fmla="*/ 5876926 w 8802688"/>
                <a:gd name="connsiteY331" fmla="*/ 77788 h 6677025"/>
                <a:gd name="connsiteX332" fmla="*/ 5965826 w 8802688"/>
                <a:gd name="connsiteY332" fmla="*/ 111125 h 6677025"/>
                <a:gd name="connsiteX333" fmla="*/ 6054726 w 8802688"/>
                <a:gd name="connsiteY333" fmla="*/ 146050 h 6677025"/>
                <a:gd name="connsiteX334" fmla="*/ 6142038 w 8802688"/>
                <a:gd name="connsiteY334" fmla="*/ 187325 h 6677025"/>
                <a:gd name="connsiteX335" fmla="*/ 6237288 w 8802688"/>
                <a:gd name="connsiteY335" fmla="*/ 258763 h 6677025"/>
                <a:gd name="connsiteX336" fmla="*/ 6329363 w 8802688"/>
                <a:gd name="connsiteY336" fmla="*/ 333375 h 6677025"/>
                <a:gd name="connsiteX337" fmla="*/ 6418263 w 8802688"/>
                <a:gd name="connsiteY337" fmla="*/ 407988 h 6677025"/>
                <a:gd name="connsiteX338" fmla="*/ 6507163 w 8802688"/>
                <a:gd name="connsiteY338" fmla="*/ 485775 h 6677025"/>
                <a:gd name="connsiteX339" fmla="*/ 6677026 w 8802688"/>
                <a:gd name="connsiteY339" fmla="*/ 639763 h 6677025"/>
                <a:gd name="connsiteX340" fmla="*/ 6762751 w 8802688"/>
                <a:gd name="connsiteY340" fmla="*/ 714375 h 6677025"/>
                <a:gd name="connsiteX341" fmla="*/ 6846888 w 8802688"/>
                <a:gd name="connsiteY341" fmla="*/ 785813 h 6677025"/>
                <a:gd name="connsiteX342" fmla="*/ 6846888 w 8802688"/>
                <a:gd name="connsiteY342" fmla="*/ 796926 h 6677025"/>
                <a:gd name="connsiteX343" fmla="*/ 6851651 w 8802688"/>
                <a:gd name="connsiteY343" fmla="*/ 812801 h 6677025"/>
                <a:gd name="connsiteX344" fmla="*/ 6858001 w 8802688"/>
                <a:gd name="connsiteY344" fmla="*/ 823913 h 6677025"/>
                <a:gd name="connsiteX345" fmla="*/ 6867526 w 8802688"/>
                <a:gd name="connsiteY345" fmla="*/ 836613 h 6677025"/>
                <a:gd name="connsiteX346" fmla="*/ 6878638 w 8802688"/>
                <a:gd name="connsiteY346" fmla="*/ 844550 h 6677025"/>
                <a:gd name="connsiteX347" fmla="*/ 6891338 w 8802688"/>
                <a:gd name="connsiteY347" fmla="*/ 854075 h 6677025"/>
                <a:gd name="connsiteX348" fmla="*/ 6905626 w 8802688"/>
                <a:gd name="connsiteY348" fmla="*/ 857250 h 6677025"/>
                <a:gd name="connsiteX349" fmla="*/ 6919913 w 8802688"/>
                <a:gd name="connsiteY349" fmla="*/ 860425 h 6677025"/>
                <a:gd name="connsiteX350" fmla="*/ 6973888 w 8802688"/>
                <a:gd name="connsiteY350" fmla="*/ 868363 h 6677025"/>
                <a:gd name="connsiteX351" fmla="*/ 7024688 w 8802688"/>
                <a:gd name="connsiteY351" fmla="*/ 884238 h 6677025"/>
                <a:gd name="connsiteX352" fmla="*/ 7072313 w 8802688"/>
                <a:gd name="connsiteY352" fmla="*/ 901700 h 6677025"/>
                <a:gd name="connsiteX353" fmla="*/ 7116763 w 8802688"/>
                <a:gd name="connsiteY353" fmla="*/ 925513 h 6677025"/>
                <a:gd name="connsiteX354" fmla="*/ 7158038 w 8802688"/>
                <a:gd name="connsiteY354" fmla="*/ 952500 h 6677025"/>
                <a:gd name="connsiteX355" fmla="*/ 7199313 w 8802688"/>
                <a:gd name="connsiteY355" fmla="*/ 981075 h 6677025"/>
                <a:gd name="connsiteX356" fmla="*/ 7235826 w 8802688"/>
                <a:gd name="connsiteY356" fmla="*/ 1014413 h 6677025"/>
                <a:gd name="connsiteX357" fmla="*/ 7270751 w 8802688"/>
                <a:gd name="connsiteY357" fmla="*/ 1049338 h 6677025"/>
                <a:gd name="connsiteX358" fmla="*/ 7307263 w 8802688"/>
                <a:gd name="connsiteY358" fmla="*/ 1089025 h 6677025"/>
                <a:gd name="connsiteX359" fmla="*/ 7337426 w 8802688"/>
                <a:gd name="connsiteY359" fmla="*/ 1127125 h 6677025"/>
                <a:gd name="connsiteX360" fmla="*/ 7399338 w 8802688"/>
                <a:gd name="connsiteY360" fmla="*/ 1211263 h 6677025"/>
                <a:gd name="connsiteX361" fmla="*/ 7454901 w 8802688"/>
                <a:gd name="connsiteY361" fmla="*/ 1296988 h 6677025"/>
                <a:gd name="connsiteX362" fmla="*/ 7512051 w 8802688"/>
                <a:gd name="connsiteY362" fmla="*/ 1382713 h 6677025"/>
                <a:gd name="connsiteX363" fmla="*/ 7069138 w 8802688"/>
                <a:gd name="connsiteY363" fmla="*/ 1492250 h 6677025"/>
                <a:gd name="connsiteX364" fmla="*/ 7083426 w 8802688"/>
                <a:gd name="connsiteY364" fmla="*/ 1573213 h 6677025"/>
                <a:gd name="connsiteX365" fmla="*/ 7092951 w 8802688"/>
                <a:gd name="connsiteY365" fmla="*/ 1611313 h 6677025"/>
                <a:gd name="connsiteX366" fmla="*/ 7104063 w 8802688"/>
                <a:gd name="connsiteY366" fmla="*/ 1647826 h 6677025"/>
                <a:gd name="connsiteX367" fmla="*/ 7116763 w 8802688"/>
                <a:gd name="connsiteY367" fmla="*/ 1677988 h 6677025"/>
                <a:gd name="connsiteX368" fmla="*/ 7131051 w 8802688"/>
                <a:gd name="connsiteY368" fmla="*/ 1706563 h 6677025"/>
                <a:gd name="connsiteX369" fmla="*/ 7150101 w 8802688"/>
                <a:gd name="connsiteY369" fmla="*/ 1733550 h 6677025"/>
                <a:gd name="connsiteX370" fmla="*/ 7170738 w 8802688"/>
                <a:gd name="connsiteY370" fmla="*/ 1754188 h 6677025"/>
                <a:gd name="connsiteX371" fmla="*/ 7191376 w 8802688"/>
                <a:gd name="connsiteY371" fmla="*/ 1774825 h 6677025"/>
                <a:gd name="connsiteX372" fmla="*/ 7218363 w 8802688"/>
                <a:gd name="connsiteY372" fmla="*/ 1790700 h 6677025"/>
                <a:gd name="connsiteX373" fmla="*/ 7243763 w 8802688"/>
                <a:gd name="connsiteY373" fmla="*/ 1801813 h 6677025"/>
                <a:gd name="connsiteX374" fmla="*/ 7277101 w 8802688"/>
                <a:gd name="connsiteY374" fmla="*/ 1811338 h 6677025"/>
                <a:gd name="connsiteX375" fmla="*/ 7310438 w 8802688"/>
                <a:gd name="connsiteY375" fmla="*/ 1814513 h 6677025"/>
                <a:gd name="connsiteX376" fmla="*/ 7348538 w 8802688"/>
                <a:gd name="connsiteY376" fmla="*/ 1811338 h 6677025"/>
                <a:gd name="connsiteX377" fmla="*/ 7392988 w 8802688"/>
                <a:gd name="connsiteY377" fmla="*/ 1804988 h 6677025"/>
                <a:gd name="connsiteX378" fmla="*/ 7437438 w 8802688"/>
                <a:gd name="connsiteY378" fmla="*/ 1793875 h 6677025"/>
                <a:gd name="connsiteX379" fmla="*/ 7550151 w 8802688"/>
                <a:gd name="connsiteY379" fmla="*/ 1906588 h 6677025"/>
                <a:gd name="connsiteX380" fmla="*/ 7362826 w 8802688"/>
                <a:gd name="connsiteY380" fmla="*/ 1941513 h 6677025"/>
                <a:gd name="connsiteX381" fmla="*/ 7221538 w 8802688"/>
                <a:gd name="connsiteY381" fmla="*/ 1974850 h 6677025"/>
                <a:gd name="connsiteX382" fmla="*/ 7164388 w 8802688"/>
                <a:gd name="connsiteY382" fmla="*/ 1992313 h 6677025"/>
                <a:gd name="connsiteX383" fmla="*/ 7116763 w 8802688"/>
                <a:gd name="connsiteY383" fmla="*/ 2006600 h 6677025"/>
                <a:gd name="connsiteX384" fmla="*/ 7075488 w 8802688"/>
                <a:gd name="connsiteY384" fmla="*/ 2025650 h 6677025"/>
                <a:gd name="connsiteX385" fmla="*/ 7038976 w 8802688"/>
                <a:gd name="connsiteY385" fmla="*/ 2046288 h 6677025"/>
                <a:gd name="connsiteX386" fmla="*/ 7011988 w 8802688"/>
                <a:gd name="connsiteY386" fmla="*/ 2066925 h 6677025"/>
                <a:gd name="connsiteX387" fmla="*/ 6988176 w 8802688"/>
                <a:gd name="connsiteY387" fmla="*/ 2093913 h 6677025"/>
                <a:gd name="connsiteX388" fmla="*/ 6970713 w 8802688"/>
                <a:gd name="connsiteY388" fmla="*/ 2122488 h 6677025"/>
                <a:gd name="connsiteX389" fmla="*/ 6956426 w 8802688"/>
                <a:gd name="connsiteY389" fmla="*/ 2159000 h 6677025"/>
                <a:gd name="connsiteX390" fmla="*/ 6943726 w 8802688"/>
                <a:gd name="connsiteY390" fmla="*/ 2197100 h 6677025"/>
                <a:gd name="connsiteX391" fmla="*/ 6935788 w 8802688"/>
                <a:gd name="connsiteY391" fmla="*/ 2241550 h 6677025"/>
                <a:gd name="connsiteX392" fmla="*/ 6926263 w 8802688"/>
                <a:gd name="connsiteY392" fmla="*/ 2295525 h 6677025"/>
                <a:gd name="connsiteX393" fmla="*/ 6919913 w 8802688"/>
                <a:gd name="connsiteY393" fmla="*/ 2355850 h 6677025"/>
                <a:gd name="connsiteX394" fmla="*/ 6946901 w 8802688"/>
                <a:gd name="connsiteY394" fmla="*/ 2298700 h 6677025"/>
                <a:gd name="connsiteX395" fmla="*/ 6973888 w 8802688"/>
                <a:gd name="connsiteY395" fmla="*/ 2244725 h 6677025"/>
                <a:gd name="connsiteX396" fmla="*/ 7004051 w 8802688"/>
                <a:gd name="connsiteY396" fmla="*/ 2200275 h 6677025"/>
                <a:gd name="connsiteX397" fmla="*/ 7015163 w 8802688"/>
                <a:gd name="connsiteY397" fmla="*/ 2182813 h 6677025"/>
                <a:gd name="connsiteX398" fmla="*/ 7031038 w 8802688"/>
                <a:gd name="connsiteY398" fmla="*/ 2168525 h 6677025"/>
                <a:gd name="connsiteX399" fmla="*/ 7081838 w 8802688"/>
                <a:gd name="connsiteY399" fmla="*/ 2117725 h 6677025"/>
                <a:gd name="connsiteX400" fmla="*/ 7127876 w 8802688"/>
                <a:gd name="connsiteY400" fmla="*/ 2073276 h 6677025"/>
                <a:gd name="connsiteX401" fmla="*/ 7181851 w 8802688"/>
                <a:gd name="connsiteY401" fmla="*/ 2030413 h 6677025"/>
                <a:gd name="connsiteX402" fmla="*/ 7253288 w 8802688"/>
                <a:gd name="connsiteY402" fmla="*/ 1981200 h 6677025"/>
                <a:gd name="connsiteX403" fmla="*/ 7226301 w 8802688"/>
                <a:gd name="connsiteY403" fmla="*/ 2135188 h 6677025"/>
                <a:gd name="connsiteX404" fmla="*/ 7197726 w 8802688"/>
                <a:gd name="connsiteY404" fmla="*/ 2268538 h 6677025"/>
                <a:gd name="connsiteX405" fmla="*/ 7170738 w 8802688"/>
                <a:gd name="connsiteY405" fmla="*/ 2390775 h 6677025"/>
                <a:gd name="connsiteX406" fmla="*/ 7140576 w 8802688"/>
                <a:gd name="connsiteY406" fmla="*/ 2503488 h 6677025"/>
                <a:gd name="connsiteX407" fmla="*/ 7178676 w 8802688"/>
                <a:gd name="connsiteY407" fmla="*/ 2503488 h 6677025"/>
                <a:gd name="connsiteX408" fmla="*/ 7235826 w 8802688"/>
                <a:gd name="connsiteY408" fmla="*/ 2414588 h 6677025"/>
                <a:gd name="connsiteX409" fmla="*/ 7289801 w 8802688"/>
                <a:gd name="connsiteY409" fmla="*/ 2316163 h 6677025"/>
                <a:gd name="connsiteX410" fmla="*/ 7345363 w 8802688"/>
                <a:gd name="connsiteY410" fmla="*/ 2217738 h 6677025"/>
                <a:gd name="connsiteX411" fmla="*/ 7402513 w 8802688"/>
                <a:gd name="connsiteY411" fmla="*/ 2128838 h 6677025"/>
                <a:gd name="connsiteX412" fmla="*/ 7405688 w 8802688"/>
                <a:gd name="connsiteY412" fmla="*/ 2117725 h 6677025"/>
                <a:gd name="connsiteX413" fmla="*/ 7413626 w 8802688"/>
                <a:gd name="connsiteY413" fmla="*/ 2108200 h 6677025"/>
                <a:gd name="connsiteX414" fmla="*/ 7426326 w 8802688"/>
                <a:gd name="connsiteY414" fmla="*/ 2098675 h 6677025"/>
                <a:gd name="connsiteX415" fmla="*/ 7443788 w 8802688"/>
                <a:gd name="connsiteY415" fmla="*/ 2093913 h 6677025"/>
                <a:gd name="connsiteX416" fmla="*/ 7478713 w 8802688"/>
                <a:gd name="connsiteY416" fmla="*/ 2076451 h 6677025"/>
                <a:gd name="connsiteX417" fmla="*/ 7497763 w 8802688"/>
                <a:gd name="connsiteY417" fmla="*/ 2066925 h 6677025"/>
                <a:gd name="connsiteX418" fmla="*/ 7512051 w 8802688"/>
                <a:gd name="connsiteY418" fmla="*/ 2054225 h 6677025"/>
                <a:gd name="connsiteX419" fmla="*/ 7539038 w 8802688"/>
                <a:gd name="connsiteY419" fmla="*/ 2084388 h 6677025"/>
                <a:gd name="connsiteX420" fmla="*/ 7553326 w 8802688"/>
                <a:gd name="connsiteY420" fmla="*/ 2098675 h 6677025"/>
                <a:gd name="connsiteX421" fmla="*/ 7562851 w 8802688"/>
                <a:gd name="connsiteY421" fmla="*/ 2114550 h 6677025"/>
                <a:gd name="connsiteX422" fmla="*/ 7573963 w 8802688"/>
                <a:gd name="connsiteY422" fmla="*/ 2135188 h 6677025"/>
                <a:gd name="connsiteX423" fmla="*/ 7580313 w 8802688"/>
                <a:gd name="connsiteY423" fmla="*/ 2155825 h 6677025"/>
                <a:gd name="connsiteX424" fmla="*/ 7586663 w 8802688"/>
                <a:gd name="connsiteY424" fmla="*/ 2176463 h 6677025"/>
                <a:gd name="connsiteX425" fmla="*/ 7586663 w 8802688"/>
                <a:gd name="connsiteY425" fmla="*/ 2203450 h 6677025"/>
                <a:gd name="connsiteX426" fmla="*/ 7586663 w 8802688"/>
                <a:gd name="connsiteY426" fmla="*/ 2262188 h 6677025"/>
                <a:gd name="connsiteX427" fmla="*/ 7580313 w 8802688"/>
                <a:gd name="connsiteY427" fmla="*/ 2322513 h 6677025"/>
                <a:gd name="connsiteX428" fmla="*/ 7569201 w 8802688"/>
                <a:gd name="connsiteY428" fmla="*/ 2452688 h 6677025"/>
                <a:gd name="connsiteX429" fmla="*/ 7556501 w 8802688"/>
                <a:gd name="connsiteY429" fmla="*/ 2587625 h 6677025"/>
                <a:gd name="connsiteX430" fmla="*/ 7550151 w 8802688"/>
                <a:gd name="connsiteY430" fmla="*/ 2659063 h 6677025"/>
                <a:gd name="connsiteX431" fmla="*/ 7550151 w 8802688"/>
                <a:gd name="connsiteY431" fmla="*/ 2727325 h 6677025"/>
                <a:gd name="connsiteX432" fmla="*/ 7589838 w 8802688"/>
                <a:gd name="connsiteY432" fmla="*/ 2613025 h 6677025"/>
                <a:gd name="connsiteX433" fmla="*/ 7624763 w 8802688"/>
                <a:gd name="connsiteY433" fmla="*/ 2503488 h 6677025"/>
                <a:gd name="connsiteX434" fmla="*/ 7654926 w 8802688"/>
                <a:gd name="connsiteY434" fmla="*/ 2390775 h 6677025"/>
                <a:gd name="connsiteX435" fmla="*/ 7666038 w 8802688"/>
                <a:gd name="connsiteY435" fmla="*/ 2333625 h 6677025"/>
                <a:gd name="connsiteX436" fmla="*/ 7675563 w 8802688"/>
                <a:gd name="connsiteY436" fmla="*/ 2278063 h 6677025"/>
                <a:gd name="connsiteX437" fmla="*/ 7681913 w 8802688"/>
                <a:gd name="connsiteY437" fmla="*/ 2224088 h 6677025"/>
                <a:gd name="connsiteX438" fmla="*/ 7688263 w 8802688"/>
                <a:gd name="connsiteY438" fmla="*/ 2168525 h 6677025"/>
                <a:gd name="connsiteX439" fmla="*/ 7689851 w 8802688"/>
                <a:gd name="connsiteY439" fmla="*/ 2111375 h 6677025"/>
                <a:gd name="connsiteX440" fmla="*/ 7689851 w 8802688"/>
                <a:gd name="connsiteY440" fmla="*/ 2054225 h 6677025"/>
                <a:gd name="connsiteX441" fmla="*/ 7688263 w 8802688"/>
                <a:gd name="connsiteY441" fmla="*/ 1998663 h 6677025"/>
                <a:gd name="connsiteX442" fmla="*/ 7681913 w 8802688"/>
                <a:gd name="connsiteY442" fmla="*/ 1941513 h 6677025"/>
                <a:gd name="connsiteX443" fmla="*/ 7672388 w 8802688"/>
                <a:gd name="connsiteY443" fmla="*/ 1885950 h 6677025"/>
                <a:gd name="connsiteX444" fmla="*/ 7661276 w 8802688"/>
                <a:gd name="connsiteY444" fmla="*/ 1831975 h 6677025"/>
                <a:gd name="connsiteX445" fmla="*/ 7654926 w 8802688"/>
                <a:gd name="connsiteY445" fmla="*/ 1811338 h 6677025"/>
                <a:gd name="connsiteX446" fmla="*/ 7651751 w 8802688"/>
                <a:gd name="connsiteY446" fmla="*/ 1790700 h 6677025"/>
                <a:gd name="connsiteX447" fmla="*/ 7651751 w 8802688"/>
                <a:gd name="connsiteY447" fmla="*/ 1773238 h 6677025"/>
                <a:gd name="connsiteX448" fmla="*/ 7651751 w 8802688"/>
                <a:gd name="connsiteY448" fmla="*/ 1754188 h 6677025"/>
                <a:gd name="connsiteX449" fmla="*/ 7654926 w 8802688"/>
                <a:gd name="connsiteY449" fmla="*/ 1736725 h 6677025"/>
                <a:gd name="connsiteX450" fmla="*/ 7661276 w 8802688"/>
                <a:gd name="connsiteY450" fmla="*/ 1719263 h 6677025"/>
                <a:gd name="connsiteX451" fmla="*/ 7675563 w 8802688"/>
                <a:gd name="connsiteY451" fmla="*/ 1689100 h 6677025"/>
                <a:gd name="connsiteX452" fmla="*/ 7696201 w 8802688"/>
                <a:gd name="connsiteY452" fmla="*/ 1665288 h 6677025"/>
                <a:gd name="connsiteX453" fmla="*/ 7720013 w 8802688"/>
                <a:gd name="connsiteY453" fmla="*/ 1641476 h 6677025"/>
                <a:gd name="connsiteX454" fmla="*/ 7743826 w 8802688"/>
                <a:gd name="connsiteY454" fmla="*/ 1620838 h 6677025"/>
                <a:gd name="connsiteX455" fmla="*/ 7773988 w 8802688"/>
                <a:gd name="connsiteY455" fmla="*/ 1606550 h 6677025"/>
                <a:gd name="connsiteX456" fmla="*/ 7805738 w 8802688"/>
                <a:gd name="connsiteY456" fmla="*/ 1590675 h 6677025"/>
                <a:gd name="connsiteX457" fmla="*/ 7839076 w 8802688"/>
                <a:gd name="connsiteY457" fmla="*/ 1576388 h 6677025"/>
                <a:gd name="connsiteX458" fmla="*/ 7904163 w 8802688"/>
                <a:gd name="connsiteY458" fmla="*/ 1538288 h 6677025"/>
                <a:gd name="connsiteX459" fmla="*/ 7967663 w 8802688"/>
                <a:gd name="connsiteY459" fmla="*/ 1495425 h 6677025"/>
                <a:gd name="connsiteX460" fmla="*/ 8026401 w 8802688"/>
                <a:gd name="connsiteY460" fmla="*/ 1447801 h 6677025"/>
                <a:gd name="connsiteX461" fmla="*/ 8085138 w 8802688"/>
                <a:gd name="connsiteY461" fmla="*/ 1398588 h 6677025"/>
                <a:gd name="connsiteX462" fmla="*/ 8142288 w 8802688"/>
                <a:gd name="connsiteY462" fmla="*/ 1344613 h 6677025"/>
                <a:gd name="connsiteX463" fmla="*/ 8255001 w 8802688"/>
                <a:gd name="connsiteY463" fmla="*/ 1235076 h 6677025"/>
                <a:gd name="connsiteX464" fmla="*/ 8275638 w 8802688"/>
                <a:gd name="connsiteY464" fmla="*/ 1208088 h 6677025"/>
                <a:gd name="connsiteX465" fmla="*/ 8296276 w 8802688"/>
                <a:gd name="connsiteY465" fmla="*/ 1187450 h 6677025"/>
                <a:gd name="connsiteX466" fmla="*/ 8318501 w 8802688"/>
                <a:gd name="connsiteY466" fmla="*/ 1168400 h 6677025"/>
                <a:gd name="connsiteX467" fmla="*/ 8339138 w 8802688"/>
                <a:gd name="connsiteY467" fmla="*/ 1154113 h 6677025"/>
                <a:gd name="connsiteX468" fmla="*/ 8359776 w 8802688"/>
                <a:gd name="connsiteY468" fmla="*/ 1144588 h 6677025"/>
                <a:gd name="connsiteX469" fmla="*/ 8377238 w 8802688"/>
                <a:gd name="connsiteY469" fmla="*/ 1139825 h 6677025"/>
                <a:gd name="connsiteX470" fmla="*/ 8397876 w 8802688"/>
                <a:gd name="connsiteY470" fmla="*/ 1139825 h 6677025"/>
                <a:gd name="connsiteX471" fmla="*/ 8415338 w 8802688"/>
                <a:gd name="connsiteY471" fmla="*/ 1139825 h 6677025"/>
                <a:gd name="connsiteX472" fmla="*/ 8435976 w 8802688"/>
                <a:gd name="connsiteY472" fmla="*/ 1144588 h 6677025"/>
                <a:gd name="connsiteX473" fmla="*/ 8455026 w 8802688"/>
                <a:gd name="connsiteY473" fmla="*/ 1154113 h 6677025"/>
                <a:gd name="connsiteX474" fmla="*/ 8472488 w 8802688"/>
                <a:gd name="connsiteY474" fmla="*/ 1166813 h 6677025"/>
                <a:gd name="connsiteX475" fmla="*/ 8489951 w 8802688"/>
                <a:gd name="connsiteY475" fmla="*/ 1181100 h 6677025"/>
                <a:gd name="connsiteX476" fmla="*/ 8504238 w 8802688"/>
                <a:gd name="connsiteY476" fmla="*/ 1198563 h 6677025"/>
                <a:gd name="connsiteX477" fmla="*/ 8523288 w 8802688"/>
                <a:gd name="connsiteY477" fmla="*/ 1219201 h 6677025"/>
                <a:gd name="connsiteX478" fmla="*/ 8537576 w 8802688"/>
                <a:gd name="connsiteY478" fmla="*/ 1243013 h 6677025"/>
                <a:gd name="connsiteX479" fmla="*/ 8551863 w 8802688"/>
                <a:gd name="connsiteY479" fmla="*/ 1270000 h 6677025"/>
                <a:gd name="connsiteX480" fmla="*/ 8605838 w 8802688"/>
                <a:gd name="connsiteY480" fmla="*/ 1403350 h 6677025"/>
                <a:gd name="connsiteX481" fmla="*/ 8659813 w 8802688"/>
                <a:gd name="connsiteY481" fmla="*/ 1531938 h 6677025"/>
                <a:gd name="connsiteX482" fmla="*/ 8680451 w 8802688"/>
                <a:gd name="connsiteY482" fmla="*/ 1593850 h 6677025"/>
                <a:gd name="connsiteX483" fmla="*/ 8704263 w 8802688"/>
                <a:gd name="connsiteY483" fmla="*/ 1658938 h 6677025"/>
                <a:gd name="connsiteX484" fmla="*/ 8721726 w 8802688"/>
                <a:gd name="connsiteY484" fmla="*/ 1725613 h 6677025"/>
                <a:gd name="connsiteX485" fmla="*/ 8737601 w 8802688"/>
                <a:gd name="connsiteY485" fmla="*/ 1793875 h 6677025"/>
                <a:gd name="connsiteX486" fmla="*/ 8763001 w 8802688"/>
                <a:gd name="connsiteY486" fmla="*/ 1974850 h 6677025"/>
                <a:gd name="connsiteX487" fmla="*/ 8785226 w 8802688"/>
                <a:gd name="connsiteY487" fmla="*/ 2149475 h 6677025"/>
                <a:gd name="connsiteX488" fmla="*/ 8789988 w 8802688"/>
                <a:gd name="connsiteY488" fmla="*/ 2238375 h 6677025"/>
                <a:gd name="connsiteX489" fmla="*/ 8796338 w 8802688"/>
                <a:gd name="connsiteY489" fmla="*/ 2325688 h 6677025"/>
                <a:gd name="connsiteX490" fmla="*/ 8802688 w 8802688"/>
                <a:gd name="connsiteY490" fmla="*/ 2411413 h 6677025"/>
                <a:gd name="connsiteX491" fmla="*/ 8802688 w 8802688"/>
                <a:gd name="connsiteY491" fmla="*/ 2497138 h 6677025"/>
                <a:gd name="connsiteX492" fmla="*/ 8802688 w 8802688"/>
                <a:gd name="connsiteY492" fmla="*/ 2584450 h 6677025"/>
                <a:gd name="connsiteX493" fmla="*/ 8796338 w 8802688"/>
                <a:gd name="connsiteY493" fmla="*/ 2670175 h 6677025"/>
                <a:gd name="connsiteX494" fmla="*/ 8789988 w 8802688"/>
                <a:gd name="connsiteY494" fmla="*/ 2752725 h 6677025"/>
                <a:gd name="connsiteX495" fmla="*/ 8778876 w 8802688"/>
                <a:gd name="connsiteY495" fmla="*/ 2840038 h 6677025"/>
                <a:gd name="connsiteX496" fmla="*/ 8763001 w 8802688"/>
                <a:gd name="connsiteY496" fmla="*/ 2922588 h 6677025"/>
                <a:gd name="connsiteX497" fmla="*/ 8748713 w 8802688"/>
                <a:gd name="connsiteY497" fmla="*/ 3006725 h 6677025"/>
                <a:gd name="connsiteX498" fmla="*/ 8724901 w 8802688"/>
                <a:gd name="connsiteY498" fmla="*/ 3092450 h 6677025"/>
                <a:gd name="connsiteX499" fmla="*/ 8701088 w 8802688"/>
                <a:gd name="connsiteY499" fmla="*/ 3175000 h 6677025"/>
                <a:gd name="connsiteX500" fmla="*/ 8670926 w 8802688"/>
                <a:gd name="connsiteY500" fmla="*/ 3249613 h 6677025"/>
                <a:gd name="connsiteX501" fmla="*/ 8642351 w 8802688"/>
                <a:gd name="connsiteY501" fmla="*/ 3321050 h 6677025"/>
                <a:gd name="connsiteX502" fmla="*/ 8609013 w 8802688"/>
                <a:gd name="connsiteY502" fmla="*/ 3389313 h 6677025"/>
                <a:gd name="connsiteX503" fmla="*/ 8575676 w 8802688"/>
                <a:gd name="connsiteY503" fmla="*/ 3451225 h 6677025"/>
                <a:gd name="connsiteX504" fmla="*/ 8543926 w 8802688"/>
                <a:gd name="connsiteY504" fmla="*/ 3514725 h 6677025"/>
                <a:gd name="connsiteX505" fmla="*/ 8507413 w 8802688"/>
                <a:gd name="connsiteY505" fmla="*/ 3570288 h 6677025"/>
                <a:gd name="connsiteX506" fmla="*/ 8469313 w 8802688"/>
                <a:gd name="connsiteY506" fmla="*/ 3621088 h 6677025"/>
                <a:gd name="connsiteX507" fmla="*/ 8431213 w 8802688"/>
                <a:gd name="connsiteY507" fmla="*/ 3671888 h 6677025"/>
                <a:gd name="connsiteX508" fmla="*/ 8391526 w 8802688"/>
                <a:gd name="connsiteY508" fmla="*/ 3719513 h 6677025"/>
                <a:gd name="connsiteX509" fmla="*/ 8350251 w 8802688"/>
                <a:gd name="connsiteY509" fmla="*/ 3760788 h 6677025"/>
                <a:gd name="connsiteX510" fmla="*/ 8305801 w 8802688"/>
                <a:gd name="connsiteY510" fmla="*/ 3802063 h 6677025"/>
                <a:gd name="connsiteX511" fmla="*/ 8261351 w 8802688"/>
                <a:gd name="connsiteY511" fmla="*/ 3838575 h 6677025"/>
                <a:gd name="connsiteX512" fmla="*/ 8216901 w 8802688"/>
                <a:gd name="connsiteY512" fmla="*/ 3870325 h 6677025"/>
                <a:gd name="connsiteX513" fmla="*/ 8172451 w 8802688"/>
                <a:gd name="connsiteY513" fmla="*/ 3903663 h 6677025"/>
                <a:gd name="connsiteX514" fmla="*/ 8124826 w 8802688"/>
                <a:gd name="connsiteY514" fmla="*/ 3930650 h 6677025"/>
                <a:gd name="connsiteX515" fmla="*/ 8074026 w 8802688"/>
                <a:gd name="connsiteY515" fmla="*/ 3954463 h 6677025"/>
                <a:gd name="connsiteX516" fmla="*/ 8023226 w 8802688"/>
                <a:gd name="connsiteY516" fmla="*/ 3978275 h 6677025"/>
                <a:gd name="connsiteX517" fmla="*/ 7972426 w 8802688"/>
                <a:gd name="connsiteY517" fmla="*/ 3995738 h 6677025"/>
                <a:gd name="connsiteX518" fmla="*/ 7920038 w 8802688"/>
                <a:gd name="connsiteY518" fmla="*/ 4013200 h 6677025"/>
                <a:gd name="connsiteX519" fmla="*/ 7866063 w 8802688"/>
                <a:gd name="connsiteY519" fmla="*/ 4029075 h 6677025"/>
                <a:gd name="connsiteX520" fmla="*/ 7812088 w 8802688"/>
                <a:gd name="connsiteY520" fmla="*/ 4040188 h 6677025"/>
                <a:gd name="connsiteX521" fmla="*/ 7756526 w 8802688"/>
                <a:gd name="connsiteY521" fmla="*/ 4049713 h 6677025"/>
                <a:gd name="connsiteX522" fmla="*/ 7699376 w 8802688"/>
                <a:gd name="connsiteY522" fmla="*/ 4057650 h 6677025"/>
                <a:gd name="connsiteX523" fmla="*/ 7640638 w 8802688"/>
                <a:gd name="connsiteY523" fmla="*/ 4064000 h 6677025"/>
                <a:gd name="connsiteX524" fmla="*/ 7583488 w 8802688"/>
                <a:gd name="connsiteY524" fmla="*/ 4067175 h 6677025"/>
                <a:gd name="connsiteX525" fmla="*/ 7521576 w 8802688"/>
                <a:gd name="connsiteY525" fmla="*/ 4067175 h 6677025"/>
                <a:gd name="connsiteX526" fmla="*/ 7461251 w 8802688"/>
                <a:gd name="connsiteY526" fmla="*/ 4067175 h 6677025"/>
                <a:gd name="connsiteX527" fmla="*/ 7399338 w 8802688"/>
                <a:gd name="connsiteY527" fmla="*/ 4064000 h 6677025"/>
                <a:gd name="connsiteX528" fmla="*/ 7270751 w 8802688"/>
                <a:gd name="connsiteY528" fmla="*/ 4052888 h 6677025"/>
                <a:gd name="connsiteX529" fmla="*/ 7140576 w 8802688"/>
                <a:gd name="connsiteY529" fmla="*/ 4033838 h 6677025"/>
                <a:gd name="connsiteX530" fmla="*/ 7018338 w 8802688"/>
                <a:gd name="connsiteY530" fmla="*/ 4016375 h 6677025"/>
                <a:gd name="connsiteX531" fmla="*/ 6896101 w 8802688"/>
                <a:gd name="connsiteY531" fmla="*/ 3992563 h 6677025"/>
                <a:gd name="connsiteX532" fmla="*/ 6780213 w 8802688"/>
                <a:gd name="connsiteY532" fmla="*/ 3965575 h 6677025"/>
                <a:gd name="connsiteX533" fmla="*/ 6664326 w 8802688"/>
                <a:gd name="connsiteY533" fmla="*/ 3937000 h 6677025"/>
                <a:gd name="connsiteX534" fmla="*/ 6438901 w 8802688"/>
                <a:gd name="connsiteY534" fmla="*/ 3870325 h 6677025"/>
                <a:gd name="connsiteX535" fmla="*/ 6326188 w 8802688"/>
                <a:gd name="connsiteY535" fmla="*/ 3841750 h 6677025"/>
                <a:gd name="connsiteX536" fmla="*/ 6216651 w 8802688"/>
                <a:gd name="connsiteY536" fmla="*/ 3811588 h 6677025"/>
                <a:gd name="connsiteX537" fmla="*/ 6186488 w 8802688"/>
                <a:gd name="connsiteY537" fmla="*/ 3951288 h 6677025"/>
                <a:gd name="connsiteX538" fmla="*/ 6162676 w 8802688"/>
                <a:gd name="connsiteY538" fmla="*/ 4094163 h 6677025"/>
                <a:gd name="connsiteX539" fmla="*/ 6153151 w 8802688"/>
                <a:gd name="connsiteY539" fmla="*/ 4171950 h 6677025"/>
                <a:gd name="connsiteX540" fmla="*/ 6148388 w 8802688"/>
                <a:gd name="connsiteY540" fmla="*/ 4244975 h 6677025"/>
                <a:gd name="connsiteX541" fmla="*/ 6142038 w 8802688"/>
                <a:gd name="connsiteY541" fmla="*/ 4325938 h 6677025"/>
                <a:gd name="connsiteX542" fmla="*/ 6142038 w 8802688"/>
                <a:gd name="connsiteY542" fmla="*/ 4408488 h 6677025"/>
                <a:gd name="connsiteX543" fmla="*/ 6142038 w 8802688"/>
                <a:gd name="connsiteY543" fmla="*/ 4438650 h 6677025"/>
                <a:gd name="connsiteX544" fmla="*/ 6148388 w 8802688"/>
                <a:gd name="connsiteY544" fmla="*/ 4468813 h 6677025"/>
                <a:gd name="connsiteX545" fmla="*/ 6156326 w 8802688"/>
                <a:gd name="connsiteY545" fmla="*/ 4500563 h 6677025"/>
                <a:gd name="connsiteX546" fmla="*/ 6169026 w 8802688"/>
                <a:gd name="connsiteY546" fmla="*/ 4530725 h 6677025"/>
                <a:gd name="connsiteX547" fmla="*/ 6183313 w 8802688"/>
                <a:gd name="connsiteY547" fmla="*/ 4554538 h 6677025"/>
                <a:gd name="connsiteX548" fmla="*/ 6203951 w 8802688"/>
                <a:gd name="connsiteY548" fmla="*/ 4575175 h 6677025"/>
                <a:gd name="connsiteX549" fmla="*/ 6213476 w 8802688"/>
                <a:gd name="connsiteY549" fmla="*/ 4584700 h 6677025"/>
                <a:gd name="connsiteX550" fmla="*/ 6224588 w 8802688"/>
                <a:gd name="connsiteY550" fmla="*/ 4591050 h 6677025"/>
                <a:gd name="connsiteX551" fmla="*/ 6237288 w 8802688"/>
                <a:gd name="connsiteY551" fmla="*/ 4594225 h 6677025"/>
                <a:gd name="connsiteX552" fmla="*/ 6251576 w 8802688"/>
                <a:gd name="connsiteY552" fmla="*/ 4595813 h 6677025"/>
                <a:gd name="connsiteX553" fmla="*/ 6281738 w 8802688"/>
                <a:gd name="connsiteY553" fmla="*/ 4608513 h 6677025"/>
                <a:gd name="connsiteX554" fmla="*/ 6313488 w 8802688"/>
                <a:gd name="connsiteY554" fmla="*/ 4619625 h 6677025"/>
                <a:gd name="connsiteX555" fmla="*/ 6350001 w 8802688"/>
                <a:gd name="connsiteY555" fmla="*/ 4629150 h 6677025"/>
                <a:gd name="connsiteX556" fmla="*/ 6384926 w 8802688"/>
                <a:gd name="connsiteY556" fmla="*/ 4632325 h 6677025"/>
                <a:gd name="connsiteX557" fmla="*/ 6405563 w 8802688"/>
                <a:gd name="connsiteY557" fmla="*/ 4632325 h 6677025"/>
                <a:gd name="connsiteX558" fmla="*/ 6424613 w 8802688"/>
                <a:gd name="connsiteY558" fmla="*/ 4629150 h 6677025"/>
                <a:gd name="connsiteX559" fmla="*/ 6445251 w 8802688"/>
                <a:gd name="connsiteY559" fmla="*/ 4622800 h 6677025"/>
                <a:gd name="connsiteX560" fmla="*/ 6465888 w 8802688"/>
                <a:gd name="connsiteY560" fmla="*/ 4616450 h 6677025"/>
                <a:gd name="connsiteX561" fmla="*/ 6486526 w 8802688"/>
                <a:gd name="connsiteY561" fmla="*/ 4605338 h 6677025"/>
                <a:gd name="connsiteX562" fmla="*/ 6507163 w 8802688"/>
                <a:gd name="connsiteY562" fmla="*/ 4594225 h 6677025"/>
                <a:gd name="connsiteX563" fmla="*/ 6527801 w 8802688"/>
                <a:gd name="connsiteY563" fmla="*/ 4575175 h 6677025"/>
                <a:gd name="connsiteX564" fmla="*/ 6548438 w 8802688"/>
                <a:gd name="connsiteY564" fmla="*/ 4557713 h 6677025"/>
                <a:gd name="connsiteX565" fmla="*/ 6578601 w 8802688"/>
                <a:gd name="connsiteY565" fmla="*/ 4516438 h 6677025"/>
                <a:gd name="connsiteX566" fmla="*/ 6608763 w 8802688"/>
                <a:gd name="connsiteY566" fmla="*/ 4476750 h 6677025"/>
                <a:gd name="connsiteX567" fmla="*/ 6673851 w 8802688"/>
                <a:gd name="connsiteY567" fmla="*/ 4403725 h 6677025"/>
                <a:gd name="connsiteX568" fmla="*/ 6704013 w 8802688"/>
                <a:gd name="connsiteY568" fmla="*/ 4364038 h 6677025"/>
                <a:gd name="connsiteX569" fmla="*/ 6731001 w 8802688"/>
                <a:gd name="connsiteY569" fmla="*/ 4319588 h 6677025"/>
                <a:gd name="connsiteX570" fmla="*/ 6754813 w 8802688"/>
                <a:gd name="connsiteY570" fmla="*/ 4275138 h 6677025"/>
                <a:gd name="connsiteX571" fmla="*/ 6762751 w 8802688"/>
                <a:gd name="connsiteY571" fmla="*/ 4248150 h 6677025"/>
                <a:gd name="connsiteX572" fmla="*/ 6772276 w 8802688"/>
                <a:gd name="connsiteY572" fmla="*/ 4221163 h 6677025"/>
                <a:gd name="connsiteX573" fmla="*/ 6775451 w 8802688"/>
                <a:gd name="connsiteY573" fmla="*/ 4210050 h 6677025"/>
                <a:gd name="connsiteX574" fmla="*/ 6783388 w 8802688"/>
                <a:gd name="connsiteY574" fmla="*/ 4197350 h 6677025"/>
                <a:gd name="connsiteX575" fmla="*/ 6796088 w 8802688"/>
                <a:gd name="connsiteY575" fmla="*/ 4192588 h 6677025"/>
                <a:gd name="connsiteX576" fmla="*/ 6813551 w 8802688"/>
                <a:gd name="connsiteY576" fmla="*/ 4183063 h 6677025"/>
                <a:gd name="connsiteX577" fmla="*/ 6848476 w 8802688"/>
                <a:gd name="connsiteY577" fmla="*/ 4168775 h 6677025"/>
                <a:gd name="connsiteX578" fmla="*/ 6867526 w 8802688"/>
                <a:gd name="connsiteY578" fmla="*/ 4159250 h 6677025"/>
                <a:gd name="connsiteX579" fmla="*/ 6881813 w 8802688"/>
                <a:gd name="connsiteY579" fmla="*/ 4148138 h 6677025"/>
                <a:gd name="connsiteX580" fmla="*/ 6881813 w 8802688"/>
                <a:gd name="connsiteY580" fmla="*/ 4200525 h 6677025"/>
                <a:gd name="connsiteX581" fmla="*/ 6875463 w 8802688"/>
                <a:gd name="connsiteY581" fmla="*/ 4254500 h 6677025"/>
                <a:gd name="connsiteX582" fmla="*/ 6867526 w 8802688"/>
                <a:gd name="connsiteY582" fmla="*/ 4302125 h 6677025"/>
                <a:gd name="connsiteX583" fmla="*/ 6854826 w 8802688"/>
                <a:gd name="connsiteY583" fmla="*/ 4349750 h 6677025"/>
                <a:gd name="connsiteX584" fmla="*/ 6840538 w 8802688"/>
                <a:gd name="connsiteY584" fmla="*/ 4394200 h 6677025"/>
                <a:gd name="connsiteX585" fmla="*/ 6823076 w 8802688"/>
                <a:gd name="connsiteY585" fmla="*/ 4435475 h 6677025"/>
                <a:gd name="connsiteX586" fmla="*/ 6800851 w 8802688"/>
                <a:gd name="connsiteY586" fmla="*/ 4475163 h 6677025"/>
                <a:gd name="connsiteX587" fmla="*/ 6775451 w 8802688"/>
                <a:gd name="connsiteY587" fmla="*/ 4510088 h 6677025"/>
                <a:gd name="connsiteX588" fmla="*/ 6748463 w 8802688"/>
                <a:gd name="connsiteY588" fmla="*/ 4546600 h 6677025"/>
                <a:gd name="connsiteX589" fmla="*/ 6718301 w 8802688"/>
                <a:gd name="connsiteY589" fmla="*/ 4575175 h 6677025"/>
                <a:gd name="connsiteX590" fmla="*/ 6683376 w 8802688"/>
                <a:gd name="connsiteY590" fmla="*/ 4605338 h 6677025"/>
                <a:gd name="connsiteX591" fmla="*/ 6646863 w 8802688"/>
                <a:gd name="connsiteY591" fmla="*/ 4629150 h 6677025"/>
                <a:gd name="connsiteX592" fmla="*/ 6608763 w 8802688"/>
                <a:gd name="connsiteY592" fmla="*/ 4652963 h 6677025"/>
                <a:gd name="connsiteX593" fmla="*/ 6567488 w 8802688"/>
                <a:gd name="connsiteY593" fmla="*/ 4673600 h 6677025"/>
                <a:gd name="connsiteX594" fmla="*/ 6521451 w 8802688"/>
                <a:gd name="connsiteY594" fmla="*/ 4691063 h 6677025"/>
                <a:gd name="connsiteX595" fmla="*/ 6473826 w 8802688"/>
                <a:gd name="connsiteY595" fmla="*/ 4706938 h 6677025"/>
                <a:gd name="connsiteX596" fmla="*/ 6438901 w 8802688"/>
                <a:gd name="connsiteY596" fmla="*/ 4718050 h 6677025"/>
                <a:gd name="connsiteX597" fmla="*/ 6403976 w 8802688"/>
                <a:gd name="connsiteY597" fmla="*/ 4727575 h 6677025"/>
                <a:gd name="connsiteX598" fmla="*/ 6370638 w 8802688"/>
                <a:gd name="connsiteY598" fmla="*/ 4733925 h 6677025"/>
                <a:gd name="connsiteX599" fmla="*/ 6334126 w 8802688"/>
                <a:gd name="connsiteY599" fmla="*/ 4735513 h 6677025"/>
                <a:gd name="connsiteX600" fmla="*/ 6302376 w 8802688"/>
                <a:gd name="connsiteY600" fmla="*/ 4735513 h 6677025"/>
                <a:gd name="connsiteX601" fmla="*/ 6265863 w 8802688"/>
                <a:gd name="connsiteY601" fmla="*/ 4733925 h 6677025"/>
                <a:gd name="connsiteX602" fmla="*/ 6234113 w 8802688"/>
                <a:gd name="connsiteY602" fmla="*/ 4724400 h 6677025"/>
                <a:gd name="connsiteX603" fmla="*/ 6200776 w 8802688"/>
                <a:gd name="connsiteY603" fmla="*/ 4714875 h 6677025"/>
                <a:gd name="connsiteX604" fmla="*/ 6169026 w 8802688"/>
                <a:gd name="connsiteY604" fmla="*/ 4703763 h 6677025"/>
                <a:gd name="connsiteX605" fmla="*/ 6135688 w 8802688"/>
                <a:gd name="connsiteY605" fmla="*/ 4691063 h 6677025"/>
                <a:gd name="connsiteX606" fmla="*/ 6102351 w 8802688"/>
                <a:gd name="connsiteY606" fmla="*/ 4673600 h 6677025"/>
                <a:gd name="connsiteX607" fmla="*/ 6073776 w 8802688"/>
                <a:gd name="connsiteY607" fmla="*/ 4656138 h 6677025"/>
                <a:gd name="connsiteX608" fmla="*/ 6040438 w 8802688"/>
                <a:gd name="connsiteY608" fmla="*/ 4632325 h 6677025"/>
                <a:gd name="connsiteX609" fmla="*/ 6010276 w 8802688"/>
                <a:gd name="connsiteY609" fmla="*/ 4611688 h 6677025"/>
                <a:gd name="connsiteX610" fmla="*/ 5984876 w 8802688"/>
                <a:gd name="connsiteY610" fmla="*/ 4584700 h 6677025"/>
                <a:gd name="connsiteX611" fmla="*/ 5954713 w 8802688"/>
                <a:gd name="connsiteY611" fmla="*/ 4557713 h 6677025"/>
                <a:gd name="connsiteX612" fmla="*/ 5903913 w 8802688"/>
                <a:gd name="connsiteY612" fmla="*/ 4510088 h 6677025"/>
                <a:gd name="connsiteX613" fmla="*/ 5853113 w 8802688"/>
                <a:gd name="connsiteY613" fmla="*/ 4465638 h 6677025"/>
                <a:gd name="connsiteX614" fmla="*/ 5802313 w 8802688"/>
                <a:gd name="connsiteY614" fmla="*/ 4424363 h 6677025"/>
                <a:gd name="connsiteX615" fmla="*/ 5746751 w 8802688"/>
                <a:gd name="connsiteY615" fmla="*/ 4384675 h 6677025"/>
                <a:gd name="connsiteX616" fmla="*/ 5692776 w 8802688"/>
                <a:gd name="connsiteY616" fmla="*/ 4349750 h 6677025"/>
                <a:gd name="connsiteX617" fmla="*/ 5635626 w 8802688"/>
                <a:gd name="connsiteY617" fmla="*/ 4316413 h 6677025"/>
                <a:gd name="connsiteX618" fmla="*/ 5576888 w 8802688"/>
                <a:gd name="connsiteY618" fmla="*/ 4284663 h 6677025"/>
                <a:gd name="connsiteX619" fmla="*/ 5519738 w 8802688"/>
                <a:gd name="connsiteY619" fmla="*/ 4254500 h 6677025"/>
                <a:gd name="connsiteX620" fmla="*/ 5399088 w 8802688"/>
                <a:gd name="connsiteY620" fmla="*/ 4197350 h 6677025"/>
                <a:gd name="connsiteX621" fmla="*/ 5276851 w 8802688"/>
                <a:gd name="connsiteY621" fmla="*/ 4141788 h 6677025"/>
                <a:gd name="connsiteX622" fmla="*/ 5027613 w 8802688"/>
                <a:gd name="connsiteY622" fmla="*/ 4033838 h 6677025"/>
                <a:gd name="connsiteX623" fmla="*/ 5110163 w 8802688"/>
                <a:gd name="connsiteY623" fmla="*/ 4090988 h 6677025"/>
                <a:gd name="connsiteX624" fmla="*/ 5151438 w 8802688"/>
                <a:gd name="connsiteY624" fmla="*/ 4121150 h 6677025"/>
                <a:gd name="connsiteX625" fmla="*/ 5191126 w 8802688"/>
                <a:gd name="connsiteY625" fmla="*/ 4151313 h 6677025"/>
                <a:gd name="connsiteX626" fmla="*/ 5226051 w 8802688"/>
                <a:gd name="connsiteY626" fmla="*/ 4183063 h 6677025"/>
                <a:gd name="connsiteX627" fmla="*/ 5260976 w 8802688"/>
                <a:gd name="connsiteY627" fmla="*/ 4219575 h 6677025"/>
                <a:gd name="connsiteX628" fmla="*/ 5294313 w 8802688"/>
                <a:gd name="connsiteY628" fmla="*/ 4254500 h 6677025"/>
                <a:gd name="connsiteX629" fmla="*/ 5324476 w 8802688"/>
                <a:gd name="connsiteY629" fmla="*/ 4295775 h 6677025"/>
                <a:gd name="connsiteX630" fmla="*/ 5356226 w 8802688"/>
                <a:gd name="connsiteY630" fmla="*/ 4329113 h 6677025"/>
                <a:gd name="connsiteX631" fmla="*/ 5392738 w 8802688"/>
                <a:gd name="connsiteY631" fmla="*/ 4370388 h 6677025"/>
                <a:gd name="connsiteX632" fmla="*/ 5410201 w 8802688"/>
                <a:gd name="connsiteY632" fmla="*/ 4391025 h 6677025"/>
                <a:gd name="connsiteX633" fmla="*/ 5422901 w 8802688"/>
                <a:gd name="connsiteY633" fmla="*/ 4411663 h 6677025"/>
                <a:gd name="connsiteX634" fmla="*/ 5430838 w 8802688"/>
                <a:gd name="connsiteY634" fmla="*/ 4430713 h 6677025"/>
                <a:gd name="connsiteX635" fmla="*/ 5434013 w 8802688"/>
                <a:gd name="connsiteY635" fmla="*/ 4445000 h 6677025"/>
                <a:gd name="connsiteX636" fmla="*/ 5376863 w 8802688"/>
                <a:gd name="connsiteY636" fmla="*/ 4656138 h 6677025"/>
                <a:gd name="connsiteX637" fmla="*/ 5348288 w 8802688"/>
                <a:gd name="connsiteY637" fmla="*/ 4759325 h 6677025"/>
                <a:gd name="connsiteX638" fmla="*/ 5314951 w 8802688"/>
                <a:gd name="connsiteY638" fmla="*/ 4864100 h 6677025"/>
                <a:gd name="connsiteX639" fmla="*/ 5280026 w 8802688"/>
                <a:gd name="connsiteY639" fmla="*/ 4965700 h 6677025"/>
                <a:gd name="connsiteX640" fmla="*/ 5243513 w 8802688"/>
                <a:gd name="connsiteY640" fmla="*/ 5068888 h 6677025"/>
                <a:gd name="connsiteX641" fmla="*/ 5205413 w 8802688"/>
                <a:gd name="connsiteY641" fmla="*/ 5167313 h 6677025"/>
                <a:gd name="connsiteX642" fmla="*/ 5160963 w 8802688"/>
                <a:gd name="connsiteY642" fmla="*/ 5268913 h 6677025"/>
                <a:gd name="connsiteX643" fmla="*/ 5116513 w 8802688"/>
                <a:gd name="connsiteY643" fmla="*/ 5362575 h 6677025"/>
                <a:gd name="connsiteX644" fmla="*/ 5068888 w 8802688"/>
                <a:gd name="connsiteY644" fmla="*/ 5457825 h 6677025"/>
                <a:gd name="connsiteX645" fmla="*/ 5014913 w 8802688"/>
                <a:gd name="connsiteY645" fmla="*/ 5553075 h 6677025"/>
                <a:gd name="connsiteX646" fmla="*/ 4960938 w 8802688"/>
                <a:gd name="connsiteY646" fmla="*/ 5643563 h 6677025"/>
                <a:gd name="connsiteX647" fmla="*/ 4902201 w 8802688"/>
                <a:gd name="connsiteY647" fmla="*/ 5732463 h 6677025"/>
                <a:gd name="connsiteX648" fmla="*/ 4837113 w 8802688"/>
                <a:gd name="connsiteY648" fmla="*/ 5815013 h 6677025"/>
                <a:gd name="connsiteX649" fmla="*/ 4768850 w 8802688"/>
                <a:gd name="connsiteY649" fmla="*/ 5899150 h 6677025"/>
                <a:gd name="connsiteX650" fmla="*/ 4694238 w 8802688"/>
                <a:gd name="connsiteY650" fmla="*/ 5978525 h 6677025"/>
                <a:gd name="connsiteX651" fmla="*/ 4581525 w 8802688"/>
                <a:gd name="connsiteY651" fmla="*/ 6062663 h 6677025"/>
                <a:gd name="connsiteX652" fmla="*/ 4470400 w 8802688"/>
                <a:gd name="connsiteY652" fmla="*/ 6151563 h 6677025"/>
                <a:gd name="connsiteX653" fmla="*/ 4360863 w 8802688"/>
                <a:gd name="connsiteY653" fmla="*/ 6246813 h 6677025"/>
                <a:gd name="connsiteX654" fmla="*/ 4303713 w 8802688"/>
                <a:gd name="connsiteY654" fmla="*/ 6296025 h 6677025"/>
                <a:gd name="connsiteX655" fmla="*/ 4248150 w 8802688"/>
                <a:gd name="connsiteY655" fmla="*/ 6350000 h 6677025"/>
                <a:gd name="connsiteX656" fmla="*/ 4221163 w 8802688"/>
                <a:gd name="connsiteY656" fmla="*/ 6365875 h 6677025"/>
                <a:gd name="connsiteX657" fmla="*/ 4194175 w 8802688"/>
                <a:gd name="connsiteY657" fmla="*/ 6386513 h 6677025"/>
                <a:gd name="connsiteX658" fmla="*/ 4167188 w 8802688"/>
                <a:gd name="connsiteY658" fmla="*/ 6407150 h 6677025"/>
                <a:gd name="connsiteX659" fmla="*/ 4140200 w 8802688"/>
                <a:gd name="connsiteY659" fmla="*/ 6430963 h 6677025"/>
                <a:gd name="connsiteX660" fmla="*/ 4117975 w 8802688"/>
                <a:gd name="connsiteY660" fmla="*/ 6454775 h 6677025"/>
                <a:gd name="connsiteX661" fmla="*/ 4095750 w 8802688"/>
                <a:gd name="connsiteY661" fmla="*/ 6481763 h 6677025"/>
                <a:gd name="connsiteX662" fmla="*/ 4078288 w 8802688"/>
                <a:gd name="connsiteY662" fmla="*/ 6510338 h 6677025"/>
                <a:gd name="connsiteX663" fmla="*/ 4064000 w 8802688"/>
                <a:gd name="connsiteY663" fmla="*/ 6537325 h 6677025"/>
                <a:gd name="connsiteX664" fmla="*/ 4033838 w 8802688"/>
                <a:gd name="connsiteY664" fmla="*/ 6564313 h 6677025"/>
                <a:gd name="connsiteX665" fmla="*/ 4003675 w 8802688"/>
                <a:gd name="connsiteY665" fmla="*/ 6588125 h 6677025"/>
                <a:gd name="connsiteX666" fmla="*/ 3975100 w 8802688"/>
                <a:gd name="connsiteY666" fmla="*/ 6608763 h 6677025"/>
                <a:gd name="connsiteX667" fmla="*/ 3944938 w 8802688"/>
                <a:gd name="connsiteY667" fmla="*/ 6626225 h 6677025"/>
                <a:gd name="connsiteX668" fmla="*/ 3914775 w 8802688"/>
                <a:gd name="connsiteY668" fmla="*/ 6645275 h 6677025"/>
                <a:gd name="connsiteX669" fmla="*/ 3884613 w 8802688"/>
                <a:gd name="connsiteY669" fmla="*/ 6656388 h 6677025"/>
                <a:gd name="connsiteX670" fmla="*/ 3852863 w 8802688"/>
                <a:gd name="connsiteY670" fmla="*/ 6665913 h 6677025"/>
                <a:gd name="connsiteX671" fmla="*/ 3822700 w 8802688"/>
                <a:gd name="connsiteY671" fmla="*/ 6673850 h 6677025"/>
                <a:gd name="connsiteX672" fmla="*/ 3790950 w 8802688"/>
                <a:gd name="connsiteY672" fmla="*/ 6677025 h 6677025"/>
                <a:gd name="connsiteX673" fmla="*/ 3760788 w 8802688"/>
                <a:gd name="connsiteY673" fmla="*/ 6677025 h 6677025"/>
                <a:gd name="connsiteX674" fmla="*/ 3727450 w 8802688"/>
                <a:gd name="connsiteY674" fmla="*/ 6673850 h 6677025"/>
                <a:gd name="connsiteX675" fmla="*/ 3697288 w 8802688"/>
                <a:gd name="connsiteY675" fmla="*/ 6669088 h 6677025"/>
                <a:gd name="connsiteX676" fmla="*/ 3668713 w 8802688"/>
                <a:gd name="connsiteY676" fmla="*/ 6659563 h 6677025"/>
                <a:gd name="connsiteX677" fmla="*/ 3638550 w 8802688"/>
                <a:gd name="connsiteY677" fmla="*/ 6646863 h 6677025"/>
                <a:gd name="connsiteX678" fmla="*/ 3608388 w 8802688"/>
                <a:gd name="connsiteY678" fmla="*/ 6632575 h 6677025"/>
                <a:gd name="connsiteX679" fmla="*/ 3579813 w 8802688"/>
                <a:gd name="connsiteY679" fmla="*/ 6611938 h 6677025"/>
                <a:gd name="connsiteX680" fmla="*/ 3525838 w 8802688"/>
                <a:gd name="connsiteY680" fmla="*/ 6543675 h 6677025"/>
                <a:gd name="connsiteX681" fmla="*/ 3475038 w 8802688"/>
                <a:gd name="connsiteY681" fmla="*/ 6472238 h 6677025"/>
                <a:gd name="connsiteX682" fmla="*/ 3427413 w 8802688"/>
                <a:gd name="connsiteY682" fmla="*/ 6400800 h 6677025"/>
                <a:gd name="connsiteX683" fmla="*/ 3379788 w 8802688"/>
                <a:gd name="connsiteY683" fmla="*/ 6326188 h 6677025"/>
                <a:gd name="connsiteX684" fmla="*/ 3335338 w 8802688"/>
                <a:gd name="connsiteY684" fmla="*/ 6251575 h 6677025"/>
                <a:gd name="connsiteX685" fmla="*/ 3294063 w 8802688"/>
                <a:gd name="connsiteY685" fmla="*/ 6175375 h 6677025"/>
                <a:gd name="connsiteX686" fmla="*/ 3252788 w 8802688"/>
                <a:gd name="connsiteY686" fmla="*/ 6097588 h 6677025"/>
                <a:gd name="connsiteX687" fmla="*/ 3209925 w 8802688"/>
                <a:gd name="connsiteY687" fmla="*/ 6015038 h 6677025"/>
                <a:gd name="connsiteX688" fmla="*/ 3195638 w 8802688"/>
                <a:gd name="connsiteY688" fmla="*/ 5999163 h 6677025"/>
                <a:gd name="connsiteX689" fmla="*/ 3186113 w 8802688"/>
                <a:gd name="connsiteY689" fmla="*/ 5984875 h 6677025"/>
                <a:gd name="connsiteX690" fmla="*/ 3181350 w 8802688"/>
                <a:gd name="connsiteY690" fmla="*/ 5967413 h 6677025"/>
                <a:gd name="connsiteX691" fmla="*/ 3175000 w 8802688"/>
                <a:gd name="connsiteY691" fmla="*/ 5946775 h 6677025"/>
                <a:gd name="connsiteX692" fmla="*/ 3171825 w 8802688"/>
                <a:gd name="connsiteY692" fmla="*/ 5927725 h 6677025"/>
                <a:gd name="connsiteX693" fmla="*/ 3171825 w 8802688"/>
                <a:gd name="connsiteY693" fmla="*/ 5907088 h 6677025"/>
                <a:gd name="connsiteX694" fmla="*/ 3175000 w 8802688"/>
                <a:gd name="connsiteY694" fmla="*/ 5886450 h 6677025"/>
                <a:gd name="connsiteX695" fmla="*/ 3181350 w 8802688"/>
                <a:gd name="connsiteY695" fmla="*/ 5865813 h 6677025"/>
                <a:gd name="connsiteX696" fmla="*/ 3189288 w 8802688"/>
                <a:gd name="connsiteY696" fmla="*/ 5845175 h 6677025"/>
                <a:gd name="connsiteX697" fmla="*/ 3201988 w 8802688"/>
                <a:gd name="connsiteY697" fmla="*/ 5824538 h 6677025"/>
                <a:gd name="connsiteX698" fmla="*/ 3213100 w 8802688"/>
                <a:gd name="connsiteY698" fmla="*/ 5803900 h 6677025"/>
                <a:gd name="connsiteX699" fmla="*/ 3230563 w 8802688"/>
                <a:gd name="connsiteY699" fmla="*/ 5783263 h 6677025"/>
                <a:gd name="connsiteX700" fmla="*/ 3249613 w 8802688"/>
                <a:gd name="connsiteY700" fmla="*/ 5764213 h 6677025"/>
                <a:gd name="connsiteX701" fmla="*/ 3270250 w 8802688"/>
                <a:gd name="connsiteY701" fmla="*/ 5746750 h 6677025"/>
                <a:gd name="connsiteX702" fmla="*/ 3294063 w 8802688"/>
                <a:gd name="connsiteY702" fmla="*/ 5732463 h 6677025"/>
                <a:gd name="connsiteX703" fmla="*/ 3321050 w 8802688"/>
                <a:gd name="connsiteY703" fmla="*/ 5716588 h 6677025"/>
                <a:gd name="connsiteX704" fmla="*/ 3362325 w 8802688"/>
                <a:gd name="connsiteY704" fmla="*/ 5699125 h 6677025"/>
                <a:gd name="connsiteX705" fmla="*/ 3403600 w 8802688"/>
                <a:gd name="connsiteY705" fmla="*/ 5681663 h 6677025"/>
                <a:gd name="connsiteX706" fmla="*/ 3492500 w 8802688"/>
                <a:gd name="connsiteY706" fmla="*/ 5637213 h 6677025"/>
                <a:gd name="connsiteX707" fmla="*/ 3587750 w 8802688"/>
                <a:gd name="connsiteY707" fmla="*/ 5583238 h 6677025"/>
                <a:gd name="connsiteX708" fmla="*/ 3692525 w 8802688"/>
                <a:gd name="connsiteY708" fmla="*/ 5529263 h 6677025"/>
                <a:gd name="connsiteX709" fmla="*/ 3692525 w 8802688"/>
                <a:gd name="connsiteY709" fmla="*/ 5081588 h 6677025"/>
                <a:gd name="connsiteX710" fmla="*/ 3683000 w 8802688"/>
                <a:gd name="connsiteY710" fmla="*/ 5116513 h 6677025"/>
                <a:gd name="connsiteX711" fmla="*/ 3673475 w 8802688"/>
                <a:gd name="connsiteY711" fmla="*/ 5153025 h 6677025"/>
                <a:gd name="connsiteX712" fmla="*/ 3665538 w 8802688"/>
                <a:gd name="connsiteY712" fmla="*/ 5184775 h 6677025"/>
                <a:gd name="connsiteX713" fmla="*/ 3652838 w 8802688"/>
                <a:gd name="connsiteY713" fmla="*/ 5211763 h 6677025"/>
                <a:gd name="connsiteX714" fmla="*/ 3641725 w 8802688"/>
                <a:gd name="connsiteY714" fmla="*/ 5238750 h 6677025"/>
                <a:gd name="connsiteX715" fmla="*/ 3629025 w 8802688"/>
                <a:gd name="connsiteY715" fmla="*/ 5265738 h 6677025"/>
                <a:gd name="connsiteX716" fmla="*/ 3614738 w 8802688"/>
                <a:gd name="connsiteY716" fmla="*/ 5286375 h 6677025"/>
                <a:gd name="connsiteX717" fmla="*/ 3600450 w 8802688"/>
                <a:gd name="connsiteY717" fmla="*/ 5307013 h 6677025"/>
                <a:gd name="connsiteX718" fmla="*/ 3581400 w 8802688"/>
                <a:gd name="connsiteY718" fmla="*/ 5324475 h 6677025"/>
                <a:gd name="connsiteX719" fmla="*/ 3567113 w 8802688"/>
                <a:gd name="connsiteY719" fmla="*/ 5340350 h 6677025"/>
                <a:gd name="connsiteX720" fmla="*/ 3549650 w 8802688"/>
                <a:gd name="connsiteY720" fmla="*/ 5354638 h 6677025"/>
                <a:gd name="connsiteX721" fmla="*/ 3529013 w 8802688"/>
                <a:gd name="connsiteY721" fmla="*/ 5365750 h 6677025"/>
                <a:gd name="connsiteX722" fmla="*/ 3489325 w 8802688"/>
                <a:gd name="connsiteY722" fmla="*/ 5386388 h 6677025"/>
                <a:gd name="connsiteX723" fmla="*/ 3451225 w 8802688"/>
                <a:gd name="connsiteY723" fmla="*/ 5402263 h 6677025"/>
                <a:gd name="connsiteX724" fmla="*/ 3406775 w 8802688"/>
                <a:gd name="connsiteY724" fmla="*/ 5413375 h 6677025"/>
                <a:gd name="connsiteX725" fmla="*/ 3365500 w 8802688"/>
                <a:gd name="connsiteY725" fmla="*/ 5419725 h 6677025"/>
                <a:gd name="connsiteX726" fmla="*/ 3321050 w 8802688"/>
                <a:gd name="connsiteY726" fmla="*/ 5422900 h 6677025"/>
                <a:gd name="connsiteX727" fmla="*/ 3273425 w 8802688"/>
                <a:gd name="connsiteY727" fmla="*/ 5422900 h 6677025"/>
                <a:gd name="connsiteX728" fmla="*/ 3182938 w 8802688"/>
                <a:gd name="connsiteY728" fmla="*/ 5419725 h 6677025"/>
                <a:gd name="connsiteX729" fmla="*/ 3097213 w 8802688"/>
                <a:gd name="connsiteY729" fmla="*/ 5416550 h 6677025"/>
                <a:gd name="connsiteX730" fmla="*/ 2838450 w 8802688"/>
                <a:gd name="connsiteY730" fmla="*/ 5416550 h 6677025"/>
                <a:gd name="connsiteX731" fmla="*/ 2770188 w 8802688"/>
                <a:gd name="connsiteY731" fmla="*/ 5416550 h 6677025"/>
                <a:gd name="connsiteX732" fmla="*/ 2708275 w 8802688"/>
                <a:gd name="connsiteY732" fmla="*/ 5413375 h 6677025"/>
                <a:gd name="connsiteX733" fmla="*/ 2678113 w 8802688"/>
                <a:gd name="connsiteY733" fmla="*/ 5408613 h 6677025"/>
                <a:gd name="connsiteX734" fmla="*/ 2647950 w 8802688"/>
                <a:gd name="connsiteY734" fmla="*/ 5402263 h 6677025"/>
                <a:gd name="connsiteX735" fmla="*/ 2622550 w 8802688"/>
                <a:gd name="connsiteY735" fmla="*/ 5395913 h 6677025"/>
                <a:gd name="connsiteX736" fmla="*/ 2598738 w 8802688"/>
                <a:gd name="connsiteY736" fmla="*/ 5384800 h 6677025"/>
                <a:gd name="connsiteX737" fmla="*/ 2574925 w 8802688"/>
                <a:gd name="connsiteY737" fmla="*/ 5368925 h 6677025"/>
                <a:gd name="connsiteX738" fmla="*/ 2554288 w 8802688"/>
                <a:gd name="connsiteY738" fmla="*/ 5354638 h 6677025"/>
                <a:gd name="connsiteX739" fmla="*/ 2532063 w 8802688"/>
                <a:gd name="connsiteY739" fmla="*/ 5330825 h 6677025"/>
                <a:gd name="connsiteX740" fmla="*/ 2514600 w 8802688"/>
                <a:gd name="connsiteY740" fmla="*/ 5307013 h 6677025"/>
                <a:gd name="connsiteX741" fmla="*/ 2500313 w 8802688"/>
                <a:gd name="connsiteY741" fmla="*/ 5276850 h 6677025"/>
                <a:gd name="connsiteX742" fmla="*/ 2484438 w 8802688"/>
                <a:gd name="connsiteY742" fmla="*/ 5241925 h 6677025"/>
                <a:gd name="connsiteX743" fmla="*/ 2476500 w 8802688"/>
                <a:gd name="connsiteY743" fmla="*/ 5202238 h 6677025"/>
                <a:gd name="connsiteX744" fmla="*/ 2466975 w 8802688"/>
                <a:gd name="connsiteY744" fmla="*/ 5154613 h 6677025"/>
                <a:gd name="connsiteX745" fmla="*/ 2466975 w 8802688"/>
                <a:gd name="connsiteY745" fmla="*/ 5229225 h 6677025"/>
                <a:gd name="connsiteX746" fmla="*/ 2466975 w 8802688"/>
                <a:gd name="connsiteY746" fmla="*/ 5341938 h 6677025"/>
                <a:gd name="connsiteX747" fmla="*/ 2466975 w 8802688"/>
                <a:gd name="connsiteY747" fmla="*/ 5440363 h 6677025"/>
                <a:gd name="connsiteX748" fmla="*/ 2463800 w 8802688"/>
                <a:gd name="connsiteY748" fmla="*/ 5538788 h 6677025"/>
                <a:gd name="connsiteX749" fmla="*/ 2459038 w 8802688"/>
                <a:gd name="connsiteY749" fmla="*/ 5634038 h 6677025"/>
                <a:gd name="connsiteX750" fmla="*/ 2452688 w 8802688"/>
                <a:gd name="connsiteY750" fmla="*/ 5681663 h 6677025"/>
                <a:gd name="connsiteX751" fmla="*/ 2443163 w 8802688"/>
                <a:gd name="connsiteY751" fmla="*/ 5729288 h 6677025"/>
                <a:gd name="connsiteX752" fmla="*/ 2435225 w 8802688"/>
                <a:gd name="connsiteY752" fmla="*/ 5776913 h 6677025"/>
                <a:gd name="connsiteX753" fmla="*/ 2422525 w 8802688"/>
                <a:gd name="connsiteY753" fmla="*/ 5824538 h 6677025"/>
                <a:gd name="connsiteX754" fmla="*/ 2408238 w 8802688"/>
                <a:gd name="connsiteY754" fmla="*/ 5868988 h 6677025"/>
                <a:gd name="connsiteX755" fmla="*/ 2390775 w 8802688"/>
                <a:gd name="connsiteY755" fmla="*/ 5916613 h 6677025"/>
                <a:gd name="connsiteX756" fmla="*/ 2368550 w 8802688"/>
                <a:gd name="connsiteY756" fmla="*/ 5961063 h 6677025"/>
                <a:gd name="connsiteX757" fmla="*/ 2343150 w 8802688"/>
                <a:gd name="connsiteY757" fmla="*/ 6002338 h 6677025"/>
                <a:gd name="connsiteX758" fmla="*/ 2316163 w 8802688"/>
                <a:gd name="connsiteY758" fmla="*/ 6046788 h 6677025"/>
                <a:gd name="connsiteX759" fmla="*/ 2282825 w 8802688"/>
                <a:gd name="connsiteY759" fmla="*/ 6088063 h 6677025"/>
                <a:gd name="connsiteX760" fmla="*/ 2268538 w 8802688"/>
                <a:gd name="connsiteY760" fmla="*/ 6103938 h 6677025"/>
                <a:gd name="connsiteX761" fmla="*/ 2255838 w 8802688"/>
                <a:gd name="connsiteY761" fmla="*/ 6121400 h 6677025"/>
                <a:gd name="connsiteX762" fmla="*/ 2238375 w 8802688"/>
                <a:gd name="connsiteY762" fmla="*/ 6156325 h 6677025"/>
                <a:gd name="connsiteX763" fmla="*/ 2224088 w 8802688"/>
                <a:gd name="connsiteY763" fmla="*/ 6199188 h 6677025"/>
                <a:gd name="connsiteX764" fmla="*/ 2211388 w 8802688"/>
                <a:gd name="connsiteY764" fmla="*/ 6243638 h 6677025"/>
                <a:gd name="connsiteX765" fmla="*/ 2193925 w 8802688"/>
                <a:gd name="connsiteY765" fmla="*/ 6335713 h 6677025"/>
                <a:gd name="connsiteX766" fmla="*/ 2181225 w 8802688"/>
                <a:gd name="connsiteY766" fmla="*/ 6383338 h 6677025"/>
                <a:gd name="connsiteX767" fmla="*/ 2170113 w 8802688"/>
                <a:gd name="connsiteY767" fmla="*/ 6424613 h 6677025"/>
                <a:gd name="connsiteX768" fmla="*/ 2166938 w 8802688"/>
                <a:gd name="connsiteY768" fmla="*/ 6442075 h 6677025"/>
                <a:gd name="connsiteX769" fmla="*/ 2157413 w 8802688"/>
                <a:gd name="connsiteY769" fmla="*/ 6459538 h 6677025"/>
                <a:gd name="connsiteX770" fmla="*/ 2143125 w 8802688"/>
                <a:gd name="connsiteY770" fmla="*/ 6478588 h 6677025"/>
                <a:gd name="connsiteX771" fmla="*/ 2125663 w 8802688"/>
                <a:gd name="connsiteY771" fmla="*/ 6496050 h 6677025"/>
                <a:gd name="connsiteX772" fmla="*/ 2101850 w 8802688"/>
                <a:gd name="connsiteY772" fmla="*/ 6510338 h 6677025"/>
                <a:gd name="connsiteX773" fmla="*/ 2078038 w 8802688"/>
                <a:gd name="connsiteY773" fmla="*/ 6526213 h 6677025"/>
                <a:gd name="connsiteX774" fmla="*/ 2051050 w 8802688"/>
                <a:gd name="connsiteY774" fmla="*/ 6534150 h 6677025"/>
                <a:gd name="connsiteX775" fmla="*/ 2020888 w 8802688"/>
                <a:gd name="connsiteY775" fmla="*/ 6537325 h 6677025"/>
                <a:gd name="connsiteX776" fmla="*/ 1828800 w 8802688"/>
                <a:gd name="connsiteY776" fmla="*/ 6507163 h 6677025"/>
                <a:gd name="connsiteX777" fmla="*/ 1628775 w 8802688"/>
                <a:gd name="connsiteY777" fmla="*/ 6478588 h 6677025"/>
                <a:gd name="connsiteX778" fmla="*/ 1525588 w 8802688"/>
                <a:gd name="connsiteY778" fmla="*/ 6457950 h 6677025"/>
                <a:gd name="connsiteX779" fmla="*/ 1420813 w 8802688"/>
                <a:gd name="connsiteY779" fmla="*/ 6435725 h 6677025"/>
                <a:gd name="connsiteX780" fmla="*/ 1316038 w 8802688"/>
                <a:gd name="connsiteY780" fmla="*/ 6415088 h 6677025"/>
                <a:gd name="connsiteX781" fmla="*/ 1206500 w 8802688"/>
                <a:gd name="connsiteY781" fmla="*/ 6389688 h 6677025"/>
                <a:gd name="connsiteX782" fmla="*/ 1168400 w 8802688"/>
                <a:gd name="connsiteY782" fmla="*/ 6370638 h 6677025"/>
                <a:gd name="connsiteX783" fmla="*/ 1150938 w 8802688"/>
                <a:gd name="connsiteY783" fmla="*/ 6362700 h 6677025"/>
                <a:gd name="connsiteX784" fmla="*/ 1135063 w 8802688"/>
                <a:gd name="connsiteY784" fmla="*/ 6353175 h 6677025"/>
                <a:gd name="connsiteX785" fmla="*/ 1123950 w 8802688"/>
                <a:gd name="connsiteY785" fmla="*/ 6342063 h 6677025"/>
                <a:gd name="connsiteX786" fmla="*/ 1111250 w 8802688"/>
                <a:gd name="connsiteY786" fmla="*/ 6326188 h 6677025"/>
                <a:gd name="connsiteX787" fmla="*/ 1103313 w 8802688"/>
                <a:gd name="connsiteY787" fmla="*/ 6311900 h 6677025"/>
                <a:gd name="connsiteX788" fmla="*/ 1093788 w 8802688"/>
                <a:gd name="connsiteY788" fmla="*/ 6294438 h 6677025"/>
                <a:gd name="connsiteX789" fmla="*/ 1087438 w 8802688"/>
                <a:gd name="connsiteY789" fmla="*/ 6275388 h 6677025"/>
                <a:gd name="connsiteX790" fmla="*/ 1084263 w 8802688"/>
                <a:gd name="connsiteY790" fmla="*/ 6254750 h 6677025"/>
                <a:gd name="connsiteX791" fmla="*/ 1082675 w 8802688"/>
                <a:gd name="connsiteY791" fmla="*/ 6234113 h 6677025"/>
                <a:gd name="connsiteX792" fmla="*/ 1082675 w 8802688"/>
                <a:gd name="connsiteY792" fmla="*/ 6210300 h 6677025"/>
                <a:gd name="connsiteX793" fmla="*/ 1084263 w 8802688"/>
                <a:gd name="connsiteY793" fmla="*/ 6154738 h 6677025"/>
                <a:gd name="connsiteX794" fmla="*/ 1093788 w 8802688"/>
                <a:gd name="connsiteY794" fmla="*/ 6088063 h 6677025"/>
                <a:gd name="connsiteX795" fmla="*/ 1120775 w 8802688"/>
                <a:gd name="connsiteY795" fmla="*/ 6046788 h 6677025"/>
                <a:gd name="connsiteX796" fmla="*/ 1144588 w 8802688"/>
                <a:gd name="connsiteY796" fmla="*/ 5999163 h 6677025"/>
                <a:gd name="connsiteX797" fmla="*/ 1162050 w 8802688"/>
                <a:gd name="connsiteY797" fmla="*/ 5948363 h 6677025"/>
                <a:gd name="connsiteX798" fmla="*/ 1176338 w 8802688"/>
                <a:gd name="connsiteY798" fmla="*/ 5899150 h 6677025"/>
                <a:gd name="connsiteX799" fmla="*/ 1189038 w 8802688"/>
                <a:gd name="connsiteY799" fmla="*/ 5845175 h 6677025"/>
                <a:gd name="connsiteX800" fmla="*/ 1198563 w 8802688"/>
                <a:gd name="connsiteY800" fmla="*/ 5788025 h 6677025"/>
                <a:gd name="connsiteX801" fmla="*/ 1203325 w 8802688"/>
                <a:gd name="connsiteY801" fmla="*/ 5735638 h 6677025"/>
                <a:gd name="connsiteX802" fmla="*/ 1206500 w 8802688"/>
                <a:gd name="connsiteY802" fmla="*/ 5678488 h 6677025"/>
                <a:gd name="connsiteX803" fmla="*/ 1212850 w 8802688"/>
                <a:gd name="connsiteY803" fmla="*/ 5657850 h 6677025"/>
                <a:gd name="connsiteX804" fmla="*/ 1216025 w 8802688"/>
                <a:gd name="connsiteY804" fmla="*/ 5634038 h 6677025"/>
                <a:gd name="connsiteX805" fmla="*/ 1216025 w 8802688"/>
                <a:gd name="connsiteY805" fmla="*/ 5613400 h 6677025"/>
                <a:gd name="connsiteX806" fmla="*/ 1216025 w 8802688"/>
                <a:gd name="connsiteY806" fmla="*/ 5589588 h 6677025"/>
                <a:gd name="connsiteX807" fmla="*/ 1209675 w 8802688"/>
                <a:gd name="connsiteY807" fmla="*/ 5541963 h 6677025"/>
                <a:gd name="connsiteX808" fmla="*/ 1198563 w 8802688"/>
                <a:gd name="connsiteY808" fmla="*/ 5497513 h 6677025"/>
                <a:gd name="connsiteX809" fmla="*/ 1179513 w 8802688"/>
                <a:gd name="connsiteY809" fmla="*/ 5453063 h 6677025"/>
                <a:gd name="connsiteX810" fmla="*/ 1165225 w 8802688"/>
                <a:gd name="connsiteY810" fmla="*/ 5410200 h 6677025"/>
                <a:gd name="connsiteX811" fmla="*/ 1131888 w 8802688"/>
                <a:gd name="connsiteY811" fmla="*/ 5341938 h 6677025"/>
                <a:gd name="connsiteX812" fmla="*/ 1069975 w 8802688"/>
                <a:gd name="connsiteY812" fmla="*/ 5238750 h 6677025"/>
                <a:gd name="connsiteX813" fmla="*/ 1012825 w 8802688"/>
                <a:gd name="connsiteY813" fmla="*/ 5130800 h 6677025"/>
                <a:gd name="connsiteX814" fmla="*/ 957263 w 8802688"/>
                <a:gd name="connsiteY814" fmla="*/ 5027613 h 6677025"/>
                <a:gd name="connsiteX815" fmla="*/ 903288 w 8802688"/>
                <a:gd name="connsiteY815" fmla="*/ 4919663 h 6677025"/>
                <a:gd name="connsiteX816" fmla="*/ 855663 w 8802688"/>
                <a:gd name="connsiteY816" fmla="*/ 4813300 h 6677025"/>
                <a:gd name="connsiteX817" fmla="*/ 811213 w 8802688"/>
                <a:gd name="connsiteY817" fmla="*/ 4706938 h 6677025"/>
                <a:gd name="connsiteX818" fmla="*/ 769938 w 8802688"/>
                <a:gd name="connsiteY818" fmla="*/ 4598988 h 6677025"/>
                <a:gd name="connsiteX819" fmla="*/ 733425 w 8802688"/>
                <a:gd name="connsiteY819" fmla="*/ 4492625 h 6677025"/>
                <a:gd name="connsiteX820" fmla="*/ 701675 w 8802688"/>
                <a:gd name="connsiteY820" fmla="*/ 4383088 h 6677025"/>
                <a:gd name="connsiteX821" fmla="*/ 671513 w 8802688"/>
                <a:gd name="connsiteY821" fmla="*/ 4271963 h 6677025"/>
                <a:gd name="connsiteX822" fmla="*/ 647700 w 8802688"/>
                <a:gd name="connsiteY822" fmla="*/ 4162425 h 6677025"/>
                <a:gd name="connsiteX823" fmla="*/ 630238 w 8802688"/>
                <a:gd name="connsiteY823" fmla="*/ 4049713 h 6677025"/>
                <a:gd name="connsiteX824" fmla="*/ 617538 w 8802688"/>
                <a:gd name="connsiteY824" fmla="*/ 3937000 h 6677025"/>
                <a:gd name="connsiteX825" fmla="*/ 609600 w 8802688"/>
                <a:gd name="connsiteY825" fmla="*/ 3821113 h 6677025"/>
                <a:gd name="connsiteX826" fmla="*/ 609600 w 8802688"/>
                <a:gd name="connsiteY826" fmla="*/ 3705225 h 6677025"/>
                <a:gd name="connsiteX827" fmla="*/ 612775 w 8802688"/>
                <a:gd name="connsiteY827" fmla="*/ 3586163 h 6677025"/>
                <a:gd name="connsiteX828" fmla="*/ 620713 w 8802688"/>
                <a:gd name="connsiteY828" fmla="*/ 3470275 h 6677025"/>
                <a:gd name="connsiteX829" fmla="*/ 636588 w 8802688"/>
                <a:gd name="connsiteY829" fmla="*/ 3354388 h 6677025"/>
                <a:gd name="connsiteX830" fmla="*/ 657225 w 8802688"/>
                <a:gd name="connsiteY830" fmla="*/ 3243263 h 6677025"/>
                <a:gd name="connsiteX831" fmla="*/ 681038 w 8802688"/>
                <a:gd name="connsiteY831" fmla="*/ 3136900 h 6677025"/>
                <a:gd name="connsiteX832" fmla="*/ 709613 w 8802688"/>
                <a:gd name="connsiteY832" fmla="*/ 3032125 h 6677025"/>
                <a:gd name="connsiteX833" fmla="*/ 746125 w 8802688"/>
                <a:gd name="connsiteY833" fmla="*/ 2932113 h 6677025"/>
                <a:gd name="connsiteX834" fmla="*/ 784225 w 8802688"/>
                <a:gd name="connsiteY834" fmla="*/ 2833688 h 6677025"/>
                <a:gd name="connsiteX835" fmla="*/ 828675 w 8802688"/>
                <a:gd name="connsiteY835" fmla="*/ 2735263 h 6677025"/>
                <a:gd name="connsiteX836" fmla="*/ 879475 w 8802688"/>
                <a:gd name="connsiteY836" fmla="*/ 2643188 h 6677025"/>
                <a:gd name="connsiteX837" fmla="*/ 933450 w 8802688"/>
                <a:gd name="connsiteY837" fmla="*/ 2551113 h 6677025"/>
                <a:gd name="connsiteX838" fmla="*/ 992188 w 8802688"/>
                <a:gd name="connsiteY838" fmla="*/ 2465388 h 6677025"/>
                <a:gd name="connsiteX839" fmla="*/ 1055688 w 8802688"/>
                <a:gd name="connsiteY839" fmla="*/ 2379663 h 6677025"/>
                <a:gd name="connsiteX840" fmla="*/ 1123950 w 8802688"/>
                <a:gd name="connsiteY840" fmla="*/ 2295525 h 6677025"/>
                <a:gd name="connsiteX841" fmla="*/ 1195388 w 8802688"/>
                <a:gd name="connsiteY841" fmla="*/ 2212975 h 6677025"/>
                <a:gd name="connsiteX842" fmla="*/ 1271588 w 8802688"/>
                <a:gd name="connsiteY842" fmla="*/ 2132013 h 6677025"/>
                <a:gd name="connsiteX843" fmla="*/ 1355725 w 8802688"/>
                <a:gd name="connsiteY843" fmla="*/ 2054225 h 6677025"/>
                <a:gd name="connsiteX844" fmla="*/ 1423988 w 8802688"/>
                <a:gd name="connsiteY844" fmla="*/ 2001838 h 6677025"/>
                <a:gd name="connsiteX845" fmla="*/ 1495425 w 8802688"/>
                <a:gd name="connsiteY845" fmla="*/ 1951038 h 6677025"/>
                <a:gd name="connsiteX846" fmla="*/ 1566863 w 8802688"/>
                <a:gd name="connsiteY846" fmla="*/ 1900238 h 6677025"/>
                <a:gd name="connsiteX847" fmla="*/ 1641475 w 8802688"/>
                <a:gd name="connsiteY847" fmla="*/ 1855788 h 6677025"/>
                <a:gd name="connsiteX848" fmla="*/ 1714500 w 8802688"/>
                <a:gd name="connsiteY848" fmla="*/ 1814513 h 6677025"/>
                <a:gd name="connsiteX849" fmla="*/ 1789113 w 8802688"/>
                <a:gd name="connsiteY849" fmla="*/ 1774825 h 6677025"/>
                <a:gd name="connsiteX850" fmla="*/ 1866900 w 8802688"/>
                <a:gd name="connsiteY850" fmla="*/ 1739900 h 6677025"/>
                <a:gd name="connsiteX851" fmla="*/ 1944688 w 8802688"/>
                <a:gd name="connsiteY851" fmla="*/ 1703388 h 6677025"/>
                <a:gd name="connsiteX852" fmla="*/ 2020888 w 8802688"/>
                <a:gd name="connsiteY852" fmla="*/ 1671638 h 6677025"/>
                <a:gd name="connsiteX853" fmla="*/ 2101850 w 8802688"/>
                <a:gd name="connsiteY853" fmla="*/ 1641476 h 6677025"/>
                <a:gd name="connsiteX854" fmla="*/ 2184400 w 8802688"/>
                <a:gd name="connsiteY854" fmla="*/ 1614488 h 6677025"/>
                <a:gd name="connsiteX855" fmla="*/ 2268538 w 8802688"/>
                <a:gd name="connsiteY855" fmla="*/ 1587500 h 6677025"/>
                <a:gd name="connsiteX856" fmla="*/ 2351088 w 8802688"/>
                <a:gd name="connsiteY856" fmla="*/ 1562100 h 6677025"/>
                <a:gd name="connsiteX857" fmla="*/ 2436813 w 8802688"/>
                <a:gd name="connsiteY857" fmla="*/ 1538288 h 6677025"/>
                <a:gd name="connsiteX858" fmla="*/ 2616200 w 8802688"/>
                <a:gd name="connsiteY858" fmla="*/ 1492250 h 6677025"/>
                <a:gd name="connsiteX859" fmla="*/ 2725738 w 8802688"/>
                <a:gd name="connsiteY859" fmla="*/ 1492250 h 6677025"/>
                <a:gd name="connsiteX860" fmla="*/ 2654300 w 8802688"/>
                <a:gd name="connsiteY860" fmla="*/ 1590675 h 6677025"/>
                <a:gd name="connsiteX861" fmla="*/ 2582863 w 8802688"/>
                <a:gd name="connsiteY861" fmla="*/ 1682750 h 6677025"/>
                <a:gd name="connsiteX862" fmla="*/ 2435225 w 8802688"/>
                <a:gd name="connsiteY862" fmla="*/ 1866901 h 6677025"/>
                <a:gd name="connsiteX863" fmla="*/ 2363788 w 8802688"/>
                <a:gd name="connsiteY863" fmla="*/ 1958975 h 6677025"/>
                <a:gd name="connsiteX864" fmla="*/ 2295525 w 8802688"/>
                <a:gd name="connsiteY864" fmla="*/ 2052638 h 6677025"/>
                <a:gd name="connsiteX865" fmla="*/ 2228850 w 8802688"/>
                <a:gd name="connsiteY865" fmla="*/ 2144713 h 6677025"/>
                <a:gd name="connsiteX866" fmla="*/ 2200275 w 8802688"/>
                <a:gd name="connsiteY866" fmla="*/ 2192338 h 6677025"/>
                <a:gd name="connsiteX867" fmla="*/ 2170113 w 8802688"/>
                <a:gd name="connsiteY867" fmla="*/ 2241550 h 6677025"/>
                <a:gd name="connsiteX868" fmla="*/ 2089150 w 8802688"/>
                <a:gd name="connsiteY868" fmla="*/ 2355850 h 6677025"/>
                <a:gd name="connsiteX869" fmla="*/ 2047875 w 8802688"/>
                <a:gd name="connsiteY869" fmla="*/ 2411413 h 6677025"/>
                <a:gd name="connsiteX870" fmla="*/ 2012950 w 8802688"/>
                <a:gd name="connsiteY870" fmla="*/ 2471738 h 6677025"/>
                <a:gd name="connsiteX871" fmla="*/ 1979613 w 8802688"/>
                <a:gd name="connsiteY871" fmla="*/ 2530475 h 6677025"/>
                <a:gd name="connsiteX872" fmla="*/ 1952625 w 8802688"/>
                <a:gd name="connsiteY872" fmla="*/ 2592388 h 6677025"/>
                <a:gd name="connsiteX873" fmla="*/ 1928813 w 8802688"/>
                <a:gd name="connsiteY873" fmla="*/ 2659063 h 6677025"/>
                <a:gd name="connsiteX874" fmla="*/ 1917700 w 8802688"/>
                <a:gd name="connsiteY874" fmla="*/ 2693988 h 6677025"/>
                <a:gd name="connsiteX875" fmla="*/ 1911350 w 8802688"/>
                <a:gd name="connsiteY875" fmla="*/ 2727325 h 6677025"/>
                <a:gd name="connsiteX876" fmla="*/ 1893888 w 8802688"/>
                <a:gd name="connsiteY876" fmla="*/ 2776538 h 6677025"/>
                <a:gd name="connsiteX877" fmla="*/ 1881188 w 8802688"/>
                <a:gd name="connsiteY877" fmla="*/ 2824163 h 6677025"/>
                <a:gd name="connsiteX878" fmla="*/ 1873250 w 8802688"/>
                <a:gd name="connsiteY878" fmla="*/ 2868613 h 6677025"/>
                <a:gd name="connsiteX879" fmla="*/ 1873250 w 8802688"/>
                <a:gd name="connsiteY879" fmla="*/ 2916238 h 6677025"/>
                <a:gd name="connsiteX880" fmla="*/ 1876425 w 8802688"/>
                <a:gd name="connsiteY880" fmla="*/ 2962275 h 6677025"/>
                <a:gd name="connsiteX881" fmla="*/ 1881188 w 8802688"/>
                <a:gd name="connsiteY881" fmla="*/ 3006725 h 6677025"/>
                <a:gd name="connsiteX882" fmla="*/ 1893888 w 8802688"/>
                <a:gd name="connsiteY882" fmla="*/ 3048000 h 6677025"/>
                <a:gd name="connsiteX883" fmla="*/ 1905000 w 8802688"/>
                <a:gd name="connsiteY883" fmla="*/ 3092450 h 6677025"/>
                <a:gd name="connsiteX884" fmla="*/ 1924050 w 8802688"/>
                <a:gd name="connsiteY884" fmla="*/ 3133725 h 6677025"/>
                <a:gd name="connsiteX885" fmla="*/ 1944688 w 8802688"/>
                <a:gd name="connsiteY885" fmla="*/ 3171825 h 6677025"/>
                <a:gd name="connsiteX886" fmla="*/ 1965325 w 8802688"/>
                <a:gd name="connsiteY886" fmla="*/ 3214688 h 6677025"/>
                <a:gd name="connsiteX887" fmla="*/ 1989138 w 8802688"/>
                <a:gd name="connsiteY887" fmla="*/ 3252788 h 6677025"/>
                <a:gd name="connsiteX888" fmla="*/ 2041525 w 8802688"/>
                <a:gd name="connsiteY888" fmla="*/ 3327400 h 6677025"/>
                <a:gd name="connsiteX889" fmla="*/ 2095500 w 8802688"/>
                <a:gd name="connsiteY889" fmla="*/ 3398838 h 6677025"/>
                <a:gd name="connsiteX890" fmla="*/ 2149475 w 8802688"/>
                <a:gd name="connsiteY890" fmla="*/ 3470275 h 6677025"/>
                <a:gd name="connsiteX891" fmla="*/ 2197100 w 8802688"/>
                <a:gd name="connsiteY891" fmla="*/ 3541713 h 6677025"/>
                <a:gd name="connsiteX892" fmla="*/ 2217738 w 8802688"/>
                <a:gd name="connsiteY892" fmla="*/ 3576638 h 6677025"/>
                <a:gd name="connsiteX893" fmla="*/ 2238375 w 8802688"/>
                <a:gd name="connsiteY893" fmla="*/ 3613150 h 6677025"/>
                <a:gd name="connsiteX894" fmla="*/ 2252663 w 8802688"/>
                <a:gd name="connsiteY894" fmla="*/ 3648075 h 6677025"/>
                <a:gd name="connsiteX895" fmla="*/ 2268538 w 8802688"/>
                <a:gd name="connsiteY895" fmla="*/ 3684588 h 6677025"/>
                <a:gd name="connsiteX896" fmla="*/ 2279650 w 8802688"/>
                <a:gd name="connsiteY896" fmla="*/ 3722688 h 6677025"/>
                <a:gd name="connsiteX897" fmla="*/ 2286000 w 8802688"/>
                <a:gd name="connsiteY897" fmla="*/ 3757613 h 6677025"/>
                <a:gd name="connsiteX898" fmla="*/ 2289175 w 8802688"/>
                <a:gd name="connsiteY898" fmla="*/ 3797300 h 6677025"/>
                <a:gd name="connsiteX899" fmla="*/ 2289175 w 8802688"/>
                <a:gd name="connsiteY899" fmla="*/ 3835400 h 6677025"/>
                <a:gd name="connsiteX900" fmla="*/ 2286000 w 8802688"/>
                <a:gd name="connsiteY900" fmla="*/ 3873500 h 6677025"/>
                <a:gd name="connsiteX901" fmla="*/ 2276475 w 8802688"/>
                <a:gd name="connsiteY901" fmla="*/ 3916363 h 6677025"/>
                <a:gd name="connsiteX902" fmla="*/ 2262188 w 8802688"/>
                <a:gd name="connsiteY902" fmla="*/ 3954463 h 6677025"/>
                <a:gd name="connsiteX903" fmla="*/ 2244725 w 8802688"/>
                <a:gd name="connsiteY903" fmla="*/ 3995738 h 6677025"/>
                <a:gd name="connsiteX904" fmla="*/ 2232025 w 8802688"/>
                <a:gd name="connsiteY904" fmla="*/ 4013200 h 6677025"/>
                <a:gd name="connsiteX905" fmla="*/ 2224088 w 8802688"/>
                <a:gd name="connsiteY905" fmla="*/ 4037013 h 6677025"/>
                <a:gd name="connsiteX906" fmla="*/ 2217738 w 8802688"/>
                <a:gd name="connsiteY906" fmla="*/ 4064000 h 6677025"/>
                <a:gd name="connsiteX907" fmla="*/ 2217738 w 8802688"/>
                <a:gd name="connsiteY907" fmla="*/ 4090988 h 6677025"/>
                <a:gd name="connsiteX908" fmla="*/ 2217738 w 8802688"/>
                <a:gd name="connsiteY908" fmla="*/ 4117975 h 6677025"/>
                <a:gd name="connsiteX909" fmla="*/ 2224088 w 8802688"/>
                <a:gd name="connsiteY909" fmla="*/ 4144963 h 6677025"/>
                <a:gd name="connsiteX910" fmla="*/ 2232025 w 8802688"/>
                <a:gd name="connsiteY910" fmla="*/ 4168775 h 6677025"/>
                <a:gd name="connsiteX911" fmla="*/ 2244725 w 8802688"/>
                <a:gd name="connsiteY911" fmla="*/ 4183063 h 6677025"/>
                <a:gd name="connsiteX912" fmla="*/ 2306638 w 8802688"/>
                <a:gd name="connsiteY912" fmla="*/ 4251325 h 6677025"/>
                <a:gd name="connsiteX913" fmla="*/ 2368550 w 8802688"/>
                <a:gd name="connsiteY913" fmla="*/ 4313238 h 6677025"/>
                <a:gd name="connsiteX914" fmla="*/ 2435225 w 8802688"/>
                <a:gd name="connsiteY914" fmla="*/ 4373563 h 6677025"/>
                <a:gd name="connsiteX915" fmla="*/ 2497138 w 8802688"/>
                <a:gd name="connsiteY915" fmla="*/ 4424363 h 6677025"/>
                <a:gd name="connsiteX916" fmla="*/ 2562225 w 8802688"/>
                <a:gd name="connsiteY916" fmla="*/ 4471988 h 6677025"/>
                <a:gd name="connsiteX917" fmla="*/ 2627313 w 8802688"/>
                <a:gd name="connsiteY917" fmla="*/ 4510088 h 6677025"/>
                <a:gd name="connsiteX918" fmla="*/ 2660650 w 8802688"/>
                <a:gd name="connsiteY918" fmla="*/ 4527550 h 6677025"/>
                <a:gd name="connsiteX919" fmla="*/ 2695575 w 8802688"/>
                <a:gd name="connsiteY919" fmla="*/ 4543425 h 6677025"/>
                <a:gd name="connsiteX920" fmla="*/ 2728913 w 8802688"/>
                <a:gd name="connsiteY920" fmla="*/ 4554538 h 6677025"/>
                <a:gd name="connsiteX921" fmla="*/ 2763838 w 8802688"/>
                <a:gd name="connsiteY921" fmla="*/ 4567238 h 6677025"/>
                <a:gd name="connsiteX922" fmla="*/ 2800350 w 8802688"/>
                <a:gd name="connsiteY922" fmla="*/ 4575175 h 6677025"/>
                <a:gd name="connsiteX923" fmla="*/ 2835275 w 8802688"/>
                <a:gd name="connsiteY923" fmla="*/ 4584700 h 6677025"/>
                <a:gd name="connsiteX924" fmla="*/ 2871788 w 8802688"/>
                <a:gd name="connsiteY924" fmla="*/ 4591050 h 6677025"/>
                <a:gd name="connsiteX925" fmla="*/ 2906713 w 8802688"/>
                <a:gd name="connsiteY925" fmla="*/ 4594225 h 6677025"/>
                <a:gd name="connsiteX926" fmla="*/ 2943225 w 8802688"/>
                <a:gd name="connsiteY926" fmla="*/ 4594225 h 6677025"/>
                <a:gd name="connsiteX927" fmla="*/ 2981325 w 8802688"/>
                <a:gd name="connsiteY927" fmla="*/ 4594225 h 6677025"/>
                <a:gd name="connsiteX928" fmla="*/ 3021013 w 8802688"/>
                <a:gd name="connsiteY928" fmla="*/ 4591050 h 6677025"/>
                <a:gd name="connsiteX929" fmla="*/ 3059113 w 8802688"/>
                <a:gd name="connsiteY929" fmla="*/ 4584700 h 6677025"/>
                <a:gd name="connsiteX930" fmla="*/ 3097213 w 8802688"/>
                <a:gd name="connsiteY930" fmla="*/ 4575175 h 6677025"/>
                <a:gd name="connsiteX931" fmla="*/ 3138488 w 8802688"/>
                <a:gd name="connsiteY931" fmla="*/ 4564063 h 6677025"/>
                <a:gd name="connsiteX932" fmla="*/ 3178175 w 8802688"/>
                <a:gd name="connsiteY932" fmla="*/ 4551363 h 6677025"/>
                <a:gd name="connsiteX933" fmla="*/ 3219450 w 8802688"/>
                <a:gd name="connsiteY933" fmla="*/ 4537075 h 6677025"/>
                <a:gd name="connsiteX934" fmla="*/ 3263900 w 8802688"/>
                <a:gd name="connsiteY934" fmla="*/ 4516438 h 6677025"/>
                <a:gd name="connsiteX935" fmla="*/ 3305175 w 8802688"/>
                <a:gd name="connsiteY935" fmla="*/ 4495800 h 6677025"/>
                <a:gd name="connsiteX936" fmla="*/ 3349625 w 8802688"/>
                <a:gd name="connsiteY936" fmla="*/ 4471988 h 6677025"/>
                <a:gd name="connsiteX937" fmla="*/ 3394075 w 8802688"/>
                <a:gd name="connsiteY937" fmla="*/ 4445000 h 6677025"/>
                <a:gd name="connsiteX938" fmla="*/ 3617913 w 8802688"/>
                <a:gd name="connsiteY938" fmla="*/ 4329113 h 6677025"/>
                <a:gd name="connsiteX939" fmla="*/ 3730625 w 8802688"/>
                <a:gd name="connsiteY939" fmla="*/ 4271963 h 6677025"/>
                <a:gd name="connsiteX940" fmla="*/ 3843338 w 8802688"/>
                <a:gd name="connsiteY940" fmla="*/ 4216400 h 6677025"/>
                <a:gd name="connsiteX941" fmla="*/ 3959225 w 8802688"/>
                <a:gd name="connsiteY941" fmla="*/ 4168775 h 6677025"/>
                <a:gd name="connsiteX942" fmla="*/ 4019550 w 8802688"/>
                <a:gd name="connsiteY942" fmla="*/ 4144963 h 6677025"/>
                <a:gd name="connsiteX943" fmla="*/ 4078288 w 8802688"/>
                <a:gd name="connsiteY943" fmla="*/ 4124325 h 6677025"/>
                <a:gd name="connsiteX944" fmla="*/ 4138613 w 8802688"/>
                <a:gd name="connsiteY944" fmla="*/ 4108450 h 6677025"/>
                <a:gd name="connsiteX945" fmla="*/ 4197350 w 8802688"/>
                <a:gd name="connsiteY945" fmla="*/ 4094163 h 6677025"/>
                <a:gd name="connsiteX946" fmla="*/ 4259263 w 8802688"/>
                <a:gd name="connsiteY946" fmla="*/ 4081463 h 6677025"/>
                <a:gd name="connsiteX947" fmla="*/ 4322763 w 8802688"/>
                <a:gd name="connsiteY947" fmla="*/ 4073525 h 6677025"/>
                <a:gd name="connsiteX948" fmla="*/ 4337050 w 8802688"/>
                <a:gd name="connsiteY948" fmla="*/ 4067175 h 6677025"/>
                <a:gd name="connsiteX949" fmla="*/ 4354513 w 8802688"/>
                <a:gd name="connsiteY949" fmla="*/ 4057650 h 6677025"/>
                <a:gd name="connsiteX950" fmla="*/ 4375150 w 8802688"/>
                <a:gd name="connsiteY950" fmla="*/ 4043363 h 6677025"/>
                <a:gd name="connsiteX951" fmla="*/ 4397375 w 8802688"/>
                <a:gd name="connsiteY951" fmla="*/ 4025900 h 6677025"/>
                <a:gd name="connsiteX952" fmla="*/ 4418013 w 8802688"/>
                <a:gd name="connsiteY952" fmla="*/ 4002088 h 6677025"/>
                <a:gd name="connsiteX953" fmla="*/ 4438650 w 8802688"/>
                <a:gd name="connsiteY953" fmla="*/ 3978275 h 6677025"/>
                <a:gd name="connsiteX954" fmla="*/ 4456113 w 8802688"/>
                <a:gd name="connsiteY954" fmla="*/ 3951288 h 6677025"/>
                <a:gd name="connsiteX955" fmla="*/ 4470400 w 8802688"/>
                <a:gd name="connsiteY955" fmla="*/ 3921125 h 6677025"/>
                <a:gd name="connsiteX956" fmla="*/ 4497388 w 8802688"/>
                <a:gd name="connsiteY956" fmla="*/ 3844925 h 6677025"/>
                <a:gd name="connsiteX957" fmla="*/ 4518025 w 8802688"/>
                <a:gd name="connsiteY957" fmla="*/ 3767138 h 6677025"/>
                <a:gd name="connsiteX958" fmla="*/ 4537075 w 8802688"/>
                <a:gd name="connsiteY958" fmla="*/ 3689350 h 6677025"/>
                <a:gd name="connsiteX959" fmla="*/ 4548188 w 8802688"/>
                <a:gd name="connsiteY959" fmla="*/ 3613150 h 6677025"/>
                <a:gd name="connsiteX960" fmla="*/ 4560888 w 8802688"/>
                <a:gd name="connsiteY960" fmla="*/ 3535363 h 6677025"/>
                <a:gd name="connsiteX961" fmla="*/ 4565650 w 8802688"/>
                <a:gd name="connsiteY961" fmla="*/ 3457575 h 6677025"/>
                <a:gd name="connsiteX962" fmla="*/ 4572000 w 8802688"/>
                <a:gd name="connsiteY962" fmla="*/ 3381375 h 6677025"/>
                <a:gd name="connsiteX963" fmla="*/ 4572000 w 8802688"/>
                <a:gd name="connsiteY963" fmla="*/ 3300413 h 6677025"/>
                <a:gd name="connsiteX964" fmla="*/ 4572000 w 8802688"/>
                <a:gd name="connsiteY964" fmla="*/ 3222625 h 6677025"/>
                <a:gd name="connsiteX965" fmla="*/ 4568825 w 8802688"/>
                <a:gd name="connsiteY965" fmla="*/ 3143250 h 6677025"/>
                <a:gd name="connsiteX966" fmla="*/ 4562475 w 8802688"/>
                <a:gd name="connsiteY966" fmla="*/ 3062288 h 6677025"/>
                <a:gd name="connsiteX967" fmla="*/ 4554538 w 8802688"/>
                <a:gd name="connsiteY967" fmla="*/ 2982913 h 6677025"/>
                <a:gd name="connsiteX968" fmla="*/ 4533900 w 8802688"/>
                <a:gd name="connsiteY968" fmla="*/ 2819400 h 6677025"/>
                <a:gd name="connsiteX969" fmla="*/ 4506913 w 8802688"/>
                <a:gd name="connsiteY969" fmla="*/ 2652713 h 6677025"/>
                <a:gd name="connsiteX970" fmla="*/ 4479925 w 8802688"/>
                <a:gd name="connsiteY970" fmla="*/ 2476500 h 6677025"/>
                <a:gd name="connsiteX971" fmla="*/ 4446588 w 8802688"/>
                <a:gd name="connsiteY971" fmla="*/ 2292351 h 6677025"/>
                <a:gd name="connsiteX972" fmla="*/ 4429125 w 8802688"/>
                <a:gd name="connsiteY972" fmla="*/ 2197100 h 6677025"/>
                <a:gd name="connsiteX973" fmla="*/ 4408488 w 8802688"/>
                <a:gd name="connsiteY973" fmla="*/ 2098675 h 6677025"/>
                <a:gd name="connsiteX974" fmla="*/ 4384675 w 8802688"/>
                <a:gd name="connsiteY974" fmla="*/ 2005013 h 6677025"/>
                <a:gd name="connsiteX975" fmla="*/ 4360863 w 8802688"/>
                <a:gd name="connsiteY975" fmla="*/ 1906588 h 6677025"/>
                <a:gd name="connsiteX976" fmla="*/ 4360863 w 8802688"/>
                <a:gd name="connsiteY976" fmla="*/ 2765425 h 6677025"/>
                <a:gd name="connsiteX977" fmla="*/ 4360863 w 8802688"/>
                <a:gd name="connsiteY977" fmla="*/ 3698875 h 6677025"/>
                <a:gd name="connsiteX978" fmla="*/ 4357688 w 8802688"/>
                <a:gd name="connsiteY978" fmla="*/ 3725863 h 6677025"/>
                <a:gd name="connsiteX979" fmla="*/ 4354513 w 8802688"/>
                <a:gd name="connsiteY979" fmla="*/ 3752850 h 6677025"/>
                <a:gd name="connsiteX980" fmla="*/ 4349750 w 8802688"/>
                <a:gd name="connsiteY980" fmla="*/ 3776663 h 6677025"/>
                <a:gd name="connsiteX981" fmla="*/ 4340225 w 8802688"/>
                <a:gd name="connsiteY981" fmla="*/ 3797300 h 6677025"/>
                <a:gd name="connsiteX982" fmla="*/ 4327525 w 8802688"/>
                <a:gd name="connsiteY982" fmla="*/ 3817938 h 6677025"/>
                <a:gd name="connsiteX983" fmla="*/ 4316413 w 8802688"/>
                <a:gd name="connsiteY983" fmla="*/ 3838575 h 6677025"/>
                <a:gd name="connsiteX984" fmla="*/ 4302125 w 8802688"/>
                <a:gd name="connsiteY984" fmla="*/ 3856038 h 6677025"/>
                <a:gd name="connsiteX985" fmla="*/ 4286250 w 8802688"/>
                <a:gd name="connsiteY985" fmla="*/ 3870325 h 6677025"/>
                <a:gd name="connsiteX986" fmla="*/ 4265613 w 8802688"/>
                <a:gd name="connsiteY986" fmla="*/ 3886200 h 6677025"/>
                <a:gd name="connsiteX987" fmla="*/ 4248150 w 8802688"/>
                <a:gd name="connsiteY987" fmla="*/ 3900488 h 6677025"/>
                <a:gd name="connsiteX988" fmla="*/ 4203700 w 8802688"/>
                <a:gd name="connsiteY988" fmla="*/ 3924300 h 6677025"/>
                <a:gd name="connsiteX989" fmla="*/ 4152900 w 8802688"/>
                <a:gd name="connsiteY989" fmla="*/ 3944938 h 6677025"/>
                <a:gd name="connsiteX990" fmla="*/ 4098925 w 8802688"/>
                <a:gd name="connsiteY990" fmla="*/ 3960813 h 6677025"/>
                <a:gd name="connsiteX991" fmla="*/ 4000500 w 8802688"/>
                <a:gd name="connsiteY991" fmla="*/ 3989388 h 6677025"/>
                <a:gd name="connsiteX992" fmla="*/ 3906838 w 8802688"/>
                <a:gd name="connsiteY992" fmla="*/ 4022725 h 6677025"/>
                <a:gd name="connsiteX993" fmla="*/ 3811588 w 8802688"/>
                <a:gd name="connsiteY993" fmla="*/ 4057650 h 6677025"/>
                <a:gd name="connsiteX994" fmla="*/ 3716338 w 8802688"/>
                <a:gd name="connsiteY994" fmla="*/ 4100513 h 6677025"/>
                <a:gd name="connsiteX995" fmla="*/ 3621088 w 8802688"/>
                <a:gd name="connsiteY995" fmla="*/ 4144963 h 6677025"/>
                <a:gd name="connsiteX996" fmla="*/ 3532188 w 8802688"/>
                <a:gd name="connsiteY996" fmla="*/ 4192588 h 6677025"/>
                <a:gd name="connsiteX997" fmla="*/ 3441700 w 8802688"/>
                <a:gd name="connsiteY997" fmla="*/ 4243388 h 6677025"/>
                <a:gd name="connsiteX998" fmla="*/ 3359150 w 8802688"/>
                <a:gd name="connsiteY998" fmla="*/ 4295775 h 6677025"/>
                <a:gd name="connsiteX999" fmla="*/ 3287713 w 8802688"/>
                <a:gd name="connsiteY999" fmla="*/ 4329113 h 6677025"/>
                <a:gd name="connsiteX1000" fmla="*/ 3222625 w 8802688"/>
                <a:gd name="connsiteY1000" fmla="*/ 4359275 h 6677025"/>
                <a:gd name="connsiteX1001" fmla="*/ 3157538 w 8802688"/>
                <a:gd name="connsiteY1001" fmla="*/ 4379913 h 6677025"/>
                <a:gd name="connsiteX1002" fmla="*/ 3094038 w 8802688"/>
                <a:gd name="connsiteY1002" fmla="*/ 4400550 h 6677025"/>
                <a:gd name="connsiteX1003" fmla="*/ 3032125 w 8802688"/>
                <a:gd name="connsiteY1003" fmla="*/ 4411663 h 6677025"/>
                <a:gd name="connsiteX1004" fmla="*/ 2973388 w 8802688"/>
                <a:gd name="connsiteY1004" fmla="*/ 4421188 h 6677025"/>
                <a:gd name="connsiteX1005" fmla="*/ 2913063 w 8802688"/>
                <a:gd name="connsiteY1005" fmla="*/ 4421188 h 6677025"/>
                <a:gd name="connsiteX1006" fmla="*/ 2857500 w 8802688"/>
                <a:gd name="connsiteY1006" fmla="*/ 4418013 h 6677025"/>
                <a:gd name="connsiteX1007" fmla="*/ 2803525 w 8802688"/>
                <a:gd name="connsiteY1007" fmla="*/ 4406900 h 6677025"/>
                <a:gd name="connsiteX1008" fmla="*/ 2749550 w 8802688"/>
                <a:gd name="connsiteY1008" fmla="*/ 4391025 h 6677025"/>
                <a:gd name="connsiteX1009" fmla="*/ 2698750 w 8802688"/>
                <a:gd name="connsiteY1009" fmla="*/ 4367213 h 6677025"/>
                <a:gd name="connsiteX1010" fmla="*/ 2647950 w 8802688"/>
                <a:gd name="connsiteY1010" fmla="*/ 4337050 h 6677025"/>
                <a:gd name="connsiteX1011" fmla="*/ 2600325 w 8802688"/>
                <a:gd name="connsiteY1011" fmla="*/ 4302125 h 6677025"/>
                <a:gd name="connsiteX1012" fmla="*/ 2554288 w 8802688"/>
                <a:gd name="connsiteY1012" fmla="*/ 4257675 h 6677025"/>
                <a:gd name="connsiteX1013" fmla="*/ 2508250 w 8802688"/>
                <a:gd name="connsiteY1013" fmla="*/ 4206875 h 6677025"/>
                <a:gd name="connsiteX1014" fmla="*/ 2466975 w 8802688"/>
                <a:gd name="connsiteY1014" fmla="*/ 4148138 h 6677025"/>
                <a:gd name="connsiteX1015" fmla="*/ 2452688 w 8802688"/>
                <a:gd name="connsiteY1015" fmla="*/ 4117975 h 6677025"/>
                <a:gd name="connsiteX1016" fmla="*/ 2439988 w 8802688"/>
                <a:gd name="connsiteY1016" fmla="*/ 4084638 h 6677025"/>
                <a:gd name="connsiteX1017" fmla="*/ 2428875 w 8802688"/>
                <a:gd name="connsiteY1017" fmla="*/ 4049713 h 6677025"/>
                <a:gd name="connsiteX1018" fmla="*/ 2419350 w 8802688"/>
                <a:gd name="connsiteY1018" fmla="*/ 4016375 h 6677025"/>
                <a:gd name="connsiteX1019" fmla="*/ 2416175 w 8802688"/>
                <a:gd name="connsiteY1019" fmla="*/ 3981450 h 6677025"/>
                <a:gd name="connsiteX1020" fmla="*/ 2416175 w 8802688"/>
                <a:gd name="connsiteY1020" fmla="*/ 3948113 h 6677025"/>
                <a:gd name="connsiteX1021" fmla="*/ 2419350 w 8802688"/>
                <a:gd name="connsiteY1021" fmla="*/ 3916363 h 6677025"/>
                <a:gd name="connsiteX1022" fmla="*/ 2425700 w 8802688"/>
                <a:gd name="connsiteY1022" fmla="*/ 3900488 h 6677025"/>
                <a:gd name="connsiteX1023" fmla="*/ 2432050 w 8802688"/>
                <a:gd name="connsiteY1023" fmla="*/ 3886200 h 6677025"/>
                <a:gd name="connsiteX1024" fmla="*/ 2446338 w 8802688"/>
                <a:gd name="connsiteY1024" fmla="*/ 3829050 h 6677025"/>
                <a:gd name="connsiteX1025" fmla="*/ 2463800 w 8802688"/>
                <a:gd name="connsiteY1025" fmla="*/ 3778250 h 6677025"/>
                <a:gd name="connsiteX1026" fmla="*/ 2484438 w 8802688"/>
                <a:gd name="connsiteY1026" fmla="*/ 3730625 h 6677025"/>
                <a:gd name="connsiteX1027" fmla="*/ 2508250 w 8802688"/>
                <a:gd name="connsiteY1027" fmla="*/ 3684588 h 6677025"/>
                <a:gd name="connsiteX1028" fmla="*/ 2535238 w 8802688"/>
                <a:gd name="connsiteY1028" fmla="*/ 3638550 h 6677025"/>
                <a:gd name="connsiteX1029" fmla="*/ 2559050 w 8802688"/>
                <a:gd name="connsiteY1029" fmla="*/ 3597275 h 6677025"/>
                <a:gd name="connsiteX1030" fmla="*/ 2616200 w 8802688"/>
                <a:gd name="connsiteY1030" fmla="*/ 3511550 h 6677025"/>
                <a:gd name="connsiteX1031" fmla="*/ 2667000 w 8802688"/>
                <a:gd name="connsiteY1031" fmla="*/ 3406775 h 6677025"/>
                <a:gd name="connsiteX1032" fmla="*/ 2705100 w 8802688"/>
                <a:gd name="connsiteY1032" fmla="*/ 3311525 h 6677025"/>
                <a:gd name="connsiteX1033" fmla="*/ 2735263 w 8802688"/>
                <a:gd name="connsiteY1033" fmla="*/ 3222625 h 6677025"/>
                <a:gd name="connsiteX1034" fmla="*/ 2763838 w 8802688"/>
                <a:gd name="connsiteY1034" fmla="*/ 3136900 h 6677025"/>
                <a:gd name="connsiteX1035" fmla="*/ 2722563 w 8802688"/>
                <a:gd name="connsiteY1035" fmla="*/ 3181350 h 6677025"/>
                <a:gd name="connsiteX1036" fmla="*/ 2681288 w 8802688"/>
                <a:gd name="connsiteY1036" fmla="*/ 3228975 h 6677025"/>
                <a:gd name="connsiteX1037" fmla="*/ 2598738 w 8802688"/>
                <a:gd name="connsiteY1037" fmla="*/ 3330575 h 6677025"/>
                <a:gd name="connsiteX1038" fmla="*/ 2514600 w 8802688"/>
                <a:gd name="connsiteY1038" fmla="*/ 3436938 h 6677025"/>
                <a:gd name="connsiteX1039" fmla="*/ 2432050 w 8802688"/>
                <a:gd name="connsiteY1039" fmla="*/ 3549650 h 6677025"/>
                <a:gd name="connsiteX1040" fmla="*/ 2374900 w 8802688"/>
                <a:gd name="connsiteY1040" fmla="*/ 3478213 h 6677025"/>
                <a:gd name="connsiteX1041" fmla="*/ 2324100 w 8802688"/>
                <a:gd name="connsiteY1041" fmla="*/ 3409950 h 6677025"/>
                <a:gd name="connsiteX1042" fmla="*/ 2276475 w 8802688"/>
                <a:gd name="connsiteY1042" fmla="*/ 3338513 h 6677025"/>
                <a:gd name="connsiteX1043" fmla="*/ 2228850 w 8802688"/>
                <a:gd name="connsiteY1043" fmla="*/ 3267075 h 6677025"/>
                <a:gd name="connsiteX1044" fmla="*/ 2143125 w 8802688"/>
                <a:gd name="connsiteY1044" fmla="*/ 3127375 h 6677025"/>
                <a:gd name="connsiteX1045" fmla="*/ 2060575 w 8802688"/>
                <a:gd name="connsiteY1045" fmla="*/ 2987675 h 6677025"/>
                <a:gd name="connsiteX1046" fmla="*/ 2047875 w 8802688"/>
                <a:gd name="connsiteY1046" fmla="*/ 2973388 h 6677025"/>
                <a:gd name="connsiteX1047" fmla="*/ 2039938 w 8802688"/>
                <a:gd name="connsiteY1047" fmla="*/ 2955925 h 6677025"/>
                <a:gd name="connsiteX1048" fmla="*/ 2030413 w 8802688"/>
                <a:gd name="connsiteY1048" fmla="*/ 2935288 h 6677025"/>
                <a:gd name="connsiteX1049" fmla="*/ 2027238 w 8802688"/>
                <a:gd name="connsiteY1049" fmla="*/ 2914650 h 6677025"/>
                <a:gd name="connsiteX1050" fmla="*/ 2020888 w 8802688"/>
                <a:gd name="connsiteY1050" fmla="*/ 2871788 h 6677025"/>
                <a:gd name="connsiteX1051" fmla="*/ 2020888 w 8802688"/>
                <a:gd name="connsiteY1051" fmla="*/ 2840038 h 6677025"/>
                <a:gd name="connsiteX1052" fmla="*/ 2063750 w 8802688"/>
                <a:gd name="connsiteY1052" fmla="*/ 2755900 h 6677025"/>
                <a:gd name="connsiteX1053" fmla="*/ 2101850 w 8802688"/>
                <a:gd name="connsiteY1053" fmla="*/ 2673350 h 6677025"/>
                <a:gd name="connsiteX1054" fmla="*/ 2176463 w 8802688"/>
                <a:gd name="connsiteY1054" fmla="*/ 2506663 h 6677025"/>
                <a:gd name="connsiteX1055" fmla="*/ 2214563 w 8802688"/>
                <a:gd name="connsiteY1055" fmla="*/ 2428875 h 6677025"/>
                <a:gd name="connsiteX1056" fmla="*/ 2255838 w 8802688"/>
                <a:gd name="connsiteY1056" fmla="*/ 2352675 h 6677025"/>
                <a:gd name="connsiteX1057" fmla="*/ 2303463 w 8802688"/>
                <a:gd name="connsiteY1057" fmla="*/ 2274888 h 6677025"/>
                <a:gd name="connsiteX1058" fmla="*/ 2330450 w 8802688"/>
                <a:gd name="connsiteY1058" fmla="*/ 2238375 h 6677025"/>
                <a:gd name="connsiteX1059" fmla="*/ 2357438 w 8802688"/>
                <a:gd name="connsiteY1059" fmla="*/ 2203450 h 6677025"/>
                <a:gd name="connsiteX1060" fmla="*/ 2482850 w 8802688"/>
                <a:gd name="connsiteY1060" fmla="*/ 2054225 h 6677025"/>
                <a:gd name="connsiteX1061" fmla="*/ 2613025 w 8802688"/>
                <a:gd name="connsiteY1061" fmla="*/ 1909763 h 6677025"/>
                <a:gd name="connsiteX1062" fmla="*/ 2743200 w 8802688"/>
                <a:gd name="connsiteY1062" fmla="*/ 1766888 h 6677025"/>
                <a:gd name="connsiteX1063" fmla="*/ 2874963 w 8802688"/>
                <a:gd name="connsiteY1063" fmla="*/ 1630363 h 6677025"/>
                <a:gd name="connsiteX1064" fmla="*/ 3138488 w 8802688"/>
                <a:gd name="connsiteY1064" fmla="*/ 1358900 h 6677025"/>
                <a:gd name="connsiteX1065" fmla="*/ 3267075 w 8802688"/>
                <a:gd name="connsiteY1065" fmla="*/ 1222376 h 6677025"/>
                <a:gd name="connsiteX1066" fmla="*/ 3394075 w 8802688"/>
                <a:gd name="connsiteY1066" fmla="*/ 1082675 h 6677025"/>
                <a:gd name="connsiteX1067" fmla="*/ 3430588 w 8802688"/>
                <a:gd name="connsiteY1067" fmla="*/ 1044576 h 6677025"/>
                <a:gd name="connsiteX1068" fmla="*/ 3468688 w 8802688"/>
                <a:gd name="connsiteY1068" fmla="*/ 1011238 h 6677025"/>
                <a:gd name="connsiteX1069" fmla="*/ 3508375 w 8802688"/>
                <a:gd name="connsiteY1069" fmla="*/ 984250 h 6677025"/>
                <a:gd name="connsiteX1070" fmla="*/ 3546475 w 8802688"/>
                <a:gd name="connsiteY1070" fmla="*/ 963613 h 6677025"/>
                <a:gd name="connsiteX1071" fmla="*/ 3587750 w 8802688"/>
                <a:gd name="connsiteY1071" fmla="*/ 946150 h 6677025"/>
                <a:gd name="connsiteX1072" fmla="*/ 3629025 w 8802688"/>
                <a:gd name="connsiteY1072" fmla="*/ 933450 h 6677025"/>
                <a:gd name="connsiteX1073" fmla="*/ 3671888 w 8802688"/>
                <a:gd name="connsiteY1073" fmla="*/ 922338 h 6677025"/>
                <a:gd name="connsiteX1074" fmla="*/ 3716338 w 8802688"/>
                <a:gd name="connsiteY1074" fmla="*/ 915988 h 6677025"/>
                <a:gd name="connsiteX1075" fmla="*/ 3802063 w 8802688"/>
                <a:gd name="connsiteY1075" fmla="*/ 904875 h 6677025"/>
                <a:gd name="connsiteX1076" fmla="*/ 3890963 w 8802688"/>
                <a:gd name="connsiteY1076" fmla="*/ 895350 h 6677025"/>
                <a:gd name="connsiteX1077" fmla="*/ 3932238 w 8802688"/>
                <a:gd name="connsiteY1077" fmla="*/ 889000 h 6677025"/>
                <a:gd name="connsiteX1078" fmla="*/ 3976688 w 8802688"/>
                <a:gd name="connsiteY1078" fmla="*/ 881063 h 6677025"/>
                <a:gd name="connsiteX1079" fmla="*/ 4022725 w 8802688"/>
                <a:gd name="connsiteY1079" fmla="*/ 871538 h 6677025"/>
                <a:gd name="connsiteX1080" fmla="*/ 4064000 w 8802688"/>
                <a:gd name="connsiteY1080" fmla="*/ 860425 h 6677025"/>
                <a:gd name="connsiteX1081" fmla="*/ 4090988 w 8802688"/>
                <a:gd name="connsiteY1081" fmla="*/ 857250 h 6677025"/>
                <a:gd name="connsiteX1082" fmla="*/ 4117975 w 8802688"/>
                <a:gd name="connsiteY1082" fmla="*/ 854075 h 6677025"/>
                <a:gd name="connsiteX1083" fmla="*/ 4143375 w 8802688"/>
                <a:gd name="connsiteY1083" fmla="*/ 844550 h 6677025"/>
                <a:gd name="connsiteX1084" fmla="*/ 4170363 w 8802688"/>
                <a:gd name="connsiteY1084" fmla="*/ 836613 h 6677025"/>
                <a:gd name="connsiteX1085" fmla="*/ 4191000 w 8802688"/>
                <a:gd name="connsiteY1085" fmla="*/ 823913 h 6677025"/>
                <a:gd name="connsiteX1086" fmla="*/ 4214813 w 8802688"/>
                <a:gd name="connsiteY1086" fmla="*/ 812801 h 6677025"/>
                <a:gd name="connsiteX1087" fmla="*/ 4233863 w 8802688"/>
                <a:gd name="connsiteY1087" fmla="*/ 796926 h 6677025"/>
                <a:gd name="connsiteX1088" fmla="*/ 4248150 w 8802688"/>
                <a:gd name="connsiteY1088" fmla="*/ 785813 h 6677025"/>
                <a:gd name="connsiteX1089" fmla="*/ 3876675 w 8802688"/>
                <a:gd name="connsiteY1089" fmla="*/ 785813 h 6677025"/>
                <a:gd name="connsiteX1090" fmla="*/ 3906838 w 8802688"/>
                <a:gd name="connsiteY1090" fmla="*/ 728663 h 6677025"/>
                <a:gd name="connsiteX1091" fmla="*/ 3938588 w 8802688"/>
                <a:gd name="connsiteY1091" fmla="*/ 677863 h 6677025"/>
                <a:gd name="connsiteX1092" fmla="*/ 3971925 w 8802688"/>
                <a:gd name="connsiteY1092" fmla="*/ 630238 h 6677025"/>
                <a:gd name="connsiteX1093" fmla="*/ 4006850 w 8802688"/>
                <a:gd name="connsiteY1093" fmla="*/ 585788 h 6677025"/>
                <a:gd name="connsiteX1094" fmla="*/ 4046538 w 8802688"/>
                <a:gd name="connsiteY1094" fmla="*/ 544513 h 6677025"/>
                <a:gd name="connsiteX1095" fmla="*/ 4084638 w 8802688"/>
                <a:gd name="connsiteY1095" fmla="*/ 506413 h 6677025"/>
                <a:gd name="connsiteX1096" fmla="*/ 4125913 w 8802688"/>
                <a:gd name="connsiteY1096" fmla="*/ 466725 h 6677025"/>
                <a:gd name="connsiteX1097" fmla="*/ 4170363 w 8802688"/>
                <a:gd name="connsiteY1097" fmla="*/ 434975 h 6677025"/>
                <a:gd name="connsiteX1098" fmla="*/ 4211638 w 8802688"/>
                <a:gd name="connsiteY1098" fmla="*/ 401638 h 6677025"/>
                <a:gd name="connsiteX1099" fmla="*/ 4259263 w 8802688"/>
                <a:gd name="connsiteY1099" fmla="*/ 373063 h 6677025"/>
                <a:gd name="connsiteX1100" fmla="*/ 4303713 w 8802688"/>
                <a:gd name="connsiteY1100" fmla="*/ 342900 h 6677025"/>
                <a:gd name="connsiteX1101" fmla="*/ 4351338 w 8802688"/>
                <a:gd name="connsiteY1101" fmla="*/ 315913 h 6677025"/>
                <a:gd name="connsiteX1102" fmla="*/ 4446588 w 8802688"/>
                <a:gd name="connsiteY1102" fmla="*/ 268288 h 6677025"/>
                <a:gd name="connsiteX1103" fmla="*/ 4545013 w 8802688"/>
                <a:gd name="connsiteY1103" fmla="*/ 223838 h 6677025"/>
                <a:gd name="connsiteX1104" fmla="*/ 4654550 w 8802688"/>
                <a:gd name="connsiteY1104" fmla="*/ 193675 h 6677025"/>
                <a:gd name="connsiteX1105" fmla="*/ 4768850 w 8802688"/>
                <a:gd name="connsiteY1105" fmla="*/ 163513 h 6677025"/>
                <a:gd name="connsiteX1106" fmla="*/ 4991101 w 8802688"/>
                <a:gd name="connsiteY1106" fmla="*/ 98425 h 6677025"/>
                <a:gd name="connsiteX1107" fmla="*/ 5100638 w 8802688"/>
                <a:gd name="connsiteY1107" fmla="*/ 69850 h 6677025"/>
                <a:gd name="connsiteX1108" fmla="*/ 5213351 w 8802688"/>
                <a:gd name="connsiteY1108" fmla="*/ 39688 h 6677025"/>
                <a:gd name="connsiteX1109" fmla="*/ 5324476 w 8802688"/>
                <a:gd name="connsiteY1109" fmla="*/ 19050 h 66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Lst>
              <a:rect l="l" t="t" r="r" b="b"/>
              <a:pathLst>
                <a:path w="8802688" h="6677025">
                  <a:moveTo>
                    <a:pt x="5546725" y="4819650"/>
                  </a:moveTo>
                  <a:lnTo>
                    <a:pt x="5573713" y="4926013"/>
                  </a:lnTo>
                  <a:lnTo>
                    <a:pt x="5603875" y="5024438"/>
                  </a:lnTo>
                  <a:lnTo>
                    <a:pt x="5630863" y="5122863"/>
                  </a:lnTo>
                  <a:lnTo>
                    <a:pt x="5657850" y="5229225"/>
                  </a:lnTo>
                  <a:lnTo>
                    <a:pt x="5668963" y="5313363"/>
                  </a:lnTo>
                  <a:lnTo>
                    <a:pt x="5681663" y="5399088"/>
                  </a:lnTo>
                  <a:lnTo>
                    <a:pt x="5686425" y="5484813"/>
                  </a:lnTo>
                  <a:lnTo>
                    <a:pt x="5689600" y="5572126"/>
                  </a:lnTo>
                  <a:lnTo>
                    <a:pt x="5695950" y="5749926"/>
                  </a:lnTo>
                  <a:lnTo>
                    <a:pt x="5695950" y="5940426"/>
                  </a:lnTo>
                  <a:lnTo>
                    <a:pt x="5692775" y="5957888"/>
                  </a:lnTo>
                  <a:lnTo>
                    <a:pt x="5689600" y="5978526"/>
                  </a:lnTo>
                  <a:lnTo>
                    <a:pt x="5681663" y="6002338"/>
                  </a:lnTo>
                  <a:lnTo>
                    <a:pt x="5672138" y="6029326"/>
                  </a:lnTo>
                  <a:lnTo>
                    <a:pt x="5659438" y="6053138"/>
                  </a:lnTo>
                  <a:lnTo>
                    <a:pt x="5648325" y="6070601"/>
                  </a:lnTo>
                  <a:lnTo>
                    <a:pt x="5634038" y="6086476"/>
                  </a:lnTo>
                  <a:lnTo>
                    <a:pt x="5627688" y="6088063"/>
                  </a:lnTo>
                  <a:lnTo>
                    <a:pt x="5621338" y="6088063"/>
                  </a:lnTo>
                  <a:lnTo>
                    <a:pt x="5526088" y="6100763"/>
                  </a:lnTo>
                  <a:lnTo>
                    <a:pt x="5430838" y="6107113"/>
                  </a:lnTo>
                  <a:lnTo>
                    <a:pt x="5338763" y="6107113"/>
                  </a:lnTo>
                  <a:lnTo>
                    <a:pt x="5249862" y="6103938"/>
                  </a:lnTo>
                  <a:lnTo>
                    <a:pt x="5068887" y="6094413"/>
                  </a:lnTo>
                  <a:lnTo>
                    <a:pt x="4973637" y="6091238"/>
                  </a:lnTo>
                  <a:lnTo>
                    <a:pt x="4878387" y="6088063"/>
                  </a:lnTo>
                  <a:lnTo>
                    <a:pt x="5045075" y="5780088"/>
                  </a:lnTo>
                  <a:lnTo>
                    <a:pt x="5213350" y="5467350"/>
                  </a:lnTo>
                  <a:lnTo>
                    <a:pt x="5380038" y="5149850"/>
                  </a:lnTo>
                  <a:close/>
                  <a:moveTo>
                    <a:pt x="576262" y="4632325"/>
                  </a:moveTo>
                  <a:lnTo>
                    <a:pt x="685799" y="4827588"/>
                  </a:lnTo>
                  <a:lnTo>
                    <a:pt x="796925" y="5030788"/>
                  </a:lnTo>
                  <a:lnTo>
                    <a:pt x="909637" y="5235575"/>
                  </a:lnTo>
                  <a:lnTo>
                    <a:pt x="1019175" y="5456238"/>
                  </a:lnTo>
                  <a:lnTo>
                    <a:pt x="1031875" y="5481638"/>
                  </a:lnTo>
                  <a:lnTo>
                    <a:pt x="1039812" y="5508626"/>
                  </a:lnTo>
                  <a:lnTo>
                    <a:pt x="1046162" y="5532438"/>
                  </a:lnTo>
                  <a:lnTo>
                    <a:pt x="1049337" y="5559426"/>
                  </a:lnTo>
                  <a:lnTo>
                    <a:pt x="1049337" y="5580063"/>
                  </a:lnTo>
                  <a:lnTo>
                    <a:pt x="1046162" y="5600701"/>
                  </a:lnTo>
                  <a:lnTo>
                    <a:pt x="1039812" y="5621338"/>
                  </a:lnTo>
                  <a:lnTo>
                    <a:pt x="1028699" y="5640388"/>
                  </a:lnTo>
                  <a:lnTo>
                    <a:pt x="1019175" y="5657851"/>
                  </a:lnTo>
                  <a:lnTo>
                    <a:pt x="1004887" y="5672138"/>
                  </a:lnTo>
                  <a:lnTo>
                    <a:pt x="987425" y="5684838"/>
                  </a:lnTo>
                  <a:lnTo>
                    <a:pt x="968375" y="5695951"/>
                  </a:lnTo>
                  <a:lnTo>
                    <a:pt x="947737" y="5705476"/>
                  </a:lnTo>
                  <a:lnTo>
                    <a:pt x="923925" y="5711826"/>
                  </a:lnTo>
                  <a:lnTo>
                    <a:pt x="896937" y="5713413"/>
                  </a:lnTo>
                  <a:lnTo>
                    <a:pt x="871537" y="5716588"/>
                  </a:lnTo>
                  <a:lnTo>
                    <a:pt x="844549" y="5716588"/>
                  </a:lnTo>
                  <a:lnTo>
                    <a:pt x="814387" y="5716588"/>
                  </a:lnTo>
                  <a:lnTo>
                    <a:pt x="787399" y="5713413"/>
                  </a:lnTo>
                  <a:lnTo>
                    <a:pt x="757237" y="5711826"/>
                  </a:lnTo>
                  <a:lnTo>
                    <a:pt x="728662" y="5702301"/>
                  </a:lnTo>
                  <a:lnTo>
                    <a:pt x="695325" y="5692776"/>
                  </a:lnTo>
                  <a:lnTo>
                    <a:pt x="636587" y="5668963"/>
                  </a:lnTo>
                  <a:lnTo>
                    <a:pt x="576262" y="5637213"/>
                  </a:lnTo>
                  <a:lnTo>
                    <a:pt x="520699" y="5600701"/>
                  </a:lnTo>
                  <a:lnTo>
                    <a:pt x="463549" y="5556251"/>
                  </a:lnTo>
                  <a:lnTo>
                    <a:pt x="406399" y="5508626"/>
                  </a:lnTo>
                  <a:lnTo>
                    <a:pt x="360362" y="5457826"/>
                  </a:lnTo>
                  <a:lnTo>
                    <a:pt x="312737" y="5405438"/>
                  </a:lnTo>
                  <a:lnTo>
                    <a:pt x="269875" y="5351463"/>
                  </a:lnTo>
                  <a:lnTo>
                    <a:pt x="234949" y="5294313"/>
                  </a:lnTo>
                  <a:lnTo>
                    <a:pt x="207962" y="5238750"/>
                  </a:lnTo>
                  <a:lnTo>
                    <a:pt x="184149" y="5184775"/>
                  </a:lnTo>
                  <a:lnTo>
                    <a:pt x="177799" y="5157788"/>
                  </a:lnTo>
                  <a:lnTo>
                    <a:pt x="173037" y="5130800"/>
                  </a:lnTo>
                  <a:lnTo>
                    <a:pt x="169862" y="5105400"/>
                  </a:lnTo>
                  <a:lnTo>
                    <a:pt x="166687" y="5081588"/>
                  </a:lnTo>
                  <a:lnTo>
                    <a:pt x="169862" y="5054600"/>
                  </a:lnTo>
                  <a:lnTo>
                    <a:pt x="173037" y="5024438"/>
                  </a:lnTo>
                  <a:lnTo>
                    <a:pt x="180975" y="4997450"/>
                  </a:lnTo>
                  <a:lnTo>
                    <a:pt x="190499" y="4973638"/>
                  </a:lnTo>
                  <a:lnTo>
                    <a:pt x="201612" y="4949825"/>
                  </a:lnTo>
                  <a:lnTo>
                    <a:pt x="214312" y="4929188"/>
                  </a:lnTo>
                  <a:lnTo>
                    <a:pt x="228599" y="4908550"/>
                  </a:lnTo>
                  <a:lnTo>
                    <a:pt x="241299" y="4894263"/>
                  </a:lnTo>
                  <a:lnTo>
                    <a:pt x="285749" y="4851400"/>
                  </a:lnTo>
                  <a:lnTo>
                    <a:pt x="330199" y="4816475"/>
                  </a:lnTo>
                  <a:lnTo>
                    <a:pt x="377825" y="4779963"/>
                  </a:lnTo>
                  <a:lnTo>
                    <a:pt x="422275" y="4748213"/>
                  </a:lnTo>
                  <a:lnTo>
                    <a:pt x="507999" y="4687888"/>
                  </a:lnTo>
                  <a:lnTo>
                    <a:pt x="544512" y="4662488"/>
                  </a:lnTo>
                  <a:close/>
                  <a:moveTo>
                    <a:pt x="6180138" y="3546475"/>
                  </a:moveTo>
                  <a:lnTo>
                    <a:pt x="6124576" y="3562350"/>
                  </a:lnTo>
                  <a:lnTo>
                    <a:pt x="6076951" y="3579813"/>
                  </a:lnTo>
                  <a:lnTo>
                    <a:pt x="6037263" y="3600450"/>
                  </a:lnTo>
                  <a:lnTo>
                    <a:pt x="6002338" y="3624263"/>
                  </a:lnTo>
                  <a:lnTo>
                    <a:pt x="5978526" y="3651250"/>
                  </a:lnTo>
                  <a:lnTo>
                    <a:pt x="5961063" y="3678238"/>
                  </a:lnTo>
                  <a:lnTo>
                    <a:pt x="5948363" y="3705225"/>
                  </a:lnTo>
                  <a:lnTo>
                    <a:pt x="5945188" y="3719513"/>
                  </a:lnTo>
                  <a:lnTo>
                    <a:pt x="5945188" y="3733800"/>
                  </a:lnTo>
                  <a:lnTo>
                    <a:pt x="5986463" y="3698875"/>
                  </a:lnTo>
                  <a:lnTo>
                    <a:pt x="6046788" y="3654425"/>
                  </a:lnTo>
                  <a:lnTo>
                    <a:pt x="6115051" y="3600450"/>
                  </a:lnTo>
                  <a:lnTo>
                    <a:pt x="6148388" y="3573463"/>
                  </a:lnTo>
                  <a:close/>
                  <a:moveTo>
                    <a:pt x="279400" y="2203450"/>
                  </a:moveTo>
                  <a:lnTo>
                    <a:pt x="354013" y="2203450"/>
                  </a:lnTo>
                  <a:lnTo>
                    <a:pt x="327025" y="2274888"/>
                  </a:lnTo>
                  <a:lnTo>
                    <a:pt x="303213" y="2343150"/>
                  </a:lnTo>
                  <a:lnTo>
                    <a:pt x="261938" y="2482850"/>
                  </a:lnTo>
                  <a:lnTo>
                    <a:pt x="217488" y="2625726"/>
                  </a:lnTo>
                  <a:lnTo>
                    <a:pt x="193675" y="2693988"/>
                  </a:lnTo>
                  <a:lnTo>
                    <a:pt x="166688" y="2765425"/>
                  </a:lnTo>
                  <a:lnTo>
                    <a:pt x="169863" y="2792413"/>
                  </a:lnTo>
                  <a:lnTo>
                    <a:pt x="173038" y="2819400"/>
                  </a:lnTo>
                  <a:lnTo>
                    <a:pt x="180975" y="2844801"/>
                  </a:lnTo>
                  <a:lnTo>
                    <a:pt x="190500" y="2871788"/>
                  </a:lnTo>
                  <a:lnTo>
                    <a:pt x="201613" y="2895601"/>
                  </a:lnTo>
                  <a:lnTo>
                    <a:pt x="214313" y="2916238"/>
                  </a:lnTo>
                  <a:lnTo>
                    <a:pt x="228600" y="2935288"/>
                  </a:lnTo>
                  <a:lnTo>
                    <a:pt x="241300" y="2952751"/>
                  </a:lnTo>
                  <a:lnTo>
                    <a:pt x="242888" y="2959101"/>
                  </a:lnTo>
                  <a:lnTo>
                    <a:pt x="242888" y="2963863"/>
                  </a:lnTo>
                  <a:lnTo>
                    <a:pt x="255588" y="2973388"/>
                  </a:lnTo>
                  <a:lnTo>
                    <a:pt x="266700" y="2979738"/>
                  </a:lnTo>
                  <a:lnTo>
                    <a:pt x="288925" y="2984501"/>
                  </a:lnTo>
                  <a:lnTo>
                    <a:pt x="336550" y="2987676"/>
                  </a:lnTo>
                  <a:lnTo>
                    <a:pt x="388938" y="2987676"/>
                  </a:lnTo>
                  <a:lnTo>
                    <a:pt x="404813" y="2987676"/>
                  </a:lnTo>
                  <a:lnTo>
                    <a:pt x="425450" y="2982913"/>
                  </a:lnTo>
                  <a:lnTo>
                    <a:pt x="469900" y="2963863"/>
                  </a:lnTo>
                  <a:lnTo>
                    <a:pt x="520700" y="2940051"/>
                  </a:lnTo>
                  <a:lnTo>
                    <a:pt x="576263" y="2914651"/>
                  </a:lnTo>
                  <a:lnTo>
                    <a:pt x="573088" y="2946401"/>
                  </a:lnTo>
                  <a:lnTo>
                    <a:pt x="568325" y="2979738"/>
                  </a:lnTo>
                  <a:lnTo>
                    <a:pt x="558801" y="3008313"/>
                  </a:lnTo>
                  <a:lnTo>
                    <a:pt x="544513" y="3038476"/>
                  </a:lnTo>
                  <a:lnTo>
                    <a:pt x="528638" y="3062288"/>
                  </a:lnTo>
                  <a:lnTo>
                    <a:pt x="508000" y="3086101"/>
                  </a:lnTo>
                  <a:lnTo>
                    <a:pt x="487363" y="3106738"/>
                  </a:lnTo>
                  <a:lnTo>
                    <a:pt x="463550" y="3124201"/>
                  </a:lnTo>
                  <a:lnTo>
                    <a:pt x="439738" y="3136901"/>
                  </a:lnTo>
                  <a:lnTo>
                    <a:pt x="412750" y="3148013"/>
                  </a:lnTo>
                  <a:lnTo>
                    <a:pt x="382588" y="3157538"/>
                  </a:lnTo>
                  <a:lnTo>
                    <a:pt x="357188" y="3160713"/>
                  </a:lnTo>
                  <a:lnTo>
                    <a:pt x="327025" y="3160713"/>
                  </a:lnTo>
                  <a:lnTo>
                    <a:pt x="296863" y="3157538"/>
                  </a:lnTo>
                  <a:lnTo>
                    <a:pt x="269875" y="3148013"/>
                  </a:lnTo>
                  <a:lnTo>
                    <a:pt x="241300" y="3136901"/>
                  </a:lnTo>
                  <a:lnTo>
                    <a:pt x="228600" y="3130551"/>
                  </a:lnTo>
                  <a:lnTo>
                    <a:pt x="214313" y="3119438"/>
                  </a:lnTo>
                  <a:lnTo>
                    <a:pt x="187325" y="3092451"/>
                  </a:lnTo>
                  <a:lnTo>
                    <a:pt x="160338" y="3055938"/>
                  </a:lnTo>
                  <a:lnTo>
                    <a:pt x="133350" y="3017838"/>
                  </a:lnTo>
                  <a:lnTo>
                    <a:pt x="109538" y="2970213"/>
                  </a:lnTo>
                  <a:lnTo>
                    <a:pt x="85725" y="2922588"/>
                  </a:lnTo>
                  <a:lnTo>
                    <a:pt x="65088" y="2868613"/>
                  </a:lnTo>
                  <a:lnTo>
                    <a:pt x="47625" y="2816225"/>
                  </a:lnTo>
                  <a:lnTo>
                    <a:pt x="30163" y="2762250"/>
                  </a:lnTo>
                  <a:lnTo>
                    <a:pt x="17463" y="2708275"/>
                  </a:lnTo>
                  <a:lnTo>
                    <a:pt x="9525" y="2655888"/>
                  </a:lnTo>
                  <a:lnTo>
                    <a:pt x="3175" y="2608263"/>
                  </a:lnTo>
                  <a:lnTo>
                    <a:pt x="0" y="2563813"/>
                  </a:lnTo>
                  <a:lnTo>
                    <a:pt x="0" y="2524125"/>
                  </a:lnTo>
                  <a:lnTo>
                    <a:pt x="9525" y="2492375"/>
                  </a:lnTo>
                  <a:lnTo>
                    <a:pt x="11113" y="2476500"/>
                  </a:lnTo>
                  <a:lnTo>
                    <a:pt x="17463" y="2465388"/>
                  </a:lnTo>
                  <a:lnTo>
                    <a:pt x="47625" y="2425700"/>
                  </a:lnTo>
                  <a:lnTo>
                    <a:pt x="79375" y="2387600"/>
                  </a:lnTo>
                  <a:lnTo>
                    <a:pt x="112713" y="2352675"/>
                  </a:lnTo>
                  <a:lnTo>
                    <a:pt x="149225" y="2322513"/>
                  </a:lnTo>
                  <a:lnTo>
                    <a:pt x="217488" y="2260600"/>
                  </a:lnTo>
                  <a:close/>
                  <a:moveTo>
                    <a:pt x="5886450" y="2019300"/>
                  </a:moveTo>
                  <a:lnTo>
                    <a:pt x="5907087" y="2022475"/>
                  </a:lnTo>
                  <a:lnTo>
                    <a:pt x="5930900" y="2028825"/>
                  </a:lnTo>
                  <a:lnTo>
                    <a:pt x="5957888" y="2036763"/>
                  </a:lnTo>
                  <a:lnTo>
                    <a:pt x="5984875" y="2049463"/>
                  </a:lnTo>
                  <a:lnTo>
                    <a:pt x="6010275" y="2060575"/>
                  </a:lnTo>
                  <a:lnTo>
                    <a:pt x="6034088" y="2078038"/>
                  </a:lnTo>
                  <a:lnTo>
                    <a:pt x="6057900" y="2093913"/>
                  </a:lnTo>
                  <a:lnTo>
                    <a:pt x="5951538" y="2170113"/>
                  </a:lnTo>
                  <a:lnTo>
                    <a:pt x="5897562" y="2209800"/>
                  </a:lnTo>
                  <a:lnTo>
                    <a:pt x="5838825" y="2244725"/>
                  </a:lnTo>
                  <a:lnTo>
                    <a:pt x="5811837" y="2216150"/>
                  </a:lnTo>
                  <a:lnTo>
                    <a:pt x="5788025" y="2182813"/>
                  </a:lnTo>
                  <a:lnTo>
                    <a:pt x="5775325" y="2165350"/>
                  </a:lnTo>
                  <a:lnTo>
                    <a:pt x="5770562" y="2146300"/>
                  </a:lnTo>
                  <a:lnTo>
                    <a:pt x="5764212" y="2132013"/>
                  </a:lnTo>
                  <a:lnTo>
                    <a:pt x="5764212" y="2117725"/>
                  </a:lnTo>
                  <a:lnTo>
                    <a:pt x="5770562" y="2101850"/>
                  </a:lnTo>
                  <a:lnTo>
                    <a:pt x="5778500" y="2087563"/>
                  </a:lnTo>
                  <a:lnTo>
                    <a:pt x="5791200" y="2073275"/>
                  </a:lnTo>
                  <a:lnTo>
                    <a:pt x="5805487" y="2057400"/>
                  </a:lnTo>
                  <a:lnTo>
                    <a:pt x="5821362" y="2046288"/>
                  </a:lnTo>
                  <a:lnTo>
                    <a:pt x="5838825" y="2033588"/>
                  </a:lnTo>
                  <a:lnTo>
                    <a:pt x="5853112" y="2025650"/>
                  </a:lnTo>
                  <a:lnTo>
                    <a:pt x="5870575" y="2022475"/>
                  </a:lnTo>
                  <a:close/>
                  <a:moveTo>
                    <a:pt x="6169026" y="1685925"/>
                  </a:moveTo>
                  <a:lnTo>
                    <a:pt x="6076951" y="1712913"/>
                  </a:lnTo>
                  <a:lnTo>
                    <a:pt x="5984875" y="1739900"/>
                  </a:lnTo>
                  <a:lnTo>
                    <a:pt x="5938838" y="1757363"/>
                  </a:lnTo>
                  <a:lnTo>
                    <a:pt x="5894388" y="1774825"/>
                  </a:lnTo>
                  <a:lnTo>
                    <a:pt x="5849938" y="1798638"/>
                  </a:lnTo>
                  <a:lnTo>
                    <a:pt x="5805488" y="1828800"/>
                  </a:lnTo>
                  <a:lnTo>
                    <a:pt x="5764213" y="1862138"/>
                  </a:lnTo>
                  <a:lnTo>
                    <a:pt x="5722938" y="1897063"/>
                  </a:lnTo>
                  <a:lnTo>
                    <a:pt x="5683250" y="1933575"/>
                  </a:lnTo>
                  <a:lnTo>
                    <a:pt x="5648325" y="1971675"/>
                  </a:lnTo>
                  <a:lnTo>
                    <a:pt x="5576888" y="2052638"/>
                  </a:lnTo>
                  <a:lnTo>
                    <a:pt x="5502275" y="2128838"/>
                  </a:lnTo>
                  <a:lnTo>
                    <a:pt x="5522913" y="2122488"/>
                  </a:lnTo>
                  <a:lnTo>
                    <a:pt x="5543550" y="2117725"/>
                  </a:lnTo>
                  <a:lnTo>
                    <a:pt x="5586413" y="2098675"/>
                  </a:lnTo>
                  <a:lnTo>
                    <a:pt x="5607050" y="2093913"/>
                  </a:lnTo>
                  <a:lnTo>
                    <a:pt x="5624513" y="2087563"/>
                  </a:lnTo>
                  <a:lnTo>
                    <a:pt x="5641975" y="2087563"/>
                  </a:lnTo>
                  <a:lnTo>
                    <a:pt x="5657850" y="2093913"/>
                  </a:lnTo>
                  <a:lnTo>
                    <a:pt x="5832475" y="2357438"/>
                  </a:lnTo>
                  <a:lnTo>
                    <a:pt x="5975350" y="2265363"/>
                  </a:lnTo>
                  <a:lnTo>
                    <a:pt x="6115051" y="2170113"/>
                  </a:lnTo>
                  <a:lnTo>
                    <a:pt x="6264276" y="2078038"/>
                  </a:lnTo>
                  <a:lnTo>
                    <a:pt x="6340476" y="2030413"/>
                  </a:lnTo>
                  <a:lnTo>
                    <a:pt x="6424613" y="1982788"/>
                  </a:lnTo>
                  <a:lnTo>
                    <a:pt x="6400801" y="1981200"/>
                  </a:lnTo>
                  <a:lnTo>
                    <a:pt x="6364288" y="1971675"/>
                  </a:lnTo>
                  <a:lnTo>
                    <a:pt x="6323013" y="1958975"/>
                  </a:lnTo>
                  <a:lnTo>
                    <a:pt x="6302376" y="1947863"/>
                  </a:lnTo>
                  <a:lnTo>
                    <a:pt x="6281738" y="1935163"/>
                  </a:lnTo>
                  <a:lnTo>
                    <a:pt x="6261101" y="1917700"/>
                  </a:lnTo>
                  <a:lnTo>
                    <a:pt x="6240463" y="1900238"/>
                  </a:lnTo>
                  <a:lnTo>
                    <a:pt x="6221413" y="1876425"/>
                  </a:lnTo>
                  <a:lnTo>
                    <a:pt x="6203951" y="1849438"/>
                  </a:lnTo>
                  <a:lnTo>
                    <a:pt x="6192838" y="1817688"/>
                  </a:lnTo>
                  <a:lnTo>
                    <a:pt x="6180138" y="1778000"/>
                  </a:lnTo>
                  <a:lnTo>
                    <a:pt x="6170613" y="1736725"/>
                  </a:lnTo>
                  <a:close/>
                  <a:moveTo>
                    <a:pt x="8401050" y="1338262"/>
                  </a:moveTo>
                  <a:lnTo>
                    <a:pt x="8332788" y="1382712"/>
                  </a:lnTo>
                  <a:lnTo>
                    <a:pt x="8264525" y="1430337"/>
                  </a:lnTo>
                  <a:lnTo>
                    <a:pt x="8131175" y="1531937"/>
                  </a:lnTo>
                  <a:lnTo>
                    <a:pt x="8002588" y="1630363"/>
                  </a:lnTo>
                  <a:lnTo>
                    <a:pt x="7886700" y="1722438"/>
                  </a:lnTo>
                  <a:lnTo>
                    <a:pt x="7920038" y="1727200"/>
                  </a:lnTo>
                  <a:lnTo>
                    <a:pt x="7954963" y="1727200"/>
                  </a:lnTo>
                  <a:lnTo>
                    <a:pt x="7993063" y="1725613"/>
                  </a:lnTo>
                  <a:lnTo>
                    <a:pt x="8029575" y="1716088"/>
                  </a:lnTo>
                  <a:lnTo>
                    <a:pt x="8064500" y="1703388"/>
                  </a:lnTo>
                  <a:lnTo>
                    <a:pt x="8101013" y="1689100"/>
                  </a:lnTo>
                  <a:lnTo>
                    <a:pt x="8135938" y="1668463"/>
                  </a:lnTo>
                  <a:lnTo>
                    <a:pt x="8172450" y="1644650"/>
                  </a:lnTo>
                  <a:lnTo>
                    <a:pt x="8204200" y="1617662"/>
                  </a:lnTo>
                  <a:lnTo>
                    <a:pt x="8237538" y="1587500"/>
                  </a:lnTo>
                  <a:lnTo>
                    <a:pt x="8270875" y="1555750"/>
                  </a:lnTo>
                  <a:lnTo>
                    <a:pt x="8299450" y="1516062"/>
                  </a:lnTo>
                  <a:lnTo>
                    <a:pt x="8329613" y="1477963"/>
                  </a:lnTo>
                  <a:lnTo>
                    <a:pt x="8356600" y="1433512"/>
                  </a:lnTo>
                  <a:lnTo>
                    <a:pt x="8380413" y="1389062"/>
                  </a:lnTo>
                  <a:close/>
                  <a:moveTo>
                    <a:pt x="4067176" y="1181100"/>
                  </a:moveTo>
                  <a:lnTo>
                    <a:pt x="3979864" y="1184275"/>
                  </a:lnTo>
                  <a:lnTo>
                    <a:pt x="3900489" y="1192213"/>
                  </a:lnTo>
                  <a:lnTo>
                    <a:pt x="3860801" y="1201738"/>
                  </a:lnTo>
                  <a:lnTo>
                    <a:pt x="3825876" y="1211263"/>
                  </a:lnTo>
                  <a:lnTo>
                    <a:pt x="3790951" y="1219200"/>
                  </a:lnTo>
                  <a:lnTo>
                    <a:pt x="3757613" y="1231900"/>
                  </a:lnTo>
                  <a:lnTo>
                    <a:pt x="3724276" y="1246188"/>
                  </a:lnTo>
                  <a:lnTo>
                    <a:pt x="3695701" y="1260475"/>
                  </a:lnTo>
                  <a:lnTo>
                    <a:pt x="3665538" y="1279525"/>
                  </a:lnTo>
                  <a:lnTo>
                    <a:pt x="3635376" y="1296988"/>
                  </a:lnTo>
                  <a:lnTo>
                    <a:pt x="3608388" y="1317625"/>
                  </a:lnTo>
                  <a:lnTo>
                    <a:pt x="3581401" y="1341438"/>
                  </a:lnTo>
                  <a:lnTo>
                    <a:pt x="3557588" y="1365250"/>
                  </a:lnTo>
                  <a:lnTo>
                    <a:pt x="3533776" y="1392238"/>
                  </a:lnTo>
                  <a:lnTo>
                    <a:pt x="3509963" y="1419225"/>
                  </a:lnTo>
                  <a:lnTo>
                    <a:pt x="3489326" y="1450975"/>
                  </a:lnTo>
                  <a:lnTo>
                    <a:pt x="3468688" y="1481138"/>
                  </a:lnTo>
                  <a:lnTo>
                    <a:pt x="3448051" y="1516063"/>
                  </a:lnTo>
                  <a:lnTo>
                    <a:pt x="3413126" y="1590675"/>
                  </a:lnTo>
                  <a:lnTo>
                    <a:pt x="3379788" y="1671638"/>
                  </a:lnTo>
                  <a:lnTo>
                    <a:pt x="3349626" y="1763713"/>
                  </a:lnTo>
                  <a:lnTo>
                    <a:pt x="3325813" y="1865313"/>
                  </a:lnTo>
                  <a:lnTo>
                    <a:pt x="3302001" y="1971676"/>
                  </a:lnTo>
                  <a:lnTo>
                    <a:pt x="3281363" y="2090738"/>
                  </a:lnTo>
                  <a:lnTo>
                    <a:pt x="3368676" y="1944688"/>
                  </a:lnTo>
                  <a:lnTo>
                    <a:pt x="3451226" y="1787526"/>
                  </a:lnTo>
                  <a:lnTo>
                    <a:pt x="3533776" y="1624013"/>
                  </a:lnTo>
                  <a:lnTo>
                    <a:pt x="3617913" y="1454150"/>
                  </a:lnTo>
                  <a:lnTo>
                    <a:pt x="3652838" y="1454150"/>
                  </a:lnTo>
                  <a:lnTo>
                    <a:pt x="3656013" y="1495425"/>
                  </a:lnTo>
                  <a:lnTo>
                    <a:pt x="3659188" y="1531938"/>
                  </a:lnTo>
                  <a:lnTo>
                    <a:pt x="3673476" y="1600200"/>
                  </a:lnTo>
                  <a:lnTo>
                    <a:pt x="3686176" y="1658938"/>
                  </a:lnTo>
                  <a:lnTo>
                    <a:pt x="3689351" y="1689100"/>
                  </a:lnTo>
                  <a:lnTo>
                    <a:pt x="3692526" y="1716088"/>
                  </a:lnTo>
                  <a:lnTo>
                    <a:pt x="3713163" y="1662113"/>
                  </a:lnTo>
                  <a:lnTo>
                    <a:pt x="3736976" y="1609725"/>
                  </a:lnTo>
                  <a:lnTo>
                    <a:pt x="3757613" y="1562101"/>
                  </a:lnTo>
                  <a:lnTo>
                    <a:pt x="3784601" y="1514475"/>
                  </a:lnTo>
                  <a:lnTo>
                    <a:pt x="3811588" y="1471613"/>
                  </a:lnTo>
                  <a:lnTo>
                    <a:pt x="3840163" y="1430338"/>
                  </a:lnTo>
                  <a:lnTo>
                    <a:pt x="3870326" y="1392238"/>
                  </a:lnTo>
                  <a:lnTo>
                    <a:pt x="3906839" y="1355725"/>
                  </a:lnTo>
                  <a:lnTo>
                    <a:pt x="3941764" y="1327150"/>
                  </a:lnTo>
                  <a:lnTo>
                    <a:pt x="3979864" y="1296988"/>
                  </a:lnTo>
                  <a:lnTo>
                    <a:pt x="4022726" y="1273175"/>
                  </a:lnTo>
                  <a:lnTo>
                    <a:pt x="4067176" y="1249363"/>
                  </a:lnTo>
                  <a:lnTo>
                    <a:pt x="4117976" y="1231900"/>
                  </a:lnTo>
                  <a:lnTo>
                    <a:pt x="4167189" y="1216025"/>
                  </a:lnTo>
                  <a:lnTo>
                    <a:pt x="4224339" y="1201738"/>
                  </a:lnTo>
                  <a:lnTo>
                    <a:pt x="4286251" y="1195388"/>
                  </a:lnTo>
                  <a:lnTo>
                    <a:pt x="4170364" y="1184275"/>
                  </a:lnTo>
                  <a:lnTo>
                    <a:pt x="4117976" y="1181100"/>
                  </a:lnTo>
                  <a:close/>
                  <a:moveTo>
                    <a:pt x="5586413" y="1166812"/>
                  </a:moveTo>
                  <a:lnTo>
                    <a:pt x="5481638" y="1204912"/>
                  </a:lnTo>
                  <a:lnTo>
                    <a:pt x="5437188" y="1225550"/>
                  </a:lnTo>
                  <a:lnTo>
                    <a:pt x="5399088" y="1243012"/>
                  </a:lnTo>
                  <a:lnTo>
                    <a:pt x="5365751" y="1260475"/>
                  </a:lnTo>
                  <a:lnTo>
                    <a:pt x="5335588" y="1282700"/>
                  </a:lnTo>
                  <a:lnTo>
                    <a:pt x="5308601" y="1300162"/>
                  </a:lnTo>
                  <a:lnTo>
                    <a:pt x="5287963" y="1320800"/>
                  </a:lnTo>
                  <a:lnTo>
                    <a:pt x="5270501" y="1341437"/>
                  </a:lnTo>
                  <a:lnTo>
                    <a:pt x="5259388" y="1362075"/>
                  </a:lnTo>
                  <a:lnTo>
                    <a:pt x="5246688" y="1385887"/>
                  </a:lnTo>
                  <a:lnTo>
                    <a:pt x="5240338" y="1409700"/>
                  </a:lnTo>
                  <a:lnTo>
                    <a:pt x="5237163" y="1436687"/>
                  </a:lnTo>
                  <a:lnTo>
                    <a:pt x="5237163" y="1463675"/>
                  </a:lnTo>
                  <a:lnTo>
                    <a:pt x="5240338" y="1492250"/>
                  </a:lnTo>
                  <a:lnTo>
                    <a:pt x="5246688" y="1525587"/>
                  </a:lnTo>
                  <a:lnTo>
                    <a:pt x="5287963" y="1484312"/>
                  </a:lnTo>
                  <a:lnTo>
                    <a:pt x="5330826" y="1439862"/>
                  </a:lnTo>
                  <a:lnTo>
                    <a:pt x="5416551" y="1347787"/>
                  </a:lnTo>
                  <a:lnTo>
                    <a:pt x="5499101" y="1252537"/>
                  </a:lnTo>
                  <a:lnTo>
                    <a:pt x="5540376" y="1208087"/>
                  </a:lnTo>
                  <a:close/>
                  <a:moveTo>
                    <a:pt x="5434013" y="0"/>
                  </a:moveTo>
                  <a:lnTo>
                    <a:pt x="5519738" y="3175"/>
                  </a:lnTo>
                  <a:lnTo>
                    <a:pt x="5610226" y="12700"/>
                  </a:lnTo>
                  <a:lnTo>
                    <a:pt x="5699126" y="30163"/>
                  </a:lnTo>
                  <a:lnTo>
                    <a:pt x="5788026" y="50800"/>
                  </a:lnTo>
                  <a:lnTo>
                    <a:pt x="5876926" y="77788"/>
                  </a:lnTo>
                  <a:lnTo>
                    <a:pt x="5965826" y="111125"/>
                  </a:lnTo>
                  <a:lnTo>
                    <a:pt x="6054726" y="146050"/>
                  </a:lnTo>
                  <a:lnTo>
                    <a:pt x="6142038" y="187325"/>
                  </a:lnTo>
                  <a:lnTo>
                    <a:pt x="6237288" y="258763"/>
                  </a:lnTo>
                  <a:lnTo>
                    <a:pt x="6329363" y="333375"/>
                  </a:lnTo>
                  <a:lnTo>
                    <a:pt x="6418263" y="407988"/>
                  </a:lnTo>
                  <a:lnTo>
                    <a:pt x="6507163" y="485775"/>
                  </a:lnTo>
                  <a:lnTo>
                    <a:pt x="6677026" y="639763"/>
                  </a:lnTo>
                  <a:lnTo>
                    <a:pt x="6762751" y="714375"/>
                  </a:lnTo>
                  <a:lnTo>
                    <a:pt x="6846888" y="785813"/>
                  </a:lnTo>
                  <a:lnTo>
                    <a:pt x="6846888" y="796926"/>
                  </a:lnTo>
                  <a:lnTo>
                    <a:pt x="6851651" y="812801"/>
                  </a:lnTo>
                  <a:lnTo>
                    <a:pt x="6858001" y="823913"/>
                  </a:lnTo>
                  <a:lnTo>
                    <a:pt x="6867526" y="836613"/>
                  </a:lnTo>
                  <a:lnTo>
                    <a:pt x="6878638" y="844550"/>
                  </a:lnTo>
                  <a:lnTo>
                    <a:pt x="6891338" y="854075"/>
                  </a:lnTo>
                  <a:lnTo>
                    <a:pt x="6905626" y="857250"/>
                  </a:lnTo>
                  <a:lnTo>
                    <a:pt x="6919913" y="860425"/>
                  </a:lnTo>
                  <a:lnTo>
                    <a:pt x="6973888" y="868363"/>
                  </a:lnTo>
                  <a:lnTo>
                    <a:pt x="7024688" y="884238"/>
                  </a:lnTo>
                  <a:lnTo>
                    <a:pt x="7072313" y="901700"/>
                  </a:lnTo>
                  <a:lnTo>
                    <a:pt x="7116763" y="925513"/>
                  </a:lnTo>
                  <a:lnTo>
                    <a:pt x="7158038" y="952500"/>
                  </a:lnTo>
                  <a:lnTo>
                    <a:pt x="7199313" y="981075"/>
                  </a:lnTo>
                  <a:lnTo>
                    <a:pt x="7235826" y="1014413"/>
                  </a:lnTo>
                  <a:lnTo>
                    <a:pt x="7270751" y="1049338"/>
                  </a:lnTo>
                  <a:lnTo>
                    <a:pt x="7307263" y="1089025"/>
                  </a:lnTo>
                  <a:lnTo>
                    <a:pt x="7337426" y="1127125"/>
                  </a:lnTo>
                  <a:lnTo>
                    <a:pt x="7399338" y="1211263"/>
                  </a:lnTo>
                  <a:lnTo>
                    <a:pt x="7454901" y="1296988"/>
                  </a:lnTo>
                  <a:lnTo>
                    <a:pt x="7512051" y="1382713"/>
                  </a:lnTo>
                  <a:lnTo>
                    <a:pt x="7069138" y="1492250"/>
                  </a:lnTo>
                  <a:lnTo>
                    <a:pt x="7083426" y="1573213"/>
                  </a:lnTo>
                  <a:lnTo>
                    <a:pt x="7092951" y="1611313"/>
                  </a:lnTo>
                  <a:lnTo>
                    <a:pt x="7104063" y="1647826"/>
                  </a:lnTo>
                  <a:lnTo>
                    <a:pt x="7116763" y="1677988"/>
                  </a:lnTo>
                  <a:lnTo>
                    <a:pt x="7131051" y="1706563"/>
                  </a:lnTo>
                  <a:lnTo>
                    <a:pt x="7150101" y="1733550"/>
                  </a:lnTo>
                  <a:lnTo>
                    <a:pt x="7170738" y="1754188"/>
                  </a:lnTo>
                  <a:lnTo>
                    <a:pt x="7191376" y="1774825"/>
                  </a:lnTo>
                  <a:lnTo>
                    <a:pt x="7218363" y="1790700"/>
                  </a:lnTo>
                  <a:lnTo>
                    <a:pt x="7243763" y="1801813"/>
                  </a:lnTo>
                  <a:lnTo>
                    <a:pt x="7277101" y="1811338"/>
                  </a:lnTo>
                  <a:lnTo>
                    <a:pt x="7310438" y="1814513"/>
                  </a:lnTo>
                  <a:lnTo>
                    <a:pt x="7348538" y="1811338"/>
                  </a:lnTo>
                  <a:lnTo>
                    <a:pt x="7392988" y="1804988"/>
                  </a:lnTo>
                  <a:lnTo>
                    <a:pt x="7437438" y="1793875"/>
                  </a:lnTo>
                  <a:lnTo>
                    <a:pt x="7550151" y="1906588"/>
                  </a:lnTo>
                  <a:lnTo>
                    <a:pt x="7362826" y="1941513"/>
                  </a:lnTo>
                  <a:lnTo>
                    <a:pt x="7221538" y="1974850"/>
                  </a:lnTo>
                  <a:lnTo>
                    <a:pt x="7164388" y="1992313"/>
                  </a:lnTo>
                  <a:lnTo>
                    <a:pt x="7116763" y="2006600"/>
                  </a:lnTo>
                  <a:lnTo>
                    <a:pt x="7075488" y="2025650"/>
                  </a:lnTo>
                  <a:lnTo>
                    <a:pt x="7038976" y="2046288"/>
                  </a:lnTo>
                  <a:lnTo>
                    <a:pt x="7011988" y="2066925"/>
                  </a:lnTo>
                  <a:lnTo>
                    <a:pt x="6988176" y="2093913"/>
                  </a:lnTo>
                  <a:lnTo>
                    <a:pt x="6970713" y="2122488"/>
                  </a:lnTo>
                  <a:lnTo>
                    <a:pt x="6956426" y="2159000"/>
                  </a:lnTo>
                  <a:lnTo>
                    <a:pt x="6943726" y="2197100"/>
                  </a:lnTo>
                  <a:lnTo>
                    <a:pt x="6935788" y="2241550"/>
                  </a:lnTo>
                  <a:lnTo>
                    <a:pt x="6926263" y="2295525"/>
                  </a:lnTo>
                  <a:lnTo>
                    <a:pt x="6919913" y="2355850"/>
                  </a:lnTo>
                  <a:lnTo>
                    <a:pt x="6946901" y="2298700"/>
                  </a:lnTo>
                  <a:lnTo>
                    <a:pt x="6973888" y="2244725"/>
                  </a:lnTo>
                  <a:lnTo>
                    <a:pt x="7004051" y="2200275"/>
                  </a:lnTo>
                  <a:lnTo>
                    <a:pt x="7015163" y="2182813"/>
                  </a:lnTo>
                  <a:lnTo>
                    <a:pt x="7031038" y="2168525"/>
                  </a:lnTo>
                  <a:lnTo>
                    <a:pt x="7081838" y="2117725"/>
                  </a:lnTo>
                  <a:lnTo>
                    <a:pt x="7127876" y="2073276"/>
                  </a:lnTo>
                  <a:lnTo>
                    <a:pt x="7181851" y="2030413"/>
                  </a:lnTo>
                  <a:lnTo>
                    <a:pt x="7253288" y="1981200"/>
                  </a:lnTo>
                  <a:lnTo>
                    <a:pt x="7226301" y="2135188"/>
                  </a:lnTo>
                  <a:lnTo>
                    <a:pt x="7197726" y="2268538"/>
                  </a:lnTo>
                  <a:lnTo>
                    <a:pt x="7170738" y="2390775"/>
                  </a:lnTo>
                  <a:lnTo>
                    <a:pt x="7140576" y="2503488"/>
                  </a:lnTo>
                  <a:lnTo>
                    <a:pt x="7178676" y="2503488"/>
                  </a:lnTo>
                  <a:lnTo>
                    <a:pt x="7235826" y="2414588"/>
                  </a:lnTo>
                  <a:lnTo>
                    <a:pt x="7289801" y="2316163"/>
                  </a:lnTo>
                  <a:lnTo>
                    <a:pt x="7345363" y="2217738"/>
                  </a:lnTo>
                  <a:lnTo>
                    <a:pt x="7402513" y="2128838"/>
                  </a:lnTo>
                  <a:lnTo>
                    <a:pt x="7405688" y="2117725"/>
                  </a:lnTo>
                  <a:lnTo>
                    <a:pt x="7413626" y="2108200"/>
                  </a:lnTo>
                  <a:lnTo>
                    <a:pt x="7426326" y="2098675"/>
                  </a:lnTo>
                  <a:lnTo>
                    <a:pt x="7443788" y="2093913"/>
                  </a:lnTo>
                  <a:lnTo>
                    <a:pt x="7478713" y="2076451"/>
                  </a:lnTo>
                  <a:lnTo>
                    <a:pt x="7497763" y="2066925"/>
                  </a:lnTo>
                  <a:lnTo>
                    <a:pt x="7512051" y="2054225"/>
                  </a:lnTo>
                  <a:lnTo>
                    <a:pt x="7539038" y="2084388"/>
                  </a:lnTo>
                  <a:lnTo>
                    <a:pt x="7553326" y="2098675"/>
                  </a:lnTo>
                  <a:lnTo>
                    <a:pt x="7562851" y="2114550"/>
                  </a:lnTo>
                  <a:lnTo>
                    <a:pt x="7573963" y="2135188"/>
                  </a:lnTo>
                  <a:lnTo>
                    <a:pt x="7580313" y="2155825"/>
                  </a:lnTo>
                  <a:lnTo>
                    <a:pt x="7586663" y="2176463"/>
                  </a:lnTo>
                  <a:lnTo>
                    <a:pt x="7586663" y="2203450"/>
                  </a:lnTo>
                  <a:lnTo>
                    <a:pt x="7586663" y="2262188"/>
                  </a:lnTo>
                  <a:lnTo>
                    <a:pt x="7580313" y="2322513"/>
                  </a:lnTo>
                  <a:lnTo>
                    <a:pt x="7569201" y="2452688"/>
                  </a:lnTo>
                  <a:lnTo>
                    <a:pt x="7556501" y="2587625"/>
                  </a:lnTo>
                  <a:lnTo>
                    <a:pt x="7550151" y="2659063"/>
                  </a:lnTo>
                  <a:lnTo>
                    <a:pt x="7550151" y="2727325"/>
                  </a:lnTo>
                  <a:lnTo>
                    <a:pt x="7589838" y="2613025"/>
                  </a:lnTo>
                  <a:lnTo>
                    <a:pt x="7624763" y="2503488"/>
                  </a:lnTo>
                  <a:lnTo>
                    <a:pt x="7654926" y="2390775"/>
                  </a:lnTo>
                  <a:lnTo>
                    <a:pt x="7666038" y="2333625"/>
                  </a:lnTo>
                  <a:lnTo>
                    <a:pt x="7675563" y="2278063"/>
                  </a:lnTo>
                  <a:lnTo>
                    <a:pt x="7681913" y="2224088"/>
                  </a:lnTo>
                  <a:lnTo>
                    <a:pt x="7688263" y="2168525"/>
                  </a:lnTo>
                  <a:lnTo>
                    <a:pt x="7689851" y="2111375"/>
                  </a:lnTo>
                  <a:lnTo>
                    <a:pt x="7689851" y="2054225"/>
                  </a:lnTo>
                  <a:lnTo>
                    <a:pt x="7688263" y="1998663"/>
                  </a:lnTo>
                  <a:lnTo>
                    <a:pt x="7681913" y="1941513"/>
                  </a:lnTo>
                  <a:lnTo>
                    <a:pt x="7672388" y="1885950"/>
                  </a:lnTo>
                  <a:lnTo>
                    <a:pt x="7661276" y="1831975"/>
                  </a:lnTo>
                  <a:lnTo>
                    <a:pt x="7654926" y="1811338"/>
                  </a:lnTo>
                  <a:lnTo>
                    <a:pt x="7651751" y="1790700"/>
                  </a:lnTo>
                  <a:lnTo>
                    <a:pt x="7651751" y="1773238"/>
                  </a:lnTo>
                  <a:lnTo>
                    <a:pt x="7651751" y="1754188"/>
                  </a:lnTo>
                  <a:lnTo>
                    <a:pt x="7654926" y="1736725"/>
                  </a:lnTo>
                  <a:lnTo>
                    <a:pt x="7661276" y="1719263"/>
                  </a:lnTo>
                  <a:lnTo>
                    <a:pt x="7675563" y="1689100"/>
                  </a:lnTo>
                  <a:lnTo>
                    <a:pt x="7696201" y="1665288"/>
                  </a:lnTo>
                  <a:lnTo>
                    <a:pt x="7720013" y="1641476"/>
                  </a:lnTo>
                  <a:lnTo>
                    <a:pt x="7743826" y="1620838"/>
                  </a:lnTo>
                  <a:lnTo>
                    <a:pt x="7773988" y="1606550"/>
                  </a:lnTo>
                  <a:lnTo>
                    <a:pt x="7805738" y="1590675"/>
                  </a:lnTo>
                  <a:lnTo>
                    <a:pt x="7839076" y="1576388"/>
                  </a:lnTo>
                  <a:lnTo>
                    <a:pt x="7904163" y="1538288"/>
                  </a:lnTo>
                  <a:lnTo>
                    <a:pt x="7967663" y="1495425"/>
                  </a:lnTo>
                  <a:lnTo>
                    <a:pt x="8026401" y="1447801"/>
                  </a:lnTo>
                  <a:lnTo>
                    <a:pt x="8085138" y="1398588"/>
                  </a:lnTo>
                  <a:lnTo>
                    <a:pt x="8142288" y="1344613"/>
                  </a:lnTo>
                  <a:lnTo>
                    <a:pt x="8255001" y="1235076"/>
                  </a:lnTo>
                  <a:lnTo>
                    <a:pt x="8275638" y="1208088"/>
                  </a:lnTo>
                  <a:lnTo>
                    <a:pt x="8296276" y="1187450"/>
                  </a:lnTo>
                  <a:lnTo>
                    <a:pt x="8318501" y="1168400"/>
                  </a:lnTo>
                  <a:lnTo>
                    <a:pt x="8339138" y="1154113"/>
                  </a:lnTo>
                  <a:lnTo>
                    <a:pt x="8359776" y="1144588"/>
                  </a:lnTo>
                  <a:lnTo>
                    <a:pt x="8377238" y="1139825"/>
                  </a:lnTo>
                  <a:lnTo>
                    <a:pt x="8397876" y="1139825"/>
                  </a:lnTo>
                  <a:lnTo>
                    <a:pt x="8415338" y="1139825"/>
                  </a:lnTo>
                  <a:lnTo>
                    <a:pt x="8435976" y="1144588"/>
                  </a:lnTo>
                  <a:lnTo>
                    <a:pt x="8455026" y="1154113"/>
                  </a:lnTo>
                  <a:lnTo>
                    <a:pt x="8472488" y="1166813"/>
                  </a:lnTo>
                  <a:lnTo>
                    <a:pt x="8489951" y="1181100"/>
                  </a:lnTo>
                  <a:lnTo>
                    <a:pt x="8504238" y="1198563"/>
                  </a:lnTo>
                  <a:lnTo>
                    <a:pt x="8523288" y="1219201"/>
                  </a:lnTo>
                  <a:lnTo>
                    <a:pt x="8537576" y="1243013"/>
                  </a:lnTo>
                  <a:lnTo>
                    <a:pt x="8551863" y="1270000"/>
                  </a:lnTo>
                  <a:lnTo>
                    <a:pt x="8605838" y="1403350"/>
                  </a:lnTo>
                  <a:lnTo>
                    <a:pt x="8659813" y="1531938"/>
                  </a:lnTo>
                  <a:lnTo>
                    <a:pt x="8680451" y="1593850"/>
                  </a:lnTo>
                  <a:lnTo>
                    <a:pt x="8704263" y="1658938"/>
                  </a:lnTo>
                  <a:lnTo>
                    <a:pt x="8721726" y="1725613"/>
                  </a:lnTo>
                  <a:lnTo>
                    <a:pt x="8737601" y="1793875"/>
                  </a:lnTo>
                  <a:lnTo>
                    <a:pt x="8763001" y="1974850"/>
                  </a:lnTo>
                  <a:lnTo>
                    <a:pt x="8785226" y="2149475"/>
                  </a:lnTo>
                  <a:lnTo>
                    <a:pt x="8789988" y="2238375"/>
                  </a:lnTo>
                  <a:lnTo>
                    <a:pt x="8796338" y="2325688"/>
                  </a:lnTo>
                  <a:lnTo>
                    <a:pt x="8802688" y="2411413"/>
                  </a:lnTo>
                  <a:lnTo>
                    <a:pt x="8802688" y="2497138"/>
                  </a:lnTo>
                  <a:lnTo>
                    <a:pt x="8802688" y="2584450"/>
                  </a:lnTo>
                  <a:lnTo>
                    <a:pt x="8796338" y="2670175"/>
                  </a:lnTo>
                  <a:lnTo>
                    <a:pt x="8789988" y="2752725"/>
                  </a:lnTo>
                  <a:lnTo>
                    <a:pt x="8778876" y="2840038"/>
                  </a:lnTo>
                  <a:lnTo>
                    <a:pt x="8763001" y="2922588"/>
                  </a:lnTo>
                  <a:lnTo>
                    <a:pt x="8748713" y="3006725"/>
                  </a:lnTo>
                  <a:lnTo>
                    <a:pt x="8724901" y="3092450"/>
                  </a:lnTo>
                  <a:lnTo>
                    <a:pt x="8701088" y="3175000"/>
                  </a:lnTo>
                  <a:lnTo>
                    <a:pt x="8670926" y="3249613"/>
                  </a:lnTo>
                  <a:lnTo>
                    <a:pt x="8642351" y="3321050"/>
                  </a:lnTo>
                  <a:lnTo>
                    <a:pt x="8609013" y="3389313"/>
                  </a:lnTo>
                  <a:lnTo>
                    <a:pt x="8575676" y="3451225"/>
                  </a:lnTo>
                  <a:lnTo>
                    <a:pt x="8543926" y="3514725"/>
                  </a:lnTo>
                  <a:lnTo>
                    <a:pt x="8507413" y="3570288"/>
                  </a:lnTo>
                  <a:lnTo>
                    <a:pt x="8469313" y="3621088"/>
                  </a:lnTo>
                  <a:lnTo>
                    <a:pt x="8431213" y="3671888"/>
                  </a:lnTo>
                  <a:lnTo>
                    <a:pt x="8391526" y="3719513"/>
                  </a:lnTo>
                  <a:lnTo>
                    <a:pt x="8350251" y="3760788"/>
                  </a:lnTo>
                  <a:lnTo>
                    <a:pt x="8305801" y="3802063"/>
                  </a:lnTo>
                  <a:lnTo>
                    <a:pt x="8261351" y="3838575"/>
                  </a:lnTo>
                  <a:lnTo>
                    <a:pt x="8216901" y="3870325"/>
                  </a:lnTo>
                  <a:lnTo>
                    <a:pt x="8172451" y="3903663"/>
                  </a:lnTo>
                  <a:lnTo>
                    <a:pt x="8124826" y="3930650"/>
                  </a:lnTo>
                  <a:lnTo>
                    <a:pt x="8074026" y="3954463"/>
                  </a:lnTo>
                  <a:lnTo>
                    <a:pt x="8023226" y="3978275"/>
                  </a:lnTo>
                  <a:lnTo>
                    <a:pt x="7972426" y="3995738"/>
                  </a:lnTo>
                  <a:lnTo>
                    <a:pt x="7920038" y="4013200"/>
                  </a:lnTo>
                  <a:lnTo>
                    <a:pt x="7866063" y="4029075"/>
                  </a:lnTo>
                  <a:lnTo>
                    <a:pt x="7812088" y="4040188"/>
                  </a:lnTo>
                  <a:lnTo>
                    <a:pt x="7756526" y="4049713"/>
                  </a:lnTo>
                  <a:lnTo>
                    <a:pt x="7699376" y="4057650"/>
                  </a:lnTo>
                  <a:lnTo>
                    <a:pt x="7640638" y="4064000"/>
                  </a:lnTo>
                  <a:lnTo>
                    <a:pt x="7583488" y="4067175"/>
                  </a:lnTo>
                  <a:lnTo>
                    <a:pt x="7521576" y="4067175"/>
                  </a:lnTo>
                  <a:lnTo>
                    <a:pt x="7461251" y="4067175"/>
                  </a:lnTo>
                  <a:lnTo>
                    <a:pt x="7399338" y="4064000"/>
                  </a:lnTo>
                  <a:lnTo>
                    <a:pt x="7270751" y="4052888"/>
                  </a:lnTo>
                  <a:lnTo>
                    <a:pt x="7140576" y="4033838"/>
                  </a:lnTo>
                  <a:lnTo>
                    <a:pt x="7018338" y="4016375"/>
                  </a:lnTo>
                  <a:lnTo>
                    <a:pt x="6896101" y="3992563"/>
                  </a:lnTo>
                  <a:lnTo>
                    <a:pt x="6780213" y="3965575"/>
                  </a:lnTo>
                  <a:lnTo>
                    <a:pt x="6664326" y="3937000"/>
                  </a:lnTo>
                  <a:lnTo>
                    <a:pt x="6438901" y="3870325"/>
                  </a:lnTo>
                  <a:lnTo>
                    <a:pt x="6326188" y="3841750"/>
                  </a:lnTo>
                  <a:lnTo>
                    <a:pt x="6216651" y="3811588"/>
                  </a:lnTo>
                  <a:lnTo>
                    <a:pt x="6186488" y="3951288"/>
                  </a:lnTo>
                  <a:lnTo>
                    <a:pt x="6162676" y="4094163"/>
                  </a:lnTo>
                  <a:lnTo>
                    <a:pt x="6153151" y="4171950"/>
                  </a:lnTo>
                  <a:lnTo>
                    <a:pt x="6148388" y="4244975"/>
                  </a:lnTo>
                  <a:lnTo>
                    <a:pt x="6142038" y="4325938"/>
                  </a:lnTo>
                  <a:lnTo>
                    <a:pt x="6142038" y="4408488"/>
                  </a:lnTo>
                  <a:lnTo>
                    <a:pt x="6142038" y="4438650"/>
                  </a:lnTo>
                  <a:lnTo>
                    <a:pt x="6148388" y="4468813"/>
                  </a:lnTo>
                  <a:lnTo>
                    <a:pt x="6156326" y="4500563"/>
                  </a:lnTo>
                  <a:lnTo>
                    <a:pt x="6169026" y="4530725"/>
                  </a:lnTo>
                  <a:lnTo>
                    <a:pt x="6183313" y="4554538"/>
                  </a:lnTo>
                  <a:lnTo>
                    <a:pt x="6203951" y="4575175"/>
                  </a:lnTo>
                  <a:lnTo>
                    <a:pt x="6213476" y="4584700"/>
                  </a:lnTo>
                  <a:lnTo>
                    <a:pt x="6224588" y="4591050"/>
                  </a:lnTo>
                  <a:lnTo>
                    <a:pt x="6237288" y="4594225"/>
                  </a:lnTo>
                  <a:lnTo>
                    <a:pt x="6251576" y="4595813"/>
                  </a:lnTo>
                  <a:lnTo>
                    <a:pt x="6281738" y="4608513"/>
                  </a:lnTo>
                  <a:lnTo>
                    <a:pt x="6313488" y="4619625"/>
                  </a:lnTo>
                  <a:lnTo>
                    <a:pt x="6350001" y="4629150"/>
                  </a:lnTo>
                  <a:lnTo>
                    <a:pt x="6384926" y="4632325"/>
                  </a:lnTo>
                  <a:lnTo>
                    <a:pt x="6405563" y="4632325"/>
                  </a:lnTo>
                  <a:lnTo>
                    <a:pt x="6424613" y="4629150"/>
                  </a:lnTo>
                  <a:lnTo>
                    <a:pt x="6445251" y="4622800"/>
                  </a:lnTo>
                  <a:lnTo>
                    <a:pt x="6465888" y="4616450"/>
                  </a:lnTo>
                  <a:lnTo>
                    <a:pt x="6486526" y="4605338"/>
                  </a:lnTo>
                  <a:lnTo>
                    <a:pt x="6507163" y="4594225"/>
                  </a:lnTo>
                  <a:lnTo>
                    <a:pt x="6527801" y="4575175"/>
                  </a:lnTo>
                  <a:lnTo>
                    <a:pt x="6548438" y="4557713"/>
                  </a:lnTo>
                  <a:lnTo>
                    <a:pt x="6578601" y="4516438"/>
                  </a:lnTo>
                  <a:lnTo>
                    <a:pt x="6608763" y="4476750"/>
                  </a:lnTo>
                  <a:lnTo>
                    <a:pt x="6673851" y="4403725"/>
                  </a:lnTo>
                  <a:lnTo>
                    <a:pt x="6704013" y="4364038"/>
                  </a:lnTo>
                  <a:lnTo>
                    <a:pt x="6731001" y="4319588"/>
                  </a:lnTo>
                  <a:lnTo>
                    <a:pt x="6754813" y="4275138"/>
                  </a:lnTo>
                  <a:lnTo>
                    <a:pt x="6762751" y="4248150"/>
                  </a:lnTo>
                  <a:lnTo>
                    <a:pt x="6772276" y="4221163"/>
                  </a:lnTo>
                  <a:lnTo>
                    <a:pt x="6775451" y="4210050"/>
                  </a:lnTo>
                  <a:lnTo>
                    <a:pt x="6783388" y="4197350"/>
                  </a:lnTo>
                  <a:lnTo>
                    <a:pt x="6796088" y="4192588"/>
                  </a:lnTo>
                  <a:lnTo>
                    <a:pt x="6813551" y="4183063"/>
                  </a:lnTo>
                  <a:lnTo>
                    <a:pt x="6848476" y="4168775"/>
                  </a:lnTo>
                  <a:lnTo>
                    <a:pt x="6867526" y="4159250"/>
                  </a:lnTo>
                  <a:lnTo>
                    <a:pt x="6881813" y="4148138"/>
                  </a:lnTo>
                  <a:lnTo>
                    <a:pt x="6881813" y="4200525"/>
                  </a:lnTo>
                  <a:lnTo>
                    <a:pt x="6875463" y="4254500"/>
                  </a:lnTo>
                  <a:lnTo>
                    <a:pt x="6867526" y="4302125"/>
                  </a:lnTo>
                  <a:lnTo>
                    <a:pt x="6854826" y="4349750"/>
                  </a:lnTo>
                  <a:lnTo>
                    <a:pt x="6840538" y="4394200"/>
                  </a:lnTo>
                  <a:lnTo>
                    <a:pt x="6823076" y="4435475"/>
                  </a:lnTo>
                  <a:lnTo>
                    <a:pt x="6800851" y="4475163"/>
                  </a:lnTo>
                  <a:lnTo>
                    <a:pt x="6775451" y="4510088"/>
                  </a:lnTo>
                  <a:lnTo>
                    <a:pt x="6748463" y="4546600"/>
                  </a:lnTo>
                  <a:lnTo>
                    <a:pt x="6718301" y="4575175"/>
                  </a:lnTo>
                  <a:lnTo>
                    <a:pt x="6683376" y="4605338"/>
                  </a:lnTo>
                  <a:lnTo>
                    <a:pt x="6646863" y="4629150"/>
                  </a:lnTo>
                  <a:lnTo>
                    <a:pt x="6608763" y="4652963"/>
                  </a:lnTo>
                  <a:lnTo>
                    <a:pt x="6567488" y="4673600"/>
                  </a:lnTo>
                  <a:lnTo>
                    <a:pt x="6521451" y="4691063"/>
                  </a:lnTo>
                  <a:lnTo>
                    <a:pt x="6473826" y="4706938"/>
                  </a:lnTo>
                  <a:lnTo>
                    <a:pt x="6438901" y="4718050"/>
                  </a:lnTo>
                  <a:lnTo>
                    <a:pt x="6403976" y="4727575"/>
                  </a:lnTo>
                  <a:lnTo>
                    <a:pt x="6370638" y="4733925"/>
                  </a:lnTo>
                  <a:lnTo>
                    <a:pt x="6334126" y="4735513"/>
                  </a:lnTo>
                  <a:lnTo>
                    <a:pt x="6302376" y="4735513"/>
                  </a:lnTo>
                  <a:lnTo>
                    <a:pt x="6265863" y="4733925"/>
                  </a:lnTo>
                  <a:lnTo>
                    <a:pt x="6234113" y="4724400"/>
                  </a:lnTo>
                  <a:lnTo>
                    <a:pt x="6200776" y="4714875"/>
                  </a:lnTo>
                  <a:lnTo>
                    <a:pt x="6169026" y="4703763"/>
                  </a:lnTo>
                  <a:lnTo>
                    <a:pt x="6135688" y="4691063"/>
                  </a:lnTo>
                  <a:lnTo>
                    <a:pt x="6102351" y="4673600"/>
                  </a:lnTo>
                  <a:lnTo>
                    <a:pt x="6073776" y="4656138"/>
                  </a:lnTo>
                  <a:lnTo>
                    <a:pt x="6040438" y="4632325"/>
                  </a:lnTo>
                  <a:lnTo>
                    <a:pt x="6010276" y="4611688"/>
                  </a:lnTo>
                  <a:lnTo>
                    <a:pt x="5984876" y="4584700"/>
                  </a:lnTo>
                  <a:lnTo>
                    <a:pt x="5954713" y="4557713"/>
                  </a:lnTo>
                  <a:lnTo>
                    <a:pt x="5903913" y="4510088"/>
                  </a:lnTo>
                  <a:lnTo>
                    <a:pt x="5853113" y="4465638"/>
                  </a:lnTo>
                  <a:lnTo>
                    <a:pt x="5802313" y="4424363"/>
                  </a:lnTo>
                  <a:lnTo>
                    <a:pt x="5746751" y="4384675"/>
                  </a:lnTo>
                  <a:lnTo>
                    <a:pt x="5692776" y="4349750"/>
                  </a:lnTo>
                  <a:lnTo>
                    <a:pt x="5635626" y="4316413"/>
                  </a:lnTo>
                  <a:lnTo>
                    <a:pt x="5576888" y="4284663"/>
                  </a:lnTo>
                  <a:lnTo>
                    <a:pt x="5519738" y="4254500"/>
                  </a:lnTo>
                  <a:lnTo>
                    <a:pt x="5399088" y="4197350"/>
                  </a:lnTo>
                  <a:lnTo>
                    <a:pt x="5276851" y="4141788"/>
                  </a:lnTo>
                  <a:lnTo>
                    <a:pt x="5027613" y="4033838"/>
                  </a:lnTo>
                  <a:lnTo>
                    <a:pt x="5110163" y="4090988"/>
                  </a:lnTo>
                  <a:lnTo>
                    <a:pt x="5151438" y="4121150"/>
                  </a:lnTo>
                  <a:lnTo>
                    <a:pt x="5191126" y="4151313"/>
                  </a:lnTo>
                  <a:lnTo>
                    <a:pt x="5226051" y="4183063"/>
                  </a:lnTo>
                  <a:lnTo>
                    <a:pt x="5260976" y="4219575"/>
                  </a:lnTo>
                  <a:lnTo>
                    <a:pt x="5294313" y="4254500"/>
                  </a:lnTo>
                  <a:lnTo>
                    <a:pt x="5324476" y="4295775"/>
                  </a:lnTo>
                  <a:lnTo>
                    <a:pt x="5356226" y="4329113"/>
                  </a:lnTo>
                  <a:lnTo>
                    <a:pt x="5392738" y="4370388"/>
                  </a:lnTo>
                  <a:lnTo>
                    <a:pt x="5410201" y="4391025"/>
                  </a:lnTo>
                  <a:lnTo>
                    <a:pt x="5422901" y="4411663"/>
                  </a:lnTo>
                  <a:lnTo>
                    <a:pt x="5430838" y="4430713"/>
                  </a:lnTo>
                  <a:lnTo>
                    <a:pt x="5434013" y="4445000"/>
                  </a:lnTo>
                  <a:lnTo>
                    <a:pt x="5376863" y="4656138"/>
                  </a:lnTo>
                  <a:lnTo>
                    <a:pt x="5348288" y="4759325"/>
                  </a:lnTo>
                  <a:lnTo>
                    <a:pt x="5314951" y="4864100"/>
                  </a:lnTo>
                  <a:lnTo>
                    <a:pt x="5280026" y="4965700"/>
                  </a:lnTo>
                  <a:lnTo>
                    <a:pt x="5243513" y="5068888"/>
                  </a:lnTo>
                  <a:lnTo>
                    <a:pt x="5205413" y="5167313"/>
                  </a:lnTo>
                  <a:lnTo>
                    <a:pt x="5160963" y="5268913"/>
                  </a:lnTo>
                  <a:lnTo>
                    <a:pt x="5116513" y="5362575"/>
                  </a:lnTo>
                  <a:lnTo>
                    <a:pt x="5068888" y="5457825"/>
                  </a:lnTo>
                  <a:lnTo>
                    <a:pt x="5014913" y="5553075"/>
                  </a:lnTo>
                  <a:lnTo>
                    <a:pt x="4960938" y="5643563"/>
                  </a:lnTo>
                  <a:lnTo>
                    <a:pt x="4902201" y="5732463"/>
                  </a:lnTo>
                  <a:lnTo>
                    <a:pt x="4837113" y="5815013"/>
                  </a:lnTo>
                  <a:lnTo>
                    <a:pt x="4768850" y="5899150"/>
                  </a:lnTo>
                  <a:lnTo>
                    <a:pt x="4694238" y="5978525"/>
                  </a:lnTo>
                  <a:lnTo>
                    <a:pt x="4581525" y="6062663"/>
                  </a:lnTo>
                  <a:lnTo>
                    <a:pt x="4470400" y="6151563"/>
                  </a:lnTo>
                  <a:lnTo>
                    <a:pt x="4360863" y="6246813"/>
                  </a:lnTo>
                  <a:lnTo>
                    <a:pt x="4303713" y="6296025"/>
                  </a:lnTo>
                  <a:lnTo>
                    <a:pt x="4248150" y="6350000"/>
                  </a:lnTo>
                  <a:lnTo>
                    <a:pt x="4221163" y="6365875"/>
                  </a:lnTo>
                  <a:lnTo>
                    <a:pt x="4194175" y="6386513"/>
                  </a:lnTo>
                  <a:lnTo>
                    <a:pt x="4167188" y="6407150"/>
                  </a:lnTo>
                  <a:lnTo>
                    <a:pt x="4140200" y="6430963"/>
                  </a:lnTo>
                  <a:lnTo>
                    <a:pt x="4117975" y="6454775"/>
                  </a:lnTo>
                  <a:lnTo>
                    <a:pt x="4095750" y="6481763"/>
                  </a:lnTo>
                  <a:lnTo>
                    <a:pt x="4078288" y="6510338"/>
                  </a:lnTo>
                  <a:lnTo>
                    <a:pt x="4064000" y="6537325"/>
                  </a:lnTo>
                  <a:lnTo>
                    <a:pt x="4033838" y="6564313"/>
                  </a:lnTo>
                  <a:lnTo>
                    <a:pt x="4003675" y="6588125"/>
                  </a:lnTo>
                  <a:lnTo>
                    <a:pt x="3975100" y="6608763"/>
                  </a:lnTo>
                  <a:lnTo>
                    <a:pt x="3944938" y="6626225"/>
                  </a:lnTo>
                  <a:lnTo>
                    <a:pt x="3914775" y="6645275"/>
                  </a:lnTo>
                  <a:lnTo>
                    <a:pt x="3884613" y="6656388"/>
                  </a:lnTo>
                  <a:lnTo>
                    <a:pt x="3852863" y="6665913"/>
                  </a:lnTo>
                  <a:lnTo>
                    <a:pt x="3822700" y="6673850"/>
                  </a:lnTo>
                  <a:lnTo>
                    <a:pt x="3790950" y="6677025"/>
                  </a:lnTo>
                  <a:lnTo>
                    <a:pt x="3760788" y="6677025"/>
                  </a:lnTo>
                  <a:lnTo>
                    <a:pt x="3727450" y="6673850"/>
                  </a:lnTo>
                  <a:lnTo>
                    <a:pt x="3697288" y="6669088"/>
                  </a:lnTo>
                  <a:lnTo>
                    <a:pt x="3668713" y="6659563"/>
                  </a:lnTo>
                  <a:lnTo>
                    <a:pt x="3638550" y="6646863"/>
                  </a:lnTo>
                  <a:lnTo>
                    <a:pt x="3608388" y="6632575"/>
                  </a:lnTo>
                  <a:lnTo>
                    <a:pt x="3579813" y="6611938"/>
                  </a:lnTo>
                  <a:lnTo>
                    <a:pt x="3525838" y="6543675"/>
                  </a:lnTo>
                  <a:lnTo>
                    <a:pt x="3475038" y="6472238"/>
                  </a:lnTo>
                  <a:lnTo>
                    <a:pt x="3427413" y="6400800"/>
                  </a:lnTo>
                  <a:lnTo>
                    <a:pt x="3379788" y="6326188"/>
                  </a:lnTo>
                  <a:lnTo>
                    <a:pt x="3335338" y="6251575"/>
                  </a:lnTo>
                  <a:lnTo>
                    <a:pt x="3294063" y="6175375"/>
                  </a:lnTo>
                  <a:lnTo>
                    <a:pt x="3252788" y="6097588"/>
                  </a:lnTo>
                  <a:lnTo>
                    <a:pt x="3209925" y="6015038"/>
                  </a:lnTo>
                  <a:lnTo>
                    <a:pt x="3195638" y="5999163"/>
                  </a:lnTo>
                  <a:lnTo>
                    <a:pt x="3186113" y="5984875"/>
                  </a:lnTo>
                  <a:lnTo>
                    <a:pt x="3181350" y="5967413"/>
                  </a:lnTo>
                  <a:lnTo>
                    <a:pt x="3175000" y="5946775"/>
                  </a:lnTo>
                  <a:lnTo>
                    <a:pt x="3171825" y="5927725"/>
                  </a:lnTo>
                  <a:lnTo>
                    <a:pt x="3171825" y="5907088"/>
                  </a:lnTo>
                  <a:lnTo>
                    <a:pt x="3175000" y="5886450"/>
                  </a:lnTo>
                  <a:lnTo>
                    <a:pt x="3181350" y="5865813"/>
                  </a:lnTo>
                  <a:lnTo>
                    <a:pt x="3189288" y="5845175"/>
                  </a:lnTo>
                  <a:lnTo>
                    <a:pt x="3201988" y="5824538"/>
                  </a:lnTo>
                  <a:lnTo>
                    <a:pt x="3213100" y="5803900"/>
                  </a:lnTo>
                  <a:lnTo>
                    <a:pt x="3230563" y="5783263"/>
                  </a:lnTo>
                  <a:lnTo>
                    <a:pt x="3249613" y="5764213"/>
                  </a:lnTo>
                  <a:lnTo>
                    <a:pt x="3270250" y="5746750"/>
                  </a:lnTo>
                  <a:lnTo>
                    <a:pt x="3294063" y="5732463"/>
                  </a:lnTo>
                  <a:lnTo>
                    <a:pt x="3321050" y="5716588"/>
                  </a:lnTo>
                  <a:lnTo>
                    <a:pt x="3362325" y="5699125"/>
                  </a:lnTo>
                  <a:lnTo>
                    <a:pt x="3403600" y="5681663"/>
                  </a:lnTo>
                  <a:lnTo>
                    <a:pt x="3492500" y="5637213"/>
                  </a:lnTo>
                  <a:lnTo>
                    <a:pt x="3587750" y="5583238"/>
                  </a:lnTo>
                  <a:lnTo>
                    <a:pt x="3692525" y="5529263"/>
                  </a:lnTo>
                  <a:lnTo>
                    <a:pt x="3692525" y="5081588"/>
                  </a:lnTo>
                  <a:lnTo>
                    <a:pt x="3683000" y="5116513"/>
                  </a:lnTo>
                  <a:lnTo>
                    <a:pt x="3673475" y="5153025"/>
                  </a:lnTo>
                  <a:lnTo>
                    <a:pt x="3665538" y="5184775"/>
                  </a:lnTo>
                  <a:lnTo>
                    <a:pt x="3652838" y="5211763"/>
                  </a:lnTo>
                  <a:lnTo>
                    <a:pt x="3641725" y="5238750"/>
                  </a:lnTo>
                  <a:lnTo>
                    <a:pt x="3629025" y="5265738"/>
                  </a:lnTo>
                  <a:lnTo>
                    <a:pt x="3614738" y="5286375"/>
                  </a:lnTo>
                  <a:lnTo>
                    <a:pt x="3600450" y="5307013"/>
                  </a:lnTo>
                  <a:lnTo>
                    <a:pt x="3581400" y="5324475"/>
                  </a:lnTo>
                  <a:lnTo>
                    <a:pt x="3567113" y="5340350"/>
                  </a:lnTo>
                  <a:lnTo>
                    <a:pt x="3549650" y="5354638"/>
                  </a:lnTo>
                  <a:lnTo>
                    <a:pt x="3529013" y="5365750"/>
                  </a:lnTo>
                  <a:lnTo>
                    <a:pt x="3489325" y="5386388"/>
                  </a:lnTo>
                  <a:lnTo>
                    <a:pt x="3451225" y="5402263"/>
                  </a:lnTo>
                  <a:lnTo>
                    <a:pt x="3406775" y="5413375"/>
                  </a:lnTo>
                  <a:lnTo>
                    <a:pt x="3365500" y="5419725"/>
                  </a:lnTo>
                  <a:lnTo>
                    <a:pt x="3321050" y="5422900"/>
                  </a:lnTo>
                  <a:lnTo>
                    <a:pt x="3273425" y="5422900"/>
                  </a:lnTo>
                  <a:lnTo>
                    <a:pt x="3182938" y="5419725"/>
                  </a:lnTo>
                  <a:lnTo>
                    <a:pt x="3097213" y="5416550"/>
                  </a:lnTo>
                  <a:lnTo>
                    <a:pt x="2838450" y="5416550"/>
                  </a:lnTo>
                  <a:lnTo>
                    <a:pt x="2770188" y="5416550"/>
                  </a:lnTo>
                  <a:lnTo>
                    <a:pt x="2708275" y="5413375"/>
                  </a:lnTo>
                  <a:lnTo>
                    <a:pt x="2678113" y="5408613"/>
                  </a:lnTo>
                  <a:lnTo>
                    <a:pt x="2647950" y="5402263"/>
                  </a:lnTo>
                  <a:lnTo>
                    <a:pt x="2622550" y="5395913"/>
                  </a:lnTo>
                  <a:lnTo>
                    <a:pt x="2598738" y="5384800"/>
                  </a:lnTo>
                  <a:lnTo>
                    <a:pt x="2574925" y="5368925"/>
                  </a:lnTo>
                  <a:lnTo>
                    <a:pt x="2554288" y="5354638"/>
                  </a:lnTo>
                  <a:lnTo>
                    <a:pt x="2532063" y="5330825"/>
                  </a:lnTo>
                  <a:lnTo>
                    <a:pt x="2514600" y="5307013"/>
                  </a:lnTo>
                  <a:lnTo>
                    <a:pt x="2500313" y="5276850"/>
                  </a:lnTo>
                  <a:lnTo>
                    <a:pt x="2484438" y="5241925"/>
                  </a:lnTo>
                  <a:lnTo>
                    <a:pt x="2476500" y="5202238"/>
                  </a:lnTo>
                  <a:lnTo>
                    <a:pt x="2466975" y="5154613"/>
                  </a:lnTo>
                  <a:lnTo>
                    <a:pt x="2466975" y="5229225"/>
                  </a:lnTo>
                  <a:lnTo>
                    <a:pt x="2466975" y="5341938"/>
                  </a:lnTo>
                  <a:lnTo>
                    <a:pt x="2466975" y="5440363"/>
                  </a:lnTo>
                  <a:lnTo>
                    <a:pt x="2463800" y="5538788"/>
                  </a:lnTo>
                  <a:lnTo>
                    <a:pt x="2459038" y="5634038"/>
                  </a:lnTo>
                  <a:lnTo>
                    <a:pt x="2452688" y="5681663"/>
                  </a:lnTo>
                  <a:lnTo>
                    <a:pt x="2443163" y="5729288"/>
                  </a:lnTo>
                  <a:lnTo>
                    <a:pt x="2435225" y="5776913"/>
                  </a:lnTo>
                  <a:lnTo>
                    <a:pt x="2422525" y="5824538"/>
                  </a:lnTo>
                  <a:lnTo>
                    <a:pt x="2408238" y="5868988"/>
                  </a:lnTo>
                  <a:lnTo>
                    <a:pt x="2390775" y="5916613"/>
                  </a:lnTo>
                  <a:lnTo>
                    <a:pt x="2368550" y="5961063"/>
                  </a:lnTo>
                  <a:lnTo>
                    <a:pt x="2343150" y="6002338"/>
                  </a:lnTo>
                  <a:lnTo>
                    <a:pt x="2316163" y="6046788"/>
                  </a:lnTo>
                  <a:lnTo>
                    <a:pt x="2282825" y="6088063"/>
                  </a:lnTo>
                  <a:lnTo>
                    <a:pt x="2268538" y="6103938"/>
                  </a:lnTo>
                  <a:lnTo>
                    <a:pt x="2255838" y="6121400"/>
                  </a:lnTo>
                  <a:lnTo>
                    <a:pt x="2238375" y="6156325"/>
                  </a:lnTo>
                  <a:lnTo>
                    <a:pt x="2224088" y="6199188"/>
                  </a:lnTo>
                  <a:lnTo>
                    <a:pt x="2211388" y="6243638"/>
                  </a:lnTo>
                  <a:lnTo>
                    <a:pt x="2193925" y="6335713"/>
                  </a:lnTo>
                  <a:lnTo>
                    <a:pt x="2181225" y="6383338"/>
                  </a:lnTo>
                  <a:lnTo>
                    <a:pt x="2170113" y="6424613"/>
                  </a:lnTo>
                  <a:lnTo>
                    <a:pt x="2166938" y="6442075"/>
                  </a:lnTo>
                  <a:lnTo>
                    <a:pt x="2157413" y="6459538"/>
                  </a:lnTo>
                  <a:lnTo>
                    <a:pt x="2143125" y="6478588"/>
                  </a:lnTo>
                  <a:lnTo>
                    <a:pt x="2125663" y="6496050"/>
                  </a:lnTo>
                  <a:lnTo>
                    <a:pt x="2101850" y="6510338"/>
                  </a:lnTo>
                  <a:lnTo>
                    <a:pt x="2078038" y="6526213"/>
                  </a:lnTo>
                  <a:lnTo>
                    <a:pt x="2051050" y="6534150"/>
                  </a:lnTo>
                  <a:lnTo>
                    <a:pt x="2020888" y="6537325"/>
                  </a:lnTo>
                  <a:lnTo>
                    <a:pt x="1828800" y="6507163"/>
                  </a:lnTo>
                  <a:lnTo>
                    <a:pt x="1628775" y="6478588"/>
                  </a:lnTo>
                  <a:lnTo>
                    <a:pt x="1525588" y="6457950"/>
                  </a:lnTo>
                  <a:lnTo>
                    <a:pt x="1420813" y="6435725"/>
                  </a:lnTo>
                  <a:lnTo>
                    <a:pt x="1316038" y="6415088"/>
                  </a:lnTo>
                  <a:lnTo>
                    <a:pt x="1206500" y="6389688"/>
                  </a:lnTo>
                  <a:lnTo>
                    <a:pt x="1168400" y="6370638"/>
                  </a:lnTo>
                  <a:lnTo>
                    <a:pt x="1150938" y="6362700"/>
                  </a:lnTo>
                  <a:lnTo>
                    <a:pt x="1135063" y="6353175"/>
                  </a:lnTo>
                  <a:lnTo>
                    <a:pt x="1123950" y="6342063"/>
                  </a:lnTo>
                  <a:lnTo>
                    <a:pt x="1111250" y="6326188"/>
                  </a:lnTo>
                  <a:lnTo>
                    <a:pt x="1103313" y="6311900"/>
                  </a:lnTo>
                  <a:lnTo>
                    <a:pt x="1093788" y="6294438"/>
                  </a:lnTo>
                  <a:lnTo>
                    <a:pt x="1087438" y="6275388"/>
                  </a:lnTo>
                  <a:lnTo>
                    <a:pt x="1084263" y="6254750"/>
                  </a:lnTo>
                  <a:lnTo>
                    <a:pt x="1082675" y="6234113"/>
                  </a:lnTo>
                  <a:lnTo>
                    <a:pt x="1082675" y="6210300"/>
                  </a:lnTo>
                  <a:lnTo>
                    <a:pt x="1084263" y="6154738"/>
                  </a:lnTo>
                  <a:lnTo>
                    <a:pt x="1093788" y="6088063"/>
                  </a:lnTo>
                  <a:lnTo>
                    <a:pt x="1120775" y="6046788"/>
                  </a:lnTo>
                  <a:lnTo>
                    <a:pt x="1144588" y="5999163"/>
                  </a:lnTo>
                  <a:lnTo>
                    <a:pt x="1162050" y="5948363"/>
                  </a:lnTo>
                  <a:lnTo>
                    <a:pt x="1176338" y="5899150"/>
                  </a:lnTo>
                  <a:lnTo>
                    <a:pt x="1189038" y="5845175"/>
                  </a:lnTo>
                  <a:lnTo>
                    <a:pt x="1198563" y="5788025"/>
                  </a:lnTo>
                  <a:lnTo>
                    <a:pt x="1203325" y="5735638"/>
                  </a:lnTo>
                  <a:lnTo>
                    <a:pt x="1206500" y="5678488"/>
                  </a:lnTo>
                  <a:lnTo>
                    <a:pt x="1212850" y="5657850"/>
                  </a:lnTo>
                  <a:lnTo>
                    <a:pt x="1216025" y="5634038"/>
                  </a:lnTo>
                  <a:lnTo>
                    <a:pt x="1216025" y="5613400"/>
                  </a:lnTo>
                  <a:lnTo>
                    <a:pt x="1216025" y="5589588"/>
                  </a:lnTo>
                  <a:lnTo>
                    <a:pt x="1209675" y="5541963"/>
                  </a:lnTo>
                  <a:lnTo>
                    <a:pt x="1198563" y="5497513"/>
                  </a:lnTo>
                  <a:lnTo>
                    <a:pt x="1179513" y="5453063"/>
                  </a:lnTo>
                  <a:lnTo>
                    <a:pt x="1165225" y="5410200"/>
                  </a:lnTo>
                  <a:lnTo>
                    <a:pt x="1131888" y="5341938"/>
                  </a:lnTo>
                  <a:lnTo>
                    <a:pt x="1069975" y="5238750"/>
                  </a:lnTo>
                  <a:lnTo>
                    <a:pt x="1012825" y="5130800"/>
                  </a:lnTo>
                  <a:lnTo>
                    <a:pt x="957263" y="5027613"/>
                  </a:lnTo>
                  <a:lnTo>
                    <a:pt x="903288" y="4919663"/>
                  </a:lnTo>
                  <a:lnTo>
                    <a:pt x="855663" y="4813300"/>
                  </a:lnTo>
                  <a:lnTo>
                    <a:pt x="811213" y="4706938"/>
                  </a:lnTo>
                  <a:lnTo>
                    <a:pt x="769938" y="4598988"/>
                  </a:lnTo>
                  <a:lnTo>
                    <a:pt x="733425" y="4492625"/>
                  </a:lnTo>
                  <a:lnTo>
                    <a:pt x="701675" y="4383088"/>
                  </a:lnTo>
                  <a:lnTo>
                    <a:pt x="671513" y="4271963"/>
                  </a:lnTo>
                  <a:lnTo>
                    <a:pt x="647700" y="4162425"/>
                  </a:lnTo>
                  <a:lnTo>
                    <a:pt x="630238" y="4049713"/>
                  </a:lnTo>
                  <a:lnTo>
                    <a:pt x="617538" y="3937000"/>
                  </a:lnTo>
                  <a:lnTo>
                    <a:pt x="609600" y="3821113"/>
                  </a:lnTo>
                  <a:lnTo>
                    <a:pt x="609600" y="3705225"/>
                  </a:lnTo>
                  <a:lnTo>
                    <a:pt x="612775" y="3586163"/>
                  </a:lnTo>
                  <a:lnTo>
                    <a:pt x="620713" y="3470275"/>
                  </a:lnTo>
                  <a:lnTo>
                    <a:pt x="636588" y="3354388"/>
                  </a:lnTo>
                  <a:lnTo>
                    <a:pt x="657225" y="3243263"/>
                  </a:lnTo>
                  <a:lnTo>
                    <a:pt x="681038" y="3136900"/>
                  </a:lnTo>
                  <a:lnTo>
                    <a:pt x="709613" y="3032125"/>
                  </a:lnTo>
                  <a:lnTo>
                    <a:pt x="746125" y="2932113"/>
                  </a:lnTo>
                  <a:lnTo>
                    <a:pt x="784225" y="2833688"/>
                  </a:lnTo>
                  <a:lnTo>
                    <a:pt x="828675" y="2735263"/>
                  </a:lnTo>
                  <a:lnTo>
                    <a:pt x="879475" y="2643188"/>
                  </a:lnTo>
                  <a:lnTo>
                    <a:pt x="933450" y="2551113"/>
                  </a:lnTo>
                  <a:lnTo>
                    <a:pt x="992188" y="2465388"/>
                  </a:lnTo>
                  <a:lnTo>
                    <a:pt x="1055688" y="2379663"/>
                  </a:lnTo>
                  <a:lnTo>
                    <a:pt x="1123950" y="2295525"/>
                  </a:lnTo>
                  <a:lnTo>
                    <a:pt x="1195388" y="2212975"/>
                  </a:lnTo>
                  <a:lnTo>
                    <a:pt x="1271588" y="2132013"/>
                  </a:lnTo>
                  <a:lnTo>
                    <a:pt x="1355725" y="2054225"/>
                  </a:lnTo>
                  <a:lnTo>
                    <a:pt x="1423988" y="2001838"/>
                  </a:lnTo>
                  <a:lnTo>
                    <a:pt x="1495425" y="1951038"/>
                  </a:lnTo>
                  <a:lnTo>
                    <a:pt x="1566863" y="1900238"/>
                  </a:lnTo>
                  <a:lnTo>
                    <a:pt x="1641475" y="1855788"/>
                  </a:lnTo>
                  <a:lnTo>
                    <a:pt x="1714500" y="1814513"/>
                  </a:lnTo>
                  <a:lnTo>
                    <a:pt x="1789113" y="1774825"/>
                  </a:lnTo>
                  <a:lnTo>
                    <a:pt x="1866900" y="1739900"/>
                  </a:lnTo>
                  <a:lnTo>
                    <a:pt x="1944688" y="1703388"/>
                  </a:lnTo>
                  <a:lnTo>
                    <a:pt x="2020888" y="1671638"/>
                  </a:lnTo>
                  <a:lnTo>
                    <a:pt x="2101850" y="1641476"/>
                  </a:lnTo>
                  <a:lnTo>
                    <a:pt x="2184400" y="1614488"/>
                  </a:lnTo>
                  <a:lnTo>
                    <a:pt x="2268538" y="1587500"/>
                  </a:lnTo>
                  <a:lnTo>
                    <a:pt x="2351088" y="1562100"/>
                  </a:lnTo>
                  <a:lnTo>
                    <a:pt x="2436813" y="1538288"/>
                  </a:lnTo>
                  <a:lnTo>
                    <a:pt x="2616200" y="1492250"/>
                  </a:lnTo>
                  <a:lnTo>
                    <a:pt x="2725738" y="1492250"/>
                  </a:lnTo>
                  <a:lnTo>
                    <a:pt x="2654300" y="1590675"/>
                  </a:lnTo>
                  <a:lnTo>
                    <a:pt x="2582863" y="1682750"/>
                  </a:lnTo>
                  <a:lnTo>
                    <a:pt x="2435225" y="1866901"/>
                  </a:lnTo>
                  <a:lnTo>
                    <a:pt x="2363788" y="1958975"/>
                  </a:lnTo>
                  <a:lnTo>
                    <a:pt x="2295525" y="2052638"/>
                  </a:lnTo>
                  <a:lnTo>
                    <a:pt x="2228850" y="2144713"/>
                  </a:lnTo>
                  <a:lnTo>
                    <a:pt x="2200275" y="2192338"/>
                  </a:lnTo>
                  <a:lnTo>
                    <a:pt x="2170113" y="2241550"/>
                  </a:lnTo>
                  <a:lnTo>
                    <a:pt x="2089150" y="2355850"/>
                  </a:lnTo>
                  <a:lnTo>
                    <a:pt x="2047875" y="2411413"/>
                  </a:lnTo>
                  <a:lnTo>
                    <a:pt x="2012950" y="2471738"/>
                  </a:lnTo>
                  <a:lnTo>
                    <a:pt x="1979613" y="2530475"/>
                  </a:lnTo>
                  <a:lnTo>
                    <a:pt x="1952625" y="2592388"/>
                  </a:lnTo>
                  <a:lnTo>
                    <a:pt x="1928813" y="2659063"/>
                  </a:lnTo>
                  <a:lnTo>
                    <a:pt x="1917700" y="2693988"/>
                  </a:lnTo>
                  <a:lnTo>
                    <a:pt x="1911350" y="2727325"/>
                  </a:lnTo>
                  <a:lnTo>
                    <a:pt x="1893888" y="2776538"/>
                  </a:lnTo>
                  <a:lnTo>
                    <a:pt x="1881188" y="2824163"/>
                  </a:lnTo>
                  <a:lnTo>
                    <a:pt x="1873250" y="2868613"/>
                  </a:lnTo>
                  <a:lnTo>
                    <a:pt x="1873250" y="2916238"/>
                  </a:lnTo>
                  <a:lnTo>
                    <a:pt x="1876425" y="2962275"/>
                  </a:lnTo>
                  <a:lnTo>
                    <a:pt x="1881188" y="3006725"/>
                  </a:lnTo>
                  <a:lnTo>
                    <a:pt x="1893888" y="3048000"/>
                  </a:lnTo>
                  <a:lnTo>
                    <a:pt x="1905000" y="3092450"/>
                  </a:lnTo>
                  <a:lnTo>
                    <a:pt x="1924050" y="3133725"/>
                  </a:lnTo>
                  <a:lnTo>
                    <a:pt x="1944688" y="3171825"/>
                  </a:lnTo>
                  <a:lnTo>
                    <a:pt x="1965325" y="3214688"/>
                  </a:lnTo>
                  <a:lnTo>
                    <a:pt x="1989138" y="3252788"/>
                  </a:lnTo>
                  <a:lnTo>
                    <a:pt x="2041525" y="3327400"/>
                  </a:lnTo>
                  <a:lnTo>
                    <a:pt x="2095500" y="3398838"/>
                  </a:lnTo>
                  <a:lnTo>
                    <a:pt x="2149475" y="3470275"/>
                  </a:lnTo>
                  <a:lnTo>
                    <a:pt x="2197100" y="3541713"/>
                  </a:lnTo>
                  <a:lnTo>
                    <a:pt x="2217738" y="3576638"/>
                  </a:lnTo>
                  <a:lnTo>
                    <a:pt x="2238375" y="3613150"/>
                  </a:lnTo>
                  <a:lnTo>
                    <a:pt x="2252663" y="3648075"/>
                  </a:lnTo>
                  <a:lnTo>
                    <a:pt x="2268538" y="3684588"/>
                  </a:lnTo>
                  <a:lnTo>
                    <a:pt x="2279650" y="3722688"/>
                  </a:lnTo>
                  <a:lnTo>
                    <a:pt x="2286000" y="3757613"/>
                  </a:lnTo>
                  <a:lnTo>
                    <a:pt x="2289175" y="3797300"/>
                  </a:lnTo>
                  <a:lnTo>
                    <a:pt x="2289175" y="3835400"/>
                  </a:lnTo>
                  <a:lnTo>
                    <a:pt x="2286000" y="3873500"/>
                  </a:lnTo>
                  <a:lnTo>
                    <a:pt x="2276475" y="3916363"/>
                  </a:lnTo>
                  <a:lnTo>
                    <a:pt x="2262188" y="3954463"/>
                  </a:lnTo>
                  <a:lnTo>
                    <a:pt x="2244725" y="3995738"/>
                  </a:lnTo>
                  <a:lnTo>
                    <a:pt x="2232025" y="4013200"/>
                  </a:lnTo>
                  <a:lnTo>
                    <a:pt x="2224088" y="4037013"/>
                  </a:lnTo>
                  <a:lnTo>
                    <a:pt x="2217738" y="4064000"/>
                  </a:lnTo>
                  <a:lnTo>
                    <a:pt x="2217738" y="4090988"/>
                  </a:lnTo>
                  <a:lnTo>
                    <a:pt x="2217738" y="4117975"/>
                  </a:lnTo>
                  <a:lnTo>
                    <a:pt x="2224088" y="4144963"/>
                  </a:lnTo>
                  <a:lnTo>
                    <a:pt x="2232025" y="4168775"/>
                  </a:lnTo>
                  <a:lnTo>
                    <a:pt x="2244725" y="4183063"/>
                  </a:lnTo>
                  <a:lnTo>
                    <a:pt x="2306638" y="4251325"/>
                  </a:lnTo>
                  <a:lnTo>
                    <a:pt x="2368550" y="4313238"/>
                  </a:lnTo>
                  <a:lnTo>
                    <a:pt x="2435225" y="4373563"/>
                  </a:lnTo>
                  <a:lnTo>
                    <a:pt x="2497138" y="4424363"/>
                  </a:lnTo>
                  <a:lnTo>
                    <a:pt x="2562225" y="4471988"/>
                  </a:lnTo>
                  <a:lnTo>
                    <a:pt x="2627313" y="4510088"/>
                  </a:lnTo>
                  <a:lnTo>
                    <a:pt x="2660650" y="4527550"/>
                  </a:lnTo>
                  <a:lnTo>
                    <a:pt x="2695575" y="4543425"/>
                  </a:lnTo>
                  <a:lnTo>
                    <a:pt x="2728913" y="4554538"/>
                  </a:lnTo>
                  <a:lnTo>
                    <a:pt x="2763838" y="4567238"/>
                  </a:lnTo>
                  <a:lnTo>
                    <a:pt x="2800350" y="4575175"/>
                  </a:lnTo>
                  <a:lnTo>
                    <a:pt x="2835275" y="4584700"/>
                  </a:lnTo>
                  <a:lnTo>
                    <a:pt x="2871788" y="4591050"/>
                  </a:lnTo>
                  <a:lnTo>
                    <a:pt x="2906713" y="4594225"/>
                  </a:lnTo>
                  <a:lnTo>
                    <a:pt x="2943225" y="4594225"/>
                  </a:lnTo>
                  <a:lnTo>
                    <a:pt x="2981325" y="4594225"/>
                  </a:lnTo>
                  <a:lnTo>
                    <a:pt x="3021013" y="4591050"/>
                  </a:lnTo>
                  <a:lnTo>
                    <a:pt x="3059113" y="4584700"/>
                  </a:lnTo>
                  <a:lnTo>
                    <a:pt x="3097213" y="4575175"/>
                  </a:lnTo>
                  <a:lnTo>
                    <a:pt x="3138488" y="4564063"/>
                  </a:lnTo>
                  <a:lnTo>
                    <a:pt x="3178175" y="4551363"/>
                  </a:lnTo>
                  <a:lnTo>
                    <a:pt x="3219450" y="4537075"/>
                  </a:lnTo>
                  <a:lnTo>
                    <a:pt x="3263900" y="4516438"/>
                  </a:lnTo>
                  <a:lnTo>
                    <a:pt x="3305175" y="4495800"/>
                  </a:lnTo>
                  <a:lnTo>
                    <a:pt x="3349625" y="4471988"/>
                  </a:lnTo>
                  <a:lnTo>
                    <a:pt x="3394075" y="4445000"/>
                  </a:lnTo>
                  <a:lnTo>
                    <a:pt x="3617913" y="4329113"/>
                  </a:lnTo>
                  <a:lnTo>
                    <a:pt x="3730625" y="4271963"/>
                  </a:lnTo>
                  <a:lnTo>
                    <a:pt x="3843338" y="4216400"/>
                  </a:lnTo>
                  <a:lnTo>
                    <a:pt x="3959225" y="4168775"/>
                  </a:lnTo>
                  <a:lnTo>
                    <a:pt x="4019550" y="4144963"/>
                  </a:lnTo>
                  <a:lnTo>
                    <a:pt x="4078288" y="4124325"/>
                  </a:lnTo>
                  <a:lnTo>
                    <a:pt x="4138613" y="4108450"/>
                  </a:lnTo>
                  <a:lnTo>
                    <a:pt x="4197350" y="4094163"/>
                  </a:lnTo>
                  <a:lnTo>
                    <a:pt x="4259263" y="4081463"/>
                  </a:lnTo>
                  <a:lnTo>
                    <a:pt x="4322763" y="4073525"/>
                  </a:lnTo>
                  <a:lnTo>
                    <a:pt x="4337050" y="4067175"/>
                  </a:lnTo>
                  <a:lnTo>
                    <a:pt x="4354513" y="4057650"/>
                  </a:lnTo>
                  <a:lnTo>
                    <a:pt x="4375150" y="4043363"/>
                  </a:lnTo>
                  <a:lnTo>
                    <a:pt x="4397375" y="4025900"/>
                  </a:lnTo>
                  <a:lnTo>
                    <a:pt x="4418013" y="4002088"/>
                  </a:lnTo>
                  <a:lnTo>
                    <a:pt x="4438650" y="3978275"/>
                  </a:lnTo>
                  <a:lnTo>
                    <a:pt x="4456113" y="3951288"/>
                  </a:lnTo>
                  <a:lnTo>
                    <a:pt x="4470400" y="3921125"/>
                  </a:lnTo>
                  <a:lnTo>
                    <a:pt x="4497388" y="3844925"/>
                  </a:lnTo>
                  <a:lnTo>
                    <a:pt x="4518025" y="3767138"/>
                  </a:lnTo>
                  <a:lnTo>
                    <a:pt x="4537075" y="3689350"/>
                  </a:lnTo>
                  <a:lnTo>
                    <a:pt x="4548188" y="3613150"/>
                  </a:lnTo>
                  <a:lnTo>
                    <a:pt x="4560888" y="3535363"/>
                  </a:lnTo>
                  <a:lnTo>
                    <a:pt x="4565650" y="3457575"/>
                  </a:lnTo>
                  <a:lnTo>
                    <a:pt x="4572000" y="3381375"/>
                  </a:lnTo>
                  <a:lnTo>
                    <a:pt x="4572000" y="3300413"/>
                  </a:lnTo>
                  <a:lnTo>
                    <a:pt x="4572000" y="3222625"/>
                  </a:lnTo>
                  <a:lnTo>
                    <a:pt x="4568825" y="3143250"/>
                  </a:lnTo>
                  <a:lnTo>
                    <a:pt x="4562475" y="3062288"/>
                  </a:lnTo>
                  <a:lnTo>
                    <a:pt x="4554538" y="2982913"/>
                  </a:lnTo>
                  <a:lnTo>
                    <a:pt x="4533900" y="2819400"/>
                  </a:lnTo>
                  <a:lnTo>
                    <a:pt x="4506913" y="2652713"/>
                  </a:lnTo>
                  <a:lnTo>
                    <a:pt x="4479925" y="2476500"/>
                  </a:lnTo>
                  <a:lnTo>
                    <a:pt x="4446588" y="2292351"/>
                  </a:lnTo>
                  <a:lnTo>
                    <a:pt x="4429125" y="2197100"/>
                  </a:lnTo>
                  <a:lnTo>
                    <a:pt x="4408488" y="2098675"/>
                  </a:lnTo>
                  <a:lnTo>
                    <a:pt x="4384675" y="2005013"/>
                  </a:lnTo>
                  <a:lnTo>
                    <a:pt x="4360863" y="1906588"/>
                  </a:lnTo>
                  <a:lnTo>
                    <a:pt x="4360863" y="2765425"/>
                  </a:lnTo>
                  <a:lnTo>
                    <a:pt x="4360863" y="3698875"/>
                  </a:lnTo>
                  <a:lnTo>
                    <a:pt x="4357688" y="3725863"/>
                  </a:lnTo>
                  <a:lnTo>
                    <a:pt x="4354513" y="3752850"/>
                  </a:lnTo>
                  <a:lnTo>
                    <a:pt x="4349750" y="3776663"/>
                  </a:lnTo>
                  <a:lnTo>
                    <a:pt x="4340225" y="3797300"/>
                  </a:lnTo>
                  <a:lnTo>
                    <a:pt x="4327525" y="3817938"/>
                  </a:lnTo>
                  <a:lnTo>
                    <a:pt x="4316413" y="3838575"/>
                  </a:lnTo>
                  <a:lnTo>
                    <a:pt x="4302125" y="3856038"/>
                  </a:lnTo>
                  <a:lnTo>
                    <a:pt x="4286250" y="3870325"/>
                  </a:lnTo>
                  <a:lnTo>
                    <a:pt x="4265613" y="3886200"/>
                  </a:lnTo>
                  <a:lnTo>
                    <a:pt x="4248150" y="3900488"/>
                  </a:lnTo>
                  <a:lnTo>
                    <a:pt x="4203700" y="3924300"/>
                  </a:lnTo>
                  <a:lnTo>
                    <a:pt x="4152900" y="3944938"/>
                  </a:lnTo>
                  <a:lnTo>
                    <a:pt x="4098925" y="3960813"/>
                  </a:lnTo>
                  <a:lnTo>
                    <a:pt x="4000500" y="3989388"/>
                  </a:lnTo>
                  <a:lnTo>
                    <a:pt x="3906838" y="4022725"/>
                  </a:lnTo>
                  <a:lnTo>
                    <a:pt x="3811588" y="4057650"/>
                  </a:lnTo>
                  <a:lnTo>
                    <a:pt x="3716338" y="4100513"/>
                  </a:lnTo>
                  <a:lnTo>
                    <a:pt x="3621088" y="4144963"/>
                  </a:lnTo>
                  <a:lnTo>
                    <a:pt x="3532188" y="4192588"/>
                  </a:lnTo>
                  <a:lnTo>
                    <a:pt x="3441700" y="4243388"/>
                  </a:lnTo>
                  <a:lnTo>
                    <a:pt x="3359150" y="4295775"/>
                  </a:lnTo>
                  <a:lnTo>
                    <a:pt x="3287713" y="4329113"/>
                  </a:lnTo>
                  <a:lnTo>
                    <a:pt x="3222625" y="4359275"/>
                  </a:lnTo>
                  <a:lnTo>
                    <a:pt x="3157538" y="4379913"/>
                  </a:lnTo>
                  <a:lnTo>
                    <a:pt x="3094038" y="4400550"/>
                  </a:lnTo>
                  <a:lnTo>
                    <a:pt x="3032125" y="4411663"/>
                  </a:lnTo>
                  <a:lnTo>
                    <a:pt x="2973388" y="4421188"/>
                  </a:lnTo>
                  <a:lnTo>
                    <a:pt x="2913063" y="4421188"/>
                  </a:lnTo>
                  <a:lnTo>
                    <a:pt x="2857500" y="4418013"/>
                  </a:lnTo>
                  <a:lnTo>
                    <a:pt x="2803525" y="4406900"/>
                  </a:lnTo>
                  <a:lnTo>
                    <a:pt x="2749550" y="4391025"/>
                  </a:lnTo>
                  <a:lnTo>
                    <a:pt x="2698750" y="4367213"/>
                  </a:lnTo>
                  <a:lnTo>
                    <a:pt x="2647950" y="4337050"/>
                  </a:lnTo>
                  <a:lnTo>
                    <a:pt x="2600325" y="4302125"/>
                  </a:lnTo>
                  <a:lnTo>
                    <a:pt x="2554288" y="4257675"/>
                  </a:lnTo>
                  <a:lnTo>
                    <a:pt x="2508250" y="4206875"/>
                  </a:lnTo>
                  <a:lnTo>
                    <a:pt x="2466975" y="4148138"/>
                  </a:lnTo>
                  <a:lnTo>
                    <a:pt x="2452688" y="4117975"/>
                  </a:lnTo>
                  <a:lnTo>
                    <a:pt x="2439988" y="4084638"/>
                  </a:lnTo>
                  <a:lnTo>
                    <a:pt x="2428875" y="4049713"/>
                  </a:lnTo>
                  <a:lnTo>
                    <a:pt x="2419350" y="4016375"/>
                  </a:lnTo>
                  <a:lnTo>
                    <a:pt x="2416175" y="3981450"/>
                  </a:lnTo>
                  <a:lnTo>
                    <a:pt x="2416175" y="3948113"/>
                  </a:lnTo>
                  <a:lnTo>
                    <a:pt x="2419350" y="3916363"/>
                  </a:lnTo>
                  <a:lnTo>
                    <a:pt x="2425700" y="3900488"/>
                  </a:lnTo>
                  <a:lnTo>
                    <a:pt x="2432050" y="3886200"/>
                  </a:lnTo>
                  <a:lnTo>
                    <a:pt x="2446338" y="3829050"/>
                  </a:lnTo>
                  <a:lnTo>
                    <a:pt x="2463800" y="3778250"/>
                  </a:lnTo>
                  <a:lnTo>
                    <a:pt x="2484438" y="3730625"/>
                  </a:lnTo>
                  <a:lnTo>
                    <a:pt x="2508250" y="3684588"/>
                  </a:lnTo>
                  <a:lnTo>
                    <a:pt x="2535238" y="3638550"/>
                  </a:lnTo>
                  <a:lnTo>
                    <a:pt x="2559050" y="3597275"/>
                  </a:lnTo>
                  <a:lnTo>
                    <a:pt x="2616200" y="3511550"/>
                  </a:lnTo>
                  <a:lnTo>
                    <a:pt x="2667000" y="3406775"/>
                  </a:lnTo>
                  <a:lnTo>
                    <a:pt x="2705100" y="3311525"/>
                  </a:lnTo>
                  <a:lnTo>
                    <a:pt x="2735263" y="3222625"/>
                  </a:lnTo>
                  <a:lnTo>
                    <a:pt x="2763838" y="3136900"/>
                  </a:lnTo>
                  <a:lnTo>
                    <a:pt x="2722563" y="3181350"/>
                  </a:lnTo>
                  <a:lnTo>
                    <a:pt x="2681288" y="3228975"/>
                  </a:lnTo>
                  <a:lnTo>
                    <a:pt x="2598738" y="3330575"/>
                  </a:lnTo>
                  <a:lnTo>
                    <a:pt x="2514600" y="3436938"/>
                  </a:lnTo>
                  <a:lnTo>
                    <a:pt x="2432050" y="3549650"/>
                  </a:lnTo>
                  <a:lnTo>
                    <a:pt x="2374900" y="3478213"/>
                  </a:lnTo>
                  <a:lnTo>
                    <a:pt x="2324100" y="3409950"/>
                  </a:lnTo>
                  <a:lnTo>
                    <a:pt x="2276475" y="3338513"/>
                  </a:lnTo>
                  <a:lnTo>
                    <a:pt x="2228850" y="3267075"/>
                  </a:lnTo>
                  <a:lnTo>
                    <a:pt x="2143125" y="3127375"/>
                  </a:lnTo>
                  <a:lnTo>
                    <a:pt x="2060575" y="2987675"/>
                  </a:lnTo>
                  <a:lnTo>
                    <a:pt x="2047875" y="2973388"/>
                  </a:lnTo>
                  <a:lnTo>
                    <a:pt x="2039938" y="2955925"/>
                  </a:lnTo>
                  <a:lnTo>
                    <a:pt x="2030413" y="2935288"/>
                  </a:lnTo>
                  <a:lnTo>
                    <a:pt x="2027238" y="2914650"/>
                  </a:lnTo>
                  <a:lnTo>
                    <a:pt x="2020888" y="2871788"/>
                  </a:lnTo>
                  <a:lnTo>
                    <a:pt x="2020888" y="2840038"/>
                  </a:lnTo>
                  <a:lnTo>
                    <a:pt x="2063750" y="2755900"/>
                  </a:lnTo>
                  <a:lnTo>
                    <a:pt x="2101850" y="2673350"/>
                  </a:lnTo>
                  <a:lnTo>
                    <a:pt x="2176463" y="2506663"/>
                  </a:lnTo>
                  <a:lnTo>
                    <a:pt x="2214563" y="2428875"/>
                  </a:lnTo>
                  <a:lnTo>
                    <a:pt x="2255838" y="2352675"/>
                  </a:lnTo>
                  <a:lnTo>
                    <a:pt x="2303463" y="2274888"/>
                  </a:lnTo>
                  <a:lnTo>
                    <a:pt x="2330450" y="2238375"/>
                  </a:lnTo>
                  <a:lnTo>
                    <a:pt x="2357438" y="2203450"/>
                  </a:lnTo>
                  <a:lnTo>
                    <a:pt x="2482850" y="2054225"/>
                  </a:lnTo>
                  <a:lnTo>
                    <a:pt x="2613025" y="1909763"/>
                  </a:lnTo>
                  <a:lnTo>
                    <a:pt x="2743200" y="1766888"/>
                  </a:lnTo>
                  <a:lnTo>
                    <a:pt x="2874963" y="1630363"/>
                  </a:lnTo>
                  <a:lnTo>
                    <a:pt x="3138488" y="1358900"/>
                  </a:lnTo>
                  <a:lnTo>
                    <a:pt x="3267075" y="1222376"/>
                  </a:lnTo>
                  <a:lnTo>
                    <a:pt x="3394075" y="1082675"/>
                  </a:lnTo>
                  <a:lnTo>
                    <a:pt x="3430588" y="1044576"/>
                  </a:lnTo>
                  <a:lnTo>
                    <a:pt x="3468688" y="1011238"/>
                  </a:lnTo>
                  <a:lnTo>
                    <a:pt x="3508375" y="984250"/>
                  </a:lnTo>
                  <a:lnTo>
                    <a:pt x="3546475" y="963613"/>
                  </a:lnTo>
                  <a:lnTo>
                    <a:pt x="3587750" y="946150"/>
                  </a:lnTo>
                  <a:lnTo>
                    <a:pt x="3629025" y="933450"/>
                  </a:lnTo>
                  <a:lnTo>
                    <a:pt x="3671888" y="922338"/>
                  </a:lnTo>
                  <a:lnTo>
                    <a:pt x="3716338" y="915988"/>
                  </a:lnTo>
                  <a:lnTo>
                    <a:pt x="3802063" y="904875"/>
                  </a:lnTo>
                  <a:lnTo>
                    <a:pt x="3890963" y="895350"/>
                  </a:lnTo>
                  <a:lnTo>
                    <a:pt x="3932238" y="889000"/>
                  </a:lnTo>
                  <a:lnTo>
                    <a:pt x="3976688" y="881063"/>
                  </a:lnTo>
                  <a:lnTo>
                    <a:pt x="4022725" y="871538"/>
                  </a:lnTo>
                  <a:lnTo>
                    <a:pt x="4064000" y="860425"/>
                  </a:lnTo>
                  <a:lnTo>
                    <a:pt x="4090988" y="857250"/>
                  </a:lnTo>
                  <a:lnTo>
                    <a:pt x="4117975" y="854075"/>
                  </a:lnTo>
                  <a:lnTo>
                    <a:pt x="4143375" y="844550"/>
                  </a:lnTo>
                  <a:lnTo>
                    <a:pt x="4170363" y="836613"/>
                  </a:lnTo>
                  <a:lnTo>
                    <a:pt x="4191000" y="823913"/>
                  </a:lnTo>
                  <a:lnTo>
                    <a:pt x="4214813" y="812801"/>
                  </a:lnTo>
                  <a:lnTo>
                    <a:pt x="4233863" y="796926"/>
                  </a:lnTo>
                  <a:lnTo>
                    <a:pt x="4248150" y="785813"/>
                  </a:lnTo>
                  <a:lnTo>
                    <a:pt x="3876675" y="785813"/>
                  </a:lnTo>
                  <a:lnTo>
                    <a:pt x="3906838" y="728663"/>
                  </a:lnTo>
                  <a:lnTo>
                    <a:pt x="3938588" y="677863"/>
                  </a:lnTo>
                  <a:lnTo>
                    <a:pt x="3971925" y="630238"/>
                  </a:lnTo>
                  <a:lnTo>
                    <a:pt x="4006850" y="585788"/>
                  </a:lnTo>
                  <a:lnTo>
                    <a:pt x="4046538" y="544513"/>
                  </a:lnTo>
                  <a:lnTo>
                    <a:pt x="4084638" y="506413"/>
                  </a:lnTo>
                  <a:lnTo>
                    <a:pt x="4125913" y="466725"/>
                  </a:lnTo>
                  <a:lnTo>
                    <a:pt x="4170363" y="434975"/>
                  </a:lnTo>
                  <a:lnTo>
                    <a:pt x="4211638" y="401638"/>
                  </a:lnTo>
                  <a:lnTo>
                    <a:pt x="4259263" y="373063"/>
                  </a:lnTo>
                  <a:lnTo>
                    <a:pt x="4303713" y="342900"/>
                  </a:lnTo>
                  <a:lnTo>
                    <a:pt x="4351338" y="315913"/>
                  </a:lnTo>
                  <a:lnTo>
                    <a:pt x="4446588" y="268288"/>
                  </a:lnTo>
                  <a:lnTo>
                    <a:pt x="4545013" y="223838"/>
                  </a:lnTo>
                  <a:lnTo>
                    <a:pt x="4654550" y="193675"/>
                  </a:lnTo>
                  <a:lnTo>
                    <a:pt x="4768850" y="163513"/>
                  </a:lnTo>
                  <a:lnTo>
                    <a:pt x="4991101" y="98425"/>
                  </a:lnTo>
                  <a:lnTo>
                    <a:pt x="5100638" y="69850"/>
                  </a:lnTo>
                  <a:lnTo>
                    <a:pt x="5213351" y="39688"/>
                  </a:lnTo>
                  <a:lnTo>
                    <a:pt x="5324476" y="19050"/>
                  </a:lnTo>
                  <a:close/>
                </a:path>
              </a:pathLst>
            </a:custGeom>
            <a:solidFill>
              <a:schemeClr val="bg1"/>
            </a:solidFill>
            <a:ln>
              <a:noFill/>
            </a:ln>
          </p:spPr>
          <p:txBody>
            <a:bodyPr vert="horz" wrap="square" lIns="89592" tIns="44796" rIns="89592" bIns="44796" numCol="1" anchor="t" anchorCtr="0" compatLnSpc="1">
              <a:prstTxWarp prst="textNoShape">
                <a:avLst/>
              </a:prstTxWarp>
            </a:bodyPr>
            <a:lstStyle/>
            <a:p>
              <a:pPr defTabSz="931022" fontAlgn="base">
                <a:defRPr/>
              </a:pPr>
              <a:endParaRPr lang="en-IN" sz="1600" kern="0" dirty="0">
                <a:solidFill>
                  <a:srgbClr val="000000"/>
                </a:solidFill>
              </a:endParaRPr>
            </a:p>
          </p:txBody>
        </p:sp>
      </p:grpSp>
      <p:grpSp>
        <p:nvGrpSpPr>
          <p:cNvPr id="59" name="Group 58"/>
          <p:cNvGrpSpPr/>
          <p:nvPr/>
        </p:nvGrpSpPr>
        <p:grpSpPr>
          <a:xfrm>
            <a:off x="1874837" y="5365710"/>
            <a:ext cx="8915400" cy="1179552"/>
            <a:chOff x="1839357" y="4848536"/>
            <a:chExt cx="8738767" cy="1156528"/>
          </a:xfrm>
          <a:solidFill>
            <a:schemeClr val="accent1"/>
          </a:solidFill>
          <a:effectLst>
            <a:outerShdw blurRad="50800" dist="38100" dir="2700000" algn="tl" rotWithShape="0">
              <a:prstClr val="black">
                <a:alpha val="40000"/>
              </a:prstClr>
            </a:outerShdw>
          </a:effectLst>
        </p:grpSpPr>
        <p:sp>
          <p:nvSpPr>
            <p:cNvPr id="60" name="Rectangle 59"/>
            <p:cNvSpPr/>
            <p:nvPr/>
          </p:nvSpPr>
          <p:spPr bwMode="auto">
            <a:xfrm>
              <a:off x="1839357" y="4848536"/>
              <a:ext cx="8738767" cy="1156528"/>
            </a:xfrm>
            <a:prstGeom prst="rect">
              <a:avLst/>
            </a:prstGeom>
            <a:grpFill/>
            <a:ln w="3175" cap="flat" cmpd="sng" algn="ctr">
              <a:no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p>
              <a:pPr algn="ctr" defTabSz="951083" fontAlgn="base">
                <a:defRPr/>
              </a:pPr>
              <a:endParaRPr lang="en-US" sz="1000" kern="0" dirty="0">
                <a:gradFill>
                  <a:gsLst>
                    <a:gs pos="0">
                      <a:srgbClr val="FFFFFF"/>
                    </a:gs>
                    <a:gs pos="100000">
                      <a:srgbClr val="FFFFFF"/>
                    </a:gs>
                  </a:gsLst>
                  <a:lin ang="5400000" scaled="0"/>
                </a:gradFill>
                <a:latin typeface="Cambria" panose="02040503050406030204" pitchFamily="18" charset="0"/>
              </a:endParaRPr>
            </a:p>
          </p:txBody>
        </p:sp>
        <p:sp>
          <p:nvSpPr>
            <p:cNvPr id="61" name="TextBox 60"/>
            <p:cNvSpPr txBox="1"/>
            <p:nvPr/>
          </p:nvSpPr>
          <p:spPr>
            <a:xfrm>
              <a:off x="4925275" y="5461282"/>
              <a:ext cx="2341450" cy="394357"/>
            </a:xfrm>
            <a:prstGeom prst="rect">
              <a:avLst/>
            </a:prstGeom>
            <a:grpFill/>
          </p:spPr>
          <p:txBody>
            <a:bodyPr wrap="none" lIns="182880" tIns="146304" rIns="182880" bIns="146304" rtlCol="0">
              <a:noAutofit/>
            </a:bodyPr>
            <a:lstStyle/>
            <a:p>
              <a:pPr defTabSz="932688">
                <a:defRPr/>
              </a:pPr>
              <a:r>
                <a:rPr lang="en-US" sz="1600" kern="0" dirty="0">
                  <a:solidFill>
                    <a:srgbClr val="FFFFFF"/>
                  </a:solidFill>
                  <a:latin typeface="Segoe UI Semibold" panose="020B0702040204020203" pitchFamily="34" charset="0"/>
                  <a:cs typeface="Segoe UI Semibold" panose="020B0702040204020203" pitchFamily="34" charset="0"/>
                </a:rPr>
                <a:t>Azure Data Lake Store</a:t>
              </a:r>
            </a:p>
          </p:txBody>
        </p:sp>
        <p:pic>
          <p:nvPicPr>
            <p:cNvPr id="69" name="Picture 68"/>
            <p:cNvPicPr>
              <a:picLocks noChangeAspect="1"/>
            </p:cNvPicPr>
            <p:nvPr/>
          </p:nvPicPr>
          <p:blipFill>
            <a:blip r:embed="rId3">
              <a:biLevel thresh="50000"/>
              <a:extLst>
                <a:ext uri="{28A0092B-C50C-407E-A947-70E740481C1C}">
                  <a14:useLocalDpi xmlns:a14="http://schemas.microsoft.com/office/drawing/2010/main" val="0"/>
                </a:ext>
              </a:extLst>
            </a:blip>
            <a:stretch>
              <a:fillRect/>
            </a:stretch>
          </p:blipFill>
          <p:spPr>
            <a:xfrm>
              <a:off x="5784944" y="5030310"/>
              <a:ext cx="622112" cy="622112"/>
            </a:xfrm>
            <a:prstGeom prst="rect">
              <a:avLst/>
            </a:prstGeom>
            <a:grpFill/>
          </p:spPr>
        </p:pic>
      </p:grpSp>
      <p:sp>
        <p:nvSpPr>
          <p:cNvPr id="71" name="Rectangle 70"/>
          <p:cNvSpPr/>
          <p:nvPr/>
        </p:nvSpPr>
        <p:spPr bwMode="auto">
          <a:xfrm>
            <a:off x="1876238" y="4879540"/>
            <a:ext cx="8913999" cy="522722"/>
          </a:xfrm>
          <a:prstGeom prst="rect">
            <a:avLst/>
          </a:prstGeom>
          <a:solidFill>
            <a:srgbClr val="00BCF2"/>
          </a:solidFill>
          <a:ln w="3175" cap="flat" cmpd="sng" algn="ctr">
            <a:noFill/>
            <a:prstDash val="solid"/>
            <a:headEnd type="none" w="med" len="med"/>
            <a:tailEnd type="none" w="med" len="med"/>
          </a:ln>
          <a:effectLst>
            <a:outerShdw blurRad="50800" dist="38100" dir="2700000" algn="tl" rotWithShape="0">
              <a:prstClr val="black">
                <a:alpha val="40000"/>
              </a:prstClr>
            </a:outerShdw>
          </a:effectLst>
        </p:spPr>
        <p:txBody>
          <a:bodyPr vert="horz" wrap="square" lIns="0" tIns="46637" rIns="0" bIns="46637" numCol="1" rtlCol="0" anchor="ctr" anchorCtr="0" compatLnSpc="1">
            <a:prstTxWarp prst="textNoShape">
              <a:avLst/>
            </a:prstTxWarp>
          </a:bodyPr>
          <a:lstStyle/>
          <a:p>
            <a:pPr algn="ctr" defTabSz="951083" fontAlgn="base">
              <a:defRPr/>
            </a:pPr>
            <a:r>
              <a:rPr lang="en-US" sz="1400" kern="0" dirty="0"/>
              <a:t>WebHDFS-compatible REST API</a:t>
            </a:r>
          </a:p>
        </p:txBody>
      </p:sp>
      <p:cxnSp>
        <p:nvCxnSpPr>
          <p:cNvPr id="73" name="Straight Arrow Connector 72"/>
          <p:cNvCxnSpPr/>
          <p:nvPr/>
        </p:nvCxnSpPr>
        <p:spPr>
          <a:xfrm>
            <a:off x="2713037" y="4067082"/>
            <a:ext cx="0" cy="720651"/>
          </a:xfrm>
          <a:prstGeom prst="straightConnector1">
            <a:avLst/>
          </a:prstGeom>
          <a:noFill/>
          <a:ln w="19050" cap="flat" cmpd="sng" algn="ctr">
            <a:solidFill>
              <a:schemeClr val="bg1">
                <a:lumMod val="50000"/>
              </a:schemeClr>
            </a:solidFill>
            <a:prstDash val="solid"/>
            <a:miter lim="800000"/>
            <a:headEnd type="none"/>
            <a:tailEnd type="triangle" w="med" len="sm"/>
          </a:ln>
          <a:effectLst/>
        </p:spPr>
      </p:cxnSp>
      <p:cxnSp>
        <p:nvCxnSpPr>
          <p:cNvPr id="74" name="Straight Arrow Connector 73"/>
          <p:cNvCxnSpPr/>
          <p:nvPr/>
        </p:nvCxnSpPr>
        <p:spPr>
          <a:xfrm>
            <a:off x="9952037" y="2894215"/>
            <a:ext cx="0" cy="1916319"/>
          </a:xfrm>
          <a:prstGeom prst="straightConnector1">
            <a:avLst/>
          </a:prstGeom>
          <a:noFill/>
          <a:ln w="19050" cap="flat" cmpd="sng" algn="ctr">
            <a:solidFill>
              <a:schemeClr val="bg1">
                <a:lumMod val="50000"/>
              </a:schemeClr>
            </a:solidFill>
            <a:prstDash val="solid"/>
            <a:miter lim="800000"/>
            <a:headEnd type="none"/>
            <a:tailEnd type="triangle" w="med" len="sm"/>
          </a:ln>
          <a:effectLst/>
        </p:spPr>
      </p:cxnSp>
      <p:sp>
        <p:nvSpPr>
          <p:cNvPr id="77" name="TextBox 76"/>
          <p:cNvSpPr txBox="1"/>
          <p:nvPr/>
        </p:nvSpPr>
        <p:spPr>
          <a:xfrm>
            <a:off x="5168756" y="2178883"/>
            <a:ext cx="1582881" cy="708779"/>
          </a:xfrm>
          <a:prstGeom prst="rect">
            <a:avLst/>
          </a:prstGeom>
          <a:solidFill>
            <a:srgbClr val="00BCF2"/>
          </a:solidFill>
        </p:spPr>
        <p:txBody>
          <a:bodyPr wrap="square" lIns="91440" tIns="146304" rIns="91440" bIns="146304" rtlCol="0" anchor="ctr" anchorCtr="0">
            <a:noAutofit/>
          </a:bodyPr>
          <a:lstStyle/>
          <a:p>
            <a:pPr algn="ctr" defTabSz="951358">
              <a:defRPr/>
            </a:pPr>
            <a:r>
              <a:rPr lang="en-US" sz="1400" kern="0" dirty="0">
                <a:solidFill>
                  <a:srgbClr val="FFFFFF"/>
                </a:solidFill>
                <a:latin typeface="Segoe UI Semibold" panose="020B0702040204020203" pitchFamily="34" charset="0"/>
                <a:cs typeface="Segoe UI Semibold" panose="020B0702040204020203" pitchFamily="34" charset="0"/>
              </a:rPr>
              <a:t>Spark queries</a:t>
            </a:r>
          </a:p>
        </p:txBody>
      </p:sp>
      <p:cxnSp>
        <p:nvCxnSpPr>
          <p:cNvPr id="83" name="Straight Arrow Connector 82"/>
          <p:cNvCxnSpPr/>
          <p:nvPr/>
        </p:nvCxnSpPr>
        <p:spPr>
          <a:xfrm>
            <a:off x="5987570" y="2887662"/>
            <a:ext cx="2067" cy="344580"/>
          </a:xfrm>
          <a:prstGeom prst="straightConnector1">
            <a:avLst/>
          </a:prstGeom>
          <a:noFill/>
          <a:ln w="19050" cap="flat" cmpd="sng" algn="ctr">
            <a:solidFill>
              <a:schemeClr val="bg1">
                <a:lumMod val="50000"/>
              </a:schemeClr>
            </a:solidFill>
            <a:prstDash val="solid"/>
            <a:miter lim="800000"/>
            <a:headEnd type="none"/>
            <a:tailEnd type="triangle" w="med" len="sm"/>
          </a:ln>
          <a:effectLst/>
        </p:spPr>
      </p:cxnSp>
    </p:spTree>
    <p:extLst>
      <p:ext uri="{BB962C8B-B14F-4D97-AF65-F5344CB8AC3E}">
        <p14:creationId xmlns:p14="http://schemas.microsoft.com/office/powerpoint/2010/main" val="1632679404"/>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125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9" name="Group 8"/>
          <p:cNvGrpSpPr/>
          <p:nvPr/>
        </p:nvGrpSpPr>
        <p:grpSpPr>
          <a:xfrm>
            <a:off x="9135063" y="4496725"/>
            <a:ext cx="3056937" cy="2370800"/>
            <a:chOff x="9135063" y="4373470"/>
            <a:chExt cx="3056937" cy="2370800"/>
          </a:xfrm>
        </p:grpSpPr>
        <p:pic>
          <p:nvPicPr>
            <p:cNvPr id="202" name="Picture 201"/>
            <p:cNvPicPr>
              <a:picLocks noChangeAspect="1"/>
            </p:cNvPicPr>
            <p:nvPr/>
          </p:nvPicPr>
          <p:blipFill>
            <a:blip r:embed="rId3"/>
            <a:stretch>
              <a:fillRect/>
            </a:stretch>
          </p:blipFill>
          <p:spPr>
            <a:xfrm>
              <a:off x="9135063" y="4373470"/>
              <a:ext cx="660950" cy="2370800"/>
            </a:xfrm>
            <a:prstGeom prst="rect">
              <a:avLst/>
            </a:prstGeom>
          </p:spPr>
        </p:pic>
        <p:pic>
          <p:nvPicPr>
            <p:cNvPr id="203" name="Picture 202"/>
            <p:cNvPicPr>
              <a:picLocks noChangeAspect="1"/>
            </p:cNvPicPr>
            <p:nvPr/>
          </p:nvPicPr>
          <p:blipFill>
            <a:blip r:embed="rId4"/>
            <a:stretch>
              <a:fillRect/>
            </a:stretch>
          </p:blipFill>
          <p:spPr>
            <a:xfrm>
              <a:off x="9812113" y="4695889"/>
              <a:ext cx="771304" cy="2048381"/>
            </a:xfrm>
            <a:prstGeom prst="rect">
              <a:avLst/>
            </a:prstGeom>
          </p:spPr>
        </p:pic>
        <p:pic>
          <p:nvPicPr>
            <p:cNvPr id="204" name="Picture 203"/>
            <p:cNvPicPr>
              <a:picLocks noChangeAspect="1"/>
            </p:cNvPicPr>
            <p:nvPr/>
          </p:nvPicPr>
          <p:blipFill>
            <a:blip r:embed="rId5"/>
            <a:stretch>
              <a:fillRect/>
            </a:stretch>
          </p:blipFill>
          <p:spPr>
            <a:xfrm>
              <a:off x="10599517" y="4550520"/>
              <a:ext cx="864205" cy="2193750"/>
            </a:xfrm>
            <a:prstGeom prst="rect">
              <a:avLst/>
            </a:prstGeom>
          </p:spPr>
        </p:pic>
        <p:grpSp>
          <p:nvGrpSpPr>
            <p:cNvPr id="8" name="Group 7"/>
            <p:cNvGrpSpPr/>
            <p:nvPr/>
          </p:nvGrpSpPr>
          <p:grpSpPr>
            <a:xfrm>
              <a:off x="11463338" y="4926583"/>
              <a:ext cx="728662" cy="1817687"/>
              <a:chOff x="11463338" y="4926583"/>
              <a:chExt cx="728662" cy="1817687"/>
            </a:xfrm>
          </p:grpSpPr>
          <p:sp>
            <p:nvSpPr>
              <p:cNvPr id="4" name="AutoShape 3"/>
              <p:cNvSpPr>
                <a:spLocks noChangeAspect="1" noChangeArrowheads="1" noTextEdit="1"/>
              </p:cNvSpPr>
              <p:nvPr/>
            </p:nvSpPr>
            <p:spPr bwMode="auto">
              <a:xfrm>
                <a:off x="11479213" y="4926583"/>
                <a:ext cx="712787" cy="1817687"/>
              </a:xfrm>
              <a:prstGeom prst="rect">
                <a:avLst/>
              </a:prstGeom>
              <a:solidFill>
                <a:srgbClr val="002050"/>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5" name="Rectangle 5"/>
              <p:cNvSpPr>
                <a:spLocks noChangeArrowheads="1"/>
              </p:cNvSpPr>
              <p:nvPr/>
            </p:nvSpPr>
            <p:spPr bwMode="auto">
              <a:xfrm>
                <a:off x="11463338" y="5050408"/>
                <a:ext cx="728662" cy="1693862"/>
              </a:xfrm>
              <a:prstGeom prst="rect">
                <a:avLst/>
              </a:prstGeom>
              <a:solidFill>
                <a:schemeClr val="accent6">
                  <a:lumMod val="50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6" name="Rectangle 6"/>
              <p:cNvSpPr>
                <a:spLocks noChangeArrowheads="1"/>
              </p:cNvSpPr>
              <p:nvPr/>
            </p:nvSpPr>
            <p:spPr bwMode="auto">
              <a:xfrm>
                <a:off x="11631613" y="4934520"/>
                <a:ext cx="407987" cy="323850"/>
              </a:xfrm>
              <a:prstGeom prst="rect">
                <a:avLst/>
              </a:prstGeom>
              <a:solidFill>
                <a:srgbClr val="005E79"/>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7" name="Rectangle 7"/>
              <p:cNvSpPr>
                <a:spLocks noChangeArrowheads="1"/>
              </p:cNvSpPr>
              <p:nvPr/>
            </p:nvSpPr>
            <p:spPr bwMode="auto">
              <a:xfrm>
                <a:off x="11588750" y="5142483"/>
                <a:ext cx="60325" cy="10001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43" name="Rectangle 8"/>
              <p:cNvSpPr>
                <a:spLocks noChangeArrowheads="1"/>
              </p:cNvSpPr>
              <p:nvPr/>
            </p:nvSpPr>
            <p:spPr bwMode="auto">
              <a:xfrm>
                <a:off x="11725275" y="5142483"/>
                <a:ext cx="58737" cy="10001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44" name="Rectangle 9"/>
              <p:cNvSpPr>
                <a:spLocks noChangeArrowheads="1"/>
              </p:cNvSpPr>
              <p:nvPr/>
            </p:nvSpPr>
            <p:spPr bwMode="auto">
              <a:xfrm>
                <a:off x="11860213" y="5142483"/>
                <a:ext cx="60325" cy="10001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45" name="Rectangle 10"/>
              <p:cNvSpPr>
                <a:spLocks noChangeArrowheads="1"/>
              </p:cNvSpPr>
              <p:nvPr/>
            </p:nvSpPr>
            <p:spPr bwMode="auto">
              <a:xfrm>
                <a:off x="11996738" y="5142483"/>
                <a:ext cx="58737" cy="100012"/>
              </a:xfrm>
              <a:prstGeom prst="rect">
                <a:avLst/>
              </a:prstGeom>
              <a:solidFill>
                <a:srgbClr val="6DC2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46" name="Rectangle 11"/>
              <p:cNvSpPr>
                <a:spLocks noChangeArrowheads="1"/>
              </p:cNvSpPr>
              <p:nvPr/>
            </p:nvSpPr>
            <p:spPr bwMode="auto">
              <a:xfrm>
                <a:off x="11588750" y="5340920"/>
                <a:ext cx="60325" cy="100012"/>
              </a:xfrm>
              <a:prstGeom prst="rect">
                <a:avLst/>
              </a:prstGeom>
              <a:solidFill>
                <a:srgbClr val="6DC2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47" name="Rectangle 12"/>
              <p:cNvSpPr>
                <a:spLocks noChangeArrowheads="1"/>
              </p:cNvSpPr>
              <p:nvPr/>
            </p:nvSpPr>
            <p:spPr bwMode="auto">
              <a:xfrm>
                <a:off x="11725275" y="5340920"/>
                <a:ext cx="58737" cy="10001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48" name="Rectangle 13"/>
              <p:cNvSpPr>
                <a:spLocks noChangeArrowheads="1"/>
              </p:cNvSpPr>
              <p:nvPr/>
            </p:nvSpPr>
            <p:spPr bwMode="auto">
              <a:xfrm>
                <a:off x="11860213" y="5340920"/>
                <a:ext cx="60325" cy="100012"/>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49" name="Rectangle 14"/>
              <p:cNvSpPr>
                <a:spLocks noChangeArrowheads="1"/>
              </p:cNvSpPr>
              <p:nvPr/>
            </p:nvSpPr>
            <p:spPr bwMode="auto">
              <a:xfrm>
                <a:off x="11996738" y="5340920"/>
                <a:ext cx="58737" cy="100012"/>
              </a:xfrm>
              <a:prstGeom prst="rect">
                <a:avLst/>
              </a:prstGeom>
              <a:solidFill>
                <a:srgbClr val="6DC2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50" name="Rectangle 15"/>
              <p:cNvSpPr>
                <a:spLocks noChangeArrowheads="1"/>
              </p:cNvSpPr>
              <p:nvPr/>
            </p:nvSpPr>
            <p:spPr bwMode="auto">
              <a:xfrm>
                <a:off x="11588750" y="5540945"/>
                <a:ext cx="60325" cy="100012"/>
              </a:xfrm>
              <a:prstGeom prst="rect">
                <a:avLst/>
              </a:prstGeom>
              <a:solidFill>
                <a:srgbClr val="6DC2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51" name="Rectangle 16"/>
              <p:cNvSpPr>
                <a:spLocks noChangeArrowheads="1"/>
              </p:cNvSpPr>
              <p:nvPr/>
            </p:nvSpPr>
            <p:spPr bwMode="auto">
              <a:xfrm>
                <a:off x="11725275" y="5540945"/>
                <a:ext cx="58737" cy="100012"/>
              </a:xfrm>
              <a:prstGeom prst="rect">
                <a:avLst/>
              </a:prstGeom>
              <a:solidFill>
                <a:srgbClr val="6DC2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52" name="Rectangle 17"/>
              <p:cNvSpPr>
                <a:spLocks noChangeArrowheads="1"/>
              </p:cNvSpPr>
              <p:nvPr/>
            </p:nvSpPr>
            <p:spPr bwMode="auto">
              <a:xfrm>
                <a:off x="11860213" y="5540945"/>
                <a:ext cx="60325" cy="100012"/>
              </a:xfrm>
              <a:prstGeom prst="rect">
                <a:avLst/>
              </a:prstGeom>
              <a:solidFill>
                <a:srgbClr val="6DC2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53" name="Rectangle 18"/>
              <p:cNvSpPr>
                <a:spLocks noChangeArrowheads="1"/>
              </p:cNvSpPr>
              <p:nvPr/>
            </p:nvSpPr>
            <p:spPr bwMode="auto">
              <a:xfrm>
                <a:off x="11996738" y="5540945"/>
                <a:ext cx="58737" cy="100012"/>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54" name="Rectangle 19"/>
              <p:cNvSpPr>
                <a:spLocks noChangeArrowheads="1"/>
              </p:cNvSpPr>
              <p:nvPr/>
            </p:nvSpPr>
            <p:spPr bwMode="auto">
              <a:xfrm>
                <a:off x="11588750" y="5739383"/>
                <a:ext cx="60325" cy="100012"/>
              </a:xfrm>
              <a:prstGeom prst="rect">
                <a:avLst/>
              </a:prstGeom>
              <a:solidFill>
                <a:srgbClr val="6DC2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55" name="Rectangle 20"/>
              <p:cNvSpPr>
                <a:spLocks noChangeArrowheads="1"/>
              </p:cNvSpPr>
              <p:nvPr/>
            </p:nvSpPr>
            <p:spPr bwMode="auto">
              <a:xfrm>
                <a:off x="11725275" y="5739383"/>
                <a:ext cx="58737" cy="100012"/>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2" name="Rectangle 21"/>
              <p:cNvSpPr>
                <a:spLocks noChangeArrowheads="1"/>
              </p:cNvSpPr>
              <p:nvPr/>
            </p:nvSpPr>
            <p:spPr bwMode="auto">
              <a:xfrm>
                <a:off x="11860213" y="5739383"/>
                <a:ext cx="60325" cy="100012"/>
              </a:xfrm>
              <a:prstGeom prst="rect">
                <a:avLst/>
              </a:prstGeom>
              <a:solidFill>
                <a:srgbClr val="6DC2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3" name="Rectangle 22"/>
              <p:cNvSpPr>
                <a:spLocks noChangeArrowheads="1"/>
              </p:cNvSpPr>
              <p:nvPr/>
            </p:nvSpPr>
            <p:spPr bwMode="auto">
              <a:xfrm>
                <a:off x="11996738" y="5739383"/>
                <a:ext cx="58737" cy="100012"/>
              </a:xfrm>
              <a:prstGeom prst="rect">
                <a:avLst/>
              </a:prstGeom>
              <a:solidFill>
                <a:srgbClr val="6DC2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4" name="Rectangle 23"/>
              <p:cNvSpPr>
                <a:spLocks noChangeArrowheads="1"/>
              </p:cNvSpPr>
              <p:nvPr/>
            </p:nvSpPr>
            <p:spPr bwMode="auto">
              <a:xfrm>
                <a:off x="11588750" y="5939408"/>
                <a:ext cx="60325" cy="100012"/>
              </a:xfrm>
              <a:prstGeom prst="rect">
                <a:avLst/>
              </a:prstGeom>
              <a:solidFill>
                <a:srgbClr val="6DC2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5" name="Rectangle 24"/>
              <p:cNvSpPr>
                <a:spLocks noChangeArrowheads="1"/>
              </p:cNvSpPr>
              <p:nvPr/>
            </p:nvSpPr>
            <p:spPr bwMode="auto">
              <a:xfrm>
                <a:off x="11725275" y="5939408"/>
                <a:ext cx="58737" cy="100012"/>
              </a:xfrm>
              <a:prstGeom prst="rect">
                <a:avLst/>
              </a:prstGeom>
              <a:solidFill>
                <a:srgbClr val="6DC2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6" name="Rectangle 25"/>
              <p:cNvSpPr>
                <a:spLocks noChangeArrowheads="1"/>
              </p:cNvSpPr>
              <p:nvPr/>
            </p:nvSpPr>
            <p:spPr bwMode="auto">
              <a:xfrm>
                <a:off x="11860213" y="5939408"/>
                <a:ext cx="60325" cy="100012"/>
              </a:xfrm>
              <a:prstGeom prst="rect">
                <a:avLst/>
              </a:prstGeom>
              <a:solidFill>
                <a:srgbClr val="6DC2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7" name="Rectangle 26"/>
              <p:cNvSpPr>
                <a:spLocks noChangeArrowheads="1"/>
              </p:cNvSpPr>
              <p:nvPr/>
            </p:nvSpPr>
            <p:spPr bwMode="auto">
              <a:xfrm>
                <a:off x="11996738" y="5939408"/>
                <a:ext cx="58737" cy="100012"/>
              </a:xfrm>
              <a:prstGeom prst="rect">
                <a:avLst/>
              </a:prstGeom>
              <a:solidFill>
                <a:srgbClr val="6DC2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8" name="Rectangle 27"/>
              <p:cNvSpPr>
                <a:spLocks noChangeArrowheads="1"/>
              </p:cNvSpPr>
              <p:nvPr/>
            </p:nvSpPr>
            <p:spPr bwMode="auto">
              <a:xfrm>
                <a:off x="11588750" y="6137845"/>
                <a:ext cx="60325" cy="100012"/>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9" name="Rectangle 28"/>
              <p:cNvSpPr>
                <a:spLocks noChangeArrowheads="1"/>
              </p:cNvSpPr>
              <p:nvPr/>
            </p:nvSpPr>
            <p:spPr bwMode="auto">
              <a:xfrm>
                <a:off x="11725275" y="6137845"/>
                <a:ext cx="58737" cy="100012"/>
              </a:xfrm>
              <a:prstGeom prst="rect">
                <a:avLst/>
              </a:prstGeom>
              <a:solidFill>
                <a:srgbClr val="6DC2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0" name="Rectangle 29"/>
              <p:cNvSpPr>
                <a:spLocks noChangeArrowheads="1"/>
              </p:cNvSpPr>
              <p:nvPr/>
            </p:nvSpPr>
            <p:spPr bwMode="auto">
              <a:xfrm>
                <a:off x="11860213" y="6137845"/>
                <a:ext cx="60325" cy="100012"/>
              </a:xfrm>
              <a:prstGeom prst="rect">
                <a:avLst/>
              </a:prstGeom>
              <a:solidFill>
                <a:srgbClr val="6DC2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1" name="Rectangle 30"/>
              <p:cNvSpPr>
                <a:spLocks noChangeArrowheads="1"/>
              </p:cNvSpPr>
              <p:nvPr/>
            </p:nvSpPr>
            <p:spPr bwMode="auto">
              <a:xfrm>
                <a:off x="11996738" y="6137845"/>
                <a:ext cx="58737" cy="100012"/>
              </a:xfrm>
              <a:prstGeom prst="rect">
                <a:avLst/>
              </a:prstGeom>
              <a:solidFill>
                <a:srgbClr val="6DC2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2" name="Rectangle 31"/>
              <p:cNvSpPr>
                <a:spLocks noChangeArrowheads="1"/>
              </p:cNvSpPr>
              <p:nvPr/>
            </p:nvSpPr>
            <p:spPr bwMode="auto">
              <a:xfrm>
                <a:off x="11588750" y="6337870"/>
                <a:ext cx="60325" cy="100012"/>
              </a:xfrm>
              <a:prstGeom prst="rect">
                <a:avLst/>
              </a:prstGeom>
              <a:solidFill>
                <a:srgbClr val="6DC2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3" name="Rectangle 32"/>
              <p:cNvSpPr>
                <a:spLocks noChangeArrowheads="1"/>
              </p:cNvSpPr>
              <p:nvPr/>
            </p:nvSpPr>
            <p:spPr bwMode="auto">
              <a:xfrm>
                <a:off x="11725275" y="6337870"/>
                <a:ext cx="58737" cy="100012"/>
              </a:xfrm>
              <a:prstGeom prst="rect">
                <a:avLst/>
              </a:prstGeom>
              <a:solidFill>
                <a:srgbClr val="6DC2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4" name="Rectangle 33"/>
              <p:cNvSpPr>
                <a:spLocks noChangeArrowheads="1"/>
              </p:cNvSpPr>
              <p:nvPr/>
            </p:nvSpPr>
            <p:spPr bwMode="auto">
              <a:xfrm>
                <a:off x="11860213" y="6337870"/>
                <a:ext cx="60325" cy="100012"/>
              </a:xfrm>
              <a:prstGeom prst="rect">
                <a:avLst/>
              </a:prstGeom>
              <a:solidFill>
                <a:srgbClr val="6DC2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5" name="Rectangle 34"/>
              <p:cNvSpPr>
                <a:spLocks noChangeArrowheads="1"/>
              </p:cNvSpPr>
              <p:nvPr/>
            </p:nvSpPr>
            <p:spPr bwMode="auto">
              <a:xfrm>
                <a:off x="11996738" y="6337870"/>
                <a:ext cx="58737" cy="100012"/>
              </a:xfrm>
              <a:prstGeom prst="rect">
                <a:avLst/>
              </a:prstGeom>
              <a:solidFill>
                <a:srgbClr val="6DC2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6" name="Rectangle 35"/>
              <p:cNvSpPr>
                <a:spLocks noChangeArrowheads="1"/>
              </p:cNvSpPr>
              <p:nvPr/>
            </p:nvSpPr>
            <p:spPr bwMode="auto">
              <a:xfrm>
                <a:off x="11588750" y="6536308"/>
                <a:ext cx="60325" cy="100012"/>
              </a:xfrm>
              <a:prstGeom prst="rect">
                <a:avLst/>
              </a:prstGeom>
              <a:solidFill>
                <a:srgbClr val="6DC2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7" name="Rectangle 36"/>
              <p:cNvSpPr>
                <a:spLocks noChangeArrowheads="1"/>
              </p:cNvSpPr>
              <p:nvPr/>
            </p:nvSpPr>
            <p:spPr bwMode="auto">
              <a:xfrm>
                <a:off x="11725275" y="6536308"/>
                <a:ext cx="58737" cy="100012"/>
              </a:xfrm>
              <a:prstGeom prst="rect">
                <a:avLst/>
              </a:prstGeom>
              <a:solidFill>
                <a:srgbClr val="6DC2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5" name="Rectangle 37"/>
              <p:cNvSpPr>
                <a:spLocks noChangeArrowheads="1"/>
              </p:cNvSpPr>
              <p:nvPr/>
            </p:nvSpPr>
            <p:spPr bwMode="auto">
              <a:xfrm>
                <a:off x="11860213" y="6536308"/>
                <a:ext cx="60325" cy="100012"/>
              </a:xfrm>
              <a:prstGeom prst="rect">
                <a:avLst/>
              </a:prstGeom>
              <a:solidFill>
                <a:srgbClr val="6DC2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6" name="Rectangle 38"/>
              <p:cNvSpPr>
                <a:spLocks noChangeArrowheads="1"/>
              </p:cNvSpPr>
              <p:nvPr/>
            </p:nvSpPr>
            <p:spPr bwMode="auto">
              <a:xfrm>
                <a:off x="11996738" y="6536308"/>
                <a:ext cx="58737" cy="100012"/>
              </a:xfrm>
              <a:prstGeom prst="rect">
                <a:avLst/>
              </a:prstGeom>
              <a:solidFill>
                <a:srgbClr val="6DC2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sp>
        <p:nvSpPr>
          <p:cNvPr id="2" name="Title 1"/>
          <p:cNvSpPr>
            <a:spLocks noGrp="1"/>
          </p:cNvSpPr>
          <p:nvPr>
            <p:ph type="title"/>
          </p:nvPr>
        </p:nvSpPr>
        <p:spPr/>
        <p:txBody>
          <a:bodyPr/>
          <a:lstStyle/>
          <a:p>
            <a:r>
              <a:rPr lang="en-US" dirty="0"/>
              <a:t>ADL Store: ingress</a:t>
            </a:r>
            <a:br>
              <a:rPr lang="en-US" dirty="0"/>
            </a:br>
            <a:r>
              <a:rPr lang="en-US" dirty="0"/>
              <a:t>and egress </a:t>
            </a:r>
          </a:p>
        </p:txBody>
      </p:sp>
      <p:grpSp>
        <p:nvGrpSpPr>
          <p:cNvPr id="170" name="Group 169"/>
          <p:cNvGrpSpPr/>
          <p:nvPr/>
        </p:nvGrpSpPr>
        <p:grpSpPr>
          <a:xfrm flipH="1">
            <a:off x="2439861" y="6365342"/>
            <a:ext cx="907272" cy="492658"/>
            <a:chOff x="3887788" y="2138363"/>
            <a:chExt cx="2362199" cy="1282700"/>
          </a:xfrm>
        </p:grpSpPr>
        <p:sp>
          <p:nvSpPr>
            <p:cNvPr id="171" name="Rectangle 5"/>
            <p:cNvSpPr>
              <a:spLocks noChangeArrowheads="1"/>
            </p:cNvSpPr>
            <p:nvPr/>
          </p:nvSpPr>
          <p:spPr bwMode="auto">
            <a:xfrm>
              <a:off x="4078288" y="2825750"/>
              <a:ext cx="1971675" cy="373063"/>
            </a:xfrm>
            <a:prstGeom prst="rect">
              <a:avLst/>
            </a:prstGeom>
            <a:solidFill>
              <a:srgbClr val="26272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172" name="Freeform 6"/>
            <p:cNvSpPr>
              <a:spLocks/>
            </p:cNvSpPr>
            <p:nvPr/>
          </p:nvSpPr>
          <p:spPr bwMode="auto">
            <a:xfrm>
              <a:off x="3887788" y="2284413"/>
              <a:ext cx="2316162" cy="914400"/>
            </a:xfrm>
            <a:custGeom>
              <a:avLst/>
              <a:gdLst>
                <a:gd name="T0" fmla="*/ 446 w 511"/>
                <a:gd name="T1" fmla="*/ 0 h 201"/>
                <a:gd name="T2" fmla="*/ 245 w 511"/>
                <a:gd name="T3" fmla="*/ 0 h 201"/>
                <a:gd name="T4" fmla="*/ 169 w 511"/>
                <a:gd name="T5" fmla="*/ 81 h 201"/>
                <a:gd name="T6" fmla="*/ 12 w 511"/>
                <a:gd name="T7" fmla="*/ 120 h 201"/>
                <a:gd name="T8" fmla="*/ 12 w 511"/>
                <a:gd name="T9" fmla="*/ 201 h 201"/>
                <a:gd name="T10" fmla="*/ 50 w 511"/>
                <a:gd name="T11" fmla="*/ 201 h 201"/>
                <a:gd name="T12" fmla="*/ 108 w 511"/>
                <a:gd name="T13" fmla="*/ 143 h 201"/>
                <a:gd name="T14" fmla="*/ 165 w 511"/>
                <a:gd name="T15" fmla="*/ 201 h 201"/>
                <a:gd name="T16" fmla="*/ 348 w 511"/>
                <a:gd name="T17" fmla="*/ 201 h 201"/>
                <a:gd name="T18" fmla="*/ 406 w 511"/>
                <a:gd name="T19" fmla="*/ 143 h 201"/>
                <a:gd name="T20" fmla="*/ 463 w 511"/>
                <a:gd name="T21" fmla="*/ 201 h 201"/>
                <a:gd name="T22" fmla="*/ 511 w 511"/>
                <a:gd name="T23" fmla="*/ 201 h 201"/>
                <a:gd name="T24" fmla="*/ 511 w 511"/>
                <a:gd name="T25" fmla="*/ 174 h 201"/>
                <a:gd name="T26" fmla="*/ 446 w 511"/>
                <a:gd name="T27" fmla="*/ 0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11" h="201">
                  <a:moveTo>
                    <a:pt x="446" y="0"/>
                  </a:moveTo>
                  <a:cubicBezTo>
                    <a:pt x="245" y="0"/>
                    <a:pt x="245" y="0"/>
                    <a:pt x="245" y="0"/>
                  </a:cubicBezTo>
                  <a:cubicBezTo>
                    <a:pt x="232" y="0"/>
                    <a:pt x="190" y="35"/>
                    <a:pt x="169" y="81"/>
                  </a:cubicBezTo>
                  <a:cubicBezTo>
                    <a:pt x="135" y="84"/>
                    <a:pt x="45" y="94"/>
                    <a:pt x="12" y="120"/>
                  </a:cubicBezTo>
                  <a:cubicBezTo>
                    <a:pt x="0" y="164"/>
                    <a:pt x="12" y="201"/>
                    <a:pt x="12" y="201"/>
                  </a:cubicBezTo>
                  <a:cubicBezTo>
                    <a:pt x="50" y="201"/>
                    <a:pt x="50" y="201"/>
                    <a:pt x="50" y="201"/>
                  </a:cubicBezTo>
                  <a:cubicBezTo>
                    <a:pt x="50" y="169"/>
                    <a:pt x="76" y="143"/>
                    <a:pt x="108" y="143"/>
                  </a:cubicBezTo>
                  <a:cubicBezTo>
                    <a:pt x="139" y="143"/>
                    <a:pt x="165" y="169"/>
                    <a:pt x="165" y="201"/>
                  </a:cubicBezTo>
                  <a:cubicBezTo>
                    <a:pt x="348" y="201"/>
                    <a:pt x="348" y="201"/>
                    <a:pt x="348" y="201"/>
                  </a:cubicBezTo>
                  <a:cubicBezTo>
                    <a:pt x="348" y="169"/>
                    <a:pt x="374" y="143"/>
                    <a:pt x="406" y="143"/>
                  </a:cubicBezTo>
                  <a:cubicBezTo>
                    <a:pt x="438" y="143"/>
                    <a:pt x="463" y="169"/>
                    <a:pt x="463" y="201"/>
                  </a:cubicBezTo>
                  <a:cubicBezTo>
                    <a:pt x="511" y="201"/>
                    <a:pt x="511" y="201"/>
                    <a:pt x="511" y="201"/>
                  </a:cubicBezTo>
                  <a:cubicBezTo>
                    <a:pt x="511" y="192"/>
                    <a:pt x="511" y="183"/>
                    <a:pt x="511" y="174"/>
                  </a:cubicBezTo>
                  <a:cubicBezTo>
                    <a:pt x="508" y="87"/>
                    <a:pt x="477" y="0"/>
                    <a:pt x="446" y="0"/>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173" name="Oval 7"/>
            <p:cNvSpPr>
              <a:spLocks noChangeArrowheads="1"/>
            </p:cNvSpPr>
            <p:nvPr/>
          </p:nvSpPr>
          <p:spPr bwMode="auto">
            <a:xfrm>
              <a:off x="4146550" y="2970213"/>
              <a:ext cx="449262" cy="450850"/>
            </a:xfrm>
            <a:prstGeom prst="ellipse">
              <a:avLst/>
            </a:prstGeom>
            <a:solidFill>
              <a:srgbClr val="2627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174" name="Oval 8"/>
            <p:cNvSpPr>
              <a:spLocks noChangeArrowheads="1"/>
            </p:cNvSpPr>
            <p:nvPr/>
          </p:nvSpPr>
          <p:spPr bwMode="auto">
            <a:xfrm>
              <a:off x="4227513" y="3052763"/>
              <a:ext cx="285750" cy="287338"/>
            </a:xfrm>
            <a:prstGeom prst="ellipse">
              <a:avLst/>
            </a:prstGeom>
            <a:solidFill>
              <a:srgbClr val="BABCB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175" name="Oval 9"/>
            <p:cNvSpPr>
              <a:spLocks noChangeArrowheads="1"/>
            </p:cNvSpPr>
            <p:nvPr/>
          </p:nvSpPr>
          <p:spPr bwMode="auto">
            <a:xfrm>
              <a:off x="4337050" y="3074988"/>
              <a:ext cx="71437" cy="73025"/>
            </a:xfrm>
            <a:prstGeom prst="ellipse">
              <a:avLst/>
            </a:prstGeom>
            <a:solidFill>
              <a:srgbClr val="2627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176" name="Oval 10"/>
            <p:cNvSpPr>
              <a:spLocks noChangeArrowheads="1"/>
            </p:cNvSpPr>
            <p:nvPr/>
          </p:nvSpPr>
          <p:spPr bwMode="auto">
            <a:xfrm>
              <a:off x="4337050" y="3243263"/>
              <a:ext cx="71437" cy="73025"/>
            </a:xfrm>
            <a:prstGeom prst="ellipse">
              <a:avLst/>
            </a:prstGeom>
            <a:solidFill>
              <a:srgbClr val="2627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177" name="Freeform 11"/>
            <p:cNvSpPr>
              <a:spLocks/>
            </p:cNvSpPr>
            <p:nvPr/>
          </p:nvSpPr>
          <p:spPr bwMode="auto">
            <a:xfrm>
              <a:off x="4254500" y="3116263"/>
              <a:ext cx="82550" cy="82550"/>
            </a:xfrm>
            <a:custGeom>
              <a:avLst/>
              <a:gdLst>
                <a:gd name="T0" fmla="*/ 13 w 18"/>
                <a:gd name="T1" fmla="*/ 2 h 18"/>
                <a:gd name="T2" fmla="*/ 16 w 18"/>
                <a:gd name="T3" fmla="*/ 13 h 18"/>
                <a:gd name="T4" fmla="*/ 6 w 18"/>
                <a:gd name="T5" fmla="*/ 16 h 18"/>
                <a:gd name="T6" fmla="*/ 2 w 18"/>
                <a:gd name="T7" fmla="*/ 5 h 18"/>
                <a:gd name="T8" fmla="*/ 13 w 18"/>
                <a:gd name="T9" fmla="*/ 2 h 18"/>
              </a:gdLst>
              <a:ahLst/>
              <a:cxnLst>
                <a:cxn ang="0">
                  <a:pos x="T0" y="T1"/>
                </a:cxn>
                <a:cxn ang="0">
                  <a:pos x="T2" y="T3"/>
                </a:cxn>
                <a:cxn ang="0">
                  <a:pos x="T4" y="T5"/>
                </a:cxn>
                <a:cxn ang="0">
                  <a:pos x="T6" y="T7"/>
                </a:cxn>
                <a:cxn ang="0">
                  <a:pos x="T8" y="T9"/>
                </a:cxn>
              </a:cxnLst>
              <a:rect l="0" t="0" r="r" b="b"/>
              <a:pathLst>
                <a:path w="18" h="18">
                  <a:moveTo>
                    <a:pt x="13" y="2"/>
                  </a:moveTo>
                  <a:cubicBezTo>
                    <a:pt x="17" y="4"/>
                    <a:pt x="18" y="9"/>
                    <a:pt x="16" y="13"/>
                  </a:cubicBezTo>
                  <a:cubicBezTo>
                    <a:pt x="14" y="16"/>
                    <a:pt x="9" y="18"/>
                    <a:pt x="6" y="16"/>
                  </a:cubicBezTo>
                  <a:cubicBezTo>
                    <a:pt x="2" y="14"/>
                    <a:pt x="0" y="9"/>
                    <a:pt x="2" y="5"/>
                  </a:cubicBezTo>
                  <a:cubicBezTo>
                    <a:pt x="4" y="1"/>
                    <a:pt x="9" y="0"/>
                    <a:pt x="13" y="2"/>
                  </a:cubicBezTo>
                  <a:close/>
                </a:path>
              </a:pathLst>
            </a:custGeom>
            <a:solidFill>
              <a:srgbClr val="2627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178" name="Freeform 12"/>
            <p:cNvSpPr>
              <a:spLocks/>
            </p:cNvSpPr>
            <p:nvPr/>
          </p:nvSpPr>
          <p:spPr bwMode="auto">
            <a:xfrm>
              <a:off x="4405313" y="3194050"/>
              <a:ext cx="80962" cy="80963"/>
            </a:xfrm>
            <a:custGeom>
              <a:avLst/>
              <a:gdLst>
                <a:gd name="T0" fmla="*/ 5 w 18"/>
                <a:gd name="T1" fmla="*/ 16 h 18"/>
                <a:gd name="T2" fmla="*/ 2 w 18"/>
                <a:gd name="T3" fmla="*/ 6 h 18"/>
                <a:gd name="T4" fmla="*/ 13 w 18"/>
                <a:gd name="T5" fmla="*/ 2 h 18"/>
                <a:gd name="T6" fmla="*/ 16 w 18"/>
                <a:gd name="T7" fmla="*/ 13 h 18"/>
                <a:gd name="T8" fmla="*/ 5 w 18"/>
                <a:gd name="T9" fmla="*/ 16 h 18"/>
              </a:gdLst>
              <a:ahLst/>
              <a:cxnLst>
                <a:cxn ang="0">
                  <a:pos x="T0" y="T1"/>
                </a:cxn>
                <a:cxn ang="0">
                  <a:pos x="T2" y="T3"/>
                </a:cxn>
                <a:cxn ang="0">
                  <a:pos x="T4" y="T5"/>
                </a:cxn>
                <a:cxn ang="0">
                  <a:pos x="T6" y="T7"/>
                </a:cxn>
                <a:cxn ang="0">
                  <a:pos x="T8" y="T9"/>
                </a:cxn>
              </a:cxnLst>
              <a:rect l="0" t="0" r="r" b="b"/>
              <a:pathLst>
                <a:path w="18" h="18">
                  <a:moveTo>
                    <a:pt x="5" y="16"/>
                  </a:moveTo>
                  <a:cubicBezTo>
                    <a:pt x="2" y="14"/>
                    <a:pt x="0" y="9"/>
                    <a:pt x="2" y="6"/>
                  </a:cubicBezTo>
                  <a:cubicBezTo>
                    <a:pt x="4" y="2"/>
                    <a:pt x="9" y="0"/>
                    <a:pt x="13" y="2"/>
                  </a:cubicBezTo>
                  <a:cubicBezTo>
                    <a:pt x="17" y="4"/>
                    <a:pt x="18" y="9"/>
                    <a:pt x="16" y="13"/>
                  </a:cubicBezTo>
                  <a:cubicBezTo>
                    <a:pt x="14" y="17"/>
                    <a:pt x="9" y="18"/>
                    <a:pt x="5" y="16"/>
                  </a:cubicBezTo>
                  <a:close/>
                </a:path>
              </a:pathLst>
            </a:custGeom>
            <a:solidFill>
              <a:srgbClr val="2627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179" name="Freeform 13"/>
            <p:cNvSpPr>
              <a:spLocks/>
            </p:cNvSpPr>
            <p:nvPr/>
          </p:nvSpPr>
          <p:spPr bwMode="auto">
            <a:xfrm>
              <a:off x="4259263" y="3198813"/>
              <a:ext cx="82550" cy="80963"/>
            </a:xfrm>
            <a:custGeom>
              <a:avLst/>
              <a:gdLst>
                <a:gd name="T0" fmla="*/ 5 w 18"/>
                <a:gd name="T1" fmla="*/ 2 h 18"/>
                <a:gd name="T2" fmla="*/ 16 w 18"/>
                <a:gd name="T3" fmla="*/ 5 h 18"/>
                <a:gd name="T4" fmla="*/ 13 w 18"/>
                <a:gd name="T5" fmla="*/ 16 h 18"/>
                <a:gd name="T6" fmla="*/ 2 w 18"/>
                <a:gd name="T7" fmla="*/ 13 h 18"/>
                <a:gd name="T8" fmla="*/ 5 w 18"/>
                <a:gd name="T9" fmla="*/ 2 h 18"/>
              </a:gdLst>
              <a:ahLst/>
              <a:cxnLst>
                <a:cxn ang="0">
                  <a:pos x="T0" y="T1"/>
                </a:cxn>
                <a:cxn ang="0">
                  <a:pos x="T2" y="T3"/>
                </a:cxn>
                <a:cxn ang="0">
                  <a:pos x="T4" y="T5"/>
                </a:cxn>
                <a:cxn ang="0">
                  <a:pos x="T6" y="T7"/>
                </a:cxn>
                <a:cxn ang="0">
                  <a:pos x="T8" y="T9"/>
                </a:cxn>
              </a:cxnLst>
              <a:rect l="0" t="0" r="r" b="b"/>
              <a:pathLst>
                <a:path w="18" h="18">
                  <a:moveTo>
                    <a:pt x="5" y="2"/>
                  </a:moveTo>
                  <a:cubicBezTo>
                    <a:pt x="8" y="0"/>
                    <a:pt x="13" y="1"/>
                    <a:pt x="16" y="5"/>
                  </a:cubicBezTo>
                  <a:cubicBezTo>
                    <a:pt x="18" y="9"/>
                    <a:pt x="17" y="14"/>
                    <a:pt x="13" y="16"/>
                  </a:cubicBezTo>
                  <a:cubicBezTo>
                    <a:pt x="9" y="18"/>
                    <a:pt x="4" y="17"/>
                    <a:pt x="2" y="13"/>
                  </a:cubicBezTo>
                  <a:cubicBezTo>
                    <a:pt x="0" y="9"/>
                    <a:pt x="1" y="5"/>
                    <a:pt x="5" y="2"/>
                  </a:cubicBezTo>
                  <a:close/>
                </a:path>
              </a:pathLst>
            </a:custGeom>
            <a:solidFill>
              <a:srgbClr val="2627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180" name="Freeform 14"/>
            <p:cNvSpPr>
              <a:spLocks/>
            </p:cNvSpPr>
            <p:nvPr/>
          </p:nvSpPr>
          <p:spPr bwMode="auto">
            <a:xfrm>
              <a:off x="4405313" y="3111500"/>
              <a:ext cx="80962" cy="82550"/>
            </a:xfrm>
            <a:custGeom>
              <a:avLst/>
              <a:gdLst>
                <a:gd name="T0" fmla="*/ 13 w 18"/>
                <a:gd name="T1" fmla="*/ 16 h 18"/>
                <a:gd name="T2" fmla="*/ 2 w 18"/>
                <a:gd name="T3" fmla="*/ 13 h 18"/>
                <a:gd name="T4" fmla="*/ 5 w 18"/>
                <a:gd name="T5" fmla="*/ 2 h 18"/>
                <a:gd name="T6" fmla="*/ 15 w 18"/>
                <a:gd name="T7" fmla="*/ 5 h 18"/>
                <a:gd name="T8" fmla="*/ 13 w 18"/>
                <a:gd name="T9" fmla="*/ 16 h 18"/>
              </a:gdLst>
              <a:ahLst/>
              <a:cxnLst>
                <a:cxn ang="0">
                  <a:pos x="T0" y="T1"/>
                </a:cxn>
                <a:cxn ang="0">
                  <a:pos x="T2" y="T3"/>
                </a:cxn>
                <a:cxn ang="0">
                  <a:pos x="T4" y="T5"/>
                </a:cxn>
                <a:cxn ang="0">
                  <a:pos x="T6" y="T7"/>
                </a:cxn>
                <a:cxn ang="0">
                  <a:pos x="T8" y="T9"/>
                </a:cxn>
              </a:cxnLst>
              <a:rect l="0" t="0" r="r" b="b"/>
              <a:pathLst>
                <a:path w="18" h="18">
                  <a:moveTo>
                    <a:pt x="13" y="16"/>
                  </a:moveTo>
                  <a:cubicBezTo>
                    <a:pt x="9" y="18"/>
                    <a:pt x="4" y="17"/>
                    <a:pt x="2" y="13"/>
                  </a:cubicBezTo>
                  <a:cubicBezTo>
                    <a:pt x="0" y="9"/>
                    <a:pt x="1" y="4"/>
                    <a:pt x="5" y="2"/>
                  </a:cubicBezTo>
                  <a:cubicBezTo>
                    <a:pt x="8" y="0"/>
                    <a:pt x="13" y="1"/>
                    <a:pt x="15" y="5"/>
                  </a:cubicBezTo>
                  <a:cubicBezTo>
                    <a:pt x="18" y="9"/>
                    <a:pt x="16" y="14"/>
                    <a:pt x="13" y="16"/>
                  </a:cubicBezTo>
                  <a:close/>
                </a:path>
              </a:pathLst>
            </a:custGeom>
            <a:solidFill>
              <a:srgbClr val="2627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181" name="Oval 15"/>
            <p:cNvSpPr>
              <a:spLocks noChangeArrowheads="1"/>
            </p:cNvSpPr>
            <p:nvPr/>
          </p:nvSpPr>
          <p:spPr bwMode="auto">
            <a:xfrm>
              <a:off x="4337050" y="3162300"/>
              <a:ext cx="71437" cy="68263"/>
            </a:xfrm>
            <a:prstGeom prst="ellipse">
              <a:avLst/>
            </a:prstGeom>
            <a:solidFill>
              <a:srgbClr val="DFDF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182" name="Oval 16"/>
            <p:cNvSpPr>
              <a:spLocks noChangeArrowheads="1"/>
            </p:cNvSpPr>
            <p:nvPr/>
          </p:nvSpPr>
          <p:spPr bwMode="auto">
            <a:xfrm>
              <a:off x="5502275" y="2970213"/>
              <a:ext cx="447675" cy="450850"/>
            </a:xfrm>
            <a:prstGeom prst="ellipse">
              <a:avLst/>
            </a:prstGeom>
            <a:solidFill>
              <a:srgbClr val="2627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183" name="Oval 17"/>
            <p:cNvSpPr>
              <a:spLocks noChangeArrowheads="1"/>
            </p:cNvSpPr>
            <p:nvPr/>
          </p:nvSpPr>
          <p:spPr bwMode="auto">
            <a:xfrm>
              <a:off x="5583238" y="3052763"/>
              <a:ext cx="285750" cy="287338"/>
            </a:xfrm>
            <a:prstGeom prst="ellipse">
              <a:avLst/>
            </a:prstGeom>
            <a:solidFill>
              <a:srgbClr val="BABCB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184" name="Oval 18"/>
            <p:cNvSpPr>
              <a:spLocks noChangeArrowheads="1"/>
            </p:cNvSpPr>
            <p:nvPr/>
          </p:nvSpPr>
          <p:spPr bwMode="auto">
            <a:xfrm>
              <a:off x="5688013" y="3074988"/>
              <a:ext cx="71437" cy="73025"/>
            </a:xfrm>
            <a:prstGeom prst="ellipse">
              <a:avLst/>
            </a:prstGeom>
            <a:solidFill>
              <a:srgbClr val="2627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185" name="Oval 19"/>
            <p:cNvSpPr>
              <a:spLocks noChangeArrowheads="1"/>
            </p:cNvSpPr>
            <p:nvPr/>
          </p:nvSpPr>
          <p:spPr bwMode="auto">
            <a:xfrm>
              <a:off x="5688013" y="3243263"/>
              <a:ext cx="71437" cy="73025"/>
            </a:xfrm>
            <a:prstGeom prst="ellipse">
              <a:avLst/>
            </a:prstGeom>
            <a:solidFill>
              <a:srgbClr val="2627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186" name="Freeform 20"/>
            <p:cNvSpPr>
              <a:spLocks/>
            </p:cNvSpPr>
            <p:nvPr/>
          </p:nvSpPr>
          <p:spPr bwMode="auto">
            <a:xfrm>
              <a:off x="5610225" y="3116263"/>
              <a:ext cx="82550" cy="82550"/>
            </a:xfrm>
            <a:custGeom>
              <a:avLst/>
              <a:gdLst>
                <a:gd name="T0" fmla="*/ 12 w 18"/>
                <a:gd name="T1" fmla="*/ 2 h 18"/>
                <a:gd name="T2" fmla="*/ 16 w 18"/>
                <a:gd name="T3" fmla="*/ 13 h 18"/>
                <a:gd name="T4" fmla="*/ 5 w 18"/>
                <a:gd name="T5" fmla="*/ 16 h 18"/>
                <a:gd name="T6" fmla="*/ 2 w 18"/>
                <a:gd name="T7" fmla="*/ 5 h 18"/>
                <a:gd name="T8" fmla="*/ 12 w 18"/>
                <a:gd name="T9" fmla="*/ 2 h 18"/>
              </a:gdLst>
              <a:ahLst/>
              <a:cxnLst>
                <a:cxn ang="0">
                  <a:pos x="T0" y="T1"/>
                </a:cxn>
                <a:cxn ang="0">
                  <a:pos x="T2" y="T3"/>
                </a:cxn>
                <a:cxn ang="0">
                  <a:pos x="T4" y="T5"/>
                </a:cxn>
                <a:cxn ang="0">
                  <a:pos x="T6" y="T7"/>
                </a:cxn>
                <a:cxn ang="0">
                  <a:pos x="T8" y="T9"/>
                </a:cxn>
              </a:cxnLst>
              <a:rect l="0" t="0" r="r" b="b"/>
              <a:pathLst>
                <a:path w="18" h="18">
                  <a:moveTo>
                    <a:pt x="12" y="2"/>
                  </a:moveTo>
                  <a:cubicBezTo>
                    <a:pt x="16" y="4"/>
                    <a:pt x="18" y="9"/>
                    <a:pt x="16" y="13"/>
                  </a:cubicBezTo>
                  <a:cubicBezTo>
                    <a:pt x="14" y="16"/>
                    <a:pt x="9" y="18"/>
                    <a:pt x="5" y="16"/>
                  </a:cubicBezTo>
                  <a:cubicBezTo>
                    <a:pt x="1" y="14"/>
                    <a:pt x="0" y="9"/>
                    <a:pt x="2" y="5"/>
                  </a:cubicBezTo>
                  <a:cubicBezTo>
                    <a:pt x="4" y="1"/>
                    <a:pt x="9" y="0"/>
                    <a:pt x="12" y="2"/>
                  </a:cubicBezTo>
                  <a:close/>
                </a:path>
              </a:pathLst>
            </a:custGeom>
            <a:solidFill>
              <a:srgbClr val="2627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187" name="Freeform 21"/>
            <p:cNvSpPr>
              <a:spLocks/>
            </p:cNvSpPr>
            <p:nvPr/>
          </p:nvSpPr>
          <p:spPr bwMode="auto">
            <a:xfrm>
              <a:off x="5759450" y="3194050"/>
              <a:ext cx="82550" cy="80963"/>
            </a:xfrm>
            <a:custGeom>
              <a:avLst/>
              <a:gdLst>
                <a:gd name="T0" fmla="*/ 5 w 18"/>
                <a:gd name="T1" fmla="*/ 16 h 18"/>
                <a:gd name="T2" fmla="*/ 2 w 18"/>
                <a:gd name="T3" fmla="*/ 6 h 18"/>
                <a:gd name="T4" fmla="*/ 12 w 18"/>
                <a:gd name="T5" fmla="*/ 2 h 18"/>
                <a:gd name="T6" fmla="*/ 16 w 18"/>
                <a:gd name="T7" fmla="*/ 13 h 18"/>
                <a:gd name="T8" fmla="*/ 5 w 18"/>
                <a:gd name="T9" fmla="*/ 16 h 18"/>
              </a:gdLst>
              <a:ahLst/>
              <a:cxnLst>
                <a:cxn ang="0">
                  <a:pos x="T0" y="T1"/>
                </a:cxn>
                <a:cxn ang="0">
                  <a:pos x="T2" y="T3"/>
                </a:cxn>
                <a:cxn ang="0">
                  <a:pos x="T4" y="T5"/>
                </a:cxn>
                <a:cxn ang="0">
                  <a:pos x="T6" y="T7"/>
                </a:cxn>
                <a:cxn ang="0">
                  <a:pos x="T8" y="T9"/>
                </a:cxn>
              </a:cxnLst>
              <a:rect l="0" t="0" r="r" b="b"/>
              <a:pathLst>
                <a:path w="18" h="18">
                  <a:moveTo>
                    <a:pt x="5" y="16"/>
                  </a:moveTo>
                  <a:cubicBezTo>
                    <a:pt x="1" y="14"/>
                    <a:pt x="0" y="9"/>
                    <a:pt x="2" y="6"/>
                  </a:cubicBezTo>
                  <a:cubicBezTo>
                    <a:pt x="4" y="2"/>
                    <a:pt x="8" y="0"/>
                    <a:pt x="12" y="2"/>
                  </a:cubicBezTo>
                  <a:cubicBezTo>
                    <a:pt x="16" y="4"/>
                    <a:pt x="18" y="9"/>
                    <a:pt x="16" y="13"/>
                  </a:cubicBezTo>
                  <a:cubicBezTo>
                    <a:pt x="14" y="17"/>
                    <a:pt x="9" y="18"/>
                    <a:pt x="5" y="16"/>
                  </a:cubicBezTo>
                  <a:close/>
                </a:path>
              </a:pathLst>
            </a:custGeom>
            <a:solidFill>
              <a:srgbClr val="2627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188" name="Freeform 22"/>
            <p:cNvSpPr>
              <a:spLocks/>
            </p:cNvSpPr>
            <p:nvPr/>
          </p:nvSpPr>
          <p:spPr bwMode="auto">
            <a:xfrm>
              <a:off x="5610225" y="3198813"/>
              <a:ext cx="82550" cy="80963"/>
            </a:xfrm>
            <a:custGeom>
              <a:avLst/>
              <a:gdLst>
                <a:gd name="T0" fmla="*/ 5 w 18"/>
                <a:gd name="T1" fmla="*/ 2 h 18"/>
                <a:gd name="T2" fmla="*/ 16 w 18"/>
                <a:gd name="T3" fmla="*/ 5 h 18"/>
                <a:gd name="T4" fmla="*/ 13 w 18"/>
                <a:gd name="T5" fmla="*/ 16 h 18"/>
                <a:gd name="T6" fmla="*/ 3 w 18"/>
                <a:gd name="T7" fmla="*/ 13 h 18"/>
                <a:gd name="T8" fmla="*/ 5 w 18"/>
                <a:gd name="T9" fmla="*/ 2 h 18"/>
              </a:gdLst>
              <a:ahLst/>
              <a:cxnLst>
                <a:cxn ang="0">
                  <a:pos x="T0" y="T1"/>
                </a:cxn>
                <a:cxn ang="0">
                  <a:pos x="T2" y="T3"/>
                </a:cxn>
                <a:cxn ang="0">
                  <a:pos x="T4" y="T5"/>
                </a:cxn>
                <a:cxn ang="0">
                  <a:pos x="T6" y="T7"/>
                </a:cxn>
                <a:cxn ang="0">
                  <a:pos x="T8" y="T9"/>
                </a:cxn>
              </a:cxnLst>
              <a:rect l="0" t="0" r="r" b="b"/>
              <a:pathLst>
                <a:path w="18" h="18">
                  <a:moveTo>
                    <a:pt x="5" y="2"/>
                  </a:moveTo>
                  <a:cubicBezTo>
                    <a:pt x="9" y="0"/>
                    <a:pt x="14" y="1"/>
                    <a:pt x="16" y="5"/>
                  </a:cubicBezTo>
                  <a:cubicBezTo>
                    <a:pt x="18" y="9"/>
                    <a:pt x="17" y="14"/>
                    <a:pt x="13" y="16"/>
                  </a:cubicBezTo>
                  <a:cubicBezTo>
                    <a:pt x="10" y="18"/>
                    <a:pt x="5" y="17"/>
                    <a:pt x="3" y="13"/>
                  </a:cubicBezTo>
                  <a:cubicBezTo>
                    <a:pt x="0" y="9"/>
                    <a:pt x="2" y="5"/>
                    <a:pt x="5" y="2"/>
                  </a:cubicBezTo>
                  <a:close/>
                </a:path>
              </a:pathLst>
            </a:custGeom>
            <a:solidFill>
              <a:srgbClr val="2627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189" name="Freeform 23"/>
            <p:cNvSpPr>
              <a:spLocks/>
            </p:cNvSpPr>
            <p:nvPr/>
          </p:nvSpPr>
          <p:spPr bwMode="auto">
            <a:xfrm>
              <a:off x="5756275" y="3111500"/>
              <a:ext cx="80962" cy="82550"/>
            </a:xfrm>
            <a:custGeom>
              <a:avLst/>
              <a:gdLst>
                <a:gd name="T0" fmla="*/ 13 w 18"/>
                <a:gd name="T1" fmla="*/ 16 h 18"/>
                <a:gd name="T2" fmla="*/ 2 w 18"/>
                <a:gd name="T3" fmla="*/ 13 h 18"/>
                <a:gd name="T4" fmla="*/ 5 w 18"/>
                <a:gd name="T5" fmla="*/ 2 h 18"/>
                <a:gd name="T6" fmla="*/ 16 w 18"/>
                <a:gd name="T7" fmla="*/ 5 h 18"/>
                <a:gd name="T8" fmla="*/ 13 w 18"/>
                <a:gd name="T9" fmla="*/ 16 h 18"/>
              </a:gdLst>
              <a:ahLst/>
              <a:cxnLst>
                <a:cxn ang="0">
                  <a:pos x="T0" y="T1"/>
                </a:cxn>
                <a:cxn ang="0">
                  <a:pos x="T2" y="T3"/>
                </a:cxn>
                <a:cxn ang="0">
                  <a:pos x="T4" y="T5"/>
                </a:cxn>
                <a:cxn ang="0">
                  <a:pos x="T6" y="T7"/>
                </a:cxn>
                <a:cxn ang="0">
                  <a:pos x="T8" y="T9"/>
                </a:cxn>
              </a:cxnLst>
              <a:rect l="0" t="0" r="r" b="b"/>
              <a:pathLst>
                <a:path w="18" h="18">
                  <a:moveTo>
                    <a:pt x="13" y="16"/>
                  </a:moveTo>
                  <a:cubicBezTo>
                    <a:pt x="9" y="18"/>
                    <a:pt x="5" y="17"/>
                    <a:pt x="2" y="13"/>
                  </a:cubicBezTo>
                  <a:cubicBezTo>
                    <a:pt x="0" y="9"/>
                    <a:pt x="1" y="4"/>
                    <a:pt x="5" y="2"/>
                  </a:cubicBezTo>
                  <a:cubicBezTo>
                    <a:pt x="9" y="0"/>
                    <a:pt x="14" y="1"/>
                    <a:pt x="16" y="5"/>
                  </a:cubicBezTo>
                  <a:cubicBezTo>
                    <a:pt x="18" y="9"/>
                    <a:pt x="17" y="14"/>
                    <a:pt x="13" y="16"/>
                  </a:cubicBezTo>
                  <a:close/>
                </a:path>
              </a:pathLst>
            </a:custGeom>
            <a:solidFill>
              <a:srgbClr val="2627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190" name="Oval 24"/>
            <p:cNvSpPr>
              <a:spLocks noChangeArrowheads="1"/>
            </p:cNvSpPr>
            <p:nvPr/>
          </p:nvSpPr>
          <p:spPr bwMode="auto">
            <a:xfrm>
              <a:off x="5688013" y="3162300"/>
              <a:ext cx="71437" cy="68263"/>
            </a:xfrm>
            <a:prstGeom prst="ellipse">
              <a:avLst/>
            </a:prstGeom>
            <a:solidFill>
              <a:srgbClr val="DFDF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191" name="Freeform 25"/>
            <p:cNvSpPr>
              <a:spLocks/>
            </p:cNvSpPr>
            <p:nvPr/>
          </p:nvSpPr>
          <p:spPr bwMode="auto">
            <a:xfrm>
              <a:off x="4867275" y="2338388"/>
              <a:ext cx="1177925" cy="314325"/>
            </a:xfrm>
            <a:custGeom>
              <a:avLst/>
              <a:gdLst>
                <a:gd name="T0" fmla="*/ 0 w 260"/>
                <a:gd name="T1" fmla="*/ 69 h 69"/>
                <a:gd name="T2" fmla="*/ 260 w 260"/>
                <a:gd name="T3" fmla="*/ 69 h 69"/>
                <a:gd name="T4" fmla="*/ 227 w 260"/>
                <a:gd name="T5" fmla="*/ 0 h 69"/>
                <a:gd name="T6" fmla="*/ 39 w 260"/>
                <a:gd name="T7" fmla="*/ 0 h 69"/>
                <a:gd name="T8" fmla="*/ 0 w 260"/>
                <a:gd name="T9" fmla="*/ 69 h 69"/>
              </a:gdLst>
              <a:ahLst/>
              <a:cxnLst>
                <a:cxn ang="0">
                  <a:pos x="T0" y="T1"/>
                </a:cxn>
                <a:cxn ang="0">
                  <a:pos x="T2" y="T3"/>
                </a:cxn>
                <a:cxn ang="0">
                  <a:pos x="T4" y="T5"/>
                </a:cxn>
                <a:cxn ang="0">
                  <a:pos x="T6" y="T7"/>
                </a:cxn>
                <a:cxn ang="0">
                  <a:pos x="T8" y="T9"/>
                </a:cxn>
              </a:cxnLst>
              <a:rect l="0" t="0" r="r" b="b"/>
              <a:pathLst>
                <a:path w="260" h="69">
                  <a:moveTo>
                    <a:pt x="0" y="69"/>
                  </a:moveTo>
                  <a:cubicBezTo>
                    <a:pt x="260" y="69"/>
                    <a:pt x="260" y="69"/>
                    <a:pt x="260" y="69"/>
                  </a:cubicBezTo>
                  <a:cubicBezTo>
                    <a:pt x="260" y="69"/>
                    <a:pt x="260" y="30"/>
                    <a:pt x="227" y="0"/>
                  </a:cubicBezTo>
                  <a:cubicBezTo>
                    <a:pt x="226" y="1"/>
                    <a:pt x="39" y="0"/>
                    <a:pt x="39" y="0"/>
                  </a:cubicBezTo>
                  <a:cubicBezTo>
                    <a:pt x="39" y="0"/>
                    <a:pt x="10" y="44"/>
                    <a:pt x="0" y="69"/>
                  </a:cubicBezTo>
                  <a:close/>
                </a:path>
              </a:pathLst>
            </a:custGeom>
            <a:solidFill>
              <a:srgbClr val="2627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192" name="Freeform 26"/>
            <p:cNvSpPr>
              <a:spLocks/>
            </p:cNvSpPr>
            <p:nvPr/>
          </p:nvSpPr>
          <p:spPr bwMode="auto">
            <a:xfrm>
              <a:off x="4654550" y="2338388"/>
              <a:ext cx="366712" cy="314325"/>
            </a:xfrm>
            <a:custGeom>
              <a:avLst/>
              <a:gdLst>
                <a:gd name="T0" fmla="*/ 0 w 81"/>
                <a:gd name="T1" fmla="*/ 69 h 69"/>
                <a:gd name="T2" fmla="*/ 33 w 81"/>
                <a:gd name="T3" fmla="*/ 69 h 69"/>
                <a:gd name="T4" fmla="*/ 81 w 81"/>
                <a:gd name="T5" fmla="*/ 0 h 69"/>
                <a:gd name="T6" fmla="*/ 54 w 81"/>
                <a:gd name="T7" fmla="*/ 0 h 69"/>
                <a:gd name="T8" fmla="*/ 0 w 81"/>
                <a:gd name="T9" fmla="*/ 69 h 69"/>
              </a:gdLst>
              <a:ahLst/>
              <a:cxnLst>
                <a:cxn ang="0">
                  <a:pos x="T0" y="T1"/>
                </a:cxn>
                <a:cxn ang="0">
                  <a:pos x="T2" y="T3"/>
                </a:cxn>
                <a:cxn ang="0">
                  <a:pos x="T4" y="T5"/>
                </a:cxn>
                <a:cxn ang="0">
                  <a:pos x="T6" y="T7"/>
                </a:cxn>
                <a:cxn ang="0">
                  <a:pos x="T8" y="T9"/>
                </a:cxn>
              </a:cxnLst>
              <a:rect l="0" t="0" r="r" b="b"/>
              <a:pathLst>
                <a:path w="81" h="69">
                  <a:moveTo>
                    <a:pt x="0" y="69"/>
                  </a:moveTo>
                  <a:cubicBezTo>
                    <a:pt x="33" y="69"/>
                    <a:pt x="33" y="69"/>
                    <a:pt x="33" y="69"/>
                  </a:cubicBezTo>
                  <a:cubicBezTo>
                    <a:pt x="81" y="0"/>
                    <a:pt x="81" y="0"/>
                    <a:pt x="81" y="0"/>
                  </a:cubicBezTo>
                  <a:cubicBezTo>
                    <a:pt x="54" y="0"/>
                    <a:pt x="54" y="0"/>
                    <a:pt x="54" y="0"/>
                  </a:cubicBezTo>
                  <a:cubicBezTo>
                    <a:pt x="54" y="0"/>
                    <a:pt x="15" y="32"/>
                    <a:pt x="0" y="69"/>
                  </a:cubicBezTo>
                  <a:close/>
                </a:path>
              </a:pathLst>
            </a:custGeom>
            <a:solidFill>
              <a:srgbClr val="2627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193" name="Freeform 27"/>
            <p:cNvSpPr>
              <a:spLocks/>
            </p:cNvSpPr>
            <p:nvPr/>
          </p:nvSpPr>
          <p:spPr bwMode="auto">
            <a:xfrm>
              <a:off x="5429250" y="2328863"/>
              <a:ext cx="49212" cy="350838"/>
            </a:xfrm>
            <a:custGeom>
              <a:avLst/>
              <a:gdLst>
                <a:gd name="T0" fmla="*/ 14 w 31"/>
                <a:gd name="T1" fmla="*/ 221 h 221"/>
                <a:gd name="T2" fmla="*/ 0 w 31"/>
                <a:gd name="T3" fmla="*/ 218 h 221"/>
                <a:gd name="T4" fmla="*/ 17 w 31"/>
                <a:gd name="T5" fmla="*/ 0 h 221"/>
                <a:gd name="T6" fmla="*/ 31 w 31"/>
                <a:gd name="T7" fmla="*/ 3 h 221"/>
                <a:gd name="T8" fmla="*/ 14 w 31"/>
                <a:gd name="T9" fmla="*/ 221 h 221"/>
              </a:gdLst>
              <a:ahLst/>
              <a:cxnLst>
                <a:cxn ang="0">
                  <a:pos x="T0" y="T1"/>
                </a:cxn>
                <a:cxn ang="0">
                  <a:pos x="T2" y="T3"/>
                </a:cxn>
                <a:cxn ang="0">
                  <a:pos x="T4" y="T5"/>
                </a:cxn>
                <a:cxn ang="0">
                  <a:pos x="T6" y="T7"/>
                </a:cxn>
                <a:cxn ang="0">
                  <a:pos x="T8" y="T9"/>
                </a:cxn>
              </a:cxnLst>
              <a:rect l="0" t="0" r="r" b="b"/>
              <a:pathLst>
                <a:path w="31" h="221">
                  <a:moveTo>
                    <a:pt x="14" y="221"/>
                  </a:moveTo>
                  <a:lnTo>
                    <a:pt x="0" y="218"/>
                  </a:lnTo>
                  <a:lnTo>
                    <a:pt x="17" y="0"/>
                  </a:lnTo>
                  <a:lnTo>
                    <a:pt x="31" y="3"/>
                  </a:lnTo>
                  <a:lnTo>
                    <a:pt x="14" y="221"/>
                  </a:ln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194" name="Freeform 28"/>
            <p:cNvSpPr>
              <a:spLocks/>
            </p:cNvSpPr>
            <p:nvPr/>
          </p:nvSpPr>
          <p:spPr bwMode="auto">
            <a:xfrm>
              <a:off x="5922963" y="2138363"/>
              <a:ext cx="244475" cy="153988"/>
            </a:xfrm>
            <a:custGeom>
              <a:avLst/>
              <a:gdLst>
                <a:gd name="T0" fmla="*/ 3 w 154"/>
                <a:gd name="T1" fmla="*/ 97 h 97"/>
                <a:gd name="T2" fmla="*/ 0 w 154"/>
                <a:gd name="T3" fmla="*/ 89 h 97"/>
                <a:gd name="T4" fmla="*/ 149 w 154"/>
                <a:gd name="T5" fmla="*/ 0 h 97"/>
                <a:gd name="T6" fmla="*/ 154 w 154"/>
                <a:gd name="T7" fmla="*/ 9 h 97"/>
                <a:gd name="T8" fmla="*/ 3 w 154"/>
                <a:gd name="T9" fmla="*/ 97 h 97"/>
              </a:gdLst>
              <a:ahLst/>
              <a:cxnLst>
                <a:cxn ang="0">
                  <a:pos x="T0" y="T1"/>
                </a:cxn>
                <a:cxn ang="0">
                  <a:pos x="T2" y="T3"/>
                </a:cxn>
                <a:cxn ang="0">
                  <a:pos x="T4" y="T5"/>
                </a:cxn>
                <a:cxn ang="0">
                  <a:pos x="T6" y="T7"/>
                </a:cxn>
                <a:cxn ang="0">
                  <a:pos x="T8" y="T9"/>
                </a:cxn>
              </a:cxnLst>
              <a:rect l="0" t="0" r="r" b="b"/>
              <a:pathLst>
                <a:path w="154" h="97">
                  <a:moveTo>
                    <a:pt x="3" y="97"/>
                  </a:moveTo>
                  <a:lnTo>
                    <a:pt x="0" y="89"/>
                  </a:lnTo>
                  <a:lnTo>
                    <a:pt x="149" y="0"/>
                  </a:lnTo>
                  <a:lnTo>
                    <a:pt x="154" y="9"/>
                  </a:lnTo>
                  <a:lnTo>
                    <a:pt x="3" y="9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195" name="Freeform 29"/>
            <p:cNvSpPr>
              <a:spLocks/>
            </p:cNvSpPr>
            <p:nvPr/>
          </p:nvSpPr>
          <p:spPr bwMode="auto">
            <a:xfrm>
              <a:off x="4767263" y="2574925"/>
              <a:ext cx="112712" cy="158750"/>
            </a:xfrm>
            <a:custGeom>
              <a:avLst/>
              <a:gdLst>
                <a:gd name="T0" fmla="*/ 25 w 25"/>
                <a:gd name="T1" fmla="*/ 0 h 35"/>
                <a:gd name="T2" fmla="*/ 18 w 25"/>
                <a:gd name="T3" fmla="*/ 0 h 35"/>
                <a:gd name="T4" fmla="*/ 0 w 25"/>
                <a:gd name="T5" fmla="*/ 17 h 35"/>
                <a:gd name="T6" fmla="*/ 18 w 25"/>
                <a:gd name="T7" fmla="*/ 35 h 35"/>
                <a:gd name="T8" fmla="*/ 25 w 25"/>
                <a:gd name="T9" fmla="*/ 35 h 35"/>
                <a:gd name="T10" fmla="*/ 25 w 25"/>
                <a:gd name="T11" fmla="*/ 0 h 35"/>
              </a:gdLst>
              <a:ahLst/>
              <a:cxnLst>
                <a:cxn ang="0">
                  <a:pos x="T0" y="T1"/>
                </a:cxn>
                <a:cxn ang="0">
                  <a:pos x="T2" y="T3"/>
                </a:cxn>
                <a:cxn ang="0">
                  <a:pos x="T4" y="T5"/>
                </a:cxn>
                <a:cxn ang="0">
                  <a:pos x="T6" y="T7"/>
                </a:cxn>
                <a:cxn ang="0">
                  <a:pos x="T8" y="T9"/>
                </a:cxn>
                <a:cxn ang="0">
                  <a:pos x="T10" y="T11"/>
                </a:cxn>
              </a:cxnLst>
              <a:rect l="0" t="0" r="r" b="b"/>
              <a:pathLst>
                <a:path w="25" h="35">
                  <a:moveTo>
                    <a:pt x="25" y="0"/>
                  </a:moveTo>
                  <a:cubicBezTo>
                    <a:pt x="18" y="0"/>
                    <a:pt x="18" y="0"/>
                    <a:pt x="18" y="0"/>
                  </a:cubicBezTo>
                  <a:cubicBezTo>
                    <a:pt x="8" y="0"/>
                    <a:pt x="0" y="8"/>
                    <a:pt x="0" y="17"/>
                  </a:cubicBezTo>
                  <a:cubicBezTo>
                    <a:pt x="0" y="27"/>
                    <a:pt x="8" y="35"/>
                    <a:pt x="18" y="35"/>
                  </a:cubicBezTo>
                  <a:cubicBezTo>
                    <a:pt x="25" y="35"/>
                    <a:pt x="25" y="35"/>
                    <a:pt x="25" y="35"/>
                  </a:cubicBezTo>
                  <a:lnTo>
                    <a:pt x="25" y="0"/>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196" name="Freeform 30"/>
            <p:cNvSpPr>
              <a:spLocks/>
            </p:cNvSpPr>
            <p:nvPr/>
          </p:nvSpPr>
          <p:spPr bwMode="auto">
            <a:xfrm>
              <a:off x="6149975" y="2989263"/>
              <a:ext cx="100012" cy="158750"/>
            </a:xfrm>
            <a:custGeom>
              <a:avLst/>
              <a:gdLst>
                <a:gd name="T0" fmla="*/ 22 w 22"/>
                <a:gd name="T1" fmla="*/ 24 h 35"/>
                <a:gd name="T2" fmla="*/ 11 w 22"/>
                <a:gd name="T3" fmla="*/ 35 h 35"/>
                <a:gd name="T4" fmla="*/ 11 w 22"/>
                <a:gd name="T5" fmla="*/ 35 h 35"/>
                <a:gd name="T6" fmla="*/ 0 w 22"/>
                <a:gd name="T7" fmla="*/ 24 h 35"/>
                <a:gd name="T8" fmla="*/ 0 w 22"/>
                <a:gd name="T9" fmla="*/ 11 h 35"/>
                <a:gd name="T10" fmla="*/ 11 w 22"/>
                <a:gd name="T11" fmla="*/ 0 h 35"/>
                <a:gd name="T12" fmla="*/ 11 w 22"/>
                <a:gd name="T13" fmla="*/ 0 h 35"/>
                <a:gd name="T14" fmla="*/ 22 w 22"/>
                <a:gd name="T15" fmla="*/ 11 h 35"/>
                <a:gd name="T16" fmla="*/ 22 w 22"/>
                <a:gd name="T17" fmla="*/ 24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 h="35">
                  <a:moveTo>
                    <a:pt x="22" y="24"/>
                  </a:moveTo>
                  <a:cubicBezTo>
                    <a:pt x="22" y="30"/>
                    <a:pt x="17" y="35"/>
                    <a:pt x="11" y="35"/>
                  </a:cubicBezTo>
                  <a:cubicBezTo>
                    <a:pt x="11" y="35"/>
                    <a:pt x="11" y="35"/>
                    <a:pt x="11" y="35"/>
                  </a:cubicBezTo>
                  <a:cubicBezTo>
                    <a:pt x="5" y="35"/>
                    <a:pt x="0" y="30"/>
                    <a:pt x="0" y="24"/>
                  </a:cubicBezTo>
                  <a:cubicBezTo>
                    <a:pt x="0" y="11"/>
                    <a:pt x="0" y="11"/>
                    <a:pt x="0" y="11"/>
                  </a:cubicBezTo>
                  <a:cubicBezTo>
                    <a:pt x="0" y="5"/>
                    <a:pt x="5" y="0"/>
                    <a:pt x="11" y="0"/>
                  </a:cubicBezTo>
                  <a:cubicBezTo>
                    <a:pt x="11" y="0"/>
                    <a:pt x="11" y="0"/>
                    <a:pt x="11" y="0"/>
                  </a:cubicBezTo>
                  <a:cubicBezTo>
                    <a:pt x="17" y="0"/>
                    <a:pt x="22" y="5"/>
                    <a:pt x="22" y="11"/>
                  </a:cubicBezTo>
                  <a:lnTo>
                    <a:pt x="22" y="24"/>
                  </a:ln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197" name="Freeform 31"/>
            <p:cNvSpPr>
              <a:spLocks/>
            </p:cNvSpPr>
            <p:nvPr/>
          </p:nvSpPr>
          <p:spPr bwMode="auto">
            <a:xfrm>
              <a:off x="4046538" y="2989263"/>
              <a:ext cx="63500" cy="46038"/>
            </a:xfrm>
            <a:custGeom>
              <a:avLst/>
              <a:gdLst>
                <a:gd name="T0" fmla="*/ 4 w 14"/>
                <a:gd name="T1" fmla="*/ 10 h 10"/>
                <a:gd name="T2" fmla="*/ 0 w 14"/>
                <a:gd name="T3" fmla="*/ 5 h 10"/>
                <a:gd name="T4" fmla="*/ 0 w 14"/>
                <a:gd name="T5" fmla="*/ 5 h 10"/>
                <a:gd name="T6" fmla="*/ 4 w 14"/>
                <a:gd name="T7" fmla="*/ 0 h 10"/>
                <a:gd name="T8" fmla="*/ 10 w 14"/>
                <a:gd name="T9" fmla="*/ 0 h 10"/>
                <a:gd name="T10" fmla="*/ 14 w 14"/>
                <a:gd name="T11" fmla="*/ 5 h 10"/>
                <a:gd name="T12" fmla="*/ 14 w 14"/>
                <a:gd name="T13" fmla="*/ 5 h 10"/>
                <a:gd name="T14" fmla="*/ 10 w 14"/>
                <a:gd name="T15" fmla="*/ 10 h 10"/>
                <a:gd name="T16" fmla="*/ 4 w 14"/>
                <a:gd name="T17" fmla="*/ 1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 h="10">
                  <a:moveTo>
                    <a:pt x="4" y="10"/>
                  </a:moveTo>
                  <a:cubicBezTo>
                    <a:pt x="2" y="10"/>
                    <a:pt x="0" y="8"/>
                    <a:pt x="0" y="5"/>
                  </a:cubicBezTo>
                  <a:cubicBezTo>
                    <a:pt x="0" y="5"/>
                    <a:pt x="0" y="5"/>
                    <a:pt x="0" y="5"/>
                  </a:cubicBezTo>
                  <a:cubicBezTo>
                    <a:pt x="0" y="2"/>
                    <a:pt x="2" y="0"/>
                    <a:pt x="4" y="0"/>
                  </a:cubicBezTo>
                  <a:cubicBezTo>
                    <a:pt x="10" y="0"/>
                    <a:pt x="10" y="0"/>
                    <a:pt x="10" y="0"/>
                  </a:cubicBezTo>
                  <a:cubicBezTo>
                    <a:pt x="12" y="0"/>
                    <a:pt x="14" y="2"/>
                    <a:pt x="14" y="5"/>
                  </a:cubicBezTo>
                  <a:cubicBezTo>
                    <a:pt x="14" y="5"/>
                    <a:pt x="14" y="5"/>
                    <a:pt x="14" y="5"/>
                  </a:cubicBezTo>
                  <a:cubicBezTo>
                    <a:pt x="14" y="8"/>
                    <a:pt x="12" y="10"/>
                    <a:pt x="10" y="10"/>
                  </a:cubicBezTo>
                  <a:lnTo>
                    <a:pt x="4" y="10"/>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198" name="Freeform 32"/>
            <p:cNvSpPr>
              <a:spLocks/>
            </p:cNvSpPr>
            <p:nvPr/>
          </p:nvSpPr>
          <p:spPr bwMode="auto">
            <a:xfrm>
              <a:off x="3914776" y="2911475"/>
              <a:ext cx="82550" cy="200025"/>
            </a:xfrm>
            <a:custGeom>
              <a:avLst/>
              <a:gdLst>
                <a:gd name="T0" fmla="*/ 2 w 18"/>
                <a:gd name="T1" fmla="*/ 0 h 44"/>
                <a:gd name="T2" fmla="*/ 2 w 18"/>
                <a:gd name="T3" fmla="*/ 44 h 44"/>
                <a:gd name="T4" fmla="*/ 18 w 18"/>
                <a:gd name="T5" fmla="*/ 22 h 44"/>
                <a:gd name="T6" fmla="*/ 2 w 18"/>
                <a:gd name="T7" fmla="*/ 0 h 44"/>
              </a:gdLst>
              <a:ahLst/>
              <a:cxnLst>
                <a:cxn ang="0">
                  <a:pos x="T0" y="T1"/>
                </a:cxn>
                <a:cxn ang="0">
                  <a:pos x="T2" y="T3"/>
                </a:cxn>
                <a:cxn ang="0">
                  <a:pos x="T4" y="T5"/>
                </a:cxn>
                <a:cxn ang="0">
                  <a:pos x="T6" y="T7"/>
                </a:cxn>
              </a:cxnLst>
              <a:rect l="0" t="0" r="r" b="b"/>
              <a:pathLst>
                <a:path w="18" h="44">
                  <a:moveTo>
                    <a:pt x="2" y="0"/>
                  </a:moveTo>
                  <a:cubicBezTo>
                    <a:pt x="0" y="17"/>
                    <a:pt x="1" y="33"/>
                    <a:pt x="2" y="44"/>
                  </a:cubicBezTo>
                  <a:cubicBezTo>
                    <a:pt x="11" y="41"/>
                    <a:pt x="18" y="32"/>
                    <a:pt x="18" y="22"/>
                  </a:cubicBezTo>
                  <a:cubicBezTo>
                    <a:pt x="18" y="12"/>
                    <a:pt x="11" y="3"/>
                    <a:pt x="2" y="0"/>
                  </a:cubicBezTo>
                  <a:close/>
                </a:path>
              </a:pathLst>
            </a:custGeom>
            <a:solidFill>
              <a:srgbClr val="FCEE1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199" name="Freeform 33"/>
            <p:cNvSpPr>
              <a:spLocks/>
            </p:cNvSpPr>
            <p:nvPr/>
          </p:nvSpPr>
          <p:spPr bwMode="auto">
            <a:xfrm>
              <a:off x="6081713" y="2652713"/>
              <a:ext cx="109537" cy="246063"/>
            </a:xfrm>
            <a:custGeom>
              <a:avLst/>
              <a:gdLst>
                <a:gd name="T0" fmla="*/ 0 w 24"/>
                <a:gd name="T1" fmla="*/ 0 h 54"/>
                <a:gd name="T2" fmla="*/ 8 w 24"/>
                <a:gd name="T3" fmla="*/ 54 h 54"/>
                <a:gd name="T4" fmla="*/ 24 w 24"/>
                <a:gd name="T5" fmla="*/ 54 h 54"/>
                <a:gd name="T6" fmla="*/ 13 w 24"/>
                <a:gd name="T7" fmla="*/ 0 h 54"/>
                <a:gd name="T8" fmla="*/ 0 w 24"/>
                <a:gd name="T9" fmla="*/ 0 h 54"/>
              </a:gdLst>
              <a:ahLst/>
              <a:cxnLst>
                <a:cxn ang="0">
                  <a:pos x="T0" y="T1"/>
                </a:cxn>
                <a:cxn ang="0">
                  <a:pos x="T2" y="T3"/>
                </a:cxn>
                <a:cxn ang="0">
                  <a:pos x="T4" y="T5"/>
                </a:cxn>
                <a:cxn ang="0">
                  <a:pos x="T6" y="T7"/>
                </a:cxn>
                <a:cxn ang="0">
                  <a:pos x="T8" y="T9"/>
                </a:cxn>
              </a:cxnLst>
              <a:rect l="0" t="0" r="r" b="b"/>
              <a:pathLst>
                <a:path w="24" h="54">
                  <a:moveTo>
                    <a:pt x="0" y="0"/>
                  </a:moveTo>
                  <a:cubicBezTo>
                    <a:pt x="6" y="29"/>
                    <a:pt x="8" y="54"/>
                    <a:pt x="8" y="54"/>
                  </a:cubicBezTo>
                  <a:cubicBezTo>
                    <a:pt x="24" y="54"/>
                    <a:pt x="24" y="54"/>
                    <a:pt x="24" y="54"/>
                  </a:cubicBezTo>
                  <a:cubicBezTo>
                    <a:pt x="21" y="35"/>
                    <a:pt x="18" y="17"/>
                    <a:pt x="13" y="0"/>
                  </a:cubicBezTo>
                  <a:cubicBezTo>
                    <a:pt x="9" y="0"/>
                    <a:pt x="5" y="0"/>
                    <a:pt x="0" y="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grpSp>
    </p:spTree>
    <p:extLst>
      <p:ext uri="{BB962C8B-B14F-4D97-AF65-F5344CB8AC3E}">
        <p14:creationId xmlns:p14="http://schemas.microsoft.com/office/powerpoint/2010/main" val="71413632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DL Store: Ingress</a:t>
            </a:r>
          </a:p>
        </p:txBody>
      </p:sp>
      <p:grpSp>
        <p:nvGrpSpPr>
          <p:cNvPr id="4" name="Group 3"/>
          <p:cNvGrpSpPr/>
          <p:nvPr/>
        </p:nvGrpSpPr>
        <p:grpSpPr>
          <a:xfrm>
            <a:off x="434975" y="1123536"/>
            <a:ext cx="11322050" cy="5241552"/>
            <a:chOff x="434975" y="1123536"/>
            <a:chExt cx="11322050" cy="5241552"/>
          </a:xfrm>
        </p:grpSpPr>
        <p:sp>
          <p:nvSpPr>
            <p:cNvPr id="54" name="Rectangle 53"/>
            <p:cNvSpPr/>
            <p:nvPr/>
          </p:nvSpPr>
          <p:spPr>
            <a:xfrm>
              <a:off x="434975" y="1483823"/>
              <a:ext cx="11322050" cy="4881265"/>
            </a:xfrm>
            <a:prstGeom prst="rect">
              <a:avLst/>
            </a:prstGeom>
            <a:solidFill>
              <a:schemeClr val="bg1">
                <a:lumMod val="95000"/>
              </a:schemeClr>
            </a:solidFill>
            <a:ln w="3175" cap="flat" cmpd="sng" algn="ctr">
              <a:noFill/>
              <a:prstDash val="solid"/>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400" kern="0" dirty="0"/>
            </a:p>
          </p:txBody>
        </p:sp>
        <p:sp>
          <p:nvSpPr>
            <p:cNvPr id="3" name="Rectangle 2"/>
            <p:cNvSpPr/>
            <p:nvPr/>
          </p:nvSpPr>
          <p:spPr>
            <a:xfrm>
              <a:off x="434975" y="1123536"/>
              <a:ext cx="11322050" cy="369332"/>
            </a:xfrm>
            <a:prstGeom prst="rect">
              <a:avLst/>
            </a:prstGeom>
            <a:solidFill>
              <a:schemeClr val="accent1"/>
            </a:solidFill>
          </p:spPr>
          <p:txBody>
            <a:bodyPr wrap="square" lIns="91440" tIns="45720" rIns="91440" bIns="45720">
              <a:noAutofit/>
            </a:bodyPr>
            <a:lstStyle/>
            <a:p>
              <a:pPr algn="ctr">
                <a:spcBef>
                  <a:spcPts val="600"/>
                </a:spcBef>
                <a:spcAft>
                  <a:spcPts val="600"/>
                </a:spcAft>
              </a:pPr>
              <a:r>
                <a:rPr lang="en-US" dirty="0">
                  <a:solidFill>
                    <a:schemeClr val="bg1"/>
                  </a:solidFill>
                </a:rPr>
                <a:t>Data can be ingested into Azure Data Lake Store from a variety of sources</a:t>
              </a:r>
              <a:r>
                <a:rPr lang="en-US" dirty="0">
                  <a:ln>
                    <a:solidFill>
                      <a:srgbClr val="FFFFFF">
                        <a:alpha val="0"/>
                      </a:srgbClr>
                    </a:solidFill>
                  </a:ln>
                  <a:solidFill>
                    <a:schemeClr val="bg1"/>
                  </a:solidFill>
                  <a:ea typeface="Segoe UI" pitchFamily="34" charset="0"/>
                  <a:cs typeface="Segoe UI" pitchFamily="34" charset="0"/>
                </a:rPr>
                <a:t> </a:t>
              </a:r>
            </a:p>
          </p:txBody>
        </p:sp>
      </p:grpSp>
      <p:cxnSp>
        <p:nvCxnSpPr>
          <p:cNvPr id="32" name="Straight Connector 31"/>
          <p:cNvCxnSpPr/>
          <p:nvPr/>
        </p:nvCxnSpPr>
        <p:spPr>
          <a:xfrm>
            <a:off x="2737856" y="-13815"/>
            <a:ext cx="640080"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4" name="Slide Number Placeholder 13"/>
          <p:cNvSpPr>
            <a:spLocks noGrp="1"/>
          </p:cNvSpPr>
          <p:nvPr>
            <p:ph type="sldNum" sz="quarter" idx="4"/>
          </p:nvPr>
        </p:nvSpPr>
        <p:spPr/>
        <p:txBody>
          <a:bodyPr/>
          <a:lstStyle/>
          <a:p>
            <a:pPr>
              <a:defRPr/>
            </a:pPr>
            <a:fld id="{75FAD755-3BD0-2447-A9DF-109DAABEFD99}" type="slidenum">
              <a:rPr lang="en-US" smtClean="0"/>
              <a:pPr>
                <a:defRPr/>
              </a:pPr>
              <a:t>35</a:t>
            </a:fld>
            <a:endParaRPr lang="en-US" dirty="0"/>
          </a:p>
        </p:txBody>
      </p:sp>
      <p:cxnSp>
        <p:nvCxnSpPr>
          <p:cNvPr id="95" name="Straight Connector 94"/>
          <p:cNvCxnSpPr/>
          <p:nvPr/>
        </p:nvCxnSpPr>
        <p:spPr>
          <a:xfrm flipV="1">
            <a:off x="6004091" y="4373458"/>
            <a:ext cx="0" cy="1255214"/>
          </a:xfrm>
          <a:prstGeom prst="line">
            <a:avLst/>
          </a:prstGeom>
          <a:ln w="38100" cap="rnd">
            <a:solidFill>
              <a:srgbClr val="50B347"/>
            </a:solidFill>
            <a:headEnd type="none"/>
            <a:tailEnd type="triangle" w="lg" len="med"/>
          </a:ln>
        </p:spPr>
        <p:style>
          <a:lnRef idx="1">
            <a:schemeClr val="accent1"/>
          </a:lnRef>
          <a:fillRef idx="0">
            <a:schemeClr val="accent1"/>
          </a:fillRef>
          <a:effectRef idx="0">
            <a:schemeClr val="accent1"/>
          </a:effectRef>
          <a:fontRef idx="minor">
            <a:schemeClr val="tx1"/>
          </a:fontRef>
        </p:style>
      </p:cxnSp>
      <p:sp>
        <p:nvSpPr>
          <p:cNvPr id="96" name="Rectangle 95"/>
          <p:cNvSpPr/>
          <p:nvPr/>
        </p:nvSpPr>
        <p:spPr bwMode="auto">
          <a:xfrm>
            <a:off x="5437869" y="4735644"/>
            <a:ext cx="1211495" cy="70698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38" tIns="149230" rIns="186538" bIns="149230" numCol="1" spcCol="0" rtlCol="0" fromWordArt="0" anchor="t" anchorCtr="0" forceAA="0" compatLnSpc="1">
            <a:prstTxWarp prst="textNoShape">
              <a:avLst/>
            </a:prstTxWarp>
            <a:noAutofit/>
          </a:bodyPr>
          <a:lstStyle/>
          <a:p>
            <a:pPr algn="ctr" defTabSz="951083" fontAlgn="base">
              <a:lnSpc>
                <a:spcPct val="90000"/>
              </a:lnSpc>
              <a:spcBef>
                <a:spcPct val="0"/>
              </a:spcBef>
              <a:spcAft>
                <a:spcPct val="0"/>
              </a:spcAft>
              <a:defRPr/>
            </a:pPr>
            <a:endParaRPr lang="en-US" sz="2000" b="1" kern="0" dirty="0">
              <a:solidFill>
                <a:srgbClr val="FFFFFF"/>
              </a:solidFill>
              <a:latin typeface="Segoe UI Light"/>
              <a:ea typeface="Segoe UI" pitchFamily="34" charset="0"/>
              <a:cs typeface="Segoe UI" pitchFamily="34" charset="0"/>
            </a:endParaRPr>
          </a:p>
        </p:txBody>
      </p:sp>
      <p:grpSp>
        <p:nvGrpSpPr>
          <p:cNvPr id="97" name="Group 96"/>
          <p:cNvGrpSpPr/>
          <p:nvPr/>
        </p:nvGrpSpPr>
        <p:grpSpPr>
          <a:xfrm>
            <a:off x="5271838" y="5770266"/>
            <a:ext cx="1401025" cy="678775"/>
            <a:chOff x="5168204" y="5657633"/>
            <a:chExt cx="1373483" cy="665526"/>
          </a:xfrm>
        </p:grpSpPr>
        <p:grpSp>
          <p:nvGrpSpPr>
            <p:cNvPr id="98" name="Network Switch"/>
            <p:cNvGrpSpPr>
              <a:grpSpLocks noChangeAspect="1"/>
            </p:cNvGrpSpPr>
            <p:nvPr/>
          </p:nvGrpSpPr>
          <p:grpSpPr>
            <a:xfrm>
              <a:off x="5284498" y="5657633"/>
              <a:ext cx="1113292" cy="435634"/>
              <a:chOff x="392113" y="2836863"/>
              <a:chExt cx="657225" cy="257175"/>
            </a:xfrm>
          </p:grpSpPr>
          <p:sp>
            <p:nvSpPr>
              <p:cNvPr id="100" name="Network Switch Part 5"/>
              <p:cNvSpPr>
                <a:spLocks/>
              </p:cNvSpPr>
              <p:nvPr/>
            </p:nvSpPr>
            <p:spPr bwMode="auto">
              <a:xfrm>
                <a:off x="392113" y="2836863"/>
                <a:ext cx="657225" cy="257175"/>
              </a:xfrm>
              <a:custGeom>
                <a:avLst/>
                <a:gdLst>
                  <a:gd name="T0" fmla="*/ 2173 w 2173"/>
                  <a:gd name="T1" fmla="*/ 85 h 847"/>
                  <a:gd name="T2" fmla="*/ 2088 w 2173"/>
                  <a:gd name="T3" fmla="*/ 0 h 847"/>
                  <a:gd name="T4" fmla="*/ 84 w 2173"/>
                  <a:gd name="T5" fmla="*/ 0 h 847"/>
                  <a:gd name="T6" fmla="*/ 0 w 2173"/>
                  <a:gd name="T7" fmla="*/ 85 h 847"/>
                  <a:gd name="T8" fmla="*/ 0 w 2173"/>
                  <a:gd name="T9" fmla="*/ 762 h 847"/>
                  <a:gd name="T10" fmla="*/ 84 w 2173"/>
                  <a:gd name="T11" fmla="*/ 847 h 847"/>
                  <a:gd name="T12" fmla="*/ 2088 w 2173"/>
                  <a:gd name="T13" fmla="*/ 847 h 847"/>
                  <a:gd name="T14" fmla="*/ 2173 w 2173"/>
                  <a:gd name="T15" fmla="*/ 762 h 847"/>
                  <a:gd name="T16" fmla="*/ 2173 w 2173"/>
                  <a:gd name="T17" fmla="*/ 85 h 8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73" h="847">
                    <a:moveTo>
                      <a:pt x="2173" y="85"/>
                    </a:moveTo>
                    <a:cubicBezTo>
                      <a:pt x="2173" y="37"/>
                      <a:pt x="2136" y="0"/>
                      <a:pt x="2088" y="0"/>
                    </a:cubicBezTo>
                    <a:lnTo>
                      <a:pt x="84" y="0"/>
                    </a:lnTo>
                    <a:cubicBezTo>
                      <a:pt x="36" y="0"/>
                      <a:pt x="0" y="37"/>
                      <a:pt x="0" y="85"/>
                    </a:cubicBezTo>
                    <a:lnTo>
                      <a:pt x="0" y="762"/>
                    </a:lnTo>
                    <a:cubicBezTo>
                      <a:pt x="0" y="810"/>
                      <a:pt x="36" y="847"/>
                      <a:pt x="84" y="847"/>
                    </a:cubicBezTo>
                    <a:lnTo>
                      <a:pt x="2088" y="847"/>
                    </a:lnTo>
                    <a:cubicBezTo>
                      <a:pt x="2136" y="847"/>
                      <a:pt x="2173" y="810"/>
                      <a:pt x="2173" y="762"/>
                    </a:cubicBezTo>
                    <a:lnTo>
                      <a:pt x="2173" y="85"/>
                    </a:lnTo>
                    <a:close/>
                  </a:path>
                </a:pathLst>
              </a:custGeom>
              <a:solidFill>
                <a:schemeClr val="accent1">
                  <a:lumMod val="75000"/>
                </a:schemeClr>
              </a:solidFill>
              <a:ln w="0">
                <a:noFill/>
                <a:prstDash val="solid"/>
                <a:round/>
                <a:headEnd/>
                <a:tailEnd/>
              </a:ln>
            </p:spPr>
            <p:txBody>
              <a:bodyPr vert="horz" wrap="square" lIns="91440" tIns="45720" rIns="91440" bIns="45720" numCol="1" anchor="ctr"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32650">
                  <a:defRPr/>
                </a:pPr>
                <a:endParaRPr lang="en-US" sz="3300" dirty="0">
                  <a:solidFill>
                    <a:srgbClr val="000000"/>
                  </a:solidFill>
                </a:endParaRPr>
              </a:p>
            </p:txBody>
          </p:sp>
          <p:sp>
            <p:nvSpPr>
              <p:cNvPr id="102" name="Network Switch Part 4"/>
              <p:cNvSpPr>
                <a:spLocks noChangeArrowheads="1"/>
              </p:cNvSpPr>
              <p:nvPr/>
            </p:nvSpPr>
            <p:spPr bwMode="auto">
              <a:xfrm>
                <a:off x="392113" y="3059113"/>
                <a:ext cx="657225" cy="34925"/>
              </a:xfrm>
              <a:prstGeom prst="rect">
                <a:avLst/>
              </a:prstGeom>
              <a:solidFill>
                <a:schemeClr val="accent1">
                  <a:lumMod val="60000"/>
                  <a:lumOff val="40000"/>
                </a:schemeClr>
              </a:solidFill>
              <a:ln w="0">
                <a:noFill/>
                <a:prstDash val="solid"/>
                <a:miter lim="800000"/>
                <a:headEnd/>
                <a:tailEnd/>
              </a:ln>
            </p:spPr>
            <p:txBody>
              <a:bodyPr vert="horz" wrap="square" lIns="91440" tIns="45720" rIns="91440" bIns="45720" numCol="1" anchor="ctr"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32650">
                  <a:defRPr/>
                </a:pPr>
                <a:endParaRPr lang="en-US" sz="3300" dirty="0">
                  <a:solidFill>
                    <a:srgbClr val="000000"/>
                  </a:solidFill>
                </a:endParaRPr>
              </a:p>
            </p:txBody>
          </p:sp>
          <p:sp>
            <p:nvSpPr>
              <p:cNvPr id="103" name="Network Switch Part 3"/>
              <p:cNvSpPr>
                <a:spLocks noChangeArrowheads="1"/>
              </p:cNvSpPr>
              <p:nvPr/>
            </p:nvSpPr>
            <p:spPr bwMode="auto">
              <a:xfrm>
                <a:off x="434975" y="2897188"/>
                <a:ext cx="503238" cy="119063"/>
              </a:xfrm>
              <a:prstGeom prst="rect">
                <a:avLst/>
              </a:prstGeom>
              <a:solidFill>
                <a:schemeClr val="bg1">
                  <a:lumMod val="85000"/>
                </a:schemeClr>
              </a:solidFill>
              <a:ln w="0">
                <a:noFill/>
                <a:prstDash val="solid"/>
                <a:miter lim="800000"/>
                <a:headEnd/>
                <a:tailEnd/>
              </a:ln>
            </p:spPr>
            <p:txBody>
              <a:bodyPr vert="horz" wrap="square" lIns="91440" tIns="45720" rIns="91440" bIns="45720" numCol="1" anchor="ctr"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32650">
                  <a:defRPr/>
                </a:pPr>
                <a:endParaRPr lang="en-US" sz="3300" dirty="0">
                  <a:solidFill>
                    <a:srgbClr val="000000"/>
                  </a:solidFill>
                </a:endParaRPr>
              </a:p>
            </p:txBody>
          </p:sp>
          <p:sp>
            <p:nvSpPr>
              <p:cNvPr id="104" name="Network Switch Part 2"/>
              <p:cNvSpPr>
                <a:spLocks noEditPoints="1"/>
              </p:cNvSpPr>
              <p:nvPr/>
            </p:nvSpPr>
            <p:spPr bwMode="auto">
              <a:xfrm>
                <a:off x="468313" y="2922588"/>
                <a:ext cx="436563" cy="60325"/>
              </a:xfrm>
              <a:custGeom>
                <a:avLst/>
                <a:gdLst>
                  <a:gd name="T0" fmla="*/ 57 w 1439"/>
                  <a:gd name="T1" fmla="*/ 0 h 198"/>
                  <a:gd name="T2" fmla="*/ 57 w 1439"/>
                  <a:gd name="T3" fmla="*/ 57 h 198"/>
                  <a:gd name="T4" fmla="*/ 0 w 1439"/>
                  <a:gd name="T5" fmla="*/ 57 h 198"/>
                  <a:gd name="T6" fmla="*/ 0 w 1439"/>
                  <a:gd name="T7" fmla="*/ 198 h 198"/>
                  <a:gd name="T8" fmla="*/ 198 w 1439"/>
                  <a:gd name="T9" fmla="*/ 198 h 198"/>
                  <a:gd name="T10" fmla="*/ 198 w 1439"/>
                  <a:gd name="T11" fmla="*/ 57 h 198"/>
                  <a:gd name="T12" fmla="*/ 141 w 1439"/>
                  <a:gd name="T13" fmla="*/ 57 h 198"/>
                  <a:gd name="T14" fmla="*/ 141 w 1439"/>
                  <a:gd name="T15" fmla="*/ 0 h 198"/>
                  <a:gd name="T16" fmla="*/ 57 w 1439"/>
                  <a:gd name="T17" fmla="*/ 0 h 198"/>
                  <a:gd name="T18" fmla="*/ 367 w 1439"/>
                  <a:gd name="T19" fmla="*/ 0 h 198"/>
                  <a:gd name="T20" fmla="*/ 367 w 1439"/>
                  <a:gd name="T21" fmla="*/ 57 h 198"/>
                  <a:gd name="T22" fmla="*/ 311 w 1439"/>
                  <a:gd name="T23" fmla="*/ 57 h 198"/>
                  <a:gd name="T24" fmla="*/ 311 w 1439"/>
                  <a:gd name="T25" fmla="*/ 198 h 198"/>
                  <a:gd name="T26" fmla="*/ 508 w 1439"/>
                  <a:gd name="T27" fmla="*/ 198 h 198"/>
                  <a:gd name="T28" fmla="*/ 508 w 1439"/>
                  <a:gd name="T29" fmla="*/ 57 h 198"/>
                  <a:gd name="T30" fmla="*/ 452 w 1439"/>
                  <a:gd name="T31" fmla="*/ 57 h 198"/>
                  <a:gd name="T32" fmla="*/ 452 w 1439"/>
                  <a:gd name="T33" fmla="*/ 0 h 198"/>
                  <a:gd name="T34" fmla="*/ 367 w 1439"/>
                  <a:gd name="T35" fmla="*/ 0 h 198"/>
                  <a:gd name="T36" fmla="*/ 677 w 1439"/>
                  <a:gd name="T37" fmla="*/ 0 h 198"/>
                  <a:gd name="T38" fmla="*/ 677 w 1439"/>
                  <a:gd name="T39" fmla="*/ 57 h 198"/>
                  <a:gd name="T40" fmla="*/ 621 w 1439"/>
                  <a:gd name="T41" fmla="*/ 57 h 198"/>
                  <a:gd name="T42" fmla="*/ 621 w 1439"/>
                  <a:gd name="T43" fmla="*/ 198 h 198"/>
                  <a:gd name="T44" fmla="*/ 819 w 1439"/>
                  <a:gd name="T45" fmla="*/ 198 h 198"/>
                  <a:gd name="T46" fmla="*/ 819 w 1439"/>
                  <a:gd name="T47" fmla="*/ 57 h 198"/>
                  <a:gd name="T48" fmla="*/ 762 w 1439"/>
                  <a:gd name="T49" fmla="*/ 57 h 198"/>
                  <a:gd name="T50" fmla="*/ 762 w 1439"/>
                  <a:gd name="T51" fmla="*/ 0 h 198"/>
                  <a:gd name="T52" fmla="*/ 677 w 1439"/>
                  <a:gd name="T53" fmla="*/ 0 h 198"/>
                  <a:gd name="T54" fmla="*/ 988 w 1439"/>
                  <a:gd name="T55" fmla="*/ 0 h 198"/>
                  <a:gd name="T56" fmla="*/ 988 w 1439"/>
                  <a:gd name="T57" fmla="*/ 57 h 198"/>
                  <a:gd name="T58" fmla="*/ 931 w 1439"/>
                  <a:gd name="T59" fmla="*/ 57 h 198"/>
                  <a:gd name="T60" fmla="*/ 931 w 1439"/>
                  <a:gd name="T61" fmla="*/ 198 h 198"/>
                  <a:gd name="T62" fmla="*/ 1129 w 1439"/>
                  <a:gd name="T63" fmla="*/ 198 h 198"/>
                  <a:gd name="T64" fmla="*/ 1129 w 1439"/>
                  <a:gd name="T65" fmla="*/ 57 h 198"/>
                  <a:gd name="T66" fmla="*/ 1073 w 1439"/>
                  <a:gd name="T67" fmla="*/ 57 h 198"/>
                  <a:gd name="T68" fmla="*/ 1073 w 1439"/>
                  <a:gd name="T69" fmla="*/ 0 h 198"/>
                  <a:gd name="T70" fmla="*/ 988 w 1439"/>
                  <a:gd name="T71" fmla="*/ 0 h 198"/>
                  <a:gd name="T72" fmla="*/ 1298 w 1439"/>
                  <a:gd name="T73" fmla="*/ 0 h 198"/>
                  <a:gd name="T74" fmla="*/ 1298 w 1439"/>
                  <a:gd name="T75" fmla="*/ 57 h 198"/>
                  <a:gd name="T76" fmla="*/ 1242 w 1439"/>
                  <a:gd name="T77" fmla="*/ 57 h 198"/>
                  <a:gd name="T78" fmla="*/ 1242 w 1439"/>
                  <a:gd name="T79" fmla="*/ 198 h 198"/>
                  <a:gd name="T80" fmla="*/ 1439 w 1439"/>
                  <a:gd name="T81" fmla="*/ 198 h 198"/>
                  <a:gd name="T82" fmla="*/ 1439 w 1439"/>
                  <a:gd name="T83" fmla="*/ 57 h 198"/>
                  <a:gd name="T84" fmla="*/ 1383 w 1439"/>
                  <a:gd name="T85" fmla="*/ 57 h 198"/>
                  <a:gd name="T86" fmla="*/ 1383 w 1439"/>
                  <a:gd name="T87" fmla="*/ 0 h 198"/>
                  <a:gd name="T88" fmla="*/ 1298 w 1439"/>
                  <a:gd name="T89" fmla="*/ 0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439" h="198">
                    <a:moveTo>
                      <a:pt x="57" y="0"/>
                    </a:moveTo>
                    <a:lnTo>
                      <a:pt x="57" y="57"/>
                    </a:lnTo>
                    <a:lnTo>
                      <a:pt x="0" y="57"/>
                    </a:lnTo>
                    <a:lnTo>
                      <a:pt x="0" y="198"/>
                    </a:lnTo>
                    <a:lnTo>
                      <a:pt x="198" y="198"/>
                    </a:lnTo>
                    <a:lnTo>
                      <a:pt x="198" y="57"/>
                    </a:lnTo>
                    <a:lnTo>
                      <a:pt x="141" y="57"/>
                    </a:lnTo>
                    <a:lnTo>
                      <a:pt x="141" y="0"/>
                    </a:lnTo>
                    <a:lnTo>
                      <a:pt x="57" y="0"/>
                    </a:lnTo>
                    <a:close/>
                    <a:moveTo>
                      <a:pt x="367" y="0"/>
                    </a:moveTo>
                    <a:lnTo>
                      <a:pt x="367" y="57"/>
                    </a:lnTo>
                    <a:lnTo>
                      <a:pt x="311" y="57"/>
                    </a:lnTo>
                    <a:lnTo>
                      <a:pt x="311" y="198"/>
                    </a:lnTo>
                    <a:lnTo>
                      <a:pt x="508" y="198"/>
                    </a:lnTo>
                    <a:lnTo>
                      <a:pt x="508" y="57"/>
                    </a:lnTo>
                    <a:lnTo>
                      <a:pt x="452" y="57"/>
                    </a:lnTo>
                    <a:lnTo>
                      <a:pt x="452" y="0"/>
                    </a:lnTo>
                    <a:lnTo>
                      <a:pt x="367" y="0"/>
                    </a:lnTo>
                    <a:close/>
                    <a:moveTo>
                      <a:pt x="677" y="0"/>
                    </a:moveTo>
                    <a:lnTo>
                      <a:pt x="677" y="57"/>
                    </a:lnTo>
                    <a:lnTo>
                      <a:pt x="621" y="57"/>
                    </a:lnTo>
                    <a:lnTo>
                      <a:pt x="621" y="198"/>
                    </a:lnTo>
                    <a:lnTo>
                      <a:pt x="819" y="198"/>
                    </a:lnTo>
                    <a:lnTo>
                      <a:pt x="819" y="57"/>
                    </a:lnTo>
                    <a:lnTo>
                      <a:pt x="762" y="57"/>
                    </a:lnTo>
                    <a:lnTo>
                      <a:pt x="762" y="0"/>
                    </a:lnTo>
                    <a:lnTo>
                      <a:pt x="677" y="0"/>
                    </a:lnTo>
                    <a:close/>
                    <a:moveTo>
                      <a:pt x="988" y="0"/>
                    </a:moveTo>
                    <a:lnTo>
                      <a:pt x="988" y="57"/>
                    </a:lnTo>
                    <a:lnTo>
                      <a:pt x="931" y="57"/>
                    </a:lnTo>
                    <a:lnTo>
                      <a:pt x="931" y="198"/>
                    </a:lnTo>
                    <a:lnTo>
                      <a:pt x="1129" y="198"/>
                    </a:lnTo>
                    <a:lnTo>
                      <a:pt x="1129" y="57"/>
                    </a:lnTo>
                    <a:lnTo>
                      <a:pt x="1073" y="57"/>
                    </a:lnTo>
                    <a:lnTo>
                      <a:pt x="1073" y="0"/>
                    </a:lnTo>
                    <a:lnTo>
                      <a:pt x="988" y="0"/>
                    </a:lnTo>
                    <a:close/>
                    <a:moveTo>
                      <a:pt x="1298" y="0"/>
                    </a:moveTo>
                    <a:lnTo>
                      <a:pt x="1298" y="57"/>
                    </a:lnTo>
                    <a:lnTo>
                      <a:pt x="1242" y="57"/>
                    </a:lnTo>
                    <a:lnTo>
                      <a:pt x="1242" y="198"/>
                    </a:lnTo>
                    <a:lnTo>
                      <a:pt x="1439" y="198"/>
                    </a:lnTo>
                    <a:lnTo>
                      <a:pt x="1439" y="57"/>
                    </a:lnTo>
                    <a:lnTo>
                      <a:pt x="1383" y="57"/>
                    </a:lnTo>
                    <a:lnTo>
                      <a:pt x="1383" y="0"/>
                    </a:lnTo>
                    <a:lnTo>
                      <a:pt x="1298" y="0"/>
                    </a:lnTo>
                    <a:close/>
                  </a:path>
                </a:pathLst>
              </a:custGeom>
              <a:solidFill>
                <a:schemeClr val="accent1"/>
              </a:solidFill>
              <a:ln w="0">
                <a:noFill/>
                <a:prstDash val="solid"/>
                <a:round/>
                <a:headEnd/>
                <a:tailEnd/>
              </a:ln>
            </p:spPr>
            <p:txBody>
              <a:bodyPr vert="horz" wrap="square" lIns="91440" tIns="45720" rIns="91440" bIns="45720" numCol="1" anchor="ctr"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32650">
                  <a:defRPr/>
                </a:pPr>
                <a:endParaRPr lang="en-US" sz="3300" dirty="0">
                  <a:solidFill>
                    <a:srgbClr val="000000"/>
                  </a:solidFill>
                </a:endParaRPr>
              </a:p>
            </p:txBody>
          </p:sp>
          <p:sp>
            <p:nvSpPr>
              <p:cNvPr id="105" name="Network Switch Part 1"/>
              <p:cNvSpPr>
                <a:spLocks noChangeArrowheads="1"/>
              </p:cNvSpPr>
              <p:nvPr/>
            </p:nvSpPr>
            <p:spPr bwMode="auto">
              <a:xfrm>
                <a:off x="963613" y="2947988"/>
                <a:ext cx="52388" cy="25400"/>
              </a:xfrm>
              <a:prstGeom prst="rect">
                <a:avLst/>
              </a:prstGeom>
              <a:solidFill>
                <a:schemeClr val="accent2"/>
              </a:solidFill>
              <a:ln w="0">
                <a:noFill/>
                <a:prstDash val="solid"/>
                <a:miter lim="800000"/>
                <a:headEnd/>
                <a:tailEnd/>
              </a:ln>
            </p:spPr>
            <p:txBody>
              <a:bodyPr vert="horz" wrap="square" lIns="91440" tIns="45720" rIns="91440" bIns="45720" numCol="1" anchor="ctr"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32650">
                  <a:defRPr/>
                </a:pPr>
                <a:endParaRPr lang="en-US" sz="3300" dirty="0">
                  <a:solidFill>
                    <a:srgbClr val="000000"/>
                  </a:solidFill>
                </a:endParaRPr>
              </a:p>
            </p:txBody>
          </p:sp>
        </p:grpSp>
        <p:sp>
          <p:nvSpPr>
            <p:cNvPr id="99" name="TextBox 98"/>
            <p:cNvSpPr txBox="1"/>
            <p:nvPr/>
          </p:nvSpPr>
          <p:spPr>
            <a:xfrm>
              <a:off x="5168204" y="6133045"/>
              <a:ext cx="1373483" cy="190114"/>
            </a:xfrm>
            <a:prstGeom prst="rect">
              <a:avLst/>
            </a:prstGeom>
            <a:noFill/>
          </p:spPr>
          <p:txBody>
            <a:bodyPr wrap="none" lIns="0" tIns="0" rIns="0" bIns="0" rtlCol="0">
              <a:spAutoFit/>
            </a:bodyPr>
            <a:lstStyle/>
            <a:p>
              <a:pPr algn="ctr" defTabSz="932688">
                <a:lnSpc>
                  <a:spcPct val="90000"/>
                </a:lnSpc>
                <a:spcAft>
                  <a:spcPts val="612"/>
                </a:spcAft>
                <a:defRPr/>
              </a:pPr>
              <a:r>
                <a:rPr lang="en-US" sz="1400" kern="0" dirty="0">
                  <a:solidFill>
                    <a:srgbClr val="505050"/>
                  </a:solidFill>
                  <a:ea typeface="Segoe UI" pitchFamily="34" charset="0"/>
                  <a:cs typeface="Segoe UI" pitchFamily="34" charset="0"/>
                </a:rPr>
                <a:t>Azure Event Hubs</a:t>
              </a:r>
            </a:p>
          </p:txBody>
        </p:sp>
      </p:grpSp>
      <p:grpSp>
        <p:nvGrpSpPr>
          <p:cNvPr id="106" name="Group 105"/>
          <p:cNvGrpSpPr/>
          <p:nvPr/>
        </p:nvGrpSpPr>
        <p:grpSpPr>
          <a:xfrm>
            <a:off x="10312870" y="3098012"/>
            <a:ext cx="1628672" cy="832694"/>
            <a:chOff x="10110139" y="3037540"/>
            <a:chExt cx="1596656" cy="816441"/>
          </a:xfrm>
        </p:grpSpPr>
        <p:sp>
          <p:nvSpPr>
            <p:cNvPr id="107" name="Rectangle 106"/>
            <p:cNvSpPr/>
            <p:nvPr/>
          </p:nvSpPr>
          <p:spPr>
            <a:xfrm>
              <a:off x="10110139" y="3638537"/>
              <a:ext cx="1596656" cy="215444"/>
            </a:xfrm>
            <a:prstGeom prst="rect">
              <a:avLst/>
            </a:prstGeom>
          </p:spPr>
          <p:txBody>
            <a:bodyPr wrap="square" lIns="0" tIns="0" rIns="0" bIns="0">
              <a:spAutoFit/>
            </a:bodyPr>
            <a:lstStyle/>
            <a:p>
              <a:pPr defTabSz="932346">
                <a:defRPr/>
              </a:pPr>
              <a:r>
                <a:rPr lang="en-US" sz="1400" kern="0" dirty="0">
                  <a:solidFill>
                    <a:srgbClr val="505050"/>
                  </a:solidFill>
                  <a:ea typeface="Segoe UI" pitchFamily="34" charset="0"/>
                  <a:cs typeface="Segoe UI" pitchFamily="34" charset="0"/>
                </a:rPr>
                <a:t>Azure Storage Blobs</a:t>
              </a:r>
            </a:p>
          </p:txBody>
        </p:sp>
        <p:grpSp>
          <p:nvGrpSpPr>
            <p:cNvPr id="108" name="Group 107"/>
            <p:cNvGrpSpPr/>
            <p:nvPr/>
          </p:nvGrpSpPr>
          <p:grpSpPr>
            <a:xfrm>
              <a:off x="10549993" y="3037540"/>
              <a:ext cx="716949" cy="571500"/>
              <a:chOff x="10549992" y="2941320"/>
              <a:chExt cx="716949" cy="571500"/>
            </a:xfrm>
          </p:grpSpPr>
          <p:sp>
            <p:nvSpPr>
              <p:cNvPr id="109" name="Rectangle 209"/>
              <p:cNvSpPr>
                <a:spLocks noChangeArrowheads="1"/>
              </p:cNvSpPr>
              <p:nvPr/>
            </p:nvSpPr>
            <p:spPr bwMode="auto">
              <a:xfrm>
                <a:off x="10549992" y="2941320"/>
                <a:ext cx="716949" cy="571500"/>
              </a:xfrm>
              <a:prstGeom prst="rect">
                <a:avLst/>
              </a:prstGeom>
              <a:solidFill>
                <a:srgbClr val="7030A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45720" tIns="18288" rIns="45720" bIns="18288" numCol="1" anchor="b" anchorCtr="0" compatLnSpc="1">
                <a:prstTxWarp prst="textNoShape">
                  <a:avLst/>
                </a:prstTxWarp>
              </a:bodyPr>
              <a:lstStyle/>
              <a:p>
                <a:pPr defTabSz="932688">
                  <a:defRPr/>
                </a:pPr>
                <a:endParaRPr lang="en-GB" sz="600" kern="0" dirty="0">
                  <a:solidFill>
                    <a:srgbClr val="FFFFFF"/>
                  </a:solidFill>
                </a:endParaRPr>
              </a:p>
            </p:txBody>
          </p:sp>
          <p:sp>
            <p:nvSpPr>
              <p:cNvPr id="110" name="Freeform 218"/>
              <p:cNvSpPr>
                <a:spLocks noEditPoints="1"/>
              </p:cNvSpPr>
              <p:nvPr/>
            </p:nvSpPr>
            <p:spPr bwMode="auto">
              <a:xfrm>
                <a:off x="10585882" y="3049623"/>
                <a:ext cx="643460" cy="411029"/>
              </a:xfrm>
              <a:custGeom>
                <a:avLst/>
                <a:gdLst>
                  <a:gd name="T0" fmla="*/ 736 w 753"/>
                  <a:gd name="T1" fmla="*/ 15 h 481"/>
                  <a:gd name="T2" fmla="*/ 736 w 753"/>
                  <a:gd name="T3" fmla="*/ 463 h 481"/>
                  <a:gd name="T4" fmla="*/ 17 w 753"/>
                  <a:gd name="T5" fmla="*/ 463 h 481"/>
                  <a:gd name="T6" fmla="*/ 17 w 753"/>
                  <a:gd name="T7" fmla="*/ 15 h 481"/>
                  <a:gd name="T8" fmla="*/ 736 w 753"/>
                  <a:gd name="T9" fmla="*/ 15 h 481"/>
                  <a:gd name="T10" fmla="*/ 753 w 753"/>
                  <a:gd name="T11" fmla="*/ 0 h 481"/>
                  <a:gd name="T12" fmla="*/ 0 w 753"/>
                  <a:gd name="T13" fmla="*/ 0 h 481"/>
                  <a:gd name="T14" fmla="*/ 0 w 753"/>
                  <a:gd name="T15" fmla="*/ 481 h 481"/>
                  <a:gd name="T16" fmla="*/ 753 w 753"/>
                  <a:gd name="T17" fmla="*/ 481 h 481"/>
                  <a:gd name="T18" fmla="*/ 753 w 753"/>
                  <a:gd name="T19" fmla="*/ 0 h 481"/>
                  <a:gd name="T20" fmla="*/ 753 w 753"/>
                  <a:gd name="T21" fmla="*/ 0 h 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53" h="481">
                    <a:moveTo>
                      <a:pt x="736" y="15"/>
                    </a:moveTo>
                    <a:lnTo>
                      <a:pt x="736" y="463"/>
                    </a:lnTo>
                    <a:lnTo>
                      <a:pt x="17" y="463"/>
                    </a:lnTo>
                    <a:lnTo>
                      <a:pt x="17" y="15"/>
                    </a:lnTo>
                    <a:lnTo>
                      <a:pt x="736" y="15"/>
                    </a:lnTo>
                    <a:close/>
                    <a:moveTo>
                      <a:pt x="753" y="0"/>
                    </a:moveTo>
                    <a:lnTo>
                      <a:pt x="0" y="0"/>
                    </a:lnTo>
                    <a:lnTo>
                      <a:pt x="0" y="481"/>
                    </a:lnTo>
                    <a:lnTo>
                      <a:pt x="753" y="481"/>
                    </a:lnTo>
                    <a:lnTo>
                      <a:pt x="753" y="0"/>
                    </a:lnTo>
                    <a:lnTo>
                      <a:pt x="753" y="0"/>
                    </a:lnTo>
                    <a:close/>
                  </a:path>
                </a:pathLst>
              </a:custGeom>
              <a:solidFill>
                <a:schemeClr val="bg1"/>
              </a:solidFill>
              <a:ln w="9525">
                <a:solidFill>
                  <a:schemeClr val="bg1"/>
                </a:solidFill>
                <a:round/>
                <a:headEnd/>
                <a:tailEnd/>
              </a:ln>
              <a:extLst/>
            </p:spPr>
            <p:txBody>
              <a:bodyPr vert="horz" wrap="square" lIns="91440" tIns="45720" rIns="91440" bIns="45720" numCol="1" anchor="t" anchorCtr="0" compatLnSpc="1">
                <a:prstTxWarp prst="textNoShape">
                  <a:avLst/>
                </a:prstTxWarp>
              </a:bodyPr>
              <a:lstStyle/>
              <a:p>
                <a:pPr defTabSz="932688">
                  <a:defRPr/>
                </a:pPr>
                <a:endParaRPr lang="en-GB" sz="1500" kern="0" dirty="0">
                  <a:solidFill>
                    <a:srgbClr val="000000"/>
                  </a:solidFill>
                </a:endParaRPr>
              </a:p>
            </p:txBody>
          </p:sp>
          <p:sp>
            <p:nvSpPr>
              <p:cNvPr id="111" name="Freeform 219"/>
              <p:cNvSpPr>
                <a:spLocks noEditPoints="1"/>
              </p:cNvSpPr>
              <p:nvPr/>
            </p:nvSpPr>
            <p:spPr bwMode="auto">
              <a:xfrm>
                <a:off x="10585882" y="3049623"/>
                <a:ext cx="643460" cy="411029"/>
              </a:xfrm>
              <a:custGeom>
                <a:avLst/>
                <a:gdLst>
                  <a:gd name="T0" fmla="*/ 736 w 753"/>
                  <a:gd name="T1" fmla="*/ 15 h 481"/>
                  <a:gd name="T2" fmla="*/ 736 w 753"/>
                  <a:gd name="T3" fmla="*/ 463 h 481"/>
                  <a:gd name="T4" fmla="*/ 17 w 753"/>
                  <a:gd name="T5" fmla="*/ 463 h 481"/>
                  <a:gd name="T6" fmla="*/ 17 w 753"/>
                  <a:gd name="T7" fmla="*/ 15 h 481"/>
                  <a:gd name="T8" fmla="*/ 736 w 753"/>
                  <a:gd name="T9" fmla="*/ 15 h 481"/>
                  <a:gd name="T10" fmla="*/ 753 w 753"/>
                  <a:gd name="T11" fmla="*/ 0 h 481"/>
                  <a:gd name="T12" fmla="*/ 0 w 753"/>
                  <a:gd name="T13" fmla="*/ 0 h 481"/>
                  <a:gd name="T14" fmla="*/ 0 w 753"/>
                  <a:gd name="T15" fmla="*/ 481 h 481"/>
                  <a:gd name="T16" fmla="*/ 753 w 753"/>
                  <a:gd name="T17" fmla="*/ 481 h 481"/>
                  <a:gd name="T18" fmla="*/ 753 w 753"/>
                  <a:gd name="T19" fmla="*/ 0 h 481"/>
                  <a:gd name="T20" fmla="*/ 753 w 753"/>
                  <a:gd name="T21" fmla="*/ 0 h 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53" h="481">
                    <a:moveTo>
                      <a:pt x="736" y="15"/>
                    </a:moveTo>
                    <a:lnTo>
                      <a:pt x="736" y="463"/>
                    </a:lnTo>
                    <a:lnTo>
                      <a:pt x="17" y="463"/>
                    </a:lnTo>
                    <a:lnTo>
                      <a:pt x="17" y="15"/>
                    </a:lnTo>
                    <a:lnTo>
                      <a:pt x="736" y="15"/>
                    </a:lnTo>
                    <a:moveTo>
                      <a:pt x="753" y="0"/>
                    </a:moveTo>
                    <a:lnTo>
                      <a:pt x="0" y="0"/>
                    </a:lnTo>
                    <a:lnTo>
                      <a:pt x="0" y="481"/>
                    </a:lnTo>
                    <a:lnTo>
                      <a:pt x="753" y="481"/>
                    </a:lnTo>
                    <a:lnTo>
                      <a:pt x="753" y="0"/>
                    </a:lnTo>
                    <a:lnTo>
                      <a:pt x="753" y="0"/>
                    </a:lnTo>
                  </a:path>
                </a:pathLst>
              </a:custGeom>
              <a:solidFill>
                <a:schemeClr val="bg1"/>
              </a:solidFill>
              <a:ln w="9525">
                <a:solidFill>
                  <a:schemeClr val="bg1"/>
                </a:solidFill>
                <a:round/>
                <a:headEnd/>
                <a:tailEnd/>
              </a:ln>
              <a:extLst/>
            </p:spPr>
            <p:txBody>
              <a:bodyPr vert="horz" wrap="square" lIns="91440" tIns="45720" rIns="91440" bIns="45720" numCol="1" anchor="t" anchorCtr="0" compatLnSpc="1">
                <a:prstTxWarp prst="textNoShape">
                  <a:avLst/>
                </a:prstTxWarp>
              </a:bodyPr>
              <a:lstStyle/>
              <a:p>
                <a:pPr defTabSz="932688">
                  <a:defRPr/>
                </a:pPr>
                <a:endParaRPr lang="en-GB" sz="1500" kern="0" dirty="0">
                  <a:solidFill>
                    <a:srgbClr val="000000"/>
                  </a:solidFill>
                </a:endParaRPr>
              </a:p>
            </p:txBody>
          </p:sp>
          <p:sp>
            <p:nvSpPr>
              <p:cNvPr id="112" name="Line 220"/>
              <p:cNvSpPr>
                <a:spLocks noChangeShapeType="1"/>
              </p:cNvSpPr>
              <p:nvPr/>
            </p:nvSpPr>
            <p:spPr bwMode="auto">
              <a:xfrm>
                <a:off x="10585882" y="3188912"/>
                <a:ext cx="643460" cy="0"/>
              </a:xfrm>
              <a:prstGeom prst="line">
                <a:avLst/>
              </a:prstGeom>
              <a:noFill/>
              <a:ln w="26988"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32688">
                  <a:defRPr/>
                </a:pPr>
                <a:endParaRPr lang="en-GB" sz="1500" kern="0" dirty="0">
                  <a:solidFill>
                    <a:srgbClr val="000000"/>
                  </a:solidFill>
                </a:endParaRPr>
              </a:p>
            </p:txBody>
          </p:sp>
          <p:sp>
            <p:nvSpPr>
              <p:cNvPr id="113" name="Line 221"/>
              <p:cNvSpPr>
                <a:spLocks noChangeShapeType="1"/>
              </p:cNvSpPr>
              <p:nvPr/>
            </p:nvSpPr>
            <p:spPr bwMode="auto">
              <a:xfrm flipH="1">
                <a:off x="10585882" y="3319655"/>
                <a:ext cx="643460" cy="0"/>
              </a:xfrm>
              <a:prstGeom prst="line">
                <a:avLst/>
              </a:prstGeom>
              <a:noFill/>
              <a:ln w="26988"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32688">
                  <a:defRPr/>
                </a:pPr>
                <a:endParaRPr lang="en-GB" sz="1500" kern="0" dirty="0">
                  <a:solidFill>
                    <a:srgbClr val="000000"/>
                  </a:solidFill>
                </a:endParaRPr>
              </a:p>
            </p:txBody>
          </p:sp>
          <p:sp>
            <p:nvSpPr>
              <p:cNvPr id="114" name="Line 222"/>
              <p:cNvSpPr>
                <a:spLocks noChangeShapeType="1"/>
              </p:cNvSpPr>
              <p:nvPr/>
            </p:nvSpPr>
            <p:spPr bwMode="auto">
              <a:xfrm>
                <a:off x="11016564" y="3049623"/>
                <a:ext cx="0" cy="406756"/>
              </a:xfrm>
              <a:prstGeom prst="line">
                <a:avLst/>
              </a:prstGeom>
              <a:noFill/>
              <a:ln w="26988"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32688">
                  <a:defRPr/>
                </a:pPr>
                <a:endParaRPr lang="en-GB" sz="1500" kern="0" dirty="0">
                  <a:solidFill>
                    <a:srgbClr val="000000"/>
                  </a:solidFill>
                </a:endParaRPr>
              </a:p>
            </p:txBody>
          </p:sp>
          <p:sp>
            <p:nvSpPr>
              <p:cNvPr id="115" name="Line 223"/>
              <p:cNvSpPr>
                <a:spLocks noChangeShapeType="1"/>
              </p:cNvSpPr>
              <p:nvPr/>
            </p:nvSpPr>
            <p:spPr bwMode="auto">
              <a:xfrm flipV="1">
                <a:off x="10800369" y="3049623"/>
                <a:ext cx="0" cy="406756"/>
              </a:xfrm>
              <a:prstGeom prst="line">
                <a:avLst/>
              </a:prstGeom>
              <a:noFill/>
              <a:ln w="26988"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32688">
                  <a:defRPr/>
                </a:pPr>
                <a:endParaRPr lang="en-GB" sz="1500" kern="0" dirty="0">
                  <a:solidFill>
                    <a:srgbClr val="000000"/>
                  </a:solidFill>
                </a:endParaRPr>
              </a:p>
            </p:txBody>
          </p:sp>
          <p:sp>
            <p:nvSpPr>
              <p:cNvPr id="116" name="Freeform 219"/>
              <p:cNvSpPr>
                <a:spLocks noEditPoints="1"/>
              </p:cNvSpPr>
              <p:nvPr/>
            </p:nvSpPr>
            <p:spPr bwMode="auto">
              <a:xfrm>
                <a:off x="10585882" y="2983398"/>
                <a:ext cx="643460" cy="84406"/>
              </a:xfrm>
              <a:prstGeom prst="rect">
                <a:avLst/>
              </a:prstGeom>
              <a:solidFill>
                <a:schemeClr val="bg1"/>
              </a:solidFill>
              <a:ln w="9525">
                <a:solidFill>
                  <a:schemeClr val="bg1"/>
                </a:solidFill>
                <a:round/>
                <a:headEnd/>
                <a:tailEnd/>
              </a:ln>
              <a:extLst/>
            </p:spPr>
            <p:txBody>
              <a:bodyPr vert="horz" wrap="square" lIns="91440" tIns="45720" rIns="91440" bIns="45720" numCol="1" anchor="t" anchorCtr="0" compatLnSpc="1">
                <a:prstTxWarp prst="textNoShape">
                  <a:avLst/>
                </a:prstTxWarp>
              </a:bodyPr>
              <a:lstStyle/>
              <a:p>
                <a:pPr defTabSz="932688">
                  <a:defRPr/>
                </a:pPr>
                <a:endParaRPr lang="en-GB" sz="1500" kern="0" dirty="0">
                  <a:solidFill>
                    <a:srgbClr val="000000"/>
                  </a:solidFill>
                </a:endParaRPr>
              </a:p>
            </p:txBody>
          </p:sp>
        </p:grpSp>
      </p:grpSp>
      <p:grpSp>
        <p:nvGrpSpPr>
          <p:cNvPr id="117" name="Group 116"/>
          <p:cNvGrpSpPr/>
          <p:nvPr/>
        </p:nvGrpSpPr>
        <p:grpSpPr>
          <a:xfrm>
            <a:off x="10261632" y="5306438"/>
            <a:ext cx="1587197" cy="1127866"/>
            <a:chOff x="10059909" y="5202860"/>
            <a:chExt cx="1555996" cy="1105851"/>
          </a:xfrm>
        </p:grpSpPr>
        <p:sp>
          <p:nvSpPr>
            <p:cNvPr id="118" name="Rectangle 117"/>
            <p:cNvSpPr/>
            <p:nvPr/>
          </p:nvSpPr>
          <p:spPr>
            <a:xfrm>
              <a:off x="10201030" y="6093267"/>
              <a:ext cx="1414875" cy="215444"/>
            </a:xfrm>
            <a:prstGeom prst="rect">
              <a:avLst/>
            </a:prstGeom>
          </p:spPr>
          <p:txBody>
            <a:bodyPr wrap="square" lIns="0" tIns="0" rIns="0" bIns="0">
              <a:spAutoFit/>
            </a:bodyPr>
            <a:lstStyle/>
            <a:p>
              <a:pPr algn="ctr" defTabSz="932346">
                <a:defRPr/>
              </a:pPr>
              <a:r>
                <a:rPr lang="en-US" sz="1400" kern="0" dirty="0">
                  <a:solidFill>
                    <a:srgbClr val="505050"/>
                  </a:solidFill>
                  <a:ea typeface="Segoe UI" pitchFamily="34" charset="0"/>
                  <a:cs typeface="Segoe UI" pitchFamily="34" charset="0"/>
                </a:rPr>
                <a:t>Custom programs</a:t>
              </a:r>
            </a:p>
          </p:txBody>
        </p:sp>
        <p:grpSp>
          <p:nvGrpSpPr>
            <p:cNvPr id="119" name="Group 118"/>
            <p:cNvGrpSpPr/>
            <p:nvPr/>
          </p:nvGrpSpPr>
          <p:grpSpPr>
            <a:xfrm>
              <a:off x="10059909" y="5202860"/>
              <a:ext cx="1284366" cy="704227"/>
              <a:chOff x="9421813" y="4852988"/>
              <a:chExt cx="1922462" cy="1054100"/>
            </a:xfrm>
          </p:grpSpPr>
          <p:sp>
            <p:nvSpPr>
              <p:cNvPr id="120" name="Freeform 53"/>
              <p:cNvSpPr>
                <a:spLocks/>
              </p:cNvSpPr>
              <p:nvPr/>
            </p:nvSpPr>
            <p:spPr bwMode="auto">
              <a:xfrm>
                <a:off x="11122025" y="5799138"/>
                <a:ext cx="222250" cy="107950"/>
              </a:xfrm>
              <a:custGeom>
                <a:avLst/>
                <a:gdLst>
                  <a:gd name="T0" fmla="*/ 51 w 100"/>
                  <a:gd name="T1" fmla="*/ 1 h 49"/>
                  <a:gd name="T2" fmla="*/ 0 w 100"/>
                  <a:gd name="T3" fmla="*/ 49 h 49"/>
                  <a:gd name="T4" fmla="*/ 99 w 100"/>
                  <a:gd name="T5" fmla="*/ 49 h 49"/>
                  <a:gd name="T6" fmla="*/ 51 w 100"/>
                  <a:gd name="T7" fmla="*/ 1 h 49"/>
                </a:gdLst>
                <a:ahLst/>
                <a:cxnLst>
                  <a:cxn ang="0">
                    <a:pos x="T0" y="T1"/>
                  </a:cxn>
                  <a:cxn ang="0">
                    <a:pos x="T2" y="T3"/>
                  </a:cxn>
                  <a:cxn ang="0">
                    <a:pos x="T4" y="T5"/>
                  </a:cxn>
                  <a:cxn ang="0">
                    <a:pos x="T6" y="T7"/>
                  </a:cxn>
                </a:cxnLst>
                <a:rect l="0" t="0" r="r" b="b"/>
                <a:pathLst>
                  <a:path w="100" h="49">
                    <a:moveTo>
                      <a:pt x="51" y="1"/>
                    </a:moveTo>
                    <a:cubicBezTo>
                      <a:pt x="24" y="0"/>
                      <a:pt x="1" y="21"/>
                      <a:pt x="0" y="49"/>
                    </a:cubicBezTo>
                    <a:cubicBezTo>
                      <a:pt x="99" y="49"/>
                      <a:pt x="99" y="49"/>
                      <a:pt x="99" y="49"/>
                    </a:cubicBezTo>
                    <a:cubicBezTo>
                      <a:pt x="100" y="21"/>
                      <a:pt x="79" y="2"/>
                      <a:pt x="51" y="1"/>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500" kern="0" dirty="0">
                  <a:solidFill>
                    <a:srgbClr val="000000"/>
                  </a:solidFill>
                </a:endParaRPr>
              </a:p>
            </p:txBody>
          </p:sp>
          <p:sp>
            <p:nvSpPr>
              <p:cNvPr id="121" name="Freeform 54"/>
              <p:cNvSpPr>
                <a:spLocks/>
              </p:cNvSpPr>
              <p:nvPr/>
            </p:nvSpPr>
            <p:spPr bwMode="auto">
              <a:xfrm>
                <a:off x="10712450" y="5800725"/>
                <a:ext cx="473075" cy="60325"/>
              </a:xfrm>
              <a:custGeom>
                <a:avLst/>
                <a:gdLst>
                  <a:gd name="T0" fmla="*/ 210 w 213"/>
                  <a:gd name="T1" fmla="*/ 27 h 27"/>
                  <a:gd name="T2" fmla="*/ 188 w 213"/>
                  <a:gd name="T3" fmla="*/ 17 h 27"/>
                  <a:gd name="T4" fmla="*/ 142 w 213"/>
                  <a:gd name="T5" fmla="*/ 8 h 27"/>
                  <a:gd name="T6" fmla="*/ 0 w 213"/>
                  <a:gd name="T7" fmla="*/ 8 h 27"/>
                  <a:gd name="T8" fmla="*/ 0 w 213"/>
                  <a:gd name="T9" fmla="*/ 0 h 27"/>
                  <a:gd name="T10" fmla="*/ 142 w 213"/>
                  <a:gd name="T11" fmla="*/ 0 h 27"/>
                  <a:gd name="T12" fmla="*/ 191 w 213"/>
                  <a:gd name="T13" fmla="*/ 10 h 27"/>
                  <a:gd name="T14" fmla="*/ 213 w 213"/>
                  <a:gd name="T15" fmla="*/ 20 h 27"/>
                  <a:gd name="T16" fmla="*/ 210 w 213"/>
                  <a:gd name="T17" fmla="*/ 27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3" h="27">
                    <a:moveTo>
                      <a:pt x="210" y="27"/>
                    </a:moveTo>
                    <a:cubicBezTo>
                      <a:pt x="188" y="17"/>
                      <a:pt x="188" y="17"/>
                      <a:pt x="188" y="17"/>
                    </a:cubicBezTo>
                    <a:cubicBezTo>
                      <a:pt x="177" y="12"/>
                      <a:pt x="155" y="8"/>
                      <a:pt x="142" y="8"/>
                    </a:cubicBezTo>
                    <a:cubicBezTo>
                      <a:pt x="0" y="8"/>
                      <a:pt x="0" y="8"/>
                      <a:pt x="0" y="8"/>
                    </a:cubicBezTo>
                    <a:cubicBezTo>
                      <a:pt x="0" y="0"/>
                      <a:pt x="0" y="0"/>
                      <a:pt x="0" y="0"/>
                    </a:cubicBezTo>
                    <a:cubicBezTo>
                      <a:pt x="142" y="0"/>
                      <a:pt x="142" y="0"/>
                      <a:pt x="142" y="0"/>
                    </a:cubicBezTo>
                    <a:cubicBezTo>
                      <a:pt x="157" y="0"/>
                      <a:pt x="179" y="5"/>
                      <a:pt x="191" y="10"/>
                    </a:cubicBezTo>
                    <a:cubicBezTo>
                      <a:pt x="213" y="20"/>
                      <a:pt x="213" y="20"/>
                      <a:pt x="213" y="20"/>
                    </a:cubicBezTo>
                    <a:lnTo>
                      <a:pt x="210" y="27"/>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500" kern="0" dirty="0">
                  <a:solidFill>
                    <a:srgbClr val="000000"/>
                  </a:solidFill>
                </a:endParaRPr>
              </a:p>
            </p:txBody>
          </p:sp>
          <p:sp>
            <p:nvSpPr>
              <p:cNvPr id="122" name="Oval 55"/>
              <p:cNvSpPr>
                <a:spLocks noChangeArrowheads="1"/>
              </p:cNvSpPr>
              <p:nvPr/>
            </p:nvSpPr>
            <p:spPr bwMode="auto">
              <a:xfrm>
                <a:off x="9915525" y="5627688"/>
                <a:ext cx="493713" cy="104775"/>
              </a:xfrm>
              <a:prstGeom prst="ellipse">
                <a:avLst/>
              </a:pr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500" kern="0" dirty="0">
                  <a:solidFill>
                    <a:srgbClr val="000000"/>
                  </a:solidFill>
                </a:endParaRPr>
              </a:p>
            </p:txBody>
          </p:sp>
          <p:sp>
            <p:nvSpPr>
              <p:cNvPr id="123" name="Freeform 56"/>
              <p:cNvSpPr>
                <a:spLocks/>
              </p:cNvSpPr>
              <p:nvPr/>
            </p:nvSpPr>
            <p:spPr bwMode="auto">
              <a:xfrm>
                <a:off x="9555163" y="4852988"/>
                <a:ext cx="1193800" cy="828675"/>
              </a:xfrm>
              <a:custGeom>
                <a:avLst/>
                <a:gdLst>
                  <a:gd name="T0" fmla="*/ 527 w 537"/>
                  <a:gd name="T1" fmla="*/ 373 h 373"/>
                  <a:gd name="T2" fmla="*/ 537 w 537"/>
                  <a:gd name="T3" fmla="*/ 362 h 373"/>
                  <a:gd name="T4" fmla="*/ 537 w 537"/>
                  <a:gd name="T5" fmla="*/ 11 h 373"/>
                  <a:gd name="T6" fmla="*/ 527 w 537"/>
                  <a:gd name="T7" fmla="*/ 0 h 373"/>
                  <a:gd name="T8" fmla="*/ 11 w 537"/>
                  <a:gd name="T9" fmla="*/ 0 h 373"/>
                  <a:gd name="T10" fmla="*/ 0 w 537"/>
                  <a:gd name="T11" fmla="*/ 11 h 373"/>
                  <a:gd name="T12" fmla="*/ 0 w 537"/>
                  <a:gd name="T13" fmla="*/ 362 h 373"/>
                  <a:gd name="T14" fmla="*/ 11 w 537"/>
                  <a:gd name="T15" fmla="*/ 373 h 373"/>
                  <a:gd name="T16" fmla="*/ 527 w 537"/>
                  <a:gd name="T17" fmla="*/ 373 h 3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37" h="373">
                    <a:moveTo>
                      <a:pt x="527" y="373"/>
                    </a:moveTo>
                    <a:cubicBezTo>
                      <a:pt x="532" y="373"/>
                      <a:pt x="537" y="368"/>
                      <a:pt x="537" y="362"/>
                    </a:cubicBezTo>
                    <a:cubicBezTo>
                      <a:pt x="537" y="11"/>
                      <a:pt x="537" y="11"/>
                      <a:pt x="537" y="11"/>
                    </a:cubicBezTo>
                    <a:cubicBezTo>
                      <a:pt x="537" y="5"/>
                      <a:pt x="532" y="0"/>
                      <a:pt x="527" y="0"/>
                    </a:cubicBezTo>
                    <a:cubicBezTo>
                      <a:pt x="11" y="0"/>
                      <a:pt x="11" y="0"/>
                      <a:pt x="11" y="0"/>
                    </a:cubicBezTo>
                    <a:cubicBezTo>
                      <a:pt x="5" y="0"/>
                      <a:pt x="0" y="5"/>
                      <a:pt x="0" y="11"/>
                    </a:cubicBezTo>
                    <a:cubicBezTo>
                      <a:pt x="0" y="362"/>
                      <a:pt x="0" y="362"/>
                      <a:pt x="0" y="362"/>
                    </a:cubicBezTo>
                    <a:cubicBezTo>
                      <a:pt x="0" y="368"/>
                      <a:pt x="5" y="373"/>
                      <a:pt x="11" y="373"/>
                    </a:cubicBezTo>
                    <a:lnTo>
                      <a:pt x="527" y="373"/>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500" kern="0" dirty="0">
                  <a:solidFill>
                    <a:srgbClr val="000000"/>
                  </a:solidFill>
                </a:endParaRPr>
              </a:p>
            </p:txBody>
          </p:sp>
          <p:sp>
            <p:nvSpPr>
              <p:cNvPr id="124" name="Rectangle 57"/>
              <p:cNvSpPr>
                <a:spLocks noChangeArrowheads="1"/>
              </p:cNvSpPr>
              <p:nvPr/>
            </p:nvSpPr>
            <p:spPr bwMode="auto">
              <a:xfrm>
                <a:off x="9593263" y="4889500"/>
                <a:ext cx="1117600" cy="63341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500" kern="0" dirty="0">
                  <a:solidFill>
                    <a:srgbClr val="000000"/>
                  </a:solidFill>
                </a:endParaRPr>
              </a:p>
            </p:txBody>
          </p:sp>
          <p:sp>
            <p:nvSpPr>
              <p:cNvPr id="125" name="Rectangle 58"/>
              <p:cNvSpPr>
                <a:spLocks noChangeArrowheads="1"/>
              </p:cNvSpPr>
              <p:nvPr/>
            </p:nvSpPr>
            <p:spPr bwMode="auto">
              <a:xfrm>
                <a:off x="9421813" y="5849938"/>
                <a:ext cx="1477963" cy="55563"/>
              </a:xfrm>
              <a:prstGeom prst="rect">
                <a:avLst/>
              </a:prstGeom>
              <a:solidFill>
                <a:srgbClr val="44235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500" kern="0" dirty="0">
                  <a:solidFill>
                    <a:srgbClr val="000000"/>
                  </a:solidFill>
                </a:endParaRPr>
              </a:p>
            </p:txBody>
          </p:sp>
          <p:sp>
            <p:nvSpPr>
              <p:cNvPr id="126" name="Freeform 59"/>
              <p:cNvSpPr>
                <a:spLocks/>
              </p:cNvSpPr>
              <p:nvPr/>
            </p:nvSpPr>
            <p:spPr bwMode="auto">
              <a:xfrm>
                <a:off x="9421813" y="5783263"/>
                <a:ext cx="1477963" cy="66675"/>
              </a:xfrm>
              <a:custGeom>
                <a:avLst/>
                <a:gdLst>
                  <a:gd name="T0" fmla="*/ 931 w 931"/>
                  <a:gd name="T1" fmla="*/ 42 h 42"/>
                  <a:gd name="T2" fmla="*/ 0 w 931"/>
                  <a:gd name="T3" fmla="*/ 42 h 42"/>
                  <a:gd name="T4" fmla="*/ 59 w 931"/>
                  <a:gd name="T5" fmla="*/ 0 h 42"/>
                  <a:gd name="T6" fmla="*/ 873 w 931"/>
                  <a:gd name="T7" fmla="*/ 0 h 42"/>
                  <a:gd name="T8" fmla="*/ 931 w 931"/>
                  <a:gd name="T9" fmla="*/ 42 h 42"/>
                </a:gdLst>
                <a:ahLst/>
                <a:cxnLst>
                  <a:cxn ang="0">
                    <a:pos x="T0" y="T1"/>
                  </a:cxn>
                  <a:cxn ang="0">
                    <a:pos x="T2" y="T3"/>
                  </a:cxn>
                  <a:cxn ang="0">
                    <a:pos x="T4" y="T5"/>
                  </a:cxn>
                  <a:cxn ang="0">
                    <a:pos x="T6" y="T7"/>
                  </a:cxn>
                  <a:cxn ang="0">
                    <a:pos x="T8" y="T9"/>
                  </a:cxn>
                </a:cxnLst>
                <a:rect l="0" t="0" r="r" b="b"/>
                <a:pathLst>
                  <a:path w="931" h="42">
                    <a:moveTo>
                      <a:pt x="931" y="42"/>
                    </a:moveTo>
                    <a:lnTo>
                      <a:pt x="0" y="42"/>
                    </a:lnTo>
                    <a:lnTo>
                      <a:pt x="59" y="0"/>
                    </a:lnTo>
                    <a:lnTo>
                      <a:pt x="873" y="0"/>
                    </a:lnTo>
                    <a:lnTo>
                      <a:pt x="931" y="42"/>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500" kern="0" dirty="0">
                  <a:solidFill>
                    <a:srgbClr val="000000"/>
                  </a:solidFill>
                </a:endParaRPr>
              </a:p>
            </p:txBody>
          </p:sp>
          <p:grpSp>
            <p:nvGrpSpPr>
              <p:cNvPr id="127" name="Group 126"/>
              <p:cNvGrpSpPr/>
              <p:nvPr/>
            </p:nvGrpSpPr>
            <p:grpSpPr>
              <a:xfrm>
                <a:off x="10923587" y="4883150"/>
                <a:ext cx="420688" cy="798513"/>
                <a:chOff x="11093450" y="4883150"/>
                <a:chExt cx="420688" cy="798513"/>
              </a:xfrm>
            </p:grpSpPr>
            <p:sp>
              <p:nvSpPr>
                <p:cNvPr id="128" name="AutoShape 63"/>
                <p:cNvSpPr>
                  <a:spLocks noChangeAspect="1" noChangeArrowheads="1" noTextEdit="1"/>
                </p:cNvSpPr>
                <p:nvPr/>
              </p:nvSpPr>
              <p:spPr bwMode="auto">
                <a:xfrm>
                  <a:off x="11093450" y="4886325"/>
                  <a:ext cx="420688" cy="792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500" kern="0" dirty="0">
                    <a:solidFill>
                      <a:srgbClr val="000000"/>
                    </a:solidFill>
                  </a:endParaRPr>
                </a:p>
              </p:txBody>
            </p:sp>
            <p:sp>
              <p:nvSpPr>
                <p:cNvPr id="129" name="Freeform 65"/>
                <p:cNvSpPr>
                  <a:spLocks/>
                </p:cNvSpPr>
                <p:nvPr/>
              </p:nvSpPr>
              <p:spPr bwMode="auto">
                <a:xfrm>
                  <a:off x="11095038" y="4883150"/>
                  <a:ext cx="417513" cy="798513"/>
                </a:xfrm>
                <a:custGeom>
                  <a:avLst/>
                  <a:gdLst>
                    <a:gd name="T0" fmla="*/ 149 w 149"/>
                    <a:gd name="T1" fmla="*/ 280 h 287"/>
                    <a:gd name="T2" fmla="*/ 143 w 149"/>
                    <a:gd name="T3" fmla="*/ 287 h 287"/>
                    <a:gd name="T4" fmla="*/ 6 w 149"/>
                    <a:gd name="T5" fmla="*/ 287 h 287"/>
                    <a:gd name="T6" fmla="*/ 0 w 149"/>
                    <a:gd name="T7" fmla="*/ 280 h 287"/>
                    <a:gd name="T8" fmla="*/ 0 w 149"/>
                    <a:gd name="T9" fmla="*/ 7 h 287"/>
                    <a:gd name="T10" fmla="*/ 6 w 149"/>
                    <a:gd name="T11" fmla="*/ 0 h 287"/>
                    <a:gd name="T12" fmla="*/ 143 w 149"/>
                    <a:gd name="T13" fmla="*/ 0 h 287"/>
                    <a:gd name="T14" fmla="*/ 149 w 149"/>
                    <a:gd name="T15" fmla="*/ 7 h 287"/>
                    <a:gd name="T16" fmla="*/ 149 w 149"/>
                    <a:gd name="T17" fmla="*/ 280 h 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287">
                      <a:moveTo>
                        <a:pt x="149" y="280"/>
                      </a:moveTo>
                      <a:cubicBezTo>
                        <a:pt x="149" y="284"/>
                        <a:pt x="146" y="287"/>
                        <a:pt x="143" y="287"/>
                      </a:cubicBezTo>
                      <a:cubicBezTo>
                        <a:pt x="6" y="287"/>
                        <a:pt x="6" y="287"/>
                        <a:pt x="6" y="287"/>
                      </a:cubicBezTo>
                      <a:cubicBezTo>
                        <a:pt x="3" y="287"/>
                        <a:pt x="0" y="284"/>
                        <a:pt x="0" y="280"/>
                      </a:cubicBezTo>
                      <a:cubicBezTo>
                        <a:pt x="0" y="7"/>
                        <a:pt x="0" y="7"/>
                        <a:pt x="0" y="7"/>
                      </a:cubicBezTo>
                      <a:cubicBezTo>
                        <a:pt x="0" y="3"/>
                        <a:pt x="3" y="0"/>
                        <a:pt x="6" y="0"/>
                      </a:cubicBezTo>
                      <a:cubicBezTo>
                        <a:pt x="143" y="0"/>
                        <a:pt x="143" y="0"/>
                        <a:pt x="143" y="0"/>
                      </a:cubicBezTo>
                      <a:cubicBezTo>
                        <a:pt x="146" y="0"/>
                        <a:pt x="149" y="3"/>
                        <a:pt x="149" y="7"/>
                      </a:cubicBezTo>
                      <a:lnTo>
                        <a:pt x="149" y="280"/>
                      </a:lnTo>
                      <a:close/>
                    </a:path>
                  </a:pathLst>
                </a:custGeom>
                <a:solidFill>
                  <a:srgbClr val="442359"/>
                </a:solidFill>
                <a:ln>
                  <a:noFill/>
                </a:ln>
              </p:spPr>
              <p:txBody>
                <a:bodyPr vert="horz" wrap="square" lIns="91440" tIns="45720" rIns="91440" bIns="45720" numCol="1" anchor="t" anchorCtr="0" compatLnSpc="1">
                  <a:prstTxWarp prst="textNoShape">
                    <a:avLst/>
                  </a:prstTxWarp>
                </a:bodyPr>
                <a:lstStyle/>
                <a:p>
                  <a:pPr defTabSz="932688">
                    <a:defRPr/>
                  </a:pPr>
                  <a:endParaRPr lang="en-US" sz="1500" kern="0" dirty="0">
                    <a:solidFill>
                      <a:srgbClr val="000000"/>
                    </a:solidFill>
                  </a:endParaRPr>
                </a:p>
              </p:txBody>
            </p:sp>
            <p:sp>
              <p:nvSpPr>
                <p:cNvPr id="130" name="Rectangle 66"/>
                <p:cNvSpPr>
                  <a:spLocks noChangeArrowheads="1"/>
                </p:cNvSpPr>
                <p:nvPr/>
              </p:nvSpPr>
              <p:spPr bwMode="auto">
                <a:xfrm>
                  <a:off x="11114088" y="4967288"/>
                  <a:ext cx="379413" cy="7938"/>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pPr defTabSz="932688">
                    <a:defRPr/>
                  </a:pPr>
                  <a:endParaRPr lang="en-US" sz="1500" kern="0" dirty="0">
                    <a:solidFill>
                      <a:srgbClr val="000000"/>
                    </a:solidFill>
                  </a:endParaRPr>
                </a:p>
              </p:txBody>
            </p:sp>
            <p:sp>
              <p:nvSpPr>
                <p:cNvPr id="131" name="Rectangle 68"/>
                <p:cNvSpPr>
                  <a:spLocks noChangeArrowheads="1"/>
                </p:cNvSpPr>
                <p:nvPr/>
              </p:nvSpPr>
              <p:spPr bwMode="auto">
                <a:xfrm>
                  <a:off x="11114088" y="5060950"/>
                  <a:ext cx="379413" cy="6350"/>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pPr defTabSz="932688">
                    <a:defRPr/>
                  </a:pPr>
                  <a:endParaRPr lang="en-US" sz="1500" kern="0" dirty="0">
                    <a:solidFill>
                      <a:srgbClr val="000000"/>
                    </a:solidFill>
                  </a:endParaRPr>
                </a:p>
              </p:txBody>
            </p:sp>
            <p:sp>
              <p:nvSpPr>
                <p:cNvPr id="132" name="Rectangle 70"/>
                <p:cNvSpPr>
                  <a:spLocks noChangeArrowheads="1"/>
                </p:cNvSpPr>
                <p:nvPr/>
              </p:nvSpPr>
              <p:spPr bwMode="auto">
                <a:xfrm>
                  <a:off x="11114088" y="5153025"/>
                  <a:ext cx="379413" cy="6350"/>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pPr defTabSz="932688">
                    <a:defRPr/>
                  </a:pPr>
                  <a:endParaRPr lang="en-US" sz="1500" kern="0" dirty="0">
                    <a:solidFill>
                      <a:srgbClr val="000000"/>
                    </a:solidFill>
                  </a:endParaRPr>
                </a:p>
              </p:txBody>
            </p:sp>
            <p:sp>
              <p:nvSpPr>
                <p:cNvPr id="133" name="Rectangle 72"/>
                <p:cNvSpPr>
                  <a:spLocks noChangeArrowheads="1"/>
                </p:cNvSpPr>
                <p:nvPr/>
              </p:nvSpPr>
              <p:spPr bwMode="auto">
                <a:xfrm>
                  <a:off x="11114088" y="5245100"/>
                  <a:ext cx="379413" cy="7938"/>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pPr defTabSz="932688">
                    <a:defRPr/>
                  </a:pPr>
                  <a:endParaRPr lang="en-US" sz="1500" kern="0" dirty="0">
                    <a:solidFill>
                      <a:srgbClr val="000000"/>
                    </a:solidFill>
                  </a:endParaRPr>
                </a:p>
              </p:txBody>
            </p:sp>
            <p:sp>
              <p:nvSpPr>
                <p:cNvPr id="134" name="Oval 74"/>
                <p:cNvSpPr>
                  <a:spLocks noChangeArrowheads="1"/>
                </p:cNvSpPr>
                <p:nvPr/>
              </p:nvSpPr>
              <p:spPr bwMode="auto">
                <a:xfrm>
                  <a:off x="11280775" y="5503863"/>
                  <a:ext cx="47625" cy="46038"/>
                </a:xfrm>
                <a:prstGeom prst="ellipse">
                  <a:avLst/>
                </a:prstGeom>
                <a:solidFill>
                  <a:srgbClr val="DFDF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500" kern="0" dirty="0">
                    <a:solidFill>
                      <a:srgbClr val="000000"/>
                    </a:solidFill>
                  </a:endParaRPr>
                </a:p>
              </p:txBody>
            </p:sp>
            <p:sp>
              <p:nvSpPr>
                <p:cNvPr id="135" name="Freeform 75"/>
                <p:cNvSpPr>
                  <a:spLocks/>
                </p:cNvSpPr>
                <p:nvPr/>
              </p:nvSpPr>
              <p:spPr bwMode="auto">
                <a:xfrm>
                  <a:off x="11096625" y="5649913"/>
                  <a:ext cx="417513" cy="31750"/>
                </a:xfrm>
                <a:custGeom>
                  <a:avLst/>
                  <a:gdLst>
                    <a:gd name="T0" fmla="*/ 0 w 149"/>
                    <a:gd name="T1" fmla="*/ 0 h 11"/>
                    <a:gd name="T2" fmla="*/ 0 w 149"/>
                    <a:gd name="T3" fmla="*/ 4 h 11"/>
                    <a:gd name="T4" fmla="*/ 6 w 149"/>
                    <a:gd name="T5" fmla="*/ 11 h 11"/>
                    <a:gd name="T6" fmla="*/ 143 w 149"/>
                    <a:gd name="T7" fmla="*/ 11 h 11"/>
                    <a:gd name="T8" fmla="*/ 149 w 149"/>
                    <a:gd name="T9" fmla="*/ 4 h 11"/>
                    <a:gd name="T10" fmla="*/ 149 w 149"/>
                    <a:gd name="T11" fmla="*/ 0 h 11"/>
                    <a:gd name="T12" fmla="*/ 0 w 149"/>
                    <a:gd name="T13" fmla="*/ 0 h 11"/>
                  </a:gdLst>
                  <a:ahLst/>
                  <a:cxnLst>
                    <a:cxn ang="0">
                      <a:pos x="T0" y="T1"/>
                    </a:cxn>
                    <a:cxn ang="0">
                      <a:pos x="T2" y="T3"/>
                    </a:cxn>
                    <a:cxn ang="0">
                      <a:pos x="T4" y="T5"/>
                    </a:cxn>
                    <a:cxn ang="0">
                      <a:pos x="T6" y="T7"/>
                    </a:cxn>
                    <a:cxn ang="0">
                      <a:pos x="T8" y="T9"/>
                    </a:cxn>
                    <a:cxn ang="0">
                      <a:pos x="T10" y="T11"/>
                    </a:cxn>
                    <a:cxn ang="0">
                      <a:pos x="T12" y="T13"/>
                    </a:cxn>
                  </a:cxnLst>
                  <a:rect l="0" t="0" r="r" b="b"/>
                  <a:pathLst>
                    <a:path w="149" h="11">
                      <a:moveTo>
                        <a:pt x="0" y="0"/>
                      </a:moveTo>
                      <a:cubicBezTo>
                        <a:pt x="0" y="4"/>
                        <a:pt x="0" y="4"/>
                        <a:pt x="0" y="4"/>
                      </a:cubicBezTo>
                      <a:cubicBezTo>
                        <a:pt x="0" y="8"/>
                        <a:pt x="3" y="11"/>
                        <a:pt x="6" y="11"/>
                      </a:cubicBezTo>
                      <a:cubicBezTo>
                        <a:pt x="143" y="11"/>
                        <a:pt x="143" y="11"/>
                        <a:pt x="143" y="11"/>
                      </a:cubicBezTo>
                      <a:cubicBezTo>
                        <a:pt x="146" y="11"/>
                        <a:pt x="149" y="8"/>
                        <a:pt x="149" y="4"/>
                      </a:cubicBezTo>
                      <a:cubicBezTo>
                        <a:pt x="149" y="0"/>
                        <a:pt x="149" y="0"/>
                        <a:pt x="149" y="0"/>
                      </a:cubicBezTo>
                      <a:lnTo>
                        <a:pt x="0" y="0"/>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500" kern="0" dirty="0">
                    <a:solidFill>
                      <a:srgbClr val="000000"/>
                    </a:solidFill>
                  </a:endParaRPr>
                </a:p>
              </p:txBody>
            </p:sp>
            <p:sp>
              <p:nvSpPr>
                <p:cNvPr id="136" name="Rectangle 76"/>
                <p:cNvSpPr>
                  <a:spLocks noChangeArrowheads="1"/>
                </p:cNvSpPr>
                <p:nvPr/>
              </p:nvSpPr>
              <p:spPr bwMode="auto">
                <a:xfrm>
                  <a:off x="11096625" y="5600700"/>
                  <a:ext cx="417513" cy="49213"/>
                </a:xfrm>
                <a:prstGeom prst="rect">
                  <a:avLst/>
                </a:pr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2688">
                    <a:defRPr/>
                  </a:pPr>
                  <a:endParaRPr lang="en-US" sz="1500" kern="0" dirty="0">
                    <a:solidFill>
                      <a:srgbClr val="000000"/>
                    </a:solidFill>
                  </a:endParaRPr>
                </a:p>
              </p:txBody>
            </p:sp>
          </p:grpSp>
        </p:grpSp>
      </p:grpSp>
      <p:grpSp>
        <p:nvGrpSpPr>
          <p:cNvPr id="137" name="Group 136"/>
          <p:cNvGrpSpPr/>
          <p:nvPr/>
        </p:nvGrpSpPr>
        <p:grpSpPr>
          <a:xfrm>
            <a:off x="7004655" y="3992953"/>
            <a:ext cx="3812446" cy="1114012"/>
            <a:chOff x="6866957" y="3915014"/>
            <a:chExt cx="3737501" cy="1092267"/>
          </a:xfrm>
        </p:grpSpPr>
        <p:sp>
          <p:nvSpPr>
            <p:cNvPr id="138" name="TextBox 137"/>
            <p:cNvSpPr txBox="1"/>
            <p:nvPr/>
          </p:nvSpPr>
          <p:spPr>
            <a:xfrm>
              <a:off x="9132819" y="4003203"/>
              <a:ext cx="1376980" cy="900245"/>
            </a:xfrm>
            <a:prstGeom prst="rect">
              <a:avLst/>
            </a:prstGeom>
            <a:noFill/>
          </p:spPr>
          <p:txBody>
            <a:bodyPr wrap="square" lIns="0" tIns="0" rIns="0" bIns="0" rtlCol="0">
              <a:spAutoFit/>
            </a:bodyPr>
            <a:lstStyle/>
            <a:p>
              <a:pPr defTabSz="932617">
                <a:spcBef>
                  <a:spcPts val="102"/>
                </a:spcBef>
                <a:defRPr/>
              </a:pPr>
              <a:r>
                <a:rPr lang="en-US" sz="1400" kern="0" dirty="0">
                  <a:solidFill>
                    <a:srgbClr val="505050"/>
                  </a:solidFill>
                </a:rPr>
                <a:t>.NET SDK </a:t>
              </a:r>
            </a:p>
            <a:p>
              <a:pPr defTabSz="932617">
                <a:spcBef>
                  <a:spcPts val="102"/>
                </a:spcBef>
                <a:defRPr/>
              </a:pPr>
              <a:r>
                <a:rPr lang="en-US" sz="1400" kern="0" dirty="0">
                  <a:solidFill>
                    <a:srgbClr val="505050"/>
                  </a:solidFill>
                </a:rPr>
                <a:t>CLI</a:t>
              </a:r>
            </a:p>
            <a:p>
              <a:pPr defTabSz="932617">
                <a:spcBef>
                  <a:spcPts val="102"/>
                </a:spcBef>
                <a:defRPr/>
              </a:pPr>
              <a:r>
                <a:rPr lang="en-US" sz="1400" kern="0" dirty="0">
                  <a:solidFill>
                    <a:srgbClr val="505050"/>
                  </a:solidFill>
                </a:rPr>
                <a:t>Azure Portal</a:t>
              </a:r>
            </a:p>
            <a:p>
              <a:pPr defTabSz="932617">
                <a:spcBef>
                  <a:spcPts val="102"/>
                </a:spcBef>
                <a:defRPr/>
              </a:pPr>
              <a:r>
                <a:rPr lang="en-US" sz="1400" kern="0" dirty="0">
                  <a:solidFill>
                    <a:srgbClr val="505050"/>
                  </a:solidFill>
                </a:rPr>
                <a:t>Azure PowerShell</a:t>
              </a:r>
            </a:p>
          </p:txBody>
        </p:sp>
        <p:cxnSp>
          <p:nvCxnSpPr>
            <p:cNvPr id="139" name="Straight Connector 14"/>
            <p:cNvCxnSpPr/>
            <p:nvPr/>
          </p:nvCxnSpPr>
          <p:spPr>
            <a:xfrm rot="16200000" flipV="1">
              <a:off x="8189574" y="2592397"/>
              <a:ext cx="1092267" cy="3737501"/>
            </a:xfrm>
            <a:prstGeom prst="bentConnector2">
              <a:avLst/>
            </a:prstGeom>
            <a:ln w="38100" cap="rnd">
              <a:solidFill>
                <a:schemeClr val="accent2"/>
              </a:solidFill>
              <a:headEnd type="none"/>
              <a:tailEnd type="triangle" w="lg" len="med"/>
            </a:ln>
          </p:spPr>
          <p:style>
            <a:lnRef idx="1">
              <a:schemeClr val="accent1"/>
            </a:lnRef>
            <a:fillRef idx="0">
              <a:schemeClr val="accent1"/>
            </a:fillRef>
            <a:effectRef idx="0">
              <a:schemeClr val="accent1"/>
            </a:effectRef>
            <a:fontRef idx="minor">
              <a:schemeClr val="tx1"/>
            </a:fontRef>
          </p:style>
        </p:cxnSp>
      </p:grpSp>
      <p:cxnSp>
        <p:nvCxnSpPr>
          <p:cNvPr id="140" name="Straight Connector 139"/>
          <p:cNvCxnSpPr/>
          <p:nvPr/>
        </p:nvCxnSpPr>
        <p:spPr>
          <a:xfrm>
            <a:off x="2987336" y="4043262"/>
            <a:ext cx="1881783" cy="0"/>
          </a:xfrm>
          <a:prstGeom prst="line">
            <a:avLst/>
          </a:prstGeom>
          <a:ln w="38100" cap="rnd">
            <a:solidFill>
              <a:schemeClr val="accent2"/>
            </a:solidFill>
            <a:headEnd type="none"/>
            <a:tailEnd type="triangle" w="lg" len="med"/>
          </a:ln>
        </p:spPr>
        <p:style>
          <a:lnRef idx="1">
            <a:schemeClr val="accent1"/>
          </a:lnRef>
          <a:fillRef idx="0">
            <a:schemeClr val="accent1"/>
          </a:fillRef>
          <a:effectRef idx="0">
            <a:schemeClr val="accent1"/>
          </a:effectRef>
          <a:fontRef idx="minor">
            <a:schemeClr val="tx1"/>
          </a:fontRef>
        </p:style>
      </p:cxnSp>
      <p:sp>
        <p:nvSpPr>
          <p:cNvPr id="141" name="TextBox 140"/>
          <p:cNvSpPr txBox="1"/>
          <p:nvPr/>
        </p:nvSpPr>
        <p:spPr>
          <a:xfrm>
            <a:off x="3074903" y="3711476"/>
            <a:ext cx="1533768" cy="219733"/>
          </a:xfrm>
          <a:prstGeom prst="rect">
            <a:avLst/>
          </a:prstGeom>
          <a:noFill/>
        </p:spPr>
        <p:txBody>
          <a:bodyPr wrap="square" lIns="0" tIns="0" rIns="0" bIns="0" rtlCol="0">
            <a:spAutoFit/>
          </a:bodyPr>
          <a:lstStyle/>
          <a:p>
            <a:pPr defTabSz="932617">
              <a:spcAft>
                <a:spcPts val="600"/>
              </a:spcAft>
              <a:defRPr/>
            </a:pPr>
            <a:r>
              <a:rPr lang="en-US" sz="1400" kern="0" dirty="0">
                <a:solidFill>
                  <a:srgbClr val="505050"/>
                </a:solidFill>
              </a:rPr>
              <a:t>Azure Data Factory</a:t>
            </a:r>
          </a:p>
        </p:txBody>
      </p:sp>
      <p:cxnSp>
        <p:nvCxnSpPr>
          <p:cNvPr id="142" name="Straight Connector 141"/>
          <p:cNvCxnSpPr/>
          <p:nvPr/>
        </p:nvCxnSpPr>
        <p:spPr>
          <a:xfrm>
            <a:off x="2596412" y="3488250"/>
            <a:ext cx="364810" cy="0"/>
          </a:xfrm>
          <a:prstGeom prst="line">
            <a:avLst/>
          </a:prstGeom>
          <a:ln w="38100" cap="rnd">
            <a:solidFill>
              <a:schemeClr val="accent2"/>
            </a:solidFill>
            <a:headEnd type="none"/>
            <a:tailEnd type="none" w="lg" len="med"/>
          </a:ln>
        </p:spPr>
        <p:style>
          <a:lnRef idx="1">
            <a:schemeClr val="accent1"/>
          </a:lnRef>
          <a:fillRef idx="0">
            <a:schemeClr val="accent1"/>
          </a:fillRef>
          <a:effectRef idx="0">
            <a:schemeClr val="accent1"/>
          </a:effectRef>
          <a:fontRef idx="minor">
            <a:schemeClr val="tx1"/>
          </a:fontRef>
        </p:style>
      </p:cxnSp>
      <p:cxnSp>
        <p:nvCxnSpPr>
          <p:cNvPr id="143" name="Straight Connector 142"/>
          <p:cNvCxnSpPr/>
          <p:nvPr/>
        </p:nvCxnSpPr>
        <p:spPr>
          <a:xfrm>
            <a:off x="2596412" y="4639317"/>
            <a:ext cx="364810" cy="0"/>
          </a:xfrm>
          <a:prstGeom prst="line">
            <a:avLst/>
          </a:prstGeom>
          <a:ln w="38100" cap="rnd">
            <a:solidFill>
              <a:schemeClr val="accent2"/>
            </a:solidFill>
            <a:headEnd type="none"/>
            <a:tailEnd type="none" w="lg" len="med"/>
          </a:ln>
        </p:spPr>
        <p:style>
          <a:lnRef idx="1">
            <a:schemeClr val="accent1"/>
          </a:lnRef>
          <a:fillRef idx="0">
            <a:schemeClr val="accent1"/>
          </a:fillRef>
          <a:effectRef idx="0">
            <a:schemeClr val="accent1"/>
          </a:effectRef>
          <a:fontRef idx="minor">
            <a:schemeClr val="tx1"/>
          </a:fontRef>
        </p:style>
      </p:cxnSp>
      <p:cxnSp>
        <p:nvCxnSpPr>
          <p:cNvPr id="144" name="Straight Connector 14"/>
          <p:cNvCxnSpPr/>
          <p:nvPr/>
        </p:nvCxnSpPr>
        <p:spPr>
          <a:xfrm flipV="1">
            <a:off x="2596410" y="2347066"/>
            <a:ext cx="12955" cy="3392392"/>
          </a:xfrm>
          <a:prstGeom prst="bentConnector3">
            <a:avLst>
              <a:gd name="adj1" fmla="val 2957142"/>
            </a:avLst>
          </a:prstGeom>
          <a:ln w="38100" cap="rnd">
            <a:solidFill>
              <a:schemeClr val="accent2"/>
            </a:solidFill>
            <a:headEnd type="none"/>
            <a:tailEnd type="none" w="lg" len="med"/>
          </a:ln>
        </p:spPr>
        <p:style>
          <a:lnRef idx="1">
            <a:schemeClr val="accent1"/>
          </a:lnRef>
          <a:fillRef idx="0">
            <a:schemeClr val="accent1"/>
          </a:fillRef>
          <a:effectRef idx="0">
            <a:schemeClr val="accent1"/>
          </a:effectRef>
          <a:fontRef idx="minor">
            <a:schemeClr val="tx1"/>
          </a:fontRef>
        </p:style>
      </p:cxnSp>
      <p:grpSp>
        <p:nvGrpSpPr>
          <p:cNvPr id="145" name="Group 144"/>
          <p:cNvGrpSpPr/>
          <p:nvPr/>
        </p:nvGrpSpPr>
        <p:grpSpPr>
          <a:xfrm>
            <a:off x="663440" y="1734245"/>
            <a:ext cx="1945925" cy="4700058"/>
            <a:chOff x="650398" y="1700394"/>
            <a:chExt cx="1907672" cy="4608317"/>
          </a:xfrm>
        </p:grpSpPr>
        <p:sp>
          <p:nvSpPr>
            <p:cNvPr id="146" name="Rectangle 145"/>
            <p:cNvSpPr/>
            <p:nvPr/>
          </p:nvSpPr>
          <p:spPr>
            <a:xfrm>
              <a:off x="993024" y="2542055"/>
              <a:ext cx="1097287" cy="215444"/>
            </a:xfrm>
            <a:prstGeom prst="rect">
              <a:avLst/>
            </a:prstGeom>
          </p:spPr>
          <p:txBody>
            <a:bodyPr wrap="square" lIns="0" tIns="0" rIns="0" bIns="0">
              <a:spAutoFit/>
            </a:bodyPr>
            <a:lstStyle/>
            <a:p>
              <a:pPr algn="ctr" defTabSz="932346">
                <a:defRPr/>
              </a:pPr>
              <a:r>
                <a:rPr lang="en-US" sz="1400" kern="0" dirty="0">
                  <a:solidFill>
                    <a:srgbClr val="505050"/>
                  </a:solidFill>
                  <a:ea typeface="Segoe UI" pitchFamily="34" charset="0"/>
                  <a:cs typeface="Segoe UI" pitchFamily="34" charset="0"/>
                </a:rPr>
                <a:t>Azure SQL DB</a:t>
              </a:r>
            </a:p>
          </p:txBody>
        </p:sp>
        <p:sp>
          <p:nvSpPr>
            <p:cNvPr id="147" name="Rectangle 146"/>
            <p:cNvSpPr/>
            <p:nvPr/>
          </p:nvSpPr>
          <p:spPr>
            <a:xfrm>
              <a:off x="960162" y="3794082"/>
              <a:ext cx="1163011" cy="215444"/>
            </a:xfrm>
            <a:prstGeom prst="rect">
              <a:avLst/>
            </a:prstGeom>
          </p:spPr>
          <p:txBody>
            <a:bodyPr wrap="square" lIns="0" tIns="0" rIns="0" bIns="0">
              <a:spAutoFit/>
            </a:bodyPr>
            <a:lstStyle/>
            <a:p>
              <a:pPr algn="ctr" defTabSz="932346">
                <a:defRPr/>
              </a:pPr>
              <a:r>
                <a:rPr lang="en-US" sz="1400" kern="0" dirty="0">
                  <a:solidFill>
                    <a:srgbClr val="505050"/>
                  </a:solidFill>
                  <a:ea typeface="Segoe UI" pitchFamily="34" charset="0"/>
                  <a:cs typeface="Segoe UI" pitchFamily="34" charset="0"/>
                </a:rPr>
                <a:t>Azure SQL DW</a:t>
              </a:r>
            </a:p>
          </p:txBody>
        </p:sp>
        <p:sp>
          <p:nvSpPr>
            <p:cNvPr id="148" name="Freeform 106"/>
            <p:cNvSpPr>
              <a:spLocks noEditPoints="1"/>
            </p:cNvSpPr>
            <p:nvPr/>
          </p:nvSpPr>
          <p:spPr bwMode="auto">
            <a:xfrm>
              <a:off x="1220277" y="3017279"/>
              <a:ext cx="642781" cy="751095"/>
            </a:xfrm>
            <a:custGeom>
              <a:avLst/>
              <a:gdLst>
                <a:gd name="T0" fmla="*/ 35 w 70"/>
                <a:gd name="T1" fmla="*/ 4 h 82"/>
                <a:gd name="T2" fmla="*/ 64 w 70"/>
                <a:gd name="T3" fmla="*/ 12 h 82"/>
                <a:gd name="T4" fmla="*/ 35 w 70"/>
                <a:gd name="T5" fmla="*/ 20 h 82"/>
                <a:gd name="T6" fmla="*/ 6 w 70"/>
                <a:gd name="T7" fmla="*/ 12 h 82"/>
                <a:gd name="T8" fmla="*/ 35 w 70"/>
                <a:gd name="T9" fmla="*/ 4 h 82"/>
                <a:gd name="T10" fmla="*/ 35 w 70"/>
                <a:gd name="T11" fmla="*/ 0 h 82"/>
                <a:gd name="T12" fmla="*/ 21 w 70"/>
                <a:gd name="T13" fmla="*/ 1 h 82"/>
                <a:gd name="T14" fmla="*/ 10 w 70"/>
                <a:gd name="T15" fmla="*/ 4 h 82"/>
                <a:gd name="T16" fmla="*/ 3 w 70"/>
                <a:gd name="T17" fmla="*/ 8 h 82"/>
                <a:gd name="T18" fmla="*/ 1 w 70"/>
                <a:gd name="T19" fmla="*/ 11 h 82"/>
                <a:gd name="T20" fmla="*/ 0 w 70"/>
                <a:gd name="T21" fmla="*/ 14 h 82"/>
                <a:gd name="T22" fmla="*/ 0 w 70"/>
                <a:gd name="T23" fmla="*/ 69 h 82"/>
                <a:gd name="T24" fmla="*/ 1 w 70"/>
                <a:gd name="T25" fmla="*/ 71 h 82"/>
                <a:gd name="T26" fmla="*/ 3 w 70"/>
                <a:gd name="T27" fmla="*/ 74 h 82"/>
                <a:gd name="T28" fmla="*/ 10 w 70"/>
                <a:gd name="T29" fmla="*/ 78 h 82"/>
                <a:gd name="T30" fmla="*/ 21 w 70"/>
                <a:gd name="T31" fmla="*/ 81 h 82"/>
                <a:gd name="T32" fmla="*/ 35 w 70"/>
                <a:gd name="T33" fmla="*/ 82 h 82"/>
                <a:gd name="T34" fmla="*/ 60 w 70"/>
                <a:gd name="T35" fmla="*/ 78 h 82"/>
                <a:gd name="T36" fmla="*/ 67 w 70"/>
                <a:gd name="T37" fmla="*/ 74 h 82"/>
                <a:gd name="T38" fmla="*/ 69 w 70"/>
                <a:gd name="T39" fmla="*/ 71 h 82"/>
                <a:gd name="T40" fmla="*/ 70 w 70"/>
                <a:gd name="T41" fmla="*/ 69 h 82"/>
                <a:gd name="T42" fmla="*/ 70 w 70"/>
                <a:gd name="T43" fmla="*/ 14 h 82"/>
                <a:gd name="T44" fmla="*/ 67 w 70"/>
                <a:gd name="T45" fmla="*/ 8 h 82"/>
                <a:gd name="T46" fmla="*/ 60 w 70"/>
                <a:gd name="T47" fmla="*/ 4 h 82"/>
                <a:gd name="T48" fmla="*/ 49 w 70"/>
                <a:gd name="T49" fmla="*/ 1 h 82"/>
                <a:gd name="T50" fmla="*/ 35 w 70"/>
                <a:gd name="T51" fmla="*/ 0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0" h="82">
                  <a:moveTo>
                    <a:pt x="35" y="4"/>
                  </a:moveTo>
                  <a:cubicBezTo>
                    <a:pt x="51" y="4"/>
                    <a:pt x="64" y="8"/>
                    <a:pt x="64" y="12"/>
                  </a:cubicBezTo>
                  <a:cubicBezTo>
                    <a:pt x="64" y="17"/>
                    <a:pt x="51" y="20"/>
                    <a:pt x="35" y="20"/>
                  </a:cubicBezTo>
                  <a:cubicBezTo>
                    <a:pt x="19" y="20"/>
                    <a:pt x="6" y="17"/>
                    <a:pt x="6" y="12"/>
                  </a:cubicBezTo>
                  <a:cubicBezTo>
                    <a:pt x="6" y="8"/>
                    <a:pt x="19" y="4"/>
                    <a:pt x="35" y="4"/>
                  </a:cubicBezTo>
                  <a:close/>
                  <a:moveTo>
                    <a:pt x="35" y="0"/>
                  </a:moveTo>
                  <a:cubicBezTo>
                    <a:pt x="21" y="1"/>
                    <a:pt x="21" y="1"/>
                    <a:pt x="21" y="1"/>
                  </a:cubicBezTo>
                  <a:cubicBezTo>
                    <a:pt x="10" y="4"/>
                    <a:pt x="10" y="4"/>
                    <a:pt x="10" y="4"/>
                  </a:cubicBezTo>
                  <a:cubicBezTo>
                    <a:pt x="3" y="8"/>
                    <a:pt x="3" y="8"/>
                    <a:pt x="3" y="8"/>
                  </a:cubicBezTo>
                  <a:cubicBezTo>
                    <a:pt x="1" y="11"/>
                    <a:pt x="1" y="11"/>
                    <a:pt x="1" y="11"/>
                  </a:cubicBezTo>
                  <a:cubicBezTo>
                    <a:pt x="0" y="14"/>
                    <a:pt x="0" y="14"/>
                    <a:pt x="0" y="14"/>
                  </a:cubicBezTo>
                  <a:cubicBezTo>
                    <a:pt x="0" y="69"/>
                    <a:pt x="0" y="69"/>
                    <a:pt x="0" y="69"/>
                  </a:cubicBezTo>
                  <a:cubicBezTo>
                    <a:pt x="1" y="71"/>
                    <a:pt x="1" y="71"/>
                    <a:pt x="1" y="71"/>
                  </a:cubicBezTo>
                  <a:cubicBezTo>
                    <a:pt x="3" y="74"/>
                    <a:pt x="3" y="74"/>
                    <a:pt x="3" y="74"/>
                  </a:cubicBezTo>
                  <a:cubicBezTo>
                    <a:pt x="10" y="78"/>
                    <a:pt x="10" y="78"/>
                    <a:pt x="10" y="78"/>
                  </a:cubicBezTo>
                  <a:cubicBezTo>
                    <a:pt x="21" y="81"/>
                    <a:pt x="21" y="81"/>
                    <a:pt x="21" y="81"/>
                  </a:cubicBezTo>
                  <a:cubicBezTo>
                    <a:pt x="26" y="82"/>
                    <a:pt x="30" y="82"/>
                    <a:pt x="35" y="82"/>
                  </a:cubicBezTo>
                  <a:cubicBezTo>
                    <a:pt x="45" y="82"/>
                    <a:pt x="53" y="81"/>
                    <a:pt x="60" y="78"/>
                  </a:cubicBezTo>
                  <a:cubicBezTo>
                    <a:pt x="63" y="77"/>
                    <a:pt x="66" y="76"/>
                    <a:pt x="67" y="74"/>
                  </a:cubicBezTo>
                  <a:cubicBezTo>
                    <a:pt x="68" y="73"/>
                    <a:pt x="69" y="72"/>
                    <a:pt x="69" y="71"/>
                  </a:cubicBezTo>
                  <a:cubicBezTo>
                    <a:pt x="70" y="71"/>
                    <a:pt x="70" y="70"/>
                    <a:pt x="70" y="69"/>
                  </a:cubicBezTo>
                  <a:cubicBezTo>
                    <a:pt x="70" y="14"/>
                    <a:pt x="70" y="14"/>
                    <a:pt x="70" y="14"/>
                  </a:cubicBezTo>
                  <a:cubicBezTo>
                    <a:pt x="70" y="12"/>
                    <a:pt x="69" y="10"/>
                    <a:pt x="67" y="8"/>
                  </a:cubicBezTo>
                  <a:cubicBezTo>
                    <a:pt x="66" y="7"/>
                    <a:pt x="63" y="5"/>
                    <a:pt x="60" y="4"/>
                  </a:cubicBezTo>
                  <a:cubicBezTo>
                    <a:pt x="57" y="3"/>
                    <a:pt x="53" y="2"/>
                    <a:pt x="49" y="1"/>
                  </a:cubicBezTo>
                  <a:cubicBezTo>
                    <a:pt x="45" y="0"/>
                    <a:pt x="40" y="0"/>
                    <a:pt x="35" y="0"/>
                  </a:cubicBezTo>
                  <a:close/>
                </a:path>
              </a:pathLst>
            </a:custGeom>
            <a:solidFill>
              <a:schemeClr val="accent1"/>
            </a:solidFill>
            <a:ln>
              <a:noFill/>
            </a:ln>
            <a:extLst/>
          </p:spPr>
          <p:txBody>
            <a:bodyPr vert="horz" wrap="square" lIns="0" tIns="182880" rIns="0" bIns="0" numCol="1" anchor="ctr" anchorCtr="0" compatLnSpc="1">
              <a:prstTxWarp prst="textNoShape">
                <a:avLst/>
              </a:prstTxWarp>
            </a:bodyPr>
            <a:lstStyle/>
            <a:p>
              <a:pPr algn="ctr" defTabSz="932688">
                <a:defRPr/>
              </a:pPr>
              <a:endParaRPr lang="en-US" sz="1500" kern="0" dirty="0">
                <a:solidFill>
                  <a:srgbClr val="FFFFFF"/>
                </a:solidFill>
              </a:endParaRPr>
            </a:p>
          </p:txBody>
        </p:sp>
        <p:sp>
          <p:nvSpPr>
            <p:cNvPr id="149" name="Rectangle 148"/>
            <p:cNvSpPr/>
            <p:nvPr/>
          </p:nvSpPr>
          <p:spPr>
            <a:xfrm>
              <a:off x="1046628" y="4873932"/>
              <a:ext cx="990078" cy="215444"/>
            </a:xfrm>
            <a:prstGeom prst="rect">
              <a:avLst/>
            </a:prstGeom>
          </p:spPr>
          <p:txBody>
            <a:bodyPr wrap="square" lIns="0" tIns="0" rIns="0" bIns="0">
              <a:spAutoFit/>
            </a:bodyPr>
            <a:lstStyle/>
            <a:p>
              <a:pPr algn="ctr" defTabSz="932346">
                <a:defRPr/>
              </a:pPr>
              <a:r>
                <a:rPr lang="en-US" sz="1400" kern="0" dirty="0">
                  <a:solidFill>
                    <a:srgbClr val="505050"/>
                  </a:solidFill>
                  <a:ea typeface="Segoe UI" pitchFamily="34" charset="0"/>
                  <a:cs typeface="Segoe UI" pitchFamily="34" charset="0"/>
                </a:rPr>
                <a:t>Azure tables</a:t>
              </a:r>
            </a:p>
          </p:txBody>
        </p:sp>
        <p:grpSp>
          <p:nvGrpSpPr>
            <p:cNvPr id="150" name="Group 149"/>
            <p:cNvGrpSpPr/>
            <p:nvPr/>
          </p:nvGrpSpPr>
          <p:grpSpPr>
            <a:xfrm>
              <a:off x="1183193" y="4240278"/>
              <a:ext cx="716949" cy="616970"/>
              <a:chOff x="1183193" y="4240278"/>
              <a:chExt cx="716949" cy="616970"/>
            </a:xfrm>
          </p:grpSpPr>
          <p:sp>
            <p:nvSpPr>
              <p:cNvPr id="159" name="Rectangle 209"/>
              <p:cNvSpPr>
                <a:spLocks noChangeArrowheads="1"/>
              </p:cNvSpPr>
              <p:nvPr/>
            </p:nvSpPr>
            <p:spPr bwMode="auto">
              <a:xfrm>
                <a:off x="1183193" y="4240278"/>
                <a:ext cx="716949" cy="616970"/>
              </a:xfrm>
              <a:prstGeom prst="rect">
                <a:avLst/>
              </a:prstGeom>
              <a:solidFill>
                <a:srgbClr val="7030A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45720" tIns="18288" rIns="45720" bIns="18288" numCol="1" anchor="b" anchorCtr="0" compatLnSpc="1">
                <a:prstTxWarp prst="textNoShape">
                  <a:avLst/>
                </a:prstTxWarp>
              </a:bodyPr>
              <a:lstStyle/>
              <a:p>
                <a:pPr defTabSz="932688">
                  <a:defRPr/>
                </a:pPr>
                <a:r>
                  <a:rPr lang="en-GB" sz="600" kern="0" dirty="0">
                    <a:solidFill>
                      <a:srgbClr val="FFFFFF"/>
                    </a:solidFill>
                  </a:rPr>
                  <a:t>Table Storage</a:t>
                </a:r>
              </a:p>
            </p:txBody>
          </p:sp>
          <p:sp>
            <p:nvSpPr>
              <p:cNvPr id="160" name="Freeform 218"/>
              <p:cNvSpPr>
                <a:spLocks noEditPoints="1"/>
              </p:cNvSpPr>
              <p:nvPr/>
            </p:nvSpPr>
            <p:spPr bwMode="auto">
              <a:xfrm>
                <a:off x="1219083" y="4286415"/>
                <a:ext cx="643460" cy="411029"/>
              </a:xfrm>
              <a:custGeom>
                <a:avLst/>
                <a:gdLst>
                  <a:gd name="T0" fmla="*/ 736 w 753"/>
                  <a:gd name="T1" fmla="*/ 15 h 481"/>
                  <a:gd name="T2" fmla="*/ 736 w 753"/>
                  <a:gd name="T3" fmla="*/ 463 h 481"/>
                  <a:gd name="T4" fmla="*/ 17 w 753"/>
                  <a:gd name="T5" fmla="*/ 463 h 481"/>
                  <a:gd name="T6" fmla="*/ 17 w 753"/>
                  <a:gd name="T7" fmla="*/ 15 h 481"/>
                  <a:gd name="T8" fmla="*/ 736 w 753"/>
                  <a:gd name="T9" fmla="*/ 15 h 481"/>
                  <a:gd name="T10" fmla="*/ 753 w 753"/>
                  <a:gd name="T11" fmla="*/ 0 h 481"/>
                  <a:gd name="T12" fmla="*/ 0 w 753"/>
                  <a:gd name="T13" fmla="*/ 0 h 481"/>
                  <a:gd name="T14" fmla="*/ 0 w 753"/>
                  <a:gd name="T15" fmla="*/ 481 h 481"/>
                  <a:gd name="T16" fmla="*/ 753 w 753"/>
                  <a:gd name="T17" fmla="*/ 481 h 481"/>
                  <a:gd name="T18" fmla="*/ 753 w 753"/>
                  <a:gd name="T19" fmla="*/ 0 h 481"/>
                  <a:gd name="T20" fmla="*/ 753 w 753"/>
                  <a:gd name="T21" fmla="*/ 0 h 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53" h="481">
                    <a:moveTo>
                      <a:pt x="736" y="15"/>
                    </a:moveTo>
                    <a:lnTo>
                      <a:pt x="736" y="463"/>
                    </a:lnTo>
                    <a:lnTo>
                      <a:pt x="17" y="463"/>
                    </a:lnTo>
                    <a:lnTo>
                      <a:pt x="17" y="15"/>
                    </a:lnTo>
                    <a:lnTo>
                      <a:pt x="736" y="15"/>
                    </a:lnTo>
                    <a:close/>
                    <a:moveTo>
                      <a:pt x="753" y="0"/>
                    </a:moveTo>
                    <a:lnTo>
                      <a:pt x="0" y="0"/>
                    </a:lnTo>
                    <a:lnTo>
                      <a:pt x="0" y="481"/>
                    </a:lnTo>
                    <a:lnTo>
                      <a:pt x="753" y="481"/>
                    </a:lnTo>
                    <a:lnTo>
                      <a:pt x="753" y="0"/>
                    </a:lnTo>
                    <a:lnTo>
                      <a:pt x="753" y="0"/>
                    </a:lnTo>
                    <a:close/>
                  </a:path>
                </a:pathLst>
              </a:custGeom>
              <a:solidFill>
                <a:schemeClr val="bg1"/>
              </a:solidFill>
              <a:ln w="9525">
                <a:solidFill>
                  <a:schemeClr val="bg1"/>
                </a:solidFill>
                <a:round/>
                <a:headEnd/>
                <a:tailEnd/>
              </a:ln>
              <a:extLst/>
            </p:spPr>
            <p:txBody>
              <a:bodyPr vert="horz" wrap="square" lIns="91440" tIns="45720" rIns="91440" bIns="45720" numCol="1" anchor="t" anchorCtr="0" compatLnSpc="1">
                <a:prstTxWarp prst="textNoShape">
                  <a:avLst/>
                </a:prstTxWarp>
              </a:bodyPr>
              <a:lstStyle/>
              <a:p>
                <a:pPr defTabSz="932688">
                  <a:defRPr/>
                </a:pPr>
                <a:endParaRPr lang="en-GB" sz="1500" kern="0" dirty="0">
                  <a:solidFill>
                    <a:srgbClr val="000000"/>
                  </a:solidFill>
                </a:endParaRPr>
              </a:p>
            </p:txBody>
          </p:sp>
          <p:sp>
            <p:nvSpPr>
              <p:cNvPr id="161" name="Freeform 219"/>
              <p:cNvSpPr>
                <a:spLocks noEditPoints="1"/>
              </p:cNvSpPr>
              <p:nvPr/>
            </p:nvSpPr>
            <p:spPr bwMode="auto">
              <a:xfrm>
                <a:off x="1219083" y="4286415"/>
                <a:ext cx="643460" cy="411029"/>
              </a:xfrm>
              <a:custGeom>
                <a:avLst/>
                <a:gdLst>
                  <a:gd name="T0" fmla="*/ 736 w 753"/>
                  <a:gd name="T1" fmla="*/ 15 h 481"/>
                  <a:gd name="T2" fmla="*/ 736 w 753"/>
                  <a:gd name="T3" fmla="*/ 463 h 481"/>
                  <a:gd name="T4" fmla="*/ 17 w 753"/>
                  <a:gd name="T5" fmla="*/ 463 h 481"/>
                  <a:gd name="T6" fmla="*/ 17 w 753"/>
                  <a:gd name="T7" fmla="*/ 15 h 481"/>
                  <a:gd name="T8" fmla="*/ 736 w 753"/>
                  <a:gd name="T9" fmla="*/ 15 h 481"/>
                  <a:gd name="T10" fmla="*/ 753 w 753"/>
                  <a:gd name="T11" fmla="*/ 0 h 481"/>
                  <a:gd name="T12" fmla="*/ 0 w 753"/>
                  <a:gd name="T13" fmla="*/ 0 h 481"/>
                  <a:gd name="T14" fmla="*/ 0 w 753"/>
                  <a:gd name="T15" fmla="*/ 481 h 481"/>
                  <a:gd name="T16" fmla="*/ 753 w 753"/>
                  <a:gd name="T17" fmla="*/ 481 h 481"/>
                  <a:gd name="T18" fmla="*/ 753 w 753"/>
                  <a:gd name="T19" fmla="*/ 0 h 481"/>
                  <a:gd name="T20" fmla="*/ 753 w 753"/>
                  <a:gd name="T21" fmla="*/ 0 h 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53" h="481">
                    <a:moveTo>
                      <a:pt x="736" y="15"/>
                    </a:moveTo>
                    <a:lnTo>
                      <a:pt x="736" y="463"/>
                    </a:lnTo>
                    <a:lnTo>
                      <a:pt x="17" y="463"/>
                    </a:lnTo>
                    <a:lnTo>
                      <a:pt x="17" y="15"/>
                    </a:lnTo>
                    <a:lnTo>
                      <a:pt x="736" y="15"/>
                    </a:lnTo>
                    <a:moveTo>
                      <a:pt x="753" y="0"/>
                    </a:moveTo>
                    <a:lnTo>
                      <a:pt x="0" y="0"/>
                    </a:lnTo>
                    <a:lnTo>
                      <a:pt x="0" y="481"/>
                    </a:lnTo>
                    <a:lnTo>
                      <a:pt x="753" y="481"/>
                    </a:lnTo>
                    <a:lnTo>
                      <a:pt x="753" y="0"/>
                    </a:lnTo>
                    <a:lnTo>
                      <a:pt x="753" y="0"/>
                    </a:lnTo>
                  </a:path>
                </a:pathLst>
              </a:custGeom>
              <a:solidFill>
                <a:schemeClr val="bg1"/>
              </a:solidFill>
              <a:ln w="9525">
                <a:solidFill>
                  <a:schemeClr val="bg1"/>
                </a:solidFill>
                <a:round/>
                <a:headEnd/>
                <a:tailEnd/>
              </a:ln>
              <a:extLst/>
            </p:spPr>
            <p:txBody>
              <a:bodyPr vert="horz" wrap="square" lIns="91440" tIns="45720" rIns="91440" bIns="45720" numCol="1" anchor="t" anchorCtr="0" compatLnSpc="1">
                <a:prstTxWarp prst="textNoShape">
                  <a:avLst/>
                </a:prstTxWarp>
              </a:bodyPr>
              <a:lstStyle/>
              <a:p>
                <a:pPr defTabSz="932688">
                  <a:defRPr/>
                </a:pPr>
                <a:endParaRPr lang="en-GB" sz="1500" kern="0" dirty="0">
                  <a:solidFill>
                    <a:srgbClr val="000000"/>
                  </a:solidFill>
                </a:endParaRPr>
              </a:p>
            </p:txBody>
          </p:sp>
          <p:sp>
            <p:nvSpPr>
              <p:cNvPr id="162" name="Line 220"/>
              <p:cNvSpPr>
                <a:spLocks noChangeShapeType="1"/>
              </p:cNvSpPr>
              <p:nvPr/>
            </p:nvSpPr>
            <p:spPr bwMode="auto">
              <a:xfrm>
                <a:off x="1219083" y="4425704"/>
                <a:ext cx="643460" cy="0"/>
              </a:xfrm>
              <a:prstGeom prst="line">
                <a:avLst/>
              </a:prstGeom>
              <a:noFill/>
              <a:ln w="26988"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32688">
                  <a:defRPr/>
                </a:pPr>
                <a:endParaRPr lang="en-GB" sz="1500" kern="0" dirty="0">
                  <a:solidFill>
                    <a:srgbClr val="000000"/>
                  </a:solidFill>
                </a:endParaRPr>
              </a:p>
            </p:txBody>
          </p:sp>
          <p:sp>
            <p:nvSpPr>
              <p:cNvPr id="163" name="Line 221"/>
              <p:cNvSpPr>
                <a:spLocks noChangeShapeType="1"/>
              </p:cNvSpPr>
              <p:nvPr/>
            </p:nvSpPr>
            <p:spPr bwMode="auto">
              <a:xfrm flipH="1">
                <a:off x="1219083" y="4556447"/>
                <a:ext cx="643460" cy="0"/>
              </a:xfrm>
              <a:prstGeom prst="line">
                <a:avLst/>
              </a:prstGeom>
              <a:noFill/>
              <a:ln w="26988"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32688">
                  <a:defRPr/>
                </a:pPr>
                <a:endParaRPr lang="en-GB" sz="1500" kern="0" dirty="0">
                  <a:solidFill>
                    <a:srgbClr val="000000"/>
                  </a:solidFill>
                </a:endParaRPr>
              </a:p>
            </p:txBody>
          </p:sp>
          <p:sp>
            <p:nvSpPr>
              <p:cNvPr id="164" name="Line 222"/>
              <p:cNvSpPr>
                <a:spLocks noChangeShapeType="1"/>
              </p:cNvSpPr>
              <p:nvPr/>
            </p:nvSpPr>
            <p:spPr bwMode="auto">
              <a:xfrm>
                <a:off x="1649765" y="4286415"/>
                <a:ext cx="0" cy="406756"/>
              </a:xfrm>
              <a:prstGeom prst="line">
                <a:avLst/>
              </a:prstGeom>
              <a:noFill/>
              <a:ln w="26988"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32688">
                  <a:defRPr/>
                </a:pPr>
                <a:endParaRPr lang="en-GB" sz="1500" kern="0" dirty="0">
                  <a:solidFill>
                    <a:srgbClr val="000000"/>
                  </a:solidFill>
                </a:endParaRPr>
              </a:p>
            </p:txBody>
          </p:sp>
          <p:sp>
            <p:nvSpPr>
              <p:cNvPr id="165" name="Line 223"/>
              <p:cNvSpPr>
                <a:spLocks noChangeShapeType="1"/>
              </p:cNvSpPr>
              <p:nvPr/>
            </p:nvSpPr>
            <p:spPr bwMode="auto">
              <a:xfrm flipV="1">
                <a:off x="1433570" y="4286415"/>
                <a:ext cx="0" cy="406756"/>
              </a:xfrm>
              <a:prstGeom prst="line">
                <a:avLst/>
              </a:prstGeom>
              <a:noFill/>
              <a:ln w="26988"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32688">
                  <a:defRPr/>
                </a:pPr>
                <a:endParaRPr lang="en-GB" sz="1500" kern="0" dirty="0">
                  <a:solidFill>
                    <a:srgbClr val="000000"/>
                  </a:solidFill>
                </a:endParaRPr>
              </a:p>
            </p:txBody>
          </p:sp>
          <p:sp>
            <p:nvSpPr>
              <p:cNvPr id="166" name="Rectangle 224"/>
              <p:cNvSpPr>
                <a:spLocks noChangeArrowheads="1"/>
              </p:cNvSpPr>
              <p:nvPr/>
            </p:nvSpPr>
            <p:spPr bwMode="auto">
              <a:xfrm>
                <a:off x="1219083" y="4286415"/>
                <a:ext cx="216196" cy="140998"/>
              </a:xfrm>
              <a:prstGeom prst="rect">
                <a:avLst/>
              </a:prstGeom>
              <a:solidFill>
                <a:schemeClr val="bg1"/>
              </a:solidFill>
              <a:ln w="9525">
                <a:solidFill>
                  <a:schemeClr val="bg1"/>
                </a:solidFill>
                <a:miter lim="800000"/>
                <a:headEnd/>
                <a:tailEnd/>
              </a:ln>
              <a:extLst/>
            </p:spPr>
            <p:txBody>
              <a:bodyPr vert="horz" wrap="square" lIns="91440" tIns="45720" rIns="91440" bIns="45720" numCol="1" anchor="t" anchorCtr="0" compatLnSpc="1">
                <a:prstTxWarp prst="textNoShape">
                  <a:avLst/>
                </a:prstTxWarp>
              </a:bodyPr>
              <a:lstStyle/>
              <a:p>
                <a:pPr defTabSz="932688">
                  <a:defRPr/>
                </a:pPr>
                <a:endParaRPr lang="en-GB" sz="1500" kern="0" dirty="0">
                  <a:solidFill>
                    <a:srgbClr val="000000"/>
                  </a:solidFill>
                </a:endParaRPr>
              </a:p>
            </p:txBody>
          </p:sp>
        </p:grpSp>
        <p:sp>
          <p:nvSpPr>
            <p:cNvPr id="151" name="Rectangle 150"/>
            <p:cNvSpPr/>
            <p:nvPr/>
          </p:nvSpPr>
          <p:spPr>
            <a:xfrm>
              <a:off x="650398" y="6093267"/>
              <a:ext cx="1907672" cy="215444"/>
            </a:xfrm>
            <a:prstGeom prst="rect">
              <a:avLst/>
            </a:prstGeom>
          </p:spPr>
          <p:txBody>
            <a:bodyPr wrap="square" lIns="0" tIns="0" rIns="0" bIns="0">
              <a:spAutoFit/>
            </a:bodyPr>
            <a:lstStyle/>
            <a:p>
              <a:pPr algn="ctr" defTabSz="932346">
                <a:defRPr/>
              </a:pPr>
              <a:r>
                <a:rPr lang="en-US" sz="1400" kern="0" dirty="0">
                  <a:solidFill>
                    <a:srgbClr val="505050"/>
                  </a:solidFill>
                  <a:ea typeface="Segoe UI" pitchFamily="34" charset="0"/>
                  <a:cs typeface="Segoe UI" pitchFamily="34" charset="0"/>
                </a:rPr>
                <a:t>On-premises databases</a:t>
              </a:r>
            </a:p>
          </p:txBody>
        </p:sp>
        <p:sp>
          <p:nvSpPr>
            <p:cNvPr id="152" name="Database Part 2"/>
            <p:cNvSpPr>
              <a:spLocks/>
            </p:cNvSpPr>
            <p:nvPr/>
          </p:nvSpPr>
          <p:spPr bwMode="auto">
            <a:xfrm>
              <a:off x="977224" y="5320128"/>
              <a:ext cx="534317" cy="714495"/>
            </a:xfrm>
            <a:custGeom>
              <a:avLst/>
              <a:gdLst>
                <a:gd name="T0" fmla="*/ 678 w 1355"/>
                <a:gd name="T1" fmla="*/ 0 h 1806"/>
                <a:gd name="T2" fmla="*/ 0 w 1355"/>
                <a:gd name="T3" fmla="*/ 85 h 1806"/>
                <a:gd name="T4" fmla="*/ 0 w 1355"/>
                <a:gd name="T5" fmla="*/ 1722 h 1806"/>
                <a:gd name="T6" fmla="*/ 678 w 1355"/>
                <a:gd name="T7" fmla="*/ 1806 h 1806"/>
                <a:gd name="T8" fmla="*/ 1355 w 1355"/>
                <a:gd name="T9" fmla="*/ 1722 h 1806"/>
                <a:gd name="T10" fmla="*/ 1355 w 1355"/>
                <a:gd name="T11" fmla="*/ 85 h 1806"/>
                <a:gd name="T12" fmla="*/ 678 w 1355"/>
                <a:gd name="T13" fmla="*/ 0 h 1806"/>
              </a:gdLst>
              <a:ahLst/>
              <a:cxnLst>
                <a:cxn ang="0">
                  <a:pos x="T0" y="T1"/>
                </a:cxn>
                <a:cxn ang="0">
                  <a:pos x="T2" y="T3"/>
                </a:cxn>
                <a:cxn ang="0">
                  <a:pos x="T4" y="T5"/>
                </a:cxn>
                <a:cxn ang="0">
                  <a:pos x="T6" y="T7"/>
                </a:cxn>
                <a:cxn ang="0">
                  <a:pos x="T8" y="T9"/>
                </a:cxn>
                <a:cxn ang="0">
                  <a:pos x="T10" y="T11"/>
                </a:cxn>
                <a:cxn ang="0">
                  <a:pos x="T12" y="T13"/>
                </a:cxn>
              </a:cxnLst>
              <a:rect l="0" t="0" r="r" b="b"/>
              <a:pathLst>
                <a:path w="1355" h="1806">
                  <a:moveTo>
                    <a:pt x="678" y="0"/>
                  </a:moveTo>
                  <a:cubicBezTo>
                    <a:pt x="304" y="0"/>
                    <a:pt x="0" y="38"/>
                    <a:pt x="0" y="85"/>
                  </a:cubicBezTo>
                  <a:lnTo>
                    <a:pt x="0" y="1722"/>
                  </a:lnTo>
                  <a:cubicBezTo>
                    <a:pt x="0" y="1768"/>
                    <a:pt x="304" y="1806"/>
                    <a:pt x="678" y="1806"/>
                  </a:cubicBezTo>
                  <a:cubicBezTo>
                    <a:pt x="1052" y="1806"/>
                    <a:pt x="1355" y="1768"/>
                    <a:pt x="1355" y="1722"/>
                  </a:cubicBezTo>
                  <a:lnTo>
                    <a:pt x="1355" y="85"/>
                  </a:lnTo>
                  <a:cubicBezTo>
                    <a:pt x="1355" y="38"/>
                    <a:pt x="1052" y="0"/>
                    <a:pt x="678" y="0"/>
                  </a:cubicBezTo>
                  <a:close/>
                </a:path>
              </a:pathLst>
            </a:custGeom>
            <a:solidFill>
              <a:srgbClr val="FF8C00"/>
            </a:solidFill>
            <a:ln w="0">
              <a:noFill/>
              <a:prstDash val="solid"/>
              <a:round/>
              <a:headEnd/>
              <a:tailEnd/>
            </a:ln>
          </p:spPr>
          <p:txBody>
            <a:bodyPr vert="horz" wrap="square" lIns="91440" tIns="45720" rIns="91440" bIns="45720" numCol="1" anchor="ctr"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32650">
                <a:defRPr/>
              </a:pPr>
              <a:endParaRPr lang="en-US" sz="1400" dirty="0">
                <a:solidFill>
                  <a:srgbClr val="000000"/>
                </a:solidFill>
              </a:endParaRPr>
            </a:p>
          </p:txBody>
        </p:sp>
        <p:sp>
          <p:nvSpPr>
            <p:cNvPr id="153" name="Database Part 1"/>
            <p:cNvSpPr>
              <a:spLocks noEditPoints="1"/>
            </p:cNvSpPr>
            <p:nvPr/>
          </p:nvSpPr>
          <p:spPr bwMode="auto">
            <a:xfrm>
              <a:off x="977224" y="5355335"/>
              <a:ext cx="534317" cy="679288"/>
            </a:xfrm>
            <a:custGeom>
              <a:avLst/>
              <a:gdLst>
                <a:gd name="T0" fmla="*/ 0 w 1355"/>
                <a:gd name="T1" fmla="*/ 0 h 1721"/>
                <a:gd name="T2" fmla="*/ 0 w 1355"/>
                <a:gd name="T3" fmla="*/ 508 h 1721"/>
                <a:gd name="T4" fmla="*/ 678 w 1355"/>
                <a:gd name="T5" fmla="*/ 592 h 1721"/>
                <a:gd name="T6" fmla="*/ 1355 w 1355"/>
                <a:gd name="T7" fmla="*/ 508 h 1721"/>
                <a:gd name="T8" fmla="*/ 1355 w 1355"/>
                <a:gd name="T9" fmla="*/ 0 h 1721"/>
                <a:gd name="T10" fmla="*/ 678 w 1355"/>
                <a:gd name="T11" fmla="*/ 84 h 1721"/>
                <a:gd name="T12" fmla="*/ 0 w 1355"/>
                <a:gd name="T13" fmla="*/ 0 h 1721"/>
                <a:gd name="T14" fmla="*/ 0 w 1355"/>
                <a:gd name="T15" fmla="*/ 564 h 1721"/>
                <a:gd name="T16" fmla="*/ 0 w 1355"/>
                <a:gd name="T17" fmla="*/ 1072 h 1721"/>
                <a:gd name="T18" fmla="*/ 678 w 1355"/>
                <a:gd name="T19" fmla="*/ 1157 h 1721"/>
                <a:gd name="T20" fmla="*/ 1355 w 1355"/>
                <a:gd name="T21" fmla="*/ 1072 h 1721"/>
                <a:gd name="T22" fmla="*/ 1355 w 1355"/>
                <a:gd name="T23" fmla="*/ 564 h 1721"/>
                <a:gd name="T24" fmla="*/ 678 w 1355"/>
                <a:gd name="T25" fmla="*/ 649 h 1721"/>
                <a:gd name="T26" fmla="*/ 0 w 1355"/>
                <a:gd name="T27" fmla="*/ 564 h 1721"/>
                <a:gd name="T28" fmla="*/ 0 w 1355"/>
                <a:gd name="T29" fmla="*/ 1129 h 1721"/>
                <a:gd name="T30" fmla="*/ 0 w 1355"/>
                <a:gd name="T31" fmla="*/ 1637 h 1721"/>
                <a:gd name="T32" fmla="*/ 678 w 1355"/>
                <a:gd name="T33" fmla="*/ 1721 h 1721"/>
                <a:gd name="T34" fmla="*/ 1355 w 1355"/>
                <a:gd name="T35" fmla="*/ 1637 h 1721"/>
                <a:gd name="T36" fmla="*/ 1355 w 1355"/>
                <a:gd name="T37" fmla="*/ 1129 h 1721"/>
                <a:gd name="T38" fmla="*/ 678 w 1355"/>
                <a:gd name="T39" fmla="*/ 1213 h 1721"/>
                <a:gd name="T40" fmla="*/ 0 w 1355"/>
                <a:gd name="T41" fmla="*/ 1129 h 17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355" h="1721">
                  <a:moveTo>
                    <a:pt x="0" y="0"/>
                  </a:moveTo>
                  <a:lnTo>
                    <a:pt x="0" y="508"/>
                  </a:lnTo>
                  <a:cubicBezTo>
                    <a:pt x="0" y="555"/>
                    <a:pt x="304" y="592"/>
                    <a:pt x="678" y="592"/>
                  </a:cubicBezTo>
                  <a:cubicBezTo>
                    <a:pt x="1052" y="592"/>
                    <a:pt x="1355" y="555"/>
                    <a:pt x="1355" y="508"/>
                  </a:cubicBezTo>
                  <a:lnTo>
                    <a:pt x="1355" y="0"/>
                  </a:lnTo>
                  <a:cubicBezTo>
                    <a:pt x="1355" y="47"/>
                    <a:pt x="1052" y="84"/>
                    <a:pt x="678" y="84"/>
                  </a:cubicBezTo>
                  <a:cubicBezTo>
                    <a:pt x="304" y="84"/>
                    <a:pt x="0" y="47"/>
                    <a:pt x="0" y="0"/>
                  </a:cubicBezTo>
                  <a:close/>
                  <a:moveTo>
                    <a:pt x="0" y="564"/>
                  </a:moveTo>
                  <a:lnTo>
                    <a:pt x="0" y="1072"/>
                  </a:lnTo>
                  <a:cubicBezTo>
                    <a:pt x="0" y="1119"/>
                    <a:pt x="304" y="1157"/>
                    <a:pt x="678" y="1157"/>
                  </a:cubicBezTo>
                  <a:cubicBezTo>
                    <a:pt x="1052" y="1157"/>
                    <a:pt x="1355" y="1119"/>
                    <a:pt x="1355" y="1072"/>
                  </a:cubicBezTo>
                  <a:lnTo>
                    <a:pt x="1355" y="564"/>
                  </a:lnTo>
                  <a:cubicBezTo>
                    <a:pt x="1355" y="611"/>
                    <a:pt x="1052" y="649"/>
                    <a:pt x="678" y="649"/>
                  </a:cubicBezTo>
                  <a:cubicBezTo>
                    <a:pt x="304" y="649"/>
                    <a:pt x="0" y="611"/>
                    <a:pt x="0" y="564"/>
                  </a:cubicBezTo>
                  <a:close/>
                  <a:moveTo>
                    <a:pt x="0" y="1129"/>
                  </a:moveTo>
                  <a:lnTo>
                    <a:pt x="0" y="1637"/>
                  </a:lnTo>
                  <a:cubicBezTo>
                    <a:pt x="0" y="1683"/>
                    <a:pt x="304" y="1721"/>
                    <a:pt x="678" y="1721"/>
                  </a:cubicBezTo>
                  <a:cubicBezTo>
                    <a:pt x="1052" y="1721"/>
                    <a:pt x="1355" y="1683"/>
                    <a:pt x="1355" y="1637"/>
                  </a:cubicBezTo>
                  <a:lnTo>
                    <a:pt x="1355" y="1129"/>
                  </a:lnTo>
                  <a:cubicBezTo>
                    <a:pt x="1355" y="1175"/>
                    <a:pt x="1052" y="1213"/>
                    <a:pt x="678" y="1213"/>
                  </a:cubicBezTo>
                  <a:cubicBezTo>
                    <a:pt x="304" y="1213"/>
                    <a:pt x="0" y="1175"/>
                    <a:pt x="0" y="1129"/>
                  </a:cubicBezTo>
                  <a:close/>
                </a:path>
              </a:pathLst>
            </a:custGeom>
            <a:solidFill>
              <a:srgbClr val="DC3C00"/>
            </a:solidFill>
            <a:ln w="0">
              <a:noFill/>
              <a:prstDash val="solid"/>
              <a:round/>
              <a:headEnd/>
              <a:tailEnd/>
            </a:ln>
          </p:spPr>
          <p:txBody>
            <a:bodyPr vert="horz" wrap="square" lIns="91440" tIns="45720" rIns="91440" bIns="45720" numCol="1" anchor="ctr"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32650">
                <a:defRPr/>
              </a:pPr>
              <a:endParaRPr lang="en-US" sz="1400" dirty="0">
                <a:solidFill>
                  <a:srgbClr val="000000"/>
                </a:solidFill>
              </a:endParaRPr>
            </a:p>
          </p:txBody>
        </p:sp>
        <p:sp>
          <p:nvSpPr>
            <p:cNvPr id="154" name="Database Part 2"/>
            <p:cNvSpPr>
              <a:spLocks/>
            </p:cNvSpPr>
            <p:nvPr/>
          </p:nvSpPr>
          <p:spPr bwMode="auto">
            <a:xfrm>
              <a:off x="1571794" y="5320128"/>
              <a:ext cx="534317" cy="714495"/>
            </a:xfrm>
            <a:custGeom>
              <a:avLst/>
              <a:gdLst>
                <a:gd name="T0" fmla="*/ 678 w 1355"/>
                <a:gd name="T1" fmla="*/ 0 h 1806"/>
                <a:gd name="T2" fmla="*/ 0 w 1355"/>
                <a:gd name="T3" fmla="*/ 85 h 1806"/>
                <a:gd name="T4" fmla="*/ 0 w 1355"/>
                <a:gd name="T5" fmla="*/ 1722 h 1806"/>
                <a:gd name="T6" fmla="*/ 678 w 1355"/>
                <a:gd name="T7" fmla="*/ 1806 h 1806"/>
                <a:gd name="T8" fmla="*/ 1355 w 1355"/>
                <a:gd name="T9" fmla="*/ 1722 h 1806"/>
                <a:gd name="T10" fmla="*/ 1355 w 1355"/>
                <a:gd name="T11" fmla="*/ 85 h 1806"/>
                <a:gd name="T12" fmla="*/ 678 w 1355"/>
                <a:gd name="T13" fmla="*/ 0 h 1806"/>
              </a:gdLst>
              <a:ahLst/>
              <a:cxnLst>
                <a:cxn ang="0">
                  <a:pos x="T0" y="T1"/>
                </a:cxn>
                <a:cxn ang="0">
                  <a:pos x="T2" y="T3"/>
                </a:cxn>
                <a:cxn ang="0">
                  <a:pos x="T4" y="T5"/>
                </a:cxn>
                <a:cxn ang="0">
                  <a:pos x="T6" y="T7"/>
                </a:cxn>
                <a:cxn ang="0">
                  <a:pos x="T8" y="T9"/>
                </a:cxn>
                <a:cxn ang="0">
                  <a:pos x="T10" y="T11"/>
                </a:cxn>
                <a:cxn ang="0">
                  <a:pos x="T12" y="T13"/>
                </a:cxn>
              </a:cxnLst>
              <a:rect l="0" t="0" r="r" b="b"/>
              <a:pathLst>
                <a:path w="1355" h="1806">
                  <a:moveTo>
                    <a:pt x="678" y="0"/>
                  </a:moveTo>
                  <a:cubicBezTo>
                    <a:pt x="304" y="0"/>
                    <a:pt x="0" y="38"/>
                    <a:pt x="0" y="85"/>
                  </a:cubicBezTo>
                  <a:lnTo>
                    <a:pt x="0" y="1722"/>
                  </a:lnTo>
                  <a:cubicBezTo>
                    <a:pt x="0" y="1768"/>
                    <a:pt x="304" y="1806"/>
                    <a:pt x="678" y="1806"/>
                  </a:cubicBezTo>
                  <a:cubicBezTo>
                    <a:pt x="1052" y="1806"/>
                    <a:pt x="1355" y="1768"/>
                    <a:pt x="1355" y="1722"/>
                  </a:cubicBezTo>
                  <a:lnTo>
                    <a:pt x="1355" y="85"/>
                  </a:lnTo>
                  <a:cubicBezTo>
                    <a:pt x="1355" y="38"/>
                    <a:pt x="1052" y="0"/>
                    <a:pt x="678" y="0"/>
                  </a:cubicBezTo>
                  <a:close/>
                </a:path>
              </a:pathLst>
            </a:custGeom>
            <a:solidFill>
              <a:srgbClr val="FF8C00"/>
            </a:solidFill>
            <a:ln w="0">
              <a:noFill/>
              <a:prstDash val="solid"/>
              <a:round/>
              <a:headEnd/>
              <a:tailEnd/>
            </a:ln>
          </p:spPr>
          <p:txBody>
            <a:bodyPr vert="horz" wrap="square" lIns="91440" tIns="45720" rIns="91440" bIns="45720" numCol="1" anchor="ctr"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32650">
                <a:defRPr/>
              </a:pPr>
              <a:endParaRPr lang="en-US" sz="1400" dirty="0">
                <a:solidFill>
                  <a:srgbClr val="000000"/>
                </a:solidFill>
              </a:endParaRPr>
            </a:p>
          </p:txBody>
        </p:sp>
        <p:sp>
          <p:nvSpPr>
            <p:cNvPr id="155" name="Database Part 1"/>
            <p:cNvSpPr>
              <a:spLocks noEditPoints="1"/>
            </p:cNvSpPr>
            <p:nvPr/>
          </p:nvSpPr>
          <p:spPr bwMode="auto">
            <a:xfrm>
              <a:off x="1571794" y="5355335"/>
              <a:ext cx="534317" cy="679288"/>
            </a:xfrm>
            <a:custGeom>
              <a:avLst/>
              <a:gdLst>
                <a:gd name="T0" fmla="*/ 0 w 1355"/>
                <a:gd name="T1" fmla="*/ 0 h 1721"/>
                <a:gd name="T2" fmla="*/ 0 w 1355"/>
                <a:gd name="T3" fmla="*/ 508 h 1721"/>
                <a:gd name="T4" fmla="*/ 678 w 1355"/>
                <a:gd name="T5" fmla="*/ 592 h 1721"/>
                <a:gd name="T6" fmla="*/ 1355 w 1355"/>
                <a:gd name="T7" fmla="*/ 508 h 1721"/>
                <a:gd name="T8" fmla="*/ 1355 w 1355"/>
                <a:gd name="T9" fmla="*/ 0 h 1721"/>
                <a:gd name="T10" fmla="*/ 678 w 1355"/>
                <a:gd name="T11" fmla="*/ 84 h 1721"/>
                <a:gd name="T12" fmla="*/ 0 w 1355"/>
                <a:gd name="T13" fmla="*/ 0 h 1721"/>
                <a:gd name="T14" fmla="*/ 0 w 1355"/>
                <a:gd name="T15" fmla="*/ 564 h 1721"/>
                <a:gd name="T16" fmla="*/ 0 w 1355"/>
                <a:gd name="T17" fmla="*/ 1072 h 1721"/>
                <a:gd name="T18" fmla="*/ 678 w 1355"/>
                <a:gd name="T19" fmla="*/ 1157 h 1721"/>
                <a:gd name="T20" fmla="*/ 1355 w 1355"/>
                <a:gd name="T21" fmla="*/ 1072 h 1721"/>
                <a:gd name="T22" fmla="*/ 1355 w 1355"/>
                <a:gd name="T23" fmla="*/ 564 h 1721"/>
                <a:gd name="T24" fmla="*/ 678 w 1355"/>
                <a:gd name="T25" fmla="*/ 649 h 1721"/>
                <a:gd name="T26" fmla="*/ 0 w 1355"/>
                <a:gd name="T27" fmla="*/ 564 h 1721"/>
                <a:gd name="T28" fmla="*/ 0 w 1355"/>
                <a:gd name="T29" fmla="*/ 1129 h 1721"/>
                <a:gd name="T30" fmla="*/ 0 w 1355"/>
                <a:gd name="T31" fmla="*/ 1637 h 1721"/>
                <a:gd name="T32" fmla="*/ 678 w 1355"/>
                <a:gd name="T33" fmla="*/ 1721 h 1721"/>
                <a:gd name="T34" fmla="*/ 1355 w 1355"/>
                <a:gd name="T35" fmla="*/ 1637 h 1721"/>
                <a:gd name="T36" fmla="*/ 1355 w 1355"/>
                <a:gd name="T37" fmla="*/ 1129 h 1721"/>
                <a:gd name="T38" fmla="*/ 678 w 1355"/>
                <a:gd name="T39" fmla="*/ 1213 h 1721"/>
                <a:gd name="T40" fmla="*/ 0 w 1355"/>
                <a:gd name="T41" fmla="*/ 1129 h 17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355" h="1721">
                  <a:moveTo>
                    <a:pt x="0" y="0"/>
                  </a:moveTo>
                  <a:lnTo>
                    <a:pt x="0" y="508"/>
                  </a:lnTo>
                  <a:cubicBezTo>
                    <a:pt x="0" y="555"/>
                    <a:pt x="304" y="592"/>
                    <a:pt x="678" y="592"/>
                  </a:cubicBezTo>
                  <a:cubicBezTo>
                    <a:pt x="1052" y="592"/>
                    <a:pt x="1355" y="555"/>
                    <a:pt x="1355" y="508"/>
                  </a:cubicBezTo>
                  <a:lnTo>
                    <a:pt x="1355" y="0"/>
                  </a:lnTo>
                  <a:cubicBezTo>
                    <a:pt x="1355" y="47"/>
                    <a:pt x="1052" y="84"/>
                    <a:pt x="678" y="84"/>
                  </a:cubicBezTo>
                  <a:cubicBezTo>
                    <a:pt x="304" y="84"/>
                    <a:pt x="0" y="47"/>
                    <a:pt x="0" y="0"/>
                  </a:cubicBezTo>
                  <a:close/>
                  <a:moveTo>
                    <a:pt x="0" y="564"/>
                  </a:moveTo>
                  <a:lnTo>
                    <a:pt x="0" y="1072"/>
                  </a:lnTo>
                  <a:cubicBezTo>
                    <a:pt x="0" y="1119"/>
                    <a:pt x="304" y="1157"/>
                    <a:pt x="678" y="1157"/>
                  </a:cubicBezTo>
                  <a:cubicBezTo>
                    <a:pt x="1052" y="1157"/>
                    <a:pt x="1355" y="1119"/>
                    <a:pt x="1355" y="1072"/>
                  </a:cubicBezTo>
                  <a:lnTo>
                    <a:pt x="1355" y="564"/>
                  </a:lnTo>
                  <a:cubicBezTo>
                    <a:pt x="1355" y="611"/>
                    <a:pt x="1052" y="649"/>
                    <a:pt x="678" y="649"/>
                  </a:cubicBezTo>
                  <a:cubicBezTo>
                    <a:pt x="304" y="649"/>
                    <a:pt x="0" y="611"/>
                    <a:pt x="0" y="564"/>
                  </a:cubicBezTo>
                  <a:close/>
                  <a:moveTo>
                    <a:pt x="0" y="1129"/>
                  </a:moveTo>
                  <a:lnTo>
                    <a:pt x="0" y="1637"/>
                  </a:lnTo>
                  <a:cubicBezTo>
                    <a:pt x="0" y="1683"/>
                    <a:pt x="304" y="1721"/>
                    <a:pt x="678" y="1721"/>
                  </a:cubicBezTo>
                  <a:cubicBezTo>
                    <a:pt x="1052" y="1721"/>
                    <a:pt x="1355" y="1683"/>
                    <a:pt x="1355" y="1637"/>
                  </a:cubicBezTo>
                  <a:lnTo>
                    <a:pt x="1355" y="1129"/>
                  </a:lnTo>
                  <a:cubicBezTo>
                    <a:pt x="1355" y="1175"/>
                    <a:pt x="1052" y="1213"/>
                    <a:pt x="678" y="1213"/>
                  </a:cubicBezTo>
                  <a:cubicBezTo>
                    <a:pt x="304" y="1213"/>
                    <a:pt x="0" y="1175"/>
                    <a:pt x="0" y="1129"/>
                  </a:cubicBezTo>
                  <a:close/>
                </a:path>
              </a:pathLst>
            </a:custGeom>
            <a:solidFill>
              <a:srgbClr val="DC3C00"/>
            </a:solidFill>
            <a:ln w="0">
              <a:noFill/>
              <a:prstDash val="solid"/>
              <a:round/>
              <a:headEnd/>
              <a:tailEnd/>
            </a:ln>
          </p:spPr>
          <p:txBody>
            <a:bodyPr vert="horz" wrap="square" lIns="91440" tIns="45720" rIns="91440" bIns="45720" numCol="1" anchor="ctr"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32650">
                <a:defRPr/>
              </a:pPr>
              <a:endParaRPr lang="en-US" sz="1400" dirty="0">
                <a:solidFill>
                  <a:srgbClr val="000000"/>
                </a:solidFill>
              </a:endParaRPr>
            </a:p>
          </p:txBody>
        </p:sp>
        <p:grpSp>
          <p:nvGrpSpPr>
            <p:cNvPr id="156" name="Group 155"/>
            <p:cNvGrpSpPr/>
            <p:nvPr/>
          </p:nvGrpSpPr>
          <p:grpSpPr>
            <a:xfrm>
              <a:off x="1220277" y="1700394"/>
              <a:ext cx="1039827" cy="759788"/>
              <a:chOff x="1171818" y="1700394"/>
              <a:chExt cx="1039827" cy="759788"/>
            </a:xfrm>
          </p:grpSpPr>
          <p:sp>
            <p:nvSpPr>
              <p:cNvPr id="157" name="Freeform 106"/>
              <p:cNvSpPr>
                <a:spLocks noEditPoints="1"/>
              </p:cNvSpPr>
              <p:nvPr/>
            </p:nvSpPr>
            <p:spPr bwMode="auto">
              <a:xfrm>
                <a:off x="1171818" y="1700394"/>
                <a:ext cx="642781" cy="751095"/>
              </a:xfrm>
              <a:custGeom>
                <a:avLst/>
                <a:gdLst>
                  <a:gd name="T0" fmla="*/ 35 w 70"/>
                  <a:gd name="T1" fmla="*/ 4 h 82"/>
                  <a:gd name="T2" fmla="*/ 64 w 70"/>
                  <a:gd name="T3" fmla="*/ 12 h 82"/>
                  <a:gd name="T4" fmla="*/ 35 w 70"/>
                  <a:gd name="T5" fmla="*/ 20 h 82"/>
                  <a:gd name="T6" fmla="*/ 6 w 70"/>
                  <a:gd name="T7" fmla="*/ 12 h 82"/>
                  <a:gd name="T8" fmla="*/ 35 w 70"/>
                  <a:gd name="T9" fmla="*/ 4 h 82"/>
                  <a:gd name="T10" fmla="*/ 35 w 70"/>
                  <a:gd name="T11" fmla="*/ 0 h 82"/>
                  <a:gd name="T12" fmla="*/ 21 w 70"/>
                  <a:gd name="T13" fmla="*/ 1 h 82"/>
                  <a:gd name="T14" fmla="*/ 10 w 70"/>
                  <a:gd name="T15" fmla="*/ 4 h 82"/>
                  <a:gd name="T16" fmla="*/ 3 w 70"/>
                  <a:gd name="T17" fmla="*/ 8 h 82"/>
                  <a:gd name="T18" fmla="*/ 1 w 70"/>
                  <a:gd name="T19" fmla="*/ 11 h 82"/>
                  <a:gd name="T20" fmla="*/ 0 w 70"/>
                  <a:gd name="T21" fmla="*/ 14 h 82"/>
                  <a:gd name="T22" fmla="*/ 0 w 70"/>
                  <a:gd name="T23" fmla="*/ 69 h 82"/>
                  <a:gd name="T24" fmla="*/ 1 w 70"/>
                  <a:gd name="T25" fmla="*/ 71 h 82"/>
                  <a:gd name="T26" fmla="*/ 3 w 70"/>
                  <a:gd name="T27" fmla="*/ 74 h 82"/>
                  <a:gd name="T28" fmla="*/ 10 w 70"/>
                  <a:gd name="T29" fmla="*/ 78 h 82"/>
                  <a:gd name="T30" fmla="*/ 21 w 70"/>
                  <a:gd name="T31" fmla="*/ 81 h 82"/>
                  <a:gd name="T32" fmla="*/ 35 w 70"/>
                  <a:gd name="T33" fmla="*/ 82 h 82"/>
                  <a:gd name="T34" fmla="*/ 60 w 70"/>
                  <a:gd name="T35" fmla="*/ 78 h 82"/>
                  <a:gd name="T36" fmla="*/ 67 w 70"/>
                  <a:gd name="T37" fmla="*/ 74 h 82"/>
                  <a:gd name="T38" fmla="*/ 69 w 70"/>
                  <a:gd name="T39" fmla="*/ 71 h 82"/>
                  <a:gd name="T40" fmla="*/ 70 w 70"/>
                  <a:gd name="T41" fmla="*/ 69 h 82"/>
                  <a:gd name="T42" fmla="*/ 70 w 70"/>
                  <a:gd name="T43" fmla="*/ 14 h 82"/>
                  <a:gd name="T44" fmla="*/ 67 w 70"/>
                  <a:gd name="T45" fmla="*/ 8 h 82"/>
                  <a:gd name="T46" fmla="*/ 60 w 70"/>
                  <a:gd name="T47" fmla="*/ 4 h 82"/>
                  <a:gd name="T48" fmla="*/ 49 w 70"/>
                  <a:gd name="T49" fmla="*/ 1 h 82"/>
                  <a:gd name="T50" fmla="*/ 35 w 70"/>
                  <a:gd name="T51" fmla="*/ 0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0" h="82">
                    <a:moveTo>
                      <a:pt x="35" y="4"/>
                    </a:moveTo>
                    <a:cubicBezTo>
                      <a:pt x="51" y="4"/>
                      <a:pt x="64" y="8"/>
                      <a:pt x="64" y="12"/>
                    </a:cubicBezTo>
                    <a:cubicBezTo>
                      <a:pt x="64" y="17"/>
                      <a:pt x="51" y="20"/>
                      <a:pt x="35" y="20"/>
                    </a:cubicBezTo>
                    <a:cubicBezTo>
                      <a:pt x="19" y="20"/>
                      <a:pt x="6" y="17"/>
                      <a:pt x="6" y="12"/>
                    </a:cubicBezTo>
                    <a:cubicBezTo>
                      <a:pt x="6" y="8"/>
                      <a:pt x="19" y="4"/>
                      <a:pt x="35" y="4"/>
                    </a:cubicBezTo>
                    <a:close/>
                    <a:moveTo>
                      <a:pt x="35" y="0"/>
                    </a:moveTo>
                    <a:cubicBezTo>
                      <a:pt x="21" y="1"/>
                      <a:pt x="21" y="1"/>
                      <a:pt x="21" y="1"/>
                    </a:cubicBezTo>
                    <a:cubicBezTo>
                      <a:pt x="10" y="4"/>
                      <a:pt x="10" y="4"/>
                      <a:pt x="10" y="4"/>
                    </a:cubicBezTo>
                    <a:cubicBezTo>
                      <a:pt x="3" y="8"/>
                      <a:pt x="3" y="8"/>
                      <a:pt x="3" y="8"/>
                    </a:cubicBezTo>
                    <a:cubicBezTo>
                      <a:pt x="1" y="11"/>
                      <a:pt x="1" y="11"/>
                      <a:pt x="1" y="11"/>
                    </a:cubicBezTo>
                    <a:cubicBezTo>
                      <a:pt x="0" y="14"/>
                      <a:pt x="0" y="14"/>
                      <a:pt x="0" y="14"/>
                    </a:cubicBezTo>
                    <a:cubicBezTo>
                      <a:pt x="0" y="69"/>
                      <a:pt x="0" y="69"/>
                      <a:pt x="0" y="69"/>
                    </a:cubicBezTo>
                    <a:cubicBezTo>
                      <a:pt x="1" y="71"/>
                      <a:pt x="1" y="71"/>
                      <a:pt x="1" y="71"/>
                    </a:cubicBezTo>
                    <a:cubicBezTo>
                      <a:pt x="3" y="74"/>
                      <a:pt x="3" y="74"/>
                      <a:pt x="3" y="74"/>
                    </a:cubicBezTo>
                    <a:cubicBezTo>
                      <a:pt x="10" y="78"/>
                      <a:pt x="10" y="78"/>
                      <a:pt x="10" y="78"/>
                    </a:cubicBezTo>
                    <a:cubicBezTo>
                      <a:pt x="21" y="81"/>
                      <a:pt x="21" y="81"/>
                      <a:pt x="21" y="81"/>
                    </a:cubicBezTo>
                    <a:cubicBezTo>
                      <a:pt x="26" y="82"/>
                      <a:pt x="30" y="82"/>
                      <a:pt x="35" y="82"/>
                    </a:cubicBezTo>
                    <a:cubicBezTo>
                      <a:pt x="45" y="82"/>
                      <a:pt x="53" y="81"/>
                      <a:pt x="60" y="78"/>
                    </a:cubicBezTo>
                    <a:cubicBezTo>
                      <a:pt x="63" y="77"/>
                      <a:pt x="66" y="76"/>
                      <a:pt x="67" y="74"/>
                    </a:cubicBezTo>
                    <a:cubicBezTo>
                      <a:pt x="68" y="73"/>
                      <a:pt x="69" y="72"/>
                      <a:pt x="69" y="71"/>
                    </a:cubicBezTo>
                    <a:cubicBezTo>
                      <a:pt x="70" y="71"/>
                      <a:pt x="70" y="70"/>
                      <a:pt x="70" y="69"/>
                    </a:cubicBezTo>
                    <a:cubicBezTo>
                      <a:pt x="70" y="14"/>
                      <a:pt x="70" y="14"/>
                      <a:pt x="70" y="14"/>
                    </a:cubicBezTo>
                    <a:cubicBezTo>
                      <a:pt x="70" y="12"/>
                      <a:pt x="69" y="10"/>
                      <a:pt x="67" y="8"/>
                    </a:cubicBezTo>
                    <a:cubicBezTo>
                      <a:pt x="66" y="7"/>
                      <a:pt x="63" y="5"/>
                      <a:pt x="60" y="4"/>
                    </a:cubicBezTo>
                    <a:cubicBezTo>
                      <a:pt x="57" y="3"/>
                      <a:pt x="53" y="2"/>
                      <a:pt x="49" y="1"/>
                    </a:cubicBezTo>
                    <a:cubicBezTo>
                      <a:pt x="45" y="0"/>
                      <a:pt x="40" y="0"/>
                      <a:pt x="35" y="0"/>
                    </a:cubicBezTo>
                    <a:close/>
                  </a:path>
                </a:pathLst>
              </a:custGeom>
              <a:solidFill>
                <a:srgbClr val="00B0F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182880" rIns="0" bIns="0" numCol="1" anchor="ctr" anchorCtr="0" compatLnSpc="1">
                <a:prstTxWarp prst="textNoShape">
                  <a:avLst/>
                </a:prstTxWarp>
              </a:bodyPr>
              <a:lstStyle/>
              <a:p>
                <a:pPr algn="ctr" defTabSz="932688">
                  <a:defRPr/>
                </a:pPr>
                <a:r>
                  <a:rPr lang="en-US" sz="1500" kern="0" dirty="0">
                    <a:solidFill>
                      <a:srgbClr val="FFFFFF"/>
                    </a:solidFill>
                  </a:rPr>
                  <a:t>SQL</a:t>
                </a:r>
              </a:p>
            </p:txBody>
          </p:sp>
          <p:sp>
            <p:nvSpPr>
              <p:cNvPr id="158" name="Freeform 46"/>
              <p:cNvSpPr>
                <a:spLocks/>
              </p:cNvSpPr>
              <p:nvPr/>
            </p:nvSpPr>
            <p:spPr bwMode="auto">
              <a:xfrm>
                <a:off x="1673482" y="2104582"/>
                <a:ext cx="538163" cy="355600"/>
              </a:xfrm>
              <a:custGeom>
                <a:avLst/>
                <a:gdLst>
                  <a:gd name="T0" fmla="*/ 203 w 242"/>
                  <a:gd name="T1" fmla="*/ 70 h 160"/>
                  <a:gd name="T2" fmla="*/ 203 w 242"/>
                  <a:gd name="T3" fmla="*/ 67 h 160"/>
                  <a:gd name="T4" fmla="*/ 136 w 242"/>
                  <a:gd name="T5" fmla="*/ 0 h 160"/>
                  <a:gd name="T6" fmla="*/ 81 w 242"/>
                  <a:gd name="T7" fmla="*/ 30 h 160"/>
                  <a:gd name="T8" fmla="*/ 62 w 242"/>
                  <a:gd name="T9" fmla="*/ 25 h 160"/>
                  <a:gd name="T10" fmla="*/ 24 w 242"/>
                  <a:gd name="T11" fmla="*/ 63 h 160"/>
                  <a:gd name="T12" fmla="*/ 0 w 242"/>
                  <a:gd name="T13" fmla="*/ 107 h 160"/>
                  <a:gd name="T14" fmla="*/ 46 w 242"/>
                  <a:gd name="T15" fmla="*/ 160 h 160"/>
                  <a:gd name="T16" fmla="*/ 52 w 242"/>
                  <a:gd name="T17" fmla="*/ 160 h 160"/>
                  <a:gd name="T18" fmla="*/ 57 w 242"/>
                  <a:gd name="T19" fmla="*/ 160 h 160"/>
                  <a:gd name="T20" fmla="*/ 166 w 242"/>
                  <a:gd name="T21" fmla="*/ 160 h 160"/>
                  <a:gd name="T22" fmla="*/ 171 w 242"/>
                  <a:gd name="T23" fmla="*/ 160 h 160"/>
                  <a:gd name="T24" fmla="*/ 179 w 242"/>
                  <a:gd name="T25" fmla="*/ 160 h 160"/>
                  <a:gd name="T26" fmla="*/ 197 w 242"/>
                  <a:gd name="T27" fmla="*/ 160 h 160"/>
                  <a:gd name="T28" fmla="*/ 242 w 242"/>
                  <a:gd name="T29" fmla="*/ 115 h 160"/>
                  <a:gd name="T30" fmla="*/ 203 w 242"/>
                  <a:gd name="T31" fmla="*/ 7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2" h="160">
                    <a:moveTo>
                      <a:pt x="203" y="70"/>
                    </a:moveTo>
                    <a:cubicBezTo>
                      <a:pt x="203" y="69"/>
                      <a:pt x="203" y="68"/>
                      <a:pt x="203" y="67"/>
                    </a:cubicBezTo>
                    <a:cubicBezTo>
                      <a:pt x="203" y="30"/>
                      <a:pt x="173" y="0"/>
                      <a:pt x="136" y="0"/>
                    </a:cubicBezTo>
                    <a:cubicBezTo>
                      <a:pt x="113" y="0"/>
                      <a:pt x="93" y="12"/>
                      <a:pt x="81" y="30"/>
                    </a:cubicBezTo>
                    <a:cubicBezTo>
                      <a:pt x="75" y="27"/>
                      <a:pt x="69" y="25"/>
                      <a:pt x="62" y="25"/>
                    </a:cubicBezTo>
                    <a:cubicBezTo>
                      <a:pt x="41" y="25"/>
                      <a:pt x="24" y="42"/>
                      <a:pt x="24" y="63"/>
                    </a:cubicBezTo>
                    <a:cubicBezTo>
                      <a:pt x="9" y="73"/>
                      <a:pt x="0" y="89"/>
                      <a:pt x="0" y="107"/>
                    </a:cubicBezTo>
                    <a:cubicBezTo>
                      <a:pt x="0" y="135"/>
                      <a:pt x="20" y="157"/>
                      <a:pt x="46" y="160"/>
                    </a:cubicBezTo>
                    <a:cubicBezTo>
                      <a:pt x="48" y="160"/>
                      <a:pt x="50" y="160"/>
                      <a:pt x="52" y="160"/>
                    </a:cubicBezTo>
                    <a:cubicBezTo>
                      <a:pt x="54" y="160"/>
                      <a:pt x="56" y="160"/>
                      <a:pt x="57" y="160"/>
                    </a:cubicBezTo>
                    <a:cubicBezTo>
                      <a:pt x="82" y="160"/>
                      <a:pt x="139" y="160"/>
                      <a:pt x="166" y="160"/>
                    </a:cubicBezTo>
                    <a:cubicBezTo>
                      <a:pt x="171" y="160"/>
                      <a:pt x="171" y="160"/>
                      <a:pt x="171" y="160"/>
                    </a:cubicBezTo>
                    <a:cubicBezTo>
                      <a:pt x="173" y="160"/>
                      <a:pt x="177" y="160"/>
                      <a:pt x="179" y="160"/>
                    </a:cubicBezTo>
                    <a:cubicBezTo>
                      <a:pt x="197" y="160"/>
                      <a:pt x="197" y="160"/>
                      <a:pt x="197" y="160"/>
                    </a:cubicBezTo>
                    <a:cubicBezTo>
                      <a:pt x="222" y="160"/>
                      <a:pt x="242" y="139"/>
                      <a:pt x="242" y="115"/>
                    </a:cubicBezTo>
                    <a:cubicBezTo>
                      <a:pt x="242" y="92"/>
                      <a:pt x="225" y="73"/>
                      <a:pt x="203" y="70"/>
                    </a:cubicBezTo>
                  </a:path>
                </a:pathLst>
              </a:custGeom>
              <a:solidFill>
                <a:srgbClr val="00B0F0"/>
              </a:solidFill>
              <a:ln w="12700">
                <a:solidFill>
                  <a:schemeClr val="bg1"/>
                </a:solidFill>
              </a:ln>
            </p:spPr>
            <p:txBody>
              <a:bodyPr vert="horz" wrap="square" lIns="91440" tIns="45720" rIns="91440" bIns="45720" numCol="1" anchor="t" anchorCtr="0" compatLnSpc="1">
                <a:prstTxWarp prst="textNoShape">
                  <a:avLst/>
                </a:prstTxWarp>
              </a:bodyPr>
              <a:lstStyle/>
              <a:p>
                <a:pPr defTabSz="932688">
                  <a:defRPr/>
                </a:pPr>
                <a:endParaRPr lang="en-US" sz="1500" kern="0" dirty="0">
                  <a:solidFill>
                    <a:srgbClr val="000000"/>
                  </a:solidFill>
                </a:endParaRPr>
              </a:p>
            </p:txBody>
          </p:sp>
        </p:grpSp>
      </p:grpSp>
      <p:grpSp>
        <p:nvGrpSpPr>
          <p:cNvPr id="167" name="Group 166"/>
          <p:cNvGrpSpPr/>
          <p:nvPr/>
        </p:nvGrpSpPr>
        <p:grpSpPr>
          <a:xfrm>
            <a:off x="5519231" y="3109482"/>
            <a:ext cx="1027461" cy="1085530"/>
            <a:chOff x="5410733" y="3048788"/>
            <a:chExt cx="1007263" cy="1064342"/>
          </a:xfrm>
        </p:grpSpPr>
        <p:sp>
          <p:nvSpPr>
            <p:cNvPr id="168" name="TextBox 167"/>
            <p:cNvSpPr txBox="1"/>
            <p:nvPr/>
          </p:nvSpPr>
          <p:spPr>
            <a:xfrm>
              <a:off x="5410733" y="3882298"/>
              <a:ext cx="1007263" cy="230832"/>
            </a:xfrm>
            <a:prstGeom prst="rect">
              <a:avLst/>
            </a:prstGeom>
            <a:noFill/>
          </p:spPr>
          <p:txBody>
            <a:bodyPr wrap="square" lIns="0" tIns="0" rIns="0" bIns="0" rtlCol="0">
              <a:spAutoFit/>
            </a:bodyPr>
            <a:lstStyle/>
            <a:p>
              <a:pPr defTabSz="932688">
                <a:spcAft>
                  <a:spcPts val="612"/>
                </a:spcAft>
                <a:defRPr/>
              </a:pPr>
              <a:r>
                <a:rPr lang="en-US" sz="1500" kern="0" dirty="0">
                  <a:solidFill>
                    <a:srgbClr val="505050"/>
                  </a:solidFill>
                </a:rPr>
                <a:t>ADL Store</a:t>
              </a:r>
            </a:p>
          </p:txBody>
        </p:sp>
        <p:pic>
          <p:nvPicPr>
            <p:cNvPr id="169" name="Picture 16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461897" y="3048788"/>
              <a:ext cx="904934" cy="904934"/>
            </a:xfrm>
            <a:prstGeom prst="rect">
              <a:avLst/>
            </a:prstGeom>
          </p:spPr>
        </p:pic>
      </p:grpSp>
      <p:sp>
        <p:nvSpPr>
          <p:cNvPr id="170" name="TextBox 169"/>
          <p:cNvSpPr txBox="1"/>
          <p:nvPr/>
        </p:nvSpPr>
        <p:spPr>
          <a:xfrm>
            <a:off x="7189837" y="3047253"/>
            <a:ext cx="2352266" cy="219733"/>
          </a:xfrm>
          <a:prstGeom prst="rect">
            <a:avLst/>
          </a:prstGeom>
          <a:noFill/>
        </p:spPr>
        <p:txBody>
          <a:bodyPr wrap="square" lIns="0" tIns="0" rIns="0" bIns="0" rtlCol="0">
            <a:spAutoFit/>
          </a:bodyPr>
          <a:lstStyle/>
          <a:p>
            <a:pPr defTabSz="932617">
              <a:spcAft>
                <a:spcPts val="600"/>
              </a:spcAft>
              <a:defRPr/>
            </a:pPr>
            <a:r>
              <a:rPr lang="en-US" sz="1400" kern="0" dirty="0">
                <a:solidFill>
                  <a:srgbClr val="505050"/>
                </a:solidFill>
              </a:rPr>
              <a:t>ADL built-in copy service</a:t>
            </a:r>
          </a:p>
        </p:txBody>
      </p:sp>
      <p:cxnSp>
        <p:nvCxnSpPr>
          <p:cNvPr id="171" name="Straight Connector 170"/>
          <p:cNvCxnSpPr/>
          <p:nvPr/>
        </p:nvCxnSpPr>
        <p:spPr>
          <a:xfrm flipH="1">
            <a:off x="7004654" y="3295513"/>
            <a:ext cx="3250377" cy="0"/>
          </a:xfrm>
          <a:prstGeom prst="line">
            <a:avLst/>
          </a:prstGeom>
          <a:ln w="38100" cap="rnd">
            <a:solidFill>
              <a:schemeClr val="accent2"/>
            </a:solidFill>
            <a:headEnd type="none"/>
            <a:tailEnd type="triangle" w="lg" len="med"/>
          </a:ln>
        </p:spPr>
        <p:style>
          <a:lnRef idx="1">
            <a:schemeClr val="accent1"/>
          </a:lnRef>
          <a:fillRef idx="0">
            <a:schemeClr val="accent1"/>
          </a:fillRef>
          <a:effectRef idx="0">
            <a:schemeClr val="accent1"/>
          </a:effectRef>
          <a:fontRef idx="minor">
            <a:schemeClr val="tx1"/>
          </a:fontRef>
        </p:style>
      </p:cxnSp>
      <p:sp>
        <p:nvSpPr>
          <p:cNvPr id="172" name="TextBox 171"/>
          <p:cNvSpPr txBox="1"/>
          <p:nvPr/>
        </p:nvSpPr>
        <p:spPr>
          <a:xfrm>
            <a:off x="4970921" y="5139600"/>
            <a:ext cx="2066340" cy="215444"/>
          </a:xfrm>
          <a:prstGeom prst="rect">
            <a:avLst/>
          </a:prstGeom>
          <a:noFill/>
        </p:spPr>
        <p:txBody>
          <a:bodyPr wrap="square" lIns="0" tIns="0" rIns="0" bIns="0" rtlCol="0">
            <a:spAutoFit/>
          </a:bodyPr>
          <a:lstStyle/>
          <a:p>
            <a:pPr algn="ctr" defTabSz="932617">
              <a:spcAft>
                <a:spcPts val="600"/>
              </a:spcAft>
              <a:defRPr/>
            </a:pPr>
            <a:r>
              <a:rPr lang="en-US" sz="1400" kern="0" dirty="0">
                <a:solidFill>
                  <a:srgbClr val="505050"/>
                </a:solidFill>
              </a:rPr>
              <a:t>Azure Stream Analytics</a:t>
            </a:r>
          </a:p>
        </p:txBody>
      </p:sp>
      <p:sp>
        <p:nvSpPr>
          <p:cNvPr id="173" name="TextBox 172"/>
          <p:cNvSpPr txBox="1"/>
          <p:nvPr/>
        </p:nvSpPr>
        <p:spPr>
          <a:xfrm>
            <a:off x="7189837" y="3302970"/>
            <a:ext cx="1533768" cy="219733"/>
          </a:xfrm>
          <a:prstGeom prst="rect">
            <a:avLst/>
          </a:prstGeom>
          <a:noFill/>
        </p:spPr>
        <p:txBody>
          <a:bodyPr wrap="square" lIns="0" tIns="0" rIns="0" bIns="0" rtlCol="0">
            <a:spAutoFit/>
          </a:bodyPr>
          <a:lstStyle/>
          <a:p>
            <a:pPr defTabSz="932617">
              <a:spcAft>
                <a:spcPts val="600"/>
              </a:spcAft>
              <a:defRPr/>
            </a:pPr>
            <a:r>
              <a:rPr lang="en-US" sz="1400" kern="0" dirty="0">
                <a:solidFill>
                  <a:srgbClr val="505050"/>
                </a:solidFill>
              </a:rPr>
              <a:t>Azure Data Factory</a:t>
            </a:r>
          </a:p>
        </p:txBody>
      </p:sp>
      <p:sp>
        <p:nvSpPr>
          <p:cNvPr id="174" name="TextBox 173"/>
          <p:cNvSpPr txBox="1"/>
          <p:nvPr/>
        </p:nvSpPr>
        <p:spPr>
          <a:xfrm>
            <a:off x="7199340" y="3546030"/>
            <a:ext cx="1533768" cy="219733"/>
          </a:xfrm>
          <a:prstGeom prst="rect">
            <a:avLst/>
          </a:prstGeom>
          <a:noFill/>
        </p:spPr>
        <p:txBody>
          <a:bodyPr wrap="square" lIns="0" tIns="0" rIns="0" bIns="0" rtlCol="0">
            <a:spAutoFit/>
          </a:bodyPr>
          <a:lstStyle/>
          <a:p>
            <a:pPr defTabSz="932617">
              <a:spcAft>
                <a:spcPts val="600"/>
              </a:spcAft>
              <a:defRPr/>
            </a:pPr>
            <a:r>
              <a:rPr lang="en-US" sz="1400" kern="0" dirty="0">
                <a:solidFill>
                  <a:srgbClr val="505050"/>
                </a:solidFill>
              </a:rPr>
              <a:t>Hadoop DistCp</a:t>
            </a:r>
          </a:p>
        </p:txBody>
      </p:sp>
      <p:pic>
        <p:nvPicPr>
          <p:cNvPr id="175" name="Graphic 4"/>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680545" y="4659761"/>
            <a:ext cx="583610" cy="583610"/>
          </a:xfrm>
          <a:prstGeom prst="rect">
            <a:avLst/>
          </a:prstGeom>
        </p:spPr>
      </p:pic>
    </p:spTree>
    <p:extLst>
      <p:ext uri="{BB962C8B-B14F-4D97-AF65-F5344CB8AC3E}">
        <p14:creationId xmlns:p14="http://schemas.microsoft.com/office/powerpoint/2010/main" val="1653377554"/>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67"/>
                                        </p:tgtEl>
                                        <p:attrNameLst>
                                          <p:attrName>style.visibility</p:attrName>
                                        </p:attrNameLst>
                                      </p:cBhvr>
                                      <p:to>
                                        <p:strVal val="visible"/>
                                      </p:to>
                                    </p:set>
                                    <p:animEffect transition="in" filter="fade">
                                      <p:cBhvr>
                                        <p:cTn id="7" dur="500"/>
                                        <p:tgtEl>
                                          <p:spTgt spid="167"/>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145"/>
                                        </p:tgtEl>
                                        <p:attrNameLst>
                                          <p:attrName>style.visibility</p:attrName>
                                        </p:attrNameLst>
                                      </p:cBhvr>
                                      <p:to>
                                        <p:strVal val="visible"/>
                                      </p:to>
                                    </p:set>
                                    <p:animEffect transition="in" filter="fade">
                                      <p:cBhvr>
                                        <p:cTn id="11" dur="500"/>
                                        <p:tgtEl>
                                          <p:spTgt spid="145"/>
                                        </p:tgtEl>
                                      </p:cBhvr>
                                    </p:animEffect>
                                  </p:childTnLst>
                                </p:cTn>
                              </p:par>
                            </p:childTnLst>
                          </p:cTn>
                        </p:par>
                        <p:par>
                          <p:cTn id="12" fill="hold">
                            <p:stCondLst>
                              <p:cond delay="1000"/>
                            </p:stCondLst>
                            <p:childTnLst>
                              <p:par>
                                <p:cTn id="13" presetID="1" presetClass="entr" presetSubtype="0" fill="hold" nodeType="afterEffect">
                                  <p:stCondLst>
                                    <p:cond delay="0"/>
                                  </p:stCondLst>
                                  <p:childTnLst>
                                    <p:set>
                                      <p:cBhvr>
                                        <p:cTn id="14" dur="1" fill="hold">
                                          <p:stCondLst>
                                            <p:cond delay="0"/>
                                          </p:stCondLst>
                                        </p:cTn>
                                        <p:tgtEl>
                                          <p:spTgt spid="144"/>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142"/>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143"/>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140"/>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141"/>
                                        </p:tgtEl>
                                        <p:attrNameLst>
                                          <p:attrName>style.visibility</p:attrName>
                                        </p:attrNameLst>
                                      </p:cBhvr>
                                      <p:to>
                                        <p:strVal val="visible"/>
                                      </p:to>
                                    </p:set>
                                  </p:childTnLst>
                                </p:cTn>
                              </p:par>
                            </p:childTnLst>
                          </p:cTn>
                        </p:par>
                        <p:par>
                          <p:cTn id="23" fill="hold">
                            <p:stCondLst>
                              <p:cond delay="1000"/>
                            </p:stCondLst>
                            <p:childTnLst>
                              <p:par>
                                <p:cTn id="24" presetID="10" presetClass="entr" presetSubtype="0" fill="hold" nodeType="afterEffect">
                                  <p:stCondLst>
                                    <p:cond delay="0"/>
                                  </p:stCondLst>
                                  <p:childTnLst>
                                    <p:set>
                                      <p:cBhvr>
                                        <p:cTn id="25" dur="1" fill="hold">
                                          <p:stCondLst>
                                            <p:cond delay="0"/>
                                          </p:stCondLst>
                                        </p:cTn>
                                        <p:tgtEl>
                                          <p:spTgt spid="97"/>
                                        </p:tgtEl>
                                        <p:attrNameLst>
                                          <p:attrName>style.visibility</p:attrName>
                                        </p:attrNameLst>
                                      </p:cBhvr>
                                      <p:to>
                                        <p:strVal val="visible"/>
                                      </p:to>
                                    </p:set>
                                    <p:animEffect transition="in" filter="fade">
                                      <p:cBhvr>
                                        <p:cTn id="26" dur="500"/>
                                        <p:tgtEl>
                                          <p:spTgt spid="97"/>
                                        </p:tgtEl>
                                      </p:cBhvr>
                                    </p:animEffect>
                                  </p:childTnLst>
                                </p:cTn>
                              </p:par>
                            </p:childTnLst>
                          </p:cTn>
                        </p:par>
                        <p:par>
                          <p:cTn id="27" fill="hold">
                            <p:stCondLst>
                              <p:cond delay="1500"/>
                            </p:stCondLst>
                            <p:childTnLst>
                              <p:par>
                                <p:cTn id="28" presetID="1" presetClass="entr" presetSubtype="0" fill="hold" nodeType="afterEffect">
                                  <p:stCondLst>
                                    <p:cond delay="0"/>
                                  </p:stCondLst>
                                  <p:childTnLst>
                                    <p:set>
                                      <p:cBhvr>
                                        <p:cTn id="29" dur="1" fill="hold">
                                          <p:stCondLst>
                                            <p:cond delay="0"/>
                                          </p:stCondLst>
                                        </p:cTn>
                                        <p:tgtEl>
                                          <p:spTgt spid="95"/>
                                        </p:tgtEl>
                                        <p:attrNameLst>
                                          <p:attrName>style.visibility</p:attrName>
                                        </p:attrNameLst>
                                      </p:cBhvr>
                                      <p:to>
                                        <p:strVal val="visible"/>
                                      </p:to>
                                    </p:set>
                                  </p:childTnLst>
                                </p:cTn>
                              </p:par>
                            </p:childTnLst>
                          </p:cTn>
                        </p:par>
                        <p:par>
                          <p:cTn id="30" fill="hold">
                            <p:stCondLst>
                              <p:cond delay="1500"/>
                            </p:stCondLst>
                            <p:childTnLst>
                              <p:par>
                                <p:cTn id="31" presetID="1" presetClass="entr" presetSubtype="0" fill="hold" grpId="0" nodeType="afterEffect">
                                  <p:stCondLst>
                                    <p:cond delay="0"/>
                                  </p:stCondLst>
                                  <p:childTnLst>
                                    <p:set>
                                      <p:cBhvr>
                                        <p:cTn id="32" dur="1" fill="hold">
                                          <p:stCondLst>
                                            <p:cond delay="0"/>
                                          </p:stCondLst>
                                        </p:cTn>
                                        <p:tgtEl>
                                          <p:spTgt spid="172"/>
                                        </p:tgtEl>
                                        <p:attrNameLst>
                                          <p:attrName>style.visibility</p:attrName>
                                        </p:attrNameLst>
                                      </p:cBhvr>
                                      <p:to>
                                        <p:strVal val="visible"/>
                                      </p:to>
                                    </p:set>
                                  </p:childTnLst>
                                </p:cTn>
                              </p:par>
                            </p:childTnLst>
                          </p:cTn>
                        </p:par>
                        <p:par>
                          <p:cTn id="33" fill="hold">
                            <p:stCondLst>
                              <p:cond delay="1500"/>
                            </p:stCondLst>
                            <p:childTnLst>
                              <p:par>
                                <p:cTn id="34" presetID="1" presetClass="entr" presetSubtype="0" fill="hold" grpId="0" nodeType="afterEffect">
                                  <p:stCondLst>
                                    <p:cond delay="0"/>
                                  </p:stCondLst>
                                  <p:childTnLst>
                                    <p:set>
                                      <p:cBhvr>
                                        <p:cTn id="35" dur="1" fill="hold">
                                          <p:stCondLst>
                                            <p:cond delay="0"/>
                                          </p:stCondLst>
                                        </p:cTn>
                                        <p:tgtEl>
                                          <p:spTgt spid="96"/>
                                        </p:tgtEl>
                                        <p:attrNameLst>
                                          <p:attrName>style.visibility</p:attrName>
                                        </p:attrNameLst>
                                      </p:cBhvr>
                                      <p:to>
                                        <p:strVal val="visible"/>
                                      </p:to>
                                    </p:set>
                                  </p:childTnLst>
                                </p:cTn>
                              </p:par>
                            </p:childTnLst>
                          </p:cTn>
                        </p:par>
                        <p:par>
                          <p:cTn id="36" fill="hold">
                            <p:stCondLst>
                              <p:cond delay="1500"/>
                            </p:stCondLst>
                            <p:childTnLst>
                              <p:par>
                                <p:cTn id="37" presetID="10" presetClass="entr" presetSubtype="0" fill="hold" nodeType="afterEffect">
                                  <p:stCondLst>
                                    <p:cond delay="0"/>
                                  </p:stCondLst>
                                  <p:childTnLst>
                                    <p:set>
                                      <p:cBhvr>
                                        <p:cTn id="38" dur="1" fill="hold">
                                          <p:stCondLst>
                                            <p:cond delay="0"/>
                                          </p:stCondLst>
                                        </p:cTn>
                                        <p:tgtEl>
                                          <p:spTgt spid="117"/>
                                        </p:tgtEl>
                                        <p:attrNameLst>
                                          <p:attrName>style.visibility</p:attrName>
                                        </p:attrNameLst>
                                      </p:cBhvr>
                                      <p:to>
                                        <p:strVal val="visible"/>
                                      </p:to>
                                    </p:set>
                                    <p:animEffect transition="in" filter="fade">
                                      <p:cBhvr>
                                        <p:cTn id="39" dur="500"/>
                                        <p:tgtEl>
                                          <p:spTgt spid="117"/>
                                        </p:tgtEl>
                                      </p:cBhvr>
                                    </p:animEffect>
                                  </p:childTnLst>
                                </p:cTn>
                              </p:par>
                            </p:childTnLst>
                          </p:cTn>
                        </p:par>
                        <p:par>
                          <p:cTn id="40" fill="hold">
                            <p:stCondLst>
                              <p:cond delay="2000"/>
                            </p:stCondLst>
                            <p:childTnLst>
                              <p:par>
                                <p:cTn id="41" presetID="22" presetClass="entr" presetSubtype="2" fill="hold" nodeType="afterEffect">
                                  <p:stCondLst>
                                    <p:cond delay="0"/>
                                  </p:stCondLst>
                                  <p:childTnLst>
                                    <p:set>
                                      <p:cBhvr>
                                        <p:cTn id="42" dur="1" fill="hold">
                                          <p:stCondLst>
                                            <p:cond delay="0"/>
                                          </p:stCondLst>
                                        </p:cTn>
                                        <p:tgtEl>
                                          <p:spTgt spid="137"/>
                                        </p:tgtEl>
                                        <p:attrNameLst>
                                          <p:attrName>style.visibility</p:attrName>
                                        </p:attrNameLst>
                                      </p:cBhvr>
                                      <p:to>
                                        <p:strVal val="visible"/>
                                      </p:to>
                                    </p:set>
                                    <p:animEffect transition="in" filter="wipe(right)">
                                      <p:cBhvr>
                                        <p:cTn id="43" dur="750"/>
                                        <p:tgtEl>
                                          <p:spTgt spid="137"/>
                                        </p:tgtEl>
                                      </p:cBhvr>
                                    </p:animEffect>
                                  </p:childTnLst>
                                </p:cTn>
                              </p:par>
                            </p:childTnLst>
                          </p:cTn>
                        </p:par>
                        <p:par>
                          <p:cTn id="44" fill="hold">
                            <p:stCondLst>
                              <p:cond delay="2750"/>
                            </p:stCondLst>
                            <p:childTnLst>
                              <p:par>
                                <p:cTn id="45" presetID="10" presetClass="entr" presetSubtype="0" fill="hold" nodeType="afterEffect">
                                  <p:stCondLst>
                                    <p:cond delay="0"/>
                                  </p:stCondLst>
                                  <p:childTnLst>
                                    <p:set>
                                      <p:cBhvr>
                                        <p:cTn id="46" dur="1" fill="hold">
                                          <p:stCondLst>
                                            <p:cond delay="0"/>
                                          </p:stCondLst>
                                        </p:cTn>
                                        <p:tgtEl>
                                          <p:spTgt spid="106"/>
                                        </p:tgtEl>
                                        <p:attrNameLst>
                                          <p:attrName>style.visibility</p:attrName>
                                        </p:attrNameLst>
                                      </p:cBhvr>
                                      <p:to>
                                        <p:strVal val="visible"/>
                                      </p:to>
                                    </p:set>
                                    <p:animEffect transition="in" filter="fade">
                                      <p:cBhvr>
                                        <p:cTn id="47" dur="500"/>
                                        <p:tgtEl>
                                          <p:spTgt spid="106"/>
                                        </p:tgtEl>
                                      </p:cBhvr>
                                    </p:animEffect>
                                  </p:childTnLst>
                                </p:cTn>
                              </p:par>
                              <p:par>
                                <p:cTn id="48" presetID="1" presetClass="entr" presetSubtype="0" fill="hold" grpId="0" nodeType="withEffect">
                                  <p:stCondLst>
                                    <p:cond delay="0"/>
                                  </p:stCondLst>
                                  <p:childTnLst>
                                    <p:set>
                                      <p:cBhvr>
                                        <p:cTn id="49" dur="1" fill="hold">
                                          <p:stCondLst>
                                            <p:cond delay="0"/>
                                          </p:stCondLst>
                                        </p:cTn>
                                        <p:tgtEl>
                                          <p:spTgt spid="173"/>
                                        </p:tgtEl>
                                        <p:attrNameLst>
                                          <p:attrName>style.visibility</p:attrName>
                                        </p:attrNameLst>
                                      </p:cBhvr>
                                      <p:to>
                                        <p:strVal val="visible"/>
                                      </p:to>
                                    </p:set>
                                  </p:childTnLst>
                                </p:cTn>
                              </p:par>
                              <p:par>
                                <p:cTn id="50" presetID="1" presetClass="entr" presetSubtype="0" fill="hold" grpId="0" nodeType="withEffect">
                                  <p:stCondLst>
                                    <p:cond delay="0"/>
                                  </p:stCondLst>
                                  <p:childTnLst>
                                    <p:set>
                                      <p:cBhvr>
                                        <p:cTn id="51" dur="1" fill="hold">
                                          <p:stCondLst>
                                            <p:cond delay="0"/>
                                          </p:stCondLst>
                                        </p:cTn>
                                        <p:tgtEl>
                                          <p:spTgt spid="170"/>
                                        </p:tgtEl>
                                        <p:attrNameLst>
                                          <p:attrName>style.visibility</p:attrName>
                                        </p:attrNameLst>
                                      </p:cBhvr>
                                      <p:to>
                                        <p:strVal val="visible"/>
                                      </p:to>
                                    </p:set>
                                  </p:childTnLst>
                                </p:cTn>
                              </p:par>
                              <p:par>
                                <p:cTn id="52" presetID="1" presetClass="entr" presetSubtype="0" fill="hold" nodeType="withEffect">
                                  <p:stCondLst>
                                    <p:cond delay="0"/>
                                  </p:stCondLst>
                                  <p:childTnLst>
                                    <p:set>
                                      <p:cBhvr>
                                        <p:cTn id="53" dur="1" fill="hold">
                                          <p:stCondLst>
                                            <p:cond delay="0"/>
                                          </p:stCondLst>
                                        </p:cTn>
                                        <p:tgtEl>
                                          <p:spTgt spid="171"/>
                                        </p:tgtEl>
                                        <p:attrNameLst>
                                          <p:attrName>style.visibility</p:attrName>
                                        </p:attrNameLst>
                                      </p:cBhvr>
                                      <p:to>
                                        <p:strVal val="visible"/>
                                      </p:to>
                                    </p:set>
                                  </p:childTnLst>
                                </p:cTn>
                              </p:par>
                              <p:par>
                                <p:cTn id="54" presetID="1" presetClass="entr" presetSubtype="0" fill="hold" grpId="0" nodeType="withEffect">
                                  <p:stCondLst>
                                    <p:cond delay="0"/>
                                  </p:stCondLst>
                                  <p:childTnLst>
                                    <p:set>
                                      <p:cBhvr>
                                        <p:cTn id="55" dur="1" fill="hold">
                                          <p:stCondLst>
                                            <p:cond delay="0"/>
                                          </p:stCondLst>
                                        </p:cTn>
                                        <p:tgtEl>
                                          <p:spTgt spid="17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6" grpId="0" animBg="1"/>
      <p:bldP spid="141" grpId="0"/>
      <p:bldP spid="170" grpId="0"/>
      <p:bldP spid="172" grpId="0"/>
      <p:bldP spid="173" grpId="0"/>
      <p:bldP spid="174" grpId="0"/>
    </p:bld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DL Store: Egress</a:t>
            </a:r>
          </a:p>
        </p:txBody>
      </p:sp>
      <p:grpSp>
        <p:nvGrpSpPr>
          <p:cNvPr id="4" name="Group 3"/>
          <p:cNvGrpSpPr/>
          <p:nvPr/>
        </p:nvGrpSpPr>
        <p:grpSpPr>
          <a:xfrm>
            <a:off x="434975" y="1123536"/>
            <a:ext cx="11322050" cy="5241552"/>
            <a:chOff x="434975" y="1123536"/>
            <a:chExt cx="11322050" cy="5241552"/>
          </a:xfrm>
        </p:grpSpPr>
        <p:sp>
          <p:nvSpPr>
            <p:cNvPr id="54" name="Rectangle 53"/>
            <p:cNvSpPr/>
            <p:nvPr/>
          </p:nvSpPr>
          <p:spPr>
            <a:xfrm>
              <a:off x="434975" y="1483823"/>
              <a:ext cx="11322050" cy="4881265"/>
            </a:xfrm>
            <a:prstGeom prst="rect">
              <a:avLst/>
            </a:prstGeom>
            <a:solidFill>
              <a:schemeClr val="bg1">
                <a:lumMod val="95000"/>
              </a:schemeClr>
            </a:solidFill>
            <a:ln w="3175" cap="flat" cmpd="sng" algn="ctr">
              <a:noFill/>
              <a:prstDash val="solid"/>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400" kern="0" dirty="0"/>
            </a:p>
          </p:txBody>
        </p:sp>
        <p:sp>
          <p:nvSpPr>
            <p:cNvPr id="3" name="Rectangle 2"/>
            <p:cNvSpPr/>
            <p:nvPr/>
          </p:nvSpPr>
          <p:spPr>
            <a:xfrm>
              <a:off x="434975" y="1123536"/>
              <a:ext cx="11322050" cy="369332"/>
            </a:xfrm>
            <a:prstGeom prst="rect">
              <a:avLst/>
            </a:prstGeom>
            <a:solidFill>
              <a:schemeClr val="accent1"/>
            </a:solidFill>
          </p:spPr>
          <p:txBody>
            <a:bodyPr wrap="square" lIns="91440" tIns="45720" rIns="91440" bIns="45720">
              <a:noAutofit/>
            </a:bodyPr>
            <a:lstStyle/>
            <a:p>
              <a:pPr algn="ctr">
                <a:spcBef>
                  <a:spcPts val="600"/>
                </a:spcBef>
                <a:spcAft>
                  <a:spcPts val="600"/>
                </a:spcAft>
              </a:pPr>
              <a:r>
                <a:rPr lang="en-US" dirty="0">
                  <a:solidFill>
                    <a:schemeClr val="bg1"/>
                  </a:solidFill>
                </a:rPr>
                <a:t>Data can be exported from Azure Data Lake Store into numerous targets/sinks </a:t>
              </a:r>
            </a:p>
          </p:txBody>
        </p:sp>
      </p:grpSp>
      <p:cxnSp>
        <p:nvCxnSpPr>
          <p:cNvPr id="32" name="Straight Connector 31"/>
          <p:cNvCxnSpPr/>
          <p:nvPr/>
        </p:nvCxnSpPr>
        <p:spPr>
          <a:xfrm>
            <a:off x="2737856" y="-13815"/>
            <a:ext cx="640080"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9" name="Slide Number Placeholder 8"/>
          <p:cNvSpPr>
            <a:spLocks noGrp="1"/>
          </p:cNvSpPr>
          <p:nvPr>
            <p:ph type="sldNum" sz="quarter" idx="4"/>
          </p:nvPr>
        </p:nvSpPr>
        <p:spPr/>
        <p:txBody>
          <a:bodyPr/>
          <a:lstStyle/>
          <a:p>
            <a:pPr>
              <a:defRPr/>
            </a:pPr>
            <a:fld id="{75FAD755-3BD0-2447-A9DF-109DAABEFD99}" type="slidenum">
              <a:rPr lang="en-US" smtClean="0"/>
              <a:pPr>
                <a:defRPr/>
              </a:pPr>
              <a:t>36</a:t>
            </a:fld>
            <a:endParaRPr lang="en-US" dirty="0"/>
          </a:p>
        </p:txBody>
      </p:sp>
      <p:grpSp>
        <p:nvGrpSpPr>
          <p:cNvPr id="77" name="Group 76"/>
          <p:cNvGrpSpPr/>
          <p:nvPr/>
        </p:nvGrpSpPr>
        <p:grpSpPr>
          <a:xfrm>
            <a:off x="663440" y="1734245"/>
            <a:ext cx="1932970" cy="4700058"/>
            <a:chOff x="650398" y="1700394"/>
            <a:chExt cx="1894972" cy="4608317"/>
          </a:xfrm>
        </p:grpSpPr>
        <p:sp>
          <p:nvSpPr>
            <p:cNvPr id="78" name="Rectangle 77"/>
            <p:cNvSpPr/>
            <p:nvPr/>
          </p:nvSpPr>
          <p:spPr>
            <a:xfrm>
              <a:off x="993024" y="2542055"/>
              <a:ext cx="1097287" cy="215444"/>
            </a:xfrm>
            <a:prstGeom prst="rect">
              <a:avLst/>
            </a:prstGeom>
          </p:spPr>
          <p:txBody>
            <a:bodyPr wrap="square" lIns="0" tIns="0" rIns="0" bIns="0">
              <a:spAutoFit/>
            </a:bodyPr>
            <a:lstStyle/>
            <a:p>
              <a:pPr algn="ctr" defTabSz="932346">
                <a:defRPr/>
              </a:pPr>
              <a:r>
                <a:rPr lang="en-US" sz="1400" kern="0" dirty="0">
                  <a:solidFill>
                    <a:srgbClr val="505050"/>
                  </a:solidFill>
                  <a:ea typeface="Segoe UI" pitchFamily="34" charset="0"/>
                  <a:cs typeface="Segoe UI" pitchFamily="34" charset="0"/>
                </a:rPr>
                <a:t>Azure SQL DB</a:t>
              </a:r>
            </a:p>
          </p:txBody>
        </p:sp>
        <p:grpSp>
          <p:nvGrpSpPr>
            <p:cNvPr id="82" name="Group 81"/>
            <p:cNvGrpSpPr/>
            <p:nvPr/>
          </p:nvGrpSpPr>
          <p:grpSpPr>
            <a:xfrm>
              <a:off x="1220277" y="1700394"/>
              <a:ext cx="1039827" cy="759788"/>
              <a:chOff x="1171818" y="1700394"/>
              <a:chExt cx="1039827" cy="759788"/>
            </a:xfrm>
          </p:grpSpPr>
          <p:sp>
            <p:nvSpPr>
              <p:cNvPr id="100" name="Freeform 106"/>
              <p:cNvSpPr>
                <a:spLocks noEditPoints="1"/>
              </p:cNvSpPr>
              <p:nvPr/>
            </p:nvSpPr>
            <p:spPr bwMode="auto">
              <a:xfrm>
                <a:off x="1171818" y="1700394"/>
                <a:ext cx="642781" cy="751095"/>
              </a:xfrm>
              <a:custGeom>
                <a:avLst/>
                <a:gdLst>
                  <a:gd name="T0" fmla="*/ 35 w 70"/>
                  <a:gd name="T1" fmla="*/ 4 h 82"/>
                  <a:gd name="T2" fmla="*/ 64 w 70"/>
                  <a:gd name="T3" fmla="*/ 12 h 82"/>
                  <a:gd name="T4" fmla="*/ 35 w 70"/>
                  <a:gd name="T5" fmla="*/ 20 h 82"/>
                  <a:gd name="T6" fmla="*/ 6 w 70"/>
                  <a:gd name="T7" fmla="*/ 12 h 82"/>
                  <a:gd name="T8" fmla="*/ 35 w 70"/>
                  <a:gd name="T9" fmla="*/ 4 h 82"/>
                  <a:gd name="T10" fmla="*/ 35 w 70"/>
                  <a:gd name="T11" fmla="*/ 0 h 82"/>
                  <a:gd name="T12" fmla="*/ 21 w 70"/>
                  <a:gd name="T13" fmla="*/ 1 h 82"/>
                  <a:gd name="T14" fmla="*/ 10 w 70"/>
                  <a:gd name="T15" fmla="*/ 4 h 82"/>
                  <a:gd name="T16" fmla="*/ 3 w 70"/>
                  <a:gd name="T17" fmla="*/ 8 h 82"/>
                  <a:gd name="T18" fmla="*/ 1 w 70"/>
                  <a:gd name="T19" fmla="*/ 11 h 82"/>
                  <a:gd name="T20" fmla="*/ 0 w 70"/>
                  <a:gd name="T21" fmla="*/ 14 h 82"/>
                  <a:gd name="T22" fmla="*/ 0 w 70"/>
                  <a:gd name="T23" fmla="*/ 69 h 82"/>
                  <a:gd name="T24" fmla="*/ 1 w 70"/>
                  <a:gd name="T25" fmla="*/ 71 h 82"/>
                  <a:gd name="T26" fmla="*/ 3 w 70"/>
                  <a:gd name="T27" fmla="*/ 74 h 82"/>
                  <a:gd name="T28" fmla="*/ 10 w 70"/>
                  <a:gd name="T29" fmla="*/ 78 h 82"/>
                  <a:gd name="T30" fmla="*/ 21 w 70"/>
                  <a:gd name="T31" fmla="*/ 81 h 82"/>
                  <a:gd name="T32" fmla="*/ 35 w 70"/>
                  <a:gd name="T33" fmla="*/ 82 h 82"/>
                  <a:gd name="T34" fmla="*/ 60 w 70"/>
                  <a:gd name="T35" fmla="*/ 78 h 82"/>
                  <a:gd name="T36" fmla="*/ 67 w 70"/>
                  <a:gd name="T37" fmla="*/ 74 h 82"/>
                  <a:gd name="T38" fmla="*/ 69 w 70"/>
                  <a:gd name="T39" fmla="*/ 71 h 82"/>
                  <a:gd name="T40" fmla="*/ 70 w 70"/>
                  <a:gd name="T41" fmla="*/ 69 h 82"/>
                  <a:gd name="T42" fmla="*/ 70 w 70"/>
                  <a:gd name="T43" fmla="*/ 14 h 82"/>
                  <a:gd name="T44" fmla="*/ 67 w 70"/>
                  <a:gd name="T45" fmla="*/ 8 h 82"/>
                  <a:gd name="T46" fmla="*/ 60 w 70"/>
                  <a:gd name="T47" fmla="*/ 4 h 82"/>
                  <a:gd name="T48" fmla="*/ 49 w 70"/>
                  <a:gd name="T49" fmla="*/ 1 h 82"/>
                  <a:gd name="T50" fmla="*/ 35 w 70"/>
                  <a:gd name="T51" fmla="*/ 0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0" h="82">
                    <a:moveTo>
                      <a:pt x="35" y="4"/>
                    </a:moveTo>
                    <a:cubicBezTo>
                      <a:pt x="51" y="4"/>
                      <a:pt x="64" y="8"/>
                      <a:pt x="64" y="12"/>
                    </a:cubicBezTo>
                    <a:cubicBezTo>
                      <a:pt x="64" y="17"/>
                      <a:pt x="51" y="20"/>
                      <a:pt x="35" y="20"/>
                    </a:cubicBezTo>
                    <a:cubicBezTo>
                      <a:pt x="19" y="20"/>
                      <a:pt x="6" y="17"/>
                      <a:pt x="6" y="12"/>
                    </a:cubicBezTo>
                    <a:cubicBezTo>
                      <a:pt x="6" y="8"/>
                      <a:pt x="19" y="4"/>
                      <a:pt x="35" y="4"/>
                    </a:cubicBezTo>
                    <a:close/>
                    <a:moveTo>
                      <a:pt x="35" y="0"/>
                    </a:moveTo>
                    <a:cubicBezTo>
                      <a:pt x="21" y="1"/>
                      <a:pt x="21" y="1"/>
                      <a:pt x="21" y="1"/>
                    </a:cubicBezTo>
                    <a:cubicBezTo>
                      <a:pt x="10" y="4"/>
                      <a:pt x="10" y="4"/>
                      <a:pt x="10" y="4"/>
                    </a:cubicBezTo>
                    <a:cubicBezTo>
                      <a:pt x="3" y="8"/>
                      <a:pt x="3" y="8"/>
                      <a:pt x="3" y="8"/>
                    </a:cubicBezTo>
                    <a:cubicBezTo>
                      <a:pt x="1" y="11"/>
                      <a:pt x="1" y="11"/>
                      <a:pt x="1" y="11"/>
                    </a:cubicBezTo>
                    <a:cubicBezTo>
                      <a:pt x="0" y="14"/>
                      <a:pt x="0" y="14"/>
                      <a:pt x="0" y="14"/>
                    </a:cubicBezTo>
                    <a:cubicBezTo>
                      <a:pt x="0" y="69"/>
                      <a:pt x="0" y="69"/>
                      <a:pt x="0" y="69"/>
                    </a:cubicBezTo>
                    <a:cubicBezTo>
                      <a:pt x="1" y="71"/>
                      <a:pt x="1" y="71"/>
                      <a:pt x="1" y="71"/>
                    </a:cubicBezTo>
                    <a:cubicBezTo>
                      <a:pt x="3" y="74"/>
                      <a:pt x="3" y="74"/>
                      <a:pt x="3" y="74"/>
                    </a:cubicBezTo>
                    <a:cubicBezTo>
                      <a:pt x="10" y="78"/>
                      <a:pt x="10" y="78"/>
                      <a:pt x="10" y="78"/>
                    </a:cubicBezTo>
                    <a:cubicBezTo>
                      <a:pt x="21" y="81"/>
                      <a:pt x="21" y="81"/>
                      <a:pt x="21" y="81"/>
                    </a:cubicBezTo>
                    <a:cubicBezTo>
                      <a:pt x="26" y="82"/>
                      <a:pt x="30" y="82"/>
                      <a:pt x="35" y="82"/>
                    </a:cubicBezTo>
                    <a:cubicBezTo>
                      <a:pt x="45" y="82"/>
                      <a:pt x="53" y="81"/>
                      <a:pt x="60" y="78"/>
                    </a:cubicBezTo>
                    <a:cubicBezTo>
                      <a:pt x="63" y="77"/>
                      <a:pt x="66" y="76"/>
                      <a:pt x="67" y="74"/>
                    </a:cubicBezTo>
                    <a:cubicBezTo>
                      <a:pt x="68" y="73"/>
                      <a:pt x="69" y="72"/>
                      <a:pt x="69" y="71"/>
                    </a:cubicBezTo>
                    <a:cubicBezTo>
                      <a:pt x="70" y="71"/>
                      <a:pt x="70" y="70"/>
                      <a:pt x="70" y="69"/>
                    </a:cubicBezTo>
                    <a:cubicBezTo>
                      <a:pt x="70" y="14"/>
                      <a:pt x="70" y="14"/>
                      <a:pt x="70" y="14"/>
                    </a:cubicBezTo>
                    <a:cubicBezTo>
                      <a:pt x="70" y="12"/>
                      <a:pt x="69" y="10"/>
                      <a:pt x="67" y="8"/>
                    </a:cubicBezTo>
                    <a:cubicBezTo>
                      <a:pt x="66" y="7"/>
                      <a:pt x="63" y="5"/>
                      <a:pt x="60" y="4"/>
                    </a:cubicBezTo>
                    <a:cubicBezTo>
                      <a:pt x="57" y="3"/>
                      <a:pt x="53" y="2"/>
                      <a:pt x="49" y="1"/>
                    </a:cubicBezTo>
                    <a:cubicBezTo>
                      <a:pt x="45" y="0"/>
                      <a:pt x="40" y="0"/>
                      <a:pt x="35" y="0"/>
                    </a:cubicBezTo>
                    <a:close/>
                  </a:path>
                </a:pathLst>
              </a:custGeom>
              <a:solidFill>
                <a:srgbClr val="00B0F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182880" rIns="0" bIns="0" numCol="1" anchor="ctr" anchorCtr="0" compatLnSpc="1">
                <a:prstTxWarp prst="textNoShape">
                  <a:avLst/>
                </a:prstTxWarp>
              </a:bodyPr>
              <a:lstStyle/>
              <a:p>
                <a:pPr algn="ctr" defTabSz="932688">
                  <a:defRPr/>
                </a:pPr>
                <a:r>
                  <a:rPr lang="en-US" sz="1500" kern="0" dirty="0">
                    <a:solidFill>
                      <a:srgbClr val="FFFFFF"/>
                    </a:solidFill>
                  </a:rPr>
                  <a:t>SQL</a:t>
                </a:r>
              </a:p>
            </p:txBody>
          </p:sp>
          <p:sp>
            <p:nvSpPr>
              <p:cNvPr id="101" name="Freeform 46"/>
              <p:cNvSpPr>
                <a:spLocks/>
              </p:cNvSpPr>
              <p:nvPr/>
            </p:nvSpPr>
            <p:spPr bwMode="auto">
              <a:xfrm>
                <a:off x="1673482" y="2104582"/>
                <a:ext cx="538163" cy="355600"/>
              </a:xfrm>
              <a:custGeom>
                <a:avLst/>
                <a:gdLst>
                  <a:gd name="T0" fmla="*/ 203 w 242"/>
                  <a:gd name="T1" fmla="*/ 70 h 160"/>
                  <a:gd name="T2" fmla="*/ 203 w 242"/>
                  <a:gd name="T3" fmla="*/ 67 h 160"/>
                  <a:gd name="T4" fmla="*/ 136 w 242"/>
                  <a:gd name="T5" fmla="*/ 0 h 160"/>
                  <a:gd name="T6" fmla="*/ 81 w 242"/>
                  <a:gd name="T7" fmla="*/ 30 h 160"/>
                  <a:gd name="T8" fmla="*/ 62 w 242"/>
                  <a:gd name="T9" fmla="*/ 25 h 160"/>
                  <a:gd name="T10" fmla="*/ 24 w 242"/>
                  <a:gd name="T11" fmla="*/ 63 h 160"/>
                  <a:gd name="T12" fmla="*/ 0 w 242"/>
                  <a:gd name="T13" fmla="*/ 107 h 160"/>
                  <a:gd name="T14" fmla="*/ 46 w 242"/>
                  <a:gd name="T15" fmla="*/ 160 h 160"/>
                  <a:gd name="T16" fmla="*/ 52 w 242"/>
                  <a:gd name="T17" fmla="*/ 160 h 160"/>
                  <a:gd name="T18" fmla="*/ 57 w 242"/>
                  <a:gd name="T19" fmla="*/ 160 h 160"/>
                  <a:gd name="T20" fmla="*/ 166 w 242"/>
                  <a:gd name="T21" fmla="*/ 160 h 160"/>
                  <a:gd name="T22" fmla="*/ 171 w 242"/>
                  <a:gd name="T23" fmla="*/ 160 h 160"/>
                  <a:gd name="T24" fmla="*/ 179 w 242"/>
                  <a:gd name="T25" fmla="*/ 160 h 160"/>
                  <a:gd name="T26" fmla="*/ 197 w 242"/>
                  <a:gd name="T27" fmla="*/ 160 h 160"/>
                  <a:gd name="T28" fmla="*/ 242 w 242"/>
                  <a:gd name="T29" fmla="*/ 115 h 160"/>
                  <a:gd name="T30" fmla="*/ 203 w 242"/>
                  <a:gd name="T31" fmla="*/ 7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2" h="160">
                    <a:moveTo>
                      <a:pt x="203" y="70"/>
                    </a:moveTo>
                    <a:cubicBezTo>
                      <a:pt x="203" y="69"/>
                      <a:pt x="203" y="68"/>
                      <a:pt x="203" y="67"/>
                    </a:cubicBezTo>
                    <a:cubicBezTo>
                      <a:pt x="203" y="30"/>
                      <a:pt x="173" y="0"/>
                      <a:pt x="136" y="0"/>
                    </a:cubicBezTo>
                    <a:cubicBezTo>
                      <a:pt x="113" y="0"/>
                      <a:pt x="93" y="12"/>
                      <a:pt x="81" y="30"/>
                    </a:cubicBezTo>
                    <a:cubicBezTo>
                      <a:pt x="75" y="27"/>
                      <a:pt x="69" y="25"/>
                      <a:pt x="62" y="25"/>
                    </a:cubicBezTo>
                    <a:cubicBezTo>
                      <a:pt x="41" y="25"/>
                      <a:pt x="24" y="42"/>
                      <a:pt x="24" y="63"/>
                    </a:cubicBezTo>
                    <a:cubicBezTo>
                      <a:pt x="9" y="73"/>
                      <a:pt x="0" y="89"/>
                      <a:pt x="0" y="107"/>
                    </a:cubicBezTo>
                    <a:cubicBezTo>
                      <a:pt x="0" y="135"/>
                      <a:pt x="20" y="157"/>
                      <a:pt x="46" y="160"/>
                    </a:cubicBezTo>
                    <a:cubicBezTo>
                      <a:pt x="48" y="160"/>
                      <a:pt x="50" y="160"/>
                      <a:pt x="52" y="160"/>
                    </a:cubicBezTo>
                    <a:cubicBezTo>
                      <a:pt x="54" y="160"/>
                      <a:pt x="56" y="160"/>
                      <a:pt x="57" y="160"/>
                    </a:cubicBezTo>
                    <a:cubicBezTo>
                      <a:pt x="82" y="160"/>
                      <a:pt x="139" y="160"/>
                      <a:pt x="166" y="160"/>
                    </a:cubicBezTo>
                    <a:cubicBezTo>
                      <a:pt x="171" y="160"/>
                      <a:pt x="171" y="160"/>
                      <a:pt x="171" y="160"/>
                    </a:cubicBezTo>
                    <a:cubicBezTo>
                      <a:pt x="173" y="160"/>
                      <a:pt x="177" y="160"/>
                      <a:pt x="179" y="160"/>
                    </a:cubicBezTo>
                    <a:cubicBezTo>
                      <a:pt x="197" y="160"/>
                      <a:pt x="197" y="160"/>
                      <a:pt x="197" y="160"/>
                    </a:cubicBezTo>
                    <a:cubicBezTo>
                      <a:pt x="222" y="160"/>
                      <a:pt x="242" y="139"/>
                      <a:pt x="242" y="115"/>
                    </a:cubicBezTo>
                    <a:cubicBezTo>
                      <a:pt x="242" y="92"/>
                      <a:pt x="225" y="73"/>
                      <a:pt x="203" y="70"/>
                    </a:cubicBezTo>
                  </a:path>
                </a:pathLst>
              </a:custGeom>
              <a:solidFill>
                <a:srgbClr val="00B0F0"/>
              </a:solidFill>
              <a:ln w="12700">
                <a:solidFill>
                  <a:schemeClr val="bg1"/>
                </a:solidFill>
              </a:ln>
            </p:spPr>
            <p:txBody>
              <a:bodyPr vert="horz" wrap="square" lIns="91440" tIns="45720" rIns="91440" bIns="45720" numCol="1" anchor="t" anchorCtr="0" compatLnSpc="1">
                <a:prstTxWarp prst="textNoShape">
                  <a:avLst/>
                </a:prstTxWarp>
              </a:bodyPr>
              <a:lstStyle/>
              <a:p>
                <a:pPr defTabSz="932688">
                  <a:defRPr/>
                </a:pPr>
                <a:endParaRPr lang="en-US" sz="1500" kern="0" dirty="0">
                  <a:solidFill>
                    <a:srgbClr val="000000"/>
                  </a:solidFill>
                </a:endParaRPr>
              </a:p>
            </p:txBody>
          </p:sp>
        </p:grpSp>
        <p:sp>
          <p:nvSpPr>
            <p:cNvPr id="83" name="Rectangle 82"/>
            <p:cNvSpPr/>
            <p:nvPr/>
          </p:nvSpPr>
          <p:spPr>
            <a:xfrm>
              <a:off x="960162" y="3794082"/>
              <a:ext cx="1163011" cy="215444"/>
            </a:xfrm>
            <a:prstGeom prst="rect">
              <a:avLst/>
            </a:prstGeom>
          </p:spPr>
          <p:txBody>
            <a:bodyPr wrap="square" lIns="0" tIns="0" rIns="0" bIns="0">
              <a:spAutoFit/>
            </a:bodyPr>
            <a:lstStyle/>
            <a:p>
              <a:pPr algn="ctr" defTabSz="932346">
                <a:defRPr/>
              </a:pPr>
              <a:r>
                <a:rPr lang="en-US" sz="1400" kern="0" dirty="0">
                  <a:solidFill>
                    <a:srgbClr val="505050"/>
                  </a:solidFill>
                  <a:ea typeface="Segoe UI" pitchFamily="34" charset="0"/>
                  <a:cs typeface="Segoe UI" pitchFamily="34" charset="0"/>
                </a:rPr>
                <a:t>Azure SQL DW</a:t>
              </a:r>
            </a:p>
          </p:txBody>
        </p:sp>
        <p:sp>
          <p:nvSpPr>
            <p:cNvPr id="84" name="Freeform 106"/>
            <p:cNvSpPr>
              <a:spLocks noEditPoints="1"/>
            </p:cNvSpPr>
            <p:nvPr/>
          </p:nvSpPr>
          <p:spPr bwMode="auto">
            <a:xfrm>
              <a:off x="1220277" y="3017279"/>
              <a:ext cx="642781" cy="751095"/>
            </a:xfrm>
            <a:custGeom>
              <a:avLst/>
              <a:gdLst>
                <a:gd name="T0" fmla="*/ 35 w 70"/>
                <a:gd name="T1" fmla="*/ 4 h 82"/>
                <a:gd name="T2" fmla="*/ 64 w 70"/>
                <a:gd name="T3" fmla="*/ 12 h 82"/>
                <a:gd name="T4" fmla="*/ 35 w 70"/>
                <a:gd name="T5" fmla="*/ 20 h 82"/>
                <a:gd name="T6" fmla="*/ 6 w 70"/>
                <a:gd name="T7" fmla="*/ 12 h 82"/>
                <a:gd name="T8" fmla="*/ 35 w 70"/>
                <a:gd name="T9" fmla="*/ 4 h 82"/>
                <a:gd name="T10" fmla="*/ 35 w 70"/>
                <a:gd name="T11" fmla="*/ 0 h 82"/>
                <a:gd name="T12" fmla="*/ 21 w 70"/>
                <a:gd name="T13" fmla="*/ 1 h 82"/>
                <a:gd name="T14" fmla="*/ 10 w 70"/>
                <a:gd name="T15" fmla="*/ 4 h 82"/>
                <a:gd name="T16" fmla="*/ 3 w 70"/>
                <a:gd name="T17" fmla="*/ 8 h 82"/>
                <a:gd name="T18" fmla="*/ 1 w 70"/>
                <a:gd name="T19" fmla="*/ 11 h 82"/>
                <a:gd name="T20" fmla="*/ 0 w 70"/>
                <a:gd name="T21" fmla="*/ 14 h 82"/>
                <a:gd name="T22" fmla="*/ 0 w 70"/>
                <a:gd name="T23" fmla="*/ 69 h 82"/>
                <a:gd name="T24" fmla="*/ 1 w 70"/>
                <a:gd name="T25" fmla="*/ 71 h 82"/>
                <a:gd name="T26" fmla="*/ 3 w 70"/>
                <a:gd name="T27" fmla="*/ 74 h 82"/>
                <a:gd name="T28" fmla="*/ 10 w 70"/>
                <a:gd name="T29" fmla="*/ 78 h 82"/>
                <a:gd name="T30" fmla="*/ 21 w 70"/>
                <a:gd name="T31" fmla="*/ 81 h 82"/>
                <a:gd name="T32" fmla="*/ 35 w 70"/>
                <a:gd name="T33" fmla="*/ 82 h 82"/>
                <a:gd name="T34" fmla="*/ 60 w 70"/>
                <a:gd name="T35" fmla="*/ 78 h 82"/>
                <a:gd name="T36" fmla="*/ 67 w 70"/>
                <a:gd name="T37" fmla="*/ 74 h 82"/>
                <a:gd name="T38" fmla="*/ 69 w 70"/>
                <a:gd name="T39" fmla="*/ 71 h 82"/>
                <a:gd name="T40" fmla="*/ 70 w 70"/>
                <a:gd name="T41" fmla="*/ 69 h 82"/>
                <a:gd name="T42" fmla="*/ 70 w 70"/>
                <a:gd name="T43" fmla="*/ 14 h 82"/>
                <a:gd name="T44" fmla="*/ 67 w 70"/>
                <a:gd name="T45" fmla="*/ 8 h 82"/>
                <a:gd name="T46" fmla="*/ 60 w 70"/>
                <a:gd name="T47" fmla="*/ 4 h 82"/>
                <a:gd name="T48" fmla="*/ 49 w 70"/>
                <a:gd name="T49" fmla="*/ 1 h 82"/>
                <a:gd name="T50" fmla="*/ 35 w 70"/>
                <a:gd name="T51" fmla="*/ 0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0" h="82">
                  <a:moveTo>
                    <a:pt x="35" y="4"/>
                  </a:moveTo>
                  <a:cubicBezTo>
                    <a:pt x="51" y="4"/>
                    <a:pt x="64" y="8"/>
                    <a:pt x="64" y="12"/>
                  </a:cubicBezTo>
                  <a:cubicBezTo>
                    <a:pt x="64" y="17"/>
                    <a:pt x="51" y="20"/>
                    <a:pt x="35" y="20"/>
                  </a:cubicBezTo>
                  <a:cubicBezTo>
                    <a:pt x="19" y="20"/>
                    <a:pt x="6" y="17"/>
                    <a:pt x="6" y="12"/>
                  </a:cubicBezTo>
                  <a:cubicBezTo>
                    <a:pt x="6" y="8"/>
                    <a:pt x="19" y="4"/>
                    <a:pt x="35" y="4"/>
                  </a:cubicBezTo>
                  <a:close/>
                  <a:moveTo>
                    <a:pt x="35" y="0"/>
                  </a:moveTo>
                  <a:cubicBezTo>
                    <a:pt x="21" y="1"/>
                    <a:pt x="21" y="1"/>
                    <a:pt x="21" y="1"/>
                  </a:cubicBezTo>
                  <a:cubicBezTo>
                    <a:pt x="10" y="4"/>
                    <a:pt x="10" y="4"/>
                    <a:pt x="10" y="4"/>
                  </a:cubicBezTo>
                  <a:cubicBezTo>
                    <a:pt x="3" y="8"/>
                    <a:pt x="3" y="8"/>
                    <a:pt x="3" y="8"/>
                  </a:cubicBezTo>
                  <a:cubicBezTo>
                    <a:pt x="1" y="11"/>
                    <a:pt x="1" y="11"/>
                    <a:pt x="1" y="11"/>
                  </a:cubicBezTo>
                  <a:cubicBezTo>
                    <a:pt x="0" y="14"/>
                    <a:pt x="0" y="14"/>
                    <a:pt x="0" y="14"/>
                  </a:cubicBezTo>
                  <a:cubicBezTo>
                    <a:pt x="0" y="69"/>
                    <a:pt x="0" y="69"/>
                    <a:pt x="0" y="69"/>
                  </a:cubicBezTo>
                  <a:cubicBezTo>
                    <a:pt x="1" y="71"/>
                    <a:pt x="1" y="71"/>
                    <a:pt x="1" y="71"/>
                  </a:cubicBezTo>
                  <a:cubicBezTo>
                    <a:pt x="3" y="74"/>
                    <a:pt x="3" y="74"/>
                    <a:pt x="3" y="74"/>
                  </a:cubicBezTo>
                  <a:cubicBezTo>
                    <a:pt x="10" y="78"/>
                    <a:pt x="10" y="78"/>
                    <a:pt x="10" y="78"/>
                  </a:cubicBezTo>
                  <a:cubicBezTo>
                    <a:pt x="21" y="81"/>
                    <a:pt x="21" y="81"/>
                    <a:pt x="21" y="81"/>
                  </a:cubicBezTo>
                  <a:cubicBezTo>
                    <a:pt x="26" y="82"/>
                    <a:pt x="30" y="82"/>
                    <a:pt x="35" y="82"/>
                  </a:cubicBezTo>
                  <a:cubicBezTo>
                    <a:pt x="45" y="82"/>
                    <a:pt x="53" y="81"/>
                    <a:pt x="60" y="78"/>
                  </a:cubicBezTo>
                  <a:cubicBezTo>
                    <a:pt x="63" y="77"/>
                    <a:pt x="66" y="76"/>
                    <a:pt x="67" y="74"/>
                  </a:cubicBezTo>
                  <a:cubicBezTo>
                    <a:pt x="68" y="73"/>
                    <a:pt x="69" y="72"/>
                    <a:pt x="69" y="71"/>
                  </a:cubicBezTo>
                  <a:cubicBezTo>
                    <a:pt x="70" y="71"/>
                    <a:pt x="70" y="70"/>
                    <a:pt x="70" y="69"/>
                  </a:cubicBezTo>
                  <a:cubicBezTo>
                    <a:pt x="70" y="14"/>
                    <a:pt x="70" y="14"/>
                    <a:pt x="70" y="14"/>
                  </a:cubicBezTo>
                  <a:cubicBezTo>
                    <a:pt x="70" y="12"/>
                    <a:pt x="69" y="10"/>
                    <a:pt x="67" y="8"/>
                  </a:cubicBezTo>
                  <a:cubicBezTo>
                    <a:pt x="66" y="7"/>
                    <a:pt x="63" y="5"/>
                    <a:pt x="60" y="4"/>
                  </a:cubicBezTo>
                  <a:cubicBezTo>
                    <a:pt x="57" y="3"/>
                    <a:pt x="53" y="2"/>
                    <a:pt x="49" y="1"/>
                  </a:cubicBezTo>
                  <a:cubicBezTo>
                    <a:pt x="45" y="0"/>
                    <a:pt x="40" y="0"/>
                    <a:pt x="35" y="0"/>
                  </a:cubicBezTo>
                  <a:close/>
                </a:path>
              </a:pathLst>
            </a:custGeom>
            <a:solidFill>
              <a:schemeClr val="accent1"/>
            </a:solidFill>
            <a:ln>
              <a:noFill/>
            </a:ln>
            <a:extLst/>
          </p:spPr>
          <p:txBody>
            <a:bodyPr vert="horz" wrap="square" lIns="0" tIns="182880" rIns="0" bIns="0" numCol="1" anchor="ctr" anchorCtr="0" compatLnSpc="1">
              <a:prstTxWarp prst="textNoShape">
                <a:avLst/>
              </a:prstTxWarp>
            </a:bodyPr>
            <a:lstStyle/>
            <a:p>
              <a:pPr algn="ctr" defTabSz="932688">
                <a:defRPr/>
              </a:pPr>
              <a:endParaRPr lang="en-US" sz="1500" kern="0" dirty="0">
                <a:solidFill>
                  <a:srgbClr val="FFFFFF"/>
                </a:solidFill>
              </a:endParaRPr>
            </a:p>
          </p:txBody>
        </p:sp>
        <p:sp>
          <p:nvSpPr>
            <p:cNvPr id="85" name="Rectangle 84"/>
            <p:cNvSpPr/>
            <p:nvPr/>
          </p:nvSpPr>
          <p:spPr>
            <a:xfrm>
              <a:off x="1046628" y="4873932"/>
              <a:ext cx="990078" cy="215444"/>
            </a:xfrm>
            <a:prstGeom prst="rect">
              <a:avLst/>
            </a:prstGeom>
          </p:spPr>
          <p:txBody>
            <a:bodyPr wrap="square" lIns="0" tIns="0" rIns="0" bIns="0">
              <a:spAutoFit/>
            </a:bodyPr>
            <a:lstStyle/>
            <a:p>
              <a:pPr algn="ctr" defTabSz="932346">
                <a:defRPr/>
              </a:pPr>
              <a:r>
                <a:rPr lang="en-US" sz="1400" kern="0" dirty="0">
                  <a:solidFill>
                    <a:srgbClr val="505050"/>
                  </a:solidFill>
                  <a:ea typeface="Segoe UI" pitchFamily="34" charset="0"/>
                  <a:cs typeface="Segoe UI" pitchFamily="34" charset="0"/>
                </a:rPr>
                <a:t>Azure Tables</a:t>
              </a:r>
            </a:p>
          </p:txBody>
        </p:sp>
        <p:grpSp>
          <p:nvGrpSpPr>
            <p:cNvPr id="86" name="Group 85"/>
            <p:cNvGrpSpPr/>
            <p:nvPr/>
          </p:nvGrpSpPr>
          <p:grpSpPr>
            <a:xfrm>
              <a:off x="1183193" y="4240278"/>
              <a:ext cx="716949" cy="616970"/>
              <a:chOff x="1183193" y="4240278"/>
              <a:chExt cx="716949" cy="616970"/>
            </a:xfrm>
          </p:grpSpPr>
          <p:sp>
            <p:nvSpPr>
              <p:cNvPr id="92" name="Rectangle 209"/>
              <p:cNvSpPr>
                <a:spLocks noChangeArrowheads="1"/>
              </p:cNvSpPr>
              <p:nvPr/>
            </p:nvSpPr>
            <p:spPr bwMode="auto">
              <a:xfrm>
                <a:off x="1183193" y="4240278"/>
                <a:ext cx="716949" cy="616970"/>
              </a:xfrm>
              <a:prstGeom prst="rect">
                <a:avLst/>
              </a:prstGeom>
              <a:solidFill>
                <a:srgbClr val="7030A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45720" tIns="18288" rIns="45720" bIns="18288" numCol="1" anchor="b" anchorCtr="0" compatLnSpc="1">
                <a:prstTxWarp prst="textNoShape">
                  <a:avLst/>
                </a:prstTxWarp>
              </a:bodyPr>
              <a:lstStyle/>
              <a:p>
                <a:pPr defTabSz="932688">
                  <a:defRPr/>
                </a:pPr>
                <a:r>
                  <a:rPr lang="en-GB" sz="600" kern="0" dirty="0">
                    <a:solidFill>
                      <a:srgbClr val="FFFFFF"/>
                    </a:solidFill>
                  </a:rPr>
                  <a:t>Table Storage</a:t>
                </a:r>
              </a:p>
            </p:txBody>
          </p:sp>
          <p:sp>
            <p:nvSpPr>
              <p:cNvPr id="93" name="Freeform 218"/>
              <p:cNvSpPr>
                <a:spLocks noEditPoints="1"/>
              </p:cNvSpPr>
              <p:nvPr/>
            </p:nvSpPr>
            <p:spPr bwMode="auto">
              <a:xfrm>
                <a:off x="1219083" y="4286415"/>
                <a:ext cx="643460" cy="411029"/>
              </a:xfrm>
              <a:custGeom>
                <a:avLst/>
                <a:gdLst>
                  <a:gd name="T0" fmla="*/ 736 w 753"/>
                  <a:gd name="T1" fmla="*/ 15 h 481"/>
                  <a:gd name="T2" fmla="*/ 736 w 753"/>
                  <a:gd name="T3" fmla="*/ 463 h 481"/>
                  <a:gd name="T4" fmla="*/ 17 w 753"/>
                  <a:gd name="T5" fmla="*/ 463 h 481"/>
                  <a:gd name="T6" fmla="*/ 17 w 753"/>
                  <a:gd name="T7" fmla="*/ 15 h 481"/>
                  <a:gd name="T8" fmla="*/ 736 w 753"/>
                  <a:gd name="T9" fmla="*/ 15 h 481"/>
                  <a:gd name="T10" fmla="*/ 753 w 753"/>
                  <a:gd name="T11" fmla="*/ 0 h 481"/>
                  <a:gd name="T12" fmla="*/ 0 w 753"/>
                  <a:gd name="T13" fmla="*/ 0 h 481"/>
                  <a:gd name="T14" fmla="*/ 0 w 753"/>
                  <a:gd name="T15" fmla="*/ 481 h 481"/>
                  <a:gd name="T16" fmla="*/ 753 w 753"/>
                  <a:gd name="T17" fmla="*/ 481 h 481"/>
                  <a:gd name="T18" fmla="*/ 753 w 753"/>
                  <a:gd name="T19" fmla="*/ 0 h 481"/>
                  <a:gd name="T20" fmla="*/ 753 w 753"/>
                  <a:gd name="T21" fmla="*/ 0 h 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53" h="481">
                    <a:moveTo>
                      <a:pt x="736" y="15"/>
                    </a:moveTo>
                    <a:lnTo>
                      <a:pt x="736" y="463"/>
                    </a:lnTo>
                    <a:lnTo>
                      <a:pt x="17" y="463"/>
                    </a:lnTo>
                    <a:lnTo>
                      <a:pt x="17" y="15"/>
                    </a:lnTo>
                    <a:lnTo>
                      <a:pt x="736" y="15"/>
                    </a:lnTo>
                    <a:close/>
                    <a:moveTo>
                      <a:pt x="753" y="0"/>
                    </a:moveTo>
                    <a:lnTo>
                      <a:pt x="0" y="0"/>
                    </a:lnTo>
                    <a:lnTo>
                      <a:pt x="0" y="481"/>
                    </a:lnTo>
                    <a:lnTo>
                      <a:pt x="753" y="481"/>
                    </a:lnTo>
                    <a:lnTo>
                      <a:pt x="753" y="0"/>
                    </a:lnTo>
                    <a:lnTo>
                      <a:pt x="753" y="0"/>
                    </a:lnTo>
                    <a:close/>
                  </a:path>
                </a:pathLst>
              </a:custGeom>
              <a:solidFill>
                <a:schemeClr val="bg1"/>
              </a:solidFill>
              <a:ln w="9525">
                <a:solidFill>
                  <a:schemeClr val="bg1"/>
                </a:solidFill>
                <a:round/>
                <a:headEnd/>
                <a:tailEnd/>
              </a:ln>
              <a:extLst/>
            </p:spPr>
            <p:txBody>
              <a:bodyPr vert="horz" wrap="square" lIns="91440" tIns="45720" rIns="91440" bIns="45720" numCol="1" anchor="t" anchorCtr="0" compatLnSpc="1">
                <a:prstTxWarp prst="textNoShape">
                  <a:avLst/>
                </a:prstTxWarp>
              </a:bodyPr>
              <a:lstStyle/>
              <a:p>
                <a:pPr defTabSz="932688">
                  <a:defRPr/>
                </a:pPr>
                <a:endParaRPr lang="en-GB" sz="1500" kern="0" dirty="0">
                  <a:solidFill>
                    <a:srgbClr val="000000"/>
                  </a:solidFill>
                </a:endParaRPr>
              </a:p>
            </p:txBody>
          </p:sp>
          <p:sp>
            <p:nvSpPr>
              <p:cNvPr id="94" name="Freeform 219"/>
              <p:cNvSpPr>
                <a:spLocks noEditPoints="1"/>
              </p:cNvSpPr>
              <p:nvPr/>
            </p:nvSpPr>
            <p:spPr bwMode="auto">
              <a:xfrm>
                <a:off x="1219083" y="4286415"/>
                <a:ext cx="643460" cy="411029"/>
              </a:xfrm>
              <a:custGeom>
                <a:avLst/>
                <a:gdLst>
                  <a:gd name="T0" fmla="*/ 736 w 753"/>
                  <a:gd name="T1" fmla="*/ 15 h 481"/>
                  <a:gd name="T2" fmla="*/ 736 w 753"/>
                  <a:gd name="T3" fmla="*/ 463 h 481"/>
                  <a:gd name="T4" fmla="*/ 17 w 753"/>
                  <a:gd name="T5" fmla="*/ 463 h 481"/>
                  <a:gd name="T6" fmla="*/ 17 w 753"/>
                  <a:gd name="T7" fmla="*/ 15 h 481"/>
                  <a:gd name="T8" fmla="*/ 736 w 753"/>
                  <a:gd name="T9" fmla="*/ 15 h 481"/>
                  <a:gd name="T10" fmla="*/ 753 w 753"/>
                  <a:gd name="T11" fmla="*/ 0 h 481"/>
                  <a:gd name="T12" fmla="*/ 0 w 753"/>
                  <a:gd name="T13" fmla="*/ 0 h 481"/>
                  <a:gd name="T14" fmla="*/ 0 w 753"/>
                  <a:gd name="T15" fmla="*/ 481 h 481"/>
                  <a:gd name="T16" fmla="*/ 753 w 753"/>
                  <a:gd name="T17" fmla="*/ 481 h 481"/>
                  <a:gd name="T18" fmla="*/ 753 w 753"/>
                  <a:gd name="T19" fmla="*/ 0 h 481"/>
                  <a:gd name="T20" fmla="*/ 753 w 753"/>
                  <a:gd name="T21" fmla="*/ 0 h 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53" h="481">
                    <a:moveTo>
                      <a:pt x="736" y="15"/>
                    </a:moveTo>
                    <a:lnTo>
                      <a:pt x="736" y="463"/>
                    </a:lnTo>
                    <a:lnTo>
                      <a:pt x="17" y="463"/>
                    </a:lnTo>
                    <a:lnTo>
                      <a:pt x="17" y="15"/>
                    </a:lnTo>
                    <a:lnTo>
                      <a:pt x="736" y="15"/>
                    </a:lnTo>
                    <a:moveTo>
                      <a:pt x="753" y="0"/>
                    </a:moveTo>
                    <a:lnTo>
                      <a:pt x="0" y="0"/>
                    </a:lnTo>
                    <a:lnTo>
                      <a:pt x="0" y="481"/>
                    </a:lnTo>
                    <a:lnTo>
                      <a:pt x="753" y="481"/>
                    </a:lnTo>
                    <a:lnTo>
                      <a:pt x="753" y="0"/>
                    </a:lnTo>
                    <a:lnTo>
                      <a:pt x="753" y="0"/>
                    </a:lnTo>
                  </a:path>
                </a:pathLst>
              </a:custGeom>
              <a:solidFill>
                <a:schemeClr val="bg1"/>
              </a:solidFill>
              <a:ln w="9525">
                <a:solidFill>
                  <a:schemeClr val="bg1"/>
                </a:solidFill>
                <a:round/>
                <a:headEnd/>
                <a:tailEnd/>
              </a:ln>
              <a:extLst/>
            </p:spPr>
            <p:txBody>
              <a:bodyPr vert="horz" wrap="square" lIns="91440" tIns="45720" rIns="91440" bIns="45720" numCol="1" anchor="t" anchorCtr="0" compatLnSpc="1">
                <a:prstTxWarp prst="textNoShape">
                  <a:avLst/>
                </a:prstTxWarp>
              </a:bodyPr>
              <a:lstStyle/>
              <a:p>
                <a:pPr defTabSz="932688">
                  <a:defRPr/>
                </a:pPr>
                <a:endParaRPr lang="en-GB" sz="1500" kern="0" dirty="0">
                  <a:solidFill>
                    <a:srgbClr val="000000"/>
                  </a:solidFill>
                </a:endParaRPr>
              </a:p>
            </p:txBody>
          </p:sp>
          <p:sp>
            <p:nvSpPr>
              <p:cNvPr id="95" name="Line 220"/>
              <p:cNvSpPr>
                <a:spLocks noChangeShapeType="1"/>
              </p:cNvSpPr>
              <p:nvPr/>
            </p:nvSpPr>
            <p:spPr bwMode="auto">
              <a:xfrm>
                <a:off x="1219083" y="4425704"/>
                <a:ext cx="643460" cy="0"/>
              </a:xfrm>
              <a:prstGeom prst="line">
                <a:avLst/>
              </a:prstGeom>
              <a:noFill/>
              <a:ln w="26988"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32688">
                  <a:defRPr/>
                </a:pPr>
                <a:endParaRPr lang="en-GB" sz="1500" kern="0" dirty="0">
                  <a:solidFill>
                    <a:srgbClr val="000000"/>
                  </a:solidFill>
                </a:endParaRPr>
              </a:p>
            </p:txBody>
          </p:sp>
          <p:sp>
            <p:nvSpPr>
              <p:cNvPr id="96" name="Line 221"/>
              <p:cNvSpPr>
                <a:spLocks noChangeShapeType="1"/>
              </p:cNvSpPr>
              <p:nvPr/>
            </p:nvSpPr>
            <p:spPr bwMode="auto">
              <a:xfrm flipH="1">
                <a:off x="1219083" y="4556447"/>
                <a:ext cx="643460" cy="0"/>
              </a:xfrm>
              <a:prstGeom prst="line">
                <a:avLst/>
              </a:prstGeom>
              <a:noFill/>
              <a:ln w="26988"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32688">
                  <a:defRPr/>
                </a:pPr>
                <a:endParaRPr lang="en-GB" sz="1500" kern="0" dirty="0">
                  <a:solidFill>
                    <a:srgbClr val="000000"/>
                  </a:solidFill>
                </a:endParaRPr>
              </a:p>
            </p:txBody>
          </p:sp>
          <p:sp>
            <p:nvSpPr>
              <p:cNvPr id="97" name="Line 222"/>
              <p:cNvSpPr>
                <a:spLocks noChangeShapeType="1"/>
              </p:cNvSpPr>
              <p:nvPr/>
            </p:nvSpPr>
            <p:spPr bwMode="auto">
              <a:xfrm>
                <a:off x="1649765" y="4286415"/>
                <a:ext cx="0" cy="406756"/>
              </a:xfrm>
              <a:prstGeom prst="line">
                <a:avLst/>
              </a:prstGeom>
              <a:noFill/>
              <a:ln w="26988"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32688">
                  <a:defRPr/>
                </a:pPr>
                <a:endParaRPr lang="en-GB" sz="1500" kern="0" dirty="0">
                  <a:solidFill>
                    <a:srgbClr val="000000"/>
                  </a:solidFill>
                </a:endParaRPr>
              </a:p>
            </p:txBody>
          </p:sp>
          <p:sp>
            <p:nvSpPr>
              <p:cNvPr id="98" name="Line 223"/>
              <p:cNvSpPr>
                <a:spLocks noChangeShapeType="1"/>
              </p:cNvSpPr>
              <p:nvPr/>
            </p:nvSpPr>
            <p:spPr bwMode="auto">
              <a:xfrm flipV="1">
                <a:off x="1433570" y="4286415"/>
                <a:ext cx="0" cy="406756"/>
              </a:xfrm>
              <a:prstGeom prst="line">
                <a:avLst/>
              </a:prstGeom>
              <a:noFill/>
              <a:ln w="26988"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32688">
                  <a:defRPr/>
                </a:pPr>
                <a:endParaRPr lang="en-GB" sz="1500" kern="0" dirty="0">
                  <a:solidFill>
                    <a:srgbClr val="000000"/>
                  </a:solidFill>
                </a:endParaRPr>
              </a:p>
            </p:txBody>
          </p:sp>
          <p:sp>
            <p:nvSpPr>
              <p:cNvPr id="99" name="Rectangle 224"/>
              <p:cNvSpPr>
                <a:spLocks noChangeArrowheads="1"/>
              </p:cNvSpPr>
              <p:nvPr/>
            </p:nvSpPr>
            <p:spPr bwMode="auto">
              <a:xfrm>
                <a:off x="1219083" y="4286415"/>
                <a:ext cx="216196" cy="140998"/>
              </a:xfrm>
              <a:prstGeom prst="rect">
                <a:avLst/>
              </a:prstGeom>
              <a:solidFill>
                <a:schemeClr val="bg1"/>
              </a:solidFill>
              <a:ln w="9525">
                <a:solidFill>
                  <a:schemeClr val="bg1"/>
                </a:solidFill>
                <a:miter lim="800000"/>
                <a:headEnd/>
                <a:tailEnd/>
              </a:ln>
              <a:extLst/>
            </p:spPr>
            <p:txBody>
              <a:bodyPr vert="horz" wrap="square" lIns="91440" tIns="45720" rIns="91440" bIns="45720" numCol="1" anchor="t" anchorCtr="0" compatLnSpc="1">
                <a:prstTxWarp prst="textNoShape">
                  <a:avLst/>
                </a:prstTxWarp>
              </a:bodyPr>
              <a:lstStyle/>
              <a:p>
                <a:pPr defTabSz="932688">
                  <a:defRPr/>
                </a:pPr>
                <a:endParaRPr lang="en-GB" sz="1500" kern="0" dirty="0">
                  <a:solidFill>
                    <a:srgbClr val="000000"/>
                  </a:solidFill>
                </a:endParaRPr>
              </a:p>
            </p:txBody>
          </p:sp>
        </p:grpSp>
        <p:sp>
          <p:nvSpPr>
            <p:cNvPr id="87" name="Rectangle 86"/>
            <p:cNvSpPr/>
            <p:nvPr/>
          </p:nvSpPr>
          <p:spPr>
            <a:xfrm>
              <a:off x="650398" y="6093267"/>
              <a:ext cx="1894972" cy="215444"/>
            </a:xfrm>
            <a:prstGeom prst="rect">
              <a:avLst/>
            </a:prstGeom>
          </p:spPr>
          <p:txBody>
            <a:bodyPr wrap="square" lIns="0" tIns="0" rIns="0" bIns="0">
              <a:spAutoFit/>
            </a:bodyPr>
            <a:lstStyle/>
            <a:p>
              <a:pPr algn="ctr" defTabSz="932346">
                <a:defRPr/>
              </a:pPr>
              <a:r>
                <a:rPr lang="en-US" sz="1400" kern="0" dirty="0">
                  <a:solidFill>
                    <a:srgbClr val="505050"/>
                  </a:solidFill>
                  <a:ea typeface="Segoe UI" pitchFamily="34" charset="0"/>
                  <a:cs typeface="Segoe UI" pitchFamily="34" charset="0"/>
                </a:rPr>
                <a:t>On-premises databases</a:t>
              </a:r>
            </a:p>
          </p:txBody>
        </p:sp>
        <p:sp>
          <p:nvSpPr>
            <p:cNvPr id="88" name="Database Part 2"/>
            <p:cNvSpPr>
              <a:spLocks/>
            </p:cNvSpPr>
            <p:nvPr/>
          </p:nvSpPr>
          <p:spPr bwMode="auto">
            <a:xfrm>
              <a:off x="977224" y="5320128"/>
              <a:ext cx="534317" cy="714495"/>
            </a:xfrm>
            <a:custGeom>
              <a:avLst/>
              <a:gdLst>
                <a:gd name="T0" fmla="*/ 678 w 1355"/>
                <a:gd name="T1" fmla="*/ 0 h 1806"/>
                <a:gd name="T2" fmla="*/ 0 w 1355"/>
                <a:gd name="T3" fmla="*/ 85 h 1806"/>
                <a:gd name="T4" fmla="*/ 0 w 1355"/>
                <a:gd name="T5" fmla="*/ 1722 h 1806"/>
                <a:gd name="T6" fmla="*/ 678 w 1355"/>
                <a:gd name="T7" fmla="*/ 1806 h 1806"/>
                <a:gd name="T8" fmla="*/ 1355 w 1355"/>
                <a:gd name="T9" fmla="*/ 1722 h 1806"/>
                <a:gd name="T10" fmla="*/ 1355 w 1355"/>
                <a:gd name="T11" fmla="*/ 85 h 1806"/>
                <a:gd name="T12" fmla="*/ 678 w 1355"/>
                <a:gd name="T13" fmla="*/ 0 h 1806"/>
              </a:gdLst>
              <a:ahLst/>
              <a:cxnLst>
                <a:cxn ang="0">
                  <a:pos x="T0" y="T1"/>
                </a:cxn>
                <a:cxn ang="0">
                  <a:pos x="T2" y="T3"/>
                </a:cxn>
                <a:cxn ang="0">
                  <a:pos x="T4" y="T5"/>
                </a:cxn>
                <a:cxn ang="0">
                  <a:pos x="T6" y="T7"/>
                </a:cxn>
                <a:cxn ang="0">
                  <a:pos x="T8" y="T9"/>
                </a:cxn>
                <a:cxn ang="0">
                  <a:pos x="T10" y="T11"/>
                </a:cxn>
                <a:cxn ang="0">
                  <a:pos x="T12" y="T13"/>
                </a:cxn>
              </a:cxnLst>
              <a:rect l="0" t="0" r="r" b="b"/>
              <a:pathLst>
                <a:path w="1355" h="1806">
                  <a:moveTo>
                    <a:pt x="678" y="0"/>
                  </a:moveTo>
                  <a:cubicBezTo>
                    <a:pt x="304" y="0"/>
                    <a:pt x="0" y="38"/>
                    <a:pt x="0" y="85"/>
                  </a:cubicBezTo>
                  <a:lnTo>
                    <a:pt x="0" y="1722"/>
                  </a:lnTo>
                  <a:cubicBezTo>
                    <a:pt x="0" y="1768"/>
                    <a:pt x="304" y="1806"/>
                    <a:pt x="678" y="1806"/>
                  </a:cubicBezTo>
                  <a:cubicBezTo>
                    <a:pt x="1052" y="1806"/>
                    <a:pt x="1355" y="1768"/>
                    <a:pt x="1355" y="1722"/>
                  </a:cubicBezTo>
                  <a:lnTo>
                    <a:pt x="1355" y="85"/>
                  </a:lnTo>
                  <a:cubicBezTo>
                    <a:pt x="1355" y="38"/>
                    <a:pt x="1052" y="0"/>
                    <a:pt x="678" y="0"/>
                  </a:cubicBezTo>
                  <a:close/>
                </a:path>
              </a:pathLst>
            </a:custGeom>
            <a:solidFill>
              <a:srgbClr val="FF8C00"/>
            </a:solidFill>
            <a:ln w="0">
              <a:noFill/>
              <a:prstDash val="solid"/>
              <a:round/>
              <a:headEnd/>
              <a:tailEnd/>
            </a:ln>
          </p:spPr>
          <p:txBody>
            <a:bodyPr vert="horz" wrap="square" lIns="91440" tIns="45720" rIns="91440" bIns="45720" numCol="1" anchor="ctr"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32650">
                <a:defRPr/>
              </a:pPr>
              <a:endParaRPr lang="en-US" sz="1400" dirty="0">
                <a:solidFill>
                  <a:srgbClr val="000000"/>
                </a:solidFill>
              </a:endParaRPr>
            </a:p>
          </p:txBody>
        </p:sp>
        <p:sp>
          <p:nvSpPr>
            <p:cNvPr id="89" name="Database Part 1"/>
            <p:cNvSpPr>
              <a:spLocks noEditPoints="1"/>
            </p:cNvSpPr>
            <p:nvPr/>
          </p:nvSpPr>
          <p:spPr bwMode="auto">
            <a:xfrm>
              <a:off x="977224" y="5355335"/>
              <a:ext cx="534317" cy="679288"/>
            </a:xfrm>
            <a:custGeom>
              <a:avLst/>
              <a:gdLst>
                <a:gd name="T0" fmla="*/ 0 w 1355"/>
                <a:gd name="T1" fmla="*/ 0 h 1721"/>
                <a:gd name="T2" fmla="*/ 0 w 1355"/>
                <a:gd name="T3" fmla="*/ 508 h 1721"/>
                <a:gd name="T4" fmla="*/ 678 w 1355"/>
                <a:gd name="T5" fmla="*/ 592 h 1721"/>
                <a:gd name="T6" fmla="*/ 1355 w 1355"/>
                <a:gd name="T7" fmla="*/ 508 h 1721"/>
                <a:gd name="T8" fmla="*/ 1355 w 1355"/>
                <a:gd name="T9" fmla="*/ 0 h 1721"/>
                <a:gd name="T10" fmla="*/ 678 w 1355"/>
                <a:gd name="T11" fmla="*/ 84 h 1721"/>
                <a:gd name="T12" fmla="*/ 0 w 1355"/>
                <a:gd name="T13" fmla="*/ 0 h 1721"/>
                <a:gd name="T14" fmla="*/ 0 w 1355"/>
                <a:gd name="T15" fmla="*/ 564 h 1721"/>
                <a:gd name="T16" fmla="*/ 0 w 1355"/>
                <a:gd name="T17" fmla="*/ 1072 h 1721"/>
                <a:gd name="T18" fmla="*/ 678 w 1355"/>
                <a:gd name="T19" fmla="*/ 1157 h 1721"/>
                <a:gd name="T20" fmla="*/ 1355 w 1355"/>
                <a:gd name="T21" fmla="*/ 1072 h 1721"/>
                <a:gd name="T22" fmla="*/ 1355 w 1355"/>
                <a:gd name="T23" fmla="*/ 564 h 1721"/>
                <a:gd name="T24" fmla="*/ 678 w 1355"/>
                <a:gd name="T25" fmla="*/ 649 h 1721"/>
                <a:gd name="T26" fmla="*/ 0 w 1355"/>
                <a:gd name="T27" fmla="*/ 564 h 1721"/>
                <a:gd name="T28" fmla="*/ 0 w 1355"/>
                <a:gd name="T29" fmla="*/ 1129 h 1721"/>
                <a:gd name="T30" fmla="*/ 0 w 1355"/>
                <a:gd name="T31" fmla="*/ 1637 h 1721"/>
                <a:gd name="T32" fmla="*/ 678 w 1355"/>
                <a:gd name="T33" fmla="*/ 1721 h 1721"/>
                <a:gd name="T34" fmla="*/ 1355 w 1355"/>
                <a:gd name="T35" fmla="*/ 1637 h 1721"/>
                <a:gd name="T36" fmla="*/ 1355 w 1355"/>
                <a:gd name="T37" fmla="*/ 1129 h 1721"/>
                <a:gd name="T38" fmla="*/ 678 w 1355"/>
                <a:gd name="T39" fmla="*/ 1213 h 1721"/>
                <a:gd name="T40" fmla="*/ 0 w 1355"/>
                <a:gd name="T41" fmla="*/ 1129 h 17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355" h="1721">
                  <a:moveTo>
                    <a:pt x="0" y="0"/>
                  </a:moveTo>
                  <a:lnTo>
                    <a:pt x="0" y="508"/>
                  </a:lnTo>
                  <a:cubicBezTo>
                    <a:pt x="0" y="555"/>
                    <a:pt x="304" y="592"/>
                    <a:pt x="678" y="592"/>
                  </a:cubicBezTo>
                  <a:cubicBezTo>
                    <a:pt x="1052" y="592"/>
                    <a:pt x="1355" y="555"/>
                    <a:pt x="1355" y="508"/>
                  </a:cubicBezTo>
                  <a:lnTo>
                    <a:pt x="1355" y="0"/>
                  </a:lnTo>
                  <a:cubicBezTo>
                    <a:pt x="1355" y="47"/>
                    <a:pt x="1052" y="84"/>
                    <a:pt x="678" y="84"/>
                  </a:cubicBezTo>
                  <a:cubicBezTo>
                    <a:pt x="304" y="84"/>
                    <a:pt x="0" y="47"/>
                    <a:pt x="0" y="0"/>
                  </a:cubicBezTo>
                  <a:close/>
                  <a:moveTo>
                    <a:pt x="0" y="564"/>
                  </a:moveTo>
                  <a:lnTo>
                    <a:pt x="0" y="1072"/>
                  </a:lnTo>
                  <a:cubicBezTo>
                    <a:pt x="0" y="1119"/>
                    <a:pt x="304" y="1157"/>
                    <a:pt x="678" y="1157"/>
                  </a:cubicBezTo>
                  <a:cubicBezTo>
                    <a:pt x="1052" y="1157"/>
                    <a:pt x="1355" y="1119"/>
                    <a:pt x="1355" y="1072"/>
                  </a:cubicBezTo>
                  <a:lnTo>
                    <a:pt x="1355" y="564"/>
                  </a:lnTo>
                  <a:cubicBezTo>
                    <a:pt x="1355" y="611"/>
                    <a:pt x="1052" y="649"/>
                    <a:pt x="678" y="649"/>
                  </a:cubicBezTo>
                  <a:cubicBezTo>
                    <a:pt x="304" y="649"/>
                    <a:pt x="0" y="611"/>
                    <a:pt x="0" y="564"/>
                  </a:cubicBezTo>
                  <a:close/>
                  <a:moveTo>
                    <a:pt x="0" y="1129"/>
                  </a:moveTo>
                  <a:lnTo>
                    <a:pt x="0" y="1637"/>
                  </a:lnTo>
                  <a:cubicBezTo>
                    <a:pt x="0" y="1683"/>
                    <a:pt x="304" y="1721"/>
                    <a:pt x="678" y="1721"/>
                  </a:cubicBezTo>
                  <a:cubicBezTo>
                    <a:pt x="1052" y="1721"/>
                    <a:pt x="1355" y="1683"/>
                    <a:pt x="1355" y="1637"/>
                  </a:cubicBezTo>
                  <a:lnTo>
                    <a:pt x="1355" y="1129"/>
                  </a:lnTo>
                  <a:cubicBezTo>
                    <a:pt x="1355" y="1175"/>
                    <a:pt x="1052" y="1213"/>
                    <a:pt x="678" y="1213"/>
                  </a:cubicBezTo>
                  <a:cubicBezTo>
                    <a:pt x="304" y="1213"/>
                    <a:pt x="0" y="1175"/>
                    <a:pt x="0" y="1129"/>
                  </a:cubicBezTo>
                  <a:close/>
                </a:path>
              </a:pathLst>
            </a:custGeom>
            <a:solidFill>
              <a:srgbClr val="DC3C00"/>
            </a:solidFill>
            <a:ln w="0">
              <a:noFill/>
              <a:prstDash val="solid"/>
              <a:round/>
              <a:headEnd/>
              <a:tailEnd/>
            </a:ln>
          </p:spPr>
          <p:txBody>
            <a:bodyPr vert="horz" wrap="square" lIns="91440" tIns="45720" rIns="91440" bIns="45720" numCol="1" anchor="ctr"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32650">
                <a:defRPr/>
              </a:pPr>
              <a:endParaRPr lang="en-US" sz="1400" dirty="0">
                <a:solidFill>
                  <a:srgbClr val="000000"/>
                </a:solidFill>
              </a:endParaRPr>
            </a:p>
          </p:txBody>
        </p:sp>
        <p:sp>
          <p:nvSpPr>
            <p:cNvPr id="90" name="Database Part 2"/>
            <p:cNvSpPr>
              <a:spLocks/>
            </p:cNvSpPr>
            <p:nvPr/>
          </p:nvSpPr>
          <p:spPr bwMode="auto">
            <a:xfrm>
              <a:off x="1571794" y="5320128"/>
              <a:ext cx="534317" cy="714495"/>
            </a:xfrm>
            <a:custGeom>
              <a:avLst/>
              <a:gdLst>
                <a:gd name="T0" fmla="*/ 678 w 1355"/>
                <a:gd name="T1" fmla="*/ 0 h 1806"/>
                <a:gd name="T2" fmla="*/ 0 w 1355"/>
                <a:gd name="T3" fmla="*/ 85 h 1806"/>
                <a:gd name="T4" fmla="*/ 0 w 1355"/>
                <a:gd name="T5" fmla="*/ 1722 h 1806"/>
                <a:gd name="T6" fmla="*/ 678 w 1355"/>
                <a:gd name="T7" fmla="*/ 1806 h 1806"/>
                <a:gd name="T8" fmla="*/ 1355 w 1355"/>
                <a:gd name="T9" fmla="*/ 1722 h 1806"/>
                <a:gd name="T10" fmla="*/ 1355 w 1355"/>
                <a:gd name="T11" fmla="*/ 85 h 1806"/>
                <a:gd name="T12" fmla="*/ 678 w 1355"/>
                <a:gd name="T13" fmla="*/ 0 h 1806"/>
              </a:gdLst>
              <a:ahLst/>
              <a:cxnLst>
                <a:cxn ang="0">
                  <a:pos x="T0" y="T1"/>
                </a:cxn>
                <a:cxn ang="0">
                  <a:pos x="T2" y="T3"/>
                </a:cxn>
                <a:cxn ang="0">
                  <a:pos x="T4" y="T5"/>
                </a:cxn>
                <a:cxn ang="0">
                  <a:pos x="T6" y="T7"/>
                </a:cxn>
                <a:cxn ang="0">
                  <a:pos x="T8" y="T9"/>
                </a:cxn>
                <a:cxn ang="0">
                  <a:pos x="T10" y="T11"/>
                </a:cxn>
                <a:cxn ang="0">
                  <a:pos x="T12" y="T13"/>
                </a:cxn>
              </a:cxnLst>
              <a:rect l="0" t="0" r="r" b="b"/>
              <a:pathLst>
                <a:path w="1355" h="1806">
                  <a:moveTo>
                    <a:pt x="678" y="0"/>
                  </a:moveTo>
                  <a:cubicBezTo>
                    <a:pt x="304" y="0"/>
                    <a:pt x="0" y="38"/>
                    <a:pt x="0" y="85"/>
                  </a:cubicBezTo>
                  <a:lnTo>
                    <a:pt x="0" y="1722"/>
                  </a:lnTo>
                  <a:cubicBezTo>
                    <a:pt x="0" y="1768"/>
                    <a:pt x="304" y="1806"/>
                    <a:pt x="678" y="1806"/>
                  </a:cubicBezTo>
                  <a:cubicBezTo>
                    <a:pt x="1052" y="1806"/>
                    <a:pt x="1355" y="1768"/>
                    <a:pt x="1355" y="1722"/>
                  </a:cubicBezTo>
                  <a:lnTo>
                    <a:pt x="1355" y="85"/>
                  </a:lnTo>
                  <a:cubicBezTo>
                    <a:pt x="1355" y="38"/>
                    <a:pt x="1052" y="0"/>
                    <a:pt x="678" y="0"/>
                  </a:cubicBezTo>
                  <a:close/>
                </a:path>
              </a:pathLst>
            </a:custGeom>
            <a:solidFill>
              <a:srgbClr val="FF8C00"/>
            </a:solidFill>
            <a:ln w="0">
              <a:noFill/>
              <a:prstDash val="solid"/>
              <a:round/>
              <a:headEnd/>
              <a:tailEnd/>
            </a:ln>
          </p:spPr>
          <p:txBody>
            <a:bodyPr vert="horz" wrap="square" lIns="91440" tIns="45720" rIns="91440" bIns="45720" numCol="1" anchor="ctr"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32650">
                <a:defRPr/>
              </a:pPr>
              <a:endParaRPr lang="en-US" sz="1400" dirty="0">
                <a:solidFill>
                  <a:srgbClr val="000000"/>
                </a:solidFill>
              </a:endParaRPr>
            </a:p>
          </p:txBody>
        </p:sp>
        <p:sp>
          <p:nvSpPr>
            <p:cNvPr id="91" name="Database Part 1"/>
            <p:cNvSpPr>
              <a:spLocks noEditPoints="1"/>
            </p:cNvSpPr>
            <p:nvPr/>
          </p:nvSpPr>
          <p:spPr bwMode="auto">
            <a:xfrm>
              <a:off x="1571794" y="5355335"/>
              <a:ext cx="534317" cy="679288"/>
            </a:xfrm>
            <a:custGeom>
              <a:avLst/>
              <a:gdLst>
                <a:gd name="T0" fmla="*/ 0 w 1355"/>
                <a:gd name="T1" fmla="*/ 0 h 1721"/>
                <a:gd name="T2" fmla="*/ 0 w 1355"/>
                <a:gd name="T3" fmla="*/ 508 h 1721"/>
                <a:gd name="T4" fmla="*/ 678 w 1355"/>
                <a:gd name="T5" fmla="*/ 592 h 1721"/>
                <a:gd name="T6" fmla="*/ 1355 w 1355"/>
                <a:gd name="T7" fmla="*/ 508 h 1721"/>
                <a:gd name="T8" fmla="*/ 1355 w 1355"/>
                <a:gd name="T9" fmla="*/ 0 h 1721"/>
                <a:gd name="T10" fmla="*/ 678 w 1355"/>
                <a:gd name="T11" fmla="*/ 84 h 1721"/>
                <a:gd name="T12" fmla="*/ 0 w 1355"/>
                <a:gd name="T13" fmla="*/ 0 h 1721"/>
                <a:gd name="T14" fmla="*/ 0 w 1355"/>
                <a:gd name="T15" fmla="*/ 564 h 1721"/>
                <a:gd name="T16" fmla="*/ 0 w 1355"/>
                <a:gd name="T17" fmla="*/ 1072 h 1721"/>
                <a:gd name="T18" fmla="*/ 678 w 1355"/>
                <a:gd name="T19" fmla="*/ 1157 h 1721"/>
                <a:gd name="T20" fmla="*/ 1355 w 1355"/>
                <a:gd name="T21" fmla="*/ 1072 h 1721"/>
                <a:gd name="T22" fmla="*/ 1355 w 1355"/>
                <a:gd name="T23" fmla="*/ 564 h 1721"/>
                <a:gd name="T24" fmla="*/ 678 w 1355"/>
                <a:gd name="T25" fmla="*/ 649 h 1721"/>
                <a:gd name="T26" fmla="*/ 0 w 1355"/>
                <a:gd name="T27" fmla="*/ 564 h 1721"/>
                <a:gd name="T28" fmla="*/ 0 w 1355"/>
                <a:gd name="T29" fmla="*/ 1129 h 1721"/>
                <a:gd name="T30" fmla="*/ 0 w 1355"/>
                <a:gd name="T31" fmla="*/ 1637 h 1721"/>
                <a:gd name="T32" fmla="*/ 678 w 1355"/>
                <a:gd name="T33" fmla="*/ 1721 h 1721"/>
                <a:gd name="T34" fmla="*/ 1355 w 1355"/>
                <a:gd name="T35" fmla="*/ 1637 h 1721"/>
                <a:gd name="T36" fmla="*/ 1355 w 1355"/>
                <a:gd name="T37" fmla="*/ 1129 h 1721"/>
                <a:gd name="T38" fmla="*/ 678 w 1355"/>
                <a:gd name="T39" fmla="*/ 1213 h 1721"/>
                <a:gd name="T40" fmla="*/ 0 w 1355"/>
                <a:gd name="T41" fmla="*/ 1129 h 17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355" h="1721">
                  <a:moveTo>
                    <a:pt x="0" y="0"/>
                  </a:moveTo>
                  <a:lnTo>
                    <a:pt x="0" y="508"/>
                  </a:lnTo>
                  <a:cubicBezTo>
                    <a:pt x="0" y="555"/>
                    <a:pt x="304" y="592"/>
                    <a:pt x="678" y="592"/>
                  </a:cubicBezTo>
                  <a:cubicBezTo>
                    <a:pt x="1052" y="592"/>
                    <a:pt x="1355" y="555"/>
                    <a:pt x="1355" y="508"/>
                  </a:cubicBezTo>
                  <a:lnTo>
                    <a:pt x="1355" y="0"/>
                  </a:lnTo>
                  <a:cubicBezTo>
                    <a:pt x="1355" y="47"/>
                    <a:pt x="1052" y="84"/>
                    <a:pt x="678" y="84"/>
                  </a:cubicBezTo>
                  <a:cubicBezTo>
                    <a:pt x="304" y="84"/>
                    <a:pt x="0" y="47"/>
                    <a:pt x="0" y="0"/>
                  </a:cubicBezTo>
                  <a:close/>
                  <a:moveTo>
                    <a:pt x="0" y="564"/>
                  </a:moveTo>
                  <a:lnTo>
                    <a:pt x="0" y="1072"/>
                  </a:lnTo>
                  <a:cubicBezTo>
                    <a:pt x="0" y="1119"/>
                    <a:pt x="304" y="1157"/>
                    <a:pt x="678" y="1157"/>
                  </a:cubicBezTo>
                  <a:cubicBezTo>
                    <a:pt x="1052" y="1157"/>
                    <a:pt x="1355" y="1119"/>
                    <a:pt x="1355" y="1072"/>
                  </a:cubicBezTo>
                  <a:lnTo>
                    <a:pt x="1355" y="564"/>
                  </a:lnTo>
                  <a:cubicBezTo>
                    <a:pt x="1355" y="611"/>
                    <a:pt x="1052" y="649"/>
                    <a:pt x="678" y="649"/>
                  </a:cubicBezTo>
                  <a:cubicBezTo>
                    <a:pt x="304" y="649"/>
                    <a:pt x="0" y="611"/>
                    <a:pt x="0" y="564"/>
                  </a:cubicBezTo>
                  <a:close/>
                  <a:moveTo>
                    <a:pt x="0" y="1129"/>
                  </a:moveTo>
                  <a:lnTo>
                    <a:pt x="0" y="1637"/>
                  </a:lnTo>
                  <a:cubicBezTo>
                    <a:pt x="0" y="1683"/>
                    <a:pt x="304" y="1721"/>
                    <a:pt x="678" y="1721"/>
                  </a:cubicBezTo>
                  <a:cubicBezTo>
                    <a:pt x="1052" y="1721"/>
                    <a:pt x="1355" y="1683"/>
                    <a:pt x="1355" y="1637"/>
                  </a:cubicBezTo>
                  <a:lnTo>
                    <a:pt x="1355" y="1129"/>
                  </a:lnTo>
                  <a:cubicBezTo>
                    <a:pt x="1355" y="1175"/>
                    <a:pt x="1052" y="1213"/>
                    <a:pt x="678" y="1213"/>
                  </a:cubicBezTo>
                  <a:cubicBezTo>
                    <a:pt x="304" y="1213"/>
                    <a:pt x="0" y="1175"/>
                    <a:pt x="0" y="1129"/>
                  </a:cubicBezTo>
                  <a:close/>
                </a:path>
              </a:pathLst>
            </a:custGeom>
            <a:solidFill>
              <a:srgbClr val="DC3C00"/>
            </a:solidFill>
            <a:ln w="0">
              <a:noFill/>
              <a:prstDash val="solid"/>
              <a:round/>
              <a:headEnd/>
              <a:tailEnd/>
            </a:ln>
          </p:spPr>
          <p:txBody>
            <a:bodyPr vert="horz" wrap="square" lIns="91440" tIns="45720" rIns="91440" bIns="45720" numCol="1" anchor="ctr"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32650">
                <a:defRPr/>
              </a:pPr>
              <a:endParaRPr lang="en-US" sz="1400" dirty="0">
                <a:solidFill>
                  <a:srgbClr val="000000"/>
                </a:solidFill>
              </a:endParaRPr>
            </a:p>
          </p:txBody>
        </p:sp>
      </p:grpSp>
      <p:grpSp>
        <p:nvGrpSpPr>
          <p:cNvPr id="102" name="Group 101"/>
          <p:cNvGrpSpPr/>
          <p:nvPr/>
        </p:nvGrpSpPr>
        <p:grpSpPr>
          <a:xfrm>
            <a:off x="2596410" y="2347066"/>
            <a:ext cx="2623154" cy="3392392"/>
            <a:chOff x="2545370" y="2301253"/>
            <a:chExt cx="2571588" cy="3326176"/>
          </a:xfrm>
        </p:grpSpPr>
        <p:cxnSp>
          <p:nvCxnSpPr>
            <p:cNvPr id="103" name="Straight Connector 102"/>
            <p:cNvCxnSpPr/>
            <p:nvPr/>
          </p:nvCxnSpPr>
          <p:spPr>
            <a:xfrm flipH="1">
              <a:off x="3272167" y="3598713"/>
              <a:ext cx="1844791" cy="0"/>
            </a:xfrm>
            <a:prstGeom prst="line">
              <a:avLst/>
            </a:prstGeom>
            <a:ln w="38100" cap="rnd">
              <a:solidFill>
                <a:schemeClr val="accent2"/>
              </a:solidFill>
              <a:headEnd type="none"/>
              <a:tailEnd type="triangle" w="lg" len="med"/>
            </a:ln>
          </p:spPr>
          <p:style>
            <a:lnRef idx="1">
              <a:schemeClr val="accent1"/>
            </a:lnRef>
            <a:fillRef idx="0">
              <a:schemeClr val="accent1"/>
            </a:fillRef>
            <a:effectRef idx="0">
              <a:schemeClr val="accent1"/>
            </a:effectRef>
            <a:fontRef idx="minor">
              <a:schemeClr val="tx1"/>
            </a:fontRef>
          </p:style>
        </p:cxnSp>
        <p:sp>
          <p:nvSpPr>
            <p:cNvPr id="105" name="TextBox 104"/>
            <p:cNvSpPr txBox="1"/>
            <p:nvPr/>
          </p:nvSpPr>
          <p:spPr>
            <a:xfrm>
              <a:off x="3527423" y="3305448"/>
              <a:ext cx="1503617" cy="215444"/>
            </a:xfrm>
            <a:prstGeom prst="rect">
              <a:avLst/>
            </a:prstGeom>
            <a:noFill/>
          </p:spPr>
          <p:txBody>
            <a:bodyPr wrap="square" lIns="0" tIns="0" rIns="0" bIns="0" rtlCol="0">
              <a:spAutoFit/>
            </a:bodyPr>
            <a:lstStyle/>
            <a:p>
              <a:pPr defTabSz="932617">
                <a:spcAft>
                  <a:spcPts val="600"/>
                </a:spcAft>
                <a:defRPr/>
              </a:pPr>
              <a:r>
                <a:rPr lang="en-US" sz="1400" kern="0" dirty="0">
                  <a:solidFill>
                    <a:srgbClr val="505050"/>
                  </a:solidFill>
                </a:rPr>
                <a:t>Azure Data Factory</a:t>
              </a:r>
            </a:p>
          </p:txBody>
        </p:sp>
        <p:sp>
          <p:nvSpPr>
            <p:cNvPr id="106" name="TextBox 105"/>
            <p:cNvSpPr txBox="1"/>
            <p:nvPr/>
          </p:nvSpPr>
          <p:spPr>
            <a:xfrm>
              <a:off x="3527423" y="3676534"/>
              <a:ext cx="1160574" cy="215444"/>
            </a:xfrm>
            <a:prstGeom prst="rect">
              <a:avLst/>
            </a:prstGeom>
            <a:noFill/>
          </p:spPr>
          <p:txBody>
            <a:bodyPr wrap="square" lIns="0" tIns="0" rIns="0" bIns="0" rtlCol="0">
              <a:spAutoFit/>
            </a:bodyPr>
            <a:lstStyle/>
            <a:p>
              <a:pPr defTabSz="932617">
                <a:spcAft>
                  <a:spcPts val="600"/>
                </a:spcAft>
                <a:defRPr/>
              </a:pPr>
              <a:r>
                <a:rPr lang="en-US" sz="1400" kern="0" dirty="0">
                  <a:solidFill>
                    <a:srgbClr val="505050"/>
                  </a:solidFill>
                </a:rPr>
                <a:t>Apache Sqoop</a:t>
              </a:r>
            </a:p>
          </p:txBody>
        </p:sp>
        <p:cxnSp>
          <p:nvCxnSpPr>
            <p:cNvPr id="107" name="Straight Connector 106"/>
            <p:cNvCxnSpPr/>
            <p:nvPr/>
          </p:nvCxnSpPr>
          <p:spPr>
            <a:xfrm>
              <a:off x="2545370" y="3420162"/>
              <a:ext cx="357639" cy="0"/>
            </a:xfrm>
            <a:prstGeom prst="line">
              <a:avLst/>
            </a:prstGeom>
            <a:ln w="38100" cap="rnd">
              <a:solidFill>
                <a:schemeClr val="accent2"/>
              </a:solidFill>
              <a:headEnd type="none"/>
              <a:tailEnd type="none" w="lg" len="med"/>
            </a:ln>
          </p:spPr>
          <p:style>
            <a:lnRef idx="1">
              <a:schemeClr val="accent1"/>
            </a:lnRef>
            <a:fillRef idx="0">
              <a:schemeClr val="accent1"/>
            </a:fillRef>
            <a:effectRef idx="0">
              <a:schemeClr val="accent1"/>
            </a:effectRef>
            <a:fontRef idx="minor">
              <a:schemeClr val="tx1"/>
            </a:fontRef>
          </p:style>
        </p:cxnSp>
        <p:cxnSp>
          <p:nvCxnSpPr>
            <p:cNvPr id="108" name="Straight Connector 107"/>
            <p:cNvCxnSpPr/>
            <p:nvPr/>
          </p:nvCxnSpPr>
          <p:spPr>
            <a:xfrm>
              <a:off x="2545370" y="4548762"/>
              <a:ext cx="357639" cy="0"/>
            </a:xfrm>
            <a:prstGeom prst="line">
              <a:avLst/>
            </a:prstGeom>
            <a:ln w="38100" cap="rnd">
              <a:solidFill>
                <a:schemeClr val="accent2"/>
              </a:solidFill>
              <a:headEnd type="none"/>
              <a:tailEnd type="none" w="lg" len="med"/>
            </a:ln>
          </p:spPr>
          <p:style>
            <a:lnRef idx="1">
              <a:schemeClr val="accent1"/>
            </a:lnRef>
            <a:fillRef idx="0">
              <a:schemeClr val="accent1"/>
            </a:fillRef>
            <a:effectRef idx="0">
              <a:schemeClr val="accent1"/>
            </a:effectRef>
            <a:fontRef idx="minor">
              <a:schemeClr val="tx1"/>
            </a:fontRef>
          </p:style>
        </p:cxnSp>
        <p:cxnSp>
          <p:nvCxnSpPr>
            <p:cNvPr id="109" name="Straight Connector 14"/>
            <p:cNvCxnSpPr/>
            <p:nvPr/>
          </p:nvCxnSpPr>
          <p:spPr>
            <a:xfrm flipV="1">
              <a:off x="2545370" y="2301253"/>
              <a:ext cx="12700" cy="3326176"/>
            </a:xfrm>
            <a:prstGeom prst="bentConnector3">
              <a:avLst>
                <a:gd name="adj1" fmla="val 2957142"/>
              </a:avLst>
            </a:prstGeom>
            <a:ln w="38100" cap="rnd">
              <a:solidFill>
                <a:schemeClr val="accent2"/>
              </a:solidFill>
              <a:headEnd type="none"/>
              <a:tailEnd type="none" w="lg" len="med"/>
            </a:ln>
          </p:spPr>
          <p:style>
            <a:lnRef idx="1">
              <a:schemeClr val="accent1"/>
            </a:lnRef>
            <a:fillRef idx="0">
              <a:schemeClr val="accent1"/>
            </a:fillRef>
            <a:effectRef idx="0">
              <a:schemeClr val="accent1"/>
            </a:effectRef>
            <a:fontRef idx="minor">
              <a:schemeClr val="tx1"/>
            </a:fontRef>
          </p:style>
        </p:cxnSp>
      </p:grpSp>
      <p:grpSp>
        <p:nvGrpSpPr>
          <p:cNvPr id="110" name="Group 109"/>
          <p:cNvGrpSpPr/>
          <p:nvPr/>
        </p:nvGrpSpPr>
        <p:grpSpPr>
          <a:xfrm>
            <a:off x="10312870" y="1917463"/>
            <a:ext cx="1628672" cy="832694"/>
            <a:chOff x="10110139" y="3037540"/>
            <a:chExt cx="1596656" cy="816441"/>
          </a:xfrm>
        </p:grpSpPr>
        <p:sp>
          <p:nvSpPr>
            <p:cNvPr id="111" name="Rectangle 110"/>
            <p:cNvSpPr/>
            <p:nvPr/>
          </p:nvSpPr>
          <p:spPr>
            <a:xfrm>
              <a:off x="10110139" y="3638537"/>
              <a:ext cx="1596656" cy="215444"/>
            </a:xfrm>
            <a:prstGeom prst="rect">
              <a:avLst/>
            </a:prstGeom>
          </p:spPr>
          <p:txBody>
            <a:bodyPr wrap="square" lIns="0" tIns="0" rIns="0" bIns="0">
              <a:spAutoFit/>
            </a:bodyPr>
            <a:lstStyle/>
            <a:p>
              <a:pPr defTabSz="932346">
                <a:defRPr/>
              </a:pPr>
              <a:r>
                <a:rPr lang="en-US" sz="1400" kern="0" dirty="0">
                  <a:solidFill>
                    <a:srgbClr val="505050"/>
                  </a:solidFill>
                  <a:ea typeface="Segoe UI" pitchFamily="34" charset="0"/>
                  <a:cs typeface="Segoe UI" pitchFamily="34" charset="0"/>
                </a:rPr>
                <a:t>Azure Storage Blobs</a:t>
              </a:r>
            </a:p>
          </p:txBody>
        </p:sp>
        <p:grpSp>
          <p:nvGrpSpPr>
            <p:cNvPr id="112" name="Group 111"/>
            <p:cNvGrpSpPr/>
            <p:nvPr/>
          </p:nvGrpSpPr>
          <p:grpSpPr>
            <a:xfrm>
              <a:off x="10549993" y="3037540"/>
              <a:ext cx="716949" cy="571500"/>
              <a:chOff x="10549992" y="2941320"/>
              <a:chExt cx="716949" cy="571500"/>
            </a:xfrm>
          </p:grpSpPr>
          <p:sp>
            <p:nvSpPr>
              <p:cNvPr id="113" name="Rectangle 209"/>
              <p:cNvSpPr>
                <a:spLocks noChangeArrowheads="1"/>
              </p:cNvSpPr>
              <p:nvPr/>
            </p:nvSpPr>
            <p:spPr bwMode="auto">
              <a:xfrm>
                <a:off x="10549992" y="2941320"/>
                <a:ext cx="716949" cy="571500"/>
              </a:xfrm>
              <a:prstGeom prst="rect">
                <a:avLst/>
              </a:prstGeom>
              <a:solidFill>
                <a:srgbClr val="7030A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45720" tIns="18288" rIns="45720" bIns="18288" numCol="1" anchor="b" anchorCtr="0" compatLnSpc="1">
                <a:prstTxWarp prst="textNoShape">
                  <a:avLst/>
                </a:prstTxWarp>
              </a:bodyPr>
              <a:lstStyle/>
              <a:p>
                <a:pPr defTabSz="932688">
                  <a:defRPr/>
                </a:pPr>
                <a:endParaRPr lang="en-GB" sz="600" kern="0" dirty="0">
                  <a:solidFill>
                    <a:srgbClr val="FFFFFF"/>
                  </a:solidFill>
                </a:endParaRPr>
              </a:p>
            </p:txBody>
          </p:sp>
          <p:sp>
            <p:nvSpPr>
              <p:cNvPr id="114" name="Freeform 218"/>
              <p:cNvSpPr>
                <a:spLocks noEditPoints="1"/>
              </p:cNvSpPr>
              <p:nvPr/>
            </p:nvSpPr>
            <p:spPr bwMode="auto">
              <a:xfrm>
                <a:off x="10585882" y="3049623"/>
                <a:ext cx="643460" cy="411029"/>
              </a:xfrm>
              <a:custGeom>
                <a:avLst/>
                <a:gdLst>
                  <a:gd name="T0" fmla="*/ 736 w 753"/>
                  <a:gd name="T1" fmla="*/ 15 h 481"/>
                  <a:gd name="T2" fmla="*/ 736 w 753"/>
                  <a:gd name="T3" fmla="*/ 463 h 481"/>
                  <a:gd name="T4" fmla="*/ 17 w 753"/>
                  <a:gd name="T5" fmla="*/ 463 h 481"/>
                  <a:gd name="T6" fmla="*/ 17 w 753"/>
                  <a:gd name="T7" fmla="*/ 15 h 481"/>
                  <a:gd name="T8" fmla="*/ 736 w 753"/>
                  <a:gd name="T9" fmla="*/ 15 h 481"/>
                  <a:gd name="T10" fmla="*/ 753 w 753"/>
                  <a:gd name="T11" fmla="*/ 0 h 481"/>
                  <a:gd name="T12" fmla="*/ 0 w 753"/>
                  <a:gd name="T13" fmla="*/ 0 h 481"/>
                  <a:gd name="T14" fmla="*/ 0 w 753"/>
                  <a:gd name="T15" fmla="*/ 481 h 481"/>
                  <a:gd name="T16" fmla="*/ 753 w 753"/>
                  <a:gd name="T17" fmla="*/ 481 h 481"/>
                  <a:gd name="T18" fmla="*/ 753 w 753"/>
                  <a:gd name="T19" fmla="*/ 0 h 481"/>
                  <a:gd name="T20" fmla="*/ 753 w 753"/>
                  <a:gd name="T21" fmla="*/ 0 h 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53" h="481">
                    <a:moveTo>
                      <a:pt x="736" y="15"/>
                    </a:moveTo>
                    <a:lnTo>
                      <a:pt x="736" y="463"/>
                    </a:lnTo>
                    <a:lnTo>
                      <a:pt x="17" y="463"/>
                    </a:lnTo>
                    <a:lnTo>
                      <a:pt x="17" y="15"/>
                    </a:lnTo>
                    <a:lnTo>
                      <a:pt x="736" y="15"/>
                    </a:lnTo>
                    <a:close/>
                    <a:moveTo>
                      <a:pt x="753" y="0"/>
                    </a:moveTo>
                    <a:lnTo>
                      <a:pt x="0" y="0"/>
                    </a:lnTo>
                    <a:lnTo>
                      <a:pt x="0" y="481"/>
                    </a:lnTo>
                    <a:lnTo>
                      <a:pt x="753" y="481"/>
                    </a:lnTo>
                    <a:lnTo>
                      <a:pt x="753" y="0"/>
                    </a:lnTo>
                    <a:lnTo>
                      <a:pt x="753" y="0"/>
                    </a:lnTo>
                    <a:close/>
                  </a:path>
                </a:pathLst>
              </a:custGeom>
              <a:solidFill>
                <a:schemeClr val="bg1"/>
              </a:solidFill>
              <a:ln w="9525">
                <a:solidFill>
                  <a:schemeClr val="bg1"/>
                </a:solidFill>
                <a:round/>
                <a:headEnd/>
                <a:tailEnd/>
              </a:ln>
              <a:extLst/>
            </p:spPr>
            <p:txBody>
              <a:bodyPr vert="horz" wrap="square" lIns="91440" tIns="45720" rIns="91440" bIns="45720" numCol="1" anchor="t" anchorCtr="0" compatLnSpc="1">
                <a:prstTxWarp prst="textNoShape">
                  <a:avLst/>
                </a:prstTxWarp>
              </a:bodyPr>
              <a:lstStyle/>
              <a:p>
                <a:pPr defTabSz="932688">
                  <a:defRPr/>
                </a:pPr>
                <a:endParaRPr lang="en-GB" sz="1500" kern="0" dirty="0">
                  <a:solidFill>
                    <a:srgbClr val="000000"/>
                  </a:solidFill>
                </a:endParaRPr>
              </a:p>
            </p:txBody>
          </p:sp>
          <p:sp>
            <p:nvSpPr>
              <p:cNvPr id="115" name="Freeform 219"/>
              <p:cNvSpPr>
                <a:spLocks noEditPoints="1"/>
              </p:cNvSpPr>
              <p:nvPr/>
            </p:nvSpPr>
            <p:spPr bwMode="auto">
              <a:xfrm>
                <a:off x="10585882" y="3049623"/>
                <a:ext cx="643460" cy="411029"/>
              </a:xfrm>
              <a:custGeom>
                <a:avLst/>
                <a:gdLst>
                  <a:gd name="T0" fmla="*/ 736 w 753"/>
                  <a:gd name="T1" fmla="*/ 15 h 481"/>
                  <a:gd name="T2" fmla="*/ 736 w 753"/>
                  <a:gd name="T3" fmla="*/ 463 h 481"/>
                  <a:gd name="T4" fmla="*/ 17 w 753"/>
                  <a:gd name="T5" fmla="*/ 463 h 481"/>
                  <a:gd name="T6" fmla="*/ 17 w 753"/>
                  <a:gd name="T7" fmla="*/ 15 h 481"/>
                  <a:gd name="T8" fmla="*/ 736 w 753"/>
                  <a:gd name="T9" fmla="*/ 15 h 481"/>
                  <a:gd name="T10" fmla="*/ 753 w 753"/>
                  <a:gd name="T11" fmla="*/ 0 h 481"/>
                  <a:gd name="T12" fmla="*/ 0 w 753"/>
                  <a:gd name="T13" fmla="*/ 0 h 481"/>
                  <a:gd name="T14" fmla="*/ 0 w 753"/>
                  <a:gd name="T15" fmla="*/ 481 h 481"/>
                  <a:gd name="T16" fmla="*/ 753 w 753"/>
                  <a:gd name="T17" fmla="*/ 481 h 481"/>
                  <a:gd name="T18" fmla="*/ 753 w 753"/>
                  <a:gd name="T19" fmla="*/ 0 h 481"/>
                  <a:gd name="T20" fmla="*/ 753 w 753"/>
                  <a:gd name="T21" fmla="*/ 0 h 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53" h="481">
                    <a:moveTo>
                      <a:pt x="736" y="15"/>
                    </a:moveTo>
                    <a:lnTo>
                      <a:pt x="736" y="463"/>
                    </a:lnTo>
                    <a:lnTo>
                      <a:pt x="17" y="463"/>
                    </a:lnTo>
                    <a:lnTo>
                      <a:pt x="17" y="15"/>
                    </a:lnTo>
                    <a:lnTo>
                      <a:pt x="736" y="15"/>
                    </a:lnTo>
                    <a:moveTo>
                      <a:pt x="753" y="0"/>
                    </a:moveTo>
                    <a:lnTo>
                      <a:pt x="0" y="0"/>
                    </a:lnTo>
                    <a:lnTo>
                      <a:pt x="0" y="481"/>
                    </a:lnTo>
                    <a:lnTo>
                      <a:pt x="753" y="481"/>
                    </a:lnTo>
                    <a:lnTo>
                      <a:pt x="753" y="0"/>
                    </a:lnTo>
                    <a:lnTo>
                      <a:pt x="753" y="0"/>
                    </a:lnTo>
                  </a:path>
                </a:pathLst>
              </a:custGeom>
              <a:solidFill>
                <a:schemeClr val="bg1"/>
              </a:solidFill>
              <a:ln w="9525">
                <a:solidFill>
                  <a:schemeClr val="bg1"/>
                </a:solidFill>
                <a:round/>
                <a:headEnd/>
                <a:tailEnd/>
              </a:ln>
              <a:extLst/>
            </p:spPr>
            <p:txBody>
              <a:bodyPr vert="horz" wrap="square" lIns="91440" tIns="45720" rIns="91440" bIns="45720" numCol="1" anchor="t" anchorCtr="0" compatLnSpc="1">
                <a:prstTxWarp prst="textNoShape">
                  <a:avLst/>
                </a:prstTxWarp>
              </a:bodyPr>
              <a:lstStyle/>
              <a:p>
                <a:pPr defTabSz="932688">
                  <a:defRPr/>
                </a:pPr>
                <a:endParaRPr lang="en-GB" sz="1500" kern="0" dirty="0">
                  <a:solidFill>
                    <a:srgbClr val="000000"/>
                  </a:solidFill>
                </a:endParaRPr>
              </a:p>
            </p:txBody>
          </p:sp>
          <p:sp>
            <p:nvSpPr>
              <p:cNvPr id="116" name="Line 220"/>
              <p:cNvSpPr>
                <a:spLocks noChangeShapeType="1"/>
              </p:cNvSpPr>
              <p:nvPr/>
            </p:nvSpPr>
            <p:spPr bwMode="auto">
              <a:xfrm>
                <a:off x="10585882" y="3188912"/>
                <a:ext cx="643460" cy="0"/>
              </a:xfrm>
              <a:prstGeom prst="line">
                <a:avLst/>
              </a:prstGeom>
              <a:noFill/>
              <a:ln w="26988"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32688">
                  <a:defRPr/>
                </a:pPr>
                <a:endParaRPr lang="en-GB" sz="1500" kern="0" dirty="0">
                  <a:solidFill>
                    <a:srgbClr val="000000"/>
                  </a:solidFill>
                </a:endParaRPr>
              </a:p>
            </p:txBody>
          </p:sp>
          <p:sp>
            <p:nvSpPr>
              <p:cNvPr id="117" name="Line 221"/>
              <p:cNvSpPr>
                <a:spLocks noChangeShapeType="1"/>
              </p:cNvSpPr>
              <p:nvPr/>
            </p:nvSpPr>
            <p:spPr bwMode="auto">
              <a:xfrm flipH="1">
                <a:off x="10585882" y="3319655"/>
                <a:ext cx="643460" cy="0"/>
              </a:xfrm>
              <a:prstGeom prst="line">
                <a:avLst/>
              </a:prstGeom>
              <a:noFill/>
              <a:ln w="26988"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32688">
                  <a:defRPr/>
                </a:pPr>
                <a:endParaRPr lang="en-GB" sz="1500" kern="0" dirty="0">
                  <a:solidFill>
                    <a:srgbClr val="000000"/>
                  </a:solidFill>
                </a:endParaRPr>
              </a:p>
            </p:txBody>
          </p:sp>
          <p:sp>
            <p:nvSpPr>
              <p:cNvPr id="118" name="Line 222"/>
              <p:cNvSpPr>
                <a:spLocks noChangeShapeType="1"/>
              </p:cNvSpPr>
              <p:nvPr/>
            </p:nvSpPr>
            <p:spPr bwMode="auto">
              <a:xfrm>
                <a:off x="11016564" y="3049623"/>
                <a:ext cx="0" cy="406756"/>
              </a:xfrm>
              <a:prstGeom prst="line">
                <a:avLst/>
              </a:prstGeom>
              <a:noFill/>
              <a:ln w="26988"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32688">
                  <a:defRPr/>
                </a:pPr>
                <a:endParaRPr lang="en-GB" sz="1500" kern="0" dirty="0">
                  <a:solidFill>
                    <a:srgbClr val="000000"/>
                  </a:solidFill>
                </a:endParaRPr>
              </a:p>
            </p:txBody>
          </p:sp>
          <p:sp>
            <p:nvSpPr>
              <p:cNvPr id="119" name="Line 223"/>
              <p:cNvSpPr>
                <a:spLocks noChangeShapeType="1"/>
              </p:cNvSpPr>
              <p:nvPr/>
            </p:nvSpPr>
            <p:spPr bwMode="auto">
              <a:xfrm flipV="1">
                <a:off x="10800369" y="3049623"/>
                <a:ext cx="0" cy="406756"/>
              </a:xfrm>
              <a:prstGeom prst="line">
                <a:avLst/>
              </a:prstGeom>
              <a:noFill/>
              <a:ln w="26988"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32688">
                  <a:defRPr/>
                </a:pPr>
                <a:endParaRPr lang="en-GB" sz="1500" kern="0" dirty="0">
                  <a:solidFill>
                    <a:srgbClr val="000000"/>
                  </a:solidFill>
                </a:endParaRPr>
              </a:p>
            </p:txBody>
          </p:sp>
          <p:sp>
            <p:nvSpPr>
              <p:cNvPr id="120" name="Freeform 219"/>
              <p:cNvSpPr>
                <a:spLocks noEditPoints="1"/>
              </p:cNvSpPr>
              <p:nvPr/>
            </p:nvSpPr>
            <p:spPr bwMode="auto">
              <a:xfrm>
                <a:off x="10585882" y="2983398"/>
                <a:ext cx="643460" cy="84406"/>
              </a:xfrm>
              <a:prstGeom prst="rect">
                <a:avLst/>
              </a:prstGeom>
              <a:solidFill>
                <a:schemeClr val="bg1"/>
              </a:solidFill>
              <a:ln w="9525">
                <a:solidFill>
                  <a:schemeClr val="bg1"/>
                </a:solidFill>
                <a:round/>
                <a:headEnd/>
                <a:tailEnd/>
              </a:ln>
              <a:extLst/>
            </p:spPr>
            <p:txBody>
              <a:bodyPr vert="horz" wrap="square" lIns="91440" tIns="45720" rIns="91440" bIns="45720" numCol="1" anchor="t" anchorCtr="0" compatLnSpc="1">
                <a:prstTxWarp prst="textNoShape">
                  <a:avLst/>
                </a:prstTxWarp>
              </a:bodyPr>
              <a:lstStyle/>
              <a:p>
                <a:pPr defTabSz="932688">
                  <a:defRPr/>
                </a:pPr>
                <a:endParaRPr lang="en-GB" sz="1500" kern="0" dirty="0">
                  <a:solidFill>
                    <a:srgbClr val="000000"/>
                  </a:solidFill>
                </a:endParaRPr>
              </a:p>
            </p:txBody>
          </p:sp>
        </p:grpSp>
      </p:grpSp>
      <p:grpSp>
        <p:nvGrpSpPr>
          <p:cNvPr id="121" name="Group 120"/>
          <p:cNvGrpSpPr/>
          <p:nvPr/>
        </p:nvGrpSpPr>
        <p:grpSpPr>
          <a:xfrm>
            <a:off x="10333609" y="5306438"/>
            <a:ext cx="1443246" cy="1127866"/>
            <a:chOff x="10130470" y="5202860"/>
            <a:chExt cx="1414875" cy="1105851"/>
          </a:xfrm>
        </p:grpSpPr>
        <p:sp>
          <p:nvSpPr>
            <p:cNvPr id="122" name="Rectangle 121"/>
            <p:cNvSpPr/>
            <p:nvPr/>
          </p:nvSpPr>
          <p:spPr>
            <a:xfrm>
              <a:off x="10130470" y="6093267"/>
              <a:ext cx="1414875" cy="215444"/>
            </a:xfrm>
            <a:prstGeom prst="rect">
              <a:avLst/>
            </a:prstGeom>
          </p:spPr>
          <p:txBody>
            <a:bodyPr wrap="square" lIns="0" tIns="0" rIns="0" bIns="0">
              <a:spAutoFit/>
            </a:bodyPr>
            <a:lstStyle/>
            <a:p>
              <a:pPr algn="ctr" defTabSz="932346">
                <a:defRPr/>
              </a:pPr>
              <a:r>
                <a:rPr lang="en-US" sz="1400" kern="0" dirty="0">
                  <a:solidFill>
                    <a:srgbClr val="505050"/>
                  </a:solidFill>
                  <a:ea typeface="Segoe UI" pitchFamily="34" charset="0"/>
                  <a:cs typeface="Segoe UI" pitchFamily="34" charset="0"/>
                </a:rPr>
                <a:t>Custom programs</a:t>
              </a:r>
            </a:p>
          </p:txBody>
        </p:sp>
        <p:grpSp>
          <p:nvGrpSpPr>
            <p:cNvPr id="123" name="Group 122"/>
            <p:cNvGrpSpPr/>
            <p:nvPr/>
          </p:nvGrpSpPr>
          <p:grpSpPr>
            <a:xfrm>
              <a:off x="10195724" y="5202860"/>
              <a:ext cx="1284366" cy="704227"/>
              <a:chOff x="9421813" y="4852988"/>
              <a:chExt cx="1922462" cy="1054100"/>
            </a:xfrm>
          </p:grpSpPr>
          <p:sp>
            <p:nvSpPr>
              <p:cNvPr id="124" name="Freeform 53"/>
              <p:cNvSpPr>
                <a:spLocks/>
              </p:cNvSpPr>
              <p:nvPr/>
            </p:nvSpPr>
            <p:spPr bwMode="auto">
              <a:xfrm>
                <a:off x="11122025" y="5799138"/>
                <a:ext cx="222250" cy="107950"/>
              </a:xfrm>
              <a:custGeom>
                <a:avLst/>
                <a:gdLst>
                  <a:gd name="T0" fmla="*/ 51 w 100"/>
                  <a:gd name="T1" fmla="*/ 1 h 49"/>
                  <a:gd name="T2" fmla="*/ 0 w 100"/>
                  <a:gd name="T3" fmla="*/ 49 h 49"/>
                  <a:gd name="T4" fmla="*/ 99 w 100"/>
                  <a:gd name="T5" fmla="*/ 49 h 49"/>
                  <a:gd name="T6" fmla="*/ 51 w 100"/>
                  <a:gd name="T7" fmla="*/ 1 h 49"/>
                </a:gdLst>
                <a:ahLst/>
                <a:cxnLst>
                  <a:cxn ang="0">
                    <a:pos x="T0" y="T1"/>
                  </a:cxn>
                  <a:cxn ang="0">
                    <a:pos x="T2" y="T3"/>
                  </a:cxn>
                  <a:cxn ang="0">
                    <a:pos x="T4" y="T5"/>
                  </a:cxn>
                  <a:cxn ang="0">
                    <a:pos x="T6" y="T7"/>
                  </a:cxn>
                </a:cxnLst>
                <a:rect l="0" t="0" r="r" b="b"/>
                <a:pathLst>
                  <a:path w="100" h="49">
                    <a:moveTo>
                      <a:pt x="51" y="1"/>
                    </a:moveTo>
                    <a:cubicBezTo>
                      <a:pt x="24" y="0"/>
                      <a:pt x="1" y="21"/>
                      <a:pt x="0" y="49"/>
                    </a:cubicBezTo>
                    <a:cubicBezTo>
                      <a:pt x="99" y="49"/>
                      <a:pt x="99" y="49"/>
                      <a:pt x="99" y="49"/>
                    </a:cubicBezTo>
                    <a:cubicBezTo>
                      <a:pt x="100" y="21"/>
                      <a:pt x="79" y="2"/>
                      <a:pt x="51" y="1"/>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500" kern="0" dirty="0">
                  <a:solidFill>
                    <a:srgbClr val="000000"/>
                  </a:solidFill>
                </a:endParaRPr>
              </a:p>
            </p:txBody>
          </p:sp>
          <p:sp>
            <p:nvSpPr>
              <p:cNvPr id="125" name="Freeform 54"/>
              <p:cNvSpPr>
                <a:spLocks/>
              </p:cNvSpPr>
              <p:nvPr/>
            </p:nvSpPr>
            <p:spPr bwMode="auto">
              <a:xfrm>
                <a:off x="10712450" y="5800725"/>
                <a:ext cx="473075" cy="60325"/>
              </a:xfrm>
              <a:custGeom>
                <a:avLst/>
                <a:gdLst>
                  <a:gd name="T0" fmla="*/ 210 w 213"/>
                  <a:gd name="T1" fmla="*/ 27 h 27"/>
                  <a:gd name="T2" fmla="*/ 188 w 213"/>
                  <a:gd name="T3" fmla="*/ 17 h 27"/>
                  <a:gd name="T4" fmla="*/ 142 w 213"/>
                  <a:gd name="T5" fmla="*/ 8 h 27"/>
                  <a:gd name="T6" fmla="*/ 0 w 213"/>
                  <a:gd name="T7" fmla="*/ 8 h 27"/>
                  <a:gd name="T8" fmla="*/ 0 w 213"/>
                  <a:gd name="T9" fmla="*/ 0 h 27"/>
                  <a:gd name="T10" fmla="*/ 142 w 213"/>
                  <a:gd name="T11" fmla="*/ 0 h 27"/>
                  <a:gd name="T12" fmla="*/ 191 w 213"/>
                  <a:gd name="T13" fmla="*/ 10 h 27"/>
                  <a:gd name="T14" fmla="*/ 213 w 213"/>
                  <a:gd name="T15" fmla="*/ 20 h 27"/>
                  <a:gd name="T16" fmla="*/ 210 w 213"/>
                  <a:gd name="T17" fmla="*/ 27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3" h="27">
                    <a:moveTo>
                      <a:pt x="210" y="27"/>
                    </a:moveTo>
                    <a:cubicBezTo>
                      <a:pt x="188" y="17"/>
                      <a:pt x="188" y="17"/>
                      <a:pt x="188" y="17"/>
                    </a:cubicBezTo>
                    <a:cubicBezTo>
                      <a:pt x="177" y="12"/>
                      <a:pt x="155" y="8"/>
                      <a:pt x="142" y="8"/>
                    </a:cubicBezTo>
                    <a:cubicBezTo>
                      <a:pt x="0" y="8"/>
                      <a:pt x="0" y="8"/>
                      <a:pt x="0" y="8"/>
                    </a:cubicBezTo>
                    <a:cubicBezTo>
                      <a:pt x="0" y="0"/>
                      <a:pt x="0" y="0"/>
                      <a:pt x="0" y="0"/>
                    </a:cubicBezTo>
                    <a:cubicBezTo>
                      <a:pt x="142" y="0"/>
                      <a:pt x="142" y="0"/>
                      <a:pt x="142" y="0"/>
                    </a:cubicBezTo>
                    <a:cubicBezTo>
                      <a:pt x="157" y="0"/>
                      <a:pt x="179" y="5"/>
                      <a:pt x="191" y="10"/>
                    </a:cubicBezTo>
                    <a:cubicBezTo>
                      <a:pt x="213" y="20"/>
                      <a:pt x="213" y="20"/>
                      <a:pt x="213" y="20"/>
                    </a:cubicBezTo>
                    <a:lnTo>
                      <a:pt x="210" y="27"/>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500" kern="0" dirty="0">
                  <a:solidFill>
                    <a:srgbClr val="000000"/>
                  </a:solidFill>
                </a:endParaRPr>
              </a:p>
            </p:txBody>
          </p:sp>
          <p:sp>
            <p:nvSpPr>
              <p:cNvPr id="126" name="Oval 55"/>
              <p:cNvSpPr>
                <a:spLocks noChangeArrowheads="1"/>
              </p:cNvSpPr>
              <p:nvPr/>
            </p:nvSpPr>
            <p:spPr bwMode="auto">
              <a:xfrm>
                <a:off x="9915525" y="5627688"/>
                <a:ext cx="493713" cy="104775"/>
              </a:xfrm>
              <a:prstGeom prst="ellipse">
                <a:avLst/>
              </a:pr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500" kern="0" dirty="0">
                  <a:solidFill>
                    <a:srgbClr val="000000"/>
                  </a:solidFill>
                </a:endParaRPr>
              </a:p>
            </p:txBody>
          </p:sp>
          <p:sp>
            <p:nvSpPr>
              <p:cNvPr id="127" name="Freeform 56"/>
              <p:cNvSpPr>
                <a:spLocks/>
              </p:cNvSpPr>
              <p:nvPr/>
            </p:nvSpPr>
            <p:spPr bwMode="auto">
              <a:xfrm>
                <a:off x="9555163" y="4852988"/>
                <a:ext cx="1193800" cy="828675"/>
              </a:xfrm>
              <a:custGeom>
                <a:avLst/>
                <a:gdLst>
                  <a:gd name="T0" fmla="*/ 527 w 537"/>
                  <a:gd name="T1" fmla="*/ 373 h 373"/>
                  <a:gd name="T2" fmla="*/ 537 w 537"/>
                  <a:gd name="T3" fmla="*/ 362 h 373"/>
                  <a:gd name="T4" fmla="*/ 537 w 537"/>
                  <a:gd name="T5" fmla="*/ 11 h 373"/>
                  <a:gd name="T6" fmla="*/ 527 w 537"/>
                  <a:gd name="T7" fmla="*/ 0 h 373"/>
                  <a:gd name="T8" fmla="*/ 11 w 537"/>
                  <a:gd name="T9" fmla="*/ 0 h 373"/>
                  <a:gd name="T10" fmla="*/ 0 w 537"/>
                  <a:gd name="T11" fmla="*/ 11 h 373"/>
                  <a:gd name="T12" fmla="*/ 0 w 537"/>
                  <a:gd name="T13" fmla="*/ 362 h 373"/>
                  <a:gd name="T14" fmla="*/ 11 w 537"/>
                  <a:gd name="T15" fmla="*/ 373 h 373"/>
                  <a:gd name="T16" fmla="*/ 527 w 537"/>
                  <a:gd name="T17" fmla="*/ 373 h 3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37" h="373">
                    <a:moveTo>
                      <a:pt x="527" y="373"/>
                    </a:moveTo>
                    <a:cubicBezTo>
                      <a:pt x="532" y="373"/>
                      <a:pt x="537" y="368"/>
                      <a:pt x="537" y="362"/>
                    </a:cubicBezTo>
                    <a:cubicBezTo>
                      <a:pt x="537" y="11"/>
                      <a:pt x="537" y="11"/>
                      <a:pt x="537" y="11"/>
                    </a:cubicBezTo>
                    <a:cubicBezTo>
                      <a:pt x="537" y="5"/>
                      <a:pt x="532" y="0"/>
                      <a:pt x="527" y="0"/>
                    </a:cubicBezTo>
                    <a:cubicBezTo>
                      <a:pt x="11" y="0"/>
                      <a:pt x="11" y="0"/>
                      <a:pt x="11" y="0"/>
                    </a:cubicBezTo>
                    <a:cubicBezTo>
                      <a:pt x="5" y="0"/>
                      <a:pt x="0" y="5"/>
                      <a:pt x="0" y="11"/>
                    </a:cubicBezTo>
                    <a:cubicBezTo>
                      <a:pt x="0" y="362"/>
                      <a:pt x="0" y="362"/>
                      <a:pt x="0" y="362"/>
                    </a:cubicBezTo>
                    <a:cubicBezTo>
                      <a:pt x="0" y="368"/>
                      <a:pt x="5" y="373"/>
                      <a:pt x="11" y="373"/>
                    </a:cubicBezTo>
                    <a:lnTo>
                      <a:pt x="527" y="373"/>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500" kern="0" dirty="0">
                  <a:solidFill>
                    <a:srgbClr val="000000"/>
                  </a:solidFill>
                </a:endParaRPr>
              </a:p>
            </p:txBody>
          </p:sp>
          <p:sp>
            <p:nvSpPr>
              <p:cNvPr id="128" name="Rectangle 57"/>
              <p:cNvSpPr>
                <a:spLocks noChangeArrowheads="1"/>
              </p:cNvSpPr>
              <p:nvPr/>
            </p:nvSpPr>
            <p:spPr bwMode="auto">
              <a:xfrm>
                <a:off x="9593263" y="4889500"/>
                <a:ext cx="1117600" cy="63341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500" kern="0" dirty="0">
                  <a:solidFill>
                    <a:srgbClr val="000000"/>
                  </a:solidFill>
                </a:endParaRPr>
              </a:p>
            </p:txBody>
          </p:sp>
          <p:sp>
            <p:nvSpPr>
              <p:cNvPr id="129" name="Rectangle 58"/>
              <p:cNvSpPr>
                <a:spLocks noChangeArrowheads="1"/>
              </p:cNvSpPr>
              <p:nvPr/>
            </p:nvSpPr>
            <p:spPr bwMode="auto">
              <a:xfrm>
                <a:off x="9421813" y="5849938"/>
                <a:ext cx="1477963" cy="55563"/>
              </a:xfrm>
              <a:prstGeom prst="rect">
                <a:avLst/>
              </a:prstGeom>
              <a:solidFill>
                <a:srgbClr val="44235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500" kern="0" dirty="0">
                  <a:solidFill>
                    <a:srgbClr val="000000"/>
                  </a:solidFill>
                </a:endParaRPr>
              </a:p>
            </p:txBody>
          </p:sp>
          <p:sp>
            <p:nvSpPr>
              <p:cNvPr id="130" name="Freeform 59"/>
              <p:cNvSpPr>
                <a:spLocks/>
              </p:cNvSpPr>
              <p:nvPr/>
            </p:nvSpPr>
            <p:spPr bwMode="auto">
              <a:xfrm>
                <a:off x="9421813" y="5783263"/>
                <a:ext cx="1477963" cy="66675"/>
              </a:xfrm>
              <a:custGeom>
                <a:avLst/>
                <a:gdLst>
                  <a:gd name="T0" fmla="*/ 931 w 931"/>
                  <a:gd name="T1" fmla="*/ 42 h 42"/>
                  <a:gd name="T2" fmla="*/ 0 w 931"/>
                  <a:gd name="T3" fmla="*/ 42 h 42"/>
                  <a:gd name="T4" fmla="*/ 59 w 931"/>
                  <a:gd name="T5" fmla="*/ 0 h 42"/>
                  <a:gd name="T6" fmla="*/ 873 w 931"/>
                  <a:gd name="T7" fmla="*/ 0 h 42"/>
                  <a:gd name="T8" fmla="*/ 931 w 931"/>
                  <a:gd name="T9" fmla="*/ 42 h 42"/>
                </a:gdLst>
                <a:ahLst/>
                <a:cxnLst>
                  <a:cxn ang="0">
                    <a:pos x="T0" y="T1"/>
                  </a:cxn>
                  <a:cxn ang="0">
                    <a:pos x="T2" y="T3"/>
                  </a:cxn>
                  <a:cxn ang="0">
                    <a:pos x="T4" y="T5"/>
                  </a:cxn>
                  <a:cxn ang="0">
                    <a:pos x="T6" y="T7"/>
                  </a:cxn>
                  <a:cxn ang="0">
                    <a:pos x="T8" y="T9"/>
                  </a:cxn>
                </a:cxnLst>
                <a:rect l="0" t="0" r="r" b="b"/>
                <a:pathLst>
                  <a:path w="931" h="42">
                    <a:moveTo>
                      <a:pt x="931" y="42"/>
                    </a:moveTo>
                    <a:lnTo>
                      <a:pt x="0" y="42"/>
                    </a:lnTo>
                    <a:lnTo>
                      <a:pt x="59" y="0"/>
                    </a:lnTo>
                    <a:lnTo>
                      <a:pt x="873" y="0"/>
                    </a:lnTo>
                    <a:lnTo>
                      <a:pt x="931" y="42"/>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500" kern="0" dirty="0">
                  <a:solidFill>
                    <a:srgbClr val="000000"/>
                  </a:solidFill>
                </a:endParaRPr>
              </a:p>
            </p:txBody>
          </p:sp>
          <p:grpSp>
            <p:nvGrpSpPr>
              <p:cNvPr id="131" name="Group 130"/>
              <p:cNvGrpSpPr/>
              <p:nvPr/>
            </p:nvGrpSpPr>
            <p:grpSpPr>
              <a:xfrm>
                <a:off x="10923587" y="4883150"/>
                <a:ext cx="420688" cy="798513"/>
                <a:chOff x="11093450" y="4883150"/>
                <a:chExt cx="420688" cy="798513"/>
              </a:xfrm>
            </p:grpSpPr>
            <p:sp>
              <p:nvSpPr>
                <p:cNvPr id="132" name="AutoShape 63"/>
                <p:cNvSpPr>
                  <a:spLocks noChangeAspect="1" noChangeArrowheads="1" noTextEdit="1"/>
                </p:cNvSpPr>
                <p:nvPr/>
              </p:nvSpPr>
              <p:spPr bwMode="auto">
                <a:xfrm>
                  <a:off x="11093450" y="4886325"/>
                  <a:ext cx="420688" cy="792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500" kern="0" dirty="0">
                    <a:solidFill>
                      <a:srgbClr val="000000"/>
                    </a:solidFill>
                  </a:endParaRPr>
                </a:p>
              </p:txBody>
            </p:sp>
            <p:sp>
              <p:nvSpPr>
                <p:cNvPr id="133" name="Freeform 65"/>
                <p:cNvSpPr>
                  <a:spLocks/>
                </p:cNvSpPr>
                <p:nvPr/>
              </p:nvSpPr>
              <p:spPr bwMode="auto">
                <a:xfrm>
                  <a:off x="11095038" y="4883150"/>
                  <a:ext cx="417513" cy="798513"/>
                </a:xfrm>
                <a:custGeom>
                  <a:avLst/>
                  <a:gdLst>
                    <a:gd name="T0" fmla="*/ 149 w 149"/>
                    <a:gd name="T1" fmla="*/ 280 h 287"/>
                    <a:gd name="T2" fmla="*/ 143 w 149"/>
                    <a:gd name="T3" fmla="*/ 287 h 287"/>
                    <a:gd name="T4" fmla="*/ 6 w 149"/>
                    <a:gd name="T5" fmla="*/ 287 h 287"/>
                    <a:gd name="T6" fmla="*/ 0 w 149"/>
                    <a:gd name="T7" fmla="*/ 280 h 287"/>
                    <a:gd name="T8" fmla="*/ 0 w 149"/>
                    <a:gd name="T9" fmla="*/ 7 h 287"/>
                    <a:gd name="T10" fmla="*/ 6 w 149"/>
                    <a:gd name="T11" fmla="*/ 0 h 287"/>
                    <a:gd name="T12" fmla="*/ 143 w 149"/>
                    <a:gd name="T13" fmla="*/ 0 h 287"/>
                    <a:gd name="T14" fmla="*/ 149 w 149"/>
                    <a:gd name="T15" fmla="*/ 7 h 287"/>
                    <a:gd name="T16" fmla="*/ 149 w 149"/>
                    <a:gd name="T17" fmla="*/ 280 h 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287">
                      <a:moveTo>
                        <a:pt x="149" y="280"/>
                      </a:moveTo>
                      <a:cubicBezTo>
                        <a:pt x="149" y="284"/>
                        <a:pt x="146" y="287"/>
                        <a:pt x="143" y="287"/>
                      </a:cubicBezTo>
                      <a:cubicBezTo>
                        <a:pt x="6" y="287"/>
                        <a:pt x="6" y="287"/>
                        <a:pt x="6" y="287"/>
                      </a:cubicBezTo>
                      <a:cubicBezTo>
                        <a:pt x="3" y="287"/>
                        <a:pt x="0" y="284"/>
                        <a:pt x="0" y="280"/>
                      </a:cubicBezTo>
                      <a:cubicBezTo>
                        <a:pt x="0" y="7"/>
                        <a:pt x="0" y="7"/>
                        <a:pt x="0" y="7"/>
                      </a:cubicBezTo>
                      <a:cubicBezTo>
                        <a:pt x="0" y="3"/>
                        <a:pt x="3" y="0"/>
                        <a:pt x="6" y="0"/>
                      </a:cubicBezTo>
                      <a:cubicBezTo>
                        <a:pt x="143" y="0"/>
                        <a:pt x="143" y="0"/>
                        <a:pt x="143" y="0"/>
                      </a:cubicBezTo>
                      <a:cubicBezTo>
                        <a:pt x="146" y="0"/>
                        <a:pt x="149" y="3"/>
                        <a:pt x="149" y="7"/>
                      </a:cubicBezTo>
                      <a:lnTo>
                        <a:pt x="149" y="280"/>
                      </a:lnTo>
                      <a:close/>
                    </a:path>
                  </a:pathLst>
                </a:custGeom>
                <a:solidFill>
                  <a:srgbClr val="442359"/>
                </a:solidFill>
                <a:ln>
                  <a:noFill/>
                </a:ln>
              </p:spPr>
              <p:txBody>
                <a:bodyPr vert="horz" wrap="square" lIns="91440" tIns="45720" rIns="91440" bIns="45720" numCol="1" anchor="t" anchorCtr="0" compatLnSpc="1">
                  <a:prstTxWarp prst="textNoShape">
                    <a:avLst/>
                  </a:prstTxWarp>
                </a:bodyPr>
                <a:lstStyle/>
                <a:p>
                  <a:pPr defTabSz="932688">
                    <a:defRPr/>
                  </a:pPr>
                  <a:endParaRPr lang="en-US" sz="1500" kern="0" dirty="0">
                    <a:solidFill>
                      <a:srgbClr val="000000"/>
                    </a:solidFill>
                  </a:endParaRPr>
                </a:p>
              </p:txBody>
            </p:sp>
            <p:sp>
              <p:nvSpPr>
                <p:cNvPr id="134" name="Rectangle 66"/>
                <p:cNvSpPr>
                  <a:spLocks noChangeArrowheads="1"/>
                </p:cNvSpPr>
                <p:nvPr/>
              </p:nvSpPr>
              <p:spPr bwMode="auto">
                <a:xfrm>
                  <a:off x="11114088" y="4967288"/>
                  <a:ext cx="379413" cy="7938"/>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pPr defTabSz="932688">
                    <a:defRPr/>
                  </a:pPr>
                  <a:endParaRPr lang="en-US" sz="1500" kern="0" dirty="0">
                    <a:solidFill>
                      <a:srgbClr val="000000"/>
                    </a:solidFill>
                  </a:endParaRPr>
                </a:p>
              </p:txBody>
            </p:sp>
            <p:sp>
              <p:nvSpPr>
                <p:cNvPr id="135" name="Rectangle 68"/>
                <p:cNvSpPr>
                  <a:spLocks noChangeArrowheads="1"/>
                </p:cNvSpPr>
                <p:nvPr/>
              </p:nvSpPr>
              <p:spPr bwMode="auto">
                <a:xfrm>
                  <a:off x="11114088" y="5060950"/>
                  <a:ext cx="379413" cy="6350"/>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pPr defTabSz="932688">
                    <a:defRPr/>
                  </a:pPr>
                  <a:endParaRPr lang="en-US" sz="1500" kern="0" dirty="0">
                    <a:solidFill>
                      <a:srgbClr val="000000"/>
                    </a:solidFill>
                  </a:endParaRPr>
                </a:p>
              </p:txBody>
            </p:sp>
            <p:sp>
              <p:nvSpPr>
                <p:cNvPr id="136" name="Rectangle 70"/>
                <p:cNvSpPr>
                  <a:spLocks noChangeArrowheads="1"/>
                </p:cNvSpPr>
                <p:nvPr/>
              </p:nvSpPr>
              <p:spPr bwMode="auto">
                <a:xfrm>
                  <a:off x="11114088" y="5153025"/>
                  <a:ext cx="379413" cy="6350"/>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pPr defTabSz="932688">
                    <a:defRPr/>
                  </a:pPr>
                  <a:endParaRPr lang="en-US" sz="1500" kern="0" dirty="0">
                    <a:solidFill>
                      <a:srgbClr val="000000"/>
                    </a:solidFill>
                  </a:endParaRPr>
                </a:p>
              </p:txBody>
            </p:sp>
            <p:sp>
              <p:nvSpPr>
                <p:cNvPr id="137" name="Rectangle 72"/>
                <p:cNvSpPr>
                  <a:spLocks noChangeArrowheads="1"/>
                </p:cNvSpPr>
                <p:nvPr/>
              </p:nvSpPr>
              <p:spPr bwMode="auto">
                <a:xfrm>
                  <a:off x="11114088" y="5245100"/>
                  <a:ext cx="379413" cy="7938"/>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pPr defTabSz="932688">
                    <a:defRPr/>
                  </a:pPr>
                  <a:endParaRPr lang="en-US" sz="1500" kern="0" dirty="0">
                    <a:solidFill>
                      <a:srgbClr val="000000"/>
                    </a:solidFill>
                  </a:endParaRPr>
                </a:p>
              </p:txBody>
            </p:sp>
            <p:sp>
              <p:nvSpPr>
                <p:cNvPr id="138" name="Oval 74"/>
                <p:cNvSpPr>
                  <a:spLocks noChangeArrowheads="1"/>
                </p:cNvSpPr>
                <p:nvPr/>
              </p:nvSpPr>
              <p:spPr bwMode="auto">
                <a:xfrm>
                  <a:off x="11280775" y="5503863"/>
                  <a:ext cx="47625" cy="46038"/>
                </a:xfrm>
                <a:prstGeom prst="ellipse">
                  <a:avLst/>
                </a:prstGeom>
                <a:solidFill>
                  <a:srgbClr val="DFDF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500" kern="0" dirty="0">
                    <a:solidFill>
                      <a:srgbClr val="000000"/>
                    </a:solidFill>
                  </a:endParaRPr>
                </a:p>
              </p:txBody>
            </p:sp>
            <p:sp>
              <p:nvSpPr>
                <p:cNvPr id="139" name="Freeform 75"/>
                <p:cNvSpPr>
                  <a:spLocks/>
                </p:cNvSpPr>
                <p:nvPr/>
              </p:nvSpPr>
              <p:spPr bwMode="auto">
                <a:xfrm>
                  <a:off x="11096625" y="5649913"/>
                  <a:ext cx="417513" cy="31750"/>
                </a:xfrm>
                <a:custGeom>
                  <a:avLst/>
                  <a:gdLst>
                    <a:gd name="T0" fmla="*/ 0 w 149"/>
                    <a:gd name="T1" fmla="*/ 0 h 11"/>
                    <a:gd name="T2" fmla="*/ 0 w 149"/>
                    <a:gd name="T3" fmla="*/ 4 h 11"/>
                    <a:gd name="T4" fmla="*/ 6 w 149"/>
                    <a:gd name="T5" fmla="*/ 11 h 11"/>
                    <a:gd name="T6" fmla="*/ 143 w 149"/>
                    <a:gd name="T7" fmla="*/ 11 h 11"/>
                    <a:gd name="T8" fmla="*/ 149 w 149"/>
                    <a:gd name="T9" fmla="*/ 4 h 11"/>
                    <a:gd name="T10" fmla="*/ 149 w 149"/>
                    <a:gd name="T11" fmla="*/ 0 h 11"/>
                    <a:gd name="T12" fmla="*/ 0 w 149"/>
                    <a:gd name="T13" fmla="*/ 0 h 11"/>
                  </a:gdLst>
                  <a:ahLst/>
                  <a:cxnLst>
                    <a:cxn ang="0">
                      <a:pos x="T0" y="T1"/>
                    </a:cxn>
                    <a:cxn ang="0">
                      <a:pos x="T2" y="T3"/>
                    </a:cxn>
                    <a:cxn ang="0">
                      <a:pos x="T4" y="T5"/>
                    </a:cxn>
                    <a:cxn ang="0">
                      <a:pos x="T6" y="T7"/>
                    </a:cxn>
                    <a:cxn ang="0">
                      <a:pos x="T8" y="T9"/>
                    </a:cxn>
                    <a:cxn ang="0">
                      <a:pos x="T10" y="T11"/>
                    </a:cxn>
                    <a:cxn ang="0">
                      <a:pos x="T12" y="T13"/>
                    </a:cxn>
                  </a:cxnLst>
                  <a:rect l="0" t="0" r="r" b="b"/>
                  <a:pathLst>
                    <a:path w="149" h="11">
                      <a:moveTo>
                        <a:pt x="0" y="0"/>
                      </a:moveTo>
                      <a:cubicBezTo>
                        <a:pt x="0" y="4"/>
                        <a:pt x="0" y="4"/>
                        <a:pt x="0" y="4"/>
                      </a:cubicBezTo>
                      <a:cubicBezTo>
                        <a:pt x="0" y="8"/>
                        <a:pt x="3" y="11"/>
                        <a:pt x="6" y="11"/>
                      </a:cubicBezTo>
                      <a:cubicBezTo>
                        <a:pt x="143" y="11"/>
                        <a:pt x="143" y="11"/>
                        <a:pt x="143" y="11"/>
                      </a:cubicBezTo>
                      <a:cubicBezTo>
                        <a:pt x="146" y="11"/>
                        <a:pt x="149" y="8"/>
                        <a:pt x="149" y="4"/>
                      </a:cubicBezTo>
                      <a:cubicBezTo>
                        <a:pt x="149" y="0"/>
                        <a:pt x="149" y="0"/>
                        <a:pt x="149" y="0"/>
                      </a:cubicBezTo>
                      <a:lnTo>
                        <a:pt x="0" y="0"/>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500" kern="0" dirty="0">
                    <a:solidFill>
                      <a:srgbClr val="000000"/>
                    </a:solidFill>
                  </a:endParaRPr>
                </a:p>
              </p:txBody>
            </p:sp>
            <p:sp>
              <p:nvSpPr>
                <p:cNvPr id="140" name="Rectangle 76"/>
                <p:cNvSpPr>
                  <a:spLocks noChangeArrowheads="1"/>
                </p:cNvSpPr>
                <p:nvPr/>
              </p:nvSpPr>
              <p:spPr bwMode="auto">
                <a:xfrm>
                  <a:off x="11096625" y="5600700"/>
                  <a:ext cx="417513" cy="49213"/>
                </a:xfrm>
                <a:prstGeom prst="rect">
                  <a:avLst/>
                </a:pr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2688">
                    <a:defRPr/>
                  </a:pPr>
                  <a:endParaRPr lang="en-US" sz="1500" kern="0" dirty="0">
                    <a:solidFill>
                      <a:srgbClr val="000000"/>
                    </a:solidFill>
                  </a:endParaRPr>
                </a:p>
              </p:txBody>
            </p:sp>
          </p:grpSp>
        </p:grpSp>
      </p:grpSp>
      <p:grpSp>
        <p:nvGrpSpPr>
          <p:cNvPr id="141" name="Group 140"/>
          <p:cNvGrpSpPr/>
          <p:nvPr/>
        </p:nvGrpSpPr>
        <p:grpSpPr>
          <a:xfrm>
            <a:off x="5954713" y="4371748"/>
            <a:ext cx="4274033" cy="1265879"/>
            <a:chOff x="5837656" y="4286416"/>
            <a:chExt cx="4190014" cy="1241171"/>
          </a:xfrm>
        </p:grpSpPr>
        <p:sp>
          <p:nvSpPr>
            <p:cNvPr id="142" name="TextBox 141"/>
            <p:cNvSpPr txBox="1"/>
            <p:nvPr/>
          </p:nvSpPr>
          <p:spPr>
            <a:xfrm>
              <a:off x="5990553" y="4483977"/>
              <a:ext cx="1376980" cy="900246"/>
            </a:xfrm>
            <a:prstGeom prst="rect">
              <a:avLst/>
            </a:prstGeom>
            <a:noFill/>
          </p:spPr>
          <p:txBody>
            <a:bodyPr wrap="square" lIns="0" tIns="0" rIns="0" bIns="0" rtlCol="0">
              <a:spAutoFit/>
            </a:bodyPr>
            <a:lstStyle/>
            <a:p>
              <a:pPr defTabSz="932617">
                <a:spcBef>
                  <a:spcPts val="102"/>
                </a:spcBef>
                <a:defRPr/>
              </a:pPr>
              <a:r>
                <a:rPr lang="en-US" sz="1400" kern="0" dirty="0">
                  <a:solidFill>
                    <a:srgbClr val="505050"/>
                  </a:solidFill>
                </a:rPr>
                <a:t>.NET SDK </a:t>
              </a:r>
            </a:p>
            <a:p>
              <a:pPr defTabSz="932617">
                <a:spcBef>
                  <a:spcPts val="102"/>
                </a:spcBef>
                <a:defRPr/>
              </a:pPr>
              <a:r>
                <a:rPr lang="en-US" sz="1400" kern="0" dirty="0">
                  <a:solidFill>
                    <a:srgbClr val="505050"/>
                  </a:solidFill>
                </a:rPr>
                <a:t>CLI</a:t>
              </a:r>
            </a:p>
            <a:p>
              <a:pPr defTabSz="932617">
                <a:spcBef>
                  <a:spcPts val="102"/>
                </a:spcBef>
                <a:defRPr/>
              </a:pPr>
              <a:r>
                <a:rPr lang="en-US" sz="1400" kern="0" dirty="0">
                  <a:solidFill>
                    <a:srgbClr val="505050"/>
                  </a:solidFill>
                </a:rPr>
                <a:t>Azure Portal</a:t>
              </a:r>
            </a:p>
            <a:p>
              <a:pPr defTabSz="932617">
                <a:spcBef>
                  <a:spcPts val="102"/>
                </a:spcBef>
                <a:defRPr/>
              </a:pPr>
              <a:r>
                <a:rPr lang="en-US" sz="1400" kern="0" dirty="0">
                  <a:solidFill>
                    <a:srgbClr val="505050"/>
                  </a:solidFill>
                </a:rPr>
                <a:t>Azure PowerShell</a:t>
              </a:r>
            </a:p>
          </p:txBody>
        </p:sp>
        <p:cxnSp>
          <p:nvCxnSpPr>
            <p:cNvPr id="143" name="Straight Connector 14"/>
            <p:cNvCxnSpPr/>
            <p:nvPr/>
          </p:nvCxnSpPr>
          <p:spPr>
            <a:xfrm rot="10800000">
              <a:off x="5837656" y="4286416"/>
              <a:ext cx="4190014" cy="1241171"/>
            </a:xfrm>
            <a:prstGeom prst="bentConnector2">
              <a:avLst/>
            </a:prstGeom>
            <a:ln w="38100" cap="rnd">
              <a:solidFill>
                <a:schemeClr val="accent2"/>
              </a:solidFill>
              <a:headEnd type="triangle" w="lg" len="med"/>
              <a:tailEnd type="none" w="lg" len="med"/>
            </a:ln>
          </p:spPr>
          <p:style>
            <a:lnRef idx="1">
              <a:schemeClr val="accent1"/>
            </a:lnRef>
            <a:fillRef idx="0">
              <a:schemeClr val="accent1"/>
            </a:fillRef>
            <a:effectRef idx="0">
              <a:schemeClr val="accent1"/>
            </a:effectRef>
            <a:fontRef idx="minor">
              <a:schemeClr val="tx1"/>
            </a:fontRef>
          </p:style>
        </p:cxnSp>
      </p:grpSp>
      <p:grpSp>
        <p:nvGrpSpPr>
          <p:cNvPr id="144" name="Group 143"/>
          <p:cNvGrpSpPr/>
          <p:nvPr/>
        </p:nvGrpSpPr>
        <p:grpSpPr>
          <a:xfrm>
            <a:off x="5993343" y="1928343"/>
            <a:ext cx="4261686" cy="1002016"/>
            <a:chOff x="5875527" y="1890703"/>
            <a:chExt cx="4177910" cy="982458"/>
          </a:xfrm>
        </p:grpSpPr>
        <p:cxnSp>
          <p:nvCxnSpPr>
            <p:cNvPr id="145" name="Straight Connector 14"/>
            <p:cNvCxnSpPr/>
            <p:nvPr/>
          </p:nvCxnSpPr>
          <p:spPr>
            <a:xfrm rot="10800000" flipV="1">
              <a:off x="5875527" y="2140880"/>
              <a:ext cx="4177910" cy="732281"/>
            </a:xfrm>
            <a:prstGeom prst="bentConnector2">
              <a:avLst/>
            </a:prstGeom>
            <a:ln w="38100" cap="rnd">
              <a:solidFill>
                <a:schemeClr val="accent2"/>
              </a:solidFill>
              <a:headEnd type="triangle" w="lg" len="med"/>
              <a:tailEnd type="none" w="lg" len="med"/>
            </a:ln>
          </p:spPr>
          <p:style>
            <a:lnRef idx="1">
              <a:schemeClr val="accent1"/>
            </a:lnRef>
            <a:fillRef idx="0">
              <a:schemeClr val="accent1"/>
            </a:fillRef>
            <a:effectRef idx="0">
              <a:schemeClr val="accent1"/>
            </a:effectRef>
            <a:fontRef idx="minor">
              <a:schemeClr val="tx1"/>
            </a:fontRef>
          </p:style>
        </p:cxnSp>
        <p:sp>
          <p:nvSpPr>
            <p:cNvPr id="146" name="TextBox 145"/>
            <p:cNvSpPr txBox="1"/>
            <p:nvPr/>
          </p:nvSpPr>
          <p:spPr>
            <a:xfrm>
              <a:off x="6504876" y="1890703"/>
              <a:ext cx="2205696" cy="211239"/>
            </a:xfrm>
            <a:prstGeom prst="rect">
              <a:avLst/>
            </a:prstGeom>
            <a:noFill/>
          </p:spPr>
          <p:txBody>
            <a:bodyPr wrap="square" lIns="0" tIns="0" rIns="0" bIns="0" rtlCol="0">
              <a:spAutoFit/>
            </a:bodyPr>
            <a:lstStyle/>
            <a:p>
              <a:pPr algn="ctr" defTabSz="932617">
                <a:spcAft>
                  <a:spcPts val="600"/>
                </a:spcAft>
                <a:defRPr/>
              </a:pPr>
              <a:r>
                <a:rPr lang="en-US" sz="1400" kern="0" dirty="0">
                  <a:solidFill>
                    <a:srgbClr val="505050"/>
                  </a:solidFill>
                </a:rPr>
                <a:t>Azure Data Factory</a:t>
              </a:r>
            </a:p>
          </p:txBody>
        </p:sp>
      </p:grpSp>
      <p:grpSp>
        <p:nvGrpSpPr>
          <p:cNvPr id="147" name="Group 146"/>
          <p:cNvGrpSpPr/>
          <p:nvPr/>
        </p:nvGrpSpPr>
        <p:grpSpPr>
          <a:xfrm>
            <a:off x="5519231" y="3109482"/>
            <a:ext cx="1027461" cy="1085530"/>
            <a:chOff x="5410733" y="3048788"/>
            <a:chExt cx="1007263" cy="1064342"/>
          </a:xfrm>
        </p:grpSpPr>
        <p:sp>
          <p:nvSpPr>
            <p:cNvPr id="148" name="TextBox 147"/>
            <p:cNvSpPr txBox="1"/>
            <p:nvPr/>
          </p:nvSpPr>
          <p:spPr>
            <a:xfrm>
              <a:off x="5410733" y="3882298"/>
              <a:ext cx="1007263" cy="230832"/>
            </a:xfrm>
            <a:prstGeom prst="rect">
              <a:avLst/>
            </a:prstGeom>
            <a:noFill/>
          </p:spPr>
          <p:txBody>
            <a:bodyPr wrap="square" lIns="0" tIns="0" rIns="0" bIns="0" rtlCol="0">
              <a:spAutoFit/>
            </a:bodyPr>
            <a:lstStyle/>
            <a:p>
              <a:pPr defTabSz="932688">
                <a:spcAft>
                  <a:spcPts val="612"/>
                </a:spcAft>
                <a:defRPr/>
              </a:pPr>
              <a:r>
                <a:rPr lang="en-US" sz="1500" kern="0" dirty="0">
                  <a:solidFill>
                    <a:srgbClr val="505050"/>
                  </a:solidFill>
                </a:rPr>
                <a:t>ADL Store</a:t>
              </a:r>
            </a:p>
          </p:txBody>
        </p:sp>
        <p:pic>
          <p:nvPicPr>
            <p:cNvPr id="149" name="Picture 14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461897" y="3048788"/>
              <a:ext cx="904934" cy="904934"/>
            </a:xfrm>
            <a:prstGeom prst="rect">
              <a:avLst/>
            </a:prstGeom>
          </p:spPr>
        </p:pic>
      </p:grpSp>
      <p:sp>
        <p:nvSpPr>
          <p:cNvPr id="150" name="TextBox 149"/>
          <p:cNvSpPr txBox="1"/>
          <p:nvPr/>
        </p:nvSpPr>
        <p:spPr>
          <a:xfrm>
            <a:off x="6635311" y="2252525"/>
            <a:ext cx="2249925" cy="215444"/>
          </a:xfrm>
          <a:prstGeom prst="rect">
            <a:avLst/>
          </a:prstGeom>
          <a:noFill/>
        </p:spPr>
        <p:txBody>
          <a:bodyPr wrap="square" lIns="0" tIns="0" rIns="0" bIns="0" rtlCol="0">
            <a:spAutoFit/>
          </a:bodyPr>
          <a:lstStyle/>
          <a:p>
            <a:pPr algn="ctr" defTabSz="932617">
              <a:spcAft>
                <a:spcPts val="600"/>
              </a:spcAft>
              <a:defRPr/>
            </a:pPr>
            <a:r>
              <a:rPr lang="en-US" sz="1400" kern="0" dirty="0">
                <a:solidFill>
                  <a:srgbClr val="505050"/>
                </a:solidFill>
              </a:rPr>
              <a:t>Hadoop DistCp</a:t>
            </a:r>
          </a:p>
        </p:txBody>
      </p:sp>
    </p:spTree>
    <p:extLst>
      <p:ext uri="{BB962C8B-B14F-4D97-AF65-F5344CB8AC3E}">
        <p14:creationId xmlns:p14="http://schemas.microsoft.com/office/powerpoint/2010/main" val="2910322800"/>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47"/>
                                        </p:tgtEl>
                                        <p:attrNameLst>
                                          <p:attrName>style.visibility</p:attrName>
                                        </p:attrNameLst>
                                      </p:cBhvr>
                                      <p:to>
                                        <p:strVal val="visible"/>
                                      </p:to>
                                    </p:set>
                                    <p:animEffect transition="in" filter="fade">
                                      <p:cBhvr>
                                        <p:cTn id="7" dur="500"/>
                                        <p:tgtEl>
                                          <p:spTgt spid="147"/>
                                        </p:tgtEl>
                                      </p:cBhvr>
                                    </p:animEffect>
                                  </p:childTnLst>
                                </p:cTn>
                              </p:par>
                            </p:childTnLst>
                          </p:cTn>
                        </p:par>
                        <p:par>
                          <p:cTn id="8" fill="hold">
                            <p:stCondLst>
                              <p:cond delay="500"/>
                            </p:stCondLst>
                            <p:childTnLst>
                              <p:par>
                                <p:cTn id="9" presetID="22" presetClass="entr" presetSubtype="2" fill="hold" nodeType="afterEffect">
                                  <p:stCondLst>
                                    <p:cond delay="0"/>
                                  </p:stCondLst>
                                  <p:childTnLst>
                                    <p:set>
                                      <p:cBhvr>
                                        <p:cTn id="10" dur="1" fill="hold">
                                          <p:stCondLst>
                                            <p:cond delay="0"/>
                                          </p:stCondLst>
                                        </p:cTn>
                                        <p:tgtEl>
                                          <p:spTgt spid="102"/>
                                        </p:tgtEl>
                                        <p:attrNameLst>
                                          <p:attrName>style.visibility</p:attrName>
                                        </p:attrNameLst>
                                      </p:cBhvr>
                                      <p:to>
                                        <p:strVal val="visible"/>
                                      </p:to>
                                    </p:set>
                                    <p:animEffect transition="in" filter="wipe(right)">
                                      <p:cBhvr>
                                        <p:cTn id="11" dur="500"/>
                                        <p:tgtEl>
                                          <p:spTgt spid="102"/>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77"/>
                                        </p:tgtEl>
                                        <p:attrNameLst>
                                          <p:attrName>style.visibility</p:attrName>
                                        </p:attrNameLst>
                                      </p:cBhvr>
                                      <p:to>
                                        <p:strVal val="visible"/>
                                      </p:to>
                                    </p:set>
                                    <p:animEffect transition="in" filter="fade">
                                      <p:cBhvr>
                                        <p:cTn id="15" dur="500"/>
                                        <p:tgtEl>
                                          <p:spTgt spid="77"/>
                                        </p:tgtEl>
                                      </p:cBhvr>
                                    </p:animEffect>
                                  </p:childTnLst>
                                </p:cTn>
                              </p:par>
                            </p:childTnLst>
                          </p:cTn>
                        </p:par>
                        <p:par>
                          <p:cTn id="16" fill="hold">
                            <p:stCondLst>
                              <p:cond delay="1500"/>
                            </p:stCondLst>
                            <p:childTnLst>
                              <p:par>
                                <p:cTn id="17" presetID="22" presetClass="entr" presetSubtype="8" fill="hold" nodeType="afterEffect">
                                  <p:stCondLst>
                                    <p:cond delay="0"/>
                                  </p:stCondLst>
                                  <p:childTnLst>
                                    <p:set>
                                      <p:cBhvr>
                                        <p:cTn id="18" dur="1" fill="hold">
                                          <p:stCondLst>
                                            <p:cond delay="0"/>
                                          </p:stCondLst>
                                        </p:cTn>
                                        <p:tgtEl>
                                          <p:spTgt spid="144"/>
                                        </p:tgtEl>
                                        <p:attrNameLst>
                                          <p:attrName>style.visibility</p:attrName>
                                        </p:attrNameLst>
                                      </p:cBhvr>
                                      <p:to>
                                        <p:strVal val="visible"/>
                                      </p:to>
                                    </p:set>
                                    <p:animEffect transition="in" filter="wipe(left)">
                                      <p:cBhvr>
                                        <p:cTn id="19" dur="500"/>
                                        <p:tgtEl>
                                          <p:spTgt spid="144"/>
                                        </p:tgtEl>
                                      </p:cBhvr>
                                    </p:animEffect>
                                  </p:childTnLst>
                                </p:cTn>
                              </p:par>
                              <p:par>
                                <p:cTn id="20" presetID="1" presetClass="entr" presetSubtype="0" fill="hold" grpId="0" nodeType="withEffect">
                                  <p:stCondLst>
                                    <p:cond delay="0"/>
                                  </p:stCondLst>
                                  <p:childTnLst>
                                    <p:set>
                                      <p:cBhvr>
                                        <p:cTn id="21" dur="1" fill="hold">
                                          <p:stCondLst>
                                            <p:cond delay="0"/>
                                          </p:stCondLst>
                                        </p:cTn>
                                        <p:tgtEl>
                                          <p:spTgt spid="150"/>
                                        </p:tgtEl>
                                        <p:attrNameLst>
                                          <p:attrName>style.visibility</p:attrName>
                                        </p:attrNameLst>
                                      </p:cBhvr>
                                      <p:to>
                                        <p:strVal val="visible"/>
                                      </p:to>
                                    </p:set>
                                  </p:childTnLst>
                                </p:cTn>
                              </p:par>
                            </p:childTnLst>
                          </p:cTn>
                        </p:par>
                        <p:par>
                          <p:cTn id="22" fill="hold">
                            <p:stCondLst>
                              <p:cond delay="2000"/>
                            </p:stCondLst>
                            <p:childTnLst>
                              <p:par>
                                <p:cTn id="23" presetID="10" presetClass="entr" presetSubtype="0" fill="hold" nodeType="afterEffect">
                                  <p:stCondLst>
                                    <p:cond delay="0"/>
                                  </p:stCondLst>
                                  <p:childTnLst>
                                    <p:set>
                                      <p:cBhvr>
                                        <p:cTn id="24" dur="1" fill="hold">
                                          <p:stCondLst>
                                            <p:cond delay="0"/>
                                          </p:stCondLst>
                                        </p:cTn>
                                        <p:tgtEl>
                                          <p:spTgt spid="110"/>
                                        </p:tgtEl>
                                        <p:attrNameLst>
                                          <p:attrName>style.visibility</p:attrName>
                                        </p:attrNameLst>
                                      </p:cBhvr>
                                      <p:to>
                                        <p:strVal val="visible"/>
                                      </p:to>
                                    </p:set>
                                    <p:animEffect transition="in" filter="fade">
                                      <p:cBhvr>
                                        <p:cTn id="25" dur="500"/>
                                        <p:tgtEl>
                                          <p:spTgt spid="110"/>
                                        </p:tgtEl>
                                      </p:cBhvr>
                                    </p:animEffect>
                                  </p:childTnLst>
                                </p:cTn>
                              </p:par>
                            </p:childTnLst>
                          </p:cTn>
                        </p:par>
                        <p:par>
                          <p:cTn id="26" fill="hold">
                            <p:stCondLst>
                              <p:cond delay="2500"/>
                            </p:stCondLst>
                            <p:childTnLst>
                              <p:par>
                                <p:cTn id="27" presetID="22" presetClass="entr" presetSubtype="8" fill="hold" nodeType="afterEffect">
                                  <p:stCondLst>
                                    <p:cond delay="0"/>
                                  </p:stCondLst>
                                  <p:childTnLst>
                                    <p:set>
                                      <p:cBhvr>
                                        <p:cTn id="28" dur="1" fill="hold">
                                          <p:stCondLst>
                                            <p:cond delay="0"/>
                                          </p:stCondLst>
                                        </p:cTn>
                                        <p:tgtEl>
                                          <p:spTgt spid="141"/>
                                        </p:tgtEl>
                                        <p:attrNameLst>
                                          <p:attrName>style.visibility</p:attrName>
                                        </p:attrNameLst>
                                      </p:cBhvr>
                                      <p:to>
                                        <p:strVal val="visible"/>
                                      </p:to>
                                    </p:set>
                                    <p:animEffect transition="in" filter="wipe(left)">
                                      <p:cBhvr>
                                        <p:cTn id="29" dur="500"/>
                                        <p:tgtEl>
                                          <p:spTgt spid="141"/>
                                        </p:tgtEl>
                                      </p:cBhvr>
                                    </p:animEffect>
                                  </p:childTnLst>
                                </p:cTn>
                              </p:par>
                            </p:childTnLst>
                          </p:cTn>
                        </p:par>
                        <p:par>
                          <p:cTn id="30" fill="hold">
                            <p:stCondLst>
                              <p:cond delay="3000"/>
                            </p:stCondLst>
                            <p:childTnLst>
                              <p:par>
                                <p:cTn id="31" presetID="10" presetClass="entr" presetSubtype="0" fill="hold" nodeType="afterEffect">
                                  <p:stCondLst>
                                    <p:cond delay="0"/>
                                  </p:stCondLst>
                                  <p:childTnLst>
                                    <p:set>
                                      <p:cBhvr>
                                        <p:cTn id="32" dur="1" fill="hold">
                                          <p:stCondLst>
                                            <p:cond delay="0"/>
                                          </p:stCondLst>
                                        </p:cTn>
                                        <p:tgtEl>
                                          <p:spTgt spid="121"/>
                                        </p:tgtEl>
                                        <p:attrNameLst>
                                          <p:attrName>style.visibility</p:attrName>
                                        </p:attrNameLst>
                                      </p:cBhvr>
                                      <p:to>
                                        <p:strVal val="visible"/>
                                      </p:to>
                                    </p:set>
                                    <p:animEffect transition="in" filter="fade">
                                      <p:cBhvr>
                                        <p:cTn id="33" dur="500"/>
                                        <p:tgtEl>
                                          <p:spTgt spid="12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0" grpId="0"/>
    </p:bld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DL Store: Azure</a:t>
            </a:r>
            <a:br>
              <a:rPr lang="en-US" dirty="0"/>
            </a:br>
            <a:r>
              <a:rPr lang="en-US" dirty="0"/>
              <a:t>Portal integration</a:t>
            </a:r>
          </a:p>
        </p:txBody>
      </p:sp>
      <p:grpSp>
        <p:nvGrpSpPr>
          <p:cNvPr id="336" name="Group 335"/>
          <p:cNvGrpSpPr/>
          <p:nvPr/>
        </p:nvGrpSpPr>
        <p:grpSpPr>
          <a:xfrm>
            <a:off x="7538283" y="1067152"/>
            <a:ext cx="4445331" cy="5535723"/>
            <a:chOff x="6867657" y="232658"/>
            <a:chExt cx="5085929" cy="6333453"/>
          </a:xfrm>
        </p:grpSpPr>
        <p:sp>
          <p:nvSpPr>
            <p:cNvPr id="172" name="Rounded Rectangle 171"/>
            <p:cNvSpPr/>
            <p:nvPr/>
          </p:nvSpPr>
          <p:spPr bwMode="auto">
            <a:xfrm>
              <a:off x="8989913" y="2734956"/>
              <a:ext cx="73152" cy="731520"/>
            </a:xfrm>
            <a:prstGeom prst="roundRect">
              <a:avLst>
                <a:gd name="adj" fmla="val 50000"/>
              </a:avLst>
            </a:prstGeom>
            <a:solidFill>
              <a:srgbClr val="00BCF2">
                <a:lumMod val="40000"/>
                <a:lumOff val="60000"/>
              </a:srgbClr>
            </a:solidFill>
            <a:ln w="9525" cap="flat" cmpd="sng" algn="ctr">
              <a:noFill/>
              <a:prstDash val="solid"/>
              <a:headEnd type="none" w="med" len="med"/>
              <a:tailEnd type="none" w="med" len="med"/>
            </a:ln>
            <a:effectLst/>
          </p:spPr>
          <p:txBody>
            <a:bodyPr rot="0" spcFirstLastPara="0" vertOverflow="overflow" horzOverflow="overflow" vert="horz" wrap="square" lIns="182806" tIns="146246" rIns="182806" bIns="146246" numCol="1" spcCol="0" rtlCol="0" fromWordArt="0" anchor="ctr" anchorCtr="0" forceAA="0" compatLnSpc="1">
              <a:prstTxWarp prst="textNoShape">
                <a:avLst/>
              </a:prstTxWarp>
              <a:noAutofit/>
            </a:bodyPr>
            <a:lstStyle/>
            <a:p>
              <a:pPr marL="0" marR="0" lvl="0" indent="0" algn="ctr" defTabSz="832316" eaLnBrk="1" fontAlgn="base" latinLnBrk="0" hangingPunct="1">
                <a:lnSpc>
                  <a:spcPct val="100000"/>
                </a:lnSpc>
                <a:spcBef>
                  <a:spcPct val="0"/>
                </a:spcBef>
                <a:spcAft>
                  <a:spcPct val="0"/>
                </a:spcAft>
                <a:buClrTx/>
                <a:buSzTx/>
                <a:buFontTx/>
                <a:buNone/>
                <a:tabLst/>
                <a:defRPr/>
              </a:pPr>
              <a:endParaRPr kumimoji="0" lang="en-US" sz="1399" b="0" i="0" u="none" strike="noStrike" kern="0" cap="none" spc="0" normalizeH="0" baseline="0" noProof="0" dirty="0">
                <a:ln>
                  <a:noFill/>
                </a:ln>
                <a:solidFill>
                  <a:srgbClr val="FFFFFF"/>
                </a:solidFill>
                <a:effectLst/>
                <a:uLnTx/>
                <a:uFillTx/>
                <a:latin typeface="Segoe UI"/>
                <a:ea typeface="Segoe UI" pitchFamily="34" charset="0"/>
                <a:cs typeface="Segoe UI" pitchFamily="34" charset="0"/>
              </a:endParaRPr>
            </a:p>
          </p:txBody>
        </p:sp>
        <p:sp>
          <p:nvSpPr>
            <p:cNvPr id="173" name="Rounded Rectangle 172"/>
            <p:cNvSpPr/>
            <p:nvPr/>
          </p:nvSpPr>
          <p:spPr bwMode="auto">
            <a:xfrm>
              <a:off x="10345523" y="2728798"/>
              <a:ext cx="73152" cy="365760"/>
            </a:xfrm>
            <a:prstGeom prst="roundRect">
              <a:avLst>
                <a:gd name="adj" fmla="val 50000"/>
              </a:avLst>
            </a:prstGeom>
            <a:solidFill>
              <a:srgbClr val="00D8CC"/>
            </a:solidFill>
            <a:ln w="9525" cap="flat" cmpd="sng" algn="ctr">
              <a:noFill/>
              <a:prstDash val="solid"/>
              <a:headEnd type="none" w="med" len="med"/>
              <a:tailEnd type="none" w="med" len="med"/>
            </a:ln>
            <a:effectLst/>
          </p:spPr>
          <p:txBody>
            <a:bodyPr rot="0" spcFirstLastPara="0" vertOverflow="overflow" horzOverflow="overflow" vert="horz" wrap="square" lIns="182806" tIns="146246" rIns="182806" bIns="146246" numCol="1" spcCol="0" rtlCol="0" fromWordArt="0" anchor="ctr" anchorCtr="0" forceAA="0" compatLnSpc="1">
              <a:prstTxWarp prst="textNoShape">
                <a:avLst/>
              </a:prstTxWarp>
              <a:noAutofit/>
            </a:bodyPr>
            <a:lstStyle/>
            <a:p>
              <a:pPr marL="0" marR="0" lvl="0" indent="0" algn="ctr" defTabSz="832316" eaLnBrk="1" fontAlgn="base" latinLnBrk="0" hangingPunct="1">
                <a:lnSpc>
                  <a:spcPct val="100000"/>
                </a:lnSpc>
                <a:spcBef>
                  <a:spcPct val="0"/>
                </a:spcBef>
                <a:spcAft>
                  <a:spcPct val="0"/>
                </a:spcAft>
                <a:buClrTx/>
                <a:buSzTx/>
                <a:buFontTx/>
                <a:buNone/>
                <a:tabLst/>
                <a:defRPr/>
              </a:pPr>
              <a:endParaRPr kumimoji="0" lang="en-US" sz="1399" b="0" i="0" u="none" strike="noStrike" kern="0" cap="none" spc="0" normalizeH="0" baseline="0" noProof="0" dirty="0">
                <a:ln>
                  <a:noFill/>
                </a:ln>
                <a:solidFill>
                  <a:srgbClr val="FFFFFF"/>
                </a:solidFill>
                <a:effectLst/>
                <a:uLnTx/>
                <a:uFillTx/>
                <a:latin typeface="Segoe UI"/>
                <a:ea typeface="Segoe UI" pitchFamily="34" charset="0"/>
                <a:cs typeface="Segoe UI" pitchFamily="34" charset="0"/>
              </a:endParaRPr>
            </a:p>
          </p:txBody>
        </p:sp>
        <p:sp>
          <p:nvSpPr>
            <p:cNvPr id="174" name="Rounded Rectangle 173"/>
            <p:cNvSpPr/>
            <p:nvPr/>
          </p:nvSpPr>
          <p:spPr bwMode="auto">
            <a:xfrm>
              <a:off x="9865922" y="2631519"/>
              <a:ext cx="73152" cy="1263941"/>
            </a:xfrm>
            <a:prstGeom prst="roundRect">
              <a:avLst>
                <a:gd name="adj" fmla="val 50000"/>
              </a:avLst>
            </a:prstGeom>
            <a:solidFill>
              <a:srgbClr val="00BCF2">
                <a:lumMod val="60000"/>
                <a:lumOff val="40000"/>
              </a:srgbClr>
            </a:solidFill>
            <a:ln w="9525" cap="flat" cmpd="sng" algn="ctr">
              <a:noFill/>
              <a:prstDash val="solid"/>
              <a:headEnd type="none" w="med" len="med"/>
              <a:tailEnd type="none" w="med" len="med"/>
            </a:ln>
            <a:effectLst/>
          </p:spPr>
          <p:txBody>
            <a:bodyPr rot="0" spcFirstLastPara="0" vertOverflow="overflow" horzOverflow="overflow" vert="horz" wrap="square" lIns="182806" tIns="146246" rIns="182806" bIns="146246" numCol="1" spcCol="0" rtlCol="0" fromWordArt="0" anchor="ctr" anchorCtr="0" forceAA="0" compatLnSpc="1">
              <a:prstTxWarp prst="textNoShape">
                <a:avLst/>
              </a:prstTxWarp>
              <a:noAutofit/>
            </a:bodyPr>
            <a:lstStyle/>
            <a:p>
              <a:pPr marL="0" marR="0" lvl="0" indent="0" algn="ctr" defTabSz="832316" eaLnBrk="1" fontAlgn="base" latinLnBrk="0" hangingPunct="1">
                <a:lnSpc>
                  <a:spcPct val="100000"/>
                </a:lnSpc>
                <a:spcBef>
                  <a:spcPct val="0"/>
                </a:spcBef>
                <a:spcAft>
                  <a:spcPct val="0"/>
                </a:spcAft>
                <a:buClrTx/>
                <a:buSzTx/>
                <a:buFontTx/>
                <a:buNone/>
                <a:tabLst/>
                <a:defRPr/>
              </a:pPr>
              <a:endParaRPr kumimoji="0" lang="en-US" sz="1399" b="0" i="0" u="none" strike="noStrike" kern="0" cap="none" spc="0" normalizeH="0" baseline="0" noProof="0" dirty="0">
                <a:ln>
                  <a:noFill/>
                </a:ln>
                <a:solidFill>
                  <a:srgbClr val="FFFFFF"/>
                </a:solidFill>
                <a:effectLst/>
                <a:uLnTx/>
                <a:uFillTx/>
                <a:latin typeface="Segoe UI"/>
                <a:ea typeface="Segoe UI" pitchFamily="34" charset="0"/>
                <a:cs typeface="Segoe UI" pitchFamily="34" charset="0"/>
              </a:endParaRPr>
            </a:p>
          </p:txBody>
        </p:sp>
        <p:sp>
          <p:nvSpPr>
            <p:cNvPr id="175" name="Rounded Rectangle 174"/>
            <p:cNvSpPr/>
            <p:nvPr/>
          </p:nvSpPr>
          <p:spPr bwMode="auto">
            <a:xfrm>
              <a:off x="8379690" y="2631520"/>
              <a:ext cx="73152" cy="1280160"/>
            </a:xfrm>
            <a:prstGeom prst="roundRect">
              <a:avLst>
                <a:gd name="adj" fmla="val 50000"/>
              </a:avLst>
            </a:prstGeom>
            <a:solidFill>
              <a:srgbClr val="00BCF2">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182806" tIns="146246" rIns="182806" bIns="146246" numCol="1" spcCol="0" rtlCol="0" fromWordArt="0" anchor="ctr" anchorCtr="0" forceAA="0" compatLnSpc="1">
              <a:prstTxWarp prst="textNoShape">
                <a:avLst/>
              </a:prstTxWarp>
              <a:noAutofit/>
            </a:bodyPr>
            <a:lstStyle/>
            <a:p>
              <a:pPr marL="0" marR="0" lvl="0" indent="0" algn="ctr" defTabSz="832316" eaLnBrk="1" fontAlgn="base" latinLnBrk="0" hangingPunct="1">
                <a:lnSpc>
                  <a:spcPct val="100000"/>
                </a:lnSpc>
                <a:spcBef>
                  <a:spcPct val="0"/>
                </a:spcBef>
                <a:spcAft>
                  <a:spcPct val="0"/>
                </a:spcAft>
                <a:buClrTx/>
                <a:buSzTx/>
                <a:buFontTx/>
                <a:buNone/>
                <a:tabLst/>
                <a:defRPr/>
              </a:pPr>
              <a:endParaRPr kumimoji="0" lang="en-US" sz="1399" b="0" i="0" u="none" strike="noStrike" kern="0" cap="none" spc="0" normalizeH="0" baseline="0" noProof="0" dirty="0">
                <a:ln>
                  <a:noFill/>
                </a:ln>
                <a:solidFill>
                  <a:srgbClr val="FFFFFF"/>
                </a:solidFill>
                <a:effectLst/>
                <a:uLnTx/>
                <a:uFillTx/>
                <a:latin typeface="Segoe UI"/>
                <a:ea typeface="Segoe UI" pitchFamily="34" charset="0"/>
                <a:cs typeface="Segoe UI" pitchFamily="34" charset="0"/>
              </a:endParaRPr>
            </a:p>
          </p:txBody>
        </p:sp>
        <p:sp>
          <p:nvSpPr>
            <p:cNvPr id="176" name="Rounded Rectangle 175"/>
            <p:cNvSpPr/>
            <p:nvPr/>
          </p:nvSpPr>
          <p:spPr bwMode="auto">
            <a:xfrm>
              <a:off x="7738340" y="2631520"/>
              <a:ext cx="73152" cy="2011680"/>
            </a:xfrm>
            <a:prstGeom prst="roundRect">
              <a:avLst>
                <a:gd name="adj" fmla="val 50000"/>
              </a:avLst>
            </a:prstGeom>
            <a:solidFill>
              <a:srgbClr val="00BCF2">
                <a:lumMod val="75000"/>
              </a:srgbClr>
            </a:solidFill>
            <a:ln w="9525" cap="flat" cmpd="sng" algn="ctr">
              <a:noFill/>
              <a:prstDash val="solid"/>
              <a:headEnd type="none" w="med" len="med"/>
              <a:tailEnd type="none" w="med" len="med"/>
            </a:ln>
            <a:effectLst/>
          </p:spPr>
          <p:txBody>
            <a:bodyPr rot="0" spcFirstLastPara="0" vertOverflow="overflow" horzOverflow="overflow" vert="horz" wrap="square" lIns="182806" tIns="146246" rIns="182806" bIns="146246" numCol="1" spcCol="0" rtlCol="0" fromWordArt="0" anchor="ctr" anchorCtr="0" forceAA="0" compatLnSpc="1">
              <a:prstTxWarp prst="textNoShape">
                <a:avLst/>
              </a:prstTxWarp>
              <a:noAutofit/>
            </a:bodyPr>
            <a:lstStyle/>
            <a:p>
              <a:pPr marL="0" marR="0" lvl="0" indent="0" algn="ctr" defTabSz="832316" eaLnBrk="1" fontAlgn="base" latinLnBrk="0" hangingPunct="1">
                <a:lnSpc>
                  <a:spcPct val="100000"/>
                </a:lnSpc>
                <a:spcBef>
                  <a:spcPct val="0"/>
                </a:spcBef>
                <a:spcAft>
                  <a:spcPct val="0"/>
                </a:spcAft>
                <a:buClrTx/>
                <a:buSzTx/>
                <a:buFontTx/>
                <a:buNone/>
                <a:tabLst/>
                <a:defRPr/>
              </a:pPr>
              <a:endParaRPr kumimoji="0" lang="en-US" sz="1399" b="0" i="0" u="none" strike="noStrike" kern="0" cap="none" spc="0" normalizeH="0" baseline="0" noProof="0" dirty="0">
                <a:ln>
                  <a:noFill/>
                </a:ln>
                <a:solidFill>
                  <a:srgbClr val="FFFFFF"/>
                </a:solidFill>
                <a:effectLst/>
                <a:uLnTx/>
                <a:uFillTx/>
                <a:latin typeface="Segoe UI"/>
                <a:ea typeface="Segoe UI" pitchFamily="34" charset="0"/>
                <a:cs typeface="Segoe UI" pitchFamily="34" charset="0"/>
              </a:endParaRPr>
            </a:p>
          </p:txBody>
        </p:sp>
        <p:sp>
          <p:nvSpPr>
            <p:cNvPr id="177" name="Freeform 5"/>
            <p:cNvSpPr>
              <a:spLocks/>
            </p:cNvSpPr>
            <p:nvPr/>
          </p:nvSpPr>
          <p:spPr bwMode="auto">
            <a:xfrm>
              <a:off x="7090739" y="232658"/>
              <a:ext cx="4404162" cy="2503654"/>
            </a:xfrm>
            <a:custGeom>
              <a:avLst/>
              <a:gdLst>
                <a:gd name="T0" fmla="*/ 187 w 224"/>
                <a:gd name="T1" fmla="*/ 53 h 126"/>
                <a:gd name="T2" fmla="*/ 183 w 224"/>
                <a:gd name="T3" fmla="*/ 53 h 126"/>
                <a:gd name="T4" fmla="*/ 187 w 224"/>
                <a:gd name="T5" fmla="*/ 37 h 126"/>
                <a:gd name="T6" fmla="*/ 150 w 224"/>
                <a:gd name="T7" fmla="*/ 0 h 126"/>
                <a:gd name="T8" fmla="*/ 114 w 224"/>
                <a:gd name="T9" fmla="*/ 32 h 126"/>
                <a:gd name="T10" fmla="*/ 86 w 224"/>
                <a:gd name="T11" fmla="*/ 20 h 126"/>
                <a:gd name="T12" fmla="*/ 49 w 224"/>
                <a:gd name="T13" fmla="*/ 55 h 126"/>
                <a:gd name="T14" fmla="*/ 37 w 224"/>
                <a:gd name="T15" fmla="*/ 53 h 126"/>
                <a:gd name="T16" fmla="*/ 0 w 224"/>
                <a:gd name="T17" fmla="*/ 90 h 126"/>
                <a:gd name="T18" fmla="*/ 37 w 224"/>
                <a:gd name="T19" fmla="*/ 126 h 126"/>
                <a:gd name="T20" fmla="*/ 187 w 224"/>
                <a:gd name="T21" fmla="*/ 126 h 126"/>
                <a:gd name="T22" fmla="*/ 224 w 224"/>
                <a:gd name="T23" fmla="*/ 90 h 126"/>
                <a:gd name="T24" fmla="*/ 187 w 224"/>
                <a:gd name="T25" fmla="*/ 53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4" h="126">
                  <a:moveTo>
                    <a:pt x="187" y="53"/>
                  </a:moveTo>
                  <a:cubicBezTo>
                    <a:pt x="186" y="53"/>
                    <a:pt x="184" y="53"/>
                    <a:pt x="183" y="53"/>
                  </a:cubicBezTo>
                  <a:cubicBezTo>
                    <a:pt x="185" y="48"/>
                    <a:pt x="187" y="42"/>
                    <a:pt x="187" y="37"/>
                  </a:cubicBezTo>
                  <a:cubicBezTo>
                    <a:pt x="187" y="16"/>
                    <a:pt x="170" y="0"/>
                    <a:pt x="150" y="0"/>
                  </a:cubicBezTo>
                  <a:cubicBezTo>
                    <a:pt x="131" y="0"/>
                    <a:pt x="116" y="14"/>
                    <a:pt x="114" y="32"/>
                  </a:cubicBezTo>
                  <a:cubicBezTo>
                    <a:pt x="107" y="25"/>
                    <a:pt x="97" y="20"/>
                    <a:pt x="86" y="20"/>
                  </a:cubicBezTo>
                  <a:cubicBezTo>
                    <a:pt x="67" y="20"/>
                    <a:pt x="50" y="36"/>
                    <a:pt x="49" y="55"/>
                  </a:cubicBezTo>
                  <a:cubicBezTo>
                    <a:pt x="45" y="54"/>
                    <a:pt x="41" y="53"/>
                    <a:pt x="37" y="53"/>
                  </a:cubicBezTo>
                  <a:cubicBezTo>
                    <a:pt x="16" y="53"/>
                    <a:pt x="0" y="69"/>
                    <a:pt x="0" y="90"/>
                  </a:cubicBezTo>
                  <a:cubicBezTo>
                    <a:pt x="0" y="110"/>
                    <a:pt x="16" y="126"/>
                    <a:pt x="37" y="126"/>
                  </a:cubicBezTo>
                  <a:cubicBezTo>
                    <a:pt x="187" y="126"/>
                    <a:pt x="187" y="126"/>
                    <a:pt x="187" y="126"/>
                  </a:cubicBezTo>
                  <a:cubicBezTo>
                    <a:pt x="207" y="126"/>
                    <a:pt x="224" y="110"/>
                    <a:pt x="224" y="90"/>
                  </a:cubicBezTo>
                  <a:cubicBezTo>
                    <a:pt x="224" y="69"/>
                    <a:pt x="207" y="53"/>
                    <a:pt x="187" y="53"/>
                  </a:cubicBezTo>
                  <a:close/>
                </a:path>
              </a:pathLst>
            </a:custGeom>
            <a:solidFill>
              <a:srgbClr val="FFFFFF"/>
            </a:solidFill>
            <a:ln w="76200">
              <a:solidFill>
                <a:srgbClr val="00BCF2"/>
              </a:solid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178" name="Rounded Rectangle 177"/>
            <p:cNvSpPr/>
            <p:nvPr/>
          </p:nvSpPr>
          <p:spPr bwMode="auto">
            <a:xfrm rot="5400000">
              <a:off x="9575550" y="2732837"/>
              <a:ext cx="72725" cy="3747147"/>
            </a:xfrm>
            <a:prstGeom prst="roundRect">
              <a:avLst>
                <a:gd name="adj" fmla="val 50000"/>
              </a:avLst>
            </a:prstGeom>
            <a:solidFill>
              <a:srgbClr val="00BCF2">
                <a:lumMod val="75000"/>
              </a:srgbClr>
            </a:solidFill>
            <a:ln w="9525" cap="flat" cmpd="sng" algn="ctr">
              <a:noFill/>
              <a:prstDash val="solid"/>
              <a:headEnd type="none" w="med" len="med"/>
              <a:tailEnd type="none" w="med" len="med"/>
            </a:ln>
            <a:effectLst/>
          </p:spPr>
          <p:txBody>
            <a:bodyPr rot="0" spcFirstLastPara="0" vertOverflow="overflow" horzOverflow="overflow" vert="horz" wrap="square" lIns="182806" tIns="146246" rIns="182806" bIns="146246" numCol="1" spcCol="0" rtlCol="0" fromWordArt="0" anchor="ctr" anchorCtr="0" forceAA="0" compatLnSpc="1">
              <a:prstTxWarp prst="textNoShape">
                <a:avLst/>
              </a:prstTxWarp>
              <a:noAutofit/>
            </a:bodyPr>
            <a:lstStyle/>
            <a:p>
              <a:pPr marL="0" marR="0" lvl="0" indent="0" algn="ctr" defTabSz="832316" eaLnBrk="1" fontAlgn="base" latinLnBrk="0" hangingPunct="1">
                <a:lnSpc>
                  <a:spcPct val="100000"/>
                </a:lnSpc>
                <a:spcBef>
                  <a:spcPct val="0"/>
                </a:spcBef>
                <a:spcAft>
                  <a:spcPct val="0"/>
                </a:spcAft>
                <a:buClrTx/>
                <a:buSzTx/>
                <a:buFontTx/>
                <a:buNone/>
                <a:tabLst/>
                <a:defRPr/>
              </a:pPr>
              <a:endParaRPr kumimoji="0" lang="en-US" sz="1399" b="0" i="0" u="none" strike="noStrike" kern="0" cap="none" spc="0" normalizeH="0" baseline="0" noProof="0" dirty="0">
                <a:ln>
                  <a:noFill/>
                </a:ln>
                <a:solidFill>
                  <a:srgbClr val="FFFFFF"/>
                </a:solidFill>
                <a:effectLst/>
                <a:uLnTx/>
                <a:uFillTx/>
                <a:latin typeface="Segoe UI"/>
                <a:ea typeface="Segoe UI" pitchFamily="34" charset="0"/>
                <a:cs typeface="Segoe UI" pitchFamily="34" charset="0"/>
              </a:endParaRPr>
            </a:p>
          </p:txBody>
        </p:sp>
        <p:sp>
          <p:nvSpPr>
            <p:cNvPr id="179" name="Rounded Rectangle 178"/>
            <p:cNvSpPr/>
            <p:nvPr/>
          </p:nvSpPr>
          <p:spPr bwMode="auto">
            <a:xfrm rot="5400000">
              <a:off x="8714406" y="3503812"/>
              <a:ext cx="73152" cy="742584"/>
            </a:xfrm>
            <a:prstGeom prst="roundRect">
              <a:avLst>
                <a:gd name="adj" fmla="val 50000"/>
              </a:avLst>
            </a:prstGeom>
            <a:solidFill>
              <a:srgbClr val="00BCF2">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182806" tIns="146246" rIns="182806" bIns="146246" numCol="1" spcCol="0" rtlCol="0" fromWordArt="0" anchor="ctr" anchorCtr="0" forceAA="0" compatLnSpc="1">
              <a:prstTxWarp prst="textNoShape">
                <a:avLst/>
              </a:prstTxWarp>
              <a:noAutofit/>
            </a:bodyPr>
            <a:lstStyle/>
            <a:p>
              <a:pPr marL="0" marR="0" lvl="0" indent="0" algn="ctr" defTabSz="832316" eaLnBrk="1" fontAlgn="base" latinLnBrk="0" hangingPunct="1">
                <a:lnSpc>
                  <a:spcPct val="100000"/>
                </a:lnSpc>
                <a:spcBef>
                  <a:spcPct val="0"/>
                </a:spcBef>
                <a:spcAft>
                  <a:spcPct val="0"/>
                </a:spcAft>
                <a:buClrTx/>
                <a:buSzTx/>
                <a:buFontTx/>
                <a:buNone/>
                <a:tabLst/>
                <a:defRPr/>
              </a:pPr>
              <a:endParaRPr kumimoji="0" lang="en-US" sz="1399" b="0" i="0" u="none" strike="noStrike" kern="0" cap="none" spc="0" normalizeH="0" baseline="0" noProof="0" dirty="0">
                <a:ln>
                  <a:noFill/>
                </a:ln>
                <a:solidFill>
                  <a:srgbClr val="FFFFFF"/>
                </a:solidFill>
                <a:effectLst/>
                <a:uLnTx/>
                <a:uFillTx/>
                <a:latin typeface="Segoe UI"/>
                <a:ea typeface="Segoe UI" pitchFamily="34" charset="0"/>
                <a:cs typeface="Segoe UI" pitchFamily="34" charset="0"/>
              </a:endParaRPr>
            </a:p>
          </p:txBody>
        </p:sp>
        <p:sp>
          <p:nvSpPr>
            <p:cNvPr id="180" name="Rounded Rectangle 179"/>
            <p:cNvSpPr/>
            <p:nvPr/>
          </p:nvSpPr>
          <p:spPr bwMode="auto">
            <a:xfrm>
              <a:off x="9049122" y="3838528"/>
              <a:ext cx="73152" cy="1645920"/>
            </a:xfrm>
            <a:prstGeom prst="roundRect">
              <a:avLst>
                <a:gd name="adj" fmla="val 50000"/>
              </a:avLst>
            </a:prstGeom>
            <a:solidFill>
              <a:srgbClr val="00BCF2">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182806" tIns="146246" rIns="182806" bIns="146246" numCol="1" spcCol="0" rtlCol="0" fromWordArt="0" anchor="ctr" anchorCtr="0" forceAA="0" compatLnSpc="1">
              <a:prstTxWarp prst="textNoShape">
                <a:avLst/>
              </a:prstTxWarp>
              <a:noAutofit/>
            </a:bodyPr>
            <a:lstStyle/>
            <a:p>
              <a:pPr marL="0" marR="0" lvl="0" indent="0" algn="ctr" defTabSz="832316" eaLnBrk="1" fontAlgn="base" latinLnBrk="0" hangingPunct="1">
                <a:lnSpc>
                  <a:spcPct val="100000"/>
                </a:lnSpc>
                <a:spcBef>
                  <a:spcPct val="0"/>
                </a:spcBef>
                <a:spcAft>
                  <a:spcPct val="0"/>
                </a:spcAft>
                <a:buClrTx/>
                <a:buSzTx/>
                <a:buFontTx/>
                <a:buNone/>
                <a:tabLst/>
                <a:defRPr/>
              </a:pPr>
              <a:endParaRPr kumimoji="0" lang="en-US" sz="1399" b="0" i="0" u="none" strike="noStrike" kern="0" cap="none" spc="0" normalizeH="0" baseline="0" noProof="0" dirty="0">
                <a:ln>
                  <a:noFill/>
                </a:ln>
                <a:solidFill>
                  <a:srgbClr val="FFFFFF"/>
                </a:solidFill>
                <a:effectLst/>
                <a:uLnTx/>
                <a:uFillTx/>
                <a:latin typeface="Segoe UI"/>
                <a:ea typeface="Segoe UI" pitchFamily="34" charset="0"/>
                <a:cs typeface="Segoe UI" pitchFamily="34" charset="0"/>
              </a:endParaRPr>
            </a:p>
          </p:txBody>
        </p:sp>
        <p:sp>
          <p:nvSpPr>
            <p:cNvPr id="181" name="Rounded Rectangle 180"/>
            <p:cNvSpPr/>
            <p:nvPr/>
          </p:nvSpPr>
          <p:spPr bwMode="auto">
            <a:xfrm rot="5400000">
              <a:off x="10012226" y="3676004"/>
              <a:ext cx="73152" cy="365760"/>
            </a:xfrm>
            <a:prstGeom prst="roundRect">
              <a:avLst>
                <a:gd name="adj" fmla="val 50000"/>
              </a:avLst>
            </a:prstGeom>
            <a:solidFill>
              <a:srgbClr val="00BCF2">
                <a:lumMod val="60000"/>
                <a:lumOff val="40000"/>
              </a:srgbClr>
            </a:solidFill>
            <a:ln w="9525" cap="flat" cmpd="sng" algn="ctr">
              <a:noFill/>
              <a:prstDash val="solid"/>
              <a:headEnd type="none" w="med" len="med"/>
              <a:tailEnd type="none" w="med" len="med"/>
            </a:ln>
            <a:effectLst/>
          </p:spPr>
          <p:txBody>
            <a:bodyPr rot="0" spcFirstLastPara="0" vertOverflow="overflow" horzOverflow="overflow" vert="horz" wrap="square" lIns="182806" tIns="146246" rIns="182806" bIns="146246" numCol="1" spcCol="0" rtlCol="0" fromWordArt="0" anchor="ctr" anchorCtr="0" forceAA="0" compatLnSpc="1">
              <a:prstTxWarp prst="textNoShape">
                <a:avLst/>
              </a:prstTxWarp>
              <a:noAutofit/>
            </a:bodyPr>
            <a:lstStyle/>
            <a:p>
              <a:pPr marL="0" marR="0" lvl="0" indent="0" algn="ctr" defTabSz="832316" eaLnBrk="1" fontAlgn="base" latinLnBrk="0" hangingPunct="1">
                <a:lnSpc>
                  <a:spcPct val="100000"/>
                </a:lnSpc>
                <a:spcBef>
                  <a:spcPct val="0"/>
                </a:spcBef>
                <a:spcAft>
                  <a:spcPct val="0"/>
                </a:spcAft>
                <a:buClrTx/>
                <a:buSzTx/>
                <a:buFontTx/>
                <a:buNone/>
                <a:tabLst/>
                <a:defRPr/>
              </a:pPr>
              <a:endParaRPr kumimoji="0" lang="en-US" sz="1399" b="0" i="0" u="none" strike="noStrike" kern="0" cap="none" spc="0" normalizeH="0" baseline="0" noProof="0" dirty="0">
                <a:ln>
                  <a:noFill/>
                </a:ln>
                <a:solidFill>
                  <a:srgbClr val="FFFFFF"/>
                </a:solidFill>
                <a:effectLst/>
                <a:uLnTx/>
                <a:uFillTx/>
                <a:latin typeface="Segoe UI"/>
                <a:ea typeface="Segoe UI" pitchFamily="34" charset="0"/>
                <a:cs typeface="Segoe UI" pitchFamily="34" charset="0"/>
              </a:endParaRPr>
            </a:p>
          </p:txBody>
        </p:sp>
        <p:sp>
          <p:nvSpPr>
            <p:cNvPr id="182" name="Rounded Rectangle 181"/>
            <p:cNvSpPr/>
            <p:nvPr/>
          </p:nvSpPr>
          <p:spPr bwMode="auto">
            <a:xfrm>
              <a:off x="10158530" y="3822306"/>
              <a:ext cx="73152" cy="1371600"/>
            </a:xfrm>
            <a:prstGeom prst="roundRect">
              <a:avLst>
                <a:gd name="adj" fmla="val 50000"/>
              </a:avLst>
            </a:prstGeom>
            <a:solidFill>
              <a:srgbClr val="00BCF2">
                <a:lumMod val="60000"/>
                <a:lumOff val="40000"/>
              </a:srgbClr>
            </a:solidFill>
            <a:ln w="9525" cap="flat" cmpd="sng" algn="ctr">
              <a:noFill/>
              <a:prstDash val="solid"/>
              <a:headEnd type="none" w="med" len="med"/>
              <a:tailEnd type="none" w="med" len="med"/>
            </a:ln>
            <a:effectLst/>
          </p:spPr>
          <p:txBody>
            <a:bodyPr rot="0" spcFirstLastPara="0" vertOverflow="overflow" horzOverflow="overflow" vert="horz" wrap="square" lIns="182806" tIns="146246" rIns="182806" bIns="146246" numCol="1" spcCol="0" rtlCol="0" fromWordArt="0" anchor="ctr" anchorCtr="0" forceAA="0" compatLnSpc="1">
              <a:prstTxWarp prst="textNoShape">
                <a:avLst/>
              </a:prstTxWarp>
              <a:noAutofit/>
            </a:bodyPr>
            <a:lstStyle/>
            <a:p>
              <a:pPr marL="0" marR="0" lvl="0" indent="0" algn="ctr" defTabSz="832316" eaLnBrk="1" fontAlgn="base" latinLnBrk="0" hangingPunct="1">
                <a:lnSpc>
                  <a:spcPct val="100000"/>
                </a:lnSpc>
                <a:spcBef>
                  <a:spcPct val="0"/>
                </a:spcBef>
                <a:spcAft>
                  <a:spcPct val="0"/>
                </a:spcAft>
                <a:buClrTx/>
                <a:buSzTx/>
                <a:buFontTx/>
                <a:buNone/>
                <a:tabLst/>
                <a:defRPr/>
              </a:pPr>
              <a:endParaRPr kumimoji="0" lang="en-US" sz="1399" b="0" i="0" u="none" strike="noStrike" kern="0" cap="none" spc="0" normalizeH="0" baseline="0" noProof="0" dirty="0">
                <a:ln>
                  <a:noFill/>
                </a:ln>
                <a:solidFill>
                  <a:srgbClr val="FFFFFF"/>
                </a:solidFill>
                <a:effectLst/>
                <a:uLnTx/>
                <a:uFillTx/>
                <a:latin typeface="Segoe UI"/>
                <a:ea typeface="Segoe UI" pitchFamily="34" charset="0"/>
                <a:cs typeface="Segoe UI" pitchFamily="34" charset="0"/>
              </a:endParaRPr>
            </a:p>
          </p:txBody>
        </p:sp>
        <p:sp>
          <p:nvSpPr>
            <p:cNvPr id="183" name="Rounded Rectangle 182"/>
            <p:cNvSpPr/>
            <p:nvPr/>
          </p:nvSpPr>
          <p:spPr bwMode="auto">
            <a:xfrm>
              <a:off x="11412334" y="4570048"/>
              <a:ext cx="73152" cy="822960"/>
            </a:xfrm>
            <a:prstGeom prst="roundRect">
              <a:avLst>
                <a:gd name="adj" fmla="val 50000"/>
              </a:avLst>
            </a:prstGeom>
            <a:solidFill>
              <a:srgbClr val="00BCF2">
                <a:lumMod val="75000"/>
              </a:srgbClr>
            </a:solidFill>
            <a:ln w="9525" cap="flat" cmpd="sng" algn="ctr">
              <a:noFill/>
              <a:prstDash val="solid"/>
              <a:headEnd type="none" w="med" len="med"/>
              <a:tailEnd type="none" w="med" len="med"/>
            </a:ln>
            <a:effectLst/>
          </p:spPr>
          <p:txBody>
            <a:bodyPr rot="0" spcFirstLastPara="0" vertOverflow="overflow" horzOverflow="overflow" vert="horz" wrap="square" lIns="182806" tIns="146246" rIns="182806" bIns="146246" numCol="1" spcCol="0" rtlCol="0" fromWordArt="0" anchor="ctr" anchorCtr="0" forceAA="0" compatLnSpc="1">
              <a:prstTxWarp prst="textNoShape">
                <a:avLst/>
              </a:prstTxWarp>
              <a:noAutofit/>
            </a:bodyPr>
            <a:lstStyle/>
            <a:p>
              <a:pPr marL="0" marR="0" lvl="0" indent="0" algn="ctr" defTabSz="832316" eaLnBrk="1" fontAlgn="base" latinLnBrk="0" hangingPunct="1">
                <a:lnSpc>
                  <a:spcPct val="100000"/>
                </a:lnSpc>
                <a:spcBef>
                  <a:spcPct val="0"/>
                </a:spcBef>
                <a:spcAft>
                  <a:spcPct val="0"/>
                </a:spcAft>
                <a:buClrTx/>
                <a:buSzTx/>
                <a:buFontTx/>
                <a:buNone/>
                <a:tabLst/>
                <a:defRPr/>
              </a:pPr>
              <a:endParaRPr kumimoji="0" lang="en-US" sz="1399" b="0" i="0" u="none" strike="noStrike" kern="0" cap="none" spc="0" normalizeH="0" baseline="0" noProof="0" dirty="0">
                <a:ln>
                  <a:noFill/>
                </a:ln>
                <a:solidFill>
                  <a:srgbClr val="FFFFFF"/>
                </a:solidFill>
                <a:effectLst/>
                <a:uLnTx/>
                <a:uFillTx/>
                <a:latin typeface="Segoe UI"/>
                <a:ea typeface="Segoe UI" pitchFamily="34" charset="0"/>
                <a:cs typeface="Segoe UI" pitchFamily="34" charset="0"/>
              </a:endParaRPr>
            </a:p>
          </p:txBody>
        </p:sp>
        <p:sp>
          <p:nvSpPr>
            <p:cNvPr id="184" name="Rounded Rectangle 183"/>
            <p:cNvSpPr/>
            <p:nvPr/>
          </p:nvSpPr>
          <p:spPr bwMode="auto">
            <a:xfrm rot="5400000">
              <a:off x="10811867" y="2555062"/>
              <a:ext cx="73152" cy="1005840"/>
            </a:xfrm>
            <a:prstGeom prst="roundRect">
              <a:avLst>
                <a:gd name="adj" fmla="val 50000"/>
              </a:avLst>
            </a:prstGeom>
            <a:solidFill>
              <a:srgbClr val="00D8CC"/>
            </a:solidFill>
            <a:ln w="9525" cap="flat" cmpd="sng" algn="ctr">
              <a:noFill/>
              <a:prstDash val="solid"/>
              <a:headEnd type="none" w="med" len="med"/>
              <a:tailEnd type="none" w="med" len="med"/>
            </a:ln>
            <a:effectLst/>
          </p:spPr>
          <p:txBody>
            <a:bodyPr rot="0" spcFirstLastPara="0" vertOverflow="overflow" horzOverflow="overflow" vert="horz" wrap="square" lIns="182806" tIns="146246" rIns="182806" bIns="146246" numCol="1" spcCol="0" rtlCol="0" fromWordArt="0" anchor="ctr" anchorCtr="0" forceAA="0" compatLnSpc="1">
              <a:prstTxWarp prst="textNoShape">
                <a:avLst/>
              </a:prstTxWarp>
              <a:noAutofit/>
            </a:bodyPr>
            <a:lstStyle/>
            <a:p>
              <a:pPr marL="0" marR="0" lvl="0" indent="0" algn="ctr" defTabSz="832316" eaLnBrk="1" fontAlgn="base" latinLnBrk="0" hangingPunct="1">
                <a:lnSpc>
                  <a:spcPct val="100000"/>
                </a:lnSpc>
                <a:spcBef>
                  <a:spcPct val="0"/>
                </a:spcBef>
                <a:spcAft>
                  <a:spcPct val="0"/>
                </a:spcAft>
                <a:buClrTx/>
                <a:buSzTx/>
                <a:buFontTx/>
                <a:buNone/>
                <a:tabLst/>
                <a:defRPr/>
              </a:pPr>
              <a:endParaRPr kumimoji="0" lang="en-US" sz="1399" b="0" i="0" u="none" strike="noStrike" kern="0" cap="none" spc="0" normalizeH="0" baseline="0" noProof="0" dirty="0">
                <a:ln>
                  <a:noFill/>
                </a:ln>
                <a:solidFill>
                  <a:srgbClr val="FFFFFF"/>
                </a:solidFill>
                <a:effectLst/>
                <a:uLnTx/>
                <a:uFillTx/>
                <a:latin typeface="Segoe UI"/>
                <a:ea typeface="Segoe UI" pitchFamily="34" charset="0"/>
                <a:cs typeface="Segoe UI" pitchFamily="34" charset="0"/>
              </a:endParaRPr>
            </a:p>
          </p:txBody>
        </p:sp>
        <p:sp>
          <p:nvSpPr>
            <p:cNvPr id="185" name="Rounded Rectangle 184"/>
            <p:cNvSpPr/>
            <p:nvPr/>
          </p:nvSpPr>
          <p:spPr bwMode="auto">
            <a:xfrm>
              <a:off x="11278211" y="3021406"/>
              <a:ext cx="73152" cy="1267502"/>
            </a:xfrm>
            <a:prstGeom prst="roundRect">
              <a:avLst>
                <a:gd name="adj" fmla="val 50000"/>
              </a:avLst>
            </a:prstGeom>
            <a:solidFill>
              <a:srgbClr val="00D8CC"/>
            </a:solidFill>
            <a:ln w="9525" cap="flat" cmpd="sng" algn="ctr">
              <a:noFill/>
              <a:prstDash val="solid"/>
              <a:headEnd type="none" w="med" len="med"/>
              <a:tailEnd type="none" w="med" len="med"/>
            </a:ln>
            <a:effectLst/>
          </p:spPr>
          <p:txBody>
            <a:bodyPr rot="0" spcFirstLastPara="0" vertOverflow="overflow" horzOverflow="overflow" vert="horz" wrap="square" lIns="182806" tIns="146246" rIns="182806" bIns="146246" numCol="1" spcCol="0" rtlCol="0" fromWordArt="0" anchor="ctr" anchorCtr="0" forceAA="0" compatLnSpc="1">
              <a:prstTxWarp prst="textNoShape">
                <a:avLst/>
              </a:prstTxWarp>
              <a:noAutofit/>
            </a:bodyPr>
            <a:lstStyle/>
            <a:p>
              <a:pPr marL="0" marR="0" lvl="0" indent="0" algn="ctr" defTabSz="832316" eaLnBrk="1" fontAlgn="base" latinLnBrk="0" hangingPunct="1">
                <a:lnSpc>
                  <a:spcPct val="100000"/>
                </a:lnSpc>
                <a:spcBef>
                  <a:spcPct val="0"/>
                </a:spcBef>
                <a:spcAft>
                  <a:spcPct val="0"/>
                </a:spcAft>
                <a:buClrTx/>
                <a:buSzTx/>
                <a:buFontTx/>
                <a:buNone/>
                <a:tabLst/>
                <a:defRPr/>
              </a:pPr>
              <a:endParaRPr kumimoji="0" lang="en-US" sz="1399" b="0" i="0" u="none" strike="noStrike" kern="0" cap="none" spc="0" normalizeH="0" baseline="0" noProof="0" dirty="0">
                <a:ln>
                  <a:noFill/>
                </a:ln>
                <a:solidFill>
                  <a:srgbClr val="FFFFFF"/>
                </a:solidFill>
                <a:effectLst/>
                <a:uLnTx/>
                <a:uFillTx/>
                <a:latin typeface="Segoe UI"/>
                <a:ea typeface="Segoe UI" pitchFamily="34" charset="0"/>
                <a:cs typeface="Segoe UI" pitchFamily="34" charset="0"/>
              </a:endParaRPr>
            </a:p>
          </p:txBody>
        </p:sp>
        <p:sp>
          <p:nvSpPr>
            <p:cNvPr id="186" name="Rounded Rectangle 185"/>
            <p:cNvSpPr/>
            <p:nvPr/>
          </p:nvSpPr>
          <p:spPr bwMode="auto">
            <a:xfrm rot="5400000">
              <a:off x="9372873" y="2310418"/>
              <a:ext cx="73152" cy="3883828"/>
            </a:xfrm>
            <a:prstGeom prst="roundRect">
              <a:avLst>
                <a:gd name="adj" fmla="val 50000"/>
              </a:avLst>
            </a:prstGeom>
            <a:solidFill>
              <a:srgbClr val="00D8CC"/>
            </a:solidFill>
            <a:ln w="9525" cap="flat" cmpd="sng" algn="ctr">
              <a:noFill/>
              <a:prstDash val="solid"/>
              <a:headEnd type="none" w="med" len="med"/>
              <a:tailEnd type="none" w="med" len="med"/>
            </a:ln>
            <a:effectLst/>
          </p:spPr>
          <p:txBody>
            <a:bodyPr rot="0" spcFirstLastPara="0" vertOverflow="overflow" horzOverflow="overflow" vert="horz" wrap="square" lIns="182806" tIns="146246" rIns="182806" bIns="146246" numCol="1" spcCol="0" rtlCol="0" fromWordArt="0" anchor="ctr" anchorCtr="0" forceAA="0" compatLnSpc="1">
              <a:prstTxWarp prst="textNoShape">
                <a:avLst/>
              </a:prstTxWarp>
              <a:noAutofit/>
            </a:bodyPr>
            <a:lstStyle/>
            <a:p>
              <a:pPr marL="0" marR="0" lvl="0" indent="0" algn="ctr" defTabSz="832316" eaLnBrk="1" fontAlgn="base" latinLnBrk="0" hangingPunct="1">
                <a:lnSpc>
                  <a:spcPct val="100000"/>
                </a:lnSpc>
                <a:spcBef>
                  <a:spcPct val="0"/>
                </a:spcBef>
                <a:spcAft>
                  <a:spcPct val="0"/>
                </a:spcAft>
                <a:buClrTx/>
                <a:buSzTx/>
                <a:buFontTx/>
                <a:buNone/>
                <a:tabLst/>
                <a:defRPr/>
              </a:pPr>
              <a:endParaRPr kumimoji="0" lang="en-US" sz="1399" b="0" i="0" u="none" strike="noStrike" kern="0" cap="none" spc="0" normalizeH="0" baseline="0" noProof="0" dirty="0">
                <a:ln>
                  <a:noFill/>
                </a:ln>
                <a:solidFill>
                  <a:srgbClr val="FFFFFF"/>
                </a:solidFill>
                <a:effectLst/>
                <a:uLnTx/>
                <a:uFillTx/>
                <a:latin typeface="Segoe UI"/>
                <a:ea typeface="Segoe UI" pitchFamily="34" charset="0"/>
                <a:cs typeface="Segoe UI" pitchFamily="34" charset="0"/>
              </a:endParaRPr>
            </a:p>
          </p:txBody>
        </p:sp>
        <p:sp>
          <p:nvSpPr>
            <p:cNvPr id="187" name="Rounded Rectangle 186"/>
            <p:cNvSpPr/>
            <p:nvPr/>
          </p:nvSpPr>
          <p:spPr bwMode="auto">
            <a:xfrm>
              <a:off x="7467535" y="4215756"/>
              <a:ext cx="73152" cy="1554480"/>
            </a:xfrm>
            <a:prstGeom prst="roundRect">
              <a:avLst>
                <a:gd name="adj" fmla="val 50000"/>
              </a:avLst>
            </a:prstGeom>
            <a:solidFill>
              <a:srgbClr val="00D8CC"/>
            </a:solidFill>
            <a:ln w="9525" cap="flat" cmpd="sng" algn="ctr">
              <a:noFill/>
              <a:prstDash val="solid"/>
              <a:headEnd type="none" w="med" len="med"/>
              <a:tailEnd type="none" w="med" len="med"/>
            </a:ln>
            <a:effectLst/>
          </p:spPr>
          <p:txBody>
            <a:bodyPr rot="0" spcFirstLastPara="0" vertOverflow="overflow" horzOverflow="overflow" vert="horz" wrap="square" lIns="182806" tIns="146246" rIns="182806" bIns="146246" numCol="1" spcCol="0" rtlCol="0" fromWordArt="0" anchor="ctr" anchorCtr="0" forceAA="0" compatLnSpc="1">
              <a:prstTxWarp prst="textNoShape">
                <a:avLst/>
              </a:prstTxWarp>
              <a:noAutofit/>
            </a:bodyPr>
            <a:lstStyle/>
            <a:p>
              <a:pPr marL="0" marR="0" lvl="0" indent="0" algn="ctr" defTabSz="832316" eaLnBrk="1" fontAlgn="base" latinLnBrk="0" hangingPunct="1">
                <a:lnSpc>
                  <a:spcPct val="100000"/>
                </a:lnSpc>
                <a:spcBef>
                  <a:spcPct val="0"/>
                </a:spcBef>
                <a:spcAft>
                  <a:spcPct val="0"/>
                </a:spcAft>
                <a:buClrTx/>
                <a:buSzTx/>
                <a:buFontTx/>
                <a:buNone/>
                <a:tabLst/>
                <a:defRPr/>
              </a:pPr>
              <a:endParaRPr kumimoji="0" lang="en-US" sz="1399" b="0" i="0" u="none" strike="noStrike" kern="0" cap="none" spc="0" normalizeH="0" baseline="0" noProof="0" dirty="0">
                <a:ln>
                  <a:noFill/>
                </a:ln>
                <a:solidFill>
                  <a:srgbClr val="FFFFFF"/>
                </a:solidFill>
                <a:effectLst/>
                <a:uLnTx/>
                <a:uFillTx/>
                <a:latin typeface="Segoe UI"/>
                <a:ea typeface="Segoe UI" pitchFamily="34" charset="0"/>
                <a:cs typeface="Segoe UI" pitchFamily="34" charset="0"/>
              </a:endParaRPr>
            </a:p>
          </p:txBody>
        </p:sp>
        <p:sp>
          <p:nvSpPr>
            <p:cNvPr id="188" name="Rounded Rectangle 187"/>
            <p:cNvSpPr/>
            <p:nvPr/>
          </p:nvSpPr>
          <p:spPr bwMode="auto">
            <a:xfrm rot="5400000">
              <a:off x="9636597" y="2744100"/>
              <a:ext cx="73152" cy="1371600"/>
            </a:xfrm>
            <a:prstGeom prst="roundRect">
              <a:avLst>
                <a:gd name="adj" fmla="val 50000"/>
              </a:avLst>
            </a:prstGeom>
            <a:solidFill>
              <a:srgbClr val="00BCF2">
                <a:lumMod val="40000"/>
                <a:lumOff val="60000"/>
              </a:srgbClr>
            </a:solidFill>
            <a:ln w="9525" cap="flat" cmpd="sng" algn="ctr">
              <a:noFill/>
              <a:prstDash val="solid"/>
              <a:headEnd type="none" w="med" len="med"/>
              <a:tailEnd type="none" w="med" len="med"/>
            </a:ln>
            <a:effectLst/>
          </p:spPr>
          <p:txBody>
            <a:bodyPr rot="0" spcFirstLastPara="0" vertOverflow="overflow" horzOverflow="overflow" vert="horz" wrap="square" lIns="182806" tIns="146246" rIns="182806" bIns="146246" numCol="1" spcCol="0" rtlCol="0" fromWordArt="0" anchor="ctr" anchorCtr="0" forceAA="0" compatLnSpc="1">
              <a:prstTxWarp prst="textNoShape">
                <a:avLst/>
              </a:prstTxWarp>
              <a:noAutofit/>
            </a:bodyPr>
            <a:lstStyle/>
            <a:p>
              <a:pPr marL="0" marR="0" lvl="0" indent="0" algn="ctr" defTabSz="832316" eaLnBrk="1" fontAlgn="base" latinLnBrk="0" hangingPunct="1">
                <a:lnSpc>
                  <a:spcPct val="100000"/>
                </a:lnSpc>
                <a:spcBef>
                  <a:spcPct val="0"/>
                </a:spcBef>
                <a:spcAft>
                  <a:spcPct val="0"/>
                </a:spcAft>
                <a:buClrTx/>
                <a:buSzTx/>
                <a:buFontTx/>
                <a:buNone/>
                <a:tabLst/>
                <a:defRPr/>
              </a:pPr>
              <a:endParaRPr kumimoji="0" lang="en-US" sz="1399" b="0" i="0" u="none" strike="noStrike" kern="0" cap="none" spc="0" normalizeH="0" baseline="0" noProof="0" dirty="0">
                <a:ln>
                  <a:noFill/>
                </a:ln>
                <a:solidFill>
                  <a:srgbClr val="FFFFFF"/>
                </a:solidFill>
                <a:effectLst/>
                <a:uLnTx/>
                <a:uFillTx/>
                <a:latin typeface="Segoe UI"/>
                <a:ea typeface="Segoe UI" pitchFamily="34" charset="0"/>
                <a:cs typeface="Segoe UI" pitchFamily="34" charset="0"/>
              </a:endParaRPr>
            </a:p>
          </p:txBody>
        </p:sp>
        <p:sp>
          <p:nvSpPr>
            <p:cNvPr id="265" name="Rectangle 5"/>
            <p:cNvSpPr>
              <a:spLocks noChangeArrowheads="1"/>
            </p:cNvSpPr>
            <p:nvPr/>
          </p:nvSpPr>
          <p:spPr bwMode="auto">
            <a:xfrm>
              <a:off x="9026714" y="6039078"/>
              <a:ext cx="150013" cy="146787"/>
            </a:xfrm>
            <a:prstGeom prst="rect">
              <a:avLst/>
            </a:prstGeom>
            <a:solidFill>
              <a:schemeClr val="bg1">
                <a:lumMod val="85000"/>
              </a:schemeClr>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266" name="Rectangle 6"/>
            <p:cNvSpPr>
              <a:spLocks noChangeArrowheads="1"/>
            </p:cNvSpPr>
            <p:nvPr/>
          </p:nvSpPr>
          <p:spPr bwMode="auto">
            <a:xfrm>
              <a:off x="9026714" y="6039078"/>
              <a:ext cx="150013" cy="1467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267" name="Rectangle 7"/>
            <p:cNvSpPr>
              <a:spLocks noChangeArrowheads="1"/>
            </p:cNvSpPr>
            <p:nvPr/>
          </p:nvSpPr>
          <p:spPr bwMode="auto">
            <a:xfrm>
              <a:off x="8866216" y="6174574"/>
              <a:ext cx="472622" cy="21776"/>
            </a:xfrm>
            <a:prstGeom prst="rect">
              <a:avLst/>
            </a:prstGeom>
            <a:solidFill>
              <a:srgbClr val="3333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268" name="Freeform 8"/>
            <p:cNvSpPr>
              <a:spLocks/>
            </p:cNvSpPr>
            <p:nvPr/>
          </p:nvSpPr>
          <p:spPr bwMode="auto">
            <a:xfrm>
              <a:off x="8575868" y="5444671"/>
              <a:ext cx="1054125" cy="628281"/>
            </a:xfrm>
            <a:custGeom>
              <a:avLst/>
              <a:gdLst>
                <a:gd name="T0" fmla="*/ 625 w 625"/>
                <a:gd name="T1" fmla="*/ 352 h 372"/>
                <a:gd name="T2" fmla="*/ 605 w 625"/>
                <a:gd name="T3" fmla="*/ 372 h 372"/>
                <a:gd name="T4" fmla="*/ 21 w 625"/>
                <a:gd name="T5" fmla="*/ 372 h 372"/>
                <a:gd name="T6" fmla="*/ 0 w 625"/>
                <a:gd name="T7" fmla="*/ 352 h 372"/>
                <a:gd name="T8" fmla="*/ 0 w 625"/>
                <a:gd name="T9" fmla="*/ 21 h 372"/>
                <a:gd name="T10" fmla="*/ 21 w 625"/>
                <a:gd name="T11" fmla="*/ 0 h 372"/>
                <a:gd name="T12" fmla="*/ 605 w 625"/>
                <a:gd name="T13" fmla="*/ 0 h 372"/>
                <a:gd name="T14" fmla="*/ 625 w 625"/>
                <a:gd name="T15" fmla="*/ 21 h 372"/>
                <a:gd name="T16" fmla="*/ 625 w 625"/>
                <a:gd name="T17" fmla="*/ 352 h 3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5" h="372">
                  <a:moveTo>
                    <a:pt x="625" y="352"/>
                  </a:moveTo>
                  <a:cubicBezTo>
                    <a:pt x="625" y="363"/>
                    <a:pt x="616" y="372"/>
                    <a:pt x="605" y="372"/>
                  </a:cubicBezTo>
                  <a:cubicBezTo>
                    <a:pt x="21" y="372"/>
                    <a:pt x="21" y="372"/>
                    <a:pt x="21" y="372"/>
                  </a:cubicBezTo>
                  <a:cubicBezTo>
                    <a:pt x="10" y="372"/>
                    <a:pt x="0" y="363"/>
                    <a:pt x="0" y="352"/>
                  </a:cubicBezTo>
                  <a:cubicBezTo>
                    <a:pt x="0" y="21"/>
                    <a:pt x="0" y="21"/>
                    <a:pt x="0" y="21"/>
                  </a:cubicBezTo>
                  <a:cubicBezTo>
                    <a:pt x="0" y="9"/>
                    <a:pt x="10" y="0"/>
                    <a:pt x="21" y="0"/>
                  </a:cubicBezTo>
                  <a:cubicBezTo>
                    <a:pt x="605" y="0"/>
                    <a:pt x="605" y="0"/>
                    <a:pt x="605" y="0"/>
                  </a:cubicBezTo>
                  <a:cubicBezTo>
                    <a:pt x="616" y="0"/>
                    <a:pt x="625" y="9"/>
                    <a:pt x="625" y="21"/>
                  </a:cubicBezTo>
                  <a:cubicBezTo>
                    <a:pt x="625" y="352"/>
                    <a:pt x="625" y="352"/>
                    <a:pt x="625" y="352"/>
                  </a:cubicBezTo>
                </a:path>
              </a:pathLst>
            </a:custGeom>
            <a:solidFill>
              <a:schemeClr val="bg1">
                <a:lumMod val="85000"/>
              </a:schemeClr>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269" name="Freeform 9"/>
            <p:cNvSpPr>
              <a:spLocks/>
            </p:cNvSpPr>
            <p:nvPr/>
          </p:nvSpPr>
          <p:spPr bwMode="auto">
            <a:xfrm>
              <a:off x="8606516" y="5472900"/>
              <a:ext cx="992023" cy="547629"/>
            </a:xfrm>
            <a:custGeom>
              <a:avLst/>
              <a:gdLst>
                <a:gd name="T0" fmla="*/ 588 w 588"/>
                <a:gd name="T1" fmla="*/ 316 h 324"/>
                <a:gd name="T2" fmla="*/ 579 w 588"/>
                <a:gd name="T3" fmla="*/ 324 h 324"/>
                <a:gd name="T4" fmla="*/ 8 w 588"/>
                <a:gd name="T5" fmla="*/ 324 h 324"/>
                <a:gd name="T6" fmla="*/ 0 w 588"/>
                <a:gd name="T7" fmla="*/ 316 h 324"/>
                <a:gd name="T8" fmla="*/ 0 w 588"/>
                <a:gd name="T9" fmla="*/ 8 h 324"/>
                <a:gd name="T10" fmla="*/ 8 w 588"/>
                <a:gd name="T11" fmla="*/ 0 h 324"/>
                <a:gd name="T12" fmla="*/ 579 w 588"/>
                <a:gd name="T13" fmla="*/ 0 h 324"/>
                <a:gd name="T14" fmla="*/ 588 w 588"/>
                <a:gd name="T15" fmla="*/ 8 h 324"/>
                <a:gd name="T16" fmla="*/ 588 w 588"/>
                <a:gd name="T17" fmla="*/ 316 h 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88" h="324">
                  <a:moveTo>
                    <a:pt x="588" y="316"/>
                  </a:moveTo>
                  <a:cubicBezTo>
                    <a:pt x="588" y="320"/>
                    <a:pt x="584" y="324"/>
                    <a:pt x="579" y="324"/>
                  </a:cubicBezTo>
                  <a:cubicBezTo>
                    <a:pt x="8" y="324"/>
                    <a:pt x="8" y="324"/>
                    <a:pt x="8" y="324"/>
                  </a:cubicBezTo>
                  <a:cubicBezTo>
                    <a:pt x="4" y="324"/>
                    <a:pt x="0" y="320"/>
                    <a:pt x="0" y="316"/>
                  </a:cubicBezTo>
                  <a:cubicBezTo>
                    <a:pt x="0" y="8"/>
                    <a:pt x="0" y="8"/>
                    <a:pt x="0" y="8"/>
                  </a:cubicBezTo>
                  <a:cubicBezTo>
                    <a:pt x="0" y="4"/>
                    <a:pt x="4" y="0"/>
                    <a:pt x="8" y="0"/>
                  </a:cubicBezTo>
                  <a:cubicBezTo>
                    <a:pt x="579" y="0"/>
                    <a:pt x="579" y="0"/>
                    <a:pt x="579" y="0"/>
                  </a:cubicBezTo>
                  <a:cubicBezTo>
                    <a:pt x="584" y="0"/>
                    <a:pt x="588" y="4"/>
                    <a:pt x="588" y="8"/>
                  </a:cubicBezTo>
                  <a:cubicBezTo>
                    <a:pt x="588" y="316"/>
                    <a:pt x="588" y="316"/>
                    <a:pt x="588" y="316"/>
                  </a:cubicBezTo>
                </a:path>
              </a:pathLst>
            </a:custGeom>
            <a:solidFill>
              <a:srgbClr val="005E7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270" name="Rectangle 10"/>
            <p:cNvSpPr>
              <a:spLocks noChangeArrowheads="1"/>
            </p:cNvSpPr>
            <p:nvPr/>
          </p:nvSpPr>
          <p:spPr bwMode="auto">
            <a:xfrm>
              <a:off x="9240442" y="5662432"/>
              <a:ext cx="216148" cy="9436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271" name="Rectangle 11"/>
            <p:cNvSpPr>
              <a:spLocks noChangeArrowheads="1"/>
            </p:cNvSpPr>
            <p:nvPr/>
          </p:nvSpPr>
          <p:spPr bwMode="auto">
            <a:xfrm>
              <a:off x="9240442" y="5764054"/>
              <a:ext cx="216148" cy="94363"/>
            </a:xfrm>
            <a:prstGeom prst="rect">
              <a:avLst/>
            </a:prstGeom>
            <a:solidFill>
              <a:srgbClr val="1570A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272" name="Rectangle 12"/>
            <p:cNvSpPr>
              <a:spLocks noChangeArrowheads="1"/>
            </p:cNvSpPr>
            <p:nvPr/>
          </p:nvSpPr>
          <p:spPr bwMode="auto">
            <a:xfrm>
              <a:off x="9240442" y="5764054"/>
              <a:ext cx="216148" cy="94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273" name="Rectangle 13"/>
            <p:cNvSpPr>
              <a:spLocks noChangeArrowheads="1"/>
            </p:cNvSpPr>
            <p:nvPr/>
          </p:nvSpPr>
          <p:spPr bwMode="auto">
            <a:xfrm>
              <a:off x="9240442" y="5864869"/>
              <a:ext cx="216148" cy="95170"/>
            </a:xfrm>
            <a:prstGeom prst="rect">
              <a:avLst/>
            </a:prstGeom>
            <a:solidFill>
              <a:srgbClr val="44235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274" name="Rectangle 14"/>
            <p:cNvSpPr>
              <a:spLocks noChangeArrowheads="1"/>
            </p:cNvSpPr>
            <p:nvPr/>
          </p:nvSpPr>
          <p:spPr bwMode="auto">
            <a:xfrm>
              <a:off x="9240442" y="5864869"/>
              <a:ext cx="216148" cy="951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275" name="Rectangle 15"/>
            <p:cNvSpPr>
              <a:spLocks noChangeArrowheads="1"/>
            </p:cNvSpPr>
            <p:nvPr/>
          </p:nvSpPr>
          <p:spPr bwMode="auto">
            <a:xfrm>
              <a:off x="9038006" y="5864869"/>
              <a:ext cx="94363" cy="95170"/>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276" name="Rectangle 16"/>
            <p:cNvSpPr>
              <a:spLocks noChangeArrowheads="1"/>
            </p:cNvSpPr>
            <p:nvPr/>
          </p:nvSpPr>
          <p:spPr bwMode="auto">
            <a:xfrm>
              <a:off x="9038006" y="5864869"/>
              <a:ext cx="94363" cy="951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277" name="Rectangle 17"/>
            <p:cNvSpPr>
              <a:spLocks noChangeArrowheads="1"/>
            </p:cNvSpPr>
            <p:nvPr/>
          </p:nvSpPr>
          <p:spPr bwMode="auto">
            <a:xfrm>
              <a:off x="8734753" y="5662432"/>
              <a:ext cx="397616" cy="19598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278" name="Rectangle 18"/>
            <p:cNvSpPr>
              <a:spLocks noChangeArrowheads="1"/>
            </p:cNvSpPr>
            <p:nvPr/>
          </p:nvSpPr>
          <p:spPr bwMode="auto">
            <a:xfrm>
              <a:off x="8734753" y="5662432"/>
              <a:ext cx="397616" cy="1959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279" name="Rectangle 19"/>
            <p:cNvSpPr>
              <a:spLocks noChangeArrowheads="1"/>
            </p:cNvSpPr>
            <p:nvPr/>
          </p:nvSpPr>
          <p:spPr bwMode="auto">
            <a:xfrm>
              <a:off x="9132368" y="5662432"/>
              <a:ext cx="52424" cy="195985"/>
            </a:xfrm>
            <a:prstGeom prst="rect">
              <a:avLst/>
            </a:prstGeom>
            <a:solidFill>
              <a:srgbClr val="3333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280" name="Rectangle 20"/>
            <p:cNvSpPr>
              <a:spLocks noChangeArrowheads="1"/>
            </p:cNvSpPr>
            <p:nvPr/>
          </p:nvSpPr>
          <p:spPr bwMode="auto">
            <a:xfrm>
              <a:off x="9132368" y="5662432"/>
              <a:ext cx="52424" cy="1959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281" name="Rectangle 21"/>
            <p:cNvSpPr>
              <a:spLocks noChangeArrowheads="1"/>
            </p:cNvSpPr>
            <p:nvPr/>
          </p:nvSpPr>
          <p:spPr bwMode="auto">
            <a:xfrm>
              <a:off x="8937190" y="5864869"/>
              <a:ext cx="94363" cy="95170"/>
            </a:xfrm>
            <a:prstGeom prst="rect">
              <a:avLst/>
            </a:prstGeom>
            <a:solidFill>
              <a:srgbClr val="008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282" name="Rectangle 22"/>
            <p:cNvSpPr>
              <a:spLocks noChangeArrowheads="1"/>
            </p:cNvSpPr>
            <p:nvPr/>
          </p:nvSpPr>
          <p:spPr bwMode="auto">
            <a:xfrm>
              <a:off x="8937190" y="5864869"/>
              <a:ext cx="94363" cy="951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283" name="Rectangle 23"/>
            <p:cNvSpPr>
              <a:spLocks noChangeArrowheads="1"/>
            </p:cNvSpPr>
            <p:nvPr/>
          </p:nvSpPr>
          <p:spPr bwMode="auto">
            <a:xfrm>
              <a:off x="8835568" y="5864869"/>
              <a:ext cx="95170" cy="95170"/>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284" name="Rectangle 24"/>
            <p:cNvSpPr>
              <a:spLocks noChangeArrowheads="1"/>
            </p:cNvSpPr>
            <p:nvPr/>
          </p:nvSpPr>
          <p:spPr bwMode="auto">
            <a:xfrm>
              <a:off x="8835568" y="5864869"/>
              <a:ext cx="95170" cy="951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285" name="Rectangle 25"/>
            <p:cNvSpPr>
              <a:spLocks noChangeArrowheads="1"/>
            </p:cNvSpPr>
            <p:nvPr/>
          </p:nvSpPr>
          <p:spPr bwMode="auto">
            <a:xfrm>
              <a:off x="8734753" y="5864869"/>
              <a:ext cx="94363" cy="95170"/>
            </a:xfrm>
            <a:prstGeom prst="rect">
              <a:avLst/>
            </a:prstGeom>
            <a:solidFill>
              <a:srgbClr val="008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286" name="Rectangle 26"/>
            <p:cNvSpPr>
              <a:spLocks noChangeArrowheads="1"/>
            </p:cNvSpPr>
            <p:nvPr/>
          </p:nvSpPr>
          <p:spPr bwMode="auto">
            <a:xfrm>
              <a:off x="8734753" y="5864869"/>
              <a:ext cx="94363" cy="951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287" name="Rectangle 27"/>
            <p:cNvSpPr>
              <a:spLocks noChangeArrowheads="1"/>
            </p:cNvSpPr>
            <p:nvPr/>
          </p:nvSpPr>
          <p:spPr bwMode="auto">
            <a:xfrm>
              <a:off x="8734753" y="5518871"/>
              <a:ext cx="41939" cy="41939"/>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288" name="Rectangle 28"/>
            <p:cNvSpPr>
              <a:spLocks noChangeArrowheads="1"/>
            </p:cNvSpPr>
            <p:nvPr/>
          </p:nvSpPr>
          <p:spPr bwMode="auto">
            <a:xfrm>
              <a:off x="8734753" y="5518871"/>
              <a:ext cx="41939" cy="419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289" name="Rectangle 29"/>
            <p:cNvSpPr>
              <a:spLocks noChangeArrowheads="1"/>
            </p:cNvSpPr>
            <p:nvPr/>
          </p:nvSpPr>
          <p:spPr bwMode="auto">
            <a:xfrm>
              <a:off x="8734753" y="5596297"/>
              <a:ext cx="77426" cy="1532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290" name="Rectangle 30"/>
            <p:cNvSpPr>
              <a:spLocks noChangeArrowheads="1"/>
            </p:cNvSpPr>
            <p:nvPr/>
          </p:nvSpPr>
          <p:spPr bwMode="auto">
            <a:xfrm>
              <a:off x="8734753" y="5596297"/>
              <a:ext cx="77426" cy="153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291" name="Rectangle 31"/>
            <p:cNvSpPr>
              <a:spLocks noChangeArrowheads="1"/>
            </p:cNvSpPr>
            <p:nvPr/>
          </p:nvSpPr>
          <p:spPr bwMode="auto">
            <a:xfrm>
              <a:off x="8835568" y="5596297"/>
              <a:ext cx="78233" cy="15324"/>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292" name="Rectangle 32"/>
            <p:cNvSpPr>
              <a:spLocks noChangeArrowheads="1"/>
            </p:cNvSpPr>
            <p:nvPr/>
          </p:nvSpPr>
          <p:spPr bwMode="auto">
            <a:xfrm>
              <a:off x="8835568" y="5596297"/>
              <a:ext cx="78233" cy="153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293" name="Rectangle 33"/>
            <p:cNvSpPr>
              <a:spLocks noChangeArrowheads="1"/>
            </p:cNvSpPr>
            <p:nvPr/>
          </p:nvSpPr>
          <p:spPr bwMode="auto">
            <a:xfrm>
              <a:off x="8937190" y="5596297"/>
              <a:ext cx="77426" cy="15324"/>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294" name="Rectangle 34"/>
            <p:cNvSpPr>
              <a:spLocks noChangeArrowheads="1"/>
            </p:cNvSpPr>
            <p:nvPr/>
          </p:nvSpPr>
          <p:spPr bwMode="auto">
            <a:xfrm>
              <a:off x="8937190" y="5596297"/>
              <a:ext cx="77426" cy="153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295" name="Rectangle 35"/>
            <p:cNvSpPr>
              <a:spLocks noChangeArrowheads="1"/>
            </p:cNvSpPr>
            <p:nvPr/>
          </p:nvSpPr>
          <p:spPr bwMode="auto">
            <a:xfrm>
              <a:off x="9038006" y="5596297"/>
              <a:ext cx="78233" cy="15324"/>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296" name="Rectangle 36"/>
            <p:cNvSpPr>
              <a:spLocks noChangeArrowheads="1"/>
            </p:cNvSpPr>
            <p:nvPr/>
          </p:nvSpPr>
          <p:spPr bwMode="auto">
            <a:xfrm>
              <a:off x="9139627" y="5596297"/>
              <a:ext cx="77426" cy="15324"/>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297" name="Rectangle 37"/>
            <p:cNvSpPr>
              <a:spLocks noChangeArrowheads="1"/>
            </p:cNvSpPr>
            <p:nvPr/>
          </p:nvSpPr>
          <p:spPr bwMode="auto">
            <a:xfrm>
              <a:off x="9240442" y="5596297"/>
              <a:ext cx="78233" cy="15324"/>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298" name="Oval 38"/>
            <p:cNvSpPr>
              <a:spLocks noChangeArrowheads="1"/>
            </p:cNvSpPr>
            <p:nvPr/>
          </p:nvSpPr>
          <p:spPr bwMode="auto">
            <a:xfrm>
              <a:off x="9421103" y="5522097"/>
              <a:ext cx="35487" cy="35487"/>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299" name="Freeform 39"/>
            <p:cNvSpPr>
              <a:spLocks/>
            </p:cNvSpPr>
            <p:nvPr/>
          </p:nvSpPr>
          <p:spPr bwMode="auto">
            <a:xfrm>
              <a:off x="9425943" y="5526936"/>
              <a:ext cx="27422" cy="25809"/>
            </a:xfrm>
            <a:custGeom>
              <a:avLst/>
              <a:gdLst>
                <a:gd name="T0" fmla="*/ 10 w 16"/>
                <a:gd name="T1" fmla="*/ 3 h 15"/>
                <a:gd name="T2" fmla="*/ 16 w 16"/>
                <a:gd name="T3" fmla="*/ 0 h 15"/>
                <a:gd name="T4" fmla="*/ 8 w 16"/>
                <a:gd name="T5" fmla="*/ 1 h 15"/>
                <a:gd name="T6" fmla="*/ 0 w 16"/>
                <a:gd name="T7" fmla="*/ 0 h 15"/>
                <a:gd name="T8" fmla="*/ 5 w 16"/>
                <a:gd name="T9" fmla="*/ 3 h 15"/>
                <a:gd name="T10" fmla="*/ 0 w 16"/>
                <a:gd name="T11" fmla="*/ 15 h 15"/>
                <a:gd name="T12" fmla="*/ 8 w 16"/>
                <a:gd name="T13" fmla="*/ 5 h 15"/>
                <a:gd name="T14" fmla="*/ 16 w 16"/>
                <a:gd name="T15" fmla="*/ 15 h 15"/>
                <a:gd name="T16" fmla="*/ 10 w 16"/>
                <a:gd name="T17" fmla="*/ 3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 h="15">
                  <a:moveTo>
                    <a:pt x="10" y="3"/>
                  </a:moveTo>
                  <a:cubicBezTo>
                    <a:pt x="12" y="2"/>
                    <a:pt x="14" y="1"/>
                    <a:pt x="16" y="0"/>
                  </a:cubicBezTo>
                  <a:cubicBezTo>
                    <a:pt x="13" y="0"/>
                    <a:pt x="10" y="0"/>
                    <a:pt x="8" y="1"/>
                  </a:cubicBezTo>
                  <a:cubicBezTo>
                    <a:pt x="5" y="0"/>
                    <a:pt x="2" y="0"/>
                    <a:pt x="0" y="0"/>
                  </a:cubicBezTo>
                  <a:cubicBezTo>
                    <a:pt x="2" y="1"/>
                    <a:pt x="4" y="2"/>
                    <a:pt x="5" y="3"/>
                  </a:cubicBezTo>
                  <a:cubicBezTo>
                    <a:pt x="3" y="5"/>
                    <a:pt x="1" y="9"/>
                    <a:pt x="0" y="15"/>
                  </a:cubicBezTo>
                  <a:cubicBezTo>
                    <a:pt x="0" y="15"/>
                    <a:pt x="3" y="9"/>
                    <a:pt x="8" y="5"/>
                  </a:cubicBezTo>
                  <a:cubicBezTo>
                    <a:pt x="12" y="9"/>
                    <a:pt x="16" y="15"/>
                    <a:pt x="16" y="15"/>
                  </a:cubicBezTo>
                  <a:cubicBezTo>
                    <a:pt x="15" y="9"/>
                    <a:pt x="13" y="5"/>
                    <a:pt x="10" y="3"/>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300" name="Rectangle 40"/>
            <p:cNvSpPr>
              <a:spLocks noChangeArrowheads="1"/>
            </p:cNvSpPr>
            <p:nvPr/>
          </p:nvSpPr>
          <p:spPr bwMode="auto">
            <a:xfrm>
              <a:off x="9409812" y="5960039"/>
              <a:ext cx="46778" cy="25002"/>
            </a:xfrm>
            <a:prstGeom prst="rect">
              <a:avLst/>
            </a:prstGeom>
            <a:solidFill>
              <a:srgbClr val="3333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301" name="Rectangle 41"/>
            <p:cNvSpPr>
              <a:spLocks noChangeArrowheads="1"/>
            </p:cNvSpPr>
            <p:nvPr/>
          </p:nvSpPr>
          <p:spPr bwMode="auto">
            <a:xfrm>
              <a:off x="8734753" y="5643882"/>
              <a:ext cx="91137" cy="967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302" name="Rectangle 42"/>
            <p:cNvSpPr>
              <a:spLocks noChangeArrowheads="1"/>
            </p:cNvSpPr>
            <p:nvPr/>
          </p:nvSpPr>
          <p:spPr bwMode="auto">
            <a:xfrm>
              <a:off x="8734753" y="5643882"/>
              <a:ext cx="91137" cy="96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303" name="Rectangle 43"/>
            <p:cNvSpPr>
              <a:spLocks noChangeArrowheads="1"/>
            </p:cNvSpPr>
            <p:nvPr/>
          </p:nvSpPr>
          <p:spPr bwMode="auto">
            <a:xfrm>
              <a:off x="9240442" y="5643882"/>
              <a:ext cx="91137" cy="967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304" name="Freeform 44"/>
            <p:cNvSpPr>
              <a:spLocks noEditPoints="1"/>
            </p:cNvSpPr>
            <p:nvPr/>
          </p:nvSpPr>
          <p:spPr bwMode="auto">
            <a:xfrm>
              <a:off x="8575868" y="5444671"/>
              <a:ext cx="879109" cy="628281"/>
            </a:xfrm>
            <a:custGeom>
              <a:avLst/>
              <a:gdLst>
                <a:gd name="T0" fmla="*/ 490 w 521"/>
                <a:gd name="T1" fmla="*/ 341 h 372"/>
                <a:gd name="T2" fmla="*/ 110 w 521"/>
                <a:gd name="T3" fmla="*/ 341 h 372"/>
                <a:gd name="T4" fmla="*/ 141 w 521"/>
                <a:gd name="T5" fmla="*/ 372 h 372"/>
                <a:gd name="T6" fmla="*/ 521 w 521"/>
                <a:gd name="T7" fmla="*/ 372 h 372"/>
                <a:gd name="T8" fmla="*/ 490 w 521"/>
                <a:gd name="T9" fmla="*/ 341 h 372"/>
                <a:gd name="T10" fmla="*/ 149 w 521"/>
                <a:gd name="T11" fmla="*/ 0 h 372"/>
                <a:gd name="T12" fmla="*/ 21 w 521"/>
                <a:gd name="T13" fmla="*/ 0 h 372"/>
                <a:gd name="T14" fmla="*/ 0 w 521"/>
                <a:gd name="T15" fmla="*/ 21 h 372"/>
                <a:gd name="T16" fmla="*/ 0 w 521"/>
                <a:gd name="T17" fmla="*/ 231 h 372"/>
                <a:gd name="T18" fmla="*/ 18 w 521"/>
                <a:gd name="T19" fmla="*/ 248 h 372"/>
                <a:gd name="T20" fmla="*/ 18 w 521"/>
                <a:gd name="T21" fmla="*/ 25 h 372"/>
                <a:gd name="T22" fmla="*/ 26 w 521"/>
                <a:gd name="T23" fmla="*/ 17 h 372"/>
                <a:gd name="T24" fmla="*/ 165 w 521"/>
                <a:gd name="T25" fmla="*/ 17 h 372"/>
                <a:gd name="T26" fmla="*/ 149 w 521"/>
                <a:gd name="T27" fmla="*/ 0 h 3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21" h="372">
                  <a:moveTo>
                    <a:pt x="490" y="341"/>
                  </a:moveTo>
                  <a:cubicBezTo>
                    <a:pt x="110" y="341"/>
                    <a:pt x="110" y="341"/>
                    <a:pt x="110" y="341"/>
                  </a:cubicBezTo>
                  <a:cubicBezTo>
                    <a:pt x="141" y="372"/>
                    <a:pt x="141" y="372"/>
                    <a:pt x="141" y="372"/>
                  </a:cubicBezTo>
                  <a:cubicBezTo>
                    <a:pt x="521" y="372"/>
                    <a:pt x="521" y="372"/>
                    <a:pt x="521" y="372"/>
                  </a:cubicBezTo>
                  <a:cubicBezTo>
                    <a:pt x="490" y="341"/>
                    <a:pt x="490" y="341"/>
                    <a:pt x="490" y="341"/>
                  </a:cubicBezTo>
                  <a:moveTo>
                    <a:pt x="149" y="0"/>
                  </a:moveTo>
                  <a:cubicBezTo>
                    <a:pt x="21" y="0"/>
                    <a:pt x="21" y="0"/>
                    <a:pt x="21" y="0"/>
                  </a:cubicBezTo>
                  <a:cubicBezTo>
                    <a:pt x="10" y="0"/>
                    <a:pt x="0" y="9"/>
                    <a:pt x="0" y="21"/>
                  </a:cubicBezTo>
                  <a:cubicBezTo>
                    <a:pt x="0" y="231"/>
                    <a:pt x="0" y="231"/>
                    <a:pt x="0" y="231"/>
                  </a:cubicBezTo>
                  <a:cubicBezTo>
                    <a:pt x="18" y="248"/>
                    <a:pt x="18" y="248"/>
                    <a:pt x="18" y="248"/>
                  </a:cubicBezTo>
                  <a:cubicBezTo>
                    <a:pt x="18" y="25"/>
                    <a:pt x="18" y="25"/>
                    <a:pt x="18" y="25"/>
                  </a:cubicBezTo>
                  <a:cubicBezTo>
                    <a:pt x="18" y="21"/>
                    <a:pt x="22" y="17"/>
                    <a:pt x="26" y="17"/>
                  </a:cubicBezTo>
                  <a:cubicBezTo>
                    <a:pt x="165" y="17"/>
                    <a:pt x="165" y="17"/>
                    <a:pt x="165" y="17"/>
                  </a:cubicBezTo>
                  <a:cubicBezTo>
                    <a:pt x="149" y="0"/>
                    <a:pt x="149" y="0"/>
                    <a:pt x="149" y="0"/>
                  </a:cubicBezTo>
                </a:path>
              </a:pathLst>
            </a:custGeom>
            <a:solidFill>
              <a:schemeClr val="bg1">
                <a:lumMod val="85000"/>
              </a:schemeClr>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305" name="Freeform 45"/>
            <p:cNvSpPr>
              <a:spLocks noEditPoints="1"/>
            </p:cNvSpPr>
            <p:nvPr/>
          </p:nvSpPr>
          <p:spPr bwMode="auto">
            <a:xfrm>
              <a:off x="8606516" y="5472900"/>
              <a:ext cx="796038" cy="547629"/>
            </a:xfrm>
            <a:custGeom>
              <a:avLst/>
              <a:gdLst>
                <a:gd name="T0" fmla="*/ 76 w 472"/>
                <a:gd name="T1" fmla="*/ 288 h 324"/>
                <a:gd name="T2" fmla="*/ 76 w 472"/>
                <a:gd name="T3" fmla="*/ 232 h 324"/>
                <a:gd name="T4" fmla="*/ 132 w 472"/>
                <a:gd name="T5" fmla="*/ 232 h 324"/>
                <a:gd name="T6" fmla="*/ 132 w 472"/>
                <a:gd name="T7" fmla="*/ 288 h 324"/>
                <a:gd name="T8" fmla="*/ 76 w 472"/>
                <a:gd name="T9" fmla="*/ 288 h 324"/>
                <a:gd name="T10" fmla="*/ 136 w 472"/>
                <a:gd name="T11" fmla="*/ 288 h 324"/>
                <a:gd name="T12" fmla="*/ 136 w 472"/>
                <a:gd name="T13" fmla="*/ 232 h 324"/>
                <a:gd name="T14" fmla="*/ 192 w 472"/>
                <a:gd name="T15" fmla="*/ 232 h 324"/>
                <a:gd name="T16" fmla="*/ 192 w 472"/>
                <a:gd name="T17" fmla="*/ 288 h 324"/>
                <a:gd name="T18" fmla="*/ 136 w 472"/>
                <a:gd name="T19" fmla="*/ 288 h 324"/>
                <a:gd name="T20" fmla="*/ 196 w 472"/>
                <a:gd name="T21" fmla="*/ 288 h 324"/>
                <a:gd name="T22" fmla="*/ 196 w 472"/>
                <a:gd name="T23" fmla="*/ 232 h 324"/>
                <a:gd name="T24" fmla="*/ 252 w 472"/>
                <a:gd name="T25" fmla="*/ 232 h 324"/>
                <a:gd name="T26" fmla="*/ 252 w 472"/>
                <a:gd name="T27" fmla="*/ 288 h 324"/>
                <a:gd name="T28" fmla="*/ 196 w 472"/>
                <a:gd name="T29" fmla="*/ 288 h 324"/>
                <a:gd name="T30" fmla="*/ 256 w 472"/>
                <a:gd name="T31" fmla="*/ 288 h 324"/>
                <a:gd name="T32" fmla="*/ 256 w 472"/>
                <a:gd name="T33" fmla="*/ 232 h 324"/>
                <a:gd name="T34" fmla="*/ 312 w 472"/>
                <a:gd name="T35" fmla="*/ 232 h 324"/>
                <a:gd name="T36" fmla="*/ 312 w 472"/>
                <a:gd name="T37" fmla="*/ 288 h 324"/>
                <a:gd name="T38" fmla="*/ 256 w 472"/>
                <a:gd name="T39" fmla="*/ 288 h 324"/>
                <a:gd name="T40" fmla="*/ 76 w 472"/>
                <a:gd name="T41" fmla="*/ 107 h 324"/>
                <a:gd name="T42" fmla="*/ 76 w 472"/>
                <a:gd name="T43" fmla="*/ 101 h 324"/>
                <a:gd name="T44" fmla="*/ 130 w 472"/>
                <a:gd name="T45" fmla="*/ 101 h 324"/>
                <a:gd name="T46" fmla="*/ 130 w 472"/>
                <a:gd name="T47" fmla="*/ 107 h 324"/>
                <a:gd name="T48" fmla="*/ 76 w 472"/>
                <a:gd name="T49" fmla="*/ 107 h 324"/>
                <a:gd name="T50" fmla="*/ 76 w 472"/>
                <a:gd name="T51" fmla="*/ 82 h 324"/>
                <a:gd name="T52" fmla="*/ 76 w 472"/>
                <a:gd name="T53" fmla="*/ 73 h 324"/>
                <a:gd name="T54" fmla="*/ 122 w 472"/>
                <a:gd name="T55" fmla="*/ 73 h 324"/>
                <a:gd name="T56" fmla="*/ 122 w 472"/>
                <a:gd name="T57" fmla="*/ 82 h 324"/>
                <a:gd name="T58" fmla="*/ 76 w 472"/>
                <a:gd name="T59" fmla="*/ 82 h 324"/>
                <a:gd name="T60" fmla="*/ 136 w 472"/>
                <a:gd name="T61" fmla="*/ 82 h 324"/>
                <a:gd name="T62" fmla="*/ 136 w 472"/>
                <a:gd name="T63" fmla="*/ 73 h 324"/>
                <a:gd name="T64" fmla="*/ 182 w 472"/>
                <a:gd name="T65" fmla="*/ 73 h 324"/>
                <a:gd name="T66" fmla="*/ 182 w 472"/>
                <a:gd name="T67" fmla="*/ 82 h 324"/>
                <a:gd name="T68" fmla="*/ 136 w 472"/>
                <a:gd name="T69" fmla="*/ 82 h 324"/>
                <a:gd name="T70" fmla="*/ 76 w 472"/>
                <a:gd name="T71" fmla="*/ 52 h 324"/>
                <a:gd name="T72" fmla="*/ 76 w 472"/>
                <a:gd name="T73" fmla="*/ 27 h 324"/>
                <a:gd name="T74" fmla="*/ 101 w 472"/>
                <a:gd name="T75" fmla="*/ 27 h 324"/>
                <a:gd name="T76" fmla="*/ 101 w 472"/>
                <a:gd name="T77" fmla="*/ 52 h 324"/>
                <a:gd name="T78" fmla="*/ 76 w 472"/>
                <a:gd name="T79" fmla="*/ 52 h 324"/>
                <a:gd name="T80" fmla="*/ 147 w 472"/>
                <a:gd name="T81" fmla="*/ 0 h 324"/>
                <a:gd name="T82" fmla="*/ 8 w 472"/>
                <a:gd name="T83" fmla="*/ 0 h 324"/>
                <a:gd name="T84" fmla="*/ 0 w 472"/>
                <a:gd name="T85" fmla="*/ 8 h 324"/>
                <a:gd name="T86" fmla="*/ 0 w 472"/>
                <a:gd name="T87" fmla="*/ 231 h 324"/>
                <a:gd name="T88" fmla="*/ 92 w 472"/>
                <a:gd name="T89" fmla="*/ 324 h 324"/>
                <a:gd name="T90" fmla="*/ 472 w 472"/>
                <a:gd name="T91" fmla="*/ 324 h 324"/>
                <a:gd name="T92" fmla="*/ 436 w 472"/>
                <a:gd name="T93" fmla="*/ 288 h 324"/>
                <a:gd name="T94" fmla="*/ 376 w 472"/>
                <a:gd name="T95" fmla="*/ 288 h 324"/>
                <a:gd name="T96" fmla="*/ 376 w 472"/>
                <a:gd name="T97" fmla="*/ 232 h 324"/>
                <a:gd name="T98" fmla="*/ 380 w 472"/>
                <a:gd name="T99" fmla="*/ 232 h 324"/>
                <a:gd name="T100" fmla="*/ 343 w 472"/>
                <a:gd name="T101" fmla="*/ 195 h 324"/>
                <a:gd name="T102" fmla="*/ 343 w 472"/>
                <a:gd name="T103" fmla="*/ 228 h 324"/>
                <a:gd name="T104" fmla="*/ 312 w 472"/>
                <a:gd name="T105" fmla="*/ 228 h 324"/>
                <a:gd name="T106" fmla="*/ 312 w 472"/>
                <a:gd name="T107" fmla="*/ 165 h 324"/>
                <a:gd name="T108" fmla="*/ 312 w 472"/>
                <a:gd name="T109" fmla="*/ 228 h 324"/>
                <a:gd name="T110" fmla="*/ 76 w 472"/>
                <a:gd name="T111" fmla="*/ 228 h 324"/>
                <a:gd name="T112" fmla="*/ 76 w 472"/>
                <a:gd name="T113" fmla="*/ 112 h 324"/>
                <a:gd name="T114" fmla="*/ 260 w 472"/>
                <a:gd name="T115" fmla="*/ 112 h 324"/>
                <a:gd name="T116" fmla="*/ 230 w 472"/>
                <a:gd name="T117" fmla="*/ 82 h 324"/>
                <a:gd name="T118" fmla="*/ 196 w 472"/>
                <a:gd name="T119" fmla="*/ 82 h 324"/>
                <a:gd name="T120" fmla="*/ 196 w 472"/>
                <a:gd name="T121" fmla="*/ 73 h 324"/>
                <a:gd name="T122" fmla="*/ 220 w 472"/>
                <a:gd name="T123" fmla="*/ 73 h 324"/>
                <a:gd name="T124" fmla="*/ 147 w 472"/>
                <a:gd name="T125" fmla="*/ 0 h 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72" h="324">
                  <a:moveTo>
                    <a:pt x="76" y="288"/>
                  </a:moveTo>
                  <a:cubicBezTo>
                    <a:pt x="76" y="232"/>
                    <a:pt x="76" y="232"/>
                    <a:pt x="76" y="232"/>
                  </a:cubicBezTo>
                  <a:cubicBezTo>
                    <a:pt x="132" y="232"/>
                    <a:pt x="132" y="232"/>
                    <a:pt x="132" y="232"/>
                  </a:cubicBezTo>
                  <a:cubicBezTo>
                    <a:pt x="132" y="288"/>
                    <a:pt x="132" y="288"/>
                    <a:pt x="132" y="288"/>
                  </a:cubicBezTo>
                  <a:cubicBezTo>
                    <a:pt x="76" y="288"/>
                    <a:pt x="76" y="288"/>
                    <a:pt x="76" y="288"/>
                  </a:cubicBezTo>
                  <a:moveTo>
                    <a:pt x="136" y="288"/>
                  </a:moveTo>
                  <a:cubicBezTo>
                    <a:pt x="136" y="232"/>
                    <a:pt x="136" y="232"/>
                    <a:pt x="136" y="232"/>
                  </a:cubicBezTo>
                  <a:cubicBezTo>
                    <a:pt x="192" y="232"/>
                    <a:pt x="192" y="232"/>
                    <a:pt x="192" y="232"/>
                  </a:cubicBezTo>
                  <a:cubicBezTo>
                    <a:pt x="192" y="288"/>
                    <a:pt x="192" y="288"/>
                    <a:pt x="192" y="288"/>
                  </a:cubicBezTo>
                  <a:cubicBezTo>
                    <a:pt x="136" y="288"/>
                    <a:pt x="136" y="288"/>
                    <a:pt x="136" y="288"/>
                  </a:cubicBezTo>
                  <a:moveTo>
                    <a:pt x="196" y="288"/>
                  </a:moveTo>
                  <a:cubicBezTo>
                    <a:pt x="196" y="232"/>
                    <a:pt x="196" y="232"/>
                    <a:pt x="196" y="232"/>
                  </a:cubicBezTo>
                  <a:cubicBezTo>
                    <a:pt x="252" y="232"/>
                    <a:pt x="252" y="232"/>
                    <a:pt x="252" y="232"/>
                  </a:cubicBezTo>
                  <a:cubicBezTo>
                    <a:pt x="252" y="288"/>
                    <a:pt x="252" y="288"/>
                    <a:pt x="252" y="288"/>
                  </a:cubicBezTo>
                  <a:cubicBezTo>
                    <a:pt x="196" y="288"/>
                    <a:pt x="196" y="288"/>
                    <a:pt x="196" y="288"/>
                  </a:cubicBezTo>
                  <a:moveTo>
                    <a:pt x="256" y="288"/>
                  </a:moveTo>
                  <a:cubicBezTo>
                    <a:pt x="256" y="232"/>
                    <a:pt x="256" y="232"/>
                    <a:pt x="256" y="232"/>
                  </a:cubicBezTo>
                  <a:cubicBezTo>
                    <a:pt x="312" y="232"/>
                    <a:pt x="312" y="232"/>
                    <a:pt x="312" y="232"/>
                  </a:cubicBezTo>
                  <a:cubicBezTo>
                    <a:pt x="312" y="288"/>
                    <a:pt x="312" y="288"/>
                    <a:pt x="312" y="288"/>
                  </a:cubicBezTo>
                  <a:cubicBezTo>
                    <a:pt x="256" y="288"/>
                    <a:pt x="256" y="288"/>
                    <a:pt x="256" y="288"/>
                  </a:cubicBezTo>
                  <a:moveTo>
                    <a:pt x="76" y="107"/>
                  </a:moveTo>
                  <a:cubicBezTo>
                    <a:pt x="76" y="101"/>
                    <a:pt x="76" y="101"/>
                    <a:pt x="76" y="101"/>
                  </a:cubicBezTo>
                  <a:cubicBezTo>
                    <a:pt x="130" y="101"/>
                    <a:pt x="130" y="101"/>
                    <a:pt x="130" y="101"/>
                  </a:cubicBezTo>
                  <a:cubicBezTo>
                    <a:pt x="130" y="107"/>
                    <a:pt x="130" y="107"/>
                    <a:pt x="130" y="107"/>
                  </a:cubicBezTo>
                  <a:cubicBezTo>
                    <a:pt x="76" y="107"/>
                    <a:pt x="76" y="107"/>
                    <a:pt x="76" y="107"/>
                  </a:cubicBezTo>
                  <a:moveTo>
                    <a:pt x="76" y="82"/>
                  </a:moveTo>
                  <a:cubicBezTo>
                    <a:pt x="76" y="73"/>
                    <a:pt x="76" y="73"/>
                    <a:pt x="76" y="73"/>
                  </a:cubicBezTo>
                  <a:cubicBezTo>
                    <a:pt x="122" y="73"/>
                    <a:pt x="122" y="73"/>
                    <a:pt x="122" y="73"/>
                  </a:cubicBezTo>
                  <a:cubicBezTo>
                    <a:pt x="122" y="82"/>
                    <a:pt x="122" y="82"/>
                    <a:pt x="122" y="82"/>
                  </a:cubicBezTo>
                  <a:cubicBezTo>
                    <a:pt x="76" y="82"/>
                    <a:pt x="76" y="82"/>
                    <a:pt x="76" y="82"/>
                  </a:cubicBezTo>
                  <a:moveTo>
                    <a:pt x="136" y="82"/>
                  </a:moveTo>
                  <a:cubicBezTo>
                    <a:pt x="136" y="73"/>
                    <a:pt x="136" y="73"/>
                    <a:pt x="136" y="73"/>
                  </a:cubicBezTo>
                  <a:cubicBezTo>
                    <a:pt x="182" y="73"/>
                    <a:pt x="182" y="73"/>
                    <a:pt x="182" y="73"/>
                  </a:cubicBezTo>
                  <a:cubicBezTo>
                    <a:pt x="182" y="82"/>
                    <a:pt x="182" y="82"/>
                    <a:pt x="182" y="82"/>
                  </a:cubicBezTo>
                  <a:cubicBezTo>
                    <a:pt x="136" y="82"/>
                    <a:pt x="136" y="82"/>
                    <a:pt x="136" y="82"/>
                  </a:cubicBezTo>
                  <a:moveTo>
                    <a:pt x="76" y="52"/>
                  </a:moveTo>
                  <a:cubicBezTo>
                    <a:pt x="76" y="27"/>
                    <a:pt x="76" y="27"/>
                    <a:pt x="76" y="27"/>
                  </a:cubicBezTo>
                  <a:cubicBezTo>
                    <a:pt x="101" y="27"/>
                    <a:pt x="101" y="27"/>
                    <a:pt x="101" y="27"/>
                  </a:cubicBezTo>
                  <a:cubicBezTo>
                    <a:pt x="101" y="52"/>
                    <a:pt x="101" y="52"/>
                    <a:pt x="101" y="52"/>
                  </a:cubicBezTo>
                  <a:cubicBezTo>
                    <a:pt x="76" y="52"/>
                    <a:pt x="76" y="52"/>
                    <a:pt x="76" y="52"/>
                  </a:cubicBezTo>
                  <a:moveTo>
                    <a:pt x="147" y="0"/>
                  </a:moveTo>
                  <a:cubicBezTo>
                    <a:pt x="8" y="0"/>
                    <a:pt x="8" y="0"/>
                    <a:pt x="8" y="0"/>
                  </a:cubicBezTo>
                  <a:cubicBezTo>
                    <a:pt x="4" y="0"/>
                    <a:pt x="0" y="4"/>
                    <a:pt x="0" y="8"/>
                  </a:cubicBezTo>
                  <a:cubicBezTo>
                    <a:pt x="0" y="231"/>
                    <a:pt x="0" y="231"/>
                    <a:pt x="0" y="231"/>
                  </a:cubicBezTo>
                  <a:cubicBezTo>
                    <a:pt x="92" y="324"/>
                    <a:pt x="92" y="324"/>
                    <a:pt x="92" y="324"/>
                  </a:cubicBezTo>
                  <a:cubicBezTo>
                    <a:pt x="472" y="324"/>
                    <a:pt x="472" y="324"/>
                    <a:pt x="472" y="324"/>
                  </a:cubicBezTo>
                  <a:cubicBezTo>
                    <a:pt x="436" y="288"/>
                    <a:pt x="436" y="288"/>
                    <a:pt x="436" y="288"/>
                  </a:cubicBezTo>
                  <a:cubicBezTo>
                    <a:pt x="376" y="288"/>
                    <a:pt x="376" y="288"/>
                    <a:pt x="376" y="288"/>
                  </a:cubicBezTo>
                  <a:cubicBezTo>
                    <a:pt x="376" y="232"/>
                    <a:pt x="376" y="232"/>
                    <a:pt x="376" y="232"/>
                  </a:cubicBezTo>
                  <a:cubicBezTo>
                    <a:pt x="380" y="232"/>
                    <a:pt x="380" y="232"/>
                    <a:pt x="380" y="232"/>
                  </a:cubicBezTo>
                  <a:cubicBezTo>
                    <a:pt x="343" y="195"/>
                    <a:pt x="343" y="195"/>
                    <a:pt x="343" y="195"/>
                  </a:cubicBezTo>
                  <a:cubicBezTo>
                    <a:pt x="343" y="228"/>
                    <a:pt x="343" y="228"/>
                    <a:pt x="343" y="228"/>
                  </a:cubicBezTo>
                  <a:cubicBezTo>
                    <a:pt x="312" y="228"/>
                    <a:pt x="312" y="228"/>
                    <a:pt x="312" y="228"/>
                  </a:cubicBezTo>
                  <a:cubicBezTo>
                    <a:pt x="312" y="165"/>
                    <a:pt x="312" y="165"/>
                    <a:pt x="312" y="165"/>
                  </a:cubicBezTo>
                  <a:cubicBezTo>
                    <a:pt x="312" y="228"/>
                    <a:pt x="312" y="228"/>
                    <a:pt x="312" y="228"/>
                  </a:cubicBezTo>
                  <a:cubicBezTo>
                    <a:pt x="76" y="228"/>
                    <a:pt x="76" y="228"/>
                    <a:pt x="76" y="228"/>
                  </a:cubicBezTo>
                  <a:cubicBezTo>
                    <a:pt x="76" y="112"/>
                    <a:pt x="76" y="112"/>
                    <a:pt x="76" y="112"/>
                  </a:cubicBezTo>
                  <a:cubicBezTo>
                    <a:pt x="260" y="112"/>
                    <a:pt x="260" y="112"/>
                    <a:pt x="260" y="112"/>
                  </a:cubicBezTo>
                  <a:cubicBezTo>
                    <a:pt x="230" y="82"/>
                    <a:pt x="230" y="82"/>
                    <a:pt x="230" y="82"/>
                  </a:cubicBezTo>
                  <a:cubicBezTo>
                    <a:pt x="196" y="82"/>
                    <a:pt x="196" y="82"/>
                    <a:pt x="196" y="82"/>
                  </a:cubicBezTo>
                  <a:cubicBezTo>
                    <a:pt x="196" y="73"/>
                    <a:pt x="196" y="73"/>
                    <a:pt x="196" y="73"/>
                  </a:cubicBezTo>
                  <a:cubicBezTo>
                    <a:pt x="220" y="73"/>
                    <a:pt x="220" y="73"/>
                    <a:pt x="220" y="73"/>
                  </a:cubicBezTo>
                  <a:cubicBezTo>
                    <a:pt x="147" y="0"/>
                    <a:pt x="147" y="0"/>
                    <a:pt x="147" y="0"/>
                  </a:cubicBezTo>
                </a:path>
              </a:pathLst>
            </a:custGeom>
            <a:solidFill>
              <a:srgbClr val="005E7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306" name="Freeform 46"/>
            <p:cNvSpPr>
              <a:spLocks/>
            </p:cNvSpPr>
            <p:nvPr/>
          </p:nvSpPr>
          <p:spPr bwMode="auto">
            <a:xfrm>
              <a:off x="9240442" y="5864869"/>
              <a:ext cx="101622" cy="95170"/>
            </a:xfrm>
            <a:custGeom>
              <a:avLst/>
              <a:gdLst>
                <a:gd name="T0" fmla="*/ 9 w 126"/>
                <a:gd name="T1" fmla="*/ 0 h 118"/>
                <a:gd name="T2" fmla="*/ 0 w 126"/>
                <a:gd name="T3" fmla="*/ 0 h 118"/>
                <a:gd name="T4" fmla="*/ 0 w 126"/>
                <a:gd name="T5" fmla="*/ 118 h 118"/>
                <a:gd name="T6" fmla="*/ 126 w 126"/>
                <a:gd name="T7" fmla="*/ 118 h 118"/>
                <a:gd name="T8" fmla="*/ 9 w 126"/>
                <a:gd name="T9" fmla="*/ 0 h 118"/>
              </a:gdLst>
              <a:ahLst/>
              <a:cxnLst>
                <a:cxn ang="0">
                  <a:pos x="T0" y="T1"/>
                </a:cxn>
                <a:cxn ang="0">
                  <a:pos x="T2" y="T3"/>
                </a:cxn>
                <a:cxn ang="0">
                  <a:pos x="T4" y="T5"/>
                </a:cxn>
                <a:cxn ang="0">
                  <a:pos x="T6" y="T7"/>
                </a:cxn>
                <a:cxn ang="0">
                  <a:pos x="T8" y="T9"/>
                </a:cxn>
              </a:cxnLst>
              <a:rect l="0" t="0" r="r" b="b"/>
              <a:pathLst>
                <a:path w="126" h="118">
                  <a:moveTo>
                    <a:pt x="9" y="0"/>
                  </a:moveTo>
                  <a:lnTo>
                    <a:pt x="0" y="0"/>
                  </a:lnTo>
                  <a:lnTo>
                    <a:pt x="0" y="118"/>
                  </a:lnTo>
                  <a:lnTo>
                    <a:pt x="126" y="118"/>
                  </a:lnTo>
                  <a:lnTo>
                    <a:pt x="9" y="0"/>
                  </a:lnTo>
                  <a:close/>
                </a:path>
              </a:pathLst>
            </a:custGeom>
            <a:solidFill>
              <a:srgbClr val="55386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307" name="Freeform 47"/>
            <p:cNvSpPr>
              <a:spLocks/>
            </p:cNvSpPr>
            <p:nvPr/>
          </p:nvSpPr>
          <p:spPr bwMode="auto">
            <a:xfrm>
              <a:off x="9240442" y="5864869"/>
              <a:ext cx="101622" cy="95170"/>
            </a:xfrm>
            <a:custGeom>
              <a:avLst/>
              <a:gdLst>
                <a:gd name="T0" fmla="*/ 9 w 126"/>
                <a:gd name="T1" fmla="*/ 0 h 118"/>
                <a:gd name="T2" fmla="*/ 0 w 126"/>
                <a:gd name="T3" fmla="*/ 0 h 118"/>
                <a:gd name="T4" fmla="*/ 0 w 126"/>
                <a:gd name="T5" fmla="*/ 118 h 118"/>
                <a:gd name="T6" fmla="*/ 126 w 126"/>
                <a:gd name="T7" fmla="*/ 118 h 118"/>
                <a:gd name="T8" fmla="*/ 9 w 126"/>
                <a:gd name="T9" fmla="*/ 0 h 118"/>
              </a:gdLst>
              <a:ahLst/>
              <a:cxnLst>
                <a:cxn ang="0">
                  <a:pos x="T0" y="T1"/>
                </a:cxn>
                <a:cxn ang="0">
                  <a:pos x="T2" y="T3"/>
                </a:cxn>
                <a:cxn ang="0">
                  <a:pos x="T4" y="T5"/>
                </a:cxn>
                <a:cxn ang="0">
                  <a:pos x="T6" y="T7"/>
                </a:cxn>
                <a:cxn ang="0">
                  <a:pos x="T8" y="T9"/>
                </a:cxn>
              </a:cxnLst>
              <a:rect l="0" t="0" r="r" b="b"/>
              <a:pathLst>
                <a:path w="126" h="118">
                  <a:moveTo>
                    <a:pt x="9" y="0"/>
                  </a:moveTo>
                  <a:lnTo>
                    <a:pt x="0" y="0"/>
                  </a:lnTo>
                  <a:lnTo>
                    <a:pt x="0" y="118"/>
                  </a:lnTo>
                  <a:lnTo>
                    <a:pt x="126" y="118"/>
                  </a:lnTo>
                  <a:lnTo>
                    <a:pt x="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308" name="Rectangle 48"/>
            <p:cNvSpPr>
              <a:spLocks noChangeArrowheads="1"/>
            </p:cNvSpPr>
            <p:nvPr/>
          </p:nvSpPr>
          <p:spPr bwMode="auto">
            <a:xfrm>
              <a:off x="9038006" y="5864869"/>
              <a:ext cx="94363" cy="95170"/>
            </a:xfrm>
            <a:prstGeom prst="rect">
              <a:avLst/>
            </a:prstGeom>
            <a:solidFill>
              <a:srgbClr val="18C1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309" name="Rectangle 49"/>
            <p:cNvSpPr>
              <a:spLocks noChangeArrowheads="1"/>
            </p:cNvSpPr>
            <p:nvPr/>
          </p:nvSpPr>
          <p:spPr bwMode="auto">
            <a:xfrm>
              <a:off x="9038006" y="5864869"/>
              <a:ext cx="94363" cy="951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310" name="Freeform 50"/>
            <p:cNvSpPr>
              <a:spLocks/>
            </p:cNvSpPr>
            <p:nvPr/>
          </p:nvSpPr>
          <p:spPr bwMode="auto">
            <a:xfrm>
              <a:off x="8734753" y="5662432"/>
              <a:ext cx="397616" cy="195985"/>
            </a:xfrm>
            <a:custGeom>
              <a:avLst/>
              <a:gdLst>
                <a:gd name="T0" fmla="*/ 385 w 493"/>
                <a:gd name="T1" fmla="*/ 0 h 243"/>
                <a:gd name="T2" fmla="*/ 0 w 493"/>
                <a:gd name="T3" fmla="*/ 0 h 243"/>
                <a:gd name="T4" fmla="*/ 0 w 493"/>
                <a:gd name="T5" fmla="*/ 243 h 243"/>
                <a:gd name="T6" fmla="*/ 493 w 493"/>
                <a:gd name="T7" fmla="*/ 243 h 243"/>
                <a:gd name="T8" fmla="*/ 493 w 493"/>
                <a:gd name="T9" fmla="*/ 111 h 243"/>
                <a:gd name="T10" fmla="*/ 385 w 493"/>
                <a:gd name="T11" fmla="*/ 0 h 243"/>
              </a:gdLst>
              <a:ahLst/>
              <a:cxnLst>
                <a:cxn ang="0">
                  <a:pos x="T0" y="T1"/>
                </a:cxn>
                <a:cxn ang="0">
                  <a:pos x="T2" y="T3"/>
                </a:cxn>
                <a:cxn ang="0">
                  <a:pos x="T4" y="T5"/>
                </a:cxn>
                <a:cxn ang="0">
                  <a:pos x="T6" y="T7"/>
                </a:cxn>
                <a:cxn ang="0">
                  <a:pos x="T8" y="T9"/>
                </a:cxn>
                <a:cxn ang="0">
                  <a:pos x="T10" y="T11"/>
                </a:cxn>
              </a:cxnLst>
              <a:rect l="0" t="0" r="r" b="b"/>
              <a:pathLst>
                <a:path w="493" h="243">
                  <a:moveTo>
                    <a:pt x="385" y="0"/>
                  </a:moveTo>
                  <a:lnTo>
                    <a:pt x="0" y="0"/>
                  </a:lnTo>
                  <a:lnTo>
                    <a:pt x="0" y="243"/>
                  </a:lnTo>
                  <a:lnTo>
                    <a:pt x="493" y="243"/>
                  </a:lnTo>
                  <a:lnTo>
                    <a:pt x="493" y="111"/>
                  </a:lnTo>
                  <a:lnTo>
                    <a:pt x="385" y="0"/>
                  </a:lnTo>
                  <a:close/>
                </a:path>
              </a:pathLst>
            </a:custGeom>
            <a:solidFill>
              <a:srgbClr val="60606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311" name="Freeform 51"/>
            <p:cNvSpPr>
              <a:spLocks/>
            </p:cNvSpPr>
            <p:nvPr/>
          </p:nvSpPr>
          <p:spPr bwMode="auto">
            <a:xfrm>
              <a:off x="8734753" y="5662432"/>
              <a:ext cx="397616" cy="195985"/>
            </a:xfrm>
            <a:custGeom>
              <a:avLst/>
              <a:gdLst>
                <a:gd name="T0" fmla="*/ 385 w 493"/>
                <a:gd name="T1" fmla="*/ 0 h 243"/>
                <a:gd name="T2" fmla="*/ 0 w 493"/>
                <a:gd name="T3" fmla="*/ 0 h 243"/>
                <a:gd name="T4" fmla="*/ 0 w 493"/>
                <a:gd name="T5" fmla="*/ 243 h 243"/>
                <a:gd name="T6" fmla="*/ 493 w 493"/>
                <a:gd name="T7" fmla="*/ 243 h 243"/>
                <a:gd name="T8" fmla="*/ 493 w 493"/>
                <a:gd name="T9" fmla="*/ 111 h 243"/>
                <a:gd name="T10" fmla="*/ 385 w 493"/>
                <a:gd name="T11" fmla="*/ 0 h 243"/>
              </a:gdLst>
              <a:ahLst/>
              <a:cxnLst>
                <a:cxn ang="0">
                  <a:pos x="T0" y="T1"/>
                </a:cxn>
                <a:cxn ang="0">
                  <a:pos x="T2" y="T3"/>
                </a:cxn>
                <a:cxn ang="0">
                  <a:pos x="T4" y="T5"/>
                </a:cxn>
                <a:cxn ang="0">
                  <a:pos x="T6" y="T7"/>
                </a:cxn>
                <a:cxn ang="0">
                  <a:pos x="T8" y="T9"/>
                </a:cxn>
                <a:cxn ang="0">
                  <a:pos x="T10" y="T11"/>
                </a:cxn>
              </a:cxnLst>
              <a:rect l="0" t="0" r="r" b="b"/>
              <a:pathLst>
                <a:path w="493" h="243">
                  <a:moveTo>
                    <a:pt x="385" y="0"/>
                  </a:moveTo>
                  <a:lnTo>
                    <a:pt x="0" y="0"/>
                  </a:lnTo>
                  <a:lnTo>
                    <a:pt x="0" y="243"/>
                  </a:lnTo>
                  <a:lnTo>
                    <a:pt x="493" y="243"/>
                  </a:lnTo>
                  <a:lnTo>
                    <a:pt x="493" y="111"/>
                  </a:lnTo>
                  <a:lnTo>
                    <a:pt x="38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312" name="Freeform 52"/>
            <p:cNvSpPr>
              <a:spLocks/>
            </p:cNvSpPr>
            <p:nvPr/>
          </p:nvSpPr>
          <p:spPr bwMode="auto">
            <a:xfrm>
              <a:off x="9132368" y="5751956"/>
              <a:ext cx="52424" cy="106461"/>
            </a:xfrm>
            <a:custGeom>
              <a:avLst/>
              <a:gdLst>
                <a:gd name="T0" fmla="*/ 0 w 65"/>
                <a:gd name="T1" fmla="*/ 0 h 132"/>
                <a:gd name="T2" fmla="*/ 0 w 65"/>
                <a:gd name="T3" fmla="*/ 132 h 132"/>
                <a:gd name="T4" fmla="*/ 65 w 65"/>
                <a:gd name="T5" fmla="*/ 132 h 132"/>
                <a:gd name="T6" fmla="*/ 65 w 65"/>
                <a:gd name="T7" fmla="*/ 63 h 132"/>
                <a:gd name="T8" fmla="*/ 0 w 65"/>
                <a:gd name="T9" fmla="*/ 0 h 132"/>
              </a:gdLst>
              <a:ahLst/>
              <a:cxnLst>
                <a:cxn ang="0">
                  <a:pos x="T0" y="T1"/>
                </a:cxn>
                <a:cxn ang="0">
                  <a:pos x="T2" y="T3"/>
                </a:cxn>
                <a:cxn ang="0">
                  <a:pos x="T4" y="T5"/>
                </a:cxn>
                <a:cxn ang="0">
                  <a:pos x="T6" y="T7"/>
                </a:cxn>
                <a:cxn ang="0">
                  <a:pos x="T8" y="T9"/>
                </a:cxn>
              </a:cxnLst>
              <a:rect l="0" t="0" r="r" b="b"/>
              <a:pathLst>
                <a:path w="65" h="132">
                  <a:moveTo>
                    <a:pt x="0" y="0"/>
                  </a:moveTo>
                  <a:lnTo>
                    <a:pt x="0" y="132"/>
                  </a:lnTo>
                  <a:lnTo>
                    <a:pt x="65" y="132"/>
                  </a:lnTo>
                  <a:lnTo>
                    <a:pt x="65" y="63"/>
                  </a:lnTo>
                  <a:lnTo>
                    <a:pt x="0" y="0"/>
                  </a:lnTo>
                  <a:close/>
                </a:path>
              </a:pathLst>
            </a:custGeom>
            <a:solidFill>
              <a:srgbClr val="46464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313" name="Freeform 53"/>
            <p:cNvSpPr>
              <a:spLocks/>
            </p:cNvSpPr>
            <p:nvPr/>
          </p:nvSpPr>
          <p:spPr bwMode="auto">
            <a:xfrm>
              <a:off x="9132368" y="5751956"/>
              <a:ext cx="52424" cy="106461"/>
            </a:xfrm>
            <a:custGeom>
              <a:avLst/>
              <a:gdLst>
                <a:gd name="T0" fmla="*/ 0 w 65"/>
                <a:gd name="T1" fmla="*/ 0 h 132"/>
                <a:gd name="T2" fmla="*/ 0 w 65"/>
                <a:gd name="T3" fmla="*/ 132 h 132"/>
                <a:gd name="T4" fmla="*/ 65 w 65"/>
                <a:gd name="T5" fmla="*/ 132 h 132"/>
                <a:gd name="T6" fmla="*/ 65 w 65"/>
                <a:gd name="T7" fmla="*/ 63 h 132"/>
                <a:gd name="T8" fmla="*/ 0 w 65"/>
                <a:gd name="T9" fmla="*/ 0 h 132"/>
              </a:gdLst>
              <a:ahLst/>
              <a:cxnLst>
                <a:cxn ang="0">
                  <a:pos x="T0" y="T1"/>
                </a:cxn>
                <a:cxn ang="0">
                  <a:pos x="T2" y="T3"/>
                </a:cxn>
                <a:cxn ang="0">
                  <a:pos x="T4" y="T5"/>
                </a:cxn>
                <a:cxn ang="0">
                  <a:pos x="T6" y="T7"/>
                </a:cxn>
                <a:cxn ang="0">
                  <a:pos x="T8" y="T9"/>
                </a:cxn>
              </a:cxnLst>
              <a:rect l="0" t="0" r="r" b="b"/>
              <a:pathLst>
                <a:path w="65" h="132">
                  <a:moveTo>
                    <a:pt x="0" y="0"/>
                  </a:moveTo>
                  <a:lnTo>
                    <a:pt x="0" y="132"/>
                  </a:lnTo>
                  <a:lnTo>
                    <a:pt x="65" y="132"/>
                  </a:lnTo>
                  <a:lnTo>
                    <a:pt x="65" y="6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314" name="Rectangle 54"/>
            <p:cNvSpPr>
              <a:spLocks noChangeArrowheads="1"/>
            </p:cNvSpPr>
            <p:nvPr/>
          </p:nvSpPr>
          <p:spPr bwMode="auto">
            <a:xfrm>
              <a:off x="8937190" y="5864869"/>
              <a:ext cx="94363" cy="95170"/>
            </a:xfrm>
            <a:prstGeom prst="rect">
              <a:avLst/>
            </a:prstGeom>
            <a:solidFill>
              <a:srgbClr val="18941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315" name="Rectangle 55"/>
            <p:cNvSpPr>
              <a:spLocks noChangeArrowheads="1"/>
            </p:cNvSpPr>
            <p:nvPr/>
          </p:nvSpPr>
          <p:spPr bwMode="auto">
            <a:xfrm>
              <a:off x="8937190" y="5864869"/>
              <a:ext cx="94363" cy="951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316" name="Rectangle 56"/>
            <p:cNvSpPr>
              <a:spLocks noChangeArrowheads="1"/>
            </p:cNvSpPr>
            <p:nvPr/>
          </p:nvSpPr>
          <p:spPr bwMode="auto">
            <a:xfrm>
              <a:off x="8835568" y="5864869"/>
              <a:ext cx="95170" cy="95170"/>
            </a:xfrm>
            <a:prstGeom prst="rect">
              <a:avLst/>
            </a:prstGeom>
            <a:solidFill>
              <a:srgbClr val="18C1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317" name="Rectangle 57"/>
            <p:cNvSpPr>
              <a:spLocks noChangeArrowheads="1"/>
            </p:cNvSpPr>
            <p:nvPr/>
          </p:nvSpPr>
          <p:spPr bwMode="auto">
            <a:xfrm>
              <a:off x="8835568" y="5864869"/>
              <a:ext cx="95170" cy="951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318" name="Rectangle 58"/>
            <p:cNvSpPr>
              <a:spLocks noChangeArrowheads="1"/>
            </p:cNvSpPr>
            <p:nvPr/>
          </p:nvSpPr>
          <p:spPr bwMode="auto">
            <a:xfrm>
              <a:off x="8734753" y="5864869"/>
              <a:ext cx="94363" cy="95170"/>
            </a:xfrm>
            <a:prstGeom prst="rect">
              <a:avLst/>
            </a:prstGeom>
            <a:solidFill>
              <a:srgbClr val="18941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319" name="Rectangle 59"/>
            <p:cNvSpPr>
              <a:spLocks noChangeArrowheads="1"/>
            </p:cNvSpPr>
            <p:nvPr/>
          </p:nvSpPr>
          <p:spPr bwMode="auto">
            <a:xfrm>
              <a:off x="8734753" y="5864869"/>
              <a:ext cx="94363" cy="951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320" name="Rectangle 60"/>
            <p:cNvSpPr>
              <a:spLocks noChangeArrowheads="1"/>
            </p:cNvSpPr>
            <p:nvPr/>
          </p:nvSpPr>
          <p:spPr bwMode="auto">
            <a:xfrm>
              <a:off x="8734753" y="5518871"/>
              <a:ext cx="41939" cy="41939"/>
            </a:xfrm>
            <a:prstGeom prst="rect">
              <a:avLst/>
            </a:prstGeom>
            <a:solidFill>
              <a:srgbClr val="FD961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321" name="Rectangle 61"/>
            <p:cNvSpPr>
              <a:spLocks noChangeArrowheads="1"/>
            </p:cNvSpPr>
            <p:nvPr/>
          </p:nvSpPr>
          <p:spPr bwMode="auto">
            <a:xfrm>
              <a:off x="8734753" y="5518871"/>
              <a:ext cx="41939" cy="419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322" name="Rectangle 62"/>
            <p:cNvSpPr>
              <a:spLocks noChangeArrowheads="1"/>
            </p:cNvSpPr>
            <p:nvPr/>
          </p:nvSpPr>
          <p:spPr bwMode="auto">
            <a:xfrm>
              <a:off x="8734753" y="5596297"/>
              <a:ext cx="77426" cy="15324"/>
            </a:xfrm>
            <a:prstGeom prst="rect">
              <a:avLst/>
            </a:prstGeom>
            <a:solidFill>
              <a:srgbClr val="D5D5D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323" name="Rectangle 63"/>
            <p:cNvSpPr>
              <a:spLocks noChangeArrowheads="1"/>
            </p:cNvSpPr>
            <p:nvPr/>
          </p:nvSpPr>
          <p:spPr bwMode="auto">
            <a:xfrm>
              <a:off x="8734753" y="5596297"/>
              <a:ext cx="77426" cy="153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324" name="Rectangle 64"/>
            <p:cNvSpPr>
              <a:spLocks noChangeArrowheads="1"/>
            </p:cNvSpPr>
            <p:nvPr/>
          </p:nvSpPr>
          <p:spPr bwMode="auto">
            <a:xfrm>
              <a:off x="8835568" y="5596297"/>
              <a:ext cx="78233" cy="15324"/>
            </a:xfrm>
            <a:prstGeom prst="rect">
              <a:avLst/>
            </a:prstGeom>
            <a:solidFill>
              <a:srgbClr val="60606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325" name="Rectangle 65"/>
            <p:cNvSpPr>
              <a:spLocks noChangeArrowheads="1"/>
            </p:cNvSpPr>
            <p:nvPr/>
          </p:nvSpPr>
          <p:spPr bwMode="auto">
            <a:xfrm>
              <a:off x="8835568" y="5596297"/>
              <a:ext cx="78233" cy="153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326" name="Freeform 66"/>
            <p:cNvSpPr>
              <a:spLocks/>
            </p:cNvSpPr>
            <p:nvPr/>
          </p:nvSpPr>
          <p:spPr bwMode="auto">
            <a:xfrm>
              <a:off x="8937190" y="5596297"/>
              <a:ext cx="57263" cy="15324"/>
            </a:xfrm>
            <a:custGeom>
              <a:avLst/>
              <a:gdLst>
                <a:gd name="T0" fmla="*/ 50 w 71"/>
                <a:gd name="T1" fmla="*/ 0 h 19"/>
                <a:gd name="T2" fmla="*/ 0 w 71"/>
                <a:gd name="T3" fmla="*/ 0 h 19"/>
                <a:gd name="T4" fmla="*/ 0 w 71"/>
                <a:gd name="T5" fmla="*/ 19 h 19"/>
                <a:gd name="T6" fmla="*/ 71 w 71"/>
                <a:gd name="T7" fmla="*/ 19 h 19"/>
                <a:gd name="T8" fmla="*/ 50 w 71"/>
                <a:gd name="T9" fmla="*/ 0 h 19"/>
              </a:gdLst>
              <a:ahLst/>
              <a:cxnLst>
                <a:cxn ang="0">
                  <a:pos x="T0" y="T1"/>
                </a:cxn>
                <a:cxn ang="0">
                  <a:pos x="T2" y="T3"/>
                </a:cxn>
                <a:cxn ang="0">
                  <a:pos x="T4" y="T5"/>
                </a:cxn>
                <a:cxn ang="0">
                  <a:pos x="T6" y="T7"/>
                </a:cxn>
                <a:cxn ang="0">
                  <a:pos x="T8" y="T9"/>
                </a:cxn>
              </a:cxnLst>
              <a:rect l="0" t="0" r="r" b="b"/>
              <a:pathLst>
                <a:path w="71" h="19">
                  <a:moveTo>
                    <a:pt x="50" y="0"/>
                  </a:moveTo>
                  <a:lnTo>
                    <a:pt x="0" y="0"/>
                  </a:lnTo>
                  <a:lnTo>
                    <a:pt x="0" y="19"/>
                  </a:lnTo>
                  <a:lnTo>
                    <a:pt x="71" y="19"/>
                  </a:lnTo>
                  <a:lnTo>
                    <a:pt x="50" y="0"/>
                  </a:lnTo>
                  <a:close/>
                </a:path>
              </a:pathLst>
            </a:custGeom>
            <a:solidFill>
              <a:srgbClr val="60606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327" name="Freeform 67"/>
            <p:cNvSpPr>
              <a:spLocks/>
            </p:cNvSpPr>
            <p:nvPr/>
          </p:nvSpPr>
          <p:spPr bwMode="auto">
            <a:xfrm>
              <a:off x="8937190" y="5596297"/>
              <a:ext cx="57263" cy="15324"/>
            </a:xfrm>
            <a:custGeom>
              <a:avLst/>
              <a:gdLst>
                <a:gd name="T0" fmla="*/ 50 w 71"/>
                <a:gd name="T1" fmla="*/ 0 h 19"/>
                <a:gd name="T2" fmla="*/ 0 w 71"/>
                <a:gd name="T3" fmla="*/ 0 h 19"/>
                <a:gd name="T4" fmla="*/ 0 w 71"/>
                <a:gd name="T5" fmla="*/ 19 h 19"/>
                <a:gd name="T6" fmla="*/ 71 w 71"/>
                <a:gd name="T7" fmla="*/ 19 h 19"/>
                <a:gd name="T8" fmla="*/ 50 w 71"/>
                <a:gd name="T9" fmla="*/ 0 h 19"/>
              </a:gdLst>
              <a:ahLst/>
              <a:cxnLst>
                <a:cxn ang="0">
                  <a:pos x="T0" y="T1"/>
                </a:cxn>
                <a:cxn ang="0">
                  <a:pos x="T2" y="T3"/>
                </a:cxn>
                <a:cxn ang="0">
                  <a:pos x="T4" y="T5"/>
                </a:cxn>
                <a:cxn ang="0">
                  <a:pos x="T6" y="T7"/>
                </a:cxn>
                <a:cxn ang="0">
                  <a:pos x="T8" y="T9"/>
                </a:cxn>
              </a:cxnLst>
              <a:rect l="0" t="0" r="r" b="b"/>
              <a:pathLst>
                <a:path w="71" h="19">
                  <a:moveTo>
                    <a:pt x="50" y="0"/>
                  </a:moveTo>
                  <a:lnTo>
                    <a:pt x="0" y="0"/>
                  </a:lnTo>
                  <a:lnTo>
                    <a:pt x="0" y="19"/>
                  </a:lnTo>
                  <a:lnTo>
                    <a:pt x="71" y="19"/>
                  </a:lnTo>
                  <a:lnTo>
                    <a:pt x="5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328" name="Rectangle 68"/>
            <p:cNvSpPr>
              <a:spLocks noChangeArrowheads="1"/>
            </p:cNvSpPr>
            <p:nvPr/>
          </p:nvSpPr>
          <p:spPr bwMode="auto">
            <a:xfrm>
              <a:off x="8734753" y="5643882"/>
              <a:ext cx="91137" cy="9678"/>
            </a:xfrm>
            <a:prstGeom prst="rect">
              <a:avLst/>
            </a:prstGeom>
            <a:solidFill>
              <a:srgbClr val="D5D5D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329" name="Rectangle 69"/>
            <p:cNvSpPr>
              <a:spLocks noChangeArrowheads="1"/>
            </p:cNvSpPr>
            <p:nvPr/>
          </p:nvSpPr>
          <p:spPr bwMode="auto">
            <a:xfrm>
              <a:off x="8734753" y="5643882"/>
              <a:ext cx="91137" cy="96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330" name="Freeform 70"/>
            <p:cNvSpPr>
              <a:spLocks/>
            </p:cNvSpPr>
            <p:nvPr/>
          </p:nvSpPr>
          <p:spPr bwMode="auto">
            <a:xfrm>
              <a:off x="9333193" y="5444671"/>
              <a:ext cx="296800" cy="296800"/>
            </a:xfrm>
            <a:custGeom>
              <a:avLst/>
              <a:gdLst>
                <a:gd name="T0" fmla="*/ 156 w 176"/>
                <a:gd name="T1" fmla="*/ 0 h 176"/>
                <a:gd name="T2" fmla="*/ 0 w 176"/>
                <a:gd name="T3" fmla="*/ 0 h 176"/>
                <a:gd name="T4" fmla="*/ 17 w 176"/>
                <a:gd name="T5" fmla="*/ 17 h 176"/>
                <a:gd name="T6" fmla="*/ 148 w 176"/>
                <a:gd name="T7" fmla="*/ 17 h 176"/>
                <a:gd name="T8" fmla="*/ 157 w 176"/>
                <a:gd name="T9" fmla="*/ 25 h 176"/>
                <a:gd name="T10" fmla="*/ 157 w 176"/>
                <a:gd name="T11" fmla="*/ 156 h 176"/>
                <a:gd name="T12" fmla="*/ 176 w 176"/>
                <a:gd name="T13" fmla="*/ 176 h 176"/>
                <a:gd name="T14" fmla="*/ 176 w 176"/>
                <a:gd name="T15" fmla="*/ 21 h 176"/>
                <a:gd name="T16" fmla="*/ 156 w 176"/>
                <a:gd name="T17" fmla="*/ 0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6" h="176">
                  <a:moveTo>
                    <a:pt x="156" y="0"/>
                  </a:moveTo>
                  <a:cubicBezTo>
                    <a:pt x="0" y="0"/>
                    <a:pt x="0" y="0"/>
                    <a:pt x="0" y="0"/>
                  </a:cubicBezTo>
                  <a:cubicBezTo>
                    <a:pt x="17" y="17"/>
                    <a:pt x="17" y="17"/>
                    <a:pt x="17" y="17"/>
                  </a:cubicBezTo>
                  <a:cubicBezTo>
                    <a:pt x="148" y="17"/>
                    <a:pt x="148" y="17"/>
                    <a:pt x="148" y="17"/>
                  </a:cubicBezTo>
                  <a:cubicBezTo>
                    <a:pt x="153" y="17"/>
                    <a:pt x="157" y="21"/>
                    <a:pt x="157" y="25"/>
                  </a:cubicBezTo>
                  <a:cubicBezTo>
                    <a:pt x="157" y="156"/>
                    <a:pt x="157" y="156"/>
                    <a:pt x="157" y="156"/>
                  </a:cubicBezTo>
                  <a:cubicBezTo>
                    <a:pt x="176" y="176"/>
                    <a:pt x="176" y="176"/>
                    <a:pt x="176" y="176"/>
                  </a:cubicBezTo>
                  <a:cubicBezTo>
                    <a:pt x="176" y="21"/>
                    <a:pt x="176" y="21"/>
                    <a:pt x="176" y="21"/>
                  </a:cubicBezTo>
                  <a:cubicBezTo>
                    <a:pt x="176" y="9"/>
                    <a:pt x="167" y="0"/>
                    <a:pt x="156" y="0"/>
                  </a:cubicBezTo>
                </a:path>
              </a:pathLst>
            </a:custGeom>
            <a:solidFill>
              <a:schemeClr val="bg1">
                <a:lumMod val="85000"/>
              </a:schemeClr>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331" name="Freeform 71"/>
            <p:cNvSpPr>
              <a:spLocks/>
            </p:cNvSpPr>
            <p:nvPr/>
          </p:nvSpPr>
          <p:spPr bwMode="auto">
            <a:xfrm>
              <a:off x="9362228" y="5472900"/>
              <a:ext cx="236311" cy="234698"/>
            </a:xfrm>
            <a:custGeom>
              <a:avLst/>
              <a:gdLst>
                <a:gd name="T0" fmla="*/ 131 w 140"/>
                <a:gd name="T1" fmla="*/ 0 h 139"/>
                <a:gd name="T2" fmla="*/ 0 w 140"/>
                <a:gd name="T3" fmla="*/ 0 h 139"/>
                <a:gd name="T4" fmla="*/ 36 w 140"/>
                <a:gd name="T5" fmla="*/ 35 h 139"/>
                <a:gd name="T6" fmla="*/ 46 w 140"/>
                <a:gd name="T7" fmla="*/ 29 h 139"/>
                <a:gd name="T8" fmla="*/ 56 w 140"/>
                <a:gd name="T9" fmla="*/ 39 h 139"/>
                <a:gd name="T10" fmla="*/ 53 w 140"/>
                <a:gd name="T11" fmla="*/ 46 h 139"/>
                <a:gd name="T12" fmla="*/ 54 w 140"/>
                <a:gd name="T13" fmla="*/ 47 h 139"/>
                <a:gd name="T14" fmla="*/ 53 w 140"/>
                <a:gd name="T15" fmla="*/ 46 h 139"/>
                <a:gd name="T16" fmla="*/ 49 w 140"/>
                <a:gd name="T17" fmla="*/ 49 h 139"/>
                <a:gd name="T18" fmla="*/ 140 w 140"/>
                <a:gd name="T19" fmla="*/ 139 h 139"/>
                <a:gd name="T20" fmla="*/ 140 w 140"/>
                <a:gd name="T21" fmla="*/ 8 h 139"/>
                <a:gd name="T22" fmla="*/ 131 w 140"/>
                <a:gd name="T23" fmla="*/ 0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0" h="139">
                  <a:moveTo>
                    <a:pt x="131" y="0"/>
                  </a:moveTo>
                  <a:cubicBezTo>
                    <a:pt x="0" y="0"/>
                    <a:pt x="0" y="0"/>
                    <a:pt x="0" y="0"/>
                  </a:cubicBezTo>
                  <a:cubicBezTo>
                    <a:pt x="36" y="35"/>
                    <a:pt x="36" y="35"/>
                    <a:pt x="36" y="35"/>
                  </a:cubicBezTo>
                  <a:cubicBezTo>
                    <a:pt x="37" y="31"/>
                    <a:pt x="41" y="29"/>
                    <a:pt x="46" y="29"/>
                  </a:cubicBezTo>
                  <a:cubicBezTo>
                    <a:pt x="51" y="29"/>
                    <a:pt x="56" y="33"/>
                    <a:pt x="56" y="39"/>
                  </a:cubicBezTo>
                  <a:cubicBezTo>
                    <a:pt x="56" y="42"/>
                    <a:pt x="55" y="44"/>
                    <a:pt x="53" y="46"/>
                  </a:cubicBezTo>
                  <a:cubicBezTo>
                    <a:pt x="53" y="47"/>
                    <a:pt x="54" y="47"/>
                    <a:pt x="54" y="47"/>
                  </a:cubicBezTo>
                  <a:cubicBezTo>
                    <a:pt x="54" y="47"/>
                    <a:pt x="53" y="47"/>
                    <a:pt x="53" y="46"/>
                  </a:cubicBezTo>
                  <a:cubicBezTo>
                    <a:pt x="52" y="48"/>
                    <a:pt x="51" y="49"/>
                    <a:pt x="49" y="49"/>
                  </a:cubicBezTo>
                  <a:cubicBezTo>
                    <a:pt x="140" y="139"/>
                    <a:pt x="140" y="139"/>
                    <a:pt x="140" y="139"/>
                  </a:cubicBezTo>
                  <a:cubicBezTo>
                    <a:pt x="140" y="8"/>
                    <a:pt x="140" y="8"/>
                    <a:pt x="140" y="8"/>
                  </a:cubicBezTo>
                  <a:cubicBezTo>
                    <a:pt x="140" y="4"/>
                    <a:pt x="136" y="0"/>
                    <a:pt x="131" y="0"/>
                  </a:cubicBezTo>
                </a:path>
              </a:pathLst>
            </a:custGeom>
            <a:solidFill>
              <a:srgbClr val="005E7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332" name="Freeform 72"/>
            <p:cNvSpPr>
              <a:spLocks noEditPoints="1"/>
            </p:cNvSpPr>
            <p:nvPr/>
          </p:nvSpPr>
          <p:spPr bwMode="auto">
            <a:xfrm>
              <a:off x="9422716" y="5522097"/>
              <a:ext cx="33874" cy="33874"/>
            </a:xfrm>
            <a:custGeom>
              <a:avLst/>
              <a:gdLst>
                <a:gd name="T0" fmla="*/ 10 w 20"/>
                <a:gd name="T1" fmla="*/ 8 h 20"/>
                <a:gd name="T2" fmla="*/ 6 w 20"/>
                <a:gd name="T3" fmla="*/ 12 h 20"/>
                <a:gd name="T4" fmla="*/ 13 w 20"/>
                <a:gd name="T5" fmla="*/ 20 h 20"/>
                <a:gd name="T6" fmla="*/ 17 w 20"/>
                <a:gd name="T7" fmla="*/ 17 h 20"/>
                <a:gd name="T8" fmla="*/ 10 w 20"/>
                <a:gd name="T9" fmla="*/ 8 h 20"/>
                <a:gd name="T10" fmla="*/ 10 w 20"/>
                <a:gd name="T11" fmla="*/ 0 h 20"/>
                <a:gd name="T12" fmla="*/ 0 w 20"/>
                <a:gd name="T13" fmla="*/ 6 h 20"/>
                <a:gd name="T14" fmla="*/ 4 w 20"/>
                <a:gd name="T15" fmla="*/ 11 h 20"/>
                <a:gd name="T16" fmla="*/ 7 w 20"/>
                <a:gd name="T17" fmla="*/ 6 h 20"/>
                <a:gd name="T18" fmla="*/ 2 w 20"/>
                <a:gd name="T19" fmla="*/ 3 h 20"/>
                <a:gd name="T20" fmla="*/ 5 w 20"/>
                <a:gd name="T21" fmla="*/ 3 h 20"/>
                <a:gd name="T22" fmla="*/ 10 w 20"/>
                <a:gd name="T23" fmla="*/ 4 h 20"/>
                <a:gd name="T24" fmla="*/ 15 w 20"/>
                <a:gd name="T25" fmla="*/ 3 h 20"/>
                <a:gd name="T26" fmla="*/ 18 w 20"/>
                <a:gd name="T27" fmla="*/ 3 h 20"/>
                <a:gd name="T28" fmla="*/ 12 w 20"/>
                <a:gd name="T29" fmla="*/ 6 h 20"/>
                <a:gd name="T30" fmla="*/ 17 w 20"/>
                <a:gd name="T31" fmla="*/ 17 h 20"/>
                <a:gd name="T32" fmla="*/ 20 w 20"/>
                <a:gd name="T33" fmla="*/ 10 h 20"/>
                <a:gd name="T34" fmla="*/ 10 w 20"/>
                <a:gd name="T3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 h="20">
                  <a:moveTo>
                    <a:pt x="10" y="8"/>
                  </a:moveTo>
                  <a:cubicBezTo>
                    <a:pt x="8" y="9"/>
                    <a:pt x="7" y="11"/>
                    <a:pt x="6" y="12"/>
                  </a:cubicBezTo>
                  <a:cubicBezTo>
                    <a:pt x="13" y="20"/>
                    <a:pt x="13" y="20"/>
                    <a:pt x="13" y="20"/>
                  </a:cubicBezTo>
                  <a:cubicBezTo>
                    <a:pt x="15" y="20"/>
                    <a:pt x="16" y="19"/>
                    <a:pt x="17" y="17"/>
                  </a:cubicBezTo>
                  <a:cubicBezTo>
                    <a:pt x="17" y="16"/>
                    <a:pt x="14" y="12"/>
                    <a:pt x="10" y="8"/>
                  </a:cubicBezTo>
                  <a:moveTo>
                    <a:pt x="10" y="0"/>
                  </a:moveTo>
                  <a:cubicBezTo>
                    <a:pt x="5" y="0"/>
                    <a:pt x="1" y="2"/>
                    <a:pt x="0" y="6"/>
                  </a:cubicBezTo>
                  <a:cubicBezTo>
                    <a:pt x="4" y="11"/>
                    <a:pt x="4" y="11"/>
                    <a:pt x="4" y="11"/>
                  </a:cubicBezTo>
                  <a:cubicBezTo>
                    <a:pt x="5" y="9"/>
                    <a:pt x="6" y="7"/>
                    <a:pt x="7" y="6"/>
                  </a:cubicBezTo>
                  <a:cubicBezTo>
                    <a:pt x="6" y="5"/>
                    <a:pt x="4" y="4"/>
                    <a:pt x="2" y="3"/>
                  </a:cubicBezTo>
                  <a:cubicBezTo>
                    <a:pt x="3" y="3"/>
                    <a:pt x="4" y="3"/>
                    <a:pt x="5" y="3"/>
                  </a:cubicBezTo>
                  <a:cubicBezTo>
                    <a:pt x="6" y="3"/>
                    <a:pt x="8" y="3"/>
                    <a:pt x="10" y="4"/>
                  </a:cubicBezTo>
                  <a:cubicBezTo>
                    <a:pt x="11" y="3"/>
                    <a:pt x="13" y="3"/>
                    <a:pt x="15" y="3"/>
                  </a:cubicBezTo>
                  <a:cubicBezTo>
                    <a:pt x="16" y="3"/>
                    <a:pt x="17" y="3"/>
                    <a:pt x="18" y="3"/>
                  </a:cubicBezTo>
                  <a:cubicBezTo>
                    <a:pt x="16" y="4"/>
                    <a:pt x="14" y="5"/>
                    <a:pt x="12" y="6"/>
                  </a:cubicBezTo>
                  <a:cubicBezTo>
                    <a:pt x="15" y="8"/>
                    <a:pt x="17" y="12"/>
                    <a:pt x="17" y="17"/>
                  </a:cubicBezTo>
                  <a:cubicBezTo>
                    <a:pt x="19" y="15"/>
                    <a:pt x="20" y="13"/>
                    <a:pt x="20" y="10"/>
                  </a:cubicBezTo>
                  <a:cubicBezTo>
                    <a:pt x="20" y="4"/>
                    <a:pt x="15" y="0"/>
                    <a:pt x="10" y="0"/>
                  </a:cubicBezTo>
                </a:path>
              </a:pathLst>
            </a:custGeom>
            <a:solidFill>
              <a:srgbClr val="FDFDF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333" name="Freeform 73"/>
            <p:cNvSpPr>
              <a:spLocks/>
            </p:cNvSpPr>
            <p:nvPr/>
          </p:nvSpPr>
          <p:spPr bwMode="auto">
            <a:xfrm>
              <a:off x="9425943" y="5526936"/>
              <a:ext cx="27422" cy="25809"/>
            </a:xfrm>
            <a:custGeom>
              <a:avLst/>
              <a:gdLst>
                <a:gd name="T0" fmla="*/ 13 w 16"/>
                <a:gd name="T1" fmla="*/ 0 h 15"/>
                <a:gd name="T2" fmla="*/ 8 w 16"/>
                <a:gd name="T3" fmla="*/ 1 h 15"/>
                <a:gd name="T4" fmla="*/ 3 w 16"/>
                <a:gd name="T5" fmla="*/ 0 h 15"/>
                <a:gd name="T6" fmla="*/ 0 w 16"/>
                <a:gd name="T7" fmla="*/ 0 h 15"/>
                <a:gd name="T8" fmla="*/ 5 w 16"/>
                <a:gd name="T9" fmla="*/ 3 h 15"/>
                <a:gd name="T10" fmla="*/ 2 w 16"/>
                <a:gd name="T11" fmla="*/ 8 h 15"/>
                <a:gd name="T12" fmla="*/ 4 w 16"/>
                <a:gd name="T13" fmla="*/ 9 h 15"/>
                <a:gd name="T14" fmla="*/ 8 w 16"/>
                <a:gd name="T15" fmla="*/ 5 h 15"/>
                <a:gd name="T16" fmla="*/ 15 w 16"/>
                <a:gd name="T17" fmla="*/ 14 h 15"/>
                <a:gd name="T18" fmla="*/ 16 w 16"/>
                <a:gd name="T19" fmla="*/ 15 h 15"/>
                <a:gd name="T20" fmla="*/ 15 w 16"/>
                <a:gd name="T21" fmla="*/ 14 h 15"/>
                <a:gd name="T22" fmla="*/ 10 w 16"/>
                <a:gd name="T23" fmla="*/ 3 h 15"/>
                <a:gd name="T24" fmla="*/ 16 w 16"/>
                <a:gd name="T25" fmla="*/ 0 h 15"/>
                <a:gd name="T26" fmla="*/ 13 w 16"/>
                <a:gd name="T27"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 h="15">
                  <a:moveTo>
                    <a:pt x="13" y="0"/>
                  </a:moveTo>
                  <a:cubicBezTo>
                    <a:pt x="11" y="0"/>
                    <a:pt x="9" y="0"/>
                    <a:pt x="8" y="1"/>
                  </a:cubicBezTo>
                  <a:cubicBezTo>
                    <a:pt x="6" y="0"/>
                    <a:pt x="4" y="0"/>
                    <a:pt x="3" y="0"/>
                  </a:cubicBezTo>
                  <a:cubicBezTo>
                    <a:pt x="2" y="0"/>
                    <a:pt x="1" y="0"/>
                    <a:pt x="0" y="0"/>
                  </a:cubicBezTo>
                  <a:cubicBezTo>
                    <a:pt x="2" y="1"/>
                    <a:pt x="4" y="2"/>
                    <a:pt x="5" y="3"/>
                  </a:cubicBezTo>
                  <a:cubicBezTo>
                    <a:pt x="4" y="4"/>
                    <a:pt x="3" y="6"/>
                    <a:pt x="2" y="8"/>
                  </a:cubicBezTo>
                  <a:cubicBezTo>
                    <a:pt x="4" y="9"/>
                    <a:pt x="4" y="9"/>
                    <a:pt x="4" y="9"/>
                  </a:cubicBezTo>
                  <a:cubicBezTo>
                    <a:pt x="5" y="8"/>
                    <a:pt x="6" y="6"/>
                    <a:pt x="8" y="5"/>
                  </a:cubicBezTo>
                  <a:cubicBezTo>
                    <a:pt x="12" y="9"/>
                    <a:pt x="15" y="13"/>
                    <a:pt x="15" y="14"/>
                  </a:cubicBezTo>
                  <a:cubicBezTo>
                    <a:pt x="15" y="15"/>
                    <a:pt x="16" y="15"/>
                    <a:pt x="16" y="15"/>
                  </a:cubicBezTo>
                  <a:cubicBezTo>
                    <a:pt x="16" y="15"/>
                    <a:pt x="15" y="15"/>
                    <a:pt x="15" y="14"/>
                  </a:cubicBezTo>
                  <a:cubicBezTo>
                    <a:pt x="15" y="9"/>
                    <a:pt x="13" y="5"/>
                    <a:pt x="10" y="3"/>
                  </a:cubicBezTo>
                  <a:cubicBezTo>
                    <a:pt x="12" y="2"/>
                    <a:pt x="14" y="1"/>
                    <a:pt x="16" y="0"/>
                  </a:cubicBezTo>
                  <a:cubicBezTo>
                    <a:pt x="15" y="0"/>
                    <a:pt x="14" y="0"/>
                    <a:pt x="13" y="0"/>
                  </a:cubicBezTo>
                </a:path>
              </a:pathLst>
            </a:custGeom>
            <a:solidFill>
              <a:srgbClr val="18181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grpSp>
          <p:nvGrpSpPr>
            <p:cNvPr id="190" name="Group 189"/>
            <p:cNvGrpSpPr/>
            <p:nvPr/>
          </p:nvGrpSpPr>
          <p:grpSpPr>
            <a:xfrm>
              <a:off x="9963810" y="5176973"/>
              <a:ext cx="468313" cy="838200"/>
              <a:chOff x="5732463" y="5372101"/>
              <a:chExt cx="468313" cy="838200"/>
            </a:xfrm>
          </p:grpSpPr>
          <p:sp>
            <p:nvSpPr>
              <p:cNvPr id="259" name="Freeform 77"/>
              <p:cNvSpPr>
                <a:spLocks/>
              </p:cNvSpPr>
              <p:nvPr/>
            </p:nvSpPr>
            <p:spPr bwMode="auto">
              <a:xfrm>
                <a:off x="5732463" y="5372101"/>
                <a:ext cx="468313" cy="838200"/>
              </a:xfrm>
              <a:custGeom>
                <a:avLst/>
                <a:gdLst>
                  <a:gd name="T0" fmla="*/ 108 w 108"/>
                  <a:gd name="T1" fmla="*/ 188 h 196"/>
                  <a:gd name="T2" fmla="*/ 100 w 108"/>
                  <a:gd name="T3" fmla="*/ 196 h 196"/>
                  <a:gd name="T4" fmla="*/ 9 w 108"/>
                  <a:gd name="T5" fmla="*/ 196 h 196"/>
                  <a:gd name="T6" fmla="*/ 0 w 108"/>
                  <a:gd name="T7" fmla="*/ 188 h 196"/>
                  <a:gd name="T8" fmla="*/ 0 w 108"/>
                  <a:gd name="T9" fmla="*/ 9 h 196"/>
                  <a:gd name="T10" fmla="*/ 9 w 108"/>
                  <a:gd name="T11" fmla="*/ 0 h 196"/>
                  <a:gd name="T12" fmla="*/ 100 w 108"/>
                  <a:gd name="T13" fmla="*/ 0 h 196"/>
                  <a:gd name="T14" fmla="*/ 108 w 108"/>
                  <a:gd name="T15" fmla="*/ 9 h 196"/>
                  <a:gd name="T16" fmla="*/ 108 w 108"/>
                  <a:gd name="T17" fmla="*/ 188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8" h="196">
                    <a:moveTo>
                      <a:pt x="108" y="188"/>
                    </a:moveTo>
                    <a:cubicBezTo>
                      <a:pt x="108" y="193"/>
                      <a:pt x="104" y="196"/>
                      <a:pt x="100" y="196"/>
                    </a:cubicBezTo>
                    <a:cubicBezTo>
                      <a:pt x="9" y="196"/>
                      <a:pt x="9" y="196"/>
                      <a:pt x="9" y="196"/>
                    </a:cubicBezTo>
                    <a:cubicBezTo>
                      <a:pt x="4" y="196"/>
                      <a:pt x="0" y="193"/>
                      <a:pt x="0" y="188"/>
                    </a:cubicBezTo>
                    <a:cubicBezTo>
                      <a:pt x="0" y="9"/>
                      <a:pt x="0" y="9"/>
                      <a:pt x="0" y="9"/>
                    </a:cubicBezTo>
                    <a:cubicBezTo>
                      <a:pt x="0" y="4"/>
                      <a:pt x="4" y="0"/>
                      <a:pt x="9" y="0"/>
                    </a:cubicBezTo>
                    <a:cubicBezTo>
                      <a:pt x="100" y="0"/>
                      <a:pt x="100" y="0"/>
                      <a:pt x="100" y="0"/>
                    </a:cubicBezTo>
                    <a:cubicBezTo>
                      <a:pt x="104" y="0"/>
                      <a:pt x="108" y="4"/>
                      <a:pt x="108" y="9"/>
                    </a:cubicBezTo>
                    <a:lnTo>
                      <a:pt x="108" y="188"/>
                    </a:lnTo>
                    <a:close/>
                  </a:path>
                </a:pathLst>
              </a:custGeom>
              <a:solidFill>
                <a:srgbClr val="00BCF2">
                  <a:lumMod val="40000"/>
                  <a:lumOff val="6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260" name="Rectangle 78"/>
              <p:cNvSpPr>
                <a:spLocks noChangeArrowheads="1"/>
              </p:cNvSpPr>
              <p:nvPr/>
            </p:nvSpPr>
            <p:spPr bwMode="auto">
              <a:xfrm>
                <a:off x="5757863" y="5491163"/>
                <a:ext cx="415925" cy="60007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261" name="Freeform 79"/>
              <p:cNvSpPr>
                <a:spLocks/>
              </p:cNvSpPr>
              <p:nvPr/>
            </p:nvSpPr>
            <p:spPr bwMode="auto">
              <a:xfrm>
                <a:off x="5835650" y="5418138"/>
                <a:ext cx="260350" cy="12700"/>
              </a:xfrm>
              <a:custGeom>
                <a:avLst/>
                <a:gdLst>
                  <a:gd name="T0" fmla="*/ 60 w 60"/>
                  <a:gd name="T1" fmla="*/ 2 h 3"/>
                  <a:gd name="T2" fmla="*/ 58 w 60"/>
                  <a:gd name="T3" fmla="*/ 3 h 3"/>
                  <a:gd name="T4" fmla="*/ 2 w 60"/>
                  <a:gd name="T5" fmla="*/ 3 h 3"/>
                  <a:gd name="T6" fmla="*/ 0 w 60"/>
                  <a:gd name="T7" fmla="*/ 2 h 3"/>
                  <a:gd name="T8" fmla="*/ 0 w 60"/>
                  <a:gd name="T9" fmla="*/ 2 h 3"/>
                  <a:gd name="T10" fmla="*/ 2 w 60"/>
                  <a:gd name="T11" fmla="*/ 0 h 3"/>
                  <a:gd name="T12" fmla="*/ 58 w 60"/>
                  <a:gd name="T13" fmla="*/ 0 h 3"/>
                  <a:gd name="T14" fmla="*/ 60 w 60"/>
                  <a:gd name="T15" fmla="*/ 2 h 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0" h="3">
                    <a:moveTo>
                      <a:pt x="60" y="2"/>
                    </a:moveTo>
                    <a:cubicBezTo>
                      <a:pt x="60" y="3"/>
                      <a:pt x="59" y="3"/>
                      <a:pt x="58" y="3"/>
                    </a:cubicBezTo>
                    <a:cubicBezTo>
                      <a:pt x="2" y="3"/>
                      <a:pt x="2" y="3"/>
                      <a:pt x="2" y="3"/>
                    </a:cubicBezTo>
                    <a:cubicBezTo>
                      <a:pt x="1" y="3"/>
                      <a:pt x="0" y="3"/>
                      <a:pt x="0" y="2"/>
                    </a:cubicBezTo>
                    <a:cubicBezTo>
                      <a:pt x="0" y="2"/>
                      <a:pt x="0" y="2"/>
                      <a:pt x="0" y="2"/>
                    </a:cubicBezTo>
                    <a:cubicBezTo>
                      <a:pt x="0" y="1"/>
                      <a:pt x="1" y="0"/>
                      <a:pt x="2" y="0"/>
                    </a:cubicBezTo>
                    <a:cubicBezTo>
                      <a:pt x="58" y="0"/>
                      <a:pt x="58" y="0"/>
                      <a:pt x="58" y="0"/>
                    </a:cubicBezTo>
                    <a:cubicBezTo>
                      <a:pt x="59" y="0"/>
                      <a:pt x="60" y="1"/>
                      <a:pt x="60" y="2"/>
                    </a:cubicBez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262" name="Freeform 80"/>
              <p:cNvSpPr>
                <a:spLocks/>
              </p:cNvSpPr>
              <p:nvPr/>
            </p:nvSpPr>
            <p:spPr bwMode="auto">
              <a:xfrm>
                <a:off x="5757863" y="6138863"/>
                <a:ext cx="47625" cy="25400"/>
              </a:xfrm>
              <a:custGeom>
                <a:avLst/>
                <a:gdLst>
                  <a:gd name="T0" fmla="*/ 11 w 11"/>
                  <a:gd name="T1" fmla="*/ 3 h 6"/>
                  <a:gd name="T2" fmla="*/ 8 w 11"/>
                  <a:gd name="T3" fmla="*/ 6 h 6"/>
                  <a:gd name="T4" fmla="*/ 3 w 11"/>
                  <a:gd name="T5" fmla="*/ 6 h 6"/>
                  <a:gd name="T6" fmla="*/ 0 w 11"/>
                  <a:gd name="T7" fmla="*/ 3 h 6"/>
                  <a:gd name="T8" fmla="*/ 0 w 11"/>
                  <a:gd name="T9" fmla="*/ 3 h 6"/>
                  <a:gd name="T10" fmla="*/ 3 w 11"/>
                  <a:gd name="T11" fmla="*/ 0 h 6"/>
                  <a:gd name="T12" fmla="*/ 8 w 11"/>
                  <a:gd name="T13" fmla="*/ 0 h 6"/>
                  <a:gd name="T14" fmla="*/ 11 w 11"/>
                  <a:gd name="T15" fmla="*/ 3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6">
                    <a:moveTo>
                      <a:pt x="11" y="3"/>
                    </a:moveTo>
                    <a:cubicBezTo>
                      <a:pt x="11" y="5"/>
                      <a:pt x="9" y="6"/>
                      <a:pt x="8" y="6"/>
                    </a:cubicBezTo>
                    <a:cubicBezTo>
                      <a:pt x="3" y="6"/>
                      <a:pt x="3" y="6"/>
                      <a:pt x="3" y="6"/>
                    </a:cubicBezTo>
                    <a:cubicBezTo>
                      <a:pt x="1" y="6"/>
                      <a:pt x="0" y="5"/>
                      <a:pt x="0" y="3"/>
                    </a:cubicBezTo>
                    <a:cubicBezTo>
                      <a:pt x="0" y="3"/>
                      <a:pt x="0" y="3"/>
                      <a:pt x="0" y="3"/>
                    </a:cubicBezTo>
                    <a:cubicBezTo>
                      <a:pt x="0" y="2"/>
                      <a:pt x="1" y="0"/>
                      <a:pt x="3" y="0"/>
                    </a:cubicBezTo>
                    <a:cubicBezTo>
                      <a:pt x="8" y="0"/>
                      <a:pt x="8" y="0"/>
                      <a:pt x="8" y="0"/>
                    </a:cubicBezTo>
                    <a:cubicBezTo>
                      <a:pt x="9" y="0"/>
                      <a:pt x="11" y="2"/>
                      <a:pt x="11" y="3"/>
                    </a:cubicBez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263" name="Freeform 81"/>
              <p:cNvSpPr>
                <a:spLocks/>
              </p:cNvSpPr>
              <p:nvPr/>
            </p:nvSpPr>
            <p:spPr bwMode="auto">
              <a:xfrm>
                <a:off x="6126163" y="6138863"/>
                <a:ext cx="47625" cy="25400"/>
              </a:xfrm>
              <a:custGeom>
                <a:avLst/>
                <a:gdLst>
                  <a:gd name="T0" fmla="*/ 11 w 11"/>
                  <a:gd name="T1" fmla="*/ 3 h 6"/>
                  <a:gd name="T2" fmla="*/ 8 w 11"/>
                  <a:gd name="T3" fmla="*/ 6 h 6"/>
                  <a:gd name="T4" fmla="*/ 3 w 11"/>
                  <a:gd name="T5" fmla="*/ 6 h 6"/>
                  <a:gd name="T6" fmla="*/ 0 w 11"/>
                  <a:gd name="T7" fmla="*/ 3 h 6"/>
                  <a:gd name="T8" fmla="*/ 0 w 11"/>
                  <a:gd name="T9" fmla="*/ 3 h 6"/>
                  <a:gd name="T10" fmla="*/ 3 w 11"/>
                  <a:gd name="T11" fmla="*/ 0 h 6"/>
                  <a:gd name="T12" fmla="*/ 8 w 11"/>
                  <a:gd name="T13" fmla="*/ 0 h 6"/>
                  <a:gd name="T14" fmla="*/ 11 w 11"/>
                  <a:gd name="T15" fmla="*/ 3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6">
                    <a:moveTo>
                      <a:pt x="11" y="3"/>
                    </a:moveTo>
                    <a:cubicBezTo>
                      <a:pt x="11" y="5"/>
                      <a:pt x="10" y="6"/>
                      <a:pt x="8" y="6"/>
                    </a:cubicBezTo>
                    <a:cubicBezTo>
                      <a:pt x="3" y="6"/>
                      <a:pt x="3" y="6"/>
                      <a:pt x="3" y="6"/>
                    </a:cubicBezTo>
                    <a:cubicBezTo>
                      <a:pt x="2" y="6"/>
                      <a:pt x="0" y="5"/>
                      <a:pt x="0" y="3"/>
                    </a:cubicBezTo>
                    <a:cubicBezTo>
                      <a:pt x="0" y="3"/>
                      <a:pt x="0" y="3"/>
                      <a:pt x="0" y="3"/>
                    </a:cubicBezTo>
                    <a:cubicBezTo>
                      <a:pt x="0" y="2"/>
                      <a:pt x="2" y="0"/>
                      <a:pt x="3" y="0"/>
                    </a:cubicBezTo>
                    <a:cubicBezTo>
                      <a:pt x="8" y="0"/>
                      <a:pt x="8" y="0"/>
                      <a:pt x="8" y="0"/>
                    </a:cubicBezTo>
                    <a:cubicBezTo>
                      <a:pt x="10" y="0"/>
                      <a:pt x="11" y="2"/>
                      <a:pt x="11" y="3"/>
                    </a:cubicBez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264" name="Freeform 82"/>
              <p:cNvSpPr>
                <a:spLocks/>
              </p:cNvSpPr>
              <p:nvPr/>
            </p:nvSpPr>
            <p:spPr bwMode="auto">
              <a:xfrm>
                <a:off x="5918200" y="6124576"/>
                <a:ext cx="100013" cy="57150"/>
              </a:xfrm>
              <a:custGeom>
                <a:avLst/>
                <a:gdLst>
                  <a:gd name="T0" fmla="*/ 23 w 23"/>
                  <a:gd name="T1" fmla="*/ 6 h 13"/>
                  <a:gd name="T2" fmla="*/ 17 w 23"/>
                  <a:gd name="T3" fmla="*/ 13 h 13"/>
                  <a:gd name="T4" fmla="*/ 6 w 23"/>
                  <a:gd name="T5" fmla="*/ 13 h 13"/>
                  <a:gd name="T6" fmla="*/ 0 w 23"/>
                  <a:gd name="T7" fmla="*/ 6 h 13"/>
                  <a:gd name="T8" fmla="*/ 0 w 23"/>
                  <a:gd name="T9" fmla="*/ 6 h 13"/>
                  <a:gd name="T10" fmla="*/ 6 w 23"/>
                  <a:gd name="T11" fmla="*/ 0 h 13"/>
                  <a:gd name="T12" fmla="*/ 17 w 23"/>
                  <a:gd name="T13" fmla="*/ 0 h 13"/>
                  <a:gd name="T14" fmla="*/ 23 w 23"/>
                  <a:gd name="T15" fmla="*/ 6 h 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13">
                    <a:moveTo>
                      <a:pt x="23" y="6"/>
                    </a:moveTo>
                    <a:cubicBezTo>
                      <a:pt x="23" y="10"/>
                      <a:pt x="20" y="13"/>
                      <a:pt x="17" y="13"/>
                    </a:cubicBezTo>
                    <a:cubicBezTo>
                      <a:pt x="6" y="13"/>
                      <a:pt x="6" y="13"/>
                      <a:pt x="6" y="13"/>
                    </a:cubicBezTo>
                    <a:cubicBezTo>
                      <a:pt x="2" y="13"/>
                      <a:pt x="0" y="10"/>
                      <a:pt x="0" y="6"/>
                    </a:cubicBezTo>
                    <a:cubicBezTo>
                      <a:pt x="0" y="6"/>
                      <a:pt x="0" y="6"/>
                      <a:pt x="0" y="6"/>
                    </a:cubicBezTo>
                    <a:cubicBezTo>
                      <a:pt x="0" y="3"/>
                      <a:pt x="2" y="0"/>
                      <a:pt x="6" y="0"/>
                    </a:cubicBezTo>
                    <a:cubicBezTo>
                      <a:pt x="17" y="0"/>
                      <a:pt x="17" y="0"/>
                      <a:pt x="17" y="0"/>
                    </a:cubicBezTo>
                    <a:cubicBezTo>
                      <a:pt x="20" y="0"/>
                      <a:pt x="23" y="3"/>
                      <a:pt x="23" y="6"/>
                    </a:cubicBez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grpSp>
        <p:grpSp>
          <p:nvGrpSpPr>
            <p:cNvPr id="191" name="Group 190"/>
            <p:cNvGrpSpPr/>
            <p:nvPr/>
          </p:nvGrpSpPr>
          <p:grpSpPr>
            <a:xfrm>
              <a:off x="10317823" y="3154087"/>
              <a:ext cx="465138" cy="923953"/>
              <a:chOff x="6086476" y="3482975"/>
              <a:chExt cx="465138" cy="923953"/>
            </a:xfrm>
          </p:grpSpPr>
          <p:sp>
            <p:nvSpPr>
              <p:cNvPr id="253" name="Freeform 86"/>
              <p:cNvSpPr>
                <a:spLocks/>
              </p:cNvSpPr>
              <p:nvPr/>
            </p:nvSpPr>
            <p:spPr bwMode="auto">
              <a:xfrm>
                <a:off x="6086476" y="3482975"/>
                <a:ext cx="465138" cy="923953"/>
              </a:xfrm>
              <a:custGeom>
                <a:avLst/>
                <a:gdLst>
                  <a:gd name="T0" fmla="*/ 107 w 107"/>
                  <a:gd name="T1" fmla="*/ 188 h 196"/>
                  <a:gd name="T2" fmla="*/ 99 w 107"/>
                  <a:gd name="T3" fmla="*/ 196 h 196"/>
                  <a:gd name="T4" fmla="*/ 8 w 107"/>
                  <a:gd name="T5" fmla="*/ 196 h 196"/>
                  <a:gd name="T6" fmla="*/ 0 w 107"/>
                  <a:gd name="T7" fmla="*/ 188 h 196"/>
                  <a:gd name="T8" fmla="*/ 0 w 107"/>
                  <a:gd name="T9" fmla="*/ 8 h 196"/>
                  <a:gd name="T10" fmla="*/ 8 w 107"/>
                  <a:gd name="T11" fmla="*/ 0 h 196"/>
                  <a:gd name="T12" fmla="*/ 99 w 107"/>
                  <a:gd name="T13" fmla="*/ 0 h 196"/>
                  <a:gd name="T14" fmla="*/ 107 w 107"/>
                  <a:gd name="T15" fmla="*/ 8 h 196"/>
                  <a:gd name="T16" fmla="*/ 107 w 107"/>
                  <a:gd name="T17" fmla="*/ 188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7" h="196">
                    <a:moveTo>
                      <a:pt x="107" y="188"/>
                    </a:moveTo>
                    <a:cubicBezTo>
                      <a:pt x="107" y="192"/>
                      <a:pt x="104" y="196"/>
                      <a:pt x="99" y="196"/>
                    </a:cubicBezTo>
                    <a:cubicBezTo>
                      <a:pt x="8" y="196"/>
                      <a:pt x="8" y="196"/>
                      <a:pt x="8" y="196"/>
                    </a:cubicBezTo>
                    <a:cubicBezTo>
                      <a:pt x="3" y="196"/>
                      <a:pt x="0" y="192"/>
                      <a:pt x="0" y="188"/>
                    </a:cubicBezTo>
                    <a:cubicBezTo>
                      <a:pt x="0" y="8"/>
                      <a:pt x="0" y="8"/>
                      <a:pt x="0" y="8"/>
                    </a:cubicBezTo>
                    <a:cubicBezTo>
                      <a:pt x="0" y="4"/>
                      <a:pt x="3" y="0"/>
                      <a:pt x="8" y="0"/>
                    </a:cubicBezTo>
                    <a:cubicBezTo>
                      <a:pt x="99" y="0"/>
                      <a:pt x="99" y="0"/>
                      <a:pt x="99" y="0"/>
                    </a:cubicBezTo>
                    <a:cubicBezTo>
                      <a:pt x="104" y="0"/>
                      <a:pt x="107" y="4"/>
                      <a:pt x="107" y="8"/>
                    </a:cubicBezTo>
                    <a:lnTo>
                      <a:pt x="107" y="188"/>
                    </a:lnTo>
                    <a:close/>
                  </a:path>
                </a:pathLst>
              </a:custGeom>
              <a:solidFill>
                <a:srgbClr val="00BCF2">
                  <a:lumMod val="40000"/>
                  <a:lumOff val="6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254" name="Rectangle 87"/>
              <p:cNvSpPr>
                <a:spLocks noChangeArrowheads="1"/>
              </p:cNvSpPr>
              <p:nvPr/>
            </p:nvSpPr>
            <p:spPr bwMode="auto">
              <a:xfrm>
                <a:off x="6108701" y="3602038"/>
                <a:ext cx="420688" cy="66146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255" name="Freeform 88"/>
              <p:cNvSpPr>
                <a:spLocks/>
              </p:cNvSpPr>
              <p:nvPr/>
            </p:nvSpPr>
            <p:spPr bwMode="auto">
              <a:xfrm>
                <a:off x="6191251" y="3529012"/>
                <a:ext cx="255588" cy="45719"/>
              </a:xfrm>
              <a:custGeom>
                <a:avLst/>
                <a:gdLst>
                  <a:gd name="T0" fmla="*/ 59 w 59"/>
                  <a:gd name="T1" fmla="*/ 2 h 3"/>
                  <a:gd name="T2" fmla="*/ 58 w 59"/>
                  <a:gd name="T3" fmla="*/ 3 h 3"/>
                  <a:gd name="T4" fmla="*/ 1 w 59"/>
                  <a:gd name="T5" fmla="*/ 3 h 3"/>
                  <a:gd name="T6" fmla="*/ 0 w 59"/>
                  <a:gd name="T7" fmla="*/ 2 h 3"/>
                  <a:gd name="T8" fmla="*/ 0 w 59"/>
                  <a:gd name="T9" fmla="*/ 2 h 3"/>
                  <a:gd name="T10" fmla="*/ 1 w 59"/>
                  <a:gd name="T11" fmla="*/ 0 h 3"/>
                  <a:gd name="T12" fmla="*/ 58 w 59"/>
                  <a:gd name="T13" fmla="*/ 0 h 3"/>
                  <a:gd name="T14" fmla="*/ 59 w 59"/>
                  <a:gd name="T15" fmla="*/ 2 h 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9" h="3">
                    <a:moveTo>
                      <a:pt x="59" y="2"/>
                    </a:moveTo>
                    <a:cubicBezTo>
                      <a:pt x="59" y="2"/>
                      <a:pt x="58" y="3"/>
                      <a:pt x="58" y="3"/>
                    </a:cubicBezTo>
                    <a:cubicBezTo>
                      <a:pt x="1" y="3"/>
                      <a:pt x="1" y="3"/>
                      <a:pt x="1" y="3"/>
                    </a:cubicBezTo>
                    <a:cubicBezTo>
                      <a:pt x="0" y="3"/>
                      <a:pt x="0" y="2"/>
                      <a:pt x="0" y="2"/>
                    </a:cubicBezTo>
                    <a:cubicBezTo>
                      <a:pt x="0" y="2"/>
                      <a:pt x="0" y="2"/>
                      <a:pt x="0" y="2"/>
                    </a:cubicBezTo>
                    <a:cubicBezTo>
                      <a:pt x="0" y="1"/>
                      <a:pt x="0" y="0"/>
                      <a:pt x="1" y="0"/>
                    </a:cubicBezTo>
                    <a:cubicBezTo>
                      <a:pt x="58" y="0"/>
                      <a:pt x="58" y="0"/>
                      <a:pt x="58" y="0"/>
                    </a:cubicBezTo>
                    <a:cubicBezTo>
                      <a:pt x="58" y="0"/>
                      <a:pt x="59" y="1"/>
                      <a:pt x="59" y="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256" name="Freeform 89"/>
              <p:cNvSpPr>
                <a:spLocks/>
              </p:cNvSpPr>
              <p:nvPr/>
            </p:nvSpPr>
            <p:spPr bwMode="auto">
              <a:xfrm>
                <a:off x="6108701" y="4311129"/>
                <a:ext cx="47625" cy="45719"/>
              </a:xfrm>
              <a:custGeom>
                <a:avLst/>
                <a:gdLst>
                  <a:gd name="T0" fmla="*/ 11 w 11"/>
                  <a:gd name="T1" fmla="*/ 3 h 6"/>
                  <a:gd name="T2" fmla="*/ 8 w 11"/>
                  <a:gd name="T3" fmla="*/ 6 h 6"/>
                  <a:gd name="T4" fmla="*/ 3 w 11"/>
                  <a:gd name="T5" fmla="*/ 6 h 6"/>
                  <a:gd name="T6" fmla="*/ 0 w 11"/>
                  <a:gd name="T7" fmla="*/ 3 h 6"/>
                  <a:gd name="T8" fmla="*/ 0 w 11"/>
                  <a:gd name="T9" fmla="*/ 3 h 6"/>
                  <a:gd name="T10" fmla="*/ 3 w 11"/>
                  <a:gd name="T11" fmla="*/ 0 h 6"/>
                  <a:gd name="T12" fmla="*/ 8 w 11"/>
                  <a:gd name="T13" fmla="*/ 0 h 6"/>
                  <a:gd name="T14" fmla="*/ 11 w 11"/>
                  <a:gd name="T15" fmla="*/ 3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6">
                    <a:moveTo>
                      <a:pt x="11" y="3"/>
                    </a:moveTo>
                    <a:cubicBezTo>
                      <a:pt x="11" y="5"/>
                      <a:pt x="10" y="6"/>
                      <a:pt x="8" y="6"/>
                    </a:cubicBezTo>
                    <a:cubicBezTo>
                      <a:pt x="3" y="6"/>
                      <a:pt x="3" y="6"/>
                      <a:pt x="3" y="6"/>
                    </a:cubicBezTo>
                    <a:cubicBezTo>
                      <a:pt x="1" y="6"/>
                      <a:pt x="0" y="5"/>
                      <a:pt x="0" y="3"/>
                    </a:cubicBezTo>
                    <a:cubicBezTo>
                      <a:pt x="0" y="3"/>
                      <a:pt x="0" y="3"/>
                      <a:pt x="0" y="3"/>
                    </a:cubicBezTo>
                    <a:cubicBezTo>
                      <a:pt x="0" y="2"/>
                      <a:pt x="1" y="0"/>
                      <a:pt x="3" y="0"/>
                    </a:cubicBezTo>
                    <a:cubicBezTo>
                      <a:pt x="8" y="0"/>
                      <a:pt x="8" y="0"/>
                      <a:pt x="8" y="0"/>
                    </a:cubicBezTo>
                    <a:cubicBezTo>
                      <a:pt x="10" y="0"/>
                      <a:pt x="11" y="2"/>
                      <a:pt x="11" y="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257" name="Freeform 90"/>
              <p:cNvSpPr>
                <a:spLocks/>
              </p:cNvSpPr>
              <p:nvPr/>
            </p:nvSpPr>
            <p:spPr bwMode="auto">
              <a:xfrm>
                <a:off x="6481763" y="4311129"/>
                <a:ext cx="47625" cy="45719"/>
              </a:xfrm>
              <a:custGeom>
                <a:avLst/>
                <a:gdLst>
                  <a:gd name="T0" fmla="*/ 11 w 11"/>
                  <a:gd name="T1" fmla="*/ 3 h 6"/>
                  <a:gd name="T2" fmla="*/ 8 w 11"/>
                  <a:gd name="T3" fmla="*/ 6 h 6"/>
                  <a:gd name="T4" fmla="*/ 3 w 11"/>
                  <a:gd name="T5" fmla="*/ 6 h 6"/>
                  <a:gd name="T6" fmla="*/ 0 w 11"/>
                  <a:gd name="T7" fmla="*/ 3 h 6"/>
                  <a:gd name="T8" fmla="*/ 0 w 11"/>
                  <a:gd name="T9" fmla="*/ 3 h 6"/>
                  <a:gd name="T10" fmla="*/ 3 w 11"/>
                  <a:gd name="T11" fmla="*/ 0 h 6"/>
                  <a:gd name="T12" fmla="*/ 8 w 11"/>
                  <a:gd name="T13" fmla="*/ 0 h 6"/>
                  <a:gd name="T14" fmla="*/ 11 w 11"/>
                  <a:gd name="T15" fmla="*/ 3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6">
                    <a:moveTo>
                      <a:pt x="11" y="3"/>
                    </a:moveTo>
                    <a:cubicBezTo>
                      <a:pt x="11" y="5"/>
                      <a:pt x="9" y="6"/>
                      <a:pt x="8" y="6"/>
                    </a:cubicBezTo>
                    <a:cubicBezTo>
                      <a:pt x="3" y="6"/>
                      <a:pt x="3" y="6"/>
                      <a:pt x="3" y="6"/>
                    </a:cubicBezTo>
                    <a:cubicBezTo>
                      <a:pt x="1" y="6"/>
                      <a:pt x="0" y="5"/>
                      <a:pt x="0" y="3"/>
                    </a:cubicBezTo>
                    <a:cubicBezTo>
                      <a:pt x="0" y="3"/>
                      <a:pt x="0" y="3"/>
                      <a:pt x="0" y="3"/>
                    </a:cubicBezTo>
                    <a:cubicBezTo>
                      <a:pt x="0" y="2"/>
                      <a:pt x="1" y="0"/>
                      <a:pt x="3" y="0"/>
                    </a:cubicBezTo>
                    <a:cubicBezTo>
                      <a:pt x="8" y="0"/>
                      <a:pt x="8" y="0"/>
                      <a:pt x="8" y="0"/>
                    </a:cubicBezTo>
                    <a:cubicBezTo>
                      <a:pt x="9" y="0"/>
                      <a:pt x="11" y="2"/>
                      <a:pt x="11" y="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258" name="Freeform 91"/>
              <p:cNvSpPr>
                <a:spLocks/>
              </p:cNvSpPr>
              <p:nvPr/>
            </p:nvSpPr>
            <p:spPr bwMode="auto">
              <a:xfrm>
                <a:off x="6269038" y="4298430"/>
                <a:ext cx="100013" cy="57748"/>
              </a:xfrm>
              <a:custGeom>
                <a:avLst/>
                <a:gdLst>
                  <a:gd name="T0" fmla="*/ 23 w 23"/>
                  <a:gd name="T1" fmla="*/ 6 h 12"/>
                  <a:gd name="T2" fmla="*/ 17 w 23"/>
                  <a:gd name="T3" fmla="*/ 12 h 12"/>
                  <a:gd name="T4" fmla="*/ 6 w 23"/>
                  <a:gd name="T5" fmla="*/ 12 h 12"/>
                  <a:gd name="T6" fmla="*/ 0 w 23"/>
                  <a:gd name="T7" fmla="*/ 6 h 12"/>
                  <a:gd name="T8" fmla="*/ 0 w 23"/>
                  <a:gd name="T9" fmla="*/ 6 h 12"/>
                  <a:gd name="T10" fmla="*/ 6 w 23"/>
                  <a:gd name="T11" fmla="*/ 0 h 12"/>
                  <a:gd name="T12" fmla="*/ 17 w 23"/>
                  <a:gd name="T13" fmla="*/ 0 h 12"/>
                  <a:gd name="T14" fmla="*/ 23 w 23"/>
                  <a:gd name="T15" fmla="*/ 6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12">
                    <a:moveTo>
                      <a:pt x="23" y="6"/>
                    </a:moveTo>
                    <a:cubicBezTo>
                      <a:pt x="23" y="10"/>
                      <a:pt x="20" y="12"/>
                      <a:pt x="17" y="12"/>
                    </a:cubicBezTo>
                    <a:cubicBezTo>
                      <a:pt x="6" y="12"/>
                      <a:pt x="6" y="12"/>
                      <a:pt x="6" y="12"/>
                    </a:cubicBezTo>
                    <a:cubicBezTo>
                      <a:pt x="3" y="12"/>
                      <a:pt x="0" y="10"/>
                      <a:pt x="0" y="6"/>
                    </a:cubicBezTo>
                    <a:cubicBezTo>
                      <a:pt x="0" y="6"/>
                      <a:pt x="0" y="6"/>
                      <a:pt x="0" y="6"/>
                    </a:cubicBezTo>
                    <a:cubicBezTo>
                      <a:pt x="0" y="3"/>
                      <a:pt x="3" y="0"/>
                      <a:pt x="6" y="0"/>
                    </a:cubicBezTo>
                    <a:cubicBezTo>
                      <a:pt x="17" y="0"/>
                      <a:pt x="17" y="0"/>
                      <a:pt x="17" y="0"/>
                    </a:cubicBezTo>
                    <a:cubicBezTo>
                      <a:pt x="20" y="0"/>
                      <a:pt x="23" y="3"/>
                      <a:pt x="23" y="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grpSp>
        <p:sp>
          <p:nvSpPr>
            <p:cNvPr id="224" name="Rectangle 95"/>
            <p:cNvSpPr>
              <a:spLocks noChangeArrowheads="1"/>
            </p:cNvSpPr>
            <p:nvPr/>
          </p:nvSpPr>
          <p:spPr bwMode="auto">
            <a:xfrm>
              <a:off x="7155816" y="6546814"/>
              <a:ext cx="573744" cy="19297"/>
            </a:xfrm>
            <a:prstGeom prst="rect">
              <a:avLst/>
            </a:prstGeom>
            <a:solidFill>
              <a:schemeClr val="bg1">
                <a:lumMod val="85000"/>
              </a:schemeClr>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225" name="Freeform 96"/>
            <p:cNvSpPr>
              <a:spLocks/>
            </p:cNvSpPr>
            <p:nvPr/>
          </p:nvSpPr>
          <p:spPr bwMode="auto">
            <a:xfrm>
              <a:off x="6867657" y="5690056"/>
              <a:ext cx="1153921" cy="688236"/>
            </a:xfrm>
            <a:custGeom>
              <a:avLst/>
              <a:gdLst>
                <a:gd name="T0" fmla="*/ 316 w 316"/>
                <a:gd name="T1" fmla="*/ 178 h 188"/>
                <a:gd name="T2" fmla="*/ 306 w 316"/>
                <a:gd name="T3" fmla="*/ 188 h 188"/>
                <a:gd name="T4" fmla="*/ 10 w 316"/>
                <a:gd name="T5" fmla="*/ 188 h 188"/>
                <a:gd name="T6" fmla="*/ 0 w 316"/>
                <a:gd name="T7" fmla="*/ 178 h 188"/>
                <a:gd name="T8" fmla="*/ 0 w 316"/>
                <a:gd name="T9" fmla="*/ 10 h 188"/>
                <a:gd name="T10" fmla="*/ 10 w 316"/>
                <a:gd name="T11" fmla="*/ 0 h 188"/>
                <a:gd name="T12" fmla="*/ 306 w 316"/>
                <a:gd name="T13" fmla="*/ 0 h 188"/>
                <a:gd name="T14" fmla="*/ 316 w 316"/>
                <a:gd name="T15" fmla="*/ 10 h 188"/>
                <a:gd name="T16" fmla="*/ 316 w 316"/>
                <a:gd name="T17" fmla="*/ 178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6" h="188">
                  <a:moveTo>
                    <a:pt x="316" y="178"/>
                  </a:moveTo>
                  <a:cubicBezTo>
                    <a:pt x="316" y="184"/>
                    <a:pt x="311" y="188"/>
                    <a:pt x="306" y="188"/>
                  </a:cubicBezTo>
                  <a:cubicBezTo>
                    <a:pt x="10" y="188"/>
                    <a:pt x="10" y="188"/>
                    <a:pt x="10" y="188"/>
                  </a:cubicBezTo>
                  <a:cubicBezTo>
                    <a:pt x="4" y="188"/>
                    <a:pt x="0" y="184"/>
                    <a:pt x="0" y="178"/>
                  </a:cubicBezTo>
                  <a:cubicBezTo>
                    <a:pt x="0" y="10"/>
                    <a:pt x="0" y="10"/>
                    <a:pt x="0" y="10"/>
                  </a:cubicBezTo>
                  <a:cubicBezTo>
                    <a:pt x="0" y="4"/>
                    <a:pt x="4" y="0"/>
                    <a:pt x="10" y="0"/>
                  </a:cubicBezTo>
                  <a:cubicBezTo>
                    <a:pt x="306" y="0"/>
                    <a:pt x="306" y="0"/>
                    <a:pt x="306" y="0"/>
                  </a:cubicBezTo>
                  <a:cubicBezTo>
                    <a:pt x="311" y="0"/>
                    <a:pt x="316" y="4"/>
                    <a:pt x="316" y="10"/>
                  </a:cubicBezTo>
                  <a:lnTo>
                    <a:pt x="316" y="178"/>
                  </a:lnTo>
                  <a:close/>
                </a:path>
              </a:pathLst>
            </a:custGeom>
            <a:solidFill>
              <a:schemeClr val="bg1">
                <a:lumMod val="85000"/>
              </a:schemeClr>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226" name="Freeform 97"/>
            <p:cNvSpPr>
              <a:spLocks/>
            </p:cNvSpPr>
            <p:nvPr/>
          </p:nvSpPr>
          <p:spPr bwMode="auto">
            <a:xfrm>
              <a:off x="6897245" y="5719644"/>
              <a:ext cx="1088313" cy="600760"/>
            </a:xfrm>
            <a:custGeom>
              <a:avLst/>
              <a:gdLst>
                <a:gd name="T0" fmla="*/ 298 w 298"/>
                <a:gd name="T1" fmla="*/ 160 h 164"/>
                <a:gd name="T2" fmla="*/ 294 w 298"/>
                <a:gd name="T3" fmla="*/ 164 h 164"/>
                <a:gd name="T4" fmla="*/ 5 w 298"/>
                <a:gd name="T5" fmla="*/ 164 h 164"/>
                <a:gd name="T6" fmla="*/ 0 w 298"/>
                <a:gd name="T7" fmla="*/ 160 h 164"/>
                <a:gd name="T8" fmla="*/ 0 w 298"/>
                <a:gd name="T9" fmla="*/ 5 h 164"/>
                <a:gd name="T10" fmla="*/ 5 w 298"/>
                <a:gd name="T11" fmla="*/ 0 h 164"/>
                <a:gd name="T12" fmla="*/ 294 w 298"/>
                <a:gd name="T13" fmla="*/ 0 h 164"/>
                <a:gd name="T14" fmla="*/ 298 w 298"/>
                <a:gd name="T15" fmla="*/ 5 h 164"/>
                <a:gd name="T16" fmla="*/ 298 w 298"/>
                <a:gd name="T17" fmla="*/ 160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8" h="164">
                  <a:moveTo>
                    <a:pt x="298" y="160"/>
                  </a:moveTo>
                  <a:cubicBezTo>
                    <a:pt x="298" y="162"/>
                    <a:pt x="296" y="164"/>
                    <a:pt x="294" y="164"/>
                  </a:cubicBezTo>
                  <a:cubicBezTo>
                    <a:pt x="5" y="164"/>
                    <a:pt x="5" y="164"/>
                    <a:pt x="5" y="164"/>
                  </a:cubicBezTo>
                  <a:cubicBezTo>
                    <a:pt x="2" y="164"/>
                    <a:pt x="0" y="162"/>
                    <a:pt x="0" y="160"/>
                  </a:cubicBezTo>
                  <a:cubicBezTo>
                    <a:pt x="0" y="5"/>
                    <a:pt x="0" y="5"/>
                    <a:pt x="0" y="5"/>
                  </a:cubicBezTo>
                  <a:cubicBezTo>
                    <a:pt x="0" y="2"/>
                    <a:pt x="2" y="0"/>
                    <a:pt x="5" y="0"/>
                  </a:cubicBezTo>
                  <a:cubicBezTo>
                    <a:pt x="294" y="0"/>
                    <a:pt x="294" y="0"/>
                    <a:pt x="294" y="0"/>
                  </a:cubicBezTo>
                  <a:cubicBezTo>
                    <a:pt x="296" y="0"/>
                    <a:pt x="298" y="2"/>
                    <a:pt x="298" y="5"/>
                  </a:cubicBezTo>
                  <a:lnTo>
                    <a:pt x="298" y="160"/>
                  </a:lnTo>
                  <a:close/>
                </a:path>
              </a:pathLst>
            </a:custGeom>
            <a:solidFill>
              <a:srgbClr val="00D8CC"/>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227" name="Rectangle 98"/>
            <p:cNvSpPr>
              <a:spLocks noChangeArrowheads="1"/>
            </p:cNvSpPr>
            <p:nvPr/>
          </p:nvSpPr>
          <p:spPr bwMode="auto">
            <a:xfrm>
              <a:off x="6984722" y="5858578"/>
              <a:ext cx="252139" cy="120924"/>
            </a:xfrm>
            <a:prstGeom prst="rect">
              <a:avLst/>
            </a:prstGeom>
            <a:solidFill>
              <a:srgbClr val="F9EC3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228" name="Rectangle 99"/>
            <p:cNvSpPr>
              <a:spLocks noChangeArrowheads="1"/>
            </p:cNvSpPr>
            <p:nvPr/>
          </p:nvSpPr>
          <p:spPr bwMode="auto">
            <a:xfrm>
              <a:off x="7247152" y="5858578"/>
              <a:ext cx="252139" cy="120924"/>
            </a:xfrm>
            <a:prstGeom prst="rect">
              <a:avLst/>
            </a:prstGeom>
            <a:solidFill>
              <a:srgbClr val="5D499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229" name="Rectangle 100"/>
            <p:cNvSpPr>
              <a:spLocks noChangeArrowheads="1"/>
            </p:cNvSpPr>
            <p:nvPr/>
          </p:nvSpPr>
          <p:spPr bwMode="auto">
            <a:xfrm>
              <a:off x="7507009" y="5858578"/>
              <a:ext cx="119638" cy="120924"/>
            </a:xfrm>
            <a:prstGeom prst="rect">
              <a:avLst/>
            </a:prstGeom>
            <a:solidFill>
              <a:srgbClr val="4573B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230" name="Rectangle 101"/>
            <p:cNvSpPr>
              <a:spLocks noChangeArrowheads="1"/>
            </p:cNvSpPr>
            <p:nvPr/>
          </p:nvSpPr>
          <p:spPr bwMode="auto">
            <a:xfrm>
              <a:off x="7634365" y="5858578"/>
              <a:ext cx="120924" cy="120924"/>
            </a:xfrm>
            <a:prstGeom prst="rect">
              <a:avLst/>
            </a:prstGeom>
            <a:solidFill>
              <a:srgbClr val="0A8B4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231" name="Rectangle 102"/>
            <p:cNvSpPr>
              <a:spLocks noChangeArrowheads="1"/>
            </p:cNvSpPr>
            <p:nvPr/>
          </p:nvSpPr>
          <p:spPr bwMode="auto">
            <a:xfrm>
              <a:off x="7507009" y="5987220"/>
              <a:ext cx="119638" cy="120924"/>
            </a:xfrm>
            <a:prstGeom prst="rect">
              <a:avLst/>
            </a:prstGeom>
            <a:solidFill>
              <a:srgbClr val="97369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232" name="Rectangle 103"/>
            <p:cNvSpPr>
              <a:spLocks noChangeArrowheads="1"/>
            </p:cNvSpPr>
            <p:nvPr/>
          </p:nvSpPr>
          <p:spPr bwMode="auto">
            <a:xfrm>
              <a:off x="6984722" y="5987220"/>
              <a:ext cx="123497" cy="120924"/>
            </a:xfrm>
            <a:prstGeom prst="rect">
              <a:avLst/>
            </a:prstGeom>
            <a:solidFill>
              <a:srgbClr val="58843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233" name="Rectangle 104"/>
            <p:cNvSpPr>
              <a:spLocks noChangeArrowheads="1"/>
            </p:cNvSpPr>
            <p:nvPr/>
          </p:nvSpPr>
          <p:spPr bwMode="auto">
            <a:xfrm>
              <a:off x="6984722" y="6118435"/>
              <a:ext cx="123497" cy="120924"/>
            </a:xfrm>
            <a:prstGeom prst="rect">
              <a:avLst/>
            </a:prstGeom>
            <a:solidFill>
              <a:srgbClr val="5894C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234" name="Rectangle 105"/>
            <p:cNvSpPr>
              <a:spLocks noChangeArrowheads="1"/>
            </p:cNvSpPr>
            <p:nvPr/>
          </p:nvSpPr>
          <p:spPr bwMode="auto">
            <a:xfrm>
              <a:off x="7115937" y="6118435"/>
              <a:ext cx="120924" cy="120924"/>
            </a:xfrm>
            <a:prstGeom prst="rect">
              <a:avLst/>
            </a:prstGeom>
            <a:solidFill>
              <a:srgbClr val="97369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235" name="Rectangle 106"/>
            <p:cNvSpPr>
              <a:spLocks noChangeArrowheads="1"/>
            </p:cNvSpPr>
            <p:nvPr/>
          </p:nvSpPr>
          <p:spPr bwMode="auto">
            <a:xfrm>
              <a:off x="7247152" y="5987220"/>
              <a:ext cx="252139" cy="120924"/>
            </a:xfrm>
            <a:prstGeom prst="rect">
              <a:avLst/>
            </a:prstGeom>
            <a:solidFill>
              <a:srgbClr val="58595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236" name="Rectangle 107"/>
            <p:cNvSpPr>
              <a:spLocks noChangeArrowheads="1"/>
            </p:cNvSpPr>
            <p:nvPr/>
          </p:nvSpPr>
          <p:spPr bwMode="auto">
            <a:xfrm>
              <a:off x="7247152" y="6118435"/>
              <a:ext cx="252139" cy="120924"/>
            </a:xfrm>
            <a:prstGeom prst="rect">
              <a:avLst/>
            </a:prstGeom>
            <a:solidFill>
              <a:srgbClr val="F9F7F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237" name="Rectangle 108"/>
            <p:cNvSpPr>
              <a:spLocks noChangeArrowheads="1"/>
            </p:cNvSpPr>
            <p:nvPr/>
          </p:nvSpPr>
          <p:spPr bwMode="auto">
            <a:xfrm>
              <a:off x="7503150" y="6199480"/>
              <a:ext cx="252139" cy="39880"/>
            </a:xfrm>
            <a:prstGeom prst="rect">
              <a:avLst/>
            </a:prstGeom>
            <a:solidFill>
              <a:srgbClr val="BC1F4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238" name="Rectangle 109"/>
            <p:cNvSpPr>
              <a:spLocks noChangeArrowheads="1"/>
            </p:cNvSpPr>
            <p:nvPr/>
          </p:nvSpPr>
          <p:spPr bwMode="auto">
            <a:xfrm>
              <a:off x="7503150" y="6118435"/>
              <a:ext cx="252139" cy="81045"/>
            </a:xfrm>
            <a:prstGeom prst="rect">
              <a:avLst/>
            </a:prstGeom>
            <a:solidFill>
              <a:srgbClr val="58595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239" name="Rectangle 110"/>
            <p:cNvSpPr>
              <a:spLocks noChangeArrowheads="1"/>
            </p:cNvSpPr>
            <p:nvPr/>
          </p:nvSpPr>
          <p:spPr bwMode="auto">
            <a:xfrm>
              <a:off x="7634365" y="5987220"/>
              <a:ext cx="120924" cy="120924"/>
            </a:xfrm>
            <a:prstGeom prst="rect">
              <a:avLst/>
            </a:prstGeom>
            <a:solidFill>
              <a:srgbClr val="315D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240" name="Rectangle 111"/>
            <p:cNvSpPr>
              <a:spLocks noChangeArrowheads="1"/>
            </p:cNvSpPr>
            <p:nvPr/>
          </p:nvSpPr>
          <p:spPr bwMode="auto">
            <a:xfrm>
              <a:off x="7813178" y="5987220"/>
              <a:ext cx="124783" cy="120924"/>
            </a:xfrm>
            <a:prstGeom prst="rect">
              <a:avLst/>
            </a:prstGeom>
            <a:solidFill>
              <a:srgbClr val="109C4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241" name="Rectangle 112"/>
            <p:cNvSpPr>
              <a:spLocks noChangeArrowheads="1"/>
            </p:cNvSpPr>
            <p:nvPr/>
          </p:nvSpPr>
          <p:spPr bwMode="auto">
            <a:xfrm>
              <a:off x="7813178" y="6114576"/>
              <a:ext cx="124783" cy="124783"/>
            </a:xfrm>
            <a:prstGeom prst="rect">
              <a:avLst/>
            </a:prstGeom>
            <a:solidFill>
              <a:srgbClr val="DA562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242" name="Rectangle 113"/>
            <p:cNvSpPr>
              <a:spLocks noChangeArrowheads="1"/>
            </p:cNvSpPr>
            <p:nvPr/>
          </p:nvSpPr>
          <p:spPr bwMode="auto">
            <a:xfrm>
              <a:off x="7941820" y="5987220"/>
              <a:ext cx="43738" cy="120924"/>
            </a:xfrm>
            <a:prstGeom prst="rect">
              <a:avLst/>
            </a:prstGeom>
            <a:solidFill>
              <a:srgbClr val="8A2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243" name="Rectangle 114"/>
            <p:cNvSpPr>
              <a:spLocks noChangeArrowheads="1"/>
            </p:cNvSpPr>
            <p:nvPr/>
          </p:nvSpPr>
          <p:spPr bwMode="auto">
            <a:xfrm>
              <a:off x="7941820" y="6114576"/>
              <a:ext cx="43738" cy="124783"/>
            </a:xfrm>
            <a:prstGeom prst="rect">
              <a:avLst/>
            </a:prstGeom>
            <a:solidFill>
              <a:srgbClr val="B01E4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244" name="Rectangle 115"/>
            <p:cNvSpPr>
              <a:spLocks noChangeArrowheads="1"/>
            </p:cNvSpPr>
            <p:nvPr/>
          </p:nvSpPr>
          <p:spPr bwMode="auto">
            <a:xfrm>
              <a:off x="7813178" y="5858578"/>
              <a:ext cx="172381" cy="120924"/>
            </a:xfrm>
            <a:prstGeom prst="rect">
              <a:avLst/>
            </a:prstGeom>
            <a:solidFill>
              <a:srgbClr val="9E1F6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245" name="Freeform 116"/>
            <p:cNvSpPr>
              <a:spLocks/>
            </p:cNvSpPr>
            <p:nvPr/>
          </p:nvSpPr>
          <p:spPr bwMode="auto">
            <a:xfrm>
              <a:off x="7115937" y="5987220"/>
              <a:ext cx="124783" cy="120924"/>
            </a:xfrm>
            <a:custGeom>
              <a:avLst/>
              <a:gdLst>
                <a:gd name="T0" fmla="*/ 48 w 97"/>
                <a:gd name="T1" fmla="*/ 0 h 94"/>
                <a:gd name="T2" fmla="*/ 0 w 97"/>
                <a:gd name="T3" fmla="*/ 0 h 94"/>
                <a:gd name="T4" fmla="*/ 0 w 97"/>
                <a:gd name="T5" fmla="*/ 48 h 94"/>
                <a:gd name="T6" fmla="*/ 0 w 97"/>
                <a:gd name="T7" fmla="*/ 94 h 94"/>
                <a:gd name="T8" fmla="*/ 48 w 97"/>
                <a:gd name="T9" fmla="*/ 94 h 94"/>
                <a:gd name="T10" fmla="*/ 97 w 97"/>
                <a:gd name="T11" fmla="*/ 94 h 94"/>
                <a:gd name="T12" fmla="*/ 97 w 97"/>
                <a:gd name="T13" fmla="*/ 48 h 94"/>
                <a:gd name="T14" fmla="*/ 97 w 97"/>
                <a:gd name="T15" fmla="*/ 0 h 94"/>
                <a:gd name="T16" fmla="*/ 48 w 97"/>
                <a:gd name="T17" fmla="*/ 0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7" h="94">
                  <a:moveTo>
                    <a:pt x="48" y="0"/>
                  </a:moveTo>
                  <a:lnTo>
                    <a:pt x="0" y="0"/>
                  </a:lnTo>
                  <a:lnTo>
                    <a:pt x="0" y="48"/>
                  </a:lnTo>
                  <a:lnTo>
                    <a:pt x="0" y="94"/>
                  </a:lnTo>
                  <a:lnTo>
                    <a:pt x="48" y="94"/>
                  </a:lnTo>
                  <a:lnTo>
                    <a:pt x="97" y="94"/>
                  </a:lnTo>
                  <a:lnTo>
                    <a:pt x="97" y="48"/>
                  </a:lnTo>
                  <a:lnTo>
                    <a:pt x="97" y="0"/>
                  </a:lnTo>
                  <a:lnTo>
                    <a:pt x="48" y="0"/>
                  </a:lnTo>
                  <a:close/>
                </a:path>
              </a:pathLst>
            </a:custGeom>
            <a:solidFill>
              <a:srgbClr val="DA562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246" name="Rectangle 117"/>
            <p:cNvSpPr>
              <a:spLocks noChangeArrowheads="1"/>
            </p:cNvSpPr>
            <p:nvPr/>
          </p:nvSpPr>
          <p:spPr bwMode="auto">
            <a:xfrm>
              <a:off x="7926383" y="5759524"/>
              <a:ext cx="33447" cy="33447"/>
            </a:xfrm>
            <a:prstGeom prst="rect">
              <a:avLst/>
            </a:prstGeom>
            <a:solidFill>
              <a:srgbClr val="DFDFD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247" name="Freeform 118"/>
            <p:cNvSpPr>
              <a:spLocks/>
            </p:cNvSpPr>
            <p:nvPr/>
          </p:nvSpPr>
          <p:spPr bwMode="auto">
            <a:xfrm>
              <a:off x="6988581" y="5763382"/>
              <a:ext cx="18010" cy="29588"/>
            </a:xfrm>
            <a:custGeom>
              <a:avLst/>
              <a:gdLst>
                <a:gd name="T0" fmla="*/ 0 w 5"/>
                <a:gd name="T1" fmla="*/ 8 h 8"/>
                <a:gd name="T2" fmla="*/ 0 w 5"/>
                <a:gd name="T3" fmla="*/ 7 h 8"/>
                <a:gd name="T4" fmla="*/ 2 w 5"/>
                <a:gd name="T5" fmla="*/ 8 h 8"/>
                <a:gd name="T6" fmla="*/ 3 w 5"/>
                <a:gd name="T7" fmla="*/ 7 h 8"/>
                <a:gd name="T8" fmla="*/ 4 w 5"/>
                <a:gd name="T9" fmla="*/ 6 h 8"/>
                <a:gd name="T10" fmla="*/ 4 w 5"/>
                <a:gd name="T11" fmla="*/ 5 h 8"/>
                <a:gd name="T12" fmla="*/ 2 w 5"/>
                <a:gd name="T13" fmla="*/ 4 h 8"/>
                <a:gd name="T14" fmla="*/ 1 w 5"/>
                <a:gd name="T15" fmla="*/ 3 h 8"/>
                <a:gd name="T16" fmla="*/ 0 w 5"/>
                <a:gd name="T17" fmla="*/ 2 h 8"/>
                <a:gd name="T18" fmla="*/ 1 w 5"/>
                <a:gd name="T19" fmla="*/ 0 h 8"/>
                <a:gd name="T20" fmla="*/ 3 w 5"/>
                <a:gd name="T21" fmla="*/ 0 h 8"/>
                <a:gd name="T22" fmla="*/ 4 w 5"/>
                <a:gd name="T23" fmla="*/ 0 h 8"/>
                <a:gd name="T24" fmla="*/ 4 w 5"/>
                <a:gd name="T25" fmla="*/ 0 h 8"/>
                <a:gd name="T26" fmla="*/ 3 w 5"/>
                <a:gd name="T27" fmla="*/ 0 h 8"/>
                <a:gd name="T28" fmla="*/ 1 w 5"/>
                <a:gd name="T29" fmla="*/ 1 h 8"/>
                <a:gd name="T30" fmla="*/ 1 w 5"/>
                <a:gd name="T31" fmla="*/ 2 h 8"/>
                <a:gd name="T32" fmla="*/ 1 w 5"/>
                <a:gd name="T33" fmla="*/ 3 h 8"/>
                <a:gd name="T34" fmla="*/ 3 w 5"/>
                <a:gd name="T35" fmla="*/ 4 h 8"/>
                <a:gd name="T36" fmla="*/ 4 w 5"/>
                <a:gd name="T37" fmla="*/ 5 h 8"/>
                <a:gd name="T38" fmla="*/ 5 w 5"/>
                <a:gd name="T39" fmla="*/ 6 h 8"/>
                <a:gd name="T40" fmla="*/ 4 w 5"/>
                <a:gd name="T41" fmla="*/ 8 h 8"/>
                <a:gd name="T42" fmla="*/ 2 w 5"/>
                <a:gd name="T43" fmla="*/ 8 h 8"/>
                <a:gd name="T44" fmla="*/ 1 w 5"/>
                <a:gd name="T45" fmla="*/ 8 h 8"/>
                <a:gd name="T46" fmla="*/ 0 w 5"/>
                <a:gd name="T47"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 h="8">
                  <a:moveTo>
                    <a:pt x="0" y="8"/>
                  </a:moveTo>
                  <a:cubicBezTo>
                    <a:pt x="0" y="7"/>
                    <a:pt x="0" y="7"/>
                    <a:pt x="0" y="7"/>
                  </a:cubicBezTo>
                  <a:cubicBezTo>
                    <a:pt x="1" y="8"/>
                    <a:pt x="1" y="8"/>
                    <a:pt x="2" y="8"/>
                  </a:cubicBezTo>
                  <a:cubicBezTo>
                    <a:pt x="3" y="8"/>
                    <a:pt x="3" y="8"/>
                    <a:pt x="3" y="7"/>
                  </a:cubicBezTo>
                  <a:cubicBezTo>
                    <a:pt x="4" y="7"/>
                    <a:pt x="4" y="7"/>
                    <a:pt x="4" y="6"/>
                  </a:cubicBezTo>
                  <a:cubicBezTo>
                    <a:pt x="4" y="6"/>
                    <a:pt x="4" y="5"/>
                    <a:pt x="4" y="5"/>
                  </a:cubicBezTo>
                  <a:cubicBezTo>
                    <a:pt x="3" y="5"/>
                    <a:pt x="3" y="5"/>
                    <a:pt x="2" y="4"/>
                  </a:cubicBezTo>
                  <a:cubicBezTo>
                    <a:pt x="1" y="4"/>
                    <a:pt x="1" y="3"/>
                    <a:pt x="1" y="3"/>
                  </a:cubicBezTo>
                  <a:cubicBezTo>
                    <a:pt x="0" y="3"/>
                    <a:pt x="0" y="2"/>
                    <a:pt x="0" y="2"/>
                  </a:cubicBezTo>
                  <a:cubicBezTo>
                    <a:pt x="0" y="1"/>
                    <a:pt x="0" y="1"/>
                    <a:pt x="1" y="0"/>
                  </a:cubicBezTo>
                  <a:cubicBezTo>
                    <a:pt x="1" y="0"/>
                    <a:pt x="2" y="0"/>
                    <a:pt x="3" y="0"/>
                  </a:cubicBezTo>
                  <a:cubicBezTo>
                    <a:pt x="3" y="0"/>
                    <a:pt x="4" y="0"/>
                    <a:pt x="4" y="0"/>
                  </a:cubicBezTo>
                  <a:cubicBezTo>
                    <a:pt x="4" y="0"/>
                    <a:pt x="4" y="0"/>
                    <a:pt x="4" y="0"/>
                  </a:cubicBezTo>
                  <a:cubicBezTo>
                    <a:pt x="4" y="0"/>
                    <a:pt x="3" y="0"/>
                    <a:pt x="3" y="0"/>
                  </a:cubicBezTo>
                  <a:cubicBezTo>
                    <a:pt x="2" y="0"/>
                    <a:pt x="2" y="0"/>
                    <a:pt x="1" y="1"/>
                  </a:cubicBezTo>
                  <a:cubicBezTo>
                    <a:pt x="1" y="1"/>
                    <a:pt x="1" y="1"/>
                    <a:pt x="1" y="2"/>
                  </a:cubicBezTo>
                  <a:cubicBezTo>
                    <a:pt x="1" y="2"/>
                    <a:pt x="1" y="2"/>
                    <a:pt x="1" y="3"/>
                  </a:cubicBezTo>
                  <a:cubicBezTo>
                    <a:pt x="1" y="3"/>
                    <a:pt x="2" y="3"/>
                    <a:pt x="3" y="4"/>
                  </a:cubicBezTo>
                  <a:cubicBezTo>
                    <a:pt x="3" y="4"/>
                    <a:pt x="4" y="5"/>
                    <a:pt x="4" y="5"/>
                  </a:cubicBezTo>
                  <a:cubicBezTo>
                    <a:pt x="4" y="5"/>
                    <a:pt x="5" y="6"/>
                    <a:pt x="5" y="6"/>
                  </a:cubicBezTo>
                  <a:cubicBezTo>
                    <a:pt x="5" y="7"/>
                    <a:pt x="4" y="7"/>
                    <a:pt x="4" y="8"/>
                  </a:cubicBezTo>
                  <a:cubicBezTo>
                    <a:pt x="3" y="8"/>
                    <a:pt x="3" y="8"/>
                    <a:pt x="2" y="8"/>
                  </a:cubicBezTo>
                  <a:cubicBezTo>
                    <a:pt x="2" y="8"/>
                    <a:pt x="1" y="8"/>
                    <a:pt x="1" y="8"/>
                  </a:cubicBezTo>
                  <a:cubicBezTo>
                    <a:pt x="1" y="8"/>
                    <a:pt x="0" y="8"/>
                    <a:pt x="0" y="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248" name="Freeform 119"/>
            <p:cNvSpPr>
              <a:spLocks/>
            </p:cNvSpPr>
            <p:nvPr/>
          </p:nvSpPr>
          <p:spPr bwMode="auto">
            <a:xfrm>
              <a:off x="7006591" y="5763382"/>
              <a:ext cx="14151" cy="29588"/>
            </a:xfrm>
            <a:custGeom>
              <a:avLst/>
              <a:gdLst>
                <a:gd name="T0" fmla="*/ 4 w 4"/>
                <a:gd name="T1" fmla="*/ 8 h 8"/>
                <a:gd name="T2" fmla="*/ 3 w 4"/>
                <a:gd name="T3" fmla="*/ 8 h 8"/>
                <a:gd name="T4" fmla="*/ 2 w 4"/>
                <a:gd name="T5" fmla="*/ 7 h 8"/>
                <a:gd name="T6" fmla="*/ 2 w 4"/>
                <a:gd name="T7" fmla="*/ 3 h 8"/>
                <a:gd name="T8" fmla="*/ 0 w 4"/>
                <a:gd name="T9" fmla="*/ 3 h 8"/>
                <a:gd name="T10" fmla="*/ 0 w 4"/>
                <a:gd name="T11" fmla="*/ 2 h 8"/>
                <a:gd name="T12" fmla="*/ 2 w 4"/>
                <a:gd name="T13" fmla="*/ 2 h 8"/>
                <a:gd name="T14" fmla="*/ 2 w 4"/>
                <a:gd name="T15" fmla="*/ 1 h 8"/>
                <a:gd name="T16" fmla="*/ 2 w 4"/>
                <a:gd name="T17" fmla="*/ 0 h 8"/>
                <a:gd name="T18" fmla="*/ 2 w 4"/>
                <a:gd name="T19" fmla="*/ 0 h 8"/>
                <a:gd name="T20" fmla="*/ 2 w 4"/>
                <a:gd name="T21" fmla="*/ 2 h 8"/>
                <a:gd name="T22" fmla="*/ 4 w 4"/>
                <a:gd name="T23" fmla="*/ 2 h 8"/>
                <a:gd name="T24" fmla="*/ 4 w 4"/>
                <a:gd name="T25" fmla="*/ 3 h 8"/>
                <a:gd name="T26" fmla="*/ 2 w 4"/>
                <a:gd name="T27" fmla="*/ 3 h 8"/>
                <a:gd name="T28" fmla="*/ 2 w 4"/>
                <a:gd name="T29" fmla="*/ 7 h 8"/>
                <a:gd name="T30" fmla="*/ 2 w 4"/>
                <a:gd name="T31" fmla="*/ 7 h 8"/>
                <a:gd name="T32" fmla="*/ 3 w 4"/>
                <a:gd name="T33" fmla="*/ 8 h 8"/>
                <a:gd name="T34" fmla="*/ 4 w 4"/>
                <a:gd name="T35"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 h="8">
                  <a:moveTo>
                    <a:pt x="4" y="8"/>
                  </a:moveTo>
                  <a:cubicBezTo>
                    <a:pt x="3" y="8"/>
                    <a:pt x="3" y="8"/>
                    <a:pt x="3" y="8"/>
                  </a:cubicBezTo>
                  <a:cubicBezTo>
                    <a:pt x="2" y="8"/>
                    <a:pt x="2" y="8"/>
                    <a:pt x="2" y="7"/>
                  </a:cubicBezTo>
                  <a:cubicBezTo>
                    <a:pt x="2" y="3"/>
                    <a:pt x="2" y="3"/>
                    <a:pt x="2" y="3"/>
                  </a:cubicBezTo>
                  <a:cubicBezTo>
                    <a:pt x="0" y="3"/>
                    <a:pt x="0" y="3"/>
                    <a:pt x="0" y="3"/>
                  </a:cubicBezTo>
                  <a:cubicBezTo>
                    <a:pt x="0" y="2"/>
                    <a:pt x="0" y="2"/>
                    <a:pt x="0" y="2"/>
                  </a:cubicBezTo>
                  <a:cubicBezTo>
                    <a:pt x="2" y="2"/>
                    <a:pt x="2" y="2"/>
                    <a:pt x="2" y="2"/>
                  </a:cubicBezTo>
                  <a:cubicBezTo>
                    <a:pt x="2" y="1"/>
                    <a:pt x="2" y="1"/>
                    <a:pt x="2" y="1"/>
                  </a:cubicBezTo>
                  <a:cubicBezTo>
                    <a:pt x="2" y="0"/>
                    <a:pt x="2" y="0"/>
                    <a:pt x="2" y="0"/>
                  </a:cubicBezTo>
                  <a:cubicBezTo>
                    <a:pt x="2" y="0"/>
                    <a:pt x="2" y="0"/>
                    <a:pt x="2" y="0"/>
                  </a:cubicBezTo>
                  <a:cubicBezTo>
                    <a:pt x="2" y="2"/>
                    <a:pt x="2" y="2"/>
                    <a:pt x="2" y="2"/>
                  </a:cubicBezTo>
                  <a:cubicBezTo>
                    <a:pt x="4" y="2"/>
                    <a:pt x="4" y="2"/>
                    <a:pt x="4" y="2"/>
                  </a:cubicBezTo>
                  <a:cubicBezTo>
                    <a:pt x="4" y="3"/>
                    <a:pt x="4" y="3"/>
                    <a:pt x="4" y="3"/>
                  </a:cubicBezTo>
                  <a:cubicBezTo>
                    <a:pt x="2" y="3"/>
                    <a:pt x="2" y="3"/>
                    <a:pt x="2" y="3"/>
                  </a:cubicBezTo>
                  <a:cubicBezTo>
                    <a:pt x="2" y="7"/>
                    <a:pt x="2" y="7"/>
                    <a:pt x="2" y="7"/>
                  </a:cubicBezTo>
                  <a:cubicBezTo>
                    <a:pt x="2" y="7"/>
                    <a:pt x="2" y="7"/>
                    <a:pt x="2" y="7"/>
                  </a:cubicBezTo>
                  <a:cubicBezTo>
                    <a:pt x="2" y="8"/>
                    <a:pt x="3" y="8"/>
                    <a:pt x="3" y="8"/>
                  </a:cubicBezTo>
                  <a:cubicBezTo>
                    <a:pt x="3" y="8"/>
                    <a:pt x="3" y="8"/>
                    <a:pt x="4" y="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249" name="Freeform 120"/>
            <p:cNvSpPr>
              <a:spLocks noEditPoints="1"/>
            </p:cNvSpPr>
            <p:nvPr/>
          </p:nvSpPr>
          <p:spPr bwMode="auto">
            <a:xfrm>
              <a:off x="7024600" y="5771101"/>
              <a:ext cx="14151" cy="21870"/>
            </a:xfrm>
            <a:custGeom>
              <a:avLst/>
              <a:gdLst>
                <a:gd name="T0" fmla="*/ 4 w 4"/>
                <a:gd name="T1" fmla="*/ 6 h 6"/>
                <a:gd name="T2" fmla="*/ 4 w 4"/>
                <a:gd name="T3" fmla="*/ 5 h 6"/>
                <a:gd name="T4" fmla="*/ 4 w 4"/>
                <a:gd name="T5" fmla="*/ 5 h 6"/>
                <a:gd name="T6" fmla="*/ 3 w 4"/>
                <a:gd name="T7" fmla="*/ 6 h 6"/>
                <a:gd name="T8" fmla="*/ 2 w 4"/>
                <a:gd name="T9" fmla="*/ 6 h 6"/>
                <a:gd name="T10" fmla="*/ 0 w 4"/>
                <a:gd name="T11" fmla="*/ 6 h 6"/>
                <a:gd name="T12" fmla="*/ 0 w 4"/>
                <a:gd name="T13" fmla="*/ 5 h 6"/>
                <a:gd name="T14" fmla="*/ 2 w 4"/>
                <a:gd name="T15" fmla="*/ 3 h 6"/>
                <a:gd name="T16" fmla="*/ 4 w 4"/>
                <a:gd name="T17" fmla="*/ 2 h 6"/>
                <a:gd name="T18" fmla="*/ 2 w 4"/>
                <a:gd name="T19" fmla="*/ 0 h 6"/>
                <a:gd name="T20" fmla="*/ 0 w 4"/>
                <a:gd name="T21" fmla="*/ 1 h 6"/>
                <a:gd name="T22" fmla="*/ 0 w 4"/>
                <a:gd name="T23" fmla="*/ 1 h 6"/>
                <a:gd name="T24" fmla="*/ 1 w 4"/>
                <a:gd name="T25" fmla="*/ 0 h 6"/>
                <a:gd name="T26" fmla="*/ 2 w 4"/>
                <a:gd name="T27" fmla="*/ 0 h 6"/>
                <a:gd name="T28" fmla="*/ 4 w 4"/>
                <a:gd name="T29" fmla="*/ 1 h 6"/>
                <a:gd name="T30" fmla="*/ 4 w 4"/>
                <a:gd name="T31" fmla="*/ 2 h 6"/>
                <a:gd name="T32" fmla="*/ 4 w 4"/>
                <a:gd name="T33" fmla="*/ 6 h 6"/>
                <a:gd name="T34" fmla="*/ 2 w 4"/>
                <a:gd name="T35" fmla="*/ 3 h 6"/>
                <a:gd name="T36" fmla="*/ 1 w 4"/>
                <a:gd name="T37" fmla="*/ 4 h 6"/>
                <a:gd name="T38" fmla="*/ 0 w 4"/>
                <a:gd name="T39" fmla="*/ 5 h 6"/>
                <a:gd name="T40" fmla="*/ 1 w 4"/>
                <a:gd name="T41" fmla="*/ 5 h 6"/>
                <a:gd name="T42" fmla="*/ 2 w 4"/>
                <a:gd name="T43" fmla="*/ 6 h 6"/>
                <a:gd name="T44" fmla="*/ 3 w 4"/>
                <a:gd name="T45" fmla="*/ 5 h 6"/>
                <a:gd name="T46" fmla="*/ 4 w 4"/>
                <a:gd name="T47" fmla="*/ 3 h 6"/>
                <a:gd name="T48" fmla="*/ 4 w 4"/>
                <a:gd name="T49" fmla="*/ 3 h 6"/>
                <a:gd name="T50" fmla="*/ 2 w 4"/>
                <a:gd name="T51"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 h="6">
                  <a:moveTo>
                    <a:pt x="4" y="6"/>
                  </a:moveTo>
                  <a:cubicBezTo>
                    <a:pt x="4" y="5"/>
                    <a:pt x="4" y="5"/>
                    <a:pt x="4" y="5"/>
                  </a:cubicBezTo>
                  <a:cubicBezTo>
                    <a:pt x="4" y="5"/>
                    <a:pt x="4" y="5"/>
                    <a:pt x="4" y="5"/>
                  </a:cubicBezTo>
                  <a:cubicBezTo>
                    <a:pt x="4" y="5"/>
                    <a:pt x="3" y="6"/>
                    <a:pt x="3" y="6"/>
                  </a:cubicBezTo>
                  <a:cubicBezTo>
                    <a:pt x="3" y="6"/>
                    <a:pt x="2" y="6"/>
                    <a:pt x="2" y="6"/>
                  </a:cubicBezTo>
                  <a:cubicBezTo>
                    <a:pt x="1" y="6"/>
                    <a:pt x="1" y="6"/>
                    <a:pt x="0" y="6"/>
                  </a:cubicBezTo>
                  <a:cubicBezTo>
                    <a:pt x="0" y="5"/>
                    <a:pt x="0" y="5"/>
                    <a:pt x="0" y="5"/>
                  </a:cubicBezTo>
                  <a:cubicBezTo>
                    <a:pt x="0" y="4"/>
                    <a:pt x="1" y="3"/>
                    <a:pt x="2" y="3"/>
                  </a:cubicBezTo>
                  <a:cubicBezTo>
                    <a:pt x="4" y="2"/>
                    <a:pt x="4" y="2"/>
                    <a:pt x="4" y="2"/>
                  </a:cubicBezTo>
                  <a:cubicBezTo>
                    <a:pt x="4" y="1"/>
                    <a:pt x="3" y="0"/>
                    <a:pt x="2" y="0"/>
                  </a:cubicBezTo>
                  <a:cubicBezTo>
                    <a:pt x="2" y="0"/>
                    <a:pt x="1" y="1"/>
                    <a:pt x="0" y="1"/>
                  </a:cubicBezTo>
                  <a:cubicBezTo>
                    <a:pt x="0" y="1"/>
                    <a:pt x="0" y="1"/>
                    <a:pt x="0" y="1"/>
                  </a:cubicBezTo>
                  <a:cubicBezTo>
                    <a:pt x="1" y="0"/>
                    <a:pt x="1" y="0"/>
                    <a:pt x="1" y="0"/>
                  </a:cubicBezTo>
                  <a:cubicBezTo>
                    <a:pt x="2" y="0"/>
                    <a:pt x="2" y="0"/>
                    <a:pt x="2" y="0"/>
                  </a:cubicBezTo>
                  <a:cubicBezTo>
                    <a:pt x="3" y="0"/>
                    <a:pt x="4" y="0"/>
                    <a:pt x="4" y="1"/>
                  </a:cubicBezTo>
                  <a:cubicBezTo>
                    <a:pt x="4" y="1"/>
                    <a:pt x="4" y="1"/>
                    <a:pt x="4" y="2"/>
                  </a:cubicBezTo>
                  <a:cubicBezTo>
                    <a:pt x="4" y="6"/>
                    <a:pt x="4" y="6"/>
                    <a:pt x="4" y="6"/>
                  </a:cubicBezTo>
                  <a:close/>
                  <a:moveTo>
                    <a:pt x="2" y="3"/>
                  </a:moveTo>
                  <a:cubicBezTo>
                    <a:pt x="2" y="3"/>
                    <a:pt x="1" y="3"/>
                    <a:pt x="1" y="4"/>
                  </a:cubicBezTo>
                  <a:cubicBezTo>
                    <a:pt x="1" y="4"/>
                    <a:pt x="0" y="4"/>
                    <a:pt x="0" y="5"/>
                  </a:cubicBezTo>
                  <a:cubicBezTo>
                    <a:pt x="0" y="5"/>
                    <a:pt x="1" y="5"/>
                    <a:pt x="1" y="5"/>
                  </a:cubicBezTo>
                  <a:cubicBezTo>
                    <a:pt x="1" y="6"/>
                    <a:pt x="1" y="6"/>
                    <a:pt x="2" y="6"/>
                  </a:cubicBezTo>
                  <a:cubicBezTo>
                    <a:pt x="2" y="6"/>
                    <a:pt x="3" y="6"/>
                    <a:pt x="3" y="5"/>
                  </a:cubicBezTo>
                  <a:cubicBezTo>
                    <a:pt x="4" y="5"/>
                    <a:pt x="4" y="4"/>
                    <a:pt x="4" y="3"/>
                  </a:cubicBezTo>
                  <a:cubicBezTo>
                    <a:pt x="4" y="3"/>
                    <a:pt x="4" y="3"/>
                    <a:pt x="4" y="3"/>
                  </a:cubicBezTo>
                  <a:lnTo>
                    <a:pt x="2" y="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250" name="Freeform 121"/>
            <p:cNvSpPr>
              <a:spLocks/>
            </p:cNvSpPr>
            <p:nvPr/>
          </p:nvSpPr>
          <p:spPr bwMode="auto">
            <a:xfrm>
              <a:off x="7046470" y="5771101"/>
              <a:ext cx="11578" cy="21870"/>
            </a:xfrm>
            <a:custGeom>
              <a:avLst/>
              <a:gdLst>
                <a:gd name="T0" fmla="*/ 3 w 3"/>
                <a:gd name="T1" fmla="*/ 1 h 6"/>
                <a:gd name="T2" fmla="*/ 3 w 3"/>
                <a:gd name="T3" fmla="*/ 0 h 6"/>
                <a:gd name="T4" fmla="*/ 1 w 3"/>
                <a:gd name="T5" fmla="*/ 1 h 6"/>
                <a:gd name="T6" fmla="*/ 1 w 3"/>
                <a:gd name="T7" fmla="*/ 3 h 6"/>
                <a:gd name="T8" fmla="*/ 1 w 3"/>
                <a:gd name="T9" fmla="*/ 6 h 6"/>
                <a:gd name="T10" fmla="*/ 0 w 3"/>
                <a:gd name="T11" fmla="*/ 6 h 6"/>
                <a:gd name="T12" fmla="*/ 0 w 3"/>
                <a:gd name="T13" fmla="*/ 0 h 6"/>
                <a:gd name="T14" fmla="*/ 1 w 3"/>
                <a:gd name="T15" fmla="*/ 0 h 6"/>
                <a:gd name="T16" fmla="*/ 1 w 3"/>
                <a:gd name="T17" fmla="*/ 1 h 6"/>
                <a:gd name="T18" fmla="*/ 1 w 3"/>
                <a:gd name="T19" fmla="*/ 1 h 6"/>
                <a:gd name="T20" fmla="*/ 2 w 3"/>
                <a:gd name="T21" fmla="*/ 0 h 6"/>
                <a:gd name="T22" fmla="*/ 3 w 3"/>
                <a:gd name="T23" fmla="*/ 0 h 6"/>
                <a:gd name="T24" fmla="*/ 3 w 3"/>
                <a:gd name="T25" fmla="*/ 0 h 6"/>
                <a:gd name="T26" fmla="*/ 3 w 3"/>
                <a:gd name="T27"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 h="6">
                  <a:moveTo>
                    <a:pt x="3" y="1"/>
                  </a:moveTo>
                  <a:cubicBezTo>
                    <a:pt x="3" y="1"/>
                    <a:pt x="3" y="0"/>
                    <a:pt x="3" y="0"/>
                  </a:cubicBezTo>
                  <a:cubicBezTo>
                    <a:pt x="2" y="0"/>
                    <a:pt x="2" y="1"/>
                    <a:pt x="1" y="1"/>
                  </a:cubicBezTo>
                  <a:cubicBezTo>
                    <a:pt x="1" y="2"/>
                    <a:pt x="1" y="2"/>
                    <a:pt x="1" y="3"/>
                  </a:cubicBezTo>
                  <a:cubicBezTo>
                    <a:pt x="1" y="6"/>
                    <a:pt x="1" y="6"/>
                    <a:pt x="1" y="6"/>
                  </a:cubicBezTo>
                  <a:cubicBezTo>
                    <a:pt x="0" y="6"/>
                    <a:pt x="0" y="6"/>
                    <a:pt x="0" y="6"/>
                  </a:cubicBezTo>
                  <a:cubicBezTo>
                    <a:pt x="0" y="0"/>
                    <a:pt x="0" y="0"/>
                    <a:pt x="0" y="0"/>
                  </a:cubicBezTo>
                  <a:cubicBezTo>
                    <a:pt x="1" y="0"/>
                    <a:pt x="1" y="0"/>
                    <a:pt x="1" y="0"/>
                  </a:cubicBezTo>
                  <a:cubicBezTo>
                    <a:pt x="1" y="1"/>
                    <a:pt x="1" y="1"/>
                    <a:pt x="1" y="1"/>
                  </a:cubicBezTo>
                  <a:cubicBezTo>
                    <a:pt x="1" y="1"/>
                    <a:pt x="1" y="1"/>
                    <a:pt x="1" y="1"/>
                  </a:cubicBezTo>
                  <a:cubicBezTo>
                    <a:pt x="1" y="1"/>
                    <a:pt x="1" y="1"/>
                    <a:pt x="2" y="0"/>
                  </a:cubicBezTo>
                  <a:cubicBezTo>
                    <a:pt x="2" y="0"/>
                    <a:pt x="2" y="0"/>
                    <a:pt x="3" y="0"/>
                  </a:cubicBezTo>
                  <a:cubicBezTo>
                    <a:pt x="3" y="0"/>
                    <a:pt x="3" y="0"/>
                    <a:pt x="3" y="0"/>
                  </a:cubicBezTo>
                  <a:lnTo>
                    <a:pt x="3"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251" name="Freeform 122"/>
            <p:cNvSpPr>
              <a:spLocks/>
            </p:cNvSpPr>
            <p:nvPr/>
          </p:nvSpPr>
          <p:spPr bwMode="auto">
            <a:xfrm>
              <a:off x="7061907" y="5763382"/>
              <a:ext cx="10291" cy="29588"/>
            </a:xfrm>
            <a:custGeom>
              <a:avLst/>
              <a:gdLst>
                <a:gd name="T0" fmla="*/ 3 w 3"/>
                <a:gd name="T1" fmla="*/ 8 h 8"/>
                <a:gd name="T2" fmla="*/ 3 w 3"/>
                <a:gd name="T3" fmla="*/ 8 h 8"/>
                <a:gd name="T4" fmla="*/ 1 w 3"/>
                <a:gd name="T5" fmla="*/ 7 h 8"/>
                <a:gd name="T6" fmla="*/ 1 w 3"/>
                <a:gd name="T7" fmla="*/ 3 h 8"/>
                <a:gd name="T8" fmla="*/ 0 w 3"/>
                <a:gd name="T9" fmla="*/ 3 h 8"/>
                <a:gd name="T10" fmla="*/ 0 w 3"/>
                <a:gd name="T11" fmla="*/ 2 h 8"/>
                <a:gd name="T12" fmla="*/ 1 w 3"/>
                <a:gd name="T13" fmla="*/ 2 h 8"/>
                <a:gd name="T14" fmla="*/ 1 w 3"/>
                <a:gd name="T15" fmla="*/ 1 h 8"/>
                <a:gd name="T16" fmla="*/ 2 w 3"/>
                <a:gd name="T17" fmla="*/ 0 h 8"/>
                <a:gd name="T18" fmla="*/ 2 w 3"/>
                <a:gd name="T19" fmla="*/ 0 h 8"/>
                <a:gd name="T20" fmla="*/ 2 w 3"/>
                <a:gd name="T21" fmla="*/ 2 h 8"/>
                <a:gd name="T22" fmla="*/ 3 w 3"/>
                <a:gd name="T23" fmla="*/ 2 h 8"/>
                <a:gd name="T24" fmla="*/ 3 w 3"/>
                <a:gd name="T25" fmla="*/ 3 h 8"/>
                <a:gd name="T26" fmla="*/ 2 w 3"/>
                <a:gd name="T27" fmla="*/ 3 h 8"/>
                <a:gd name="T28" fmla="*/ 2 w 3"/>
                <a:gd name="T29" fmla="*/ 7 h 8"/>
                <a:gd name="T30" fmla="*/ 2 w 3"/>
                <a:gd name="T31" fmla="*/ 7 h 8"/>
                <a:gd name="T32" fmla="*/ 3 w 3"/>
                <a:gd name="T33" fmla="*/ 8 h 8"/>
                <a:gd name="T34" fmla="*/ 3 w 3"/>
                <a:gd name="T35"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 h="8">
                  <a:moveTo>
                    <a:pt x="3" y="8"/>
                  </a:moveTo>
                  <a:cubicBezTo>
                    <a:pt x="3" y="8"/>
                    <a:pt x="3" y="8"/>
                    <a:pt x="3" y="8"/>
                  </a:cubicBezTo>
                  <a:cubicBezTo>
                    <a:pt x="2" y="8"/>
                    <a:pt x="1" y="8"/>
                    <a:pt x="1" y="7"/>
                  </a:cubicBezTo>
                  <a:cubicBezTo>
                    <a:pt x="1" y="3"/>
                    <a:pt x="1" y="3"/>
                    <a:pt x="1" y="3"/>
                  </a:cubicBezTo>
                  <a:cubicBezTo>
                    <a:pt x="0" y="3"/>
                    <a:pt x="0" y="3"/>
                    <a:pt x="0" y="3"/>
                  </a:cubicBezTo>
                  <a:cubicBezTo>
                    <a:pt x="0" y="2"/>
                    <a:pt x="0" y="2"/>
                    <a:pt x="0" y="2"/>
                  </a:cubicBezTo>
                  <a:cubicBezTo>
                    <a:pt x="1" y="2"/>
                    <a:pt x="1" y="2"/>
                    <a:pt x="1" y="2"/>
                  </a:cubicBezTo>
                  <a:cubicBezTo>
                    <a:pt x="1" y="1"/>
                    <a:pt x="1" y="1"/>
                    <a:pt x="1" y="1"/>
                  </a:cubicBezTo>
                  <a:cubicBezTo>
                    <a:pt x="1" y="0"/>
                    <a:pt x="1" y="0"/>
                    <a:pt x="2" y="0"/>
                  </a:cubicBezTo>
                  <a:cubicBezTo>
                    <a:pt x="2" y="0"/>
                    <a:pt x="2" y="0"/>
                    <a:pt x="2" y="0"/>
                  </a:cubicBezTo>
                  <a:cubicBezTo>
                    <a:pt x="2" y="2"/>
                    <a:pt x="2" y="2"/>
                    <a:pt x="2" y="2"/>
                  </a:cubicBezTo>
                  <a:cubicBezTo>
                    <a:pt x="3" y="2"/>
                    <a:pt x="3" y="2"/>
                    <a:pt x="3" y="2"/>
                  </a:cubicBezTo>
                  <a:cubicBezTo>
                    <a:pt x="3" y="3"/>
                    <a:pt x="3" y="3"/>
                    <a:pt x="3" y="3"/>
                  </a:cubicBezTo>
                  <a:cubicBezTo>
                    <a:pt x="2" y="3"/>
                    <a:pt x="2" y="3"/>
                    <a:pt x="2" y="3"/>
                  </a:cubicBezTo>
                  <a:cubicBezTo>
                    <a:pt x="2" y="7"/>
                    <a:pt x="2" y="7"/>
                    <a:pt x="2" y="7"/>
                  </a:cubicBezTo>
                  <a:cubicBezTo>
                    <a:pt x="2" y="7"/>
                    <a:pt x="2" y="7"/>
                    <a:pt x="2" y="7"/>
                  </a:cubicBezTo>
                  <a:cubicBezTo>
                    <a:pt x="2" y="8"/>
                    <a:pt x="2" y="8"/>
                    <a:pt x="3" y="8"/>
                  </a:cubicBezTo>
                  <a:cubicBezTo>
                    <a:pt x="3" y="8"/>
                    <a:pt x="3" y="8"/>
                    <a:pt x="3" y="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252" name="Rectangle 123"/>
            <p:cNvSpPr>
              <a:spLocks noChangeArrowheads="1"/>
            </p:cNvSpPr>
            <p:nvPr/>
          </p:nvSpPr>
          <p:spPr bwMode="auto">
            <a:xfrm>
              <a:off x="7419532" y="6371861"/>
              <a:ext cx="47598" cy="186532"/>
            </a:xfrm>
            <a:prstGeom prst="rect">
              <a:avLst/>
            </a:prstGeom>
            <a:solidFill>
              <a:schemeClr val="bg1">
                <a:lumMod val="85000"/>
              </a:schemeClr>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194" name="Freeform 127"/>
            <p:cNvSpPr>
              <a:spLocks/>
            </p:cNvSpPr>
            <p:nvPr/>
          </p:nvSpPr>
          <p:spPr bwMode="auto">
            <a:xfrm>
              <a:off x="11170188" y="6030940"/>
              <a:ext cx="516589" cy="61309"/>
            </a:xfrm>
            <a:custGeom>
              <a:avLst/>
              <a:gdLst>
                <a:gd name="T0" fmla="*/ 416 w 455"/>
                <a:gd name="T1" fmla="*/ 0 h 54"/>
                <a:gd name="T2" fmla="*/ 31 w 455"/>
                <a:gd name="T3" fmla="*/ 0 h 54"/>
                <a:gd name="T4" fmla="*/ 0 w 455"/>
                <a:gd name="T5" fmla="*/ 54 h 54"/>
                <a:gd name="T6" fmla="*/ 455 w 455"/>
                <a:gd name="T7" fmla="*/ 54 h 54"/>
                <a:gd name="T8" fmla="*/ 416 w 455"/>
                <a:gd name="T9" fmla="*/ 0 h 54"/>
              </a:gdLst>
              <a:ahLst/>
              <a:cxnLst>
                <a:cxn ang="0">
                  <a:pos x="T0" y="T1"/>
                </a:cxn>
                <a:cxn ang="0">
                  <a:pos x="T2" y="T3"/>
                </a:cxn>
                <a:cxn ang="0">
                  <a:pos x="T4" y="T5"/>
                </a:cxn>
                <a:cxn ang="0">
                  <a:pos x="T6" y="T7"/>
                </a:cxn>
                <a:cxn ang="0">
                  <a:pos x="T8" y="T9"/>
                </a:cxn>
              </a:cxnLst>
              <a:rect l="0" t="0" r="r" b="b"/>
              <a:pathLst>
                <a:path w="455" h="54">
                  <a:moveTo>
                    <a:pt x="416" y="0"/>
                  </a:moveTo>
                  <a:lnTo>
                    <a:pt x="31" y="0"/>
                  </a:lnTo>
                  <a:lnTo>
                    <a:pt x="0" y="54"/>
                  </a:lnTo>
                  <a:lnTo>
                    <a:pt x="455" y="54"/>
                  </a:lnTo>
                  <a:lnTo>
                    <a:pt x="416" y="0"/>
                  </a:lnTo>
                  <a:close/>
                </a:path>
              </a:pathLst>
            </a:custGeom>
            <a:solidFill>
              <a:schemeClr val="bg1">
                <a:lumMod val="85000"/>
              </a:schemeClr>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195" name="Rectangle 128"/>
            <p:cNvSpPr>
              <a:spLocks noChangeArrowheads="1"/>
            </p:cNvSpPr>
            <p:nvPr/>
          </p:nvSpPr>
          <p:spPr bwMode="auto">
            <a:xfrm>
              <a:off x="11170188" y="6092249"/>
              <a:ext cx="516589" cy="15895"/>
            </a:xfrm>
            <a:prstGeom prst="rect">
              <a:avLst/>
            </a:prstGeom>
            <a:solidFill>
              <a:srgbClr val="3333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196" name="Freeform 129"/>
            <p:cNvSpPr>
              <a:spLocks/>
            </p:cNvSpPr>
            <p:nvPr/>
          </p:nvSpPr>
          <p:spPr bwMode="auto">
            <a:xfrm>
              <a:off x="10906785" y="5270249"/>
              <a:ext cx="1046801" cy="628989"/>
            </a:xfrm>
            <a:custGeom>
              <a:avLst/>
              <a:gdLst>
                <a:gd name="T0" fmla="*/ 326 w 326"/>
                <a:gd name="T1" fmla="*/ 184 h 195"/>
                <a:gd name="T2" fmla="*/ 316 w 326"/>
                <a:gd name="T3" fmla="*/ 195 h 195"/>
                <a:gd name="T4" fmla="*/ 11 w 326"/>
                <a:gd name="T5" fmla="*/ 195 h 195"/>
                <a:gd name="T6" fmla="*/ 0 w 326"/>
                <a:gd name="T7" fmla="*/ 184 h 195"/>
                <a:gd name="T8" fmla="*/ 0 w 326"/>
                <a:gd name="T9" fmla="*/ 11 h 195"/>
                <a:gd name="T10" fmla="*/ 11 w 326"/>
                <a:gd name="T11" fmla="*/ 0 h 195"/>
                <a:gd name="T12" fmla="*/ 316 w 326"/>
                <a:gd name="T13" fmla="*/ 0 h 195"/>
                <a:gd name="T14" fmla="*/ 326 w 326"/>
                <a:gd name="T15" fmla="*/ 11 h 195"/>
                <a:gd name="T16" fmla="*/ 326 w 326"/>
                <a:gd name="T17" fmla="*/ 184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6" h="195">
                  <a:moveTo>
                    <a:pt x="326" y="184"/>
                  </a:moveTo>
                  <a:cubicBezTo>
                    <a:pt x="326" y="190"/>
                    <a:pt x="321" y="195"/>
                    <a:pt x="316" y="195"/>
                  </a:cubicBezTo>
                  <a:cubicBezTo>
                    <a:pt x="11" y="195"/>
                    <a:pt x="11" y="195"/>
                    <a:pt x="11" y="195"/>
                  </a:cubicBezTo>
                  <a:cubicBezTo>
                    <a:pt x="5" y="195"/>
                    <a:pt x="0" y="190"/>
                    <a:pt x="0" y="184"/>
                  </a:cubicBezTo>
                  <a:cubicBezTo>
                    <a:pt x="0" y="11"/>
                    <a:pt x="0" y="11"/>
                    <a:pt x="0" y="11"/>
                  </a:cubicBezTo>
                  <a:cubicBezTo>
                    <a:pt x="0" y="5"/>
                    <a:pt x="5" y="0"/>
                    <a:pt x="11" y="0"/>
                  </a:cubicBezTo>
                  <a:cubicBezTo>
                    <a:pt x="316" y="0"/>
                    <a:pt x="316" y="0"/>
                    <a:pt x="316" y="0"/>
                  </a:cubicBezTo>
                  <a:cubicBezTo>
                    <a:pt x="321" y="0"/>
                    <a:pt x="326" y="5"/>
                    <a:pt x="326" y="11"/>
                  </a:cubicBezTo>
                  <a:lnTo>
                    <a:pt x="326" y="184"/>
                  </a:lnTo>
                  <a:close/>
                </a:path>
              </a:pathLst>
            </a:custGeom>
            <a:solidFill>
              <a:schemeClr val="bg1">
                <a:lumMod val="85000"/>
              </a:schemeClr>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197" name="Freeform 130"/>
            <p:cNvSpPr>
              <a:spLocks/>
            </p:cNvSpPr>
            <p:nvPr/>
          </p:nvSpPr>
          <p:spPr bwMode="auto">
            <a:xfrm>
              <a:off x="11359793" y="5895832"/>
              <a:ext cx="135108" cy="164627"/>
            </a:xfrm>
            <a:custGeom>
              <a:avLst/>
              <a:gdLst>
                <a:gd name="T0" fmla="*/ 29 w 42"/>
                <a:gd name="T1" fmla="*/ 0 h 51"/>
                <a:gd name="T2" fmla="*/ 31 w 42"/>
                <a:gd name="T3" fmla="*/ 5 h 51"/>
                <a:gd name="T4" fmla="*/ 21 w 42"/>
                <a:gd name="T5" fmla="*/ 15 h 51"/>
                <a:gd name="T6" fmla="*/ 11 w 42"/>
                <a:gd name="T7" fmla="*/ 5 h 51"/>
                <a:gd name="T8" fmla="*/ 12 w 42"/>
                <a:gd name="T9" fmla="*/ 0 h 51"/>
                <a:gd name="T10" fmla="*/ 0 w 42"/>
                <a:gd name="T11" fmla="*/ 0 h 51"/>
                <a:gd name="T12" fmla="*/ 0 w 42"/>
                <a:gd name="T13" fmla="*/ 51 h 51"/>
                <a:gd name="T14" fmla="*/ 42 w 42"/>
                <a:gd name="T15" fmla="*/ 51 h 51"/>
                <a:gd name="T16" fmla="*/ 42 w 42"/>
                <a:gd name="T17" fmla="*/ 0 h 51"/>
                <a:gd name="T18" fmla="*/ 29 w 42"/>
                <a:gd name="T19"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2" h="51">
                  <a:moveTo>
                    <a:pt x="29" y="0"/>
                  </a:moveTo>
                  <a:cubicBezTo>
                    <a:pt x="30" y="2"/>
                    <a:pt x="31" y="3"/>
                    <a:pt x="31" y="5"/>
                  </a:cubicBezTo>
                  <a:cubicBezTo>
                    <a:pt x="31" y="11"/>
                    <a:pt x="26" y="15"/>
                    <a:pt x="21" y="15"/>
                  </a:cubicBezTo>
                  <a:cubicBezTo>
                    <a:pt x="15" y="15"/>
                    <a:pt x="11" y="11"/>
                    <a:pt x="11" y="5"/>
                  </a:cubicBezTo>
                  <a:cubicBezTo>
                    <a:pt x="11" y="3"/>
                    <a:pt x="11" y="2"/>
                    <a:pt x="12" y="0"/>
                  </a:cubicBezTo>
                  <a:cubicBezTo>
                    <a:pt x="0" y="0"/>
                    <a:pt x="0" y="0"/>
                    <a:pt x="0" y="0"/>
                  </a:cubicBezTo>
                  <a:cubicBezTo>
                    <a:pt x="0" y="51"/>
                    <a:pt x="0" y="51"/>
                    <a:pt x="0" y="51"/>
                  </a:cubicBezTo>
                  <a:cubicBezTo>
                    <a:pt x="42" y="51"/>
                    <a:pt x="42" y="51"/>
                    <a:pt x="42" y="51"/>
                  </a:cubicBezTo>
                  <a:cubicBezTo>
                    <a:pt x="42" y="0"/>
                    <a:pt x="42" y="0"/>
                    <a:pt x="42" y="0"/>
                  </a:cubicBezTo>
                  <a:lnTo>
                    <a:pt x="29" y="0"/>
                  </a:lnTo>
                  <a:close/>
                </a:path>
              </a:pathLst>
            </a:custGeom>
            <a:solidFill>
              <a:schemeClr val="bg1">
                <a:lumMod val="85000"/>
              </a:schemeClr>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198" name="Freeform 131"/>
            <p:cNvSpPr>
              <a:spLocks/>
            </p:cNvSpPr>
            <p:nvPr/>
          </p:nvSpPr>
          <p:spPr bwMode="auto">
            <a:xfrm>
              <a:off x="10935169" y="5298633"/>
              <a:ext cx="986627" cy="544972"/>
            </a:xfrm>
            <a:custGeom>
              <a:avLst/>
              <a:gdLst>
                <a:gd name="T0" fmla="*/ 307 w 307"/>
                <a:gd name="T1" fmla="*/ 165 h 169"/>
                <a:gd name="T2" fmla="*/ 303 w 307"/>
                <a:gd name="T3" fmla="*/ 169 h 169"/>
                <a:gd name="T4" fmla="*/ 5 w 307"/>
                <a:gd name="T5" fmla="*/ 169 h 169"/>
                <a:gd name="T6" fmla="*/ 0 w 307"/>
                <a:gd name="T7" fmla="*/ 165 h 169"/>
                <a:gd name="T8" fmla="*/ 0 w 307"/>
                <a:gd name="T9" fmla="*/ 4 h 169"/>
                <a:gd name="T10" fmla="*/ 5 w 307"/>
                <a:gd name="T11" fmla="*/ 0 h 169"/>
                <a:gd name="T12" fmla="*/ 303 w 307"/>
                <a:gd name="T13" fmla="*/ 0 h 169"/>
                <a:gd name="T14" fmla="*/ 307 w 307"/>
                <a:gd name="T15" fmla="*/ 4 h 169"/>
                <a:gd name="T16" fmla="*/ 307 w 307"/>
                <a:gd name="T17" fmla="*/ 165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7" h="169">
                  <a:moveTo>
                    <a:pt x="307" y="165"/>
                  </a:moveTo>
                  <a:cubicBezTo>
                    <a:pt x="307" y="167"/>
                    <a:pt x="305" y="169"/>
                    <a:pt x="303" y="169"/>
                  </a:cubicBezTo>
                  <a:cubicBezTo>
                    <a:pt x="5" y="169"/>
                    <a:pt x="5" y="169"/>
                    <a:pt x="5" y="169"/>
                  </a:cubicBezTo>
                  <a:cubicBezTo>
                    <a:pt x="2" y="169"/>
                    <a:pt x="0" y="167"/>
                    <a:pt x="0" y="165"/>
                  </a:cubicBezTo>
                  <a:cubicBezTo>
                    <a:pt x="0" y="4"/>
                    <a:pt x="0" y="4"/>
                    <a:pt x="0" y="4"/>
                  </a:cubicBezTo>
                  <a:cubicBezTo>
                    <a:pt x="0" y="2"/>
                    <a:pt x="2" y="0"/>
                    <a:pt x="5" y="0"/>
                  </a:cubicBezTo>
                  <a:cubicBezTo>
                    <a:pt x="303" y="0"/>
                    <a:pt x="303" y="0"/>
                    <a:pt x="303" y="0"/>
                  </a:cubicBezTo>
                  <a:cubicBezTo>
                    <a:pt x="305" y="0"/>
                    <a:pt x="307" y="2"/>
                    <a:pt x="307" y="4"/>
                  </a:cubicBezTo>
                  <a:lnTo>
                    <a:pt x="307" y="165"/>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199" name="Rectangle 132"/>
            <p:cNvSpPr>
              <a:spLocks noChangeArrowheads="1"/>
            </p:cNvSpPr>
            <p:nvPr/>
          </p:nvSpPr>
          <p:spPr bwMode="auto">
            <a:xfrm>
              <a:off x="11015779" y="5424658"/>
              <a:ext cx="228208" cy="11013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200" name="Rectangle 133"/>
            <p:cNvSpPr>
              <a:spLocks noChangeArrowheads="1"/>
            </p:cNvSpPr>
            <p:nvPr/>
          </p:nvSpPr>
          <p:spPr bwMode="auto">
            <a:xfrm>
              <a:off x="11250798" y="5424658"/>
              <a:ext cx="227072" cy="110130"/>
            </a:xfrm>
            <a:prstGeom prst="rect">
              <a:avLst/>
            </a:prstGeom>
            <a:solidFill>
              <a:srgbClr val="5D499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201" name="Rectangle 134"/>
            <p:cNvSpPr>
              <a:spLocks noChangeArrowheads="1"/>
            </p:cNvSpPr>
            <p:nvPr/>
          </p:nvSpPr>
          <p:spPr bwMode="auto">
            <a:xfrm>
              <a:off x="11488089" y="5424658"/>
              <a:ext cx="108994" cy="110130"/>
            </a:xfrm>
            <a:prstGeom prst="rect">
              <a:avLst/>
            </a:prstGeom>
            <a:solidFill>
              <a:srgbClr val="F9F7F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202" name="Rectangle 135"/>
            <p:cNvSpPr>
              <a:spLocks noChangeArrowheads="1"/>
            </p:cNvSpPr>
            <p:nvPr/>
          </p:nvSpPr>
          <p:spPr bwMode="auto">
            <a:xfrm>
              <a:off x="11603895" y="5424658"/>
              <a:ext cx="108994" cy="110130"/>
            </a:xfrm>
            <a:prstGeom prst="rect">
              <a:avLst/>
            </a:prstGeom>
            <a:solidFill>
              <a:srgbClr val="019E4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203" name="Rectangle 136"/>
            <p:cNvSpPr>
              <a:spLocks noChangeArrowheads="1"/>
            </p:cNvSpPr>
            <p:nvPr/>
          </p:nvSpPr>
          <p:spPr bwMode="auto">
            <a:xfrm>
              <a:off x="11488089" y="5540464"/>
              <a:ext cx="108994" cy="11013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204" name="Rectangle 137"/>
            <p:cNvSpPr>
              <a:spLocks noChangeArrowheads="1"/>
            </p:cNvSpPr>
            <p:nvPr/>
          </p:nvSpPr>
          <p:spPr bwMode="auto">
            <a:xfrm>
              <a:off x="11015779" y="5540464"/>
              <a:ext cx="108994" cy="110130"/>
            </a:xfrm>
            <a:prstGeom prst="rect">
              <a:avLst/>
            </a:prstGeom>
            <a:solidFill>
              <a:srgbClr val="019E4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205" name="Rectangle 138"/>
            <p:cNvSpPr>
              <a:spLocks noChangeArrowheads="1"/>
            </p:cNvSpPr>
            <p:nvPr/>
          </p:nvSpPr>
          <p:spPr bwMode="auto">
            <a:xfrm>
              <a:off x="11015779" y="5660813"/>
              <a:ext cx="108994" cy="108994"/>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206" name="Rectangle 139"/>
            <p:cNvSpPr>
              <a:spLocks noChangeArrowheads="1"/>
            </p:cNvSpPr>
            <p:nvPr/>
          </p:nvSpPr>
          <p:spPr bwMode="auto">
            <a:xfrm>
              <a:off x="11134992" y="5660813"/>
              <a:ext cx="108994" cy="108994"/>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207" name="Rectangle 140"/>
            <p:cNvSpPr>
              <a:spLocks noChangeArrowheads="1"/>
            </p:cNvSpPr>
            <p:nvPr/>
          </p:nvSpPr>
          <p:spPr bwMode="auto">
            <a:xfrm>
              <a:off x="11250798" y="5540464"/>
              <a:ext cx="227072" cy="110130"/>
            </a:xfrm>
            <a:prstGeom prst="rect">
              <a:avLst/>
            </a:prstGeom>
            <a:solidFill>
              <a:srgbClr val="58595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208" name="Rectangle 141"/>
            <p:cNvSpPr>
              <a:spLocks noChangeArrowheads="1"/>
            </p:cNvSpPr>
            <p:nvPr/>
          </p:nvSpPr>
          <p:spPr bwMode="auto">
            <a:xfrm>
              <a:off x="11250798" y="5660813"/>
              <a:ext cx="227072" cy="108994"/>
            </a:xfrm>
            <a:prstGeom prst="rect">
              <a:avLst/>
            </a:prstGeom>
            <a:solidFill>
              <a:srgbClr val="F9F7F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209" name="Rectangle 142"/>
            <p:cNvSpPr>
              <a:spLocks noChangeArrowheads="1"/>
            </p:cNvSpPr>
            <p:nvPr/>
          </p:nvSpPr>
          <p:spPr bwMode="auto">
            <a:xfrm>
              <a:off x="11484682" y="5734611"/>
              <a:ext cx="228208" cy="35196"/>
            </a:xfrm>
            <a:prstGeom prst="rect">
              <a:avLst/>
            </a:prstGeom>
            <a:solidFill>
              <a:srgbClr val="F9F7F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210" name="Rectangle 143"/>
            <p:cNvSpPr>
              <a:spLocks noChangeArrowheads="1"/>
            </p:cNvSpPr>
            <p:nvPr/>
          </p:nvSpPr>
          <p:spPr bwMode="auto">
            <a:xfrm>
              <a:off x="11484682" y="5660813"/>
              <a:ext cx="228208" cy="73799"/>
            </a:xfrm>
            <a:prstGeom prst="rect">
              <a:avLst/>
            </a:prstGeom>
            <a:solidFill>
              <a:srgbClr val="58595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211" name="Rectangle 144"/>
            <p:cNvSpPr>
              <a:spLocks noChangeArrowheads="1"/>
            </p:cNvSpPr>
            <p:nvPr/>
          </p:nvSpPr>
          <p:spPr bwMode="auto">
            <a:xfrm>
              <a:off x="11603895" y="5540464"/>
              <a:ext cx="108994" cy="110130"/>
            </a:xfrm>
            <a:prstGeom prst="rect">
              <a:avLst/>
            </a:prstGeom>
            <a:solidFill>
              <a:srgbClr val="F9F7F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212" name="Rectangle 145"/>
            <p:cNvSpPr>
              <a:spLocks noChangeArrowheads="1"/>
            </p:cNvSpPr>
            <p:nvPr/>
          </p:nvSpPr>
          <p:spPr bwMode="auto">
            <a:xfrm>
              <a:off x="11767387" y="5540464"/>
              <a:ext cx="108994" cy="110130"/>
            </a:xfrm>
            <a:prstGeom prst="rect">
              <a:avLst/>
            </a:prstGeom>
            <a:solidFill>
              <a:srgbClr val="019E4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213" name="Rectangle 146"/>
            <p:cNvSpPr>
              <a:spLocks noChangeArrowheads="1"/>
            </p:cNvSpPr>
            <p:nvPr/>
          </p:nvSpPr>
          <p:spPr bwMode="auto">
            <a:xfrm>
              <a:off x="11767387" y="5657407"/>
              <a:ext cx="108994" cy="112401"/>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214" name="Rectangle 147"/>
            <p:cNvSpPr>
              <a:spLocks noChangeArrowheads="1"/>
            </p:cNvSpPr>
            <p:nvPr/>
          </p:nvSpPr>
          <p:spPr bwMode="auto">
            <a:xfrm>
              <a:off x="11883194" y="5540464"/>
              <a:ext cx="38602" cy="110130"/>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215" name="Rectangle 148"/>
            <p:cNvSpPr>
              <a:spLocks noChangeArrowheads="1"/>
            </p:cNvSpPr>
            <p:nvPr/>
          </p:nvSpPr>
          <p:spPr bwMode="auto">
            <a:xfrm>
              <a:off x="11883194" y="5657407"/>
              <a:ext cx="38602" cy="112401"/>
            </a:xfrm>
            <a:prstGeom prst="rect">
              <a:avLst/>
            </a:prstGeom>
            <a:solidFill>
              <a:srgbClr val="9E1F6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216" name="Rectangle 149"/>
            <p:cNvSpPr>
              <a:spLocks noChangeArrowheads="1"/>
            </p:cNvSpPr>
            <p:nvPr/>
          </p:nvSpPr>
          <p:spPr bwMode="auto">
            <a:xfrm>
              <a:off x="11767387" y="5424658"/>
              <a:ext cx="154409" cy="11013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217" name="Freeform 150"/>
            <p:cNvSpPr>
              <a:spLocks/>
            </p:cNvSpPr>
            <p:nvPr/>
          </p:nvSpPr>
          <p:spPr bwMode="auto">
            <a:xfrm>
              <a:off x="11134992" y="5540464"/>
              <a:ext cx="108994" cy="113536"/>
            </a:xfrm>
            <a:custGeom>
              <a:avLst/>
              <a:gdLst>
                <a:gd name="T0" fmla="*/ 48 w 96"/>
                <a:gd name="T1" fmla="*/ 0 h 100"/>
                <a:gd name="T2" fmla="*/ 0 w 96"/>
                <a:gd name="T3" fmla="*/ 0 h 100"/>
                <a:gd name="T4" fmla="*/ 0 w 96"/>
                <a:gd name="T5" fmla="*/ 49 h 100"/>
                <a:gd name="T6" fmla="*/ 0 w 96"/>
                <a:gd name="T7" fmla="*/ 100 h 100"/>
                <a:gd name="T8" fmla="*/ 48 w 96"/>
                <a:gd name="T9" fmla="*/ 100 h 100"/>
                <a:gd name="T10" fmla="*/ 96 w 96"/>
                <a:gd name="T11" fmla="*/ 100 h 100"/>
                <a:gd name="T12" fmla="*/ 96 w 96"/>
                <a:gd name="T13" fmla="*/ 49 h 100"/>
                <a:gd name="T14" fmla="*/ 96 w 96"/>
                <a:gd name="T15" fmla="*/ 0 h 100"/>
                <a:gd name="T16" fmla="*/ 48 w 96"/>
                <a:gd name="T17" fmla="*/ 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6" h="100">
                  <a:moveTo>
                    <a:pt x="48" y="0"/>
                  </a:moveTo>
                  <a:lnTo>
                    <a:pt x="0" y="0"/>
                  </a:lnTo>
                  <a:lnTo>
                    <a:pt x="0" y="49"/>
                  </a:lnTo>
                  <a:lnTo>
                    <a:pt x="0" y="100"/>
                  </a:lnTo>
                  <a:lnTo>
                    <a:pt x="48" y="100"/>
                  </a:lnTo>
                  <a:lnTo>
                    <a:pt x="96" y="100"/>
                  </a:lnTo>
                  <a:lnTo>
                    <a:pt x="96" y="49"/>
                  </a:lnTo>
                  <a:lnTo>
                    <a:pt x="96" y="0"/>
                  </a:lnTo>
                  <a:lnTo>
                    <a:pt x="48" y="0"/>
                  </a:lnTo>
                  <a:close/>
                </a:path>
              </a:pathLst>
            </a:custGeom>
            <a:solidFill>
              <a:srgbClr val="F9F7F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218" name="Rectangle 151"/>
            <p:cNvSpPr>
              <a:spLocks noChangeArrowheads="1"/>
            </p:cNvSpPr>
            <p:nvPr/>
          </p:nvSpPr>
          <p:spPr bwMode="auto">
            <a:xfrm>
              <a:off x="11867299" y="5334965"/>
              <a:ext cx="31790" cy="28384"/>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219" name="Freeform 152"/>
            <p:cNvSpPr>
              <a:spLocks/>
            </p:cNvSpPr>
            <p:nvPr/>
          </p:nvSpPr>
          <p:spPr bwMode="auto">
            <a:xfrm>
              <a:off x="11019185" y="5338371"/>
              <a:ext cx="12489" cy="28384"/>
            </a:xfrm>
            <a:custGeom>
              <a:avLst/>
              <a:gdLst>
                <a:gd name="T0" fmla="*/ 0 w 4"/>
                <a:gd name="T1" fmla="*/ 8 h 9"/>
                <a:gd name="T2" fmla="*/ 0 w 4"/>
                <a:gd name="T3" fmla="*/ 7 h 9"/>
                <a:gd name="T4" fmla="*/ 2 w 4"/>
                <a:gd name="T5" fmla="*/ 8 h 9"/>
                <a:gd name="T6" fmla="*/ 3 w 4"/>
                <a:gd name="T7" fmla="*/ 8 h 9"/>
                <a:gd name="T8" fmla="*/ 4 w 4"/>
                <a:gd name="T9" fmla="*/ 6 h 9"/>
                <a:gd name="T10" fmla="*/ 3 w 4"/>
                <a:gd name="T11" fmla="*/ 5 h 9"/>
                <a:gd name="T12" fmla="*/ 2 w 4"/>
                <a:gd name="T13" fmla="*/ 4 h 9"/>
                <a:gd name="T14" fmla="*/ 0 w 4"/>
                <a:gd name="T15" fmla="*/ 3 h 9"/>
                <a:gd name="T16" fmla="*/ 0 w 4"/>
                <a:gd name="T17" fmla="*/ 2 h 9"/>
                <a:gd name="T18" fmla="*/ 0 w 4"/>
                <a:gd name="T19" fmla="*/ 0 h 9"/>
                <a:gd name="T20" fmla="*/ 2 w 4"/>
                <a:gd name="T21" fmla="*/ 0 h 9"/>
                <a:gd name="T22" fmla="*/ 4 w 4"/>
                <a:gd name="T23" fmla="*/ 0 h 9"/>
                <a:gd name="T24" fmla="*/ 4 w 4"/>
                <a:gd name="T25" fmla="*/ 1 h 9"/>
                <a:gd name="T26" fmla="*/ 2 w 4"/>
                <a:gd name="T27" fmla="*/ 0 h 9"/>
                <a:gd name="T28" fmla="*/ 1 w 4"/>
                <a:gd name="T29" fmla="*/ 1 h 9"/>
                <a:gd name="T30" fmla="*/ 0 w 4"/>
                <a:gd name="T31" fmla="*/ 2 h 9"/>
                <a:gd name="T32" fmla="*/ 1 w 4"/>
                <a:gd name="T33" fmla="*/ 3 h 9"/>
                <a:gd name="T34" fmla="*/ 2 w 4"/>
                <a:gd name="T35" fmla="*/ 4 h 9"/>
                <a:gd name="T36" fmla="*/ 4 w 4"/>
                <a:gd name="T37" fmla="*/ 5 h 9"/>
                <a:gd name="T38" fmla="*/ 4 w 4"/>
                <a:gd name="T39" fmla="*/ 6 h 9"/>
                <a:gd name="T40" fmla="*/ 4 w 4"/>
                <a:gd name="T41" fmla="*/ 8 h 9"/>
                <a:gd name="T42" fmla="*/ 2 w 4"/>
                <a:gd name="T43" fmla="*/ 9 h 9"/>
                <a:gd name="T44" fmla="*/ 1 w 4"/>
                <a:gd name="T45" fmla="*/ 9 h 9"/>
                <a:gd name="T46" fmla="*/ 0 w 4"/>
                <a:gd name="T47" fmla="*/ 8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 h="9">
                  <a:moveTo>
                    <a:pt x="0" y="8"/>
                  </a:moveTo>
                  <a:cubicBezTo>
                    <a:pt x="0" y="7"/>
                    <a:pt x="0" y="7"/>
                    <a:pt x="0" y="7"/>
                  </a:cubicBezTo>
                  <a:cubicBezTo>
                    <a:pt x="0" y="8"/>
                    <a:pt x="1" y="8"/>
                    <a:pt x="2" y="8"/>
                  </a:cubicBezTo>
                  <a:cubicBezTo>
                    <a:pt x="2" y="8"/>
                    <a:pt x="3" y="8"/>
                    <a:pt x="3" y="8"/>
                  </a:cubicBezTo>
                  <a:cubicBezTo>
                    <a:pt x="3" y="7"/>
                    <a:pt x="4" y="7"/>
                    <a:pt x="4" y="6"/>
                  </a:cubicBezTo>
                  <a:cubicBezTo>
                    <a:pt x="4" y="6"/>
                    <a:pt x="4" y="6"/>
                    <a:pt x="3" y="5"/>
                  </a:cubicBezTo>
                  <a:cubicBezTo>
                    <a:pt x="3" y="5"/>
                    <a:pt x="3" y="5"/>
                    <a:pt x="2" y="4"/>
                  </a:cubicBezTo>
                  <a:cubicBezTo>
                    <a:pt x="1" y="4"/>
                    <a:pt x="0" y="3"/>
                    <a:pt x="0" y="3"/>
                  </a:cubicBezTo>
                  <a:cubicBezTo>
                    <a:pt x="0" y="3"/>
                    <a:pt x="0" y="2"/>
                    <a:pt x="0" y="2"/>
                  </a:cubicBezTo>
                  <a:cubicBezTo>
                    <a:pt x="0" y="1"/>
                    <a:pt x="0" y="1"/>
                    <a:pt x="0" y="0"/>
                  </a:cubicBezTo>
                  <a:cubicBezTo>
                    <a:pt x="1" y="0"/>
                    <a:pt x="2" y="0"/>
                    <a:pt x="2" y="0"/>
                  </a:cubicBezTo>
                  <a:cubicBezTo>
                    <a:pt x="3" y="0"/>
                    <a:pt x="3" y="0"/>
                    <a:pt x="4" y="0"/>
                  </a:cubicBezTo>
                  <a:cubicBezTo>
                    <a:pt x="4" y="1"/>
                    <a:pt x="4" y="1"/>
                    <a:pt x="4" y="1"/>
                  </a:cubicBezTo>
                  <a:cubicBezTo>
                    <a:pt x="3" y="0"/>
                    <a:pt x="3" y="0"/>
                    <a:pt x="2" y="0"/>
                  </a:cubicBezTo>
                  <a:cubicBezTo>
                    <a:pt x="2" y="0"/>
                    <a:pt x="1" y="0"/>
                    <a:pt x="1" y="1"/>
                  </a:cubicBezTo>
                  <a:cubicBezTo>
                    <a:pt x="1" y="1"/>
                    <a:pt x="0" y="1"/>
                    <a:pt x="0" y="2"/>
                  </a:cubicBezTo>
                  <a:cubicBezTo>
                    <a:pt x="0" y="2"/>
                    <a:pt x="0" y="3"/>
                    <a:pt x="1" y="3"/>
                  </a:cubicBezTo>
                  <a:cubicBezTo>
                    <a:pt x="1" y="3"/>
                    <a:pt x="1" y="3"/>
                    <a:pt x="2" y="4"/>
                  </a:cubicBezTo>
                  <a:cubicBezTo>
                    <a:pt x="3" y="4"/>
                    <a:pt x="4" y="5"/>
                    <a:pt x="4" y="5"/>
                  </a:cubicBezTo>
                  <a:cubicBezTo>
                    <a:pt x="4" y="5"/>
                    <a:pt x="4" y="6"/>
                    <a:pt x="4" y="6"/>
                  </a:cubicBezTo>
                  <a:cubicBezTo>
                    <a:pt x="4" y="7"/>
                    <a:pt x="4" y="8"/>
                    <a:pt x="4" y="8"/>
                  </a:cubicBezTo>
                  <a:cubicBezTo>
                    <a:pt x="3" y="8"/>
                    <a:pt x="2" y="9"/>
                    <a:pt x="2" y="9"/>
                  </a:cubicBezTo>
                  <a:cubicBezTo>
                    <a:pt x="1" y="9"/>
                    <a:pt x="1" y="9"/>
                    <a:pt x="1" y="9"/>
                  </a:cubicBezTo>
                  <a:cubicBezTo>
                    <a:pt x="0" y="8"/>
                    <a:pt x="0" y="8"/>
                    <a:pt x="0" y="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220" name="Freeform 153"/>
            <p:cNvSpPr>
              <a:spLocks/>
            </p:cNvSpPr>
            <p:nvPr/>
          </p:nvSpPr>
          <p:spPr bwMode="auto">
            <a:xfrm>
              <a:off x="11035080" y="5338371"/>
              <a:ext cx="9083" cy="28384"/>
            </a:xfrm>
            <a:custGeom>
              <a:avLst/>
              <a:gdLst>
                <a:gd name="T0" fmla="*/ 3 w 3"/>
                <a:gd name="T1" fmla="*/ 8 h 9"/>
                <a:gd name="T2" fmla="*/ 3 w 3"/>
                <a:gd name="T3" fmla="*/ 9 h 9"/>
                <a:gd name="T4" fmla="*/ 1 w 3"/>
                <a:gd name="T5" fmla="*/ 7 h 9"/>
                <a:gd name="T6" fmla="*/ 1 w 3"/>
                <a:gd name="T7" fmla="*/ 3 h 9"/>
                <a:gd name="T8" fmla="*/ 0 w 3"/>
                <a:gd name="T9" fmla="*/ 3 h 9"/>
                <a:gd name="T10" fmla="*/ 0 w 3"/>
                <a:gd name="T11" fmla="*/ 2 h 9"/>
                <a:gd name="T12" fmla="*/ 1 w 3"/>
                <a:gd name="T13" fmla="*/ 2 h 9"/>
                <a:gd name="T14" fmla="*/ 1 w 3"/>
                <a:gd name="T15" fmla="*/ 1 h 9"/>
                <a:gd name="T16" fmla="*/ 2 w 3"/>
                <a:gd name="T17" fmla="*/ 1 h 9"/>
                <a:gd name="T18" fmla="*/ 2 w 3"/>
                <a:gd name="T19" fmla="*/ 0 h 9"/>
                <a:gd name="T20" fmla="*/ 2 w 3"/>
                <a:gd name="T21" fmla="*/ 2 h 9"/>
                <a:gd name="T22" fmla="*/ 3 w 3"/>
                <a:gd name="T23" fmla="*/ 2 h 9"/>
                <a:gd name="T24" fmla="*/ 3 w 3"/>
                <a:gd name="T25" fmla="*/ 3 h 9"/>
                <a:gd name="T26" fmla="*/ 2 w 3"/>
                <a:gd name="T27" fmla="*/ 3 h 9"/>
                <a:gd name="T28" fmla="*/ 2 w 3"/>
                <a:gd name="T29" fmla="*/ 7 h 9"/>
                <a:gd name="T30" fmla="*/ 2 w 3"/>
                <a:gd name="T31" fmla="*/ 8 h 9"/>
                <a:gd name="T32" fmla="*/ 3 w 3"/>
                <a:gd name="T33" fmla="*/ 8 h 9"/>
                <a:gd name="T34" fmla="*/ 3 w 3"/>
                <a:gd name="T35" fmla="*/ 8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 h="9">
                  <a:moveTo>
                    <a:pt x="3" y="8"/>
                  </a:moveTo>
                  <a:cubicBezTo>
                    <a:pt x="3" y="9"/>
                    <a:pt x="3" y="9"/>
                    <a:pt x="3" y="9"/>
                  </a:cubicBezTo>
                  <a:cubicBezTo>
                    <a:pt x="2" y="9"/>
                    <a:pt x="1" y="8"/>
                    <a:pt x="1" y="7"/>
                  </a:cubicBezTo>
                  <a:cubicBezTo>
                    <a:pt x="1" y="3"/>
                    <a:pt x="1" y="3"/>
                    <a:pt x="1" y="3"/>
                  </a:cubicBezTo>
                  <a:cubicBezTo>
                    <a:pt x="0" y="3"/>
                    <a:pt x="0" y="3"/>
                    <a:pt x="0" y="3"/>
                  </a:cubicBezTo>
                  <a:cubicBezTo>
                    <a:pt x="0" y="2"/>
                    <a:pt x="0" y="2"/>
                    <a:pt x="0" y="2"/>
                  </a:cubicBezTo>
                  <a:cubicBezTo>
                    <a:pt x="1" y="2"/>
                    <a:pt x="1" y="2"/>
                    <a:pt x="1" y="2"/>
                  </a:cubicBezTo>
                  <a:cubicBezTo>
                    <a:pt x="1" y="1"/>
                    <a:pt x="1" y="1"/>
                    <a:pt x="1" y="1"/>
                  </a:cubicBezTo>
                  <a:cubicBezTo>
                    <a:pt x="1" y="1"/>
                    <a:pt x="1" y="1"/>
                    <a:pt x="2" y="1"/>
                  </a:cubicBezTo>
                  <a:cubicBezTo>
                    <a:pt x="2" y="1"/>
                    <a:pt x="2" y="0"/>
                    <a:pt x="2" y="0"/>
                  </a:cubicBezTo>
                  <a:cubicBezTo>
                    <a:pt x="2" y="2"/>
                    <a:pt x="2" y="2"/>
                    <a:pt x="2" y="2"/>
                  </a:cubicBezTo>
                  <a:cubicBezTo>
                    <a:pt x="3" y="2"/>
                    <a:pt x="3" y="2"/>
                    <a:pt x="3" y="2"/>
                  </a:cubicBezTo>
                  <a:cubicBezTo>
                    <a:pt x="3" y="3"/>
                    <a:pt x="3" y="3"/>
                    <a:pt x="3" y="3"/>
                  </a:cubicBezTo>
                  <a:cubicBezTo>
                    <a:pt x="2" y="3"/>
                    <a:pt x="2" y="3"/>
                    <a:pt x="2" y="3"/>
                  </a:cubicBezTo>
                  <a:cubicBezTo>
                    <a:pt x="2" y="7"/>
                    <a:pt x="2" y="7"/>
                    <a:pt x="2" y="7"/>
                  </a:cubicBezTo>
                  <a:cubicBezTo>
                    <a:pt x="2" y="7"/>
                    <a:pt x="2" y="8"/>
                    <a:pt x="2" y="8"/>
                  </a:cubicBezTo>
                  <a:cubicBezTo>
                    <a:pt x="2" y="8"/>
                    <a:pt x="2" y="8"/>
                    <a:pt x="3" y="8"/>
                  </a:cubicBezTo>
                  <a:cubicBezTo>
                    <a:pt x="3" y="8"/>
                    <a:pt x="3" y="8"/>
                    <a:pt x="3" y="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221" name="Freeform 154"/>
            <p:cNvSpPr>
              <a:spLocks noEditPoints="1"/>
            </p:cNvSpPr>
            <p:nvPr/>
          </p:nvSpPr>
          <p:spPr bwMode="auto">
            <a:xfrm>
              <a:off x="11050975" y="5344048"/>
              <a:ext cx="12489" cy="22707"/>
            </a:xfrm>
            <a:custGeom>
              <a:avLst/>
              <a:gdLst>
                <a:gd name="T0" fmla="*/ 4 w 4"/>
                <a:gd name="T1" fmla="*/ 6 h 7"/>
                <a:gd name="T2" fmla="*/ 4 w 4"/>
                <a:gd name="T3" fmla="*/ 5 h 7"/>
                <a:gd name="T4" fmla="*/ 4 w 4"/>
                <a:gd name="T5" fmla="*/ 5 h 7"/>
                <a:gd name="T6" fmla="*/ 3 w 4"/>
                <a:gd name="T7" fmla="*/ 6 h 7"/>
                <a:gd name="T8" fmla="*/ 2 w 4"/>
                <a:gd name="T9" fmla="*/ 7 h 7"/>
                <a:gd name="T10" fmla="*/ 0 w 4"/>
                <a:gd name="T11" fmla="*/ 6 h 7"/>
                <a:gd name="T12" fmla="*/ 0 w 4"/>
                <a:gd name="T13" fmla="*/ 5 h 7"/>
                <a:gd name="T14" fmla="*/ 2 w 4"/>
                <a:gd name="T15" fmla="*/ 3 h 7"/>
                <a:gd name="T16" fmla="*/ 4 w 4"/>
                <a:gd name="T17" fmla="*/ 3 h 7"/>
                <a:gd name="T18" fmla="*/ 2 w 4"/>
                <a:gd name="T19" fmla="*/ 1 h 7"/>
                <a:gd name="T20" fmla="*/ 0 w 4"/>
                <a:gd name="T21" fmla="*/ 1 h 7"/>
                <a:gd name="T22" fmla="*/ 0 w 4"/>
                <a:gd name="T23" fmla="*/ 1 h 7"/>
                <a:gd name="T24" fmla="*/ 1 w 4"/>
                <a:gd name="T25" fmla="*/ 0 h 7"/>
                <a:gd name="T26" fmla="*/ 2 w 4"/>
                <a:gd name="T27" fmla="*/ 0 h 7"/>
                <a:gd name="T28" fmla="*/ 4 w 4"/>
                <a:gd name="T29" fmla="*/ 1 h 7"/>
                <a:gd name="T30" fmla="*/ 4 w 4"/>
                <a:gd name="T31" fmla="*/ 2 h 7"/>
                <a:gd name="T32" fmla="*/ 4 w 4"/>
                <a:gd name="T33" fmla="*/ 6 h 7"/>
                <a:gd name="T34" fmla="*/ 2 w 4"/>
                <a:gd name="T35" fmla="*/ 3 h 7"/>
                <a:gd name="T36" fmla="*/ 1 w 4"/>
                <a:gd name="T37" fmla="*/ 4 h 7"/>
                <a:gd name="T38" fmla="*/ 0 w 4"/>
                <a:gd name="T39" fmla="*/ 5 h 7"/>
                <a:gd name="T40" fmla="*/ 1 w 4"/>
                <a:gd name="T41" fmla="*/ 6 h 7"/>
                <a:gd name="T42" fmla="*/ 2 w 4"/>
                <a:gd name="T43" fmla="*/ 6 h 7"/>
                <a:gd name="T44" fmla="*/ 3 w 4"/>
                <a:gd name="T45" fmla="*/ 5 h 7"/>
                <a:gd name="T46" fmla="*/ 4 w 4"/>
                <a:gd name="T47" fmla="*/ 4 h 7"/>
                <a:gd name="T48" fmla="*/ 4 w 4"/>
                <a:gd name="T49" fmla="*/ 3 h 7"/>
                <a:gd name="T50" fmla="*/ 2 w 4"/>
                <a:gd name="T51"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 h="7">
                  <a:moveTo>
                    <a:pt x="4" y="6"/>
                  </a:moveTo>
                  <a:cubicBezTo>
                    <a:pt x="4" y="5"/>
                    <a:pt x="4" y="5"/>
                    <a:pt x="4" y="5"/>
                  </a:cubicBezTo>
                  <a:cubicBezTo>
                    <a:pt x="4" y="5"/>
                    <a:pt x="4" y="5"/>
                    <a:pt x="4" y="5"/>
                  </a:cubicBezTo>
                  <a:cubicBezTo>
                    <a:pt x="4" y="6"/>
                    <a:pt x="3" y="6"/>
                    <a:pt x="3" y="6"/>
                  </a:cubicBezTo>
                  <a:cubicBezTo>
                    <a:pt x="2" y="7"/>
                    <a:pt x="2" y="7"/>
                    <a:pt x="2" y="7"/>
                  </a:cubicBezTo>
                  <a:cubicBezTo>
                    <a:pt x="1" y="7"/>
                    <a:pt x="1" y="6"/>
                    <a:pt x="0" y="6"/>
                  </a:cubicBezTo>
                  <a:cubicBezTo>
                    <a:pt x="0" y="6"/>
                    <a:pt x="0" y="5"/>
                    <a:pt x="0" y="5"/>
                  </a:cubicBezTo>
                  <a:cubicBezTo>
                    <a:pt x="0" y="4"/>
                    <a:pt x="0" y="3"/>
                    <a:pt x="2" y="3"/>
                  </a:cubicBezTo>
                  <a:cubicBezTo>
                    <a:pt x="4" y="3"/>
                    <a:pt x="4" y="3"/>
                    <a:pt x="4" y="3"/>
                  </a:cubicBezTo>
                  <a:cubicBezTo>
                    <a:pt x="4" y="1"/>
                    <a:pt x="3" y="1"/>
                    <a:pt x="2" y="1"/>
                  </a:cubicBezTo>
                  <a:cubicBezTo>
                    <a:pt x="2" y="1"/>
                    <a:pt x="1" y="1"/>
                    <a:pt x="0" y="1"/>
                  </a:cubicBezTo>
                  <a:cubicBezTo>
                    <a:pt x="0" y="1"/>
                    <a:pt x="0" y="1"/>
                    <a:pt x="0" y="1"/>
                  </a:cubicBezTo>
                  <a:cubicBezTo>
                    <a:pt x="0" y="1"/>
                    <a:pt x="1" y="0"/>
                    <a:pt x="1" y="0"/>
                  </a:cubicBezTo>
                  <a:cubicBezTo>
                    <a:pt x="2" y="0"/>
                    <a:pt x="2" y="0"/>
                    <a:pt x="2" y="0"/>
                  </a:cubicBezTo>
                  <a:cubicBezTo>
                    <a:pt x="3" y="0"/>
                    <a:pt x="3" y="0"/>
                    <a:pt x="4" y="1"/>
                  </a:cubicBezTo>
                  <a:cubicBezTo>
                    <a:pt x="4" y="1"/>
                    <a:pt x="4" y="2"/>
                    <a:pt x="4" y="2"/>
                  </a:cubicBezTo>
                  <a:cubicBezTo>
                    <a:pt x="4" y="6"/>
                    <a:pt x="4" y="6"/>
                    <a:pt x="4" y="6"/>
                  </a:cubicBezTo>
                  <a:close/>
                  <a:moveTo>
                    <a:pt x="2" y="3"/>
                  </a:moveTo>
                  <a:cubicBezTo>
                    <a:pt x="1" y="3"/>
                    <a:pt x="1" y="4"/>
                    <a:pt x="1" y="4"/>
                  </a:cubicBezTo>
                  <a:cubicBezTo>
                    <a:pt x="0" y="4"/>
                    <a:pt x="0" y="4"/>
                    <a:pt x="0" y="5"/>
                  </a:cubicBezTo>
                  <a:cubicBezTo>
                    <a:pt x="0" y="5"/>
                    <a:pt x="0" y="6"/>
                    <a:pt x="1" y="6"/>
                  </a:cubicBezTo>
                  <a:cubicBezTo>
                    <a:pt x="1" y="6"/>
                    <a:pt x="1" y="6"/>
                    <a:pt x="2" y="6"/>
                  </a:cubicBezTo>
                  <a:cubicBezTo>
                    <a:pt x="2" y="6"/>
                    <a:pt x="3" y="6"/>
                    <a:pt x="3" y="5"/>
                  </a:cubicBezTo>
                  <a:cubicBezTo>
                    <a:pt x="4" y="5"/>
                    <a:pt x="4" y="4"/>
                    <a:pt x="4" y="4"/>
                  </a:cubicBezTo>
                  <a:cubicBezTo>
                    <a:pt x="4" y="3"/>
                    <a:pt x="4" y="3"/>
                    <a:pt x="4" y="3"/>
                  </a:cubicBezTo>
                  <a:lnTo>
                    <a:pt x="2" y="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222" name="Freeform 155"/>
            <p:cNvSpPr>
              <a:spLocks/>
            </p:cNvSpPr>
            <p:nvPr/>
          </p:nvSpPr>
          <p:spPr bwMode="auto">
            <a:xfrm>
              <a:off x="11070277" y="5344048"/>
              <a:ext cx="10219" cy="19301"/>
            </a:xfrm>
            <a:custGeom>
              <a:avLst/>
              <a:gdLst>
                <a:gd name="T0" fmla="*/ 3 w 3"/>
                <a:gd name="T1" fmla="*/ 1 h 6"/>
                <a:gd name="T2" fmla="*/ 3 w 3"/>
                <a:gd name="T3" fmla="*/ 1 h 6"/>
                <a:gd name="T4" fmla="*/ 1 w 3"/>
                <a:gd name="T5" fmla="*/ 1 h 6"/>
                <a:gd name="T6" fmla="*/ 1 w 3"/>
                <a:gd name="T7" fmla="*/ 4 h 6"/>
                <a:gd name="T8" fmla="*/ 1 w 3"/>
                <a:gd name="T9" fmla="*/ 6 h 6"/>
                <a:gd name="T10" fmla="*/ 0 w 3"/>
                <a:gd name="T11" fmla="*/ 6 h 6"/>
                <a:gd name="T12" fmla="*/ 0 w 3"/>
                <a:gd name="T13" fmla="*/ 0 h 6"/>
                <a:gd name="T14" fmla="*/ 1 w 3"/>
                <a:gd name="T15" fmla="*/ 0 h 6"/>
                <a:gd name="T16" fmla="*/ 1 w 3"/>
                <a:gd name="T17" fmla="*/ 2 h 6"/>
                <a:gd name="T18" fmla="*/ 1 w 3"/>
                <a:gd name="T19" fmla="*/ 2 h 6"/>
                <a:gd name="T20" fmla="*/ 2 w 3"/>
                <a:gd name="T21" fmla="*/ 1 h 6"/>
                <a:gd name="T22" fmla="*/ 3 w 3"/>
                <a:gd name="T23" fmla="*/ 0 h 6"/>
                <a:gd name="T24" fmla="*/ 3 w 3"/>
                <a:gd name="T25" fmla="*/ 0 h 6"/>
                <a:gd name="T26" fmla="*/ 3 w 3"/>
                <a:gd name="T27"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 h="6">
                  <a:moveTo>
                    <a:pt x="3" y="1"/>
                  </a:moveTo>
                  <a:cubicBezTo>
                    <a:pt x="3" y="1"/>
                    <a:pt x="3" y="1"/>
                    <a:pt x="3" y="1"/>
                  </a:cubicBezTo>
                  <a:cubicBezTo>
                    <a:pt x="2" y="1"/>
                    <a:pt x="2" y="1"/>
                    <a:pt x="1" y="1"/>
                  </a:cubicBezTo>
                  <a:cubicBezTo>
                    <a:pt x="1" y="2"/>
                    <a:pt x="1" y="3"/>
                    <a:pt x="1" y="4"/>
                  </a:cubicBezTo>
                  <a:cubicBezTo>
                    <a:pt x="1" y="6"/>
                    <a:pt x="1" y="6"/>
                    <a:pt x="1" y="6"/>
                  </a:cubicBezTo>
                  <a:cubicBezTo>
                    <a:pt x="0" y="6"/>
                    <a:pt x="0" y="6"/>
                    <a:pt x="0" y="6"/>
                  </a:cubicBezTo>
                  <a:cubicBezTo>
                    <a:pt x="0" y="0"/>
                    <a:pt x="0" y="0"/>
                    <a:pt x="0" y="0"/>
                  </a:cubicBezTo>
                  <a:cubicBezTo>
                    <a:pt x="1" y="0"/>
                    <a:pt x="1" y="0"/>
                    <a:pt x="1" y="0"/>
                  </a:cubicBezTo>
                  <a:cubicBezTo>
                    <a:pt x="1" y="2"/>
                    <a:pt x="1" y="2"/>
                    <a:pt x="1" y="2"/>
                  </a:cubicBezTo>
                  <a:cubicBezTo>
                    <a:pt x="1" y="2"/>
                    <a:pt x="1" y="2"/>
                    <a:pt x="1" y="2"/>
                  </a:cubicBezTo>
                  <a:cubicBezTo>
                    <a:pt x="1" y="1"/>
                    <a:pt x="1" y="1"/>
                    <a:pt x="2" y="1"/>
                  </a:cubicBezTo>
                  <a:cubicBezTo>
                    <a:pt x="2" y="0"/>
                    <a:pt x="2" y="0"/>
                    <a:pt x="3" y="0"/>
                  </a:cubicBezTo>
                  <a:cubicBezTo>
                    <a:pt x="3" y="0"/>
                    <a:pt x="3" y="0"/>
                    <a:pt x="3" y="0"/>
                  </a:cubicBezTo>
                  <a:lnTo>
                    <a:pt x="3"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223" name="Freeform 156"/>
            <p:cNvSpPr>
              <a:spLocks/>
            </p:cNvSpPr>
            <p:nvPr/>
          </p:nvSpPr>
          <p:spPr bwMode="auto">
            <a:xfrm>
              <a:off x="11082765" y="5338371"/>
              <a:ext cx="13624" cy="28384"/>
            </a:xfrm>
            <a:custGeom>
              <a:avLst/>
              <a:gdLst>
                <a:gd name="T0" fmla="*/ 4 w 4"/>
                <a:gd name="T1" fmla="*/ 8 h 9"/>
                <a:gd name="T2" fmla="*/ 3 w 4"/>
                <a:gd name="T3" fmla="*/ 9 h 9"/>
                <a:gd name="T4" fmla="*/ 1 w 4"/>
                <a:gd name="T5" fmla="*/ 7 h 9"/>
                <a:gd name="T6" fmla="*/ 1 w 4"/>
                <a:gd name="T7" fmla="*/ 3 h 9"/>
                <a:gd name="T8" fmla="*/ 0 w 4"/>
                <a:gd name="T9" fmla="*/ 3 h 9"/>
                <a:gd name="T10" fmla="*/ 0 w 4"/>
                <a:gd name="T11" fmla="*/ 2 h 9"/>
                <a:gd name="T12" fmla="*/ 1 w 4"/>
                <a:gd name="T13" fmla="*/ 2 h 9"/>
                <a:gd name="T14" fmla="*/ 1 w 4"/>
                <a:gd name="T15" fmla="*/ 1 h 9"/>
                <a:gd name="T16" fmla="*/ 2 w 4"/>
                <a:gd name="T17" fmla="*/ 1 h 9"/>
                <a:gd name="T18" fmla="*/ 2 w 4"/>
                <a:gd name="T19" fmla="*/ 0 h 9"/>
                <a:gd name="T20" fmla="*/ 2 w 4"/>
                <a:gd name="T21" fmla="*/ 2 h 9"/>
                <a:gd name="T22" fmla="*/ 4 w 4"/>
                <a:gd name="T23" fmla="*/ 2 h 9"/>
                <a:gd name="T24" fmla="*/ 4 w 4"/>
                <a:gd name="T25" fmla="*/ 3 h 9"/>
                <a:gd name="T26" fmla="*/ 2 w 4"/>
                <a:gd name="T27" fmla="*/ 3 h 9"/>
                <a:gd name="T28" fmla="*/ 2 w 4"/>
                <a:gd name="T29" fmla="*/ 7 h 9"/>
                <a:gd name="T30" fmla="*/ 2 w 4"/>
                <a:gd name="T31" fmla="*/ 8 h 9"/>
                <a:gd name="T32" fmla="*/ 3 w 4"/>
                <a:gd name="T33" fmla="*/ 8 h 9"/>
                <a:gd name="T34" fmla="*/ 4 w 4"/>
                <a:gd name="T35" fmla="*/ 8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 h="9">
                  <a:moveTo>
                    <a:pt x="4" y="8"/>
                  </a:moveTo>
                  <a:cubicBezTo>
                    <a:pt x="3" y="9"/>
                    <a:pt x="3" y="9"/>
                    <a:pt x="3" y="9"/>
                  </a:cubicBezTo>
                  <a:cubicBezTo>
                    <a:pt x="2" y="9"/>
                    <a:pt x="1" y="8"/>
                    <a:pt x="1" y="7"/>
                  </a:cubicBezTo>
                  <a:cubicBezTo>
                    <a:pt x="1" y="3"/>
                    <a:pt x="1" y="3"/>
                    <a:pt x="1" y="3"/>
                  </a:cubicBezTo>
                  <a:cubicBezTo>
                    <a:pt x="0" y="3"/>
                    <a:pt x="0" y="3"/>
                    <a:pt x="0" y="3"/>
                  </a:cubicBezTo>
                  <a:cubicBezTo>
                    <a:pt x="0" y="2"/>
                    <a:pt x="0" y="2"/>
                    <a:pt x="0" y="2"/>
                  </a:cubicBezTo>
                  <a:cubicBezTo>
                    <a:pt x="1" y="2"/>
                    <a:pt x="1" y="2"/>
                    <a:pt x="1" y="2"/>
                  </a:cubicBezTo>
                  <a:cubicBezTo>
                    <a:pt x="1" y="1"/>
                    <a:pt x="1" y="1"/>
                    <a:pt x="1" y="1"/>
                  </a:cubicBezTo>
                  <a:cubicBezTo>
                    <a:pt x="2" y="1"/>
                    <a:pt x="2" y="1"/>
                    <a:pt x="2" y="1"/>
                  </a:cubicBezTo>
                  <a:cubicBezTo>
                    <a:pt x="2" y="1"/>
                    <a:pt x="2" y="0"/>
                    <a:pt x="2" y="0"/>
                  </a:cubicBezTo>
                  <a:cubicBezTo>
                    <a:pt x="2" y="2"/>
                    <a:pt x="2" y="2"/>
                    <a:pt x="2" y="2"/>
                  </a:cubicBezTo>
                  <a:cubicBezTo>
                    <a:pt x="4" y="2"/>
                    <a:pt x="4" y="2"/>
                    <a:pt x="4" y="2"/>
                  </a:cubicBezTo>
                  <a:cubicBezTo>
                    <a:pt x="4" y="3"/>
                    <a:pt x="4" y="3"/>
                    <a:pt x="4" y="3"/>
                  </a:cubicBezTo>
                  <a:cubicBezTo>
                    <a:pt x="2" y="3"/>
                    <a:pt x="2" y="3"/>
                    <a:pt x="2" y="3"/>
                  </a:cubicBezTo>
                  <a:cubicBezTo>
                    <a:pt x="2" y="7"/>
                    <a:pt x="2" y="7"/>
                    <a:pt x="2" y="7"/>
                  </a:cubicBezTo>
                  <a:cubicBezTo>
                    <a:pt x="2" y="7"/>
                    <a:pt x="2" y="8"/>
                    <a:pt x="2" y="8"/>
                  </a:cubicBezTo>
                  <a:cubicBezTo>
                    <a:pt x="2" y="8"/>
                    <a:pt x="3" y="8"/>
                    <a:pt x="3" y="8"/>
                  </a:cubicBezTo>
                  <a:cubicBezTo>
                    <a:pt x="3" y="8"/>
                    <a:pt x="3" y="8"/>
                    <a:pt x="4" y="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grpSp>
    </p:spTree>
    <p:extLst>
      <p:ext uri="{BB962C8B-B14F-4D97-AF65-F5344CB8AC3E}">
        <p14:creationId xmlns:p14="http://schemas.microsoft.com/office/powerpoint/2010/main" val="27742508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5342" name="think-cell Slide" r:id="rId5" imgW="377" imgH="377" progId="TCLayout.ActiveDocument.1">
                  <p:embed/>
                </p:oleObj>
              </mc:Choice>
              <mc:Fallback>
                <p:oleObj name="think-cell Slide" r:id="rId5" imgW="377" imgH="377"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6" name="Rectangle 5"/>
          <p:cNvSpPr/>
          <p:nvPr/>
        </p:nvSpPr>
        <p:spPr bwMode="auto">
          <a:xfrm>
            <a:off x="4444999" y="0"/>
            <a:ext cx="7747001"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a:solidFill>
                <a:schemeClr val="bg1"/>
              </a:solidFill>
              <a:latin typeface="+mj-lt"/>
              <a:ea typeface="Segoe UI" pitchFamily="34" charset="0"/>
              <a:cs typeface="Segoe UI" pitchFamily="34" charset="0"/>
            </a:endParaRPr>
          </a:p>
        </p:txBody>
      </p:sp>
      <p:sp>
        <p:nvSpPr>
          <p:cNvPr id="5" name="Title 4"/>
          <p:cNvSpPr>
            <a:spLocks noGrp="1"/>
          </p:cNvSpPr>
          <p:nvPr>
            <p:ph type="title"/>
          </p:nvPr>
        </p:nvSpPr>
        <p:spPr>
          <a:xfrm>
            <a:off x="434976" y="286381"/>
            <a:ext cx="4010024" cy="927940"/>
          </a:xfrm>
        </p:spPr>
        <p:txBody>
          <a:bodyPr/>
          <a:lstStyle/>
          <a:p>
            <a:r>
              <a:rPr lang="en-US" dirty="0"/>
              <a:t>Creating a new ADL Store</a:t>
            </a:r>
            <a:endParaRPr lang="en-GB" dirty="0"/>
          </a:p>
        </p:txBody>
      </p:sp>
      <p:grpSp>
        <p:nvGrpSpPr>
          <p:cNvPr id="132" name="Group 131"/>
          <p:cNvGrpSpPr/>
          <p:nvPr/>
        </p:nvGrpSpPr>
        <p:grpSpPr>
          <a:xfrm>
            <a:off x="1182859" y="2452914"/>
            <a:ext cx="3262139" cy="4405086"/>
            <a:chOff x="1182859" y="2452914"/>
            <a:chExt cx="3262139" cy="4405086"/>
          </a:xfrm>
        </p:grpSpPr>
        <p:sp>
          <p:nvSpPr>
            <p:cNvPr id="42" name="Freeform 41"/>
            <p:cNvSpPr/>
            <p:nvPr/>
          </p:nvSpPr>
          <p:spPr bwMode="auto">
            <a:xfrm>
              <a:off x="2347991" y="3542943"/>
              <a:ext cx="1191675" cy="1775453"/>
            </a:xfrm>
            <a:custGeom>
              <a:avLst/>
              <a:gdLst>
                <a:gd name="connsiteX0" fmla="*/ 1758950 w 1758950"/>
                <a:gd name="connsiteY0" fmla="*/ 0 h 2559050"/>
                <a:gd name="connsiteX1" fmla="*/ 1758950 w 1758950"/>
                <a:gd name="connsiteY1" fmla="*/ 869950 h 2559050"/>
                <a:gd name="connsiteX2" fmla="*/ 1574800 w 1758950"/>
                <a:gd name="connsiteY2" fmla="*/ 1117600 h 2559050"/>
                <a:gd name="connsiteX3" fmla="*/ 419100 w 1758950"/>
                <a:gd name="connsiteY3" fmla="*/ 1117600 h 2559050"/>
                <a:gd name="connsiteX4" fmla="*/ 0 w 1758950"/>
                <a:gd name="connsiteY4" fmla="*/ 1358900 h 2559050"/>
                <a:gd name="connsiteX5" fmla="*/ 0 w 1758950"/>
                <a:gd name="connsiteY5" fmla="*/ 2559050 h 2559050"/>
                <a:gd name="connsiteX0" fmla="*/ 1762098 w 1762098"/>
                <a:gd name="connsiteY0" fmla="*/ 0 h 2559050"/>
                <a:gd name="connsiteX1" fmla="*/ 1762098 w 1762098"/>
                <a:gd name="connsiteY1" fmla="*/ 869950 h 2559050"/>
                <a:gd name="connsiteX2" fmla="*/ 1577948 w 1762098"/>
                <a:gd name="connsiteY2" fmla="*/ 1117600 h 2559050"/>
                <a:gd name="connsiteX3" fmla="*/ 422248 w 1762098"/>
                <a:gd name="connsiteY3" fmla="*/ 1117600 h 2559050"/>
                <a:gd name="connsiteX4" fmla="*/ 3148 w 1762098"/>
                <a:gd name="connsiteY4" fmla="*/ 1358900 h 2559050"/>
                <a:gd name="connsiteX5" fmla="*/ 3148 w 1762098"/>
                <a:gd name="connsiteY5" fmla="*/ 2559050 h 2559050"/>
                <a:gd name="connsiteX0" fmla="*/ 1762904 w 1762904"/>
                <a:gd name="connsiteY0" fmla="*/ 0 h 2559050"/>
                <a:gd name="connsiteX1" fmla="*/ 1762904 w 1762904"/>
                <a:gd name="connsiteY1" fmla="*/ 869950 h 2559050"/>
                <a:gd name="connsiteX2" fmla="*/ 1578754 w 1762904"/>
                <a:gd name="connsiteY2" fmla="*/ 1117600 h 2559050"/>
                <a:gd name="connsiteX3" fmla="*/ 423054 w 1762904"/>
                <a:gd name="connsiteY3" fmla="*/ 1117600 h 2559050"/>
                <a:gd name="connsiteX4" fmla="*/ 3954 w 1762904"/>
                <a:gd name="connsiteY4" fmla="*/ 1358900 h 2559050"/>
                <a:gd name="connsiteX5" fmla="*/ 3954 w 1762904"/>
                <a:gd name="connsiteY5" fmla="*/ 2559050 h 2559050"/>
                <a:gd name="connsiteX0" fmla="*/ 1762904 w 1762904"/>
                <a:gd name="connsiteY0" fmla="*/ 0 h 2559050"/>
                <a:gd name="connsiteX1" fmla="*/ 1762904 w 1762904"/>
                <a:gd name="connsiteY1" fmla="*/ 869950 h 2559050"/>
                <a:gd name="connsiteX2" fmla="*/ 1578754 w 1762904"/>
                <a:gd name="connsiteY2" fmla="*/ 1117600 h 2559050"/>
                <a:gd name="connsiteX3" fmla="*/ 423054 w 1762904"/>
                <a:gd name="connsiteY3" fmla="*/ 1117600 h 2559050"/>
                <a:gd name="connsiteX4" fmla="*/ 3954 w 1762904"/>
                <a:gd name="connsiteY4" fmla="*/ 1358900 h 2559050"/>
                <a:gd name="connsiteX5" fmla="*/ 3954 w 1762904"/>
                <a:gd name="connsiteY5" fmla="*/ 2559050 h 2559050"/>
                <a:gd name="connsiteX0" fmla="*/ 1762904 w 1762904"/>
                <a:gd name="connsiteY0" fmla="*/ 0 h 2559050"/>
                <a:gd name="connsiteX1" fmla="*/ 1762904 w 1762904"/>
                <a:gd name="connsiteY1" fmla="*/ 869950 h 2559050"/>
                <a:gd name="connsiteX2" fmla="*/ 1578754 w 1762904"/>
                <a:gd name="connsiteY2" fmla="*/ 1117600 h 2559050"/>
                <a:gd name="connsiteX3" fmla="*/ 423054 w 1762904"/>
                <a:gd name="connsiteY3" fmla="*/ 1117600 h 2559050"/>
                <a:gd name="connsiteX4" fmla="*/ 3954 w 1762904"/>
                <a:gd name="connsiteY4" fmla="*/ 1358900 h 2559050"/>
                <a:gd name="connsiteX5" fmla="*/ 3954 w 1762904"/>
                <a:gd name="connsiteY5" fmla="*/ 2559050 h 2559050"/>
                <a:gd name="connsiteX0" fmla="*/ 1762904 w 1762904"/>
                <a:gd name="connsiteY0" fmla="*/ 0 h 2559050"/>
                <a:gd name="connsiteX1" fmla="*/ 1762904 w 1762904"/>
                <a:gd name="connsiteY1" fmla="*/ 869950 h 2559050"/>
                <a:gd name="connsiteX2" fmla="*/ 1578754 w 1762904"/>
                <a:gd name="connsiteY2" fmla="*/ 1117600 h 2559050"/>
                <a:gd name="connsiteX3" fmla="*/ 423054 w 1762904"/>
                <a:gd name="connsiteY3" fmla="*/ 1117600 h 2559050"/>
                <a:gd name="connsiteX4" fmla="*/ 3954 w 1762904"/>
                <a:gd name="connsiteY4" fmla="*/ 1358900 h 2559050"/>
                <a:gd name="connsiteX5" fmla="*/ 3954 w 1762904"/>
                <a:gd name="connsiteY5" fmla="*/ 2559050 h 2559050"/>
                <a:gd name="connsiteX0" fmla="*/ 1762904 w 1762904"/>
                <a:gd name="connsiteY0" fmla="*/ 0 h 2559050"/>
                <a:gd name="connsiteX1" fmla="*/ 1762904 w 1762904"/>
                <a:gd name="connsiteY1" fmla="*/ 869950 h 2559050"/>
                <a:gd name="connsiteX2" fmla="*/ 1578754 w 1762904"/>
                <a:gd name="connsiteY2" fmla="*/ 1117600 h 2559050"/>
                <a:gd name="connsiteX3" fmla="*/ 423054 w 1762904"/>
                <a:gd name="connsiteY3" fmla="*/ 1117600 h 2559050"/>
                <a:gd name="connsiteX4" fmla="*/ 3954 w 1762904"/>
                <a:gd name="connsiteY4" fmla="*/ 1358900 h 2559050"/>
                <a:gd name="connsiteX5" fmla="*/ 3954 w 1762904"/>
                <a:gd name="connsiteY5" fmla="*/ 2559050 h 2559050"/>
                <a:gd name="connsiteX0" fmla="*/ 1758950 w 1758950"/>
                <a:gd name="connsiteY0" fmla="*/ 0 h 2559050"/>
                <a:gd name="connsiteX1" fmla="*/ 1758950 w 1758950"/>
                <a:gd name="connsiteY1" fmla="*/ 869950 h 2559050"/>
                <a:gd name="connsiteX2" fmla="*/ 1574800 w 1758950"/>
                <a:gd name="connsiteY2" fmla="*/ 1117600 h 2559050"/>
                <a:gd name="connsiteX3" fmla="*/ 419100 w 1758950"/>
                <a:gd name="connsiteY3" fmla="*/ 1117600 h 2559050"/>
                <a:gd name="connsiteX4" fmla="*/ 0 w 1758950"/>
                <a:gd name="connsiteY4" fmla="*/ 1358900 h 2559050"/>
                <a:gd name="connsiteX5" fmla="*/ 0 w 1758950"/>
                <a:gd name="connsiteY5" fmla="*/ 2559050 h 2559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58950" h="2559050">
                  <a:moveTo>
                    <a:pt x="1758950" y="0"/>
                  </a:moveTo>
                  <a:lnTo>
                    <a:pt x="1758950" y="869950"/>
                  </a:lnTo>
                  <a:cubicBezTo>
                    <a:pt x="1754717" y="1025525"/>
                    <a:pt x="1788583" y="1123950"/>
                    <a:pt x="1574800" y="1117600"/>
                  </a:cubicBezTo>
                  <a:lnTo>
                    <a:pt x="419100" y="1117600"/>
                  </a:lnTo>
                  <a:cubicBezTo>
                    <a:pt x="206375" y="1112308"/>
                    <a:pt x="0" y="1091142"/>
                    <a:pt x="0" y="1358900"/>
                  </a:cubicBezTo>
                  <a:lnTo>
                    <a:pt x="0" y="2559050"/>
                  </a:lnTo>
                </a:path>
              </a:pathLst>
            </a:custGeom>
            <a:noFill/>
            <a:ln w="38100" cap="rnd" cmpd="sng" algn="ctr">
              <a:solidFill>
                <a:srgbClr val="FFA230"/>
              </a:solidFill>
              <a:prstDash val="solid"/>
              <a:headEnd type="none" w="med" len="med"/>
              <a:tailEnd type="none" w="med" len="med"/>
            </a:ln>
            <a:effectLst/>
          </p:spPr>
          <p:txBody>
            <a:bodyPr rtlCol="0" anchor="ct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43" name="Freeform 42"/>
            <p:cNvSpPr/>
            <p:nvPr/>
          </p:nvSpPr>
          <p:spPr bwMode="auto">
            <a:xfrm>
              <a:off x="2122368" y="3791474"/>
              <a:ext cx="774373" cy="1526923"/>
            </a:xfrm>
            <a:custGeom>
              <a:avLst/>
              <a:gdLst>
                <a:gd name="connsiteX0" fmla="*/ 946150 w 946150"/>
                <a:gd name="connsiteY0" fmla="*/ 0 h 2451100"/>
                <a:gd name="connsiteX1" fmla="*/ 946150 w 946150"/>
                <a:gd name="connsiteY1" fmla="*/ 400050 h 2451100"/>
                <a:gd name="connsiteX2" fmla="*/ 806450 w 946150"/>
                <a:gd name="connsiteY2" fmla="*/ 539750 h 2451100"/>
                <a:gd name="connsiteX3" fmla="*/ 152400 w 946150"/>
                <a:gd name="connsiteY3" fmla="*/ 539750 h 2451100"/>
                <a:gd name="connsiteX4" fmla="*/ 0 w 946150"/>
                <a:gd name="connsiteY4" fmla="*/ 692150 h 2451100"/>
                <a:gd name="connsiteX5" fmla="*/ 0 w 946150"/>
                <a:gd name="connsiteY5" fmla="*/ 2451100 h 2451100"/>
                <a:gd name="connsiteX0" fmla="*/ 946150 w 946150"/>
                <a:gd name="connsiteY0" fmla="*/ 0 h 2451100"/>
                <a:gd name="connsiteX1" fmla="*/ 946150 w 946150"/>
                <a:gd name="connsiteY1" fmla="*/ 400050 h 2451100"/>
                <a:gd name="connsiteX2" fmla="*/ 806450 w 946150"/>
                <a:gd name="connsiteY2" fmla="*/ 539750 h 2451100"/>
                <a:gd name="connsiteX3" fmla="*/ 152400 w 946150"/>
                <a:gd name="connsiteY3" fmla="*/ 539750 h 2451100"/>
                <a:gd name="connsiteX4" fmla="*/ 0 w 946150"/>
                <a:gd name="connsiteY4" fmla="*/ 692150 h 2451100"/>
                <a:gd name="connsiteX5" fmla="*/ 0 w 946150"/>
                <a:gd name="connsiteY5" fmla="*/ 2451100 h 2451100"/>
                <a:gd name="connsiteX0" fmla="*/ 946150 w 946150"/>
                <a:gd name="connsiteY0" fmla="*/ 0 h 2451100"/>
                <a:gd name="connsiteX1" fmla="*/ 946150 w 946150"/>
                <a:gd name="connsiteY1" fmla="*/ 400050 h 2451100"/>
                <a:gd name="connsiteX2" fmla="*/ 806450 w 946150"/>
                <a:gd name="connsiteY2" fmla="*/ 539750 h 2451100"/>
                <a:gd name="connsiteX3" fmla="*/ 152400 w 946150"/>
                <a:gd name="connsiteY3" fmla="*/ 539750 h 2451100"/>
                <a:gd name="connsiteX4" fmla="*/ 0 w 946150"/>
                <a:gd name="connsiteY4" fmla="*/ 692150 h 2451100"/>
                <a:gd name="connsiteX5" fmla="*/ 0 w 946150"/>
                <a:gd name="connsiteY5" fmla="*/ 2451100 h 2451100"/>
                <a:gd name="connsiteX0" fmla="*/ 946150 w 946150"/>
                <a:gd name="connsiteY0" fmla="*/ 0 h 2451100"/>
                <a:gd name="connsiteX1" fmla="*/ 946150 w 946150"/>
                <a:gd name="connsiteY1" fmla="*/ 400050 h 2451100"/>
                <a:gd name="connsiteX2" fmla="*/ 806450 w 946150"/>
                <a:gd name="connsiteY2" fmla="*/ 539750 h 2451100"/>
                <a:gd name="connsiteX3" fmla="*/ 152400 w 946150"/>
                <a:gd name="connsiteY3" fmla="*/ 539750 h 2451100"/>
                <a:gd name="connsiteX4" fmla="*/ 0 w 946150"/>
                <a:gd name="connsiteY4" fmla="*/ 692150 h 2451100"/>
                <a:gd name="connsiteX5" fmla="*/ 0 w 946150"/>
                <a:gd name="connsiteY5" fmla="*/ 2451100 h 2451100"/>
                <a:gd name="connsiteX0" fmla="*/ 946150 w 946150"/>
                <a:gd name="connsiteY0" fmla="*/ 0 h 2451100"/>
                <a:gd name="connsiteX1" fmla="*/ 946150 w 946150"/>
                <a:gd name="connsiteY1" fmla="*/ 400050 h 2451100"/>
                <a:gd name="connsiteX2" fmla="*/ 806450 w 946150"/>
                <a:gd name="connsiteY2" fmla="*/ 539750 h 2451100"/>
                <a:gd name="connsiteX3" fmla="*/ 152400 w 946150"/>
                <a:gd name="connsiteY3" fmla="*/ 539750 h 2451100"/>
                <a:gd name="connsiteX4" fmla="*/ 0 w 946150"/>
                <a:gd name="connsiteY4" fmla="*/ 692150 h 2451100"/>
                <a:gd name="connsiteX5" fmla="*/ 0 w 946150"/>
                <a:gd name="connsiteY5" fmla="*/ 2451100 h 2451100"/>
                <a:gd name="connsiteX0" fmla="*/ 946150 w 946150"/>
                <a:gd name="connsiteY0" fmla="*/ 0 h 2451100"/>
                <a:gd name="connsiteX1" fmla="*/ 946150 w 946150"/>
                <a:gd name="connsiteY1" fmla="*/ 400050 h 2451100"/>
                <a:gd name="connsiteX2" fmla="*/ 806450 w 946150"/>
                <a:gd name="connsiteY2" fmla="*/ 539750 h 2451100"/>
                <a:gd name="connsiteX3" fmla="*/ 152400 w 946150"/>
                <a:gd name="connsiteY3" fmla="*/ 539750 h 2451100"/>
                <a:gd name="connsiteX4" fmla="*/ 0 w 946150"/>
                <a:gd name="connsiteY4" fmla="*/ 692150 h 2451100"/>
                <a:gd name="connsiteX5" fmla="*/ 0 w 946150"/>
                <a:gd name="connsiteY5" fmla="*/ 2451100 h 2451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46150" h="2451100">
                  <a:moveTo>
                    <a:pt x="946150" y="0"/>
                  </a:moveTo>
                  <a:lnTo>
                    <a:pt x="946150" y="400050"/>
                  </a:lnTo>
                  <a:cubicBezTo>
                    <a:pt x="945477" y="487662"/>
                    <a:pt x="894738" y="536642"/>
                    <a:pt x="806450" y="539750"/>
                  </a:cubicBezTo>
                  <a:lnTo>
                    <a:pt x="152400" y="539750"/>
                  </a:lnTo>
                  <a:cubicBezTo>
                    <a:pt x="72396" y="542262"/>
                    <a:pt x="734" y="525458"/>
                    <a:pt x="0" y="692150"/>
                  </a:cubicBezTo>
                  <a:lnTo>
                    <a:pt x="0" y="2451100"/>
                  </a:lnTo>
                </a:path>
              </a:pathLst>
            </a:custGeom>
            <a:noFill/>
            <a:ln w="38100" cap="rnd" cmpd="sng" algn="ctr">
              <a:solidFill>
                <a:srgbClr val="92D050"/>
              </a:solidFill>
              <a:prstDash val="solid"/>
              <a:headEnd type="none" w="med" len="med"/>
              <a:tailEnd type="none" w="med" len="med"/>
            </a:ln>
            <a:effectLst/>
          </p:spPr>
          <p:txBody>
            <a:bodyPr rtlCol="0" anchor="ct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44" name="Freeform 43"/>
            <p:cNvSpPr/>
            <p:nvPr/>
          </p:nvSpPr>
          <p:spPr bwMode="auto">
            <a:xfrm>
              <a:off x="1646208" y="3296488"/>
              <a:ext cx="351550" cy="2021909"/>
            </a:xfrm>
            <a:custGeom>
              <a:avLst/>
              <a:gdLst>
                <a:gd name="connsiteX0" fmla="*/ 0 w 381740"/>
                <a:gd name="connsiteY0" fmla="*/ 0 h 2681057"/>
                <a:gd name="connsiteX1" fmla="*/ 0 w 381740"/>
                <a:gd name="connsiteY1" fmla="*/ 994299 h 2681057"/>
                <a:gd name="connsiteX2" fmla="*/ 381740 w 381740"/>
                <a:gd name="connsiteY2" fmla="*/ 1376039 h 2681057"/>
                <a:gd name="connsiteX3" fmla="*/ 381740 w 381740"/>
                <a:gd name="connsiteY3" fmla="*/ 2681057 h 2681057"/>
                <a:gd name="connsiteX0" fmla="*/ 0 w 381740"/>
                <a:gd name="connsiteY0" fmla="*/ 0 h 2681057"/>
                <a:gd name="connsiteX1" fmla="*/ 0 w 381740"/>
                <a:gd name="connsiteY1" fmla="*/ 994299 h 2681057"/>
                <a:gd name="connsiteX2" fmla="*/ 381740 w 381740"/>
                <a:gd name="connsiteY2" fmla="*/ 1376039 h 2681057"/>
                <a:gd name="connsiteX3" fmla="*/ 381740 w 381740"/>
                <a:gd name="connsiteY3" fmla="*/ 2681057 h 2681057"/>
                <a:gd name="connsiteX0" fmla="*/ 0 w 381740"/>
                <a:gd name="connsiteY0" fmla="*/ 0 h 2681057"/>
                <a:gd name="connsiteX1" fmla="*/ 0 w 381740"/>
                <a:gd name="connsiteY1" fmla="*/ 994299 h 2681057"/>
                <a:gd name="connsiteX2" fmla="*/ 381740 w 381740"/>
                <a:gd name="connsiteY2" fmla="*/ 1376039 h 2681057"/>
                <a:gd name="connsiteX3" fmla="*/ 381740 w 381740"/>
                <a:gd name="connsiteY3" fmla="*/ 2681057 h 2681057"/>
                <a:gd name="connsiteX0" fmla="*/ 0 w 381740"/>
                <a:gd name="connsiteY0" fmla="*/ 0 h 2681057"/>
                <a:gd name="connsiteX1" fmla="*/ 0 w 381740"/>
                <a:gd name="connsiteY1" fmla="*/ 994299 h 2681057"/>
                <a:gd name="connsiteX2" fmla="*/ 381740 w 381740"/>
                <a:gd name="connsiteY2" fmla="*/ 1376039 h 2681057"/>
                <a:gd name="connsiteX3" fmla="*/ 381740 w 381740"/>
                <a:gd name="connsiteY3" fmla="*/ 2681057 h 2681057"/>
              </a:gdLst>
              <a:ahLst/>
              <a:cxnLst>
                <a:cxn ang="0">
                  <a:pos x="connsiteX0" y="connsiteY0"/>
                </a:cxn>
                <a:cxn ang="0">
                  <a:pos x="connsiteX1" y="connsiteY1"/>
                </a:cxn>
                <a:cxn ang="0">
                  <a:pos x="connsiteX2" y="connsiteY2"/>
                </a:cxn>
                <a:cxn ang="0">
                  <a:pos x="connsiteX3" y="connsiteY3"/>
                </a:cxn>
              </a:cxnLst>
              <a:rect l="l" t="t" r="r" b="b"/>
              <a:pathLst>
                <a:path w="381740" h="2681057">
                  <a:moveTo>
                    <a:pt x="0" y="0"/>
                  </a:moveTo>
                  <a:lnTo>
                    <a:pt x="0" y="994299"/>
                  </a:lnTo>
                  <a:cubicBezTo>
                    <a:pt x="12947" y="1400946"/>
                    <a:pt x="375143" y="1039242"/>
                    <a:pt x="381740" y="1376039"/>
                  </a:cubicBezTo>
                  <a:lnTo>
                    <a:pt x="381740" y="2681057"/>
                  </a:lnTo>
                </a:path>
              </a:pathLst>
            </a:custGeom>
            <a:noFill/>
            <a:ln w="38100" cap="rnd" cmpd="sng" algn="ctr">
              <a:solidFill>
                <a:srgbClr val="961E99"/>
              </a:solidFill>
              <a:prstDash val="solid"/>
              <a:headEnd type="none" w="med" len="med"/>
              <a:tailEnd type="none" w="med" len="med"/>
            </a:ln>
            <a:effectLst/>
          </p:spPr>
          <p:txBody>
            <a:bodyPr rtlCol="0" anchor="ct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45" name="Freeform 44"/>
            <p:cNvSpPr/>
            <p:nvPr/>
          </p:nvSpPr>
          <p:spPr bwMode="auto">
            <a:xfrm flipH="1">
              <a:off x="1737664" y="3022608"/>
              <a:ext cx="595653" cy="2308997"/>
            </a:xfrm>
            <a:custGeom>
              <a:avLst/>
              <a:gdLst>
                <a:gd name="connsiteX0" fmla="*/ 0 w 381740"/>
                <a:gd name="connsiteY0" fmla="*/ 0 h 2681057"/>
                <a:gd name="connsiteX1" fmla="*/ 0 w 381740"/>
                <a:gd name="connsiteY1" fmla="*/ 994299 h 2681057"/>
                <a:gd name="connsiteX2" fmla="*/ 381740 w 381740"/>
                <a:gd name="connsiteY2" fmla="*/ 1376039 h 2681057"/>
                <a:gd name="connsiteX3" fmla="*/ 381740 w 381740"/>
                <a:gd name="connsiteY3" fmla="*/ 2681057 h 2681057"/>
                <a:gd name="connsiteX0" fmla="*/ 0 w 381740"/>
                <a:gd name="connsiteY0" fmla="*/ 0 h 2681057"/>
                <a:gd name="connsiteX1" fmla="*/ 0 w 381740"/>
                <a:gd name="connsiteY1" fmla="*/ 994299 h 2681057"/>
                <a:gd name="connsiteX2" fmla="*/ 381740 w 381740"/>
                <a:gd name="connsiteY2" fmla="*/ 1376039 h 2681057"/>
                <a:gd name="connsiteX3" fmla="*/ 381740 w 381740"/>
                <a:gd name="connsiteY3" fmla="*/ 2681057 h 2681057"/>
                <a:gd name="connsiteX0" fmla="*/ 0 w 381740"/>
                <a:gd name="connsiteY0" fmla="*/ 0 h 2681057"/>
                <a:gd name="connsiteX1" fmla="*/ 0 w 381740"/>
                <a:gd name="connsiteY1" fmla="*/ 994299 h 2681057"/>
                <a:gd name="connsiteX2" fmla="*/ 381740 w 381740"/>
                <a:gd name="connsiteY2" fmla="*/ 1376039 h 2681057"/>
                <a:gd name="connsiteX3" fmla="*/ 381740 w 381740"/>
                <a:gd name="connsiteY3" fmla="*/ 2681057 h 2681057"/>
                <a:gd name="connsiteX0" fmla="*/ 0 w 381740"/>
                <a:gd name="connsiteY0" fmla="*/ 0 h 2681057"/>
                <a:gd name="connsiteX1" fmla="*/ 0 w 381740"/>
                <a:gd name="connsiteY1" fmla="*/ 994299 h 2681057"/>
                <a:gd name="connsiteX2" fmla="*/ 381740 w 381740"/>
                <a:gd name="connsiteY2" fmla="*/ 1376039 h 2681057"/>
                <a:gd name="connsiteX3" fmla="*/ 381740 w 381740"/>
                <a:gd name="connsiteY3" fmla="*/ 2681057 h 2681057"/>
              </a:gdLst>
              <a:ahLst/>
              <a:cxnLst>
                <a:cxn ang="0">
                  <a:pos x="connsiteX0" y="connsiteY0"/>
                </a:cxn>
                <a:cxn ang="0">
                  <a:pos x="connsiteX1" y="connsiteY1"/>
                </a:cxn>
                <a:cxn ang="0">
                  <a:pos x="connsiteX2" y="connsiteY2"/>
                </a:cxn>
                <a:cxn ang="0">
                  <a:pos x="connsiteX3" y="connsiteY3"/>
                </a:cxn>
              </a:cxnLst>
              <a:rect l="l" t="t" r="r" b="b"/>
              <a:pathLst>
                <a:path w="381740" h="2681057">
                  <a:moveTo>
                    <a:pt x="0" y="0"/>
                  </a:moveTo>
                  <a:lnTo>
                    <a:pt x="0" y="994299"/>
                  </a:lnTo>
                  <a:cubicBezTo>
                    <a:pt x="12947" y="1400946"/>
                    <a:pt x="375143" y="1039242"/>
                    <a:pt x="381740" y="1376039"/>
                  </a:cubicBezTo>
                  <a:lnTo>
                    <a:pt x="381740" y="2681057"/>
                  </a:lnTo>
                </a:path>
              </a:pathLst>
            </a:custGeom>
            <a:noFill/>
            <a:ln w="38100" cap="rnd" cmpd="sng" algn="ctr">
              <a:solidFill>
                <a:srgbClr val="00B0F0"/>
              </a:solidFill>
              <a:prstDash val="solid"/>
              <a:headEnd type="none" w="med" len="med"/>
              <a:tailEnd type="none" w="med" len="med"/>
            </a:ln>
            <a:effectLst/>
          </p:spPr>
          <p:txBody>
            <a:bodyPr rtlCol="0" anchor="ct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grpSp>
          <p:nvGrpSpPr>
            <p:cNvPr id="46" name="Group 45"/>
            <p:cNvGrpSpPr/>
            <p:nvPr/>
          </p:nvGrpSpPr>
          <p:grpSpPr>
            <a:xfrm>
              <a:off x="1182859" y="4685464"/>
              <a:ext cx="3262139" cy="2172536"/>
              <a:chOff x="5320075" y="3066758"/>
              <a:chExt cx="3878263" cy="2582862"/>
            </a:xfrm>
          </p:grpSpPr>
          <p:sp>
            <p:nvSpPr>
              <p:cNvPr id="65" name="AutoShape 3"/>
              <p:cNvSpPr>
                <a:spLocks noChangeAspect="1" noChangeArrowheads="1" noTextEdit="1"/>
              </p:cNvSpPr>
              <p:nvPr/>
            </p:nvSpPr>
            <p:spPr bwMode="auto">
              <a:xfrm>
                <a:off x="5320075" y="3066758"/>
                <a:ext cx="3873500" cy="25828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66" name="Rectangle 65"/>
              <p:cNvSpPr>
                <a:spLocks noChangeArrowheads="1"/>
              </p:cNvSpPr>
              <p:nvPr/>
            </p:nvSpPr>
            <p:spPr bwMode="auto">
              <a:xfrm>
                <a:off x="5599475" y="4684420"/>
                <a:ext cx="196850" cy="950912"/>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67" name="Rectangle 66"/>
              <p:cNvSpPr>
                <a:spLocks noChangeArrowheads="1"/>
              </p:cNvSpPr>
              <p:nvPr/>
            </p:nvSpPr>
            <p:spPr bwMode="auto">
              <a:xfrm>
                <a:off x="8133125" y="4814595"/>
                <a:ext cx="85725" cy="112712"/>
              </a:xfrm>
              <a:prstGeom prst="rect">
                <a:avLst/>
              </a:prstGeom>
              <a:solidFill>
                <a:srgbClr val="A2886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68" name="Freeform 67"/>
              <p:cNvSpPr>
                <a:spLocks/>
              </p:cNvSpPr>
              <p:nvPr/>
            </p:nvSpPr>
            <p:spPr bwMode="auto">
              <a:xfrm>
                <a:off x="7728313" y="4092283"/>
                <a:ext cx="561975" cy="722312"/>
              </a:xfrm>
              <a:custGeom>
                <a:avLst/>
                <a:gdLst>
                  <a:gd name="T0" fmla="*/ 0 w 151"/>
                  <a:gd name="T1" fmla="*/ 22 h 194"/>
                  <a:gd name="T2" fmla="*/ 22 w 151"/>
                  <a:gd name="T3" fmla="*/ 0 h 194"/>
                  <a:gd name="T4" fmla="*/ 129 w 151"/>
                  <a:gd name="T5" fmla="*/ 0 h 194"/>
                  <a:gd name="T6" fmla="*/ 151 w 151"/>
                  <a:gd name="T7" fmla="*/ 22 h 194"/>
                  <a:gd name="T8" fmla="*/ 151 w 151"/>
                  <a:gd name="T9" fmla="*/ 173 h 194"/>
                  <a:gd name="T10" fmla="*/ 129 w 151"/>
                  <a:gd name="T11" fmla="*/ 194 h 194"/>
                  <a:gd name="T12" fmla="*/ 22 w 151"/>
                  <a:gd name="T13" fmla="*/ 194 h 194"/>
                  <a:gd name="T14" fmla="*/ 0 w 151"/>
                  <a:gd name="T15" fmla="*/ 173 h 194"/>
                  <a:gd name="T16" fmla="*/ 0 w 151"/>
                  <a:gd name="T17" fmla="*/ 22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1" h="194">
                    <a:moveTo>
                      <a:pt x="0" y="22"/>
                    </a:moveTo>
                    <a:cubicBezTo>
                      <a:pt x="0" y="10"/>
                      <a:pt x="10" y="0"/>
                      <a:pt x="22" y="0"/>
                    </a:cubicBezTo>
                    <a:cubicBezTo>
                      <a:pt x="129" y="0"/>
                      <a:pt x="129" y="0"/>
                      <a:pt x="129" y="0"/>
                    </a:cubicBezTo>
                    <a:cubicBezTo>
                      <a:pt x="141" y="0"/>
                      <a:pt x="151" y="10"/>
                      <a:pt x="151" y="22"/>
                    </a:cubicBezTo>
                    <a:cubicBezTo>
                      <a:pt x="151" y="173"/>
                      <a:pt x="151" y="173"/>
                      <a:pt x="151" y="173"/>
                    </a:cubicBezTo>
                    <a:cubicBezTo>
                      <a:pt x="151" y="185"/>
                      <a:pt x="141" y="194"/>
                      <a:pt x="129" y="194"/>
                    </a:cubicBezTo>
                    <a:cubicBezTo>
                      <a:pt x="22" y="194"/>
                      <a:pt x="22" y="194"/>
                      <a:pt x="22" y="194"/>
                    </a:cubicBezTo>
                    <a:cubicBezTo>
                      <a:pt x="10" y="194"/>
                      <a:pt x="0" y="185"/>
                      <a:pt x="0" y="173"/>
                    </a:cubicBezTo>
                    <a:lnTo>
                      <a:pt x="0" y="2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69" name="Rectangle 68"/>
              <p:cNvSpPr>
                <a:spLocks noChangeArrowheads="1"/>
              </p:cNvSpPr>
              <p:nvPr/>
            </p:nvSpPr>
            <p:spPr bwMode="auto">
              <a:xfrm>
                <a:off x="5993175" y="4684420"/>
                <a:ext cx="168275" cy="950912"/>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70" name="Freeform 69"/>
              <p:cNvSpPr>
                <a:spLocks/>
              </p:cNvSpPr>
              <p:nvPr/>
            </p:nvSpPr>
            <p:spPr bwMode="auto">
              <a:xfrm>
                <a:off x="5993175" y="4684420"/>
                <a:ext cx="168275" cy="130175"/>
              </a:xfrm>
              <a:custGeom>
                <a:avLst/>
                <a:gdLst>
                  <a:gd name="T0" fmla="*/ 106 w 106"/>
                  <a:gd name="T1" fmla="*/ 82 h 82"/>
                  <a:gd name="T2" fmla="*/ 0 w 106"/>
                  <a:gd name="T3" fmla="*/ 0 h 82"/>
                  <a:gd name="T4" fmla="*/ 106 w 106"/>
                  <a:gd name="T5" fmla="*/ 0 h 82"/>
                  <a:gd name="T6" fmla="*/ 106 w 106"/>
                  <a:gd name="T7" fmla="*/ 82 h 82"/>
                </a:gdLst>
                <a:ahLst/>
                <a:cxnLst>
                  <a:cxn ang="0">
                    <a:pos x="T0" y="T1"/>
                  </a:cxn>
                  <a:cxn ang="0">
                    <a:pos x="T2" y="T3"/>
                  </a:cxn>
                  <a:cxn ang="0">
                    <a:pos x="T4" y="T5"/>
                  </a:cxn>
                  <a:cxn ang="0">
                    <a:pos x="T6" y="T7"/>
                  </a:cxn>
                </a:cxnLst>
                <a:rect l="0" t="0" r="r" b="b"/>
                <a:pathLst>
                  <a:path w="106" h="82">
                    <a:moveTo>
                      <a:pt x="106" y="82"/>
                    </a:moveTo>
                    <a:lnTo>
                      <a:pt x="0" y="0"/>
                    </a:lnTo>
                    <a:lnTo>
                      <a:pt x="106" y="0"/>
                    </a:lnTo>
                    <a:lnTo>
                      <a:pt x="106" y="82"/>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71" name="Freeform 70"/>
              <p:cNvSpPr>
                <a:spLocks/>
              </p:cNvSpPr>
              <p:nvPr/>
            </p:nvSpPr>
            <p:spPr bwMode="auto">
              <a:xfrm>
                <a:off x="7801338" y="5195595"/>
                <a:ext cx="138113" cy="257175"/>
              </a:xfrm>
              <a:custGeom>
                <a:avLst/>
                <a:gdLst>
                  <a:gd name="T0" fmla="*/ 87 w 87"/>
                  <a:gd name="T1" fmla="*/ 162 h 162"/>
                  <a:gd name="T2" fmla="*/ 0 w 87"/>
                  <a:gd name="T3" fmla="*/ 162 h 162"/>
                  <a:gd name="T4" fmla="*/ 10 w 87"/>
                  <a:gd name="T5" fmla="*/ 0 h 162"/>
                  <a:gd name="T6" fmla="*/ 76 w 87"/>
                  <a:gd name="T7" fmla="*/ 0 h 162"/>
                  <a:gd name="T8" fmla="*/ 87 w 87"/>
                  <a:gd name="T9" fmla="*/ 162 h 162"/>
                </a:gdLst>
                <a:ahLst/>
                <a:cxnLst>
                  <a:cxn ang="0">
                    <a:pos x="T0" y="T1"/>
                  </a:cxn>
                  <a:cxn ang="0">
                    <a:pos x="T2" y="T3"/>
                  </a:cxn>
                  <a:cxn ang="0">
                    <a:pos x="T4" y="T5"/>
                  </a:cxn>
                  <a:cxn ang="0">
                    <a:pos x="T6" y="T7"/>
                  </a:cxn>
                  <a:cxn ang="0">
                    <a:pos x="T8" y="T9"/>
                  </a:cxn>
                </a:cxnLst>
                <a:rect l="0" t="0" r="r" b="b"/>
                <a:pathLst>
                  <a:path w="87" h="162">
                    <a:moveTo>
                      <a:pt x="87" y="162"/>
                    </a:moveTo>
                    <a:lnTo>
                      <a:pt x="0" y="162"/>
                    </a:lnTo>
                    <a:lnTo>
                      <a:pt x="10" y="0"/>
                    </a:lnTo>
                    <a:lnTo>
                      <a:pt x="76" y="0"/>
                    </a:lnTo>
                    <a:lnTo>
                      <a:pt x="87" y="16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72" name="Freeform 71"/>
              <p:cNvSpPr>
                <a:spLocks/>
              </p:cNvSpPr>
              <p:nvPr/>
            </p:nvSpPr>
            <p:spPr bwMode="auto">
              <a:xfrm>
                <a:off x="7836263" y="5086058"/>
                <a:ext cx="69850" cy="109537"/>
              </a:xfrm>
              <a:custGeom>
                <a:avLst/>
                <a:gdLst>
                  <a:gd name="T0" fmla="*/ 44 w 44"/>
                  <a:gd name="T1" fmla="*/ 69 h 69"/>
                  <a:gd name="T2" fmla="*/ 0 w 44"/>
                  <a:gd name="T3" fmla="*/ 69 h 69"/>
                  <a:gd name="T4" fmla="*/ 2 w 44"/>
                  <a:gd name="T5" fmla="*/ 0 h 69"/>
                  <a:gd name="T6" fmla="*/ 39 w 44"/>
                  <a:gd name="T7" fmla="*/ 0 h 69"/>
                  <a:gd name="T8" fmla="*/ 44 w 44"/>
                  <a:gd name="T9" fmla="*/ 69 h 69"/>
                </a:gdLst>
                <a:ahLst/>
                <a:cxnLst>
                  <a:cxn ang="0">
                    <a:pos x="T0" y="T1"/>
                  </a:cxn>
                  <a:cxn ang="0">
                    <a:pos x="T2" y="T3"/>
                  </a:cxn>
                  <a:cxn ang="0">
                    <a:pos x="T4" y="T5"/>
                  </a:cxn>
                  <a:cxn ang="0">
                    <a:pos x="T6" y="T7"/>
                  </a:cxn>
                  <a:cxn ang="0">
                    <a:pos x="T8" y="T9"/>
                  </a:cxn>
                </a:cxnLst>
                <a:rect l="0" t="0" r="r" b="b"/>
                <a:pathLst>
                  <a:path w="44" h="69">
                    <a:moveTo>
                      <a:pt x="44" y="69"/>
                    </a:moveTo>
                    <a:lnTo>
                      <a:pt x="0" y="69"/>
                    </a:lnTo>
                    <a:lnTo>
                      <a:pt x="2" y="0"/>
                    </a:lnTo>
                    <a:lnTo>
                      <a:pt x="39" y="0"/>
                    </a:lnTo>
                    <a:lnTo>
                      <a:pt x="44" y="6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73" name="Oval 72"/>
              <p:cNvSpPr>
                <a:spLocks noChangeArrowheads="1"/>
              </p:cNvSpPr>
              <p:nvPr/>
            </p:nvSpPr>
            <p:spPr bwMode="auto">
              <a:xfrm>
                <a:off x="7440975" y="5492458"/>
                <a:ext cx="149225" cy="153987"/>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74" name="Oval 73"/>
              <p:cNvSpPr>
                <a:spLocks noChangeArrowheads="1"/>
              </p:cNvSpPr>
              <p:nvPr/>
            </p:nvSpPr>
            <p:spPr bwMode="auto">
              <a:xfrm>
                <a:off x="8136300" y="5486108"/>
                <a:ext cx="153988" cy="152400"/>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75" name="Freeform 74"/>
              <p:cNvSpPr>
                <a:spLocks/>
              </p:cNvSpPr>
              <p:nvPr/>
            </p:nvSpPr>
            <p:spPr bwMode="auto">
              <a:xfrm>
                <a:off x="7515588" y="5370220"/>
                <a:ext cx="700088" cy="107950"/>
              </a:xfrm>
              <a:custGeom>
                <a:avLst/>
                <a:gdLst>
                  <a:gd name="T0" fmla="*/ 188 w 188"/>
                  <a:gd name="T1" fmla="*/ 29 h 29"/>
                  <a:gd name="T2" fmla="*/ 163 w 188"/>
                  <a:gd name="T3" fmla="*/ 14 h 29"/>
                  <a:gd name="T4" fmla="*/ 94 w 188"/>
                  <a:gd name="T5" fmla="*/ 0 h 29"/>
                  <a:gd name="T6" fmla="*/ 24 w 188"/>
                  <a:gd name="T7" fmla="*/ 14 h 29"/>
                  <a:gd name="T8" fmla="*/ 0 w 188"/>
                  <a:gd name="T9" fmla="*/ 29 h 29"/>
                  <a:gd name="T10" fmla="*/ 188 w 188"/>
                  <a:gd name="T11" fmla="*/ 29 h 29"/>
                </a:gdLst>
                <a:ahLst/>
                <a:cxnLst>
                  <a:cxn ang="0">
                    <a:pos x="T0" y="T1"/>
                  </a:cxn>
                  <a:cxn ang="0">
                    <a:pos x="T2" y="T3"/>
                  </a:cxn>
                  <a:cxn ang="0">
                    <a:pos x="T4" y="T5"/>
                  </a:cxn>
                  <a:cxn ang="0">
                    <a:pos x="T6" y="T7"/>
                  </a:cxn>
                  <a:cxn ang="0">
                    <a:pos x="T8" y="T9"/>
                  </a:cxn>
                  <a:cxn ang="0">
                    <a:pos x="T10" y="T11"/>
                  </a:cxn>
                </a:cxnLst>
                <a:rect l="0" t="0" r="r" b="b"/>
                <a:pathLst>
                  <a:path w="188" h="29">
                    <a:moveTo>
                      <a:pt x="188" y="29"/>
                    </a:moveTo>
                    <a:cubicBezTo>
                      <a:pt x="183" y="20"/>
                      <a:pt x="175" y="16"/>
                      <a:pt x="163" y="14"/>
                    </a:cubicBezTo>
                    <a:cubicBezTo>
                      <a:pt x="94" y="0"/>
                      <a:pt x="94" y="0"/>
                      <a:pt x="94" y="0"/>
                    </a:cubicBezTo>
                    <a:cubicBezTo>
                      <a:pt x="24" y="14"/>
                      <a:pt x="24" y="14"/>
                      <a:pt x="24" y="14"/>
                    </a:cubicBezTo>
                    <a:cubicBezTo>
                      <a:pt x="13" y="16"/>
                      <a:pt x="4" y="20"/>
                      <a:pt x="0" y="29"/>
                    </a:cubicBezTo>
                    <a:lnTo>
                      <a:pt x="188" y="2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76" name="Rectangle 75"/>
              <p:cNvSpPr>
                <a:spLocks noChangeArrowheads="1"/>
              </p:cNvSpPr>
              <p:nvPr/>
            </p:nvSpPr>
            <p:spPr bwMode="auto">
              <a:xfrm>
                <a:off x="7515588" y="5478170"/>
                <a:ext cx="74613" cy="8890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77" name="Rectangle 76"/>
              <p:cNvSpPr>
                <a:spLocks noChangeArrowheads="1"/>
              </p:cNvSpPr>
              <p:nvPr/>
            </p:nvSpPr>
            <p:spPr bwMode="auto">
              <a:xfrm>
                <a:off x="8136300" y="5478170"/>
                <a:ext cx="79375" cy="8572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78" name="Freeform 77"/>
              <p:cNvSpPr>
                <a:spLocks/>
              </p:cNvSpPr>
              <p:nvPr/>
            </p:nvSpPr>
            <p:spPr bwMode="auto">
              <a:xfrm>
                <a:off x="7814038" y="5492458"/>
                <a:ext cx="36513" cy="153987"/>
              </a:xfrm>
              <a:custGeom>
                <a:avLst/>
                <a:gdLst>
                  <a:gd name="T0" fmla="*/ 10 w 10"/>
                  <a:gd name="T1" fmla="*/ 38 h 41"/>
                  <a:gd name="T2" fmla="*/ 7 w 10"/>
                  <a:gd name="T3" fmla="*/ 41 h 41"/>
                  <a:gd name="T4" fmla="*/ 2 w 10"/>
                  <a:gd name="T5" fmla="*/ 41 h 41"/>
                  <a:gd name="T6" fmla="*/ 0 w 10"/>
                  <a:gd name="T7" fmla="*/ 38 h 41"/>
                  <a:gd name="T8" fmla="*/ 0 w 10"/>
                  <a:gd name="T9" fmla="*/ 2 h 41"/>
                  <a:gd name="T10" fmla="*/ 2 w 10"/>
                  <a:gd name="T11" fmla="*/ 0 h 41"/>
                  <a:gd name="T12" fmla="*/ 7 w 10"/>
                  <a:gd name="T13" fmla="*/ 0 h 41"/>
                  <a:gd name="T14" fmla="*/ 10 w 10"/>
                  <a:gd name="T15" fmla="*/ 2 h 41"/>
                  <a:gd name="T16" fmla="*/ 10 w 10"/>
                  <a:gd name="T17" fmla="*/ 38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 h="41">
                    <a:moveTo>
                      <a:pt x="10" y="38"/>
                    </a:moveTo>
                    <a:cubicBezTo>
                      <a:pt x="10" y="40"/>
                      <a:pt x="9" y="41"/>
                      <a:pt x="7" y="41"/>
                    </a:cubicBezTo>
                    <a:cubicBezTo>
                      <a:pt x="2" y="41"/>
                      <a:pt x="2" y="41"/>
                      <a:pt x="2" y="41"/>
                    </a:cubicBezTo>
                    <a:cubicBezTo>
                      <a:pt x="1" y="41"/>
                      <a:pt x="0" y="40"/>
                      <a:pt x="0" y="38"/>
                    </a:cubicBezTo>
                    <a:cubicBezTo>
                      <a:pt x="0" y="2"/>
                      <a:pt x="0" y="2"/>
                      <a:pt x="0" y="2"/>
                    </a:cubicBezTo>
                    <a:cubicBezTo>
                      <a:pt x="0" y="1"/>
                      <a:pt x="1" y="0"/>
                      <a:pt x="2" y="0"/>
                    </a:cubicBezTo>
                    <a:cubicBezTo>
                      <a:pt x="7" y="0"/>
                      <a:pt x="7" y="0"/>
                      <a:pt x="7" y="0"/>
                    </a:cubicBezTo>
                    <a:cubicBezTo>
                      <a:pt x="9" y="0"/>
                      <a:pt x="10" y="1"/>
                      <a:pt x="10" y="2"/>
                    </a:cubicBezTo>
                    <a:lnTo>
                      <a:pt x="10" y="3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79" name="Freeform 78"/>
              <p:cNvSpPr>
                <a:spLocks/>
              </p:cNvSpPr>
              <p:nvPr/>
            </p:nvSpPr>
            <p:spPr bwMode="auto">
              <a:xfrm>
                <a:off x="7891825" y="5492458"/>
                <a:ext cx="33338" cy="153987"/>
              </a:xfrm>
              <a:custGeom>
                <a:avLst/>
                <a:gdLst>
                  <a:gd name="T0" fmla="*/ 9 w 9"/>
                  <a:gd name="T1" fmla="*/ 38 h 41"/>
                  <a:gd name="T2" fmla="*/ 7 w 9"/>
                  <a:gd name="T3" fmla="*/ 41 h 41"/>
                  <a:gd name="T4" fmla="*/ 2 w 9"/>
                  <a:gd name="T5" fmla="*/ 41 h 41"/>
                  <a:gd name="T6" fmla="*/ 0 w 9"/>
                  <a:gd name="T7" fmla="*/ 38 h 41"/>
                  <a:gd name="T8" fmla="*/ 0 w 9"/>
                  <a:gd name="T9" fmla="*/ 2 h 41"/>
                  <a:gd name="T10" fmla="*/ 2 w 9"/>
                  <a:gd name="T11" fmla="*/ 0 h 41"/>
                  <a:gd name="T12" fmla="*/ 7 w 9"/>
                  <a:gd name="T13" fmla="*/ 0 h 41"/>
                  <a:gd name="T14" fmla="*/ 9 w 9"/>
                  <a:gd name="T15" fmla="*/ 2 h 41"/>
                  <a:gd name="T16" fmla="*/ 9 w 9"/>
                  <a:gd name="T17" fmla="*/ 38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41">
                    <a:moveTo>
                      <a:pt x="9" y="38"/>
                    </a:moveTo>
                    <a:cubicBezTo>
                      <a:pt x="9" y="40"/>
                      <a:pt x="8" y="41"/>
                      <a:pt x="7" y="41"/>
                    </a:cubicBezTo>
                    <a:cubicBezTo>
                      <a:pt x="2" y="41"/>
                      <a:pt x="2" y="41"/>
                      <a:pt x="2" y="41"/>
                    </a:cubicBezTo>
                    <a:cubicBezTo>
                      <a:pt x="1" y="41"/>
                      <a:pt x="0" y="40"/>
                      <a:pt x="0" y="38"/>
                    </a:cubicBezTo>
                    <a:cubicBezTo>
                      <a:pt x="0" y="2"/>
                      <a:pt x="0" y="2"/>
                      <a:pt x="0" y="2"/>
                    </a:cubicBezTo>
                    <a:cubicBezTo>
                      <a:pt x="0" y="1"/>
                      <a:pt x="1" y="0"/>
                      <a:pt x="2" y="0"/>
                    </a:cubicBezTo>
                    <a:cubicBezTo>
                      <a:pt x="7" y="0"/>
                      <a:pt x="7" y="0"/>
                      <a:pt x="7" y="0"/>
                    </a:cubicBezTo>
                    <a:cubicBezTo>
                      <a:pt x="8" y="0"/>
                      <a:pt x="9" y="1"/>
                      <a:pt x="9" y="2"/>
                    </a:cubicBezTo>
                    <a:lnTo>
                      <a:pt x="9" y="3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80" name="Rectangle 79"/>
              <p:cNvSpPr>
                <a:spLocks noChangeArrowheads="1"/>
              </p:cNvSpPr>
              <p:nvPr/>
            </p:nvSpPr>
            <p:spPr bwMode="auto">
              <a:xfrm>
                <a:off x="7831500" y="5384508"/>
                <a:ext cx="77788" cy="21272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81" name="Freeform 80"/>
              <p:cNvSpPr>
                <a:spLocks/>
              </p:cNvSpPr>
              <p:nvPr/>
            </p:nvSpPr>
            <p:spPr bwMode="auto">
              <a:xfrm>
                <a:off x="7645763" y="5038433"/>
                <a:ext cx="446088" cy="58737"/>
              </a:xfrm>
              <a:custGeom>
                <a:avLst/>
                <a:gdLst>
                  <a:gd name="T0" fmla="*/ 120 w 120"/>
                  <a:gd name="T1" fmla="*/ 8 h 16"/>
                  <a:gd name="T2" fmla="*/ 112 w 120"/>
                  <a:gd name="T3" fmla="*/ 16 h 16"/>
                  <a:gd name="T4" fmla="*/ 8 w 120"/>
                  <a:gd name="T5" fmla="*/ 16 h 16"/>
                  <a:gd name="T6" fmla="*/ 0 w 120"/>
                  <a:gd name="T7" fmla="*/ 8 h 16"/>
                  <a:gd name="T8" fmla="*/ 0 w 120"/>
                  <a:gd name="T9" fmla="*/ 8 h 16"/>
                  <a:gd name="T10" fmla="*/ 8 w 120"/>
                  <a:gd name="T11" fmla="*/ 0 h 16"/>
                  <a:gd name="T12" fmla="*/ 112 w 120"/>
                  <a:gd name="T13" fmla="*/ 0 h 16"/>
                  <a:gd name="T14" fmla="*/ 120 w 120"/>
                  <a:gd name="T15" fmla="*/ 8 h 1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0" h="16">
                    <a:moveTo>
                      <a:pt x="120" y="8"/>
                    </a:moveTo>
                    <a:cubicBezTo>
                      <a:pt x="120" y="13"/>
                      <a:pt x="117" y="16"/>
                      <a:pt x="112" y="16"/>
                    </a:cubicBezTo>
                    <a:cubicBezTo>
                      <a:pt x="8" y="16"/>
                      <a:pt x="8" y="16"/>
                      <a:pt x="8" y="16"/>
                    </a:cubicBezTo>
                    <a:cubicBezTo>
                      <a:pt x="4" y="16"/>
                      <a:pt x="0" y="13"/>
                      <a:pt x="0" y="8"/>
                    </a:cubicBezTo>
                    <a:cubicBezTo>
                      <a:pt x="0" y="8"/>
                      <a:pt x="0" y="8"/>
                      <a:pt x="0" y="8"/>
                    </a:cubicBezTo>
                    <a:cubicBezTo>
                      <a:pt x="0" y="4"/>
                      <a:pt x="4" y="0"/>
                      <a:pt x="8" y="0"/>
                    </a:cubicBezTo>
                    <a:cubicBezTo>
                      <a:pt x="112" y="0"/>
                      <a:pt x="112" y="0"/>
                      <a:pt x="112" y="0"/>
                    </a:cubicBezTo>
                    <a:cubicBezTo>
                      <a:pt x="117" y="0"/>
                      <a:pt x="120" y="4"/>
                      <a:pt x="120" y="8"/>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82" name="Freeform 81"/>
              <p:cNvSpPr>
                <a:spLocks/>
              </p:cNvSpPr>
              <p:nvPr/>
            </p:nvSpPr>
            <p:spPr bwMode="auto">
              <a:xfrm>
                <a:off x="7444150" y="5008270"/>
                <a:ext cx="852488" cy="60325"/>
              </a:xfrm>
              <a:custGeom>
                <a:avLst/>
                <a:gdLst>
                  <a:gd name="T0" fmla="*/ 0 w 229"/>
                  <a:gd name="T1" fmla="*/ 0 h 16"/>
                  <a:gd name="T2" fmla="*/ 0 w 229"/>
                  <a:gd name="T3" fmla="*/ 0 h 16"/>
                  <a:gd name="T4" fmla="*/ 16 w 229"/>
                  <a:gd name="T5" fmla="*/ 16 h 16"/>
                  <a:gd name="T6" fmla="*/ 212 w 229"/>
                  <a:gd name="T7" fmla="*/ 16 h 16"/>
                  <a:gd name="T8" fmla="*/ 229 w 229"/>
                  <a:gd name="T9" fmla="*/ 0 h 16"/>
                  <a:gd name="T10" fmla="*/ 229 w 229"/>
                  <a:gd name="T11" fmla="*/ 0 h 16"/>
                  <a:gd name="T12" fmla="*/ 0 w 229"/>
                  <a:gd name="T13" fmla="*/ 0 h 16"/>
                </a:gdLst>
                <a:ahLst/>
                <a:cxnLst>
                  <a:cxn ang="0">
                    <a:pos x="T0" y="T1"/>
                  </a:cxn>
                  <a:cxn ang="0">
                    <a:pos x="T2" y="T3"/>
                  </a:cxn>
                  <a:cxn ang="0">
                    <a:pos x="T4" y="T5"/>
                  </a:cxn>
                  <a:cxn ang="0">
                    <a:pos x="T6" y="T7"/>
                  </a:cxn>
                  <a:cxn ang="0">
                    <a:pos x="T8" y="T9"/>
                  </a:cxn>
                  <a:cxn ang="0">
                    <a:pos x="T10" y="T11"/>
                  </a:cxn>
                  <a:cxn ang="0">
                    <a:pos x="T12" y="T13"/>
                  </a:cxn>
                </a:cxnLst>
                <a:rect l="0" t="0" r="r" b="b"/>
                <a:pathLst>
                  <a:path w="229" h="16">
                    <a:moveTo>
                      <a:pt x="0" y="0"/>
                    </a:moveTo>
                    <a:cubicBezTo>
                      <a:pt x="0" y="0"/>
                      <a:pt x="0" y="0"/>
                      <a:pt x="0" y="0"/>
                    </a:cubicBezTo>
                    <a:cubicBezTo>
                      <a:pt x="0" y="9"/>
                      <a:pt x="7" y="16"/>
                      <a:pt x="16" y="16"/>
                    </a:cubicBezTo>
                    <a:cubicBezTo>
                      <a:pt x="212" y="16"/>
                      <a:pt x="212" y="16"/>
                      <a:pt x="212" y="16"/>
                    </a:cubicBezTo>
                    <a:cubicBezTo>
                      <a:pt x="221" y="16"/>
                      <a:pt x="229" y="9"/>
                      <a:pt x="229" y="0"/>
                    </a:cubicBezTo>
                    <a:cubicBezTo>
                      <a:pt x="229" y="0"/>
                      <a:pt x="229" y="0"/>
                      <a:pt x="229" y="0"/>
                    </a:cubicBezTo>
                    <a:lnTo>
                      <a:pt x="0" y="0"/>
                    </a:lnTo>
                    <a:close/>
                  </a:path>
                </a:pathLst>
              </a:custGeom>
              <a:solidFill>
                <a:srgbClr val="A288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83" name="Freeform 82"/>
              <p:cNvSpPr>
                <a:spLocks/>
              </p:cNvSpPr>
              <p:nvPr/>
            </p:nvSpPr>
            <p:spPr bwMode="auto">
              <a:xfrm>
                <a:off x="7444150" y="4927308"/>
                <a:ext cx="846138" cy="80962"/>
              </a:xfrm>
              <a:custGeom>
                <a:avLst/>
                <a:gdLst>
                  <a:gd name="T0" fmla="*/ 227 w 227"/>
                  <a:gd name="T1" fmla="*/ 11 h 22"/>
                  <a:gd name="T2" fmla="*/ 216 w 227"/>
                  <a:gd name="T3" fmla="*/ 0 h 22"/>
                  <a:gd name="T4" fmla="*/ 11 w 227"/>
                  <a:gd name="T5" fmla="*/ 0 h 22"/>
                  <a:gd name="T6" fmla="*/ 0 w 227"/>
                  <a:gd name="T7" fmla="*/ 11 h 22"/>
                  <a:gd name="T8" fmla="*/ 0 w 227"/>
                  <a:gd name="T9" fmla="*/ 11 h 22"/>
                  <a:gd name="T10" fmla="*/ 11 w 227"/>
                  <a:gd name="T11" fmla="*/ 22 h 22"/>
                  <a:gd name="T12" fmla="*/ 216 w 227"/>
                  <a:gd name="T13" fmla="*/ 22 h 22"/>
                  <a:gd name="T14" fmla="*/ 227 w 227"/>
                  <a:gd name="T15" fmla="*/ 11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7" h="22">
                    <a:moveTo>
                      <a:pt x="227" y="11"/>
                    </a:moveTo>
                    <a:cubicBezTo>
                      <a:pt x="227" y="5"/>
                      <a:pt x="222" y="0"/>
                      <a:pt x="216" y="0"/>
                    </a:cubicBezTo>
                    <a:cubicBezTo>
                      <a:pt x="11" y="0"/>
                      <a:pt x="11" y="0"/>
                      <a:pt x="11" y="0"/>
                    </a:cubicBezTo>
                    <a:cubicBezTo>
                      <a:pt x="5" y="0"/>
                      <a:pt x="0" y="5"/>
                      <a:pt x="0" y="11"/>
                    </a:cubicBezTo>
                    <a:cubicBezTo>
                      <a:pt x="0" y="11"/>
                      <a:pt x="0" y="11"/>
                      <a:pt x="0" y="11"/>
                    </a:cubicBezTo>
                    <a:cubicBezTo>
                      <a:pt x="0" y="17"/>
                      <a:pt x="5" y="22"/>
                      <a:pt x="11" y="22"/>
                    </a:cubicBezTo>
                    <a:cubicBezTo>
                      <a:pt x="216" y="22"/>
                      <a:pt x="216" y="22"/>
                      <a:pt x="216" y="22"/>
                    </a:cubicBezTo>
                    <a:cubicBezTo>
                      <a:pt x="222" y="22"/>
                      <a:pt x="227" y="17"/>
                      <a:pt x="227" y="1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84" name="Freeform 83"/>
              <p:cNvSpPr>
                <a:spLocks/>
              </p:cNvSpPr>
              <p:nvPr/>
            </p:nvSpPr>
            <p:spPr bwMode="auto">
              <a:xfrm>
                <a:off x="6923450" y="4460583"/>
                <a:ext cx="766763" cy="123825"/>
              </a:xfrm>
              <a:custGeom>
                <a:avLst/>
                <a:gdLst>
                  <a:gd name="T0" fmla="*/ 68 w 206"/>
                  <a:gd name="T1" fmla="*/ 0 h 33"/>
                  <a:gd name="T2" fmla="*/ 0 w 206"/>
                  <a:gd name="T3" fmla="*/ 33 h 33"/>
                  <a:gd name="T4" fmla="*/ 68 w 206"/>
                  <a:gd name="T5" fmla="*/ 33 h 33"/>
                  <a:gd name="T6" fmla="*/ 206 w 206"/>
                  <a:gd name="T7" fmla="*/ 33 h 33"/>
                  <a:gd name="T8" fmla="*/ 206 w 206"/>
                  <a:gd name="T9" fmla="*/ 0 h 33"/>
                  <a:gd name="T10" fmla="*/ 68 w 206"/>
                  <a:gd name="T11" fmla="*/ 0 h 33"/>
                </a:gdLst>
                <a:ahLst/>
                <a:cxnLst>
                  <a:cxn ang="0">
                    <a:pos x="T0" y="T1"/>
                  </a:cxn>
                  <a:cxn ang="0">
                    <a:pos x="T2" y="T3"/>
                  </a:cxn>
                  <a:cxn ang="0">
                    <a:pos x="T4" y="T5"/>
                  </a:cxn>
                  <a:cxn ang="0">
                    <a:pos x="T6" y="T7"/>
                  </a:cxn>
                  <a:cxn ang="0">
                    <a:pos x="T8" y="T9"/>
                  </a:cxn>
                  <a:cxn ang="0">
                    <a:pos x="T10" y="T11"/>
                  </a:cxn>
                </a:cxnLst>
                <a:rect l="0" t="0" r="r" b="b"/>
                <a:pathLst>
                  <a:path w="206" h="33">
                    <a:moveTo>
                      <a:pt x="68" y="0"/>
                    </a:moveTo>
                    <a:cubicBezTo>
                      <a:pt x="4" y="0"/>
                      <a:pt x="0" y="33"/>
                      <a:pt x="0" y="33"/>
                    </a:cubicBezTo>
                    <a:cubicBezTo>
                      <a:pt x="68" y="33"/>
                      <a:pt x="68" y="33"/>
                      <a:pt x="68" y="33"/>
                    </a:cubicBezTo>
                    <a:cubicBezTo>
                      <a:pt x="206" y="33"/>
                      <a:pt x="206" y="33"/>
                      <a:pt x="206" y="33"/>
                    </a:cubicBezTo>
                    <a:cubicBezTo>
                      <a:pt x="206" y="0"/>
                      <a:pt x="206" y="0"/>
                      <a:pt x="206" y="0"/>
                    </a:cubicBezTo>
                    <a:lnTo>
                      <a:pt x="68" y="0"/>
                    </a:lnTo>
                    <a:close/>
                  </a:path>
                </a:pathLst>
              </a:custGeom>
              <a:solidFill>
                <a:srgbClr val="92745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85" name="Freeform 84"/>
              <p:cNvSpPr>
                <a:spLocks/>
              </p:cNvSpPr>
              <p:nvPr/>
            </p:nvSpPr>
            <p:spPr bwMode="auto">
              <a:xfrm>
                <a:off x="7385413" y="4330408"/>
                <a:ext cx="252413" cy="130175"/>
              </a:xfrm>
              <a:custGeom>
                <a:avLst/>
                <a:gdLst>
                  <a:gd name="T0" fmla="*/ 0 w 159"/>
                  <a:gd name="T1" fmla="*/ 82 h 82"/>
                  <a:gd name="T2" fmla="*/ 159 w 159"/>
                  <a:gd name="T3" fmla="*/ 82 h 82"/>
                  <a:gd name="T4" fmla="*/ 159 w 159"/>
                  <a:gd name="T5" fmla="*/ 0 h 82"/>
                  <a:gd name="T6" fmla="*/ 75 w 159"/>
                  <a:gd name="T7" fmla="*/ 0 h 82"/>
                  <a:gd name="T8" fmla="*/ 44 w 159"/>
                  <a:gd name="T9" fmla="*/ 33 h 82"/>
                  <a:gd name="T10" fmla="*/ 44 w 159"/>
                  <a:gd name="T11" fmla="*/ 0 h 82"/>
                  <a:gd name="T12" fmla="*/ 0 w 159"/>
                  <a:gd name="T13" fmla="*/ 0 h 82"/>
                  <a:gd name="T14" fmla="*/ 0 w 159"/>
                  <a:gd name="T15" fmla="*/ 82 h 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9" h="82">
                    <a:moveTo>
                      <a:pt x="0" y="82"/>
                    </a:moveTo>
                    <a:lnTo>
                      <a:pt x="159" y="82"/>
                    </a:lnTo>
                    <a:lnTo>
                      <a:pt x="159" y="0"/>
                    </a:lnTo>
                    <a:lnTo>
                      <a:pt x="75" y="0"/>
                    </a:lnTo>
                    <a:lnTo>
                      <a:pt x="44" y="33"/>
                    </a:lnTo>
                    <a:lnTo>
                      <a:pt x="44" y="0"/>
                    </a:lnTo>
                    <a:lnTo>
                      <a:pt x="0" y="0"/>
                    </a:lnTo>
                    <a:lnTo>
                      <a:pt x="0" y="82"/>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86" name="Rectangle 85"/>
              <p:cNvSpPr>
                <a:spLocks noChangeArrowheads="1"/>
              </p:cNvSpPr>
              <p:nvPr/>
            </p:nvSpPr>
            <p:spPr bwMode="auto">
              <a:xfrm>
                <a:off x="7675925" y="3658895"/>
                <a:ext cx="360363" cy="25400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87" name="Freeform 86"/>
              <p:cNvSpPr>
                <a:spLocks/>
              </p:cNvSpPr>
              <p:nvPr/>
            </p:nvSpPr>
            <p:spPr bwMode="auto">
              <a:xfrm>
                <a:off x="7664813" y="3816058"/>
                <a:ext cx="352425" cy="412750"/>
              </a:xfrm>
              <a:custGeom>
                <a:avLst/>
                <a:gdLst>
                  <a:gd name="T0" fmla="*/ 222 w 222"/>
                  <a:gd name="T1" fmla="*/ 260 h 260"/>
                  <a:gd name="T2" fmla="*/ 0 w 222"/>
                  <a:gd name="T3" fmla="*/ 260 h 260"/>
                  <a:gd name="T4" fmla="*/ 7 w 222"/>
                  <a:gd name="T5" fmla="*/ 0 h 260"/>
                  <a:gd name="T6" fmla="*/ 222 w 222"/>
                  <a:gd name="T7" fmla="*/ 0 h 260"/>
                  <a:gd name="T8" fmla="*/ 222 w 222"/>
                  <a:gd name="T9" fmla="*/ 260 h 260"/>
                </a:gdLst>
                <a:ahLst/>
                <a:cxnLst>
                  <a:cxn ang="0">
                    <a:pos x="T0" y="T1"/>
                  </a:cxn>
                  <a:cxn ang="0">
                    <a:pos x="T2" y="T3"/>
                  </a:cxn>
                  <a:cxn ang="0">
                    <a:pos x="T4" y="T5"/>
                  </a:cxn>
                  <a:cxn ang="0">
                    <a:pos x="T6" y="T7"/>
                  </a:cxn>
                  <a:cxn ang="0">
                    <a:pos x="T8" y="T9"/>
                  </a:cxn>
                </a:cxnLst>
                <a:rect l="0" t="0" r="r" b="b"/>
                <a:pathLst>
                  <a:path w="222" h="260">
                    <a:moveTo>
                      <a:pt x="222" y="260"/>
                    </a:moveTo>
                    <a:lnTo>
                      <a:pt x="0" y="260"/>
                    </a:lnTo>
                    <a:lnTo>
                      <a:pt x="7" y="0"/>
                    </a:lnTo>
                    <a:lnTo>
                      <a:pt x="222" y="0"/>
                    </a:lnTo>
                    <a:lnTo>
                      <a:pt x="222" y="260"/>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88" name="Freeform 87"/>
              <p:cNvSpPr>
                <a:spLocks/>
              </p:cNvSpPr>
              <p:nvPr/>
            </p:nvSpPr>
            <p:spPr bwMode="auto">
              <a:xfrm>
                <a:off x="7687038" y="3606508"/>
                <a:ext cx="227013" cy="295275"/>
              </a:xfrm>
              <a:custGeom>
                <a:avLst/>
                <a:gdLst>
                  <a:gd name="T0" fmla="*/ 0 w 143"/>
                  <a:gd name="T1" fmla="*/ 186 h 186"/>
                  <a:gd name="T2" fmla="*/ 30 w 143"/>
                  <a:gd name="T3" fmla="*/ 92 h 186"/>
                  <a:gd name="T4" fmla="*/ 30 w 143"/>
                  <a:gd name="T5" fmla="*/ 0 h 186"/>
                  <a:gd name="T6" fmla="*/ 143 w 143"/>
                  <a:gd name="T7" fmla="*/ 0 h 186"/>
                  <a:gd name="T8" fmla="*/ 143 w 143"/>
                  <a:gd name="T9" fmla="*/ 186 h 186"/>
                  <a:gd name="T10" fmla="*/ 0 w 143"/>
                  <a:gd name="T11" fmla="*/ 186 h 186"/>
                </a:gdLst>
                <a:ahLst/>
                <a:cxnLst>
                  <a:cxn ang="0">
                    <a:pos x="T0" y="T1"/>
                  </a:cxn>
                  <a:cxn ang="0">
                    <a:pos x="T2" y="T3"/>
                  </a:cxn>
                  <a:cxn ang="0">
                    <a:pos x="T4" y="T5"/>
                  </a:cxn>
                  <a:cxn ang="0">
                    <a:pos x="T6" y="T7"/>
                  </a:cxn>
                  <a:cxn ang="0">
                    <a:pos x="T8" y="T9"/>
                  </a:cxn>
                  <a:cxn ang="0">
                    <a:pos x="T10" y="T11"/>
                  </a:cxn>
                </a:cxnLst>
                <a:rect l="0" t="0" r="r" b="b"/>
                <a:pathLst>
                  <a:path w="143" h="186">
                    <a:moveTo>
                      <a:pt x="0" y="186"/>
                    </a:moveTo>
                    <a:lnTo>
                      <a:pt x="30" y="92"/>
                    </a:lnTo>
                    <a:lnTo>
                      <a:pt x="30" y="0"/>
                    </a:lnTo>
                    <a:lnTo>
                      <a:pt x="143" y="0"/>
                    </a:lnTo>
                    <a:lnTo>
                      <a:pt x="143" y="186"/>
                    </a:lnTo>
                    <a:lnTo>
                      <a:pt x="0" y="186"/>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89" name="Freeform 88"/>
              <p:cNvSpPr>
                <a:spLocks/>
              </p:cNvSpPr>
              <p:nvPr/>
            </p:nvSpPr>
            <p:spPr bwMode="auto">
              <a:xfrm>
                <a:off x="7734663" y="3606508"/>
                <a:ext cx="179388" cy="157162"/>
              </a:xfrm>
              <a:custGeom>
                <a:avLst/>
                <a:gdLst>
                  <a:gd name="T0" fmla="*/ 0 w 48"/>
                  <a:gd name="T1" fmla="*/ 39 h 42"/>
                  <a:gd name="T2" fmla="*/ 24 w 48"/>
                  <a:gd name="T3" fmla="*/ 42 h 42"/>
                  <a:gd name="T4" fmla="*/ 48 w 48"/>
                  <a:gd name="T5" fmla="*/ 39 h 42"/>
                  <a:gd name="T6" fmla="*/ 48 w 48"/>
                  <a:gd name="T7" fmla="*/ 0 h 42"/>
                  <a:gd name="T8" fmla="*/ 0 w 48"/>
                  <a:gd name="T9" fmla="*/ 0 h 42"/>
                  <a:gd name="T10" fmla="*/ 0 w 48"/>
                  <a:gd name="T11" fmla="*/ 39 h 42"/>
                </a:gdLst>
                <a:ahLst/>
                <a:cxnLst>
                  <a:cxn ang="0">
                    <a:pos x="T0" y="T1"/>
                  </a:cxn>
                  <a:cxn ang="0">
                    <a:pos x="T2" y="T3"/>
                  </a:cxn>
                  <a:cxn ang="0">
                    <a:pos x="T4" y="T5"/>
                  </a:cxn>
                  <a:cxn ang="0">
                    <a:pos x="T6" y="T7"/>
                  </a:cxn>
                  <a:cxn ang="0">
                    <a:pos x="T8" y="T9"/>
                  </a:cxn>
                  <a:cxn ang="0">
                    <a:pos x="T10" y="T11"/>
                  </a:cxn>
                </a:cxnLst>
                <a:rect l="0" t="0" r="r" b="b"/>
                <a:pathLst>
                  <a:path w="48" h="42">
                    <a:moveTo>
                      <a:pt x="0" y="39"/>
                    </a:moveTo>
                    <a:cubicBezTo>
                      <a:pt x="8" y="41"/>
                      <a:pt x="16" y="42"/>
                      <a:pt x="24" y="42"/>
                    </a:cubicBezTo>
                    <a:cubicBezTo>
                      <a:pt x="32" y="42"/>
                      <a:pt x="40" y="41"/>
                      <a:pt x="48" y="39"/>
                    </a:cubicBezTo>
                    <a:cubicBezTo>
                      <a:pt x="48" y="0"/>
                      <a:pt x="48" y="0"/>
                      <a:pt x="48" y="0"/>
                    </a:cubicBezTo>
                    <a:cubicBezTo>
                      <a:pt x="0" y="0"/>
                      <a:pt x="0" y="0"/>
                      <a:pt x="0" y="0"/>
                    </a:cubicBezTo>
                    <a:lnTo>
                      <a:pt x="0" y="39"/>
                    </a:lnTo>
                    <a:close/>
                  </a:path>
                </a:pathLst>
              </a:custGeom>
              <a:solidFill>
                <a:srgbClr val="92745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90" name="Freeform 89"/>
              <p:cNvSpPr>
                <a:spLocks/>
              </p:cNvSpPr>
              <p:nvPr/>
            </p:nvSpPr>
            <p:spPr bwMode="auto">
              <a:xfrm>
                <a:off x="7615600" y="3331870"/>
                <a:ext cx="420688" cy="398462"/>
              </a:xfrm>
              <a:custGeom>
                <a:avLst/>
                <a:gdLst>
                  <a:gd name="T0" fmla="*/ 0 w 113"/>
                  <a:gd name="T1" fmla="*/ 0 h 107"/>
                  <a:gd name="T2" fmla="*/ 0 w 113"/>
                  <a:gd name="T3" fmla="*/ 88 h 107"/>
                  <a:gd name="T4" fmla="*/ 0 w 113"/>
                  <a:gd name="T5" fmla="*/ 88 h 107"/>
                  <a:gd name="T6" fmla="*/ 56 w 113"/>
                  <a:gd name="T7" fmla="*/ 107 h 107"/>
                  <a:gd name="T8" fmla="*/ 113 w 113"/>
                  <a:gd name="T9" fmla="*/ 88 h 107"/>
                  <a:gd name="T10" fmla="*/ 113 w 113"/>
                  <a:gd name="T11" fmla="*/ 0 h 107"/>
                  <a:gd name="T12" fmla="*/ 0 w 113"/>
                  <a:gd name="T13" fmla="*/ 0 h 107"/>
                </a:gdLst>
                <a:ahLst/>
                <a:cxnLst>
                  <a:cxn ang="0">
                    <a:pos x="T0" y="T1"/>
                  </a:cxn>
                  <a:cxn ang="0">
                    <a:pos x="T2" y="T3"/>
                  </a:cxn>
                  <a:cxn ang="0">
                    <a:pos x="T4" y="T5"/>
                  </a:cxn>
                  <a:cxn ang="0">
                    <a:pos x="T6" y="T7"/>
                  </a:cxn>
                  <a:cxn ang="0">
                    <a:pos x="T8" y="T9"/>
                  </a:cxn>
                  <a:cxn ang="0">
                    <a:pos x="T10" y="T11"/>
                  </a:cxn>
                  <a:cxn ang="0">
                    <a:pos x="T12" y="T13"/>
                  </a:cxn>
                </a:cxnLst>
                <a:rect l="0" t="0" r="r" b="b"/>
                <a:pathLst>
                  <a:path w="113" h="107">
                    <a:moveTo>
                      <a:pt x="0" y="0"/>
                    </a:moveTo>
                    <a:cubicBezTo>
                      <a:pt x="0" y="88"/>
                      <a:pt x="0" y="88"/>
                      <a:pt x="0" y="88"/>
                    </a:cubicBezTo>
                    <a:cubicBezTo>
                      <a:pt x="0" y="88"/>
                      <a:pt x="0" y="88"/>
                      <a:pt x="0" y="88"/>
                    </a:cubicBezTo>
                    <a:cubicBezTo>
                      <a:pt x="16" y="100"/>
                      <a:pt x="35" y="107"/>
                      <a:pt x="56" y="107"/>
                    </a:cubicBezTo>
                    <a:cubicBezTo>
                      <a:pt x="77" y="107"/>
                      <a:pt x="97" y="100"/>
                      <a:pt x="113" y="88"/>
                    </a:cubicBezTo>
                    <a:cubicBezTo>
                      <a:pt x="113" y="0"/>
                      <a:pt x="113" y="0"/>
                      <a:pt x="113" y="0"/>
                    </a:cubicBezTo>
                    <a:lnTo>
                      <a:pt x="0" y="0"/>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91" name="Freeform 90"/>
              <p:cNvSpPr>
                <a:spLocks/>
              </p:cNvSpPr>
              <p:nvPr/>
            </p:nvSpPr>
            <p:spPr bwMode="auto">
              <a:xfrm>
                <a:off x="7072675" y="5459120"/>
                <a:ext cx="334963" cy="176212"/>
              </a:xfrm>
              <a:custGeom>
                <a:avLst/>
                <a:gdLst>
                  <a:gd name="T0" fmla="*/ 51 w 90"/>
                  <a:gd name="T1" fmla="*/ 0 h 47"/>
                  <a:gd name="T2" fmla="*/ 0 w 90"/>
                  <a:gd name="T3" fmla="*/ 47 h 47"/>
                  <a:gd name="T4" fmla="*/ 51 w 90"/>
                  <a:gd name="T5" fmla="*/ 47 h 47"/>
                  <a:gd name="T6" fmla="*/ 90 w 90"/>
                  <a:gd name="T7" fmla="*/ 47 h 47"/>
                  <a:gd name="T8" fmla="*/ 90 w 90"/>
                  <a:gd name="T9" fmla="*/ 0 h 47"/>
                  <a:gd name="T10" fmla="*/ 51 w 90"/>
                  <a:gd name="T11" fmla="*/ 0 h 47"/>
                </a:gdLst>
                <a:ahLst/>
                <a:cxnLst>
                  <a:cxn ang="0">
                    <a:pos x="T0" y="T1"/>
                  </a:cxn>
                  <a:cxn ang="0">
                    <a:pos x="T2" y="T3"/>
                  </a:cxn>
                  <a:cxn ang="0">
                    <a:pos x="T4" y="T5"/>
                  </a:cxn>
                  <a:cxn ang="0">
                    <a:pos x="T6" y="T7"/>
                  </a:cxn>
                  <a:cxn ang="0">
                    <a:pos x="T8" y="T9"/>
                  </a:cxn>
                  <a:cxn ang="0">
                    <a:pos x="T10" y="T11"/>
                  </a:cxn>
                </a:cxnLst>
                <a:rect l="0" t="0" r="r" b="b"/>
                <a:pathLst>
                  <a:path w="90" h="47">
                    <a:moveTo>
                      <a:pt x="51" y="0"/>
                    </a:moveTo>
                    <a:cubicBezTo>
                      <a:pt x="24" y="0"/>
                      <a:pt x="2" y="20"/>
                      <a:pt x="0" y="47"/>
                    </a:cubicBezTo>
                    <a:cubicBezTo>
                      <a:pt x="51" y="47"/>
                      <a:pt x="51" y="47"/>
                      <a:pt x="51" y="47"/>
                    </a:cubicBezTo>
                    <a:cubicBezTo>
                      <a:pt x="90" y="47"/>
                      <a:pt x="90" y="47"/>
                      <a:pt x="90" y="47"/>
                    </a:cubicBezTo>
                    <a:cubicBezTo>
                      <a:pt x="90" y="0"/>
                      <a:pt x="90" y="0"/>
                      <a:pt x="90" y="0"/>
                    </a:cubicBezTo>
                    <a:lnTo>
                      <a:pt x="5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92" name="Freeform 91"/>
              <p:cNvSpPr>
                <a:spLocks/>
              </p:cNvSpPr>
              <p:nvPr/>
            </p:nvSpPr>
            <p:spPr bwMode="auto">
              <a:xfrm>
                <a:off x="7102838" y="5459120"/>
                <a:ext cx="304800" cy="85725"/>
              </a:xfrm>
              <a:custGeom>
                <a:avLst/>
                <a:gdLst>
                  <a:gd name="T0" fmla="*/ 43 w 82"/>
                  <a:gd name="T1" fmla="*/ 0 h 23"/>
                  <a:gd name="T2" fmla="*/ 0 w 82"/>
                  <a:gd name="T3" fmla="*/ 23 h 23"/>
                  <a:gd name="T4" fmla="*/ 56 w 82"/>
                  <a:gd name="T5" fmla="*/ 23 h 23"/>
                  <a:gd name="T6" fmla="*/ 82 w 82"/>
                  <a:gd name="T7" fmla="*/ 0 h 23"/>
                  <a:gd name="T8" fmla="*/ 43 w 82"/>
                  <a:gd name="T9" fmla="*/ 0 h 23"/>
                </a:gdLst>
                <a:ahLst/>
                <a:cxnLst>
                  <a:cxn ang="0">
                    <a:pos x="T0" y="T1"/>
                  </a:cxn>
                  <a:cxn ang="0">
                    <a:pos x="T2" y="T3"/>
                  </a:cxn>
                  <a:cxn ang="0">
                    <a:pos x="T4" y="T5"/>
                  </a:cxn>
                  <a:cxn ang="0">
                    <a:pos x="T6" y="T7"/>
                  </a:cxn>
                  <a:cxn ang="0">
                    <a:pos x="T8" y="T9"/>
                  </a:cxn>
                </a:cxnLst>
                <a:rect l="0" t="0" r="r" b="b"/>
                <a:pathLst>
                  <a:path w="82" h="23">
                    <a:moveTo>
                      <a:pt x="43" y="0"/>
                    </a:moveTo>
                    <a:cubicBezTo>
                      <a:pt x="25" y="0"/>
                      <a:pt x="9" y="9"/>
                      <a:pt x="0" y="23"/>
                    </a:cubicBezTo>
                    <a:cubicBezTo>
                      <a:pt x="56" y="23"/>
                      <a:pt x="56" y="23"/>
                      <a:pt x="56" y="23"/>
                    </a:cubicBezTo>
                    <a:cubicBezTo>
                      <a:pt x="69" y="23"/>
                      <a:pt x="80" y="13"/>
                      <a:pt x="82" y="0"/>
                    </a:cubicBezTo>
                    <a:lnTo>
                      <a:pt x="43" y="0"/>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93" name="Freeform 92"/>
              <p:cNvSpPr>
                <a:spLocks/>
              </p:cNvSpPr>
              <p:nvPr/>
            </p:nvSpPr>
            <p:spPr bwMode="auto">
              <a:xfrm>
                <a:off x="7133000" y="4892383"/>
                <a:ext cx="274638" cy="566737"/>
              </a:xfrm>
              <a:custGeom>
                <a:avLst/>
                <a:gdLst>
                  <a:gd name="T0" fmla="*/ 173 w 173"/>
                  <a:gd name="T1" fmla="*/ 357 h 357"/>
                  <a:gd name="T2" fmla="*/ 0 w 173"/>
                  <a:gd name="T3" fmla="*/ 357 h 357"/>
                  <a:gd name="T4" fmla="*/ 70 w 173"/>
                  <a:gd name="T5" fmla="*/ 0 h 357"/>
                  <a:gd name="T6" fmla="*/ 173 w 173"/>
                  <a:gd name="T7" fmla="*/ 33 h 357"/>
                  <a:gd name="T8" fmla="*/ 173 w 173"/>
                  <a:gd name="T9" fmla="*/ 357 h 357"/>
                </a:gdLst>
                <a:ahLst/>
                <a:cxnLst>
                  <a:cxn ang="0">
                    <a:pos x="T0" y="T1"/>
                  </a:cxn>
                  <a:cxn ang="0">
                    <a:pos x="T2" y="T3"/>
                  </a:cxn>
                  <a:cxn ang="0">
                    <a:pos x="T4" y="T5"/>
                  </a:cxn>
                  <a:cxn ang="0">
                    <a:pos x="T6" y="T7"/>
                  </a:cxn>
                  <a:cxn ang="0">
                    <a:pos x="T8" y="T9"/>
                  </a:cxn>
                </a:cxnLst>
                <a:rect l="0" t="0" r="r" b="b"/>
                <a:pathLst>
                  <a:path w="173" h="357">
                    <a:moveTo>
                      <a:pt x="173" y="357"/>
                    </a:moveTo>
                    <a:lnTo>
                      <a:pt x="0" y="357"/>
                    </a:lnTo>
                    <a:lnTo>
                      <a:pt x="70" y="0"/>
                    </a:lnTo>
                    <a:lnTo>
                      <a:pt x="173" y="33"/>
                    </a:lnTo>
                    <a:lnTo>
                      <a:pt x="173" y="357"/>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94" name="Freeform 93"/>
              <p:cNvSpPr>
                <a:spLocks/>
              </p:cNvSpPr>
              <p:nvPr/>
            </p:nvSpPr>
            <p:spPr bwMode="auto">
              <a:xfrm>
                <a:off x="7240950" y="4706645"/>
                <a:ext cx="568325" cy="674687"/>
              </a:xfrm>
              <a:custGeom>
                <a:avLst/>
                <a:gdLst>
                  <a:gd name="T0" fmla="*/ 45 w 153"/>
                  <a:gd name="T1" fmla="*/ 181 h 181"/>
                  <a:gd name="T2" fmla="*/ 0 w 153"/>
                  <a:gd name="T3" fmla="*/ 181 h 181"/>
                  <a:gd name="T4" fmla="*/ 0 w 153"/>
                  <a:gd name="T5" fmla="*/ 60 h 181"/>
                  <a:gd name="T6" fmla="*/ 60 w 153"/>
                  <a:gd name="T7" fmla="*/ 0 h 181"/>
                  <a:gd name="T8" fmla="*/ 153 w 153"/>
                  <a:gd name="T9" fmla="*/ 0 h 181"/>
                  <a:gd name="T10" fmla="*/ 153 w 153"/>
                  <a:gd name="T11" fmla="*/ 61 h 181"/>
                  <a:gd name="T12" fmla="*/ 60 w 153"/>
                  <a:gd name="T13" fmla="*/ 61 h 181"/>
                  <a:gd name="T14" fmla="*/ 45 w 153"/>
                  <a:gd name="T15" fmla="*/ 77 h 181"/>
                  <a:gd name="T16" fmla="*/ 45 w 153"/>
                  <a:gd name="T17" fmla="*/ 181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3" h="181">
                    <a:moveTo>
                      <a:pt x="45" y="181"/>
                    </a:moveTo>
                    <a:cubicBezTo>
                      <a:pt x="0" y="181"/>
                      <a:pt x="0" y="181"/>
                      <a:pt x="0" y="181"/>
                    </a:cubicBezTo>
                    <a:cubicBezTo>
                      <a:pt x="0" y="60"/>
                      <a:pt x="0" y="60"/>
                      <a:pt x="0" y="60"/>
                    </a:cubicBezTo>
                    <a:cubicBezTo>
                      <a:pt x="0" y="27"/>
                      <a:pt x="27" y="0"/>
                      <a:pt x="60" y="0"/>
                    </a:cubicBezTo>
                    <a:cubicBezTo>
                      <a:pt x="153" y="0"/>
                      <a:pt x="153" y="0"/>
                      <a:pt x="153" y="0"/>
                    </a:cubicBezTo>
                    <a:cubicBezTo>
                      <a:pt x="153" y="61"/>
                      <a:pt x="153" y="61"/>
                      <a:pt x="153" y="61"/>
                    </a:cubicBezTo>
                    <a:cubicBezTo>
                      <a:pt x="60" y="61"/>
                      <a:pt x="60" y="61"/>
                      <a:pt x="60" y="61"/>
                    </a:cubicBezTo>
                    <a:cubicBezTo>
                      <a:pt x="52" y="61"/>
                      <a:pt x="45" y="68"/>
                      <a:pt x="45" y="77"/>
                    </a:cubicBezTo>
                    <a:lnTo>
                      <a:pt x="45" y="181"/>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95" name="Freeform 94"/>
              <p:cNvSpPr>
                <a:spLocks/>
              </p:cNvSpPr>
              <p:nvPr/>
            </p:nvSpPr>
            <p:spPr bwMode="auto">
              <a:xfrm>
                <a:off x="7664813" y="4703470"/>
                <a:ext cx="376238" cy="230187"/>
              </a:xfrm>
              <a:custGeom>
                <a:avLst/>
                <a:gdLst>
                  <a:gd name="T0" fmla="*/ 39 w 101"/>
                  <a:gd name="T1" fmla="*/ 62 h 62"/>
                  <a:gd name="T2" fmla="*/ 101 w 101"/>
                  <a:gd name="T3" fmla="*/ 0 h 62"/>
                  <a:gd name="T4" fmla="*/ 0 w 101"/>
                  <a:gd name="T5" fmla="*/ 0 h 62"/>
                  <a:gd name="T6" fmla="*/ 39 w 101"/>
                  <a:gd name="T7" fmla="*/ 62 h 62"/>
                </a:gdLst>
                <a:ahLst/>
                <a:cxnLst>
                  <a:cxn ang="0">
                    <a:pos x="T0" y="T1"/>
                  </a:cxn>
                  <a:cxn ang="0">
                    <a:pos x="T2" y="T3"/>
                  </a:cxn>
                  <a:cxn ang="0">
                    <a:pos x="T4" y="T5"/>
                  </a:cxn>
                  <a:cxn ang="0">
                    <a:pos x="T6" y="T7"/>
                  </a:cxn>
                </a:cxnLst>
                <a:rect l="0" t="0" r="r" b="b"/>
                <a:pathLst>
                  <a:path w="101" h="62">
                    <a:moveTo>
                      <a:pt x="39" y="62"/>
                    </a:moveTo>
                    <a:cubicBezTo>
                      <a:pt x="73" y="62"/>
                      <a:pt x="101" y="35"/>
                      <a:pt x="101" y="0"/>
                    </a:cubicBezTo>
                    <a:cubicBezTo>
                      <a:pt x="0" y="0"/>
                      <a:pt x="0" y="0"/>
                      <a:pt x="0" y="0"/>
                    </a:cubicBezTo>
                    <a:cubicBezTo>
                      <a:pt x="0" y="35"/>
                      <a:pt x="5" y="62"/>
                      <a:pt x="39" y="62"/>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96" name="Freeform 95"/>
              <p:cNvSpPr>
                <a:spLocks/>
              </p:cNvSpPr>
              <p:nvPr/>
            </p:nvSpPr>
            <p:spPr bwMode="auto">
              <a:xfrm>
                <a:off x="6718663" y="5459120"/>
                <a:ext cx="334963" cy="176212"/>
              </a:xfrm>
              <a:custGeom>
                <a:avLst/>
                <a:gdLst>
                  <a:gd name="T0" fmla="*/ 51 w 90"/>
                  <a:gd name="T1" fmla="*/ 0 h 47"/>
                  <a:gd name="T2" fmla="*/ 0 w 90"/>
                  <a:gd name="T3" fmla="*/ 47 h 47"/>
                  <a:gd name="T4" fmla="*/ 51 w 90"/>
                  <a:gd name="T5" fmla="*/ 47 h 47"/>
                  <a:gd name="T6" fmla="*/ 90 w 90"/>
                  <a:gd name="T7" fmla="*/ 47 h 47"/>
                  <a:gd name="T8" fmla="*/ 90 w 90"/>
                  <a:gd name="T9" fmla="*/ 0 h 47"/>
                  <a:gd name="T10" fmla="*/ 51 w 90"/>
                  <a:gd name="T11" fmla="*/ 0 h 47"/>
                </a:gdLst>
                <a:ahLst/>
                <a:cxnLst>
                  <a:cxn ang="0">
                    <a:pos x="T0" y="T1"/>
                  </a:cxn>
                  <a:cxn ang="0">
                    <a:pos x="T2" y="T3"/>
                  </a:cxn>
                  <a:cxn ang="0">
                    <a:pos x="T4" y="T5"/>
                  </a:cxn>
                  <a:cxn ang="0">
                    <a:pos x="T6" y="T7"/>
                  </a:cxn>
                  <a:cxn ang="0">
                    <a:pos x="T8" y="T9"/>
                  </a:cxn>
                  <a:cxn ang="0">
                    <a:pos x="T10" y="T11"/>
                  </a:cxn>
                </a:cxnLst>
                <a:rect l="0" t="0" r="r" b="b"/>
                <a:pathLst>
                  <a:path w="90" h="47">
                    <a:moveTo>
                      <a:pt x="51" y="0"/>
                    </a:moveTo>
                    <a:cubicBezTo>
                      <a:pt x="24" y="0"/>
                      <a:pt x="2" y="20"/>
                      <a:pt x="0" y="47"/>
                    </a:cubicBezTo>
                    <a:cubicBezTo>
                      <a:pt x="51" y="47"/>
                      <a:pt x="51" y="47"/>
                      <a:pt x="51" y="47"/>
                    </a:cubicBezTo>
                    <a:cubicBezTo>
                      <a:pt x="90" y="47"/>
                      <a:pt x="90" y="47"/>
                      <a:pt x="90" y="47"/>
                    </a:cubicBezTo>
                    <a:cubicBezTo>
                      <a:pt x="90" y="0"/>
                      <a:pt x="90" y="0"/>
                      <a:pt x="90" y="0"/>
                    </a:cubicBezTo>
                    <a:lnTo>
                      <a:pt x="5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97" name="Freeform 96"/>
              <p:cNvSpPr>
                <a:spLocks/>
              </p:cNvSpPr>
              <p:nvPr/>
            </p:nvSpPr>
            <p:spPr bwMode="auto">
              <a:xfrm>
                <a:off x="6748825" y="5459120"/>
                <a:ext cx="304800" cy="85725"/>
              </a:xfrm>
              <a:custGeom>
                <a:avLst/>
                <a:gdLst>
                  <a:gd name="T0" fmla="*/ 43 w 82"/>
                  <a:gd name="T1" fmla="*/ 0 h 23"/>
                  <a:gd name="T2" fmla="*/ 0 w 82"/>
                  <a:gd name="T3" fmla="*/ 23 h 23"/>
                  <a:gd name="T4" fmla="*/ 55 w 82"/>
                  <a:gd name="T5" fmla="*/ 23 h 23"/>
                  <a:gd name="T6" fmla="*/ 82 w 82"/>
                  <a:gd name="T7" fmla="*/ 0 h 23"/>
                  <a:gd name="T8" fmla="*/ 43 w 82"/>
                  <a:gd name="T9" fmla="*/ 0 h 23"/>
                </a:gdLst>
                <a:ahLst/>
                <a:cxnLst>
                  <a:cxn ang="0">
                    <a:pos x="T0" y="T1"/>
                  </a:cxn>
                  <a:cxn ang="0">
                    <a:pos x="T2" y="T3"/>
                  </a:cxn>
                  <a:cxn ang="0">
                    <a:pos x="T4" y="T5"/>
                  </a:cxn>
                  <a:cxn ang="0">
                    <a:pos x="T6" y="T7"/>
                  </a:cxn>
                  <a:cxn ang="0">
                    <a:pos x="T8" y="T9"/>
                  </a:cxn>
                </a:cxnLst>
                <a:rect l="0" t="0" r="r" b="b"/>
                <a:pathLst>
                  <a:path w="82" h="23">
                    <a:moveTo>
                      <a:pt x="43" y="0"/>
                    </a:moveTo>
                    <a:cubicBezTo>
                      <a:pt x="25" y="0"/>
                      <a:pt x="9" y="9"/>
                      <a:pt x="0" y="23"/>
                    </a:cubicBezTo>
                    <a:cubicBezTo>
                      <a:pt x="55" y="23"/>
                      <a:pt x="55" y="23"/>
                      <a:pt x="55" y="23"/>
                    </a:cubicBezTo>
                    <a:cubicBezTo>
                      <a:pt x="69" y="23"/>
                      <a:pt x="80" y="13"/>
                      <a:pt x="82" y="0"/>
                    </a:cubicBezTo>
                    <a:lnTo>
                      <a:pt x="43" y="0"/>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98" name="Freeform 97"/>
              <p:cNvSpPr>
                <a:spLocks/>
              </p:cNvSpPr>
              <p:nvPr/>
            </p:nvSpPr>
            <p:spPr bwMode="auto">
              <a:xfrm>
                <a:off x="6778988" y="4892383"/>
                <a:ext cx="274638" cy="566737"/>
              </a:xfrm>
              <a:custGeom>
                <a:avLst/>
                <a:gdLst>
                  <a:gd name="T0" fmla="*/ 173 w 173"/>
                  <a:gd name="T1" fmla="*/ 357 h 357"/>
                  <a:gd name="T2" fmla="*/ 0 w 173"/>
                  <a:gd name="T3" fmla="*/ 357 h 357"/>
                  <a:gd name="T4" fmla="*/ 70 w 173"/>
                  <a:gd name="T5" fmla="*/ 0 h 357"/>
                  <a:gd name="T6" fmla="*/ 173 w 173"/>
                  <a:gd name="T7" fmla="*/ 33 h 357"/>
                  <a:gd name="T8" fmla="*/ 173 w 173"/>
                  <a:gd name="T9" fmla="*/ 357 h 357"/>
                </a:gdLst>
                <a:ahLst/>
                <a:cxnLst>
                  <a:cxn ang="0">
                    <a:pos x="T0" y="T1"/>
                  </a:cxn>
                  <a:cxn ang="0">
                    <a:pos x="T2" y="T3"/>
                  </a:cxn>
                  <a:cxn ang="0">
                    <a:pos x="T4" y="T5"/>
                  </a:cxn>
                  <a:cxn ang="0">
                    <a:pos x="T6" y="T7"/>
                  </a:cxn>
                  <a:cxn ang="0">
                    <a:pos x="T8" y="T9"/>
                  </a:cxn>
                </a:cxnLst>
                <a:rect l="0" t="0" r="r" b="b"/>
                <a:pathLst>
                  <a:path w="173" h="357">
                    <a:moveTo>
                      <a:pt x="173" y="357"/>
                    </a:moveTo>
                    <a:lnTo>
                      <a:pt x="0" y="357"/>
                    </a:lnTo>
                    <a:lnTo>
                      <a:pt x="70" y="0"/>
                    </a:lnTo>
                    <a:lnTo>
                      <a:pt x="173" y="33"/>
                    </a:lnTo>
                    <a:lnTo>
                      <a:pt x="173" y="357"/>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99" name="Freeform 98"/>
              <p:cNvSpPr>
                <a:spLocks/>
              </p:cNvSpPr>
              <p:nvPr/>
            </p:nvSpPr>
            <p:spPr bwMode="auto">
              <a:xfrm>
                <a:off x="6886938" y="4706645"/>
                <a:ext cx="568325" cy="674687"/>
              </a:xfrm>
              <a:custGeom>
                <a:avLst/>
                <a:gdLst>
                  <a:gd name="T0" fmla="*/ 45 w 153"/>
                  <a:gd name="T1" fmla="*/ 181 h 181"/>
                  <a:gd name="T2" fmla="*/ 0 w 153"/>
                  <a:gd name="T3" fmla="*/ 181 h 181"/>
                  <a:gd name="T4" fmla="*/ 0 w 153"/>
                  <a:gd name="T5" fmla="*/ 60 h 181"/>
                  <a:gd name="T6" fmla="*/ 60 w 153"/>
                  <a:gd name="T7" fmla="*/ 0 h 181"/>
                  <a:gd name="T8" fmla="*/ 153 w 153"/>
                  <a:gd name="T9" fmla="*/ 0 h 181"/>
                  <a:gd name="T10" fmla="*/ 153 w 153"/>
                  <a:gd name="T11" fmla="*/ 61 h 181"/>
                  <a:gd name="T12" fmla="*/ 60 w 153"/>
                  <a:gd name="T13" fmla="*/ 61 h 181"/>
                  <a:gd name="T14" fmla="*/ 45 w 153"/>
                  <a:gd name="T15" fmla="*/ 77 h 181"/>
                  <a:gd name="T16" fmla="*/ 45 w 153"/>
                  <a:gd name="T17" fmla="*/ 181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3" h="181">
                    <a:moveTo>
                      <a:pt x="45" y="181"/>
                    </a:moveTo>
                    <a:cubicBezTo>
                      <a:pt x="0" y="181"/>
                      <a:pt x="0" y="181"/>
                      <a:pt x="0" y="181"/>
                    </a:cubicBezTo>
                    <a:cubicBezTo>
                      <a:pt x="0" y="60"/>
                      <a:pt x="0" y="60"/>
                      <a:pt x="0" y="60"/>
                    </a:cubicBezTo>
                    <a:cubicBezTo>
                      <a:pt x="0" y="27"/>
                      <a:pt x="27" y="0"/>
                      <a:pt x="60" y="0"/>
                    </a:cubicBezTo>
                    <a:cubicBezTo>
                      <a:pt x="153" y="0"/>
                      <a:pt x="153" y="0"/>
                      <a:pt x="153" y="0"/>
                    </a:cubicBezTo>
                    <a:cubicBezTo>
                      <a:pt x="153" y="61"/>
                      <a:pt x="153" y="61"/>
                      <a:pt x="153" y="61"/>
                    </a:cubicBezTo>
                    <a:cubicBezTo>
                      <a:pt x="60" y="61"/>
                      <a:pt x="60" y="61"/>
                      <a:pt x="60" y="61"/>
                    </a:cubicBezTo>
                    <a:cubicBezTo>
                      <a:pt x="52" y="61"/>
                      <a:pt x="45" y="68"/>
                      <a:pt x="45" y="77"/>
                    </a:cubicBezTo>
                    <a:lnTo>
                      <a:pt x="45" y="181"/>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100" name="Freeform 99"/>
              <p:cNvSpPr>
                <a:spLocks/>
              </p:cNvSpPr>
              <p:nvPr/>
            </p:nvSpPr>
            <p:spPr bwMode="auto">
              <a:xfrm>
                <a:off x="7307625" y="4703470"/>
                <a:ext cx="379413" cy="230187"/>
              </a:xfrm>
              <a:custGeom>
                <a:avLst/>
                <a:gdLst>
                  <a:gd name="T0" fmla="*/ 40 w 102"/>
                  <a:gd name="T1" fmla="*/ 62 h 62"/>
                  <a:gd name="T2" fmla="*/ 102 w 102"/>
                  <a:gd name="T3" fmla="*/ 0 h 62"/>
                  <a:gd name="T4" fmla="*/ 0 w 102"/>
                  <a:gd name="T5" fmla="*/ 0 h 62"/>
                  <a:gd name="T6" fmla="*/ 40 w 102"/>
                  <a:gd name="T7" fmla="*/ 62 h 62"/>
                </a:gdLst>
                <a:ahLst/>
                <a:cxnLst>
                  <a:cxn ang="0">
                    <a:pos x="T0" y="T1"/>
                  </a:cxn>
                  <a:cxn ang="0">
                    <a:pos x="T2" y="T3"/>
                  </a:cxn>
                  <a:cxn ang="0">
                    <a:pos x="T4" y="T5"/>
                  </a:cxn>
                  <a:cxn ang="0">
                    <a:pos x="T6" y="T7"/>
                  </a:cxn>
                </a:cxnLst>
                <a:rect l="0" t="0" r="r" b="b"/>
                <a:pathLst>
                  <a:path w="102" h="62">
                    <a:moveTo>
                      <a:pt x="40" y="62"/>
                    </a:moveTo>
                    <a:cubicBezTo>
                      <a:pt x="74" y="62"/>
                      <a:pt x="102" y="35"/>
                      <a:pt x="102" y="0"/>
                    </a:cubicBezTo>
                    <a:cubicBezTo>
                      <a:pt x="0" y="0"/>
                      <a:pt x="0" y="0"/>
                      <a:pt x="0" y="0"/>
                    </a:cubicBezTo>
                    <a:cubicBezTo>
                      <a:pt x="0" y="35"/>
                      <a:pt x="6" y="62"/>
                      <a:pt x="40" y="62"/>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101" name="Rectangle 100"/>
              <p:cNvSpPr>
                <a:spLocks noChangeArrowheads="1"/>
              </p:cNvSpPr>
              <p:nvPr/>
            </p:nvSpPr>
            <p:spPr bwMode="auto">
              <a:xfrm>
                <a:off x="7482250" y="4639970"/>
                <a:ext cx="558800" cy="96837"/>
              </a:xfrm>
              <a:prstGeom prst="rect">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102" name="Freeform 101"/>
              <p:cNvSpPr>
                <a:spLocks/>
              </p:cNvSpPr>
              <p:nvPr/>
            </p:nvSpPr>
            <p:spPr bwMode="auto">
              <a:xfrm>
                <a:off x="7623538" y="4687595"/>
                <a:ext cx="417513" cy="328612"/>
              </a:xfrm>
              <a:custGeom>
                <a:avLst/>
                <a:gdLst>
                  <a:gd name="T0" fmla="*/ 0 w 112"/>
                  <a:gd name="T1" fmla="*/ 0 h 88"/>
                  <a:gd name="T2" fmla="*/ 112 w 112"/>
                  <a:gd name="T3" fmla="*/ 88 h 88"/>
                  <a:gd name="T4" fmla="*/ 112 w 112"/>
                  <a:gd name="T5" fmla="*/ 0 h 88"/>
                  <a:gd name="T6" fmla="*/ 0 w 112"/>
                  <a:gd name="T7" fmla="*/ 0 h 88"/>
                </a:gdLst>
                <a:ahLst/>
                <a:cxnLst>
                  <a:cxn ang="0">
                    <a:pos x="T0" y="T1"/>
                  </a:cxn>
                  <a:cxn ang="0">
                    <a:pos x="T2" y="T3"/>
                  </a:cxn>
                  <a:cxn ang="0">
                    <a:pos x="T4" y="T5"/>
                  </a:cxn>
                  <a:cxn ang="0">
                    <a:pos x="T6" y="T7"/>
                  </a:cxn>
                </a:cxnLst>
                <a:rect l="0" t="0" r="r" b="b"/>
                <a:pathLst>
                  <a:path w="112" h="88">
                    <a:moveTo>
                      <a:pt x="0" y="0"/>
                    </a:moveTo>
                    <a:cubicBezTo>
                      <a:pt x="0" y="40"/>
                      <a:pt x="52" y="88"/>
                      <a:pt x="112" y="88"/>
                    </a:cubicBezTo>
                    <a:cubicBezTo>
                      <a:pt x="112" y="0"/>
                      <a:pt x="112" y="0"/>
                      <a:pt x="112" y="0"/>
                    </a:cubicBezTo>
                    <a:lnTo>
                      <a:pt x="0" y="0"/>
                    </a:lnTo>
                    <a:close/>
                  </a:path>
                </a:pathLst>
              </a:custGeom>
              <a:solidFill>
                <a:srgbClr val="6DC2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103" name="Freeform 102"/>
              <p:cNvSpPr>
                <a:spLocks/>
              </p:cNvSpPr>
              <p:nvPr/>
            </p:nvSpPr>
            <p:spPr bwMode="auto">
              <a:xfrm>
                <a:off x="7482250" y="3816058"/>
                <a:ext cx="766763" cy="812800"/>
              </a:xfrm>
              <a:custGeom>
                <a:avLst/>
                <a:gdLst>
                  <a:gd name="T0" fmla="*/ 150 w 206"/>
                  <a:gd name="T1" fmla="*/ 0 h 218"/>
                  <a:gd name="T2" fmla="*/ 119 w 206"/>
                  <a:gd name="T3" fmla="*/ 0 h 218"/>
                  <a:gd name="T4" fmla="*/ 49 w 206"/>
                  <a:gd name="T5" fmla="*/ 84 h 218"/>
                  <a:gd name="T6" fmla="*/ 52 w 206"/>
                  <a:gd name="T7" fmla="*/ 0 h 218"/>
                  <a:gd name="T8" fmla="*/ 52 w 206"/>
                  <a:gd name="T9" fmla="*/ 0 h 218"/>
                  <a:gd name="T10" fmla="*/ 0 w 206"/>
                  <a:gd name="T11" fmla="*/ 99 h 218"/>
                  <a:gd name="T12" fmla="*/ 0 w 206"/>
                  <a:gd name="T13" fmla="*/ 218 h 218"/>
                  <a:gd name="T14" fmla="*/ 150 w 206"/>
                  <a:gd name="T15" fmla="*/ 218 h 218"/>
                  <a:gd name="T16" fmla="*/ 150 w 206"/>
                  <a:gd name="T17" fmla="*/ 102 h 218"/>
                  <a:gd name="T18" fmla="*/ 158 w 206"/>
                  <a:gd name="T19" fmla="*/ 102 h 218"/>
                  <a:gd name="T20" fmla="*/ 158 w 206"/>
                  <a:gd name="T21" fmla="*/ 166 h 218"/>
                  <a:gd name="T22" fmla="*/ 206 w 206"/>
                  <a:gd name="T23" fmla="*/ 166 h 218"/>
                  <a:gd name="T24" fmla="*/ 206 w 206"/>
                  <a:gd name="T25" fmla="*/ 56 h 218"/>
                  <a:gd name="T26" fmla="*/ 150 w 206"/>
                  <a:gd name="T27" fmla="*/ 0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6" h="218">
                    <a:moveTo>
                      <a:pt x="150" y="0"/>
                    </a:moveTo>
                    <a:cubicBezTo>
                      <a:pt x="119" y="0"/>
                      <a:pt x="119" y="0"/>
                      <a:pt x="119" y="0"/>
                    </a:cubicBezTo>
                    <a:cubicBezTo>
                      <a:pt x="49" y="84"/>
                      <a:pt x="49" y="84"/>
                      <a:pt x="49" y="84"/>
                    </a:cubicBezTo>
                    <a:cubicBezTo>
                      <a:pt x="52" y="0"/>
                      <a:pt x="52" y="0"/>
                      <a:pt x="52" y="0"/>
                    </a:cubicBezTo>
                    <a:cubicBezTo>
                      <a:pt x="52" y="0"/>
                      <a:pt x="52" y="0"/>
                      <a:pt x="52" y="0"/>
                    </a:cubicBezTo>
                    <a:cubicBezTo>
                      <a:pt x="52" y="0"/>
                      <a:pt x="0" y="12"/>
                      <a:pt x="0" y="99"/>
                    </a:cubicBezTo>
                    <a:cubicBezTo>
                      <a:pt x="0" y="186"/>
                      <a:pt x="0" y="218"/>
                      <a:pt x="0" y="218"/>
                    </a:cubicBezTo>
                    <a:cubicBezTo>
                      <a:pt x="150" y="218"/>
                      <a:pt x="150" y="218"/>
                      <a:pt x="150" y="218"/>
                    </a:cubicBezTo>
                    <a:cubicBezTo>
                      <a:pt x="150" y="102"/>
                      <a:pt x="150" y="102"/>
                      <a:pt x="150" y="102"/>
                    </a:cubicBezTo>
                    <a:cubicBezTo>
                      <a:pt x="158" y="102"/>
                      <a:pt x="158" y="102"/>
                      <a:pt x="158" y="102"/>
                    </a:cubicBezTo>
                    <a:cubicBezTo>
                      <a:pt x="158" y="166"/>
                      <a:pt x="158" y="166"/>
                      <a:pt x="158" y="166"/>
                    </a:cubicBezTo>
                    <a:cubicBezTo>
                      <a:pt x="206" y="166"/>
                      <a:pt x="206" y="166"/>
                      <a:pt x="206" y="166"/>
                    </a:cubicBezTo>
                    <a:cubicBezTo>
                      <a:pt x="206" y="56"/>
                      <a:pt x="206" y="56"/>
                      <a:pt x="206" y="56"/>
                    </a:cubicBezTo>
                    <a:cubicBezTo>
                      <a:pt x="206" y="25"/>
                      <a:pt x="181" y="0"/>
                      <a:pt x="150" y="0"/>
                    </a:cubicBezTo>
                    <a:close/>
                  </a:path>
                </a:pathLst>
              </a:custGeom>
              <a:solidFill>
                <a:srgbClr val="6DC2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104" name="Freeform 103"/>
              <p:cNvSpPr>
                <a:spLocks/>
              </p:cNvSpPr>
              <p:nvPr/>
            </p:nvSpPr>
            <p:spPr bwMode="auto">
              <a:xfrm>
                <a:off x="8066450" y="4330408"/>
                <a:ext cx="252413" cy="130175"/>
              </a:xfrm>
              <a:custGeom>
                <a:avLst/>
                <a:gdLst>
                  <a:gd name="T0" fmla="*/ 159 w 159"/>
                  <a:gd name="T1" fmla="*/ 82 h 82"/>
                  <a:gd name="T2" fmla="*/ 0 w 159"/>
                  <a:gd name="T3" fmla="*/ 82 h 82"/>
                  <a:gd name="T4" fmla="*/ 0 w 159"/>
                  <a:gd name="T5" fmla="*/ 0 h 82"/>
                  <a:gd name="T6" fmla="*/ 84 w 159"/>
                  <a:gd name="T7" fmla="*/ 0 h 82"/>
                  <a:gd name="T8" fmla="*/ 115 w 159"/>
                  <a:gd name="T9" fmla="*/ 33 h 82"/>
                  <a:gd name="T10" fmla="*/ 115 w 159"/>
                  <a:gd name="T11" fmla="*/ 0 h 82"/>
                  <a:gd name="T12" fmla="*/ 159 w 159"/>
                  <a:gd name="T13" fmla="*/ 0 h 82"/>
                  <a:gd name="T14" fmla="*/ 159 w 159"/>
                  <a:gd name="T15" fmla="*/ 82 h 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9" h="82">
                    <a:moveTo>
                      <a:pt x="159" y="82"/>
                    </a:moveTo>
                    <a:lnTo>
                      <a:pt x="0" y="82"/>
                    </a:lnTo>
                    <a:lnTo>
                      <a:pt x="0" y="0"/>
                    </a:lnTo>
                    <a:lnTo>
                      <a:pt x="84" y="0"/>
                    </a:lnTo>
                    <a:lnTo>
                      <a:pt x="115" y="33"/>
                    </a:lnTo>
                    <a:lnTo>
                      <a:pt x="115" y="0"/>
                    </a:lnTo>
                    <a:lnTo>
                      <a:pt x="159" y="0"/>
                    </a:lnTo>
                    <a:lnTo>
                      <a:pt x="159" y="82"/>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105" name="Freeform 104"/>
              <p:cNvSpPr>
                <a:spLocks/>
              </p:cNvSpPr>
              <p:nvPr/>
            </p:nvSpPr>
            <p:spPr bwMode="auto">
              <a:xfrm>
                <a:off x="7664813" y="3752558"/>
                <a:ext cx="404813" cy="376237"/>
              </a:xfrm>
              <a:custGeom>
                <a:avLst/>
                <a:gdLst>
                  <a:gd name="T0" fmla="*/ 129 w 255"/>
                  <a:gd name="T1" fmla="*/ 94 h 237"/>
                  <a:gd name="T2" fmla="*/ 159 w 255"/>
                  <a:gd name="T3" fmla="*/ 129 h 237"/>
                  <a:gd name="T4" fmla="*/ 0 w 255"/>
                  <a:gd name="T5" fmla="*/ 237 h 237"/>
                  <a:gd name="T6" fmla="*/ 157 w 255"/>
                  <a:gd name="T7" fmla="*/ 0 h 237"/>
                  <a:gd name="T8" fmla="*/ 255 w 255"/>
                  <a:gd name="T9" fmla="*/ 63 h 237"/>
                  <a:gd name="T10" fmla="*/ 187 w 255"/>
                  <a:gd name="T11" fmla="*/ 108 h 237"/>
                  <a:gd name="T12" fmla="*/ 129 w 255"/>
                  <a:gd name="T13" fmla="*/ 94 h 237"/>
                </a:gdLst>
                <a:ahLst/>
                <a:cxnLst>
                  <a:cxn ang="0">
                    <a:pos x="T0" y="T1"/>
                  </a:cxn>
                  <a:cxn ang="0">
                    <a:pos x="T2" y="T3"/>
                  </a:cxn>
                  <a:cxn ang="0">
                    <a:pos x="T4" y="T5"/>
                  </a:cxn>
                  <a:cxn ang="0">
                    <a:pos x="T6" y="T7"/>
                  </a:cxn>
                  <a:cxn ang="0">
                    <a:pos x="T8" y="T9"/>
                  </a:cxn>
                  <a:cxn ang="0">
                    <a:pos x="T10" y="T11"/>
                  </a:cxn>
                  <a:cxn ang="0">
                    <a:pos x="T12" y="T13"/>
                  </a:cxn>
                </a:cxnLst>
                <a:rect l="0" t="0" r="r" b="b"/>
                <a:pathLst>
                  <a:path w="255" h="237">
                    <a:moveTo>
                      <a:pt x="129" y="94"/>
                    </a:moveTo>
                    <a:lnTo>
                      <a:pt x="159" y="129"/>
                    </a:lnTo>
                    <a:lnTo>
                      <a:pt x="0" y="237"/>
                    </a:lnTo>
                    <a:lnTo>
                      <a:pt x="157" y="0"/>
                    </a:lnTo>
                    <a:lnTo>
                      <a:pt x="255" y="63"/>
                    </a:lnTo>
                    <a:lnTo>
                      <a:pt x="187" y="108"/>
                    </a:lnTo>
                    <a:lnTo>
                      <a:pt x="129" y="94"/>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106" name="Rectangle 105"/>
              <p:cNvSpPr>
                <a:spLocks noChangeArrowheads="1"/>
              </p:cNvSpPr>
              <p:nvPr/>
            </p:nvSpPr>
            <p:spPr bwMode="auto">
              <a:xfrm>
                <a:off x="7615600" y="3469983"/>
                <a:ext cx="209550" cy="260350"/>
              </a:xfrm>
              <a:prstGeom prst="rect">
                <a:avLst/>
              </a:prstGeom>
              <a:solidFill>
                <a:srgbClr val="B98F7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107" name="Freeform 106"/>
              <p:cNvSpPr>
                <a:spLocks/>
              </p:cNvSpPr>
              <p:nvPr/>
            </p:nvSpPr>
            <p:spPr bwMode="auto">
              <a:xfrm>
                <a:off x="7615600" y="3133433"/>
                <a:ext cx="420688" cy="433387"/>
              </a:xfrm>
              <a:custGeom>
                <a:avLst/>
                <a:gdLst>
                  <a:gd name="T0" fmla="*/ 113 w 113"/>
                  <a:gd name="T1" fmla="*/ 116 h 116"/>
                  <a:gd name="T2" fmla="*/ 113 w 113"/>
                  <a:gd name="T3" fmla="*/ 56 h 116"/>
                  <a:gd name="T4" fmla="*/ 56 w 113"/>
                  <a:gd name="T5" fmla="*/ 0 h 116"/>
                  <a:gd name="T6" fmla="*/ 0 w 113"/>
                  <a:gd name="T7" fmla="*/ 56 h 116"/>
                  <a:gd name="T8" fmla="*/ 0 w 113"/>
                  <a:gd name="T9" fmla="*/ 116 h 116"/>
                  <a:gd name="T10" fmla="*/ 113 w 113"/>
                  <a:gd name="T11" fmla="*/ 116 h 116"/>
                </a:gdLst>
                <a:ahLst/>
                <a:cxnLst>
                  <a:cxn ang="0">
                    <a:pos x="T0" y="T1"/>
                  </a:cxn>
                  <a:cxn ang="0">
                    <a:pos x="T2" y="T3"/>
                  </a:cxn>
                  <a:cxn ang="0">
                    <a:pos x="T4" y="T5"/>
                  </a:cxn>
                  <a:cxn ang="0">
                    <a:pos x="T6" y="T7"/>
                  </a:cxn>
                  <a:cxn ang="0">
                    <a:pos x="T8" y="T9"/>
                  </a:cxn>
                  <a:cxn ang="0">
                    <a:pos x="T10" y="T11"/>
                  </a:cxn>
                </a:cxnLst>
                <a:rect l="0" t="0" r="r" b="b"/>
                <a:pathLst>
                  <a:path w="113" h="116">
                    <a:moveTo>
                      <a:pt x="113" y="116"/>
                    </a:moveTo>
                    <a:cubicBezTo>
                      <a:pt x="113" y="56"/>
                      <a:pt x="113" y="56"/>
                      <a:pt x="113" y="56"/>
                    </a:cubicBezTo>
                    <a:cubicBezTo>
                      <a:pt x="113" y="25"/>
                      <a:pt x="88" y="0"/>
                      <a:pt x="56" y="0"/>
                    </a:cubicBezTo>
                    <a:cubicBezTo>
                      <a:pt x="25" y="0"/>
                      <a:pt x="0" y="25"/>
                      <a:pt x="0" y="56"/>
                    </a:cubicBezTo>
                    <a:cubicBezTo>
                      <a:pt x="0" y="116"/>
                      <a:pt x="0" y="116"/>
                      <a:pt x="0" y="116"/>
                    </a:cubicBezTo>
                    <a:lnTo>
                      <a:pt x="113" y="116"/>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108" name="Freeform 107"/>
              <p:cNvSpPr>
                <a:spLocks/>
              </p:cNvSpPr>
              <p:nvPr/>
            </p:nvSpPr>
            <p:spPr bwMode="auto">
              <a:xfrm>
                <a:off x="7709263" y="3069933"/>
                <a:ext cx="427038" cy="455612"/>
              </a:xfrm>
              <a:custGeom>
                <a:avLst/>
                <a:gdLst>
                  <a:gd name="T0" fmla="*/ 0 w 115"/>
                  <a:gd name="T1" fmla="*/ 7 h 122"/>
                  <a:gd name="T2" fmla="*/ 33 w 115"/>
                  <a:gd name="T3" fmla="*/ 0 h 122"/>
                  <a:gd name="T4" fmla="*/ 115 w 115"/>
                  <a:gd name="T5" fmla="*/ 81 h 122"/>
                  <a:gd name="T6" fmla="*/ 115 w 115"/>
                  <a:gd name="T7" fmla="*/ 122 h 122"/>
                  <a:gd name="T8" fmla="*/ 0 w 115"/>
                  <a:gd name="T9" fmla="*/ 7 h 122"/>
                </a:gdLst>
                <a:ahLst/>
                <a:cxnLst>
                  <a:cxn ang="0">
                    <a:pos x="T0" y="T1"/>
                  </a:cxn>
                  <a:cxn ang="0">
                    <a:pos x="T2" y="T3"/>
                  </a:cxn>
                  <a:cxn ang="0">
                    <a:pos x="T4" y="T5"/>
                  </a:cxn>
                  <a:cxn ang="0">
                    <a:pos x="T6" y="T7"/>
                  </a:cxn>
                  <a:cxn ang="0">
                    <a:pos x="T8" y="T9"/>
                  </a:cxn>
                </a:cxnLst>
                <a:rect l="0" t="0" r="r" b="b"/>
                <a:pathLst>
                  <a:path w="115" h="122">
                    <a:moveTo>
                      <a:pt x="0" y="7"/>
                    </a:moveTo>
                    <a:cubicBezTo>
                      <a:pt x="10" y="2"/>
                      <a:pt x="21" y="0"/>
                      <a:pt x="33" y="0"/>
                    </a:cubicBezTo>
                    <a:cubicBezTo>
                      <a:pt x="79" y="0"/>
                      <a:pt x="115" y="36"/>
                      <a:pt x="115" y="81"/>
                    </a:cubicBezTo>
                    <a:cubicBezTo>
                      <a:pt x="115" y="122"/>
                      <a:pt x="115" y="122"/>
                      <a:pt x="115" y="122"/>
                    </a:cubicBezTo>
                    <a:cubicBezTo>
                      <a:pt x="55" y="115"/>
                      <a:pt x="7" y="67"/>
                      <a:pt x="0" y="7"/>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109" name="Freeform 108"/>
              <p:cNvSpPr>
                <a:spLocks/>
              </p:cNvSpPr>
              <p:nvPr/>
            </p:nvSpPr>
            <p:spPr bwMode="auto">
              <a:xfrm>
                <a:off x="7590200" y="3133433"/>
                <a:ext cx="211138" cy="220662"/>
              </a:xfrm>
              <a:custGeom>
                <a:avLst/>
                <a:gdLst>
                  <a:gd name="T0" fmla="*/ 57 w 57"/>
                  <a:gd name="T1" fmla="*/ 3 h 59"/>
                  <a:gd name="T2" fmla="*/ 40 w 57"/>
                  <a:gd name="T3" fmla="*/ 0 h 59"/>
                  <a:gd name="T4" fmla="*/ 0 w 57"/>
                  <a:gd name="T5" fmla="*/ 40 h 59"/>
                  <a:gd name="T6" fmla="*/ 0 w 57"/>
                  <a:gd name="T7" fmla="*/ 59 h 59"/>
                  <a:gd name="T8" fmla="*/ 57 w 57"/>
                  <a:gd name="T9" fmla="*/ 3 h 59"/>
                </a:gdLst>
                <a:ahLst/>
                <a:cxnLst>
                  <a:cxn ang="0">
                    <a:pos x="T0" y="T1"/>
                  </a:cxn>
                  <a:cxn ang="0">
                    <a:pos x="T2" y="T3"/>
                  </a:cxn>
                  <a:cxn ang="0">
                    <a:pos x="T4" y="T5"/>
                  </a:cxn>
                  <a:cxn ang="0">
                    <a:pos x="T6" y="T7"/>
                  </a:cxn>
                  <a:cxn ang="0">
                    <a:pos x="T8" y="T9"/>
                  </a:cxn>
                </a:cxnLst>
                <a:rect l="0" t="0" r="r" b="b"/>
                <a:pathLst>
                  <a:path w="57" h="59">
                    <a:moveTo>
                      <a:pt x="57" y="3"/>
                    </a:moveTo>
                    <a:cubicBezTo>
                      <a:pt x="52" y="1"/>
                      <a:pt x="46" y="0"/>
                      <a:pt x="40" y="0"/>
                    </a:cubicBezTo>
                    <a:cubicBezTo>
                      <a:pt x="18" y="0"/>
                      <a:pt x="0" y="18"/>
                      <a:pt x="0" y="40"/>
                    </a:cubicBezTo>
                    <a:cubicBezTo>
                      <a:pt x="0" y="59"/>
                      <a:pt x="0" y="59"/>
                      <a:pt x="0" y="59"/>
                    </a:cubicBezTo>
                    <a:cubicBezTo>
                      <a:pt x="30" y="56"/>
                      <a:pt x="53" y="33"/>
                      <a:pt x="57" y="3"/>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110" name="Freeform 109"/>
              <p:cNvSpPr>
                <a:spLocks/>
              </p:cNvSpPr>
              <p:nvPr/>
            </p:nvSpPr>
            <p:spPr bwMode="auto">
              <a:xfrm>
                <a:off x="7933100" y="3420770"/>
                <a:ext cx="55563" cy="107950"/>
              </a:xfrm>
              <a:custGeom>
                <a:avLst/>
                <a:gdLst>
                  <a:gd name="T0" fmla="*/ 8 w 15"/>
                  <a:gd name="T1" fmla="*/ 0 h 29"/>
                  <a:gd name="T2" fmla="*/ 0 w 15"/>
                  <a:gd name="T3" fmla="*/ 0 h 29"/>
                  <a:gd name="T4" fmla="*/ 0 w 15"/>
                  <a:gd name="T5" fmla="*/ 29 h 29"/>
                  <a:gd name="T6" fmla="*/ 8 w 15"/>
                  <a:gd name="T7" fmla="*/ 29 h 29"/>
                  <a:gd name="T8" fmla="*/ 15 w 15"/>
                  <a:gd name="T9" fmla="*/ 22 h 29"/>
                  <a:gd name="T10" fmla="*/ 15 w 15"/>
                  <a:gd name="T11" fmla="*/ 7 h 29"/>
                  <a:gd name="T12" fmla="*/ 8 w 15"/>
                  <a:gd name="T13" fmla="*/ 0 h 29"/>
                </a:gdLst>
                <a:ahLst/>
                <a:cxnLst>
                  <a:cxn ang="0">
                    <a:pos x="T0" y="T1"/>
                  </a:cxn>
                  <a:cxn ang="0">
                    <a:pos x="T2" y="T3"/>
                  </a:cxn>
                  <a:cxn ang="0">
                    <a:pos x="T4" y="T5"/>
                  </a:cxn>
                  <a:cxn ang="0">
                    <a:pos x="T6" y="T7"/>
                  </a:cxn>
                  <a:cxn ang="0">
                    <a:pos x="T8" y="T9"/>
                  </a:cxn>
                  <a:cxn ang="0">
                    <a:pos x="T10" y="T11"/>
                  </a:cxn>
                  <a:cxn ang="0">
                    <a:pos x="T12" y="T13"/>
                  </a:cxn>
                </a:cxnLst>
                <a:rect l="0" t="0" r="r" b="b"/>
                <a:pathLst>
                  <a:path w="15" h="29">
                    <a:moveTo>
                      <a:pt x="8" y="0"/>
                    </a:moveTo>
                    <a:cubicBezTo>
                      <a:pt x="0" y="0"/>
                      <a:pt x="0" y="0"/>
                      <a:pt x="0" y="0"/>
                    </a:cubicBezTo>
                    <a:cubicBezTo>
                      <a:pt x="0" y="29"/>
                      <a:pt x="0" y="29"/>
                      <a:pt x="0" y="29"/>
                    </a:cubicBezTo>
                    <a:cubicBezTo>
                      <a:pt x="8" y="29"/>
                      <a:pt x="8" y="29"/>
                      <a:pt x="8" y="29"/>
                    </a:cubicBezTo>
                    <a:cubicBezTo>
                      <a:pt x="12" y="29"/>
                      <a:pt x="15" y="26"/>
                      <a:pt x="15" y="22"/>
                    </a:cubicBezTo>
                    <a:cubicBezTo>
                      <a:pt x="15" y="7"/>
                      <a:pt x="15" y="7"/>
                      <a:pt x="15" y="7"/>
                    </a:cubicBezTo>
                    <a:cubicBezTo>
                      <a:pt x="15" y="3"/>
                      <a:pt x="12" y="0"/>
                      <a:pt x="8" y="0"/>
                    </a:cubicBezTo>
                    <a:close/>
                  </a:path>
                </a:pathLst>
              </a:custGeom>
              <a:solidFill>
                <a:srgbClr val="92745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111" name="Oval 110"/>
              <p:cNvSpPr>
                <a:spLocks noChangeArrowheads="1"/>
              </p:cNvSpPr>
              <p:nvPr/>
            </p:nvSpPr>
            <p:spPr bwMode="auto">
              <a:xfrm>
                <a:off x="7947388" y="3520783"/>
                <a:ext cx="30163" cy="30162"/>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112" name="Freeform 111"/>
              <p:cNvSpPr>
                <a:spLocks/>
              </p:cNvSpPr>
              <p:nvPr/>
            </p:nvSpPr>
            <p:spPr bwMode="auto">
              <a:xfrm>
                <a:off x="7637825" y="3755733"/>
                <a:ext cx="96838" cy="373062"/>
              </a:xfrm>
              <a:custGeom>
                <a:avLst/>
                <a:gdLst>
                  <a:gd name="T0" fmla="*/ 17 w 61"/>
                  <a:gd name="T1" fmla="*/ 235 h 235"/>
                  <a:gd name="T2" fmla="*/ 61 w 61"/>
                  <a:gd name="T3" fmla="*/ 0 h 235"/>
                  <a:gd name="T4" fmla="*/ 0 w 61"/>
                  <a:gd name="T5" fmla="*/ 57 h 235"/>
                  <a:gd name="T6" fmla="*/ 3 w 61"/>
                  <a:gd name="T7" fmla="*/ 92 h 235"/>
                  <a:gd name="T8" fmla="*/ 21 w 61"/>
                  <a:gd name="T9" fmla="*/ 92 h 235"/>
                  <a:gd name="T10" fmla="*/ 5 w 61"/>
                  <a:gd name="T11" fmla="*/ 118 h 235"/>
                  <a:gd name="T12" fmla="*/ 17 w 61"/>
                  <a:gd name="T13" fmla="*/ 235 h 235"/>
                </a:gdLst>
                <a:ahLst/>
                <a:cxnLst>
                  <a:cxn ang="0">
                    <a:pos x="T0" y="T1"/>
                  </a:cxn>
                  <a:cxn ang="0">
                    <a:pos x="T2" y="T3"/>
                  </a:cxn>
                  <a:cxn ang="0">
                    <a:pos x="T4" y="T5"/>
                  </a:cxn>
                  <a:cxn ang="0">
                    <a:pos x="T6" y="T7"/>
                  </a:cxn>
                  <a:cxn ang="0">
                    <a:pos x="T8" y="T9"/>
                  </a:cxn>
                  <a:cxn ang="0">
                    <a:pos x="T10" y="T11"/>
                  </a:cxn>
                  <a:cxn ang="0">
                    <a:pos x="T12" y="T13"/>
                  </a:cxn>
                </a:cxnLst>
                <a:rect l="0" t="0" r="r" b="b"/>
                <a:pathLst>
                  <a:path w="61" h="235">
                    <a:moveTo>
                      <a:pt x="17" y="235"/>
                    </a:moveTo>
                    <a:lnTo>
                      <a:pt x="61" y="0"/>
                    </a:lnTo>
                    <a:lnTo>
                      <a:pt x="0" y="57"/>
                    </a:lnTo>
                    <a:lnTo>
                      <a:pt x="3" y="92"/>
                    </a:lnTo>
                    <a:lnTo>
                      <a:pt x="21" y="92"/>
                    </a:lnTo>
                    <a:lnTo>
                      <a:pt x="5" y="118"/>
                    </a:lnTo>
                    <a:lnTo>
                      <a:pt x="17" y="235"/>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113" name="Freeform 112"/>
              <p:cNvSpPr>
                <a:spLocks/>
              </p:cNvSpPr>
              <p:nvPr/>
            </p:nvSpPr>
            <p:spPr bwMode="auto">
              <a:xfrm>
                <a:off x="8122013" y="4460583"/>
                <a:ext cx="122238" cy="123825"/>
              </a:xfrm>
              <a:custGeom>
                <a:avLst/>
                <a:gdLst>
                  <a:gd name="T0" fmla="*/ 33 w 33"/>
                  <a:gd name="T1" fmla="*/ 0 h 33"/>
                  <a:gd name="T2" fmla="*/ 0 w 33"/>
                  <a:gd name="T3" fmla="*/ 33 h 33"/>
                  <a:gd name="T4" fmla="*/ 0 w 33"/>
                  <a:gd name="T5" fmla="*/ 0 h 33"/>
                  <a:gd name="T6" fmla="*/ 33 w 33"/>
                  <a:gd name="T7" fmla="*/ 0 h 33"/>
                </a:gdLst>
                <a:ahLst/>
                <a:cxnLst>
                  <a:cxn ang="0">
                    <a:pos x="T0" y="T1"/>
                  </a:cxn>
                  <a:cxn ang="0">
                    <a:pos x="T2" y="T3"/>
                  </a:cxn>
                  <a:cxn ang="0">
                    <a:pos x="T4" y="T5"/>
                  </a:cxn>
                  <a:cxn ang="0">
                    <a:pos x="T6" y="T7"/>
                  </a:cxn>
                </a:cxnLst>
                <a:rect l="0" t="0" r="r" b="b"/>
                <a:pathLst>
                  <a:path w="33" h="33">
                    <a:moveTo>
                      <a:pt x="33" y="0"/>
                    </a:moveTo>
                    <a:cubicBezTo>
                      <a:pt x="33" y="18"/>
                      <a:pt x="18" y="33"/>
                      <a:pt x="0" y="33"/>
                    </a:cubicBezTo>
                    <a:cubicBezTo>
                      <a:pt x="0" y="0"/>
                      <a:pt x="0" y="0"/>
                      <a:pt x="0" y="0"/>
                    </a:cubicBezTo>
                    <a:lnTo>
                      <a:pt x="33" y="0"/>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114" name="Freeform 113"/>
              <p:cNvSpPr>
                <a:spLocks/>
              </p:cNvSpPr>
              <p:nvPr/>
            </p:nvSpPr>
            <p:spPr bwMode="auto">
              <a:xfrm>
                <a:off x="7352075" y="4460583"/>
                <a:ext cx="769938" cy="123825"/>
              </a:xfrm>
              <a:custGeom>
                <a:avLst/>
                <a:gdLst>
                  <a:gd name="T0" fmla="*/ 69 w 207"/>
                  <a:gd name="T1" fmla="*/ 0 h 33"/>
                  <a:gd name="T2" fmla="*/ 0 w 207"/>
                  <a:gd name="T3" fmla="*/ 33 h 33"/>
                  <a:gd name="T4" fmla="*/ 69 w 207"/>
                  <a:gd name="T5" fmla="*/ 33 h 33"/>
                  <a:gd name="T6" fmla="*/ 207 w 207"/>
                  <a:gd name="T7" fmla="*/ 33 h 33"/>
                  <a:gd name="T8" fmla="*/ 207 w 207"/>
                  <a:gd name="T9" fmla="*/ 0 h 33"/>
                  <a:gd name="T10" fmla="*/ 69 w 207"/>
                  <a:gd name="T11" fmla="*/ 0 h 33"/>
                </a:gdLst>
                <a:ahLst/>
                <a:cxnLst>
                  <a:cxn ang="0">
                    <a:pos x="T0" y="T1"/>
                  </a:cxn>
                  <a:cxn ang="0">
                    <a:pos x="T2" y="T3"/>
                  </a:cxn>
                  <a:cxn ang="0">
                    <a:pos x="T4" y="T5"/>
                  </a:cxn>
                  <a:cxn ang="0">
                    <a:pos x="T6" y="T7"/>
                  </a:cxn>
                  <a:cxn ang="0">
                    <a:pos x="T8" y="T9"/>
                  </a:cxn>
                  <a:cxn ang="0">
                    <a:pos x="T10" y="T11"/>
                  </a:cxn>
                </a:cxnLst>
                <a:rect l="0" t="0" r="r" b="b"/>
                <a:pathLst>
                  <a:path w="207" h="33">
                    <a:moveTo>
                      <a:pt x="69" y="0"/>
                    </a:moveTo>
                    <a:cubicBezTo>
                      <a:pt x="4" y="0"/>
                      <a:pt x="0" y="33"/>
                      <a:pt x="0" y="33"/>
                    </a:cubicBezTo>
                    <a:cubicBezTo>
                      <a:pt x="69" y="33"/>
                      <a:pt x="69" y="33"/>
                      <a:pt x="69" y="33"/>
                    </a:cubicBezTo>
                    <a:cubicBezTo>
                      <a:pt x="207" y="33"/>
                      <a:pt x="207" y="33"/>
                      <a:pt x="207" y="33"/>
                    </a:cubicBezTo>
                    <a:cubicBezTo>
                      <a:pt x="207" y="0"/>
                      <a:pt x="207" y="0"/>
                      <a:pt x="207" y="0"/>
                    </a:cubicBezTo>
                    <a:lnTo>
                      <a:pt x="69" y="0"/>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115" name="Freeform 114"/>
              <p:cNvSpPr>
                <a:spLocks/>
              </p:cNvSpPr>
              <p:nvPr/>
            </p:nvSpPr>
            <p:spPr bwMode="auto">
              <a:xfrm>
                <a:off x="7814038" y="3420770"/>
                <a:ext cx="119063" cy="41275"/>
              </a:xfrm>
              <a:custGeom>
                <a:avLst/>
                <a:gdLst>
                  <a:gd name="T0" fmla="*/ 14 w 75"/>
                  <a:gd name="T1" fmla="*/ 26 h 26"/>
                  <a:gd name="T2" fmla="*/ 75 w 75"/>
                  <a:gd name="T3" fmla="*/ 21 h 26"/>
                  <a:gd name="T4" fmla="*/ 75 w 75"/>
                  <a:gd name="T5" fmla="*/ 0 h 26"/>
                  <a:gd name="T6" fmla="*/ 0 w 75"/>
                  <a:gd name="T7" fmla="*/ 0 h 26"/>
                  <a:gd name="T8" fmla="*/ 14 w 75"/>
                  <a:gd name="T9" fmla="*/ 26 h 26"/>
                </a:gdLst>
                <a:ahLst/>
                <a:cxnLst>
                  <a:cxn ang="0">
                    <a:pos x="T0" y="T1"/>
                  </a:cxn>
                  <a:cxn ang="0">
                    <a:pos x="T2" y="T3"/>
                  </a:cxn>
                  <a:cxn ang="0">
                    <a:pos x="T4" y="T5"/>
                  </a:cxn>
                  <a:cxn ang="0">
                    <a:pos x="T6" y="T7"/>
                  </a:cxn>
                  <a:cxn ang="0">
                    <a:pos x="T8" y="T9"/>
                  </a:cxn>
                </a:cxnLst>
                <a:rect l="0" t="0" r="r" b="b"/>
                <a:pathLst>
                  <a:path w="75" h="26">
                    <a:moveTo>
                      <a:pt x="14" y="26"/>
                    </a:moveTo>
                    <a:lnTo>
                      <a:pt x="75" y="21"/>
                    </a:lnTo>
                    <a:lnTo>
                      <a:pt x="75" y="0"/>
                    </a:lnTo>
                    <a:lnTo>
                      <a:pt x="0" y="0"/>
                    </a:lnTo>
                    <a:lnTo>
                      <a:pt x="14" y="26"/>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116" name="Freeform 115"/>
              <p:cNvSpPr>
                <a:spLocks noEditPoints="1"/>
              </p:cNvSpPr>
              <p:nvPr/>
            </p:nvSpPr>
            <p:spPr bwMode="auto">
              <a:xfrm>
                <a:off x="7567975" y="3420770"/>
                <a:ext cx="268288" cy="88900"/>
              </a:xfrm>
              <a:custGeom>
                <a:avLst/>
                <a:gdLst>
                  <a:gd name="T0" fmla="*/ 66 w 72"/>
                  <a:gd name="T1" fmla="*/ 0 h 24"/>
                  <a:gd name="T2" fmla="*/ 48 w 72"/>
                  <a:gd name="T3" fmla="*/ 0 h 24"/>
                  <a:gd name="T4" fmla="*/ 42 w 72"/>
                  <a:gd name="T5" fmla="*/ 4 h 24"/>
                  <a:gd name="T6" fmla="*/ 30 w 72"/>
                  <a:gd name="T7" fmla="*/ 4 h 24"/>
                  <a:gd name="T8" fmla="*/ 24 w 72"/>
                  <a:gd name="T9" fmla="*/ 0 h 24"/>
                  <a:gd name="T10" fmla="*/ 6 w 72"/>
                  <a:gd name="T11" fmla="*/ 0 h 24"/>
                  <a:gd name="T12" fmla="*/ 0 w 72"/>
                  <a:gd name="T13" fmla="*/ 6 h 24"/>
                  <a:gd name="T14" fmla="*/ 0 w 72"/>
                  <a:gd name="T15" fmla="*/ 18 h 24"/>
                  <a:gd name="T16" fmla="*/ 6 w 72"/>
                  <a:gd name="T17" fmla="*/ 24 h 24"/>
                  <a:gd name="T18" fmla="*/ 23 w 72"/>
                  <a:gd name="T19" fmla="*/ 24 h 24"/>
                  <a:gd name="T20" fmla="*/ 29 w 72"/>
                  <a:gd name="T21" fmla="*/ 18 h 24"/>
                  <a:gd name="T22" fmla="*/ 30 w 72"/>
                  <a:gd name="T23" fmla="*/ 8 h 24"/>
                  <a:gd name="T24" fmla="*/ 42 w 72"/>
                  <a:gd name="T25" fmla="*/ 8 h 24"/>
                  <a:gd name="T26" fmla="*/ 43 w 72"/>
                  <a:gd name="T27" fmla="*/ 18 h 24"/>
                  <a:gd name="T28" fmla="*/ 49 w 72"/>
                  <a:gd name="T29" fmla="*/ 24 h 24"/>
                  <a:gd name="T30" fmla="*/ 66 w 72"/>
                  <a:gd name="T31" fmla="*/ 24 h 24"/>
                  <a:gd name="T32" fmla="*/ 72 w 72"/>
                  <a:gd name="T33" fmla="*/ 18 h 24"/>
                  <a:gd name="T34" fmla="*/ 72 w 72"/>
                  <a:gd name="T35" fmla="*/ 6 h 24"/>
                  <a:gd name="T36" fmla="*/ 66 w 72"/>
                  <a:gd name="T37" fmla="*/ 0 h 24"/>
                  <a:gd name="T38" fmla="*/ 26 w 72"/>
                  <a:gd name="T39" fmla="*/ 18 h 24"/>
                  <a:gd name="T40" fmla="*/ 26 w 72"/>
                  <a:gd name="T41" fmla="*/ 18 h 24"/>
                  <a:gd name="T42" fmla="*/ 23 w 72"/>
                  <a:gd name="T43" fmla="*/ 21 h 24"/>
                  <a:gd name="T44" fmla="*/ 6 w 72"/>
                  <a:gd name="T45" fmla="*/ 21 h 24"/>
                  <a:gd name="T46" fmla="*/ 3 w 72"/>
                  <a:gd name="T47" fmla="*/ 18 h 24"/>
                  <a:gd name="T48" fmla="*/ 3 w 72"/>
                  <a:gd name="T49" fmla="*/ 6 h 24"/>
                  <a:gd name="T50" fmla="*/ 6 w 72"/>
                  <a:gd name="T51" fmla="*/ 3 h 24"/>
                  <a:gd name="T52" fmla="*/ 24 w 72"/>
                  <a:gd name="T53" fmla="*/ 3 h 24"/>
                  <a:gd name="T54" fmla="*/ 27 w 72"/>
                  <a:gd name="T55" fmla="*/ 6 h 24"/>
                  <a:gd name="T56" fmla="*/ 26 w 72"/>
                  <a:gd name="T57" fmla="*/ 18 h 24"/>
                  <a:gd name="T58" fmla="*/ 69 w 72"/>
                  <a:gd name="T59" fmla="*/ 18 h 24"/>
                  <a:gd name="T60" fmla="*/ 66 w 72"/>
                  <a:gd name="T61" fmla="*/ 21 h 24"/>
                  <a:gd name="T62" fmla="*/ 49 w 72"/>
                  <a:gd name="T63" fmla="*/ 21 h 24"/>
                  <a:gd name="T64" fmla="*/ 46 w 72"/>
                  <a:gd name="T65" fmla="*/ 18 h 24"/>
                  <a:gd name="T66" fmla="*/ 45 w 72"/>
                  <a:gd name="T67" fmla="*/ 6 h 24"/>
                  <a:gd name="T68" fmla="*/ 48 w 72"/>
                  <a:gd name="T69" fmla="*/ 3 h 24"/>
                  <a:gd name="T70" fmla="*/ 66 w 72"/>
                  <a:gd name="T71" fmla="*/ 3 h 24"/>
                  <a:gd name="T72" fmla="*/ 69 w 72"/>
                  <a:gd name="T73" fmla="*/ 6 h 24"/>
                  <a:gd name="T74" fmla="*/ 69 w 72"/>
                  <a:gd name="T75" fmla="*/ 18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2" h="24">
                    <a:moveTo>
                      <a:pt x="66" y="0"/>
                    </a:moveTo>
                    <a:cubicBezTo>
                      <a:pt x="48" y="0"/>
                      <a:pt x="48" y="0"/>
                      <a:pt x="48" y="0"/>
                    </a:cubicBezTo>
                    <a:cubicBezTo>
                      <a:pt x="45" y="0"/>
                      <a:pt x="43" y="2"/>
                      <a:pt x="42" y="4"/>
                    </a:cubicBezTo>
                    <a:cubicBezTo>
                      <a:pt x="30" y="4"/>
                      <a:pt x="30" y="4"/>
                      <a:pt x="30" y="4"/>
                    </a:cubicBezTo>
                    <a:cubicBezTo>
                      <a:pt x="29" y="2"/>
                      <a:pt x="27" y="0"/>
                      <a:pt x="24" y="0"/>
                    </a:cubicBezTo>
                    <a:cubicBezTo>
                      <a:pt x="6" y="0"/>
                      <a:pt x="6" y="0"/>
                      <a:pt x="6" y="0"/>
                    </a:cubicBezTo>
                    <a:cubicBezTo>
                      <a:pt x="3" y="0"/>
                      <a:pt x="0" y="3"/>
                      <a:pt x="0" y="6"/>
                    </a:cubicBezTo>
                    <a:cubicBezTo>
                      <a:pt x="0" y="18"/>
                      <a:pt x="0" y="18"/>
                      <a:pt x="0" y="18"/>
                    </a:cubicBezTo>
                    <a:cubicBezTo>
                      <a:pt x="0" y="21"/>
                      <a:pt x="3" y="24"/>
                      <a:pt x="6" y="24"/>
                    </a:cubicBezTo>
                    <a:cubicBezTo>
                      <a:pt x="23" y="24"/>
                      <a:pt x="23" y="24"/>
                      <a:pt x="23" y="24"/>
                    </a:cubicBezTo>
                    <a:cubicBezTo>
                      <a:pt x="27" y="24"/>
                      <a:pt x="29" y="21"/>
                      <a:pt x="29" y="18"/>
                    </a:cubicBezTo>
                    <a:cubicBezTo>
                      <a:pt x="30" y="8"/>
                      <a:pt x="30" y="8"/>
                      <a:pt x="30" y="8"/>
                    </a:cubicBezTo>
                    <a:cubicBezTo>
                      <a:pt x="42" y="8"/>
                      <a:pt x="42" y="8"/>
                      <a:pt x="42" y="8"/>
                    </a:cubicBezTo>
                    <a:cubicBezTo>
                      <a:pt x="43" y="18"/>
                      <a:pt x="43" y="18"/>
                      <a:pt x="43" y="18"/>
                    </a:cubicBezTo>
                    <a:cubicBezTo>
                      <a:pt x="43" y="21"/>
                      <a:pt x="46" y="24"/>
                      <a:pt x="49" y="24"/>
                    </a:cubicBezTo>
                    <a:cubicBezTo>
                      <a:pt x="66" y="24"/>
                      <a:pt x="66" y="24"/>
                      <a:pt x="66" y="24"/>
                    </a:cubicBezTo>
                    <a:cubicBezTo>
                      <a:pt x="69" y="24"/>
                      <a:pt x="72" y="21"/>
                      <a:pt x="72" y="18"/>
                    </a:cubicBezTo>
                    <a:cubicBezTo>
                      <a:pt x="72" y="6"/>
                      <a:pt x="72" y="6"/>
                      <a:pt x="72" y="6"/>
                    </a:cubicBezTo>
                    <a:cubicBezTo>
                      <a:pt x="72" y="3"/>
                      <a:pt x="69" y="0"/>
                      <a:pt x="66" y="0"/>
                    </a:cubicBezTo>
                    <a:close/>
                    <a:moveTo>
                      <a:pt x="26" y="18"/>
                    </a:moveTo>
                    <a:cubicBezTo>
                      <a:pt x="26" y="18"/>
                      <a:pt x="26" y="18"/>
                      <a:pt x="26" y="18"/>
                    </a:cubicBezTo>
                    <a:cubicBezTo>
                      <a:pt x="26" y="19"/>
                      <a:pt x="25" y="21"/>
                      <a:pt x="23" y="21"/>
                    </a:cubicBezTo>
                    <a:cubicBezTo>
                      <a:pt x="6" y="21"/>
                      <a:pt x="6" y="21"/>
                      <a:pt x="6" y="21"/>
                    </a:cubicBezTo>
                    <a:cubicBezTo>
                      <a:pt x="4" y="21"/>
                      <a:pt x="3" y="19"/>
                      <a:pt x="3" y="18"/>
                    </a:cubicBezTo>
                    <a:cubicBezTo>
                      <a:pt x="3" y="6"/>
                      <a:pt x="3" y="6"/>
                      <a:pt x="3" y="6"/>
                    </a:cubicBezTo>
                    <a:cubicBezTo>
                      <a:pt x="3" y="5"/>
                      <a:pt x="4" y="3"/>
                      <a:pt x="6" y="3"/>
                    </a:cubicBezTo>
                    <a:cubicBezTo>
                      <a:pt x="24" y="3"/>
                      <a:pt x="24" y="3"/>
                      <a:pt x="24" y="3"/>
                    </a:cubicBezTo>
                    <a:cubicBezTo>
                      <a:pt x="26" y="3"/>
                      <a:pt x="27" y="5"/>
                      <a:pt x="27" y="6"/>
                    </a:cubicBezTo>
                    <a:lnTo>
                      <a:pt x="26" y="18"/>
                    </a:lnTo>
                    <a:close/>
                    <a:moveTo>
                      <a:pt x="69" y="18"/>
                    </a:moveTo>
                    <a:cubicBezTo>
                      <a:pt x="69" y="19"/>
                      <a:pt x="68" y="21"/>
                      <a:pt x="66" y="21"/>
                    </a:cubicBezTo>
                    <a:cubicBezTo>
                      <a:pt x="49" y="21"/>
                      <a:pt x="49" y="21"/>
                      <a:pt x="49" y="21"/>
                    </a:cubicBezTo>
                    <a:cubicBezTo>
                      <a:pt x="48" y="21"/>
                      <a:pt x="46" y="19"/>
                      <a:pt x="46" y="18"/>
                    </a:cubicBezTo>
                    <a:cubicBezTo>
                      <a:pt x="45" y="6"/>
                      <a:pt x="45" y="6"/>
                      <a:pt x="45" y="6"/>
                    </a:cubicBezTo>
                    <a:cubicBezTo>
                      <a:pt x="45" y="5"/>
                      <a:pt x="46" y="3"/>
                      <a:pt x="48" y="3"/>
                    </a:cubicBezTo>
                    <a:cubicBezTo>
                      <a:pt x="66" y="3"/>
                      <a:pt x="66" y="3"/>
                      <a:pt x="66" y="3"/>
                    </a:cubicBezTo>
                    <a:cubicBezTo>
                      <a:pt x="68" y="3"/>
                      <a:pt x="69" y="5"/>
                      <a:pt x="69" y="6"/>
                    </a:cubicBezTo>
                    <a:lnTo>
                      <a:pt x="69" y="1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117" name="Freeform 116"/>
              <p:cNvSpPr>
                <a:spLocks/>
              </p:cNvSpPr>
              <p:nvPr/>
            </p:nvSpPr>
            <p:spPr bwMode="auto">
              <a:xfrm>
                <a:off x="5599475" y="4684420"/>
                <a:ext cx="196850" cy="152400"/>
              </a:xfrm>
              <a:custGeom>
                <a:avLst/>
                <a:gdLst>
                  <a:gd name="T0" fmla="*/ 124 w 124"/>
                  <a:gd name="T1" fmla="*/ 96 h 96"/>
                  <a:gd name="T2" fmla="*/ 0 w 124"/>
                  <a:gd name="T3" fmla="*/ 0 h 96"/>
                  <a:gd name="T4" fmla="*/ 124 w 124"/>
                  <a:gd name="T5" fmla="*/ 0 h 96"/>
                  <a:gd name="T6" fmla="*/ 124 w 124"/>
                  <a:gd name="T7" fmla="*/ 96 h 96"/>
                </a:gdLst>
                <a:ahLst/>
                <a:cxnLst>
                  <a:cxn ang="0">
                    <a:pos x="T0" y="T1"/>
                  </a:cxn>
                  <a:cxn ang="0">
                    <a:pos x="T2" y="T3"/>
                  </a:cxn>
                  <a:cxn ang="0">
                    <a:pos x="T4" y="T5"/>
                  </a:cxn>
                  <a:cxn ang="0">
                    <a:pos x="T6" y="T7"/>
                  </a:cxn>
                </a:cxnLst>
                <a:rect l="0" t="0" r="r" b="b"/>
                <a:pathLst>
                  <a:path w="124" h="96">
                    <a:moveTo>
                      <a:pt x="124" y="96"/>
                    </a:moveTo>
                    <a:lnTo>
                      <a:pt x="0" y="0"/>
                    </a:lnTo>
                    <a:lnTo>
                      <a:pt x="124" y="0"/>
                    </a:lnTo>
                    <a:lnTo>
                      <a:pt x="124" y="96"/>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118" name="Rectangle 117"/>
              <p:cNvSpPr>
                <a:spLocks noChangeArrowheads="1"/>
              </p:cNvSpPr>
              <p:nvPr/>
            </p:nvSpPr>
            <p:spPr bwMode="auto">
              <a:xfrm>
                <a:off x="8755425" y="4684420"/>
                <a:ext cx="166688" cy="96202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119" name="Freeform 118"/>
              <p:cNvSpPr>
                <a:spLocks/>
              </p:cNvSpPr>
              <p:nvPr/>
            </p:nvSpPr>
            <p:spPr bwMode="auto">
              <a:xfrm>
                <a:off x="8755425" y="4684420"/>
                <a:ext cx="166688" cy="130175"/>
              </a:xfrm>
              <a:custGeom>
                <a:avLst/>
                <a:gdLst>
                  <a:gd name="T0" fmla="*/ 105 w 105"/>
                  <a:gd name="T1" fmla="*/ 82 h 82"/>
                  <a:gd name="T2" fmla="*/ 0 w 105"/>
                  <a:gd name="T3" fmla="*/ 0 h 82"/>
                  <a:gd name="T4" fmla="*/ 105 w 105"/>
                  <a:gd name="T5" fmla="*/ 0 h 82"/>
                  <a:gd name="T6" fmla="*/ 105 w 105"/>
                  <a:gd name="T7" fmla="*/ 82 h 82"/>
                </a:gdLst>
                <a:ahLst/>
                <a:cxnLst>
                  <a:cxn ang="0">
                    <a:pos x="T0" y="T1"/>
                  </a:cxn>
                  <a:cxn ang="0">
                    <a:pos x="T2" y="T3"/>
                  </a:cxn>
                  <a:cxn ang="0">
                    <a:pos x="T4" y="T5"/>
                  </a:cxn>
                  <a:cxn ang="0">
                    <a:pos x="T6" y="T7"/>
                  </a:cxn>
                </a:cxnLst>
                <a:rect l="0" t="0" r="r" b="b"/>
                <a:pathLst>
                  <a:path w="105" h="82">
                    <a:moveTo>
                      <a:pt x="105" y="82"/>
                    </a:moveTo>
                    <a:lnTo>
                      <a:pt x="0" y="0"/>
                    </a:lnTo>
                    <a:lnTo>
                      <a:pt x="105" y="0"/>
                    </a:lnTo>
                    <a:lnTo>
                      <a:pt x="105" y="82"/>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120" name="Rectangle 119"/>
              <p:cNvSpPr>
                <a:spLocks noChangeArrowheads="1"/>
              </p:cNvSpPr>
              <p:nvPr/>
            </p:nvSpPr>
            <p:spPr bwMode="auto">
              <a:xfrm>
                <a:off x="8326800" y="4684420"/>
                <a:ext cx="196850" cy="96202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121" name="Freeform 120"/>
              <p:cNvSpPr>
                <a:spLocks/>
              </p:cNvSpPr>
              <p:nvPr/>
            </p:nvSpPr>
            <p:spPr bwMode="auto">
              <a:xfrm>
                <a:off x="8326800" y="4684420"/>
                <a:ext cx="196850" cy="152400"/>
              </a:xfrm>
              <a:custGeom>
                <a:avLst/>
                <a:gdLst>
                  <a:gd name="T0" fmla="*/ 124 w 124"/>
                  <a:gd name="T1" fmla="*/ 96 h 96"/>
                  <a:gd name="T2" fmla="*/ 0 w 124"/>
                  <a:gd name="T3" fmla="*/ 0 h 96"/>
                  <a:gd name="T4" fmla="*/ 124 w 124"/>
                  <a:gd name="T5" fmla="*/ 0 h 96"/>
                  <a:gd name="T6" fmla="*/ 124 w 124"/>
                  <a:gd name="T7" fmla="*/ 96 h 96"/>
                </a:gdLst>
                <a:ahLst/>
                <a:cxnLst>
                  <a:cxn ang="0">
                    <a:pos x="T0" y="T1"/>
                  </a:cxn>
                  <a:cxn ang="0">
                    <a:pos x="T2" y="T3"/>
                  </a:cxn>
                  <a:cxn ang="0">
                    <a:pos x="T4" y="T5"/>
                  </a:cxn>
                  <a:cxn ang="0">
                    <a:pos x="T6" y="T7"/>
                  </a:cxn>
                </a:cxnLst>
                <a:rect l="0" t="0" r="r" b="b"/>
                <a:pathLst>
                  <a:path w="124" h="96">
                    <a:moveTo>
                      <a:pt x="124" y="96"/>
                    </a:moveTo>
                    <a:lnTo>
                      <a:pt x="0" y="0"/>
                    </a:lnTo>
                    <a:lnTo>
                      <a:pt x="124" y="0"/>
                    </a:lnTo>
                    <a:lnTo>
                      <a:pt x="124" y="96"/>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122" name="Rectangle 121"/>
              <p:cNvSpPr>
                <a:spLocks noChangeArrowheads="1"/>
              </p:cNvSpPr>
              <p:nvPr/>
            </p:nvSpPr>
            <p:spPr bwMode="auto">
              <a:xfrm>
                <a:off x="5320075" y="4571708"/>
                <a:ext cx="3878263" cy="115887"/>
              </a:xfrm>
              <a:prstGeom prst="rect">
                <a:avLst/>
              </a:prstGeom>
              <a:solidFill>
                <a:srgbClr val="73737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123" name="Rectangle 122"/>
              <p:cNvSpPr>
                <a:spLocks noChangeArrowheads="1"/>
              </p:cNvSpPr>
              <p:nvPr/>
            </p:nvSpPr>
            <p:spPr bwMode="auto">
              <a:xfrm>
                <a:off x="8193450" y="4571708"/>
                <a:ext cx="1004888" cy="115887"/>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124" name="Freeform 123"/>
              <p:cNvSpPr>
                <a:spLocks/>
              </p:cNvSpPr>
              <p:nvPr/>
            </p:nvSpPr>
            <p:spPr bwMode="auto">
              <a:xfrm>
                <a:off x="5923325" y="3819233"/>
                <a:ext cx="1171575" cy="633412"/>
              </a:xfrm>
              <a:custGeom>
                <a:avLst/>
                <a:gdLst>
                  <a:gd name="T0" fmla="*/ 640 w 738"/>
                  <a:gd name="T1" fmla="*/ 0 h 399"/>
                  <a:gd name="T2" fmla="*/ 0 w 738"/>
                  <a:gd name="T3" fmla="*/ 0 h 399"/>
                  <a:gd name="T4" fmla="*/ 98 w 738"/>
                  <a:gd name="T5" fmla="*/ 399 h 399"/>
                  <a:gd name="T6" fmla="*/ 738 w 738"/>
                  <a:gd name="T7" fmla="*/ 399 h 399"/>
                  <a:gd name="T8" fmla="*/ 640 w 738"/>
                  <a:gd name="T9" fmla="*/ 0 h 399"/>
                </a:gdLst>
                <a:ahLst/>
                <a:cxnLst>
                  <a:cxn ang="0">
                    <a:pos x="T0" y="T1"/>
                  </a:cxn>
                  <a:cxn ang="0">
                    <a:pos x="T2" y="T3"/>
                  </a:cxn>
                  <a:cxn ang="0">
                    <a:pos x="T4" y="T5"/>
                  </a:cxn>
                  <a:cxn ang="0">
                    <a:pos x="T6" y="T7"/>
                  </a:cxn>
                  <a:cxn ang="0">
                    <a:pos x="T8" y="T9"/>
                  </a:cxn>
                </a:cxnLst>
                <a:rect l="0" t="0" r="r" b="b"/>
                <a:pathLst>
                  <a:path w="738" h="399">
                    <a:moveTo>
                      <a:pt x="640" y="0"/>
                    </a:moveTo>
                    <a:lnTo>
                      <a:pt x="0" y="0"/>
                    </a:lnTo>
                    <a:lnTo>
                      <a:pt x="98" y="399"/>
                    </a:lnTo>
                    <a:lnTo>
                      <a:pt x="738" y="399"/>
                    </a:lnTo>
                    <a:lnTo>
                      <a:pt x="64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125" name="Rectangle 124"/>
              <p:cNvSpPr>
                <a:spLocks noChangeArrowheads="1"/>
              </p:cNvSpPr>
              <p:nvPr/>
            </p:nvSpPr>
            <p:spPr bwMode="auto">
              <a:xfrm>
                <a:off x="6078900" y="4452645"/>
                <a:ext cx="1016000" cy="119062"/>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126" name="Freeform 125"/>
              <p:cNvSpPr>
                <a:spLocks/>
              </p:cNvSpPr>
              <p:nvPr/>
            </p:nvSpPr>
            <p:spPr bwMode="auto">
              <a:xfrm>
                <a:off x="7094900" y="4452645"/>
                <a:ext cx="298450" cy="119062"/>
              </a:xfrm>
              <a:custGeom>
                <a:avLst/>
                <a:gdLst>
                  <a:gd name="T0" fmla="*/ 0 w 188"/>
                  <a:gd name="T1" fmla="*/ 75 h 75"/>
                  <a:gd name="T2" fmla="*/ 188 w 188"/>
                  <a:gd name="T3" fmla="*/ 75 h 75"/>
                  <a:gd name="T4" fmla="*/ 188 w 188"/>
                  <a:gd name="T5" fmla="*/ 40 h 75"/>
                  <a:gd name="T6" fmla="*/ 0 w 188"/>
                  <a:gd name="T7" fmla="*/ 0 h 75"/>
                  <a:gd name="T8" fmla="*/ 0 w 188"/>
                  <a:gd name="T9" fmla="*/ 75 h 75"/>
                </a:gdLst>
                <a:ahLst/>
                <a:cxnLst>
                  <a:cxn ang="0">
                    <a:pos x="T0" y="T1"/>
                  </a:cxn>
                  <a:cxn ang="0">
                    <a:pos x="T2" y="T3"/>
                  </a:cxn>
                  <a:cxn ang="0">
                    <a:pos x="T4" y="T5"/>
                  </a:cxn>
                  <a:cxn ang="0">
                    <a:pos x="T6" y="T7"/>
                  </a:cxn>
                  <a:cxn ang="0">
                    <a:pos x="T8" y="T9"/>
                  </a:cxn>
                </a:cxnLst>
                <a:rect l="0" t="0" r="r" b="b"/>
                <a:pathLst>
                  <a:path w="188" h="75">
                    <a:moveTo>
                      <a:pt x="0" y="75"/>
                    </a:moveTo>
                    <a:lnTo>
                      <a:pt x="188" y="75"/>
                    </a:lnTo>
                    <a:lnTo>
                      <a:pt x="188" y="40"/>
                    </a:lnTo>
                    <a:lnTo>
                      <a:pt x="0" y="0"/>
                    </a:lnTo>
                    <a:lnTo>
                      <a:pt x="0" y="7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127" name="Freeform 126"/>
              <p:cNvSpPr>
                <a:spLocks/>
              </p:cNvSpPr>
              <p:nvPr/>
            </p:nvSpPr>
            <p:spPr bwMode="auto">
              <a:xfrm>
                <a:off x="7642588" y="3462045"/>
                <a:ext cx="58738" cy="122237"/>
              </a:xfrm>
              <a:custGeom>
                <a:avLst/>
                <a:gdLst>
                  <a:gd name="T0" fmla="*/ 37 w 37"/>
                  <a:gd name="T1" fmla="*/ 77 h 77"/>
                  <a:gd name="T2" fmla="*/ 0 w 37"/>
                  <a:gd name="T3" fmla="*/ 77 h 77"/>
                  <a:gd name="T4" fmla="*/ 37 w 37"/>
                  <a:gd name="T5" fmla="*/ 0 h 77"/>
                  <a:gd name="T6" fmla="*/ 37 w 37"/>
                  <a:gd name="T7" fmla="*/ 77 h 77"/>
                </a:gdLst>
                <a:ahLst/>
                <a:cxnLst>
                  <a:cxn ang="0">
                    <a:pos x="T0" y="T1"/>
                  </a:cxn>
                  <a:cxn ang="0">
                    <a:pos x="T2" y="T3"/>
                  </a:cxn>
                  <a:cxn ang="0">
                    <a:pos x="T4" y="T5"/>
                  </a:cxn>
                  <a:cxn ang="0">
                    <a:pos x="T6" y="T7"/>
                  </a:cxn>
                </a:cxnLst>
                <a:rect l="0" t="0" r="r" b="b"/>
                <a:pathLst>
                  <a:path w="37" h="77">
                    <a:moveTo>
                      <a:pt x="37" y="77"/>
                    </a:moveTo>
                    <a:lnTo>
                      <a:pt x="0" y="77"/>
                    </a:lnTo>
                    <a:lnTo>
                      <a:pt x="37" y="0"/>
                    </a:lnTo>
                    <a:lnTo>
                      <a:pt x="37" y="77"/>
                    </a:lnTo>
                    <a:close/>
                  </a:path>
                </a:pathLst>
              </a:custGeom>
              <a:solidFill>
                <a:srgbClr val="92745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Segoe UI"/>
                  <a:ea typeface="+mn-ea"/>
                  <a:cs typeface="+mn-cs"/>
                </a:endParaRPr>
              </a:p>
            </p:txBody>
          </p:sp>
        </p:grpSp>
        <p:sp>
          <p:nvSpPr>
            <p:cNvPr id="47" name="Oval 26"/>
            <p:cNvSpPr/>
            <p:nvPr/>
          </p:nvSpPr>
          <p:spPr>
            <a:xfrm>
              <a:off x="3283000" y="3026839"/>
              <a:ext cx="525961" cy="525962"/>
            </a:xfrm>
            <a:custGeom>
              <a:avLst/>
              <a:gdLst/>
              <a:ahLst/>
              <a:cxnLst/>
              <a:rect l="l" t="t" r="r" b="b"/>
              <a:pathLst>
                <a:path w="1104900" h="1104900">
                  <a:moveTo>
                    <a:pt x="321468" y="800885"/>
                  </a:moveTo>
                  <a:lnTo>
                    <a:pt x="778668" y="800885"/>
                  </a:lnTo>
                  <a:lnTo>
                    <a:pt x="778668" y="828317"/>
                  </a:lnTo>
                  <a:lnTo>
                    <a:pt x="321468" y="828317"/>
                  </a:lnTo>
                  <a:close/>
                  <a:moveTo>
                    <a:pt x="321468" y="730877"/>
                  </a:moveTo>
                  <a:lnTo>
                    <a:pt x="778668" y="730877"/>
                  </a:lnTo>
                  <a:lnTo>
                    <a:pt x="778668" y="758309"/>
                  </a:lnTo>
                  <a:lnTo>
                    <a:pt x="321468" y="758309"/>
                  </a:lnTo>
                  <a:close/>
                  <a:moveTo>
                    <a:pt x="321468" y="660867"/>
                  </a:moveTo>
                  <a:lnTo>
                    <a:pt x="778668" y="660867"/>
                  </a:lnTo>
                  <a:lnTo>
                    <a:pt x="778668" y="688299"/>
                  </a:lnTo>
                  <a:lnTo>
                    <a:pt x="321468" y="688299"/>
                  </a:lnTo>
                  <a:close/>
                  <a:moveTo>
                    <a:pt x="321468" y="590857"/>
                  </a:moveTo>
                  <a:lnTo>
                    <a:pt x="778668" y="590857"/>
                  </a:lnTo>
                  <a:lnTo>
                    <a:pt x="778668" y="618289"/>
                  </a:lnTo>
                  <a:lnTo>
                    <a:pt x="321468" y="618289"/>
                  </a:lnTo>
                  <a:close/>
                  <a:moveTo>
                    <a:pt x="321468" y="520847"/>
                  </a:moveTo>
                  <a:lnTo>
                    <a:pt x="778668" y="520847"/>
                  </a:lnTo>
                  <a:lnTo>
                    <a:pt x="778668" y="548279"/>
                  </a:lnTo>
                  <a:lnTo>
                    <a:pt x="321468" y="548279"/>
                  </a:lnTo>
                  <a:close/>
                  <a:moveTo>
                    <a:pt x="321468" y="450837"/>
                  </a:moveTo>
                  <a:lnTo>
                    <a:pt x="778668" y="450837"/>
                  </a:lnTo>
                  <a:lnTo>
                    <a:pt x="778668" y="478269"/>
                  </a:lnTo>
                  <a:lnTo>
                    <a:pt x="321468" y="478269"/>
                  </a:lnTo>
                  <a:close/>
                  <a:moveTo>
                    <a:pt x="321468" y="341299"/>
                  </a:moveTo>
                  <a:lnTo>
                    <a:pt x="595788" y="341299"/>
                  </a:lnTo>
                  <a:lnTo>
                    <a:pt x="595788" y="377875"/>
                  </a:lnTo>
                  <a:lnTo>
                    <a:pt x="321468" y="377875"/>
                  </a:lnTo>
                  <a:close/>
                  <a:moveTo>
                    <a:pt x="630238" y="200819"/>
                  </a:moveTo>
                  <a:lnTo>
                    <a:pt x="820738" y="391319"/>
                  </a:lnTo>
                  <a:lnTo>
                    <a:pt x="670343" y="388813"/>
                  </a:lnTo>
                  <a:cubicBezTo>
                    <a:pt x="654594" y="385680"/>
                    <a:pt x="629319" y="370640"/>
                    <a:pt x="630236" y="343695"/>
                  </a:cubicBezTo>
                  <a:cubicBezTo>
                    <a:pt x="630236" y="296069"/>
                    <a:pt x="630238" y="248445"/>
                    <a:pt x="630238" y="200819"/>
                  </a:cubicBezTo>
                  <a:close/>
                  <a:moveTo>
                    <a:pt x="688180" y="182561"/>
                  </a:moveTo>
                  <a:lnTo>
                    <a:pt x="868365" y="362746"/>
                  </a:lnTo>
                  <a:lnTo>
                    <a:pt x="868365" y="892739"/>
                  </a:lnTo>
                  <a:cubicBezTo>
                    <a:pt x="868365" y="908759"/>
                    <a:pt x="861002" y="923059"/>
                    <a:pt x="849006" y="931862"/>
                  </a:cubicBezTo>
                  <a:lnTo>
                    <a:pt x="871028" y="931862"/>
                  </a:lnTo>
                  <a:cubicBezTo>
                    <a:pt x="895861" y="931862"/>
                    <a:pt x="915991" y="910205"/>
                    <a:pt x="915991" y="883489"/>
                  </a:cubicBezTo>
                  <a:lnTo>
                    <a:pt x="915991" y="351375"/>
                  </a:lnTo>
                  <a:lnTo>
                    <a:pt x="749351" y="182561"/>
                  </a:lnTo>
                  <a:close/>
                  <a:moveTo>
                    <a:pt x="301981" y="156243"/>
                  </a:moveTo>
                  <a:cubicBezTo>
                    <a:pt x="273728" y="156243"/>
                    <a:pt x="250825" y="179146"/>
                    <a:pt x="250825" y="207399"/>
                  </a:cubicBezTo>
                  <a:lnTo>
                    <a:pt x="250825" y="897501"/>
                  </a:lnTo>
                  <a:cubicBezTo>
                    <a:pt x="250825" y="925754"/>
                    <a:pt x="273728" y="948657"/>
                    <a:pt x="301981" y="948657"/>
                  </a:cubicBezTo>
                  <a:lnTo>
                    <a:pt x="802919" y="948657"/>
                  </a:lnTo>
                  <a:cubicBezTo>
                    <a:pt x="831172" y="948657"/>
                    <a:pt x="854075" y="925754"/>
                    <a:pt x="854075" y="897501"/>
                  </a:cubicBezTo>
                  <a:lnTo>
                    <a:pt x="854075" y="367508"/>
                  </a:lnTo>
                  <a:lnTo>
                    <a:pt x="642810" y="156243"/>
                  </a:lnTo>
                  <a:close/>
                  <a:moveTo>
                    <a:pt x="552450" y="0"/>
                  </a:moveTo>
                  <a:cubicBezTo>
                    <a:pt x="857560" y="0"/>
                    <a:pt x="1104900" y="247340"/>
                    <a:pt x="1104900" y="552450"/>
                  </a:cubicBezTo>
                  <a:cubicBezTo>
                    <a:pt x="1104900" y="857560"/>
                    <a:pt x="857560" y="1104900"/>
                    <a:pt x="552450" y="1104900"/>
                  </a:cubicBezTo>
                  <a:cubicBezTo>
                    <a:pt x="247340" y="1104900"/>
                    <a:pt x="0" y="857560"/>
                    <a:pt x="0" y="552450"/>
                  </a:cubicBezTo>
                  <a:cubicBezTo>
                    <a:pt x="0" y="247340"/>
                    <a:pt x="247340" y="0"/>
                    <a:pt x="552450" y="0"/>
                  </a:cubicBezTo>
                  <a:close/>
                </a:path>
              </a:pathLst>
            </a:custGeom>
            <a:solidFill>
              <a:srgbClr val="FF8C00"/>
            </a:solidFill>
            <a:ln w="10795" cap="flat" cmpd="sng" algn="ctr">
              <a:noFill/>
              <a:prstDash val="solid"/>
            </a:ln>
            <a:effectLst/>
          </p:spPr>
          <p:txBody>
            <a:bodyPr rtlCol="0" anchor="ct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Segoe UI"/>
                <a:ea typeface="+mn-ea"/>
                <a:cs typeface="+mn-cs"/>
              </a:endParaRPr>
            </a:p>
          </p:txBody>
        </p:sp>
        <p:sp>
          <p:nvSpPr>
            <p:cNvPr id="51" name="Donut 50"/>
            <p:cNvSpPr/>
            <p:nvPr/>
          </p:nvSpPr>
          <p:spPr>
            <a:xfrm>
              <a:off x="2044303" y="2452914"/>
              <a:ext cx="573924" cy="573925"/>
            </a:xfrm>
            <a:prstGeom prst="donut">
              <a:avLst>
                <a:gd name="adj" fmla="val 6628"/>
              </a:avLst>
            </a:prstGeom>
            <a:solidFill>
              <a:srgbClr val="00B0F0"/>
            </a:solidFill>
            <a:ln w="10795" cap="flat" cmpd="sng" algn="ctr">
              <a:noFill/>
              <a:prstDash val="solid"/>
            </a:ln>
            <a:effectLst/>
          </p:spPr>
          <p:txBody>
            <a:bodyPr wrap="square" rtlCol="0" anchor="ctr">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FFFFFF"/>
                </a:solidFill>
                <a:effectLst/>
                <a:uLnTx/>
                <a:uFillTx/>
                <a:latin typeface="Segoe UI"/>
                <a:ea typeface="+mn-ea"/>
                <a:cs typeface="+mn-cs"/>
              </a:endParaRPr>
            </a:p>
          </p:txBody>
        </p:sp>
        <p:grpSp>
          <p:nvGrpSpPr>
            <p:cNvPr id="52" name="Group 51"/>
            <p:cNvGrpSpPr/>
            <p:nvPr/>
          </p:nvGrpSpPr>
          <p:grpSpPr>
            <a:xfrm>
              <a:off x="2166481" y="2558340"/>
              <a:ext cx="344538" cy="400350"/>
              <a:chOff x="3553230" y="570730"/>
              <a:chExt cx="4338290" cy="5041022"/>
            </a:xfrm>
            <a:solidFill>
              <a:srgbClr val="00B0F0"/>
            </a:solidFill>
          </p:grpSpPr>
          <p:sp>
            <p:nvSpPr>
              <p:cNvPr id="53" name="Donut 15"/>
              <p:cNvSpPr/>
              <p:nvPr/>
            </p:nvSpPr>
            <p:spPr>
              <a:xfrm>
                <a:off x="3956364" y="3616445"/>
                <a:ext cx="1146150" cy="1065703"/>
              </a:xfrm>
              <a:custGeom>
                <a:avLst/>
                <a:gdLst/>
                <a:ahLst/>
                <a:cxnLst/>
                <a:rect l="l" t="t" r="r" b="b"/>
                <a:pathLst>
                  <a:path w="1146150" h="1065703">
                    <a:moveTo>
                      <a:pt x="567201" y="212003"/>
                    </a:moveTo>
                    <a:cubicBezTo>
                      <a:pt x="389110" y="212003"/>
                      <a:pt x="244738" y="356453"/>
                      <a:pt x="244738" y="534640"/>
                    </a:cubicBezTo>
                    <a:cubicBezTo>
                      <a:pt x="244738" y="712827"/>
                      <a:pt x="389110" y="857277"/>
                      <a:pt x="567201" y="857277"/>
                    </a:cubicBezTo>
                    <a:cubicBezTo>
                      <a:pt x="745292" y="857277"/>
                      <a:pt x="889664" y="712827"/>
                      <a:pt x="889664" y="534640"/>
                    </a:cubicBezTo>
                    <a:cubicBezTo>
                      <a:pt x="889664" y="356453"/>
                      <a:pt x="745292" y="212003"/>
                      <a:pt x="567201" y="212003"/>
                    </a:cubicBezTo>
                    <a:close/>
                    <a:moveTo>
                      <a:pt x="750937" y="1965"/>
                    </a:moveTo>
                    <a:cubicBezTo>
                      <a:pt x="761920" y="-1389"/>
                      <a:pt x="774183" y="-554"/>
                      <a:pt x="785123" y="5267"/>
                    </a:cubicBezTo>
                    <a:lnTo>
                      <a:pt x="867343" y="49014"/>
                    </a:lnTo>
                    <a:cubicBezTo>
                      <a:pt x="889221" y="60655"/>
                      <a:pt x="897520" y="87828"/>
                      <a:pt x="885879" y="109707"/>
                    </a:cubicBezTo>
                    <a:lnTo>
                      <a:pt x="839281" y="197285"/>
                    </a:lnTo>
                    <a:cubicBezTo>
                      <a:pt x="904218" y="248116"/>
                      <a:pt x="953621" y="317443"/>
                      <a:pt x="977763" y="398138"/>
                    </a:cubicBezTo>
                    <a:lnTo>
                      <a:pt x="1077621" y="380769"/>
                    </a:lnTo>
                    <a:cubicBezTo>
                      <a:pt x="1102038" y="376523"/>
                      <a:pt x="1125273" y="392873"/>
                      <a:pt x="1129520" y="417289"/>
                    </a:cubicBezTo>
                    <a:lnTo>
                      <a:pt x="1145479" y="509046"/>
                    </a:lnTo>
                    <a:cubicBezTo>
                      <a:pt x="1149726" y="533462"/>
                      <a:pt x="1133376" y="556698"/>
                      <a:pt x="1108959" y="560944"/>
                    </a:cubicBezTo>
                    <a:lnTo>
                      <a:pt x="997858" y="580268"/>
                    </a:lnTo>
                    <a:cubicBezTo>
                      <a:pt x="988900" y="675147"/>
                      <a:pt x="949134" y="760933"/>
                      <a:pt x="887371" y="826544"/>
                    </a:cubicBezTo>
                    <a:lnTo>
                      <a:pt x="943982" y="908607"/>
                    </a:lnTo>
                    <a:cubicBezTo>
                      <a:pt x="958055" y="929006"/>
                      <a:pt x="952926" y="956951"/>
                      <a:pt x="932527" y="971024"/>
                    </a:cubicBezTo>
                    <a:lnTo>
                      <a:pt x="855865" y="1023910"/>
                    </a:lnTo>
                    <a:cubicBezTo>
                      <a:pt x="835465" y="1037983"/>
                      <a:pt x="807520" y="1032854"/>
                      <a:pt x="793447" y="1012454"/>
                    </a:cubicBezTo>
                    <a:lnTo>
                      <a:pt x="739069" y="933629"/>
                    </a:lnTo>
                    <a:cubicBezTo>
                      <a:pt x="686687" y="957426"/>
                      <a:pt x="628420" y="970069"/>
                      <a:pt x="567201" y="970069"/>
                    </a:cubicBezTo>
                    <a:cubicBezTo>
                      <a:pt x="530761" y="970069"/>
                      <a:pt x="495366" y="965589"/>
                      <a:pt x="461915" y="955643"/>
                    </a:cubicBezTo>
                    <a:lnTo>
                      <a:pt x="400579" y="1046024"/>
                    </a:lnTo>
                    <a:cubicBezTo>
                      <a:pt x="386663" y="1066531"/>
                      <a:pt x="358758" y="1071873"/>
                      <a:pt x="338251" y="1057956"/>
                    </a:cubicBezTo>
                    <a:lnTo>
                      <a:pt x="261187" y="1005658"/>
                    </a:lnTo>
                    <a:cubicBezTo>
                      <a:pt x="240681" y="991741"/>
                      <a:pt x="235339" y="963836"/>
                      <a:pt x="249255" y="943330"/>
                    </a:cubicBezTo>
                    <a:lnTo>
                      <a:pt x="295891" y="874611"/>
                    </a:lnTo>
                    <a:cubicBezTo>
                      <a:pt x="218676" y="813301"/>
                      <a:pt x="163119" y="726056"/>
                      <a:pt x="141932" y="626080"/>
                    </a:cubicBezTo>
                    <a:lnTo>
                      <a:pt x="44873" y="626080"/>
                    </a:lnTo>
                    <a:cubicBezTo>
                      <a:pt x="20090" y="626080"/>
                      <a:pt x="0" y="605990"/>
                      <a:pt x="0" y="581207"/>
                    </a:cubicBezTo>
                    <a:lnTo>
                      <a:pt x="0" y="488073"/>
                    </a:lnTo>
                    <a:cubicBezTo>
                      <a:pt x="0" y="463290"/>
                      <a:pt x="20090" y="443200"/>
                      <a:pt x="44873" y="443200"/>
                    </a:cubicBezTo>
                    <a:lnTo>
                      <a:pt x="141933" y="443200"/>
                    </a:lnTo>
                    <a:cubicBezTo>
                      <a:pt x="159897" y="358428"/>
                      <a:pt x="202573" y="282810"/>
                      <a:pt x="263111" y="225275"/>
                    </a:cubicBezTo>
                    <a:lnTo>
                      <a:pt x="204256" y="146400"/>
                    </a:lnTo>
                    <a:cubicBezTo>
                      <a:pt x="189435" y="126537"/>
                      <a:pt x="193522" y="98421"/>
                      <a:pt x="213385" y="83600"/>
                    </a:cubicBezTo>
                    <a:lnTo>
                      <a:pt x="288029" y="27902"/>
                    </a:lnTo>
                    <a:cubicBezTo>
                      <a:pt x="307892" y="13081"/>
                      <a:pt x="336008" y="17168"/>
                      <a:pt x="350829" y="37031"/>
                    </a:cubicBezTo>
                    <a:lnTo>
                      <a:pt x="417147" y="125909"/>
                    </a:lnTo>
                    <a:cubicBezTo>
                      <a:pt x="463890" y="108599"/>
                      <a:pt x="514450" y="99211"/>
                      <a:pt x="567201" y="99211"/>
                    </a:cubicBezTo>
                    <a:cubicBezTo>
                      <a:pt x="604953" y="99211"/>
                      <a:pt x="641582" y="104019"/>
                      <a:pt x="676101" y="114635"/>
                    </a:cubicBezTo>
                    <a:lnTo>
                      <a:pt x="724430" y="23803"/>
                    </a:lnTo>
                    <a:cubicBezTo>
                      <a:pt x="730251" y="12864"/>
                      <a:pt x="739954" y="5320"/>
                      <a:pt x="750937" y="1965"/>
                    </a:cubicBezTo>
                    <a:close/>
                  </a:path>
                </a:pathLst>
              </a:custGeom>
              <a:grpFill/>
              <a:ln w="10795" cap="flat" cmpd="sng" algn="ctr">
                <a:noFill/>
                <a:prstDash val="solid"/>
              </a:ln>
              <a:effectLst/>
            </p:spPr>
            <p:txBody>
              <a:bodyPr wrap="square" rtlCol="0" anchor="ctr">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54" name="Donut 28"/>
              <p:cNvSpPr/>
              <p:nvPr/>
            </p:nvSpPr>
            <p:spPr>
              <a:xfrm rot="20221914">
                <a:off x="6221198" y="570730"/>
                <a:ext cx="812157" cy="755155"/>
              </a:xfrm>
              <a:custGeom>
                <a:avLst/>
                <a:gdLst/>
                <a:ahLst/>
                <a:cxnLst/>
                <a:rect l="l" t="t" r="r" b="b"/>
                <a:pathLst>
                  <a:path w="812157" h="755155">
                    <a:moveTo>
                      <a:pt x="476237" y="202804"/>
                    </a:moveTo>
                    <a:cubicBezTo>
                      <a:pt x="453394" y="193136"/>
                      <a:pt x="428280" y="187790"/>
                      <a:pt x="401918" y="187790"/>
                    </a:cubicBezTo>
                    <a:cubicBezTo>
                      <a:pt x="296470" y="187790"/>
                      <a:pt x="210987" y="273328"/>
                      <a:pt x="210987" y="378844"/>
                    </a:cubicBezTo>
                    <a:cubicBezTo>
                      <a:pt x="210987" y="484360"/>
                      <a:pt x="296470" y="569898"/>
                      <a:pt x="401918" y="569898"/>
                    </a:cubicBezTo>
                    <a:cubicBezTo>
                      <a:pt x="507366" y="569898"/>
                      <a:pt x="592849" y="484360"/>
                      <a:pt x="592849" y="378844"/>
                    </a:cubicBezTo>
                    <a:cubicBezTo>
                      <a:pt x="592849" y="299707"/>
                      <a:pt x="544765" y="231808"/>
                      <a:pt x="476237" y="202804"/>
                    </a:cubicBezTo>
                    <a:close/>
                    <a:moveTo>
                      <a:pt x="556335" y="3732"/>
                    </a:moveTo>
                    <a:lnTo>
                      <a:pt x="614596" y="34731"/>
                    </a:lnTo>
                    <a:cubicBezTo>
                      <a:pt x="630099" y="42980"/>
                      <a:pt x="635980" y="62235"/>
                      <a:pt x="627731" y="77738"/>
                    </a:cubicBezTo>
                    <a:lnTo>
                      <a:pt x="594712" y="139794"/>
                    </a:lnTo>
                    <a:cubicBezTo>
                      <a:pt x="640727" y="175813"/>
                      <a:pt x="675734" y="224938"/>
                      <a:pt x="692841" y="282118"/>
                    </a:cubicBezTo>
                    <a:lnTo>
                      <a:pt x="763598" y="269812"/>
                    </a:lnTo>
                    <a:cubicBezTo>
                      <a:pt x="780899" y="266803"/>
                      <a:pt x="797364" y="278389"/>
                      <a:pt x="800373" y="295690"/>
                    </a:cubicBezTo>
                    <a:lnTo>
                      <a:pt x="811682" y="360708"/>
                    </a:lnTo>
                    <a:cubicBezTo>
                      <a:pt x="814691" y="378009"/>
                      <a:pt x="803105" y="394474"/>
                      <a:pt x="785804" y="397483"/>
                    </a:cubicBezTo>
                    <a:lnTo>
                      <a:pt x="707081" y="411175"/>
                    </a:lnTo>
                    <a:cubicBezTo>
                      <a:pt x="700733" y="478407"/>
                      <a:pt x="672555" y="539196"/>
                      <a:pt x="628788" y="585688"/>
                    </a:cubicBezTo>
                    <a:lnTo>
                      <a:pt x="668902" y="643837"/>
                    </a:lnTo>
                    <a:cubicBezTo>
                      <a:pt x="678874" y="658292"/>
                      <a:pt x="675240" y="678094"/>
                      <a:pt x="660785" y="688066"/>
                    </a:cubicBezTo>
                    <a:lnTo>
                      <a:pt x="606463" y="725540"/>
                    </a:lnTo>
                    <a:cubicBezTo>
                      <a:pt x="592007" y="735512"/>
                      <a:pt x="572206" y="731878"/>
                      <a:pt x="562234" y="717423"/>
                    </a:cubicBezTo>
                    <a:lnTo>
                      <a:pt x="523702" y="661568"/>
                    </a:lnTo>
                    <a:cubicBezTo>
                      <a:pt x="486584" y="678429"/>
                      <a:pt x="445297" y="687388"/>
                      <a:pt x="401918" y="687388"/>
                    </a:cubicBezTo>
                    <a:cubicBezTo>
                      <a:pt x="376096" y="687388"/>
                      <a:pt x="351015" y="684213"/>
                      <a:pt x="327312" y="677166"/>
                    </a:cubicBezTo>
                    <a:lnTo>
                      <a:pt x="283848" y="741211"/>
                    </a:lnTo>
                    <a:cubicBezTo>
                      <a:pt x="273987" y="755741"/>
                      <a:pt x="254214" y="759527"/>
                      <a:pt x="239683" y="749666"/>
                    </a:cubicBezTo>
                    <a:lnTo>
                      <a:pt x="185076" y="712607"/>
                    </a:lnTo>
                    <a:cubicBezTo>
                      <a:pt x="170545" y="702746"/>
                      <a:pt x="166759" y="682972"/>
                      <a:pt x="176621" y="668442"/>
                    </a:cubicBezTo>
                    <a:lnTo>
                      <a:pt x="209668" y="619746"/>
                    </a:lnTo>
                    <a:cubicBezTo>
                      <a:pt x="154953" y="576302"/>
                      <a:pt x="115586" y="514481"/>
                      <a:pt x="100574" y="443638"/>
                    </a:cubicBezTo>
                    <a:lnTo>
                      <a:pt x="31797" y="443638"/>
                    </a:lnTo>
                    <a:cubicBezTo>
                      <a:pt x="14236" y="443638"/>
                      <a:pt x="0" y="429402"/>
                      <a:pt x="0" y="411841"/>
                    </a:cubicBezTo>
                    <a:lnTo>
                      <a:pt x="0" y="345847"/>
                    </a:lnTo>
                    <a:cubicBezTo>
                      <a:pt x="0" y="328286"/>
                      <a:pt x="14236" y="314050"/>
                      <a:pt x="31797" y="314050"/>
                    </a:cubicBezTo>
                    <a:lnTo>
                      <a:pt x="100573" y="314050"/>
                    </a:lnTo>
                    <a:cubicBezTo>
                      <a:pt x="113303" y="253982"/>
                      <a:pt x="143543" y="200399"/>
                      <a:pt x="186439" y="159629"/>
                    </a:cubicBezTo>
                    <a:lnTo>
                      <a:pt x="144734" y="103738"/>
                    </a:lnTo>
                    <a:cubicBezTo>
                      <a:pt x="134232" y="89663"/>
                      <a:pt x="137128" y="69740"/>
                      <a:pt x="151203" y="59238"/>
                    </a:cubicBezTo>
                    <a:lnTo>
                      <a:pt x="204095" y="19771"/>
                    </a:lnTo>
                    <a:cubicBezTo>
                      <a:pt x="218169" y="9269"/>
                      <a:pt x="238093" y="12165"/>
                      <a:pt x="248595" y="26239"/>
                    </a:cubicBezTo>
                    <a:lnTo>
                      <a:pt x="295589" y="89219"/>
                    </a:lnTo>
                    <a:cubicBezTo>
                      <a:pt x="328711" y="76953"/>
                      <a:pt x="364538" y="70300"/>
                      <a:pt x="401918" y="70300"/>
                    </a:cubicBezTo>
                    <a:cubicBezTo>
                      <a:pt x="428668" y="70300"/>
                      <a:pt x="454623" y="73707"/>
                      <a:pt x="479084" y="81229"/>
                    </a:cubicBezTo>
                    <a:lnTo>
                      <a:pt x="513329" y="16867"/>
                    </a:lnTo>
                    <a:cubicBezTo>
                      <a:pt x="521578" y="1364"/>
                      <a:pt x="540833" y="-4517"/>
                      <a:pt x="556335" y="3732"/>
                    </a:cubicBezTo>
                    <a:close/>
                  </a:path>
                </a:pathLst>
              </a:custGeom>
              <a:grpFill/>
              <a:ln w="10795" cap="flat" cmpd="sng" algn="ctr">
                <a:noFill/>
                <a:prstDash val="solid"/>
              </a:ln>
              <a:effectLst/>
            </p:spPr>
            <p:txBody>
              <a:bodyPr wrap="square" rtlCol="0" anchor="ctr">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55" name="Donut 36"/>
              <p:cNvSpPr/>
              <p:nvPr/>
            </p:nvSpPr>
            <p:spPr>
              <a:xfrm rot="20260300">
                <a:off x="6816207" y="1657630"/>
                <a:ext cx="812158" cy="755155"/>
              </a:xfrm>
              <a:custGeom>
                <a:avLst/>
                <a:gdLst/>
                <a:ahLst/>
                <a:cxnLst/>
                <a:rect l="l" t="t" r="r" b="b"/>
                <a:pathLst>
                  <a:path w="812158" h="755155">
                    <a:moveTo>
                      <a:pt x="476236" y="202805"/>
                    </a:moveTo>
                    <a:cubicBezTo>
                      <a:pt x="453394" y="193137"/>
                      <a:pt x="428279" y="187791"/>
                      <a:pt x="401917" y="187791"/>
                    </a:cubicBezTo>
                    <a:cubicBezTo>
                      <a:pt x="296470" y="187791"/>
                      <a:pt x="210987" y="273329"/>
                      <a:pt x="210987" y="378845"/>
                    </a:cubicBezTo>
                    <a:cubicBezTo>
                      <a:pt x="210987" y="484361"/>
                      <a:pt x="296470" y="569899"/>
                      <a:pt x="401918" y="569899"/>
                    </a:cubicBezTo>
                    <a:cubicBezTo>
                      <a:pt x="507366" y="569899"/>
                      <a:pt x="592849" y="484361"/>
                      <a:pt x="592849" y="378845"/>
                    </a:cubicBezTo>
                    <a:cubicBezTo>
                      <a:pt x="592849" y="299708"/>
                      <a:pt x="544764" y="231809"/>
                      <a:pt x="476236" y="202805"/>
                    </a:cubicBezTo>
                    <a:close/>
                    <a:moveTo>
                      <a:pt x="556335" y="3732"/>
                    </a:moveTo>
                    <a:lnTo>
                      <a:pt x="614596" y="34731"/>
                    </a:lnTo>
                    <a:cubicBezTo>
                      <a:pt x="630099" y="42980"/>
                      <a:pt x="635980" y="62234"/>
                      <a:pt x="627731" y="77737"/>
                    </a:cubicBezTo>
                    <a:lnTo>
                      <a:pt x="594712" y="139795"/>
                    </a:lnTo>
                    <a:cubicBezTo>
                      <a:pt x="640726" y="175814"/>
                      <a:pt x="675734" y="224939"/>
                      <a:pt x="692841" y="282120"/>
                    </a:cubicBezTo>
                    <a:lnTo>
                      <a:pt x="763598" y="269813"/>
                    </a:lnTo>
                    <a:cubicBezTo>
                      <a:pt x="780900" y="266803"/>
                      <a:pt x="797365" y="278389"/>
                      <a:pt x="800374" y="295691"/>
                    </a:cubicBezTo>
                    <a:lnTo>
                      <a:pt x="811683" y="360708"/>
                    </a:lnTo>
                    <a:cubicBezTo>
                      <a:pt x="814692" y="378010"/>
                      <a:pt x="803106" y="394475"/>
                      <a:pt x="785804" y="397484"/>
                    </a:cubicBezTo>
                    <a:lnTo>
                      <a:pt x="707081" y="411176"/>
                    </a:lnTo>
                    <a:cubicBezTo>
                      <a:pt x="700733" y="478408"/>
                      <a:pt x="672554" y="539197"/>
                      <a:pt x="628788" y="585689"/>
                    </a:cubicBezTo>
                    <a:lnTo>
                      <a:pt x="668902" y="643837"/>
                    </a:lnTo>
                    <a:cubicBezTo>
                      <a:pt x="678874" y="658292"/>
                      <a:pt x="675239" y="678094"/>
                      <a:pt x="660785" y="688066"/>
                    </a:cubicBezTo>
                    <a:lnTo>
                      <a:pt x="606463" y="725540"/>
                    </a:lnTo>
                    <a:cubicBezTo>
                      <a:pt x="592007" y="735512"/>
                      <a:pt x="572205" y="731878"/>
                      <a:pt x="562233" y="717423"/>
                    </a:cubicBezTo>
                    <a:lnTo>
                      <a:pt x="523702" y="661569"/>
                    </a:lnTo>
                    <a:cubicBezTo>
                      <a:pt x="486584" y="678430"/>
                      <a:pt x="445297" y="687389"/>
                      <a:pt x="401918" y="687389"/>
                    </a:cubicBezTo>
                    <a:cubicBezTo>
                      <a:pt x="376096" y="687389"/>
                      <a:pt x="351015" y="684214"/>
                      <a:pt x="327311" y="677166"/>
                    </a:cubicBezTo>
                    <a:lnTo>
                      <a:pt x="283848" y="741210"/>
                    </a:lnTo>
                    <a:cubicBezTo>
                      <a:pt x="273987" y="755741"/>
                      <a:pt x="254213" y="759527"/>
                      <a:pt x="239683" y="749666"/>
                    </a:cubicBezTo>
                    <a:lnTo>
                      <a:pt x="185076" y="712607"/>
                    </a:lnTo>
                    <a:cubicBezTo>
                      <a:pt x="170545" y="702746"/>
                      <a:pt x="166760" y="682972"/>
                      <a:pt x="176620" y="668441"/>
                    </a:cubicBezTo>
                    <a:lnTo>
                      <a:pt x="209667" y="619746"/>
                    </a:lnTo>
                    <a:cubicBezTo>
                      <a:pt x="154953" y="576302"/>
                      <a:pt x="115585" y="514481"/>
                      <a:pt x="100573" y="443638"/>
                    </a:cubicBezTo>
                    <a:lnTo>
                      <a:pt x="31797" y="443638"/>
                    </a:lnTo>
                    <a:cubicBezTo>
                      <a:pt x="14236" y="443638"/>
                      <a:pt x="0" y="429402"/>
                      <a:pt x="0" y="411841"/>
                    </a:cubicBezTo>
                    <a:lnTo>
                      <a:pt x="0" y="345847"/>
                    </a:lnTo>
                    <a:cubicBezTo>
                      <a:pt x="0" y="328286"/>
                      <a:pt x="14236" y="314050"/>
                      <a:pt x="31797" y="314050"/>
                    </a:cubicBezTo>
                    <a:lnTo>
                      <a:pt x="100573" y="314050"/>
                    </a:lnTo>
                    <a:cubicBezTo>
                      <a:pt x="113303" y="253982"/>
                      <a:pt x="143542" y="200399"/>
                      <a:pt x="186439" y="159630"/>
                    </a:cubicBezTo>
                    <a:lnTo>
                      <a:pt x="144734" y="103739"/>
                    </a:lnTo>
                    <a:cubicBezTo>
                      <a:pt x="134232" y="89664"/>
                      <a:pt x="137128" y="69741"/>
                      <a:pt x="151203" y="59239"/>
                    </a:cubicBezTo>
                    <a:lnTo>
                      <a:pt x="204095" y="19772"/>
                    </a:lnTo>
                    <a:cubicBezTo>
                      <a:pt x="218169" y="9270"/>
                      <a:pt x="238093" y="12166"/>
                      <a:pt x="248595" y="26240"/>
                    </a:cubicBezTo>
                    <a:lnTo>
                      <a:pt x="295588" y="89219"/>
                    </a:lnTo>
                    <a:cubicBezTo>
                      <a:pt x="328711" y="76953"/>
                      <a:pt x="364537" y="70301"/>
                      <a:pt x="401917" y="70301"/>
                    </a:cubicBezTo>
                    <a:cubicBezTo>
                      <a:pt x="428668" y="70301"/>
                      <a:pt x="454622" y="73708"/>
                      <a:pt x="479083" y="81230"/>
                    </a:cubicBezTo>
                    <a:lnTo>
                      <a:pt x="513329" y="16867"/>
                    </a:lnTo>
                    <a:cubicBezTo>
                      <a:pt x="521577" y="1364"/>
                      <a:pt x="540832" y="-4517"/>
                      <a:pt x="556335" y="3732"/>
                    </a:cubicBezTo>
                    <a:close/>
                  </a:path>
                </a:pathLst>
              </a:custGeom>
              <a:grpFill/>
              <a:ln w="10795" cap="flat" cmpd="sng" algn="ctr">
                <a:noFill/>
                <a:prstDash val="solid"/>
              </a:ln>
              <a:effectLst/>
            </p:spPr>
            <p:txBody>
              <a:bodyPr wrap="square" rtlCol="0" anchor="ctr">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56" name="Donut 15"/>
              <p:cNvSpPr/>
              <p:nvPr/>
            </p:nvSpPr>
            <p:spPr>
              <a:xfrm rot="20036216">
                <a:off x="3553230" y="709716"/>
                <a:ext cx="2521446" cy="2344470"/>
              </a:xfrm>
              <a:custGeom>
                <a:avLst/>
                <a:gdLst/>
                <a:ahLst/>
                <a:cxnLst/>
                <a:rect l="l" t="t" r="r" b="b"/>
                <a:pathLst>
                  <a:path w="1146150" h="1065703">
                    <a:moveTo>
                      <a:pt x="567201" y="212003"/>
                    </a:moveTo>
                    <a:cubicBezTo>
                      <a:pt x="389110" y="212003"/>
                      <a:pt x="244738" y="356453"/>
                      <a:pt x="244738" y="534640"/>
                    </a:cubicBezTo>
                    <a:cubicBezTo>
                      <a:pt x="244738" y="712827"/>
                      <a:pt x="389110" y="857277"/>
                      <a:pt x="567201" y="857277"/>
                    </a:cubicBezTo>
                    <a:cubicBezTo>
                      <a:pt x="745292" y="857277"/>
                      <a:pt x="889664" y="712827"/>
                      <a:pt x="889664" y="534640"/>
                    </a:cubicBezTo>
                    <a:cubicBezTo>
                      <a:pt x="889664" y="356453"/>
                      <a:pt x="745292" y="212003"/>
                      <a:pt x="567201" y="212003"/>
                    </a:cubicBezTo>
                    <a:close/>
                    <a:moveTo>
                      <a:pt x="750937" y="1965"/>
                    </a:moveTo>
                    <a:cubicBezTo>
                      <a:pt x="761920" y="-1389"/>
                      <a:pt x="774183" y="-554"/>
                      <a:pt x="785123" y="5267"/>
                    </a:cubicBezTo>
                    <a:lnTo>
                      <a:pt x="867343" y="49014"/>
                    </a:lnTo>
                    <a:cubicBezTo>
                      <a:pt x="889221" y="60655"/>
                      <a:pt x="897520" y="87828"/>
                      <a:pt x="885879" y="109707"/>
                    </a:cubicBezTo>
                    <a:lnTo>
                      <a:pt x="839281" y="197285"/>
                    </a:lnTo>
                    <a:cubicBezTo>
                      <a:pt x="904218" y="248116"/>
                      <a:pt x="953621" y="317443"/>
                      <a:pt x="977763" y="398138"/>
                    </a:cubicBezTo>
                    <a:lnTo>
                      <a:pt x="1077621" y="380769"/>
                    </a:lnTo>
                    <a:cubicBezTo>
                      <a:pt x="1102038" y="376523"/>
                      <a:pt x="1125273" y="392873"/>
                      <a:pt x="1129520" y="417289"/>
                    </a:cubicBezTo>
                    <a:lnTo>
                      <a:pt x="1145479" y="509046"/>
                    </a:lnTo>
                    <a:cubicBezTo>
                      <a:pt x="1149726" y="533462"/>
                      <a:pt x="1133376" y="556698"/>
                      <a:pt x="1108959" y="560944"/>
                    </a:cubicBezTo>
                    <a:lnTo>
                      <a:pt x="997858" y="580268"/>
                    </a:lnTo>
                    <a:cubicBezTo>
                      <a:pt x="988900" y="675147"/>
                      <a:pt x="949134" y="760933"/>
                      <a:pt x="887371" y="826544"/>
                    </a:cubicBezTo>
                    <a:lnTo>
                      <a:pt x="943982" y="908607"/>
                    </a:lnTo>
                    <a:cubicBezTo>
                      <a:pt x="958055" y="929006"/>
                      <a:pt x="952926" y="956951"/>
                      <a:pt x="932527" y="971024"/>
                    </a:cubicBezTo>
                    <a:lnTo>
                      <a:pt x="855865" y="1023910"/>
                    </a:lnTo>
                    <a:cubicBezTo>
                      <a:pt x="835465" y="1037983"/>
                      <a:pt x="807520" y="1032854"/>
                      <a:pt x="793447" y="1012454"/>
                    </a:cubicBezTo>
                    <a:lnTo>
                      <a:pt x="739069" y="933629"/>
                    </a:lnTo>
                    <a:cubicBezTo>
                      <a:pt x="686687" y="957426"/>
                      <a:pt x="628420" y="970069"/>
                      <a:pt x="567201" y="970069"/>
                    </a:cubicBezTo>
                    <a:cubicBezTo>
                      <a:pt x="530761" y="970069"/>
                      <a:pt x="495366" y="965589"/>
                      <a:pt x="461915" y="955643"/>
                    </a:cubicBezTo>
                    <a:lnTo>
                      <a:pt x="400579" y="1046024"/>
                    </a:lnTo>
                    <a:cubicBezTo>
                      <a:pt x="386663" y="1066531"/>
                      <a:pt x="358758" y="1071873"/>
                      <a:pt x="338251" y="1057956"/>
                    </a:cubicBezTo>
                    <a:lnTo>
                      <a:pt x="261187" y="1005658"/>
                    </a:lnTo>
                    <a:cubicBezTo>
                      <a:pt x="240681" y="991741"/>
                      <a:pt x="235339" y="963836"/>
                      <a:pt x="249255" y="943330"/>
                    </a:cubicBezTo>
                    <a:lnTo>
                      <a:pt x="295891" y="874611"/>
                    </a:lnTo>
                    <a:cubicBezTo>
                      <a:pt x="218676" y="813301"/>
                      <a:pt x="163119" y="726056"/>
                      <a:pt x="141932" y="626080"/>
                    </a:cubicBezTo>
                    <a:lnTo>
                      <a:pt x="44873" y="626080"/>
                    </a:lnTo>
                    <a:cubicBezTo>
                      <a:pt x="20090" y="626080"/>
                      <a:pt x="0" y="605990"/>
                      <a:pt x="0" y="581207"/>
                    </a:cubicBezTo>
                    <a:lnTo>
                      <a:pt x="0" y="488073"/>
                    </a:lnTo>
                    <a:cubicBezTo>
                      <a:pt x="0" y="463290"/>
                      <a:pt x="20090" y="443200"/>
                      <a:pt x="44873" y="443200"/>
                    </a:cubicBezTo>
                    <a:lnTo>
                      <a:pt x="141933" y="443200"/>
                    </a:lnTo>
                    <a:cubicBezTo>
                      <a:pt x="159897" y="358428"/>
                      <a:pt x="202573" y="282810"/>
                      <a:pt x="263111" y="225275"/>
                    </a:cubicBezTo>
                    <a:lnTo>
                      <a:pt x="204256" y="146400"/>
                    </a:lnTo>
                    <a:cubicBezTo>
                      <a:pt x="189435" y="126537"/>
                      <a:pt x="193522" y="98421"/>
                      <a:pt x="213385" y="83600"/>
                    </a:cubicBezTo>
                    <a:lnTo>
                      <a:pt x="288029" y="27902"/>
                    </a:lnTo>
                    <a:cubicBezTo>
                      <a:pt x="307892" y="13081"/>
                      <a:pt x="336008" y="17168"/>
                      <a:pt x="350829" y="37031"/>
                    </a:cubicBezTo>
                    <a:lnTo>
                      <a:pt x="417147" y="125909"/>
                    </a:lnTo>
                    <a:cubicBezTo>
                      <a:pt x="463890" y="108599"/>
                      <a:pt x="514450" y="99211"/>
                      <a:pt x="567201" y="99211"/>
                    </a:cubicBezTo>
                    <a:cubicBezTo>
                      <a:pt x="604953" y="99211"/>
                      <a:pt x="641582" y="104019"/>
                      <a:pt x="676101" y="114635"/>
                    </a:cubicBezTo>
                    <a:lnTo>
                      <a:pt x="724430" y="23803"/>
                    </a:lnTo>
                    <a:cubicBezTo>
                      <a:pt x="730251" y="12864"/>
                      <a:pt x="739954" y="5320"/>
                      <a:pt x="750937" y="1965"/>
                    </a:cubicBezTo>
                    <a:close/>
                  </a:path>
                </a:pathLst>
              </a:custGeom>
              <a:grpFill/>
              <a:ln w="10795" cap="flat" cmpd="sng" algn="ctr">
                <a:noFill/>
                <a:prstDash val="solid"/>
              </a:ln>
              <a:effectLst/>
            </p:spPr>
            <p:txBody>
              <a:bodyPr wrap="square" rtlCol="0" anchor="ctr">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57" name="Rectangle 62"/>
              <p:cNvSpPr/>
              <p:nvPr/>
            </p:nvSpPr>
            <p:spPr>
              <a:xfrm rot="18974245">
                <a:off x="6023264" y="2582680"/>
                <a:ext cx="1868256" cy="3029072"/>
              </a:xfrm>
              <a:custGeom>
                <a:avLst/>
                <a:gdLst>
                  <a:gd name="connsiteX0" fmla="*/ 1856143 w 1864331"/>
                  <a:gd name="connsiteY0" fmla="*/ 341271 h 2483987"/>
                  <a:gd name="connsiteX1" fmla="*/ 1864331 w 1864331"/>
                  <a:gd name="connsiteY1" fmla="*/ 966844 h 2483987"/>
                  <a:gd name="connsiteX2" fmla="*/ 1433839 w 1864331"/>
                  <a:gd name="connsiteY2" fmla="*/ 1517559 h 2483987"/>
                  <a:gd name="connsiteX3" fmla="*/ 1433840 w 1864331"/>
                  <a:gd name="connsiteY3" fmla="*/ 2483987 h 2483987"/>
                  <a:gd name="connsiteX4" fmla="*/ 488580 w 1864331"/>
                  <a:gd name="connsiteY4" fmla="*/ 2483987 h 2483987"/>
                  <a:gd name="connsiteX5" fmla="*/ 488581 w 1864331"/>
                  <a:gd name="connsiteY5" fmla="*/ 1584117 h 2483987"/>
                  <a:gd name="connsiteX6" fmla="*/ 0 w 1864331"/>
                  <a:gd name="connsiteY6" fmla="*/ 1202196 h 2483987"/>
                  <a:gd name="connsiteX7" fmla="*/ 0 w 1864331"/>
                  <a:gd name="connsiteY7" fmla="*/ 273950 h 2483987"/>
                  <a:gd name="connsiteX8" fmla="*/ 432957 w 1864331"/>
                  <a:gd name="connsiteY8" fmla="*/ 1289 h 2483987"/>
                  <a:gd name="connsiteX9" fmla="*/ 431190 w 1864331"/>
                  <a:gd name="connsiteY9" fmla="*/ 773655 h 2483987"/>
                  <a:gd name="connsiteX10" fmla="*/ 922265 w 1864331"/>
                  <a:gd name="connsiteY10" fmla="*/ 1052727 h 2483987"/>
                  <a:gd name="connsiteX11" fmla="*/ 962230 w 1864331"/>
                  <a:gd name="connsiteY11" fmla="*/ 1031655 h 2483987"/>
                  <a:gd name="connsiteX12" fmla="*/ 1404416 w 1864331"/>
                  <a:gd name="connsiteY12" fmla="*/ 762737 h 2483987"/>
                  <a:gd name="connsiteX13" fmla="*/ 1387941 w 1864331"/>
                  <a:gd name="connsiteY13" fmla="*/ 0 h 2483987"/>
                  <a:gd name="connsiteX14" fmla="*/ 1856143 w 1864331"/>
                  <a:gd name="connsiteY14" fmla="*/ 341271 h 2483987"/>
                  <a:gd name="connsiteX0" fmla="*/ 1856143 w 1868258"/>
                  <a:gd name="connsiteY0" fmla="*/ 341271 h 2483987"/>
                  <a:gd name="connsiteX1" fmla="*/ 1868258 w 1868258"/>
                  <a:gd name="connsiteY1" fmla="*/ 1148652 h 2483987"/>
                  <a:gd name="connsiteX2" fmla="*/ 1433839 w 1868258"/>
                  <a:gd name="connsiteY2" fmla="*/ 1517559 h 2483987"/>
                  <a:gd name="connsiteX3" fmla="*/ 1433840 w 1868258"/>
                  <a:gd name="connsiteY3" fmla="*/ 2483987 h 2483987"/>
                  <a:gd name="connsiteX4" fmla="*/ 488580 w 1868258"/>
                  <a:gd name="connsiteY4" fmla="*/ 2483987 h 2483987"/>
                  <a:gd name="connsiteX5" fmla="*/ 488581 w 1868258"/>
                  <a:gd name="connsiteY5" fmla="*/ 1584117 h 2483987"/>
                  <a:gd name="connsiteX6" fmla="*/ 0 w 1868258"/>
                  <a:gd name="connsiteY6" fmla="*/ 1202196 h 2483987"/>
                  <a:gd name="connsiteX7" fmla="*/ 0 w 1868258"/>
                  <a:gd name="connsiteY7" fmla="*/ 273950 h 2483987"/>
                  <a:gd name="connsiteX8" fmla="*/ 432957 w 1868258"/>
                  <a:gd name="connsiteY8" fmla="*/ 1289 h 2483987"/>
                  <a:gd name="connsiteX9" fmla="*/ 431190 w 1868258"/>
                  <a:gd name="connsiteY9" fmla="*/ 773655 h 2483987"/>
                  <a:gd name="connsiteX10" fmla="*/ 922265 w 1868258"/>
                  <a:gd name="connsiteY10" fmla="*/ 1052727 h 2483987"/>
                  <a:gd name="connsiteX11" fmla="*/ 962230 w 1868258"/>
                  <a:gd name="connsiteY11" fmla="*/ 1031655 h 2483987"/>
                  <a:gd name="connsiteX12" fmla="*/ 1404416 w 1868258"/>
                  <a:gd name="connsiteY12" fmla="*/ 762737 h 2483987"/>
                  <a:gd name="connsiteX13" fmla="*/ 1387941 w 1868258"/>
                  <a:gd name="connsiteY13" fmla="*/ 0 h 2483987"/>
                  <a:gd name="connsiteX14" fmla="*/ 1856143 w 1868258"/>
                  <a:gd name="connsiteY14" fmla="*/ 341271 h 2483987"/>
                  <a:gd name="connsiteX0" fmla="*/ 1856143 w 1868258"/>
                  <a:gd name="connsiteY0" fmla="*/ 341271 h 2483987"/>
                  <a:gd name="connsiteX1" fmla="*/ 1868258 w 1868258"/>
                  <a:gd name="connsiteY1" fmla="*/ 1148652 h 2483987"/>
                  <a:gd name="connsiteX2" fmla="*/ 1433839 w 1868258"/>
                  <a:gd name="connsiteY2" fmla="*/ 1517559 h 2483987"/>
                  <a:gd name="connsiteX3" fmla="*/ 1433840 w 1868258"/>
                  <a:gd name="connsiteY3" fmla="*/ 2483987 h 2483987"/>
                  <a:gd name="connsiteX4" fmla="*/ 488580 w 1868258"/>
                  <a:gd name="connsiteY4" fmla="*/ 2483987 h 2483987"/>
                  <a:gd name="connsiteX5" fmla="*/ 488581 w 1868258"/>
                  <a:gd name="connsiteY5" fmla="*/ 1584117 h 2483987"/>
                  <a:gd name="connsiteX6" fmla="*/ 0 w 1868258"/>
                  <a:gd name="connsiteY6" fmla="*/ 1202196 h 2483987"/>
                  <a:gd name="connsiteX7" fmla="*/ 0 w 1868258"/>
                  <a:gd name="connsiteY7" fmla="*/ 273950 h 2483987"/>
                  <a:gd name="connsiteX8" fmla="*/ 432957 w 1868258"/>
                  <a:gd name="connsiteY8" fmla="*/ 1289 h 2483987"/>
                  <a:gd name="connsiteX9" fmla="*/ 431190 w 1868258"/>
                  <a:gd name="connsiteY9" fmla="*/ 773655 h 2483987"/>
                  <a:gd name="connsiteX10" fmla="*/ 922265 w 1868258"/>
                  <a:gd name="connsiteY10" fmla="*/ 1052727 h 2483987"/>
                  <a:gd name="connsiteX11" fmla="*/ 1404416 w 1868258"/>
                  <a:gd name="connsiteY11" fmla="*/ 762737 h 2483987"/>
                  <a:gd name="connsiteX12" fmla="*/ 1387941 w 1868258"/>
                  <a:gd name="connsiteY12" fmla="*/ 0 h 2483987"/>
                  <a:gd name="connsiteX13" fmla="*/ 1856143 w 1868258"/>
                  <a:gd name="connsiteY13" fmla="*/ 341271 h 24839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868258" h="2483987">
                    <a:moveTo>
                      <a:pt x="1856143" y="341271"/>
                    </a:moveTo>
                    <a:lnTo>
                      <a:pt x="1868258" y="1148652"/>
                    </a:lnTo>
                    <a:lnTo>
                      <a:pt x="1433839" y="1517559"/>
                    </a:lnTo>
                    <a:cubicBezTo>
                      <a:pt x="1433839" y="1839702"/>
                      <a:pt x="1433840" y="2161844"/>
                      <a:pt x="1433840" y="2483987"/>
                    </a:cubicBezTo>
                    <a:lnTo>
                      <a:pt x="488580" y="2483987"/>
                    </a:lnTo>
                    <a:cubicBezTo>
                      <a:pt x="488580" y="2184030"/>
                      <a:pt x="488581" y="1884074"/>
                      <a:pt x="488581" y="1584117"/>
                    </a:cubicBezTo>
                    <a:lnTo>
                      <a:pt x="0" y="1202196"/>
                    </a:lnTo>
                    <a:lnTo>
                      <a:pt x="0" y="273950"/>
                    </a:lnTo>
                    <a:lnTo>
                      <a:pt x="432957" y="1289"/>
                    </a:lnTo>
                    <a:lnTo>
                      <a:pt x="431190" y="773655"/>
                    </a:lnTo>
                    <a:lnTo>
                      <a:pt x="922265" y="1052727"/>
                    </a:lnTo>
                    <a:lnTo>
                      <a:pt x="1404416" y="762737"/>
                    </a:lnTo>
                    <a:lnTo>
                      <a:pt x="1387941" y="0"/>
                    </a:lnTo>
                    <a:cubicBezTo>
                      <a:pt x="1546738" y="136154"/>
                      <a:pt x="1697346" y="205117"/>
                      <a:pt x="1856143" y="341271"/>
                    </a:cubicBezTo>
                    <a:close/>
                  </a:path>
                </a:pathLst>
              </a:custGeom>
              <a:grpFill/>
              <a:ln w="10795" cap="flat" cmpd="sng" algn="ctr">
                <a:noFill/>
                <a:prstDash val="solid"/>
              </a:ln>
              <a:effectLst/>
            </p:spPr>
            <p:txBody>
              <a:bodyPr wrap="square" rtlCol="0" anchor="ctr">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FFFFFF"/>
                  </a:solidFill>
                  <a:effectLst/>
                  <a:uLnTx/>
                  <a:uFillTx/>
                  <a:latin typeface="Segoe UI"/>
                  <a:ea typeface="+mn-ea"/>
                  <a:cs typeface="+mn-cs"/>
                </a:endParaRPr>
              </a:p>
            </p:txBody>
          </p:sp>
        </p:grpSp>
        <p:sp>
          <p:nvSpPr>
            <p:cNvPr id="50" name="Oval 39941"/>
            <p:cNvSpPr/>
            <p:nvPr/>
          </p:nvSpPr>
          <p:spPr>
            <a:xfrm>
              <a:off x="1378091" y="2783539"/>
              <a:ext cx="526236" cy="526235"/>
            </a:xfrm>
            <a:custGeom>
              <a:avLst/>
              <a:gdLst/>
              <a:ahLst/>
              <a:cxnLst/>
              <a:rect l="l" t="t" r="r" b="b"/>
              <a:pathLst>
                <a:path w="978408" h="978408">
                  <a:moveTo>
                    <a:pt x="792274" y="306711"/>
                  </a:moveTo>
                  <a:lnTo>
                    <a:pt x="701046" y="371394"/>
                  </a:lnTo>
                  <a:lnTo>
                    <a:pt x="710815" y="385919"/>
                  </a:lnTo>
                  <a:cubicBezTo>
                    <a:pt x="759309" y="479648"/>
                    <a:pt x="740559" y="594091"/>
                    <a:pt x="664692" y="667446"/>
                  </a:cubicBezTo>
                  <a:cubicBezTo>
                    <a:pt x="588825" y="740800"/>
                    <a:pt x="473815" y="755686"/>
                    <a:pt x="381772" y="704062"/>
                  </a:cubicBezTo>
                  <a:cubicBezTo>
                    <a:pt x="289729" y="652440"/>
                    <a:pt x="242462" y="546542"/>
                    <a:pt x="265496" y="443555"/>
                  </a:cubicBezTo>
                  <a:lnTo>
                    <a:pt x="295902" y="465973"/>
                  </a:lnTo>
                  <a:lnTo>
                    <a:pt x="260819" y="320359"/>
                  </a:lnTo>
                  <a:lnTo>
                    <a:pt x="137359" y="349081"/>
                  </a:lnTo>
                  <a:lnTo>
                    <a:pt x="168919" y="372349"/>
                  </a:lnTo>
                  <a:cubicBezTo>
                    <a:pt x="112851" y="522214"/>
                    <a:pt x="164911" y="691043"/>
                    <a:pt x="295639" y="783310"/>
                  </a:cubicBezTo>
                  <a:cubicBezTo>
                    <a:pt x="426369" y="875577"/>
                    <a:pt x="602881" y="868074"/>
                    <a:pt x="725308" y="765043"/>
                  </a:cubicBezTo>
                  <a:cubicBezTo>
                    <a:pt x="847732" y="662012"/>
                    <a:pt x="885274" y="489377"/>
                    <a:pt x="816690" y="344808"/>
                  </a:cubicBezTo>
                  <a:cubicBezTo>
                    <a:pt x="810133" y="330988"/>
                    <a:pt x="802764" y="317757"/>
                    <a:pt x="792274" y="306711"/>
                  </a:cubicBezTo>
                  <a:close/>
                  <a:moveTo>
                    <a:pt x="706210" y="213641"/>
                  </a:moveTo>
                  <a:lnTo>
                    <a:pt x="642104" y="305840"/>
                  </a:lnTo>
                  <a:cubicBezTo>
                    <a:pt x="658954" y="317851"/>
                    <a:pt x="674100" y="332383"/>
                    <a:pt x="686396" y="349611"/>
                  </a:cubicBezTo>
                  <a:lnTo>
                    <a:pt x="771375" y="274102"/>
                  </a:lnTo>
                  <a:cubicBezTo>
                    <a:pt x="752616" y="250624"/>
                    <a:pt x="730606" y="230383"/>
                    <a:pt x="706210" y="213641"/>
                  </a:cubicBezTo>
                  <a:close/>
                  <a:moveTo>
                    <a:pt x="604254" y="160502"/>
                  </a:moveTo>
                  <a:lnTo>
                    <a:pt x="565783" y="267778"/>
                  </a:lnTo>
                  <a:cubicBezTo>
                    <a:pt x="584894" y="272964"/>
                    <a:pt x="603215" y="280639"/>
                    <a:pt x="619850" y="291345"/>
                  </a:cubicBezTo>
                  <a:lnTo>
                    <a:pt x="674179" y="191386"/>
                  </a:lnTo>
                  <a:cubicBezTo>
                    <a:pt x="652260" y="178271"/>
                    <a:pt x="628726" y="168044"/>
                    <a:pt x="604254" y="160502"/>
                  </a:cubicBezTo>
                  <a:close/>
                  <a:moveTo>
                    <a:pt x="473050" y="145674"/>
                  </a:moveTo>
                  <a:lnTo>
                    <a:pt x="433410" y="149760"/>
                  </a:lnTo>
                  <a:lnTo>
                    <a:pt x="454372" y="260937"/>
                  </a:lnTo>
                  <a:cubicBezTo>
                    <a:pt x="462135" y="259473"/>
                    <a:pt x="469901" y="258403"/>
                    <a:pt x="477882" y="260356"/>
                  </a:cubicBezTo>
                  <a:close/>
                  <a:moveTo>
                    <a:pt x="511287" y="144921"/>
                  </a:moveTo>
                  <a:lnTo>
                    <a:pt x="503514" y="259723"/>
                  </a:lnTo>
                  <a:cubicBezTo>
                    <a:pt x="515563" y="259565"/>
                    <a:pt x="527495" y="260376"/>
                    <a:pt x="538895" y="264299"/>
                  </a:cubicBezTo>
                  <a:lnTo>
                    <a:pt x="565268" y="153967"/>
                  </a:lnTo>
                  <a:close/>
                  <a:moveTo>
                    <a:pt x="489204" y="0"/>
                  </a:moveTo>
                  <a:cubicBezTo>
                    <a:pt x="759384" y="0"/>
                    <a:pt x="978408" y="219024"/>
                    <a:pt x="978408" y="489204"/>
                  </a:cubicBezTo>
                  <a:cubicBezTo>
                    <a:pt x="978408" y="759384"/>
                    <a:pt x="759384" y="978408"/>
                    <a:pt x="489204" y="978408"/>
                  </a:cubicBezTo>
                  <a:cubicBezTo>
                    <a:pt x="219024" y="978408"/>
                    <a:pt x="0" y="759384"/>
                    <a:pt x="0" y="489204"/>
                  </a:cubicBezTo>
                  <a:cubicBezTo>
                    <a:pt x="0" y="219024"/>
                    <a:pt x="219024" y="0"/>
                    <a:pt x="489204" y="0"/>
                  </a:cubicBezTo>
                  <a:close/>
                </a:path>
              </a:pathLst>
            </a:custGeom>
            <a:solidFill>
              <a:srgbClr val="961E99"/>
            </a:solidFill>
            <a:ln w="10795" cap="flat" cmpd="sng" algn="ctr">
              <a:noFill/>
              <a:prstDash val="solid"/>
            </a:ln>
            <a:effectLst/>
          </p:spPr>
          <p:txBody>
            <a:bodyPr rtlCol="0" anchor="ct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Segoe UI"/>
                <a:ea typeface="+mn-ea"/>
                <a:cs typeface="+mn-cs"/>
              </a:endParaRPr>
            </a:p>
          </p:txBody>
        </p:sp>
        <p:grpSp>
          <p:nvGrpSpPr>
            <p:cNvPr id="131" name="Group 130"/>
            <p:cNvGrpSpPr/>
            <p:nvPr/>
          </p:nvGrpSpPr>
          <p:grpSpPr>
            <a:xfrm>
              <a:off x="2621579" y="3237807"/>
              <a:ext cx="549065" cy="550329"/>
              <a:chOff x="2621579" y="3237807"/>
              <a:chExt cx="549065" cy="550329"/>
            </a:xfrm>
          </p:grpSpPr>
          <p:sp>
            <p:nvSpPr>
              <p:cNvPr id="58" name="Donut 57"/>
              <p:cNvSpPr/>
              <p:nvPr/>
            </p:nvSpPr>
            <p:spPr bwMode="auto">
              <a:xfrm>
                <a:off x="2621579" y="3237807"/>
                <a:ext cx="549065" cy="550329"/>
              </a:xfrm>
              <a:prstGeom prst="donut">
                <a:avLst>
                  <a:gd name="adj" fmla="val 6172"/>
                </a:avLst>
              </a:prstGeom>
              <a:solidFill>
                <a:srgbClr val="92D050"/>
              </a:solidFill>
              <a:ln w="10795" cap="flat" cmpd="sng" algn="ctr">
                <a:noFill/>
                <a:prstDash val="solid"/>
              </a:ln>
              <a:effectLst/>
              <a:extLst/>
            </p:spPr>
            <p:txBody>
              <a:bodyPr rtlCol="0" anchor="ct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Segoe UI"/>
                  <a:ea typeface="+mn-ea"/>
                  <a:cs typeface="+mn-cs"/>
                </a:endParaRPr>
              </a:p>
            </p:txBody>
          </p:sp>
          <p:grpSp>
            <p:nvGrpSpPr>
              <p:cNvPr id="128" name="Group 127"/>
              <p:cNvGrpSpPr/>
              <p:nvPr/>
            </p:nvGrpSpPr>
            <p:grpSpPr>
              <a:xfrm>
                <a:off x="2735251" y="3319941"/>
                <a:ext cx="321720" cy="386061"/>
                <a:chOff x="7944424" y="574055"/>
                <a:chExt cx="1821121" cy="2185330"/>
              </a:xfrm>
              <a:solidFill>
                <a:srgbClr val="92D050"/>
              </a:solidFill>
            </p:grpSpPr>
            <p:sp>
              <p:nvSpPr>
                <p:cNvPr id="129" name="Oval 7"/>
                <p:cNvSpPr/>
                <p:nvPr/>
              </p:nvSpPr>
              <p:spPr>
                <a:xfrm rot="5400000" flipV="1">
                  <a:off x="7952110" y="783427"/>
                  <a:ext cx="1805750" cy="1821121"/>
                </a:xfrm>
                <a:custGeom>
                  <a:avLst/>
                  <a:gdLst/>
                  <a:ahLst/>
                  <a:cxnLst/>
                  <a:rect l="l" t="t" r="r" b="b"/>
                  <a:pathLst>
                    <a:path w="1805750" h="1821121">
                      <a:moveTo>
                        <a:pt x="0" y="1502033"/>
                      </a:moveTo>
                      <a:cubicBezTo>
                        <a:pt x="0" y="1530237"/>
                        <a:pt x="3659" y="1557586"/>
                        <a:pt x="11750" y="1583310"/>
                      </a:cubicBezTo>
                      <a:lnTo>
                        <a:pt x="254559" y="1345433"/>
                      </a:lnTo>
                      <a:lnTo>
                        <a:pt x="483713" y="1579337"/>
                      </a:lnTo>
                      <a:lnTo>
                        <a:pt x="246240" y="1811987"/>
                      </a:lnTo>
                      <a:cubicBezTo>
                        <a:pt x="269518" y="1818217"/>
                        <a:pt x="293964" y="1821121"/>
                        <a:pt x="319088" y="1821121"/>
                      </a:cubicBezTo>
                      <a:cubicBezTo>
                        <a:pt x="495315" y="1821121"/>
                        <a:pt x="638176" y="1678260"/>
                        <a:pt x="638176" y="1502033"/>
                      </a:cubicBezTo>
                      <a:cubicBezTo>
                        <a:pt x="638176" y="1472741"/>
                        <a:pt x="634229" y="1444371"/>
                        <a:pt x="625505" y="1417792"/>
                      </a:cubicBezTo>
                      <a:lnTo>
                        <a:pt x="1414150" y="629146"/>
                      </a:lnTo>
                      <a:cubicBezTo>
                        <a:pt x="1437330" y="635300"/>
                        <a:pt x="1461660" y="638176"/>
                        <a:pt x="1486662" y="638176"/>
                      </a:cubicBezTo>
                      <a:cubicBezTo>
                        <a:pt x="1662889" y="638176"/>
                        <a:pt x="1805750" y="495315"/>
                        <a:pt x="1805750" y="319088"/>
                      </a:cubicBezTo>
                      <a:cubicBezTo>
                        <a:pt x="1805750" y="293964"/>
                        <a:pt x="1802846" y="269518"/>
                        <a:pt x="1796616" y="246240"/>
                      </a:cubicBezTo>
                      <a:lnTo>
                        <a:pt x="1563966" y="483713"/>
                      </a:lnTo>
                      <a:lnTo>
                        <a:pt x="1330062" y="254559"/>
                      </a:lnTo>
                      <a:lnTo>
                        <a:pt x="1567939" y="11750"/>
                      </a:lnTo>
                      <a:cubicBezTo>
                        <a:pt x="1542215" y="3659"/>
                        <a:pt x="1514866" y="0"/>
                        <a:pt x="1486662" y="0"/>
                      </a:cubicBezTo>
                      <a:cubicBezTo>
                        <a:pt x="1310435" y="0"/>
                        <a:pt x="1167574" y="142861"/>
                        <a:pt x="1167574" y="319088"/>
                      </a:cubicBezTo>
                      <a:cubicBezTo>
                        <a:pt x="1167574" y="352702"/>
                        <a:pt x="1172772" y="385102"/>
                        <a:pt x="1183886" y="415060"/>
                      </a:cubicBezTo>
                      <a:lnTo>
                        <a:pt x="403330" y="1195616"/>
                      </a:lnTo>
                      <a:cubicBezTo>
                        <a:pt x="376750" y="1186892"/>
                        <a:pt x="348380" y="1182945"/>
                        <a:pt x="319088" y="1182945"/>
                      </a:cubicBezTo>
                      <a:cubicBezTo>
                        <a:pt x="142861" y="1182945"/>
                        <a:pt x="0" y="1325806"/>
                        <a:pt x="0" y="1502033"/>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2000" dirty="0">
                    <a:solidFill>
                      <a:schemeClr val="tx1"/>
                    </a:solidFill>
                  </a:endParaRPr>
                </a:p>
              </p:txBody>
            </p:sp>
            <p:sp>
              <p:nvSpPr>
                <p:cNvPr id="130" name="Rectangle 38"/>
                <p:cNvSpPr/>
                <p:nvPr/>
              </p:nvSpPr>
              <p:spPr>
                <a:xfrm rot="18900000">
                  <a:off x="8268575" y="574055"/>
                  <a:ext cx="1172821" cy="2185330"/>
                </a:xfrm>
                <a:custGeom>
                  <a:avLst/>
                  <a:gdLst/>
                  <a:ahLst/>
                  <a:cxnLst/>
                  <a:rect l="l" t="t" r="r" b="b"/>
                  <a:pathLst>
                    <a:path w="1172821" h="2185330">
                      <a:moveTo>
                        <a:pt x="715483" y="373050"/>
                      </a:moveTo>
                      <a:lnTo>
                        <a:pt x="765740" y="2185330"/>
                      </a:lnTo>
                      <a:lnTo>
                        <a:pt x="390765" y="2184709"/>
                      </a:lnTo>
                      <a:lnTo>
                        <a:pt x="419647" y="374113"/>
                      </a:lnTo>
                      <a:close/>
                      <a:moveTo>
                        <a:pt x="721532" y="10135"/>
                      </a:moveTo>
                      <a:lnTo>
                        <a:pt x="721532" y="74143"/>
                      </a:lnTo>
                      <a:lnTo>
                        <a:pt x="404515" y="74143"/>
                      </a:lnTo>
                      <a:lnTo>
                        <a:pt x="404515" y="10135"/>
                      </a:lnTo>
                      <a:close/>
                      <a:moveTo>
                        <a:pt x="1071244" y="139401"/>
                      </a:moveTo>
                      <a:cubicBezTo>
                        <a:pt x="1190669" y="238549"/>
                        <a:pt x="1173391" y="443460"/>
                        <a:pt x="1170004" y="563760"/>
                      </a:cubicBezTo>
                      <a:cubicBezTo>
                        <a:pt x="1136354" y="502891"/>
                        <a:pt x="1102704" y="397120"/>
                        <a:pt x="914144" y="347477"/>
                      </a:cubicBezTo>
                      <a:lnTo>
                        <a:pt x="236747" y="348222"/>
                      </a:lnTo>
                      <a:lnTo>
                        <a:pt x="236747" y="432578"/>
                      </a:lnTo>
                      <a:lnTo>
                        <a:pt x="0" y="432578"/>
                      </a:lnTo>
                      <a:lnTo>
                        <a:pt x="0" y="0"/>
                      </a:lnTo>
                      <a:lnTo>
                        <a:pt x="236747" y="0"/>
                      </a:lnTo>
                      <a:lnTo>
                        <a:pt x="236747" y="91284"/>
                      </a:lnTo>
                      <a:lnTo>
                        <a:pt x="900674" y="82560"/>
                      </a:lnTo>
                      <a:cubicBezTo>
                        <a:pt x="976439" y="85055"/>
                        <a:pt x="1031436" y="106353"/>
                        <a:pt x="1071244" y="139401"/>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2000" dirty="0">
                    <a:solidFill>
                      <a:schemeClr val="tx1"/>
                    </a:solidFill>
                  </a:endParaRPr>
                </a:p>
              </p:txBody>
            </p:sp>
          </p:grpSp>
        </p:grpSp>
      </p:grpSp>
      <p:pic>
        <p:nvPicPr>
          <p:cNvPr id="9" name="Picture 8"/>
          <p:cNvPicPr>
            <a:picLocks noChangeAspect="1"/>
          </p:cNvPicPr>
          <p:nvPr/>
        </p:nvPicPr>
        <p:blipFill>
          <a:blip r:embed="rId7"/>
          <a:stretch>
            <a:fillRect/>
          </a:stretch>
        </p:blipFill>
        <p:spPr>
          <a:xfrm>
            <a:off x="4572792" y="1193800"/>
            <a:ext cx="7184233" cy="4157804"/>
          </a:xfrm>
          <a:prstGeom prst="rect">
            <a:avLst/>
          </a:prstGeom>
          <a:noFill/>
          <a:ln>
            <a:noFill/>
          </a:ln>
        </p:spPr>
      </p:pic>
      <p:sp>
        <p:nvSpPr>
          <p:cNvPr id="137" name="Rectangle 136"/>
          <p:cNvSpPr/>
          <p:nvPr/>
        </p:nvSpPr>
        <p:spPr bwMode="auto">
          <a:xfrm>
            <a:off x="9815412" y="4950648"/>
            <a:ext cx="785914" cy="321013"/>
          </a:xfrm>
          <a:prstGeom prst="rect">
            <a:avLst/>
          </a:prstGeom>
          <a:noFill/>
          <a:ln w="38100">
            <a:solidFill>
              <a:srgbClr val="BA141A"/>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a:solidFill>
                <a:schemeClr val="bg1"/>
              </a:solidFill>
              <a:latin typeface="+mj-lt"/>
              <a:ea typeface="Segoe UI" pitchFamily="34" charset="0"/>
              <a:cs typeface="Segoe UI" pitchFamily="34" charset="0"/>
            </a:endParaRPr>
          </a:p>
        </p:txBody>
      </p:sp>
      <p:sp>
        <p:nvSpPr>
          <p:cNvPr id="2" name="Slide Number Placeholder 1"/>
          <p:cNvSpPr>
            <a:spLocks noGrp="1"/>
          </p:cNvSpPr>
          <p:nvPr>
            <p:ph type="sldNum" sz="quarter" idx="4"/>
          </p:nvPr>
        </p:nvSpPr>
        <p:spPr/>
        <p:txBody>
          <a:bodyPr/>
          <a:lstStyle/>
          <a:p>
            <a:pPr>
              <a:defRPr/>
            </a:pPr>
            <a:fld id="{75FAD755-3BD0-2447-A9DF-109DAABEFD99}" type="slidenum">
              <a:rPr lang="en-US" smtClean="0"/>
              <a:pPr>
                <a:defRPr/>
              </a:pPr>
              <a:t>38</a:t>
            </a:fld>
            <a:endParaRPr lang="en-US" dirty="0"/>
          </a:p>
        </p:txBody>
      </p:sp>
    </p:spTree>
    <p:extLst>
      <p:ext uri="{BB962C8B-B14F-4D97-AF65-F5344CB8AC3E}">
        <p14:creationId xmlns:p14="http://schemas.microsoft.com/office/powerpoint/2010/main" val="2067887728"/>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137"/>
                                        </p:tgtEl>
                                        <p:attrNameLst>
                                          <p:attrName>style.visibility</p:attrName>
                                        </p:attrNameLst>
                                      </p:cBhvr>
                                      <p:to>
                                        <p:strVal val="visible"/>
                                      </p:to>
                                    </p:set>
                                    <p:animEffect transition="in" filter="fade">
                                      <p:cBhvr>
                                        <p:cTn id="11" dur="500"/>
                                        <p:tgtEl>
                                          <p:spTgt spid="13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7" grpId="0" animBg="1"/>
    </p:bld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6364" name="think-cell Slide" r:id="rId5" imgW="377" imgH="377" progId="TCLayout.ActiveDocument.1">
                  <p:embed/>
                </p:oleObj>
              </mc:Choice>
              <mc:Fallback>
                <p:oleObj name="think-cell Slide" r:id="rId5" imgW="377" imgH="377"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6" name="Rectangle 5"/>
          <p:cNvSpPr/>
          <p:nvPr/>
        </p:nvSpPr>
        <p:spPr bwMode="auto">
          <a:xfrm>
            <a:off x="4444999" y="0"/>
            <a:ext cx="7747001" cy="6857999"/>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a:solidFill>
                <a:schemeClr val="bg1"/>
              </a:solidFill>
              <a:latin typeface="+mj-lt"/>
              <a:ea typeface="Segoe UI" pitchFamily="34" charset="0"/>
              <a:cs typeface="Segoe UI" pitchFamily="34" charset="0"/>
            </a:endParaRPr>
          </a:p>
        </p:txBody>
      </p:sp>
      <p:sp>
        <p:nvSpPr>
          <p:cNvPr id="5" name="Title 4"/>
          <p:cNvSpPr>
            <a:spLocks noGrp="1"/>
          </p:cNvSpPr>
          <p:nvPr>
            <p:ph type="title"/>
          </p:nvPr>
        </p:nvSpPr>
        <p:spPr>
          <a:xfrm>
            <a:off x="434976" y="286381"/>
            <a:ext cx="4010024" cy="927940"/>
          </a:xfrm>
        </p:spPr>
        <p:txBody>
          <a:bodyPr/>
          <a:lstStyle/>
          <a:p>
            <a:r>
              <a:rPr lang="en-US" dirty="0"/>
              <a:t>ADL Store: Properties</a:t>
            </a:r>
            <a:endParaRPr lang="en-GB" dirty="0"/>
          </a:p>
        </p:txBody>
      </p:sp>
      <p:pic>
        <p:nvPicPr>
          <p:cNvPr id="133" name="Picture 132"/>
          <p:cNvPicPr>
            <a:picLocks noChangeAspect="1"/>
          </p:cNvPicPr>
          <p:nvPr/>
        </p:nvPicPr>
        <p:blipFill>
          <a:blip r:embed="rId7"/>
          <a:stretch>
            <a:fillRect/>
          </a:stretch>
        </p:blipFill>
        <p:spPr>
          <a:xfrm>
            <a:off x="4572792" y="1616569"/>
            <a:ext cx="7184233" cy="2812077"/>
          </a:xfrm>
          <a:prstGeom prst="rect">
            <a:avLst/>
          </a:prstGeom>
          <a:noFill/>
          <a:ln w="3175">
            <a:solidFill>
              <a:schemeClr val="bg1">
                <a:lumMod val="75000"/>
              </a:schemeClr>
            </a:solidFill>
          </a:ln>
        </p:spPr>
      </p:pic>
      <p:grpSp>
        <p:nvGrpSpPr>
          <p:cNvPr id="4" name="Group 3"/>
          <p:cNvGrpSpPr/>
          <p:nvPr/>
        </p:nvGrpSpPr>
        <p:grpSpPr>
          <a:xfrm>
            <a:off x="1447971" y="2923318"/>
            <a:ext cx="2793463" cy="3956293"/>
            <a:chOff x="1447971" y="2499369"/>
            <a:chExt cx="2793463" cy="3956293"/>
          </a:xfrm>
        </p:grpSpPr>
        <p:sp>
          <p:nvSpPr>
            <p:cNvPr id="134" name="Freeform 133"/>
            <p:cNvSpPr>
              <a:spLocks/>
            </p:cNvSpPr>
            <p:nvPr/>
          </p:nvSpPr>
          <p:spPr bwMode="auto">
            <a:xfrm>
              <a:off x="2258322" y="2689303"/>
              <a:ext cx="832226" cy="1271164"/>
            </a:xfrm>
            <a:custGeom>
              <a:avLst/>
              <a:gdLst>
                <a:gd name="T0" fmla="*/ 1007 w 1007"/>
                <a:gd name="T1" fmla="*/ 277 h 1539"/>
                <a:gd name="T2" fmla="*/ 933 w 1007"/>
                <a:gd name="T3" fmla="*/ 203 h 1539"/>
                <a:gd name="T4" fmla="*/ 859 w 1007"/>
                <a:gd name="T5" fmla="*/ 277 h 1539"/>
                <a:gd name="T6" fmla="*/ 859 w 1007"/>
                <a:gd name="T7" fmla="*/ 689 h 1539"/>
                <a:gd name="T8" fmla="*/ 823 w 1007"/>
                <a:gd name="T9" fmla="*/ 689 h 1539"/>
                <a:gd name="T10" fmla="*/ 823 w 1007"/>
                <a:gd name="T11" fmla="*/ 197 h 1539"/>
                <a:gd name="T12" fmla="*/ 823 w 1007"/>
                <a:gd name="T13" fmla="*/ 197 h 1539"/>
                <a:gd name="T14" fmla="*/ 749 w 1007"/>
                <a:gd name="T15" fmla="*/ 124 h 1539"/>
                <a:gd name="T16" fmla="*/ 676 w 1007"/>
                <a:gd name="T17" fmla="*/ 197 h 1539"/>
                <a:gd name="T18" fmla="*/ 676 w 1007"/>
                <a:gd name="T19" fmla="*/ 197 h 1539"/>
                <a:gd name="T20" fmla="*/ 676 w 1007"/>
                <a:gd name="T21" fmla="*/ 646 h 1539"/>
                <a:gd name="T22" fmla="*/ 639 w 1007"/>
                <a:gd name="T23" fmla="*/ 646 h 1539"/>
                <a:gd name="T24" fmla="*/ 639 w 1007"/>
                <a:gd name="T25" fmla="*/ 73 h 1539"/>
                <a:gd name="T26" fmla="*/ 566 w 1007"/>
                <a:gd name="T27" fmla="*/ 0 h 1539"/>
                <a:gd name="T28" fmla="*/ 492 w 1007"/>
                <a:gd name="T29" fmla="*/ 73 h 1539"/>
                <a:gd name="T30" fmla="*/ 492 w 1007"/>
                <a:gd name="T31" fmla="*/ 603 h 1539"/>
                <a:gd name="T32" fmla="*/ 455 w 1007"/>
                <a:gd name="T33" fmla="*/ 603 h 1539"/>
                <a:gd name="T34" fmla="*/ 455 w 1007"/>
                <a:gd name="T35" fmla="*/ 391 h 1539"/>
                <a:gd name="T36" fmla="*/ 455 w 1007"/>
                <a:gd name="T37" fmla="*/ 160 h 1539"/>
                <a:gd name="T38" fmla="*/ 382 w 1007"/>
                <a:gd name="T39" fmla="*/ 86 h 1539"/>
                <a:gd name="T40" fmla="*/ 308 w 1007"/>
                <a:gd name="T41" fmla="*/ 160 h 1539"/>
                <a:gd name="T42" fmla="*/ 308 w 1007"/>
                <a:gd name="T43" fmla="*/ 689 h 1539"/>
                <a:gd name="T44" fmla="*/ 309 w 1007"/>
                <a:gd name="T45" fmla="*/ 690 h 1539"/>
                <a:gd name="T46" fmla="*/ 309 w 1007"/>
                <a:gd name="T47" fmla="*/ 867 h 1539"/>
                <a:gd name="T48" fmla="*/ 146 w 1007"/>
                <a:gd name="T49" fmla="*/ 552 h 1539"/>
                <a:gd name="T50" fmla="*/ 44 w 1007"/>
                <a:gd name="T51" fmla="*/ 530 h 1539"/>
                <a:gd name="T52" fmla="*/ 22 w 1007"/>
                <a:gd name="T53" fmla="*/ 631 h 1539"/>
                <a:gd name="T54" fmla="*/ 210 w 1007"/>
                <a:gd name="T55" fmla="*/ 1025 h 1539"/>
                <a:gd name="T56" fmla="*/ 404 w 1007"/>
                <a:gd name="T57" fmla="*/ 1296 h 1539"/>
                <a:gd name="T58" fmla="*/ 404 w 1007"/>
                <a:gd name="T59" fmla="*/ 1539 h 1539"/>
                <a:gd name="T60" fmla="*/ 946 w 1007"/>
                <a:gd name="T61" fmla="*/ 1539 h 1539"/>
                <a:gd name="T62" fmla="*/ 945 w 1007"/>
                <a:gd name="T63" fmla="*/ 1305 h 1539"/>
                <a:gd name="T64" fmla="*/ 1007 w 1007"/>
                <a:gd name="T65" fmla="*/ 1029 h 1539"/>
                <a:gd name="T66" fmla="*/ 1007 w 1007"/>
                <a:gd name="T67" fmla="*/ 277 h 15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07" h="1539">
                  <a:moveTo>
                    <a:pt x="1007" y="277"/>
                  </a:moveTo>
                  <a:cubicBezTo>
                    <a:pt x="1007" y="236"/>
                    <a:pt x="974" y="203"/>
                    <a:pt x="933" y="203"/>
                  </a:cubicBezTo>
                  <a:cubicBezTo>
                    <a:pt x="892" y="203"/>
                    <a:pt x="859" y="236"/>
                    <a:pt x="859" y="277"/>
                  </a:cubicBezTo>
                  <a:cubicBezTo>
                    <a:pt x="859" y="689"/>
                    <a:pt x="859" y="689"/>
                    <a:pt x="859" y="689"/>
                  </a:cubicBezTo>
                  <a:cubicBezTo>
                    <a:pt x="823" y="689"/>
                    <a:pt x="823" y="689"/>
                    <a:pt x="823" y="689"/>
                  </a:cubicBezTo>
                  <a:cubicBezTo>
                    <a:pt x="823" y="197"/>
                    <a:pt x="823" y="197"/>
                    <a:pt x="823" y="197"/>
                  </a:cubicBezTo>
                  <a:cubicBezTo>
                    <a:pt x="823" y="197"/>
                    <a:pt x="823" y="197"/>
                    <a:pt x="823" y="197"/>
                  </a:cubicBezTo>
                  <a:cubicBezTo>
                    <a:pt x="823" y="156"/>
                    <a:pt x="790" y="124"/>
                    <a:pt x="749" y="124"/>
                  </a:cubicBezTo>
                  <a:cubicBezTo>
                    <a:pt x="709" y="124"/>
                    <a:pt x="676" y="156"/>
                    <a:pt x="676" y="197"/>
                  </a:cubicBezTo>
                  <a:cubicBezTo>
                    <a:pt x="676" y="197"/>
                    <a:pt x="676" y="197"/>
                    <a:pt x="676" y="197"/>
                  </a:cubicBezTo>
                  <a:cubicBezTo>
                    <a:pt x="676" y="646"/>
                    <a:pt x="676" y="646"/>
                    <a:pt x="676" y="646"/>
                  </a:cubicBezTo>
                  <a:cubicBezTo>
                    <a:pt x="639" y="646"/>
                    <a:pt x="639" y="646"/>
                    <a:pt x="639" y="646"/>
                  </a:cubicBezTo>
                  <a:cubicBezTo>
                    <a:pt x="639" y="73"/>
                    <a:pt x="639" y="73"/>
                    <a:pt x="639" y="73"/>
                  </a:cubicBezTo>
                  <a:cubicBezTo>
                    <a:pt x="639" y="33"/>
                    <a:pt x="606" y="0"/>
                    <a:pt x="566" y="0"/>
                  </a:cubicBezTo>
                  <a:cubicBezTo>
                    <a:pt x="525" y="0"/>
                    <a:pt x="492" y="33"/>
                    <a:pt x="492" y="73"/>
                  </a:cubicBezTo>
                  <a:cubicBezTo>
                    <a:pt x="492" y="603"/>
                    <a:pt x="492" y="603"/>
                    <a:pt x="492" y="603"/>
                  </a:cubicBezTo>
                  <a:cubicBezTo>
                    <a:pt x="455" y="603"/>
                    <a:pt x="455" y="603"/>
                    <a:pt x="455" y="603"/>
                  </a:cubicBezTo>
                  <a:cubicBezTo>
                    <a:pt x="455" y="391"/>
                    <a:pt x="455" y="391"/>
                    <a:pt x="455" y="391"/>
                  </a:cubicBezTo>
                  <a:cubicBezTo>
                    <a:pt x="455" y="160"/>
                    <a:pt x="455" y="160"/>
                    <a:pt x="455" y="160"/>
                  </a:cubicBezTo>
                  <a:cubicBezTo>
                    <a:pt x="455" y="119"/>
                    <a:pt x="422" y="86"/>
                    <a:pt x="382" y="86"/>
                  </a:cubicBezTo>
                  <a:cubicBezTo>
                    <a:pt x="341" y="86"/>
                    <a:pt x="308" y="119"/>
                    <a:pt x="308" y="160"/>
                  </a:cubicBezTo>
                  <a:cubicBezTo>
                    <a:pt x="308" y="689"/>
                    <a:pt x="308" y="689"/>
                    <a:pt x="308" y="689"/>
                  </a:cubicBezTo>
                  <a:cubicBezTo>
                    <a:pt x="309" y="690"/>
                    <a:pt x="309" y="690"/>
                    <a:pt x="309" y="690"/>
                  </a:cubicBezTo>
                  <a:cubicBezTo>
                    <a:pt x="309" y="867"/>
                    <a:pt x="309" y="867"/>
                    <a:pt x="309" y="867"/>
                  </a:cubicBezTo>
                  <a:cubicBezTo>
                    <a:pt x="146" y="552"/>
                    <a:pt x="146" y="552"/>
                    <a:pt x="146" y="552"/>
                  </a:cubicBezTo>
                  <a:cubicBezTo>
                    <a:pt x="124" y="518"/>
                    <a:pt x="79" y="508"/>
                    <a:pt x="44" y="530"/>
                  </a:cubicBezTo>
                  <a:cubicBezTo>
                    <a:pt x="10" y="552"/>
                    <a:pt x="0" y="597"/>
                    <a:pt x="22" y="631"/>
                  </a:cubicBezTo>
                  <a:cubicBezTo>
                    <a:pt x="210" y="1025"/>
                    <a:pt x="210" y="1025"/>
                    <a:pt x="210" y="1025"/>
                  </a:cubicBezTo>
                  <a:cubicBezTo>
                    <a:pt x="404" y="1296"/>
                    <a:pt x="404" y="1296"/>
                    <a:pt x="404" y="1296"/>
                  </a:cubicBezTo>
                  <a:cubicBezTo>
                    <a:pt x="404" y="1539"/>
                    <a:pt x="404" y="1539"/>
                    <a:pt x="404" y="1539"/>
                  </a:cubicBezTo>
                  <a:cubicBezTo>
                    <a:pt x="946" y="1539"/>
                    <a:pt x="946" y="1539"/>
                    <a:pt x="946" y="1539"/>
                  </a:cubicBezTo>
                  <a:cubicBezTo>
                    <a:pt x="945" y="1305"/>
                    <a:pt x="945" y="1305"/>
                    <a:pt x="945" y="1305"/>
                  </a:cubicBezTo>
                  <a:cubicBezTo>
                    <a:pt x="1007" y="1029"/>
                    <a:pt x="1007" y="1029"/>
                    <a:pt x="1007" y="1029"/>
                  </a:cubicBezTo>
                  <a:lnTo>
                    <a:pt x="1007" y="277"/>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41" name="Freeform 46"/>
            <p:cNvSpPr>
              <a:spLocks noEditPoints="1"/>
            </p:cNvSpPr>
            <p:nvPr/>
          </p:nvSpPr>
          <p:spPr bwMode="auto">
            <a:xfrm>
              <a:off x="1868545" y="2599760"/>
              <a:ext cx="1732928" cy="1388800"/>
            </a:xfrm>
            <a:custGeom>
              <a:avLst/>
              <a:gdLst>
                <a:gd name="T0" fmla="*/ 970 w 2098"/>
                <a:gd name="T1" fmla="*/ 548 h 1680"/>
                <a:gd name="T2" fmla="*/ 927 w 2098"/>
                <a:gd name="T3" fmla="*/ 511 h 1680"/>
                <a:gd name="T4" fmla="*/ 1111 w 2098"/>
                <a:gd name="T5" fmla="*/ 577 h 1680"/>
                <a:gd name="T6" fmla="*/ 1144 w 2098"/>
                <a:gd name="T7" fmla="*/ 524 h 1680"/>
                <a:gd name="T8" fmla="*/ 1111 w 2098"/>
                <a:gd name="T9" fmla="*/ 577 h 1680"/>
                <a:gd name="T10" fmla="*/ 1111 w 2098"/>
                <a:gd name="T11" fmla="*/ 718 h 1680"/>
                <a:gd name="T12" fmla="*/ 1148 w 2098"/>
                <a:gd name="T13" fmla="*/ 727 h 1680"/>
                <a:gd name="T14" fmla="*/ 1639 w 2098"/>
                <a:gd name="T15" fmla="*/ 202 h 1680"/>
                <a:gd name="T16" fmla="*/ 1552 w 2098"/>
                <a:gd name="T17" fmla="*/ 88 h 1680"/>
                <a:gd name="T18" fmla="*/ 1295 w 2098"/>
                <a:gd name="T19" fmla="*/ 362 h 1680"/>
                <a:gd name="T20" fmla="*/ 1631 w 2098"/>
                <a:gd name="T21" fmla="*/ 198 h 1680"/>
                <a:gd name="T22" fmla="*/ 1100 w 2098"/>
                <a:gd name="T23" fmla="*/ 972 h 1680"/>
                <a:gd name="T24" fmla="*/ 999 w 2098"/>
                <a:gd name="T25" fmla="*/ 972 h 1680"/>
                <a:gd name="T26" fmla="*/ 1100 w 2098"/>
                <a:gd name="T27" fmla="*/ 972 h 1680"/>
                <a:gd name="T28" fmla="*/ 1924 w 2098"/>
                <a:gd name="T29" fmla="*/ 773 h 1680"/>
                <a:gd name="T30" fmla="*/ 1479 w 2098"/>
                <a:gd name="T31" fmla="*/ 737 h 1680"/>
                <a:gd name="T32" fmla="*/ 2090 w 2098"/>
                <a:gd name="T33" fmla="*/ 845 h 1680"/>
                <a:gd name="T34" fmla="*/ 1119 w 2098"/>
                <a:gd name="T35" fmla="*/ 963 h 1680"/>
                <a:gd name="T36" fmla="*/ 1295 w 2098"/>
                <a:gd name="T37" fmla="*/ 730 h 1680"/>
                <a:gd name="T38" fmla="*/ 1331 w 2098"/>
                <a:gd name="T39" fmla="*/ 722 h 1680"/>
                <a:gd name="T40" fmla="*/ 1566 w 2098"/>
                <a:gd name="T41" fmla="*/ 329 h 1680"/>
                <a:gd name="T42" fmla="*/ 1143 w 2098"/>
                <a:gd name="T43" fmla="*/ 917 h 1680"/>
                <a:gd name="T44" fmla="*/ 1049 w 2098"/>
                <a:gd name="T45" fmla="*/ 963 h 1680"/>
                <a:gd name="T46" fmla="*/ 957 w 2098"/>
                <a:gd name="T47" fmla="*/ 918 h 1680"/>
                <a:gd name="T48" fmla="*/ 402 w 2098"/>
                <a:gd name="T49" fmla="*/ 31 h 1680"/>
                <a:gd name="T50" fmla="*/ 780 w 2098"/>
                <a:gd name="T51" fmla="*/ 346 h 1680"/>
                <a:gd name="T52" fmla="*/ 531 w 2098"/>
                <a:gd name="T53" fmla="*/ 90 h 1680"/>
                <a:gd name="T54" fmla="*/ 409 w 2098"/>
                <a:gd name="T55" fmla="*/ 123 h 1680"/>
                <a:gd name="T56" fmla="*/ 950 w 2098"/>
                <a:gd name="T57" fmla="*/ 924 h 1680"/>
                <a:gd name="T58" fmla="*/ 311 w 2098"/>
                <a:gd name="T59" fmla="*/ 927 h 1680"/>
                <a:gd name="T60" fmla="*/ 140 w 2098"/>
                <a:gd name="T61" fmla="*/ 789 h 1680"/>
                <a:gd name="T62" fmla="*/ 493 w 2098"/>
                <a:gd name="T63" fmla="*/ 736 h 1680"/>
                <a:gd name="T64" fmla="*/ 0 w 2098"/>
                <a:gd name="T65" fmla="*/ 845 h 1680"/>
                <a:gd name="T66" fmla="*/ 310 w 2098"/>
                <a:gd name="T67" fmla="*/ 936 h 1680"/>
                <a:gd name="T68" fmla="*/ 1045 w 2098"/>
                <a:gd name="T69" fmla="*/ 1042 h 1680"/>
                <a:gd name="T70" fmla="*/ 413 w 2098"/>
                <a:gd name="T71" fmla="*/ 1667 h 1680"/>
                <a:gd name="T72" fmla="*/ 577 w 2098"/>
                <a:gd name="T73" fmla="*/ 1290 h 1680"/>
                <a:gd name="T74" fmla="*/ 407 w 2098"/>
                <a:gd name="T75" fmla="*/ 1674 h 1680"/>
                <a:gd name="T76" fmla="*/ 501 w 2098"/>
                <a:gd name="T77" fmla="*/ 1639 h 1680"/>
                <a:gd name="T78" fmla="*/ 1051 w 2098"/>
                <a:gd name="T79" fmla="*/ 1049 h 1680"/>
                <a:gd name="T80" fmla="*/ 1609 w 2098"/>
                <a:gd name="T81" fmla="*/ 1631 h 1680"/>
                <a:gd name="T82" fmla="*/ 1702 w 2098"/>
                <a:gd name="T83" fmla="*/ 1666 h 1680"/>
                <a:gd name="T84" fmla="*/ 1464 w 2098"/>
                <a:gd name="T85" fmla="*/ 1204 h 1680"/>
                <a:gd name="T86" fmla="*/ 1444 w 2098"/>
                <a:gd name="T87" fmla="*/ 1474 h 1680"/>
                <a:gd name="T88" fmla="*/ 1112 w 2098"/>
                <a:gd name="T89" fmla="*/ 972 h 1680"/>
                <a:gd name="T90" fmla="*/ 2013 w 2098"/>
                <a:gd name="T91" fmla="*/ 897 h 1680"/>
                <a:gd name="T92" fmla="*/ 657 w 2098"/>
                <a:gd name="T93" fmla="*/ 735 h 1680"/>
                <a:gd name="T94" fmla="*/ 780 w 2098"/>
                <a:gd name="T95" fmla="*/ 722 h 1680"/>
                <a:gd name="T96" fmla="*/ 657 w 2098"/>
                <a:gd name="T97" fmla="*/ 735 h 1680"/>
                <a:gd name="T98" fmla="*/ 624 w 2098"/>
                <a:gd name="T99" fmla="*/ 1217 h 1680"/>
                <a:gd name="T100" fmla="*/ 687 w 2098"/>
                <a:gd name="T101" fmla="*/ 1139 h 1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098" h="1680">
                  <a:moveTo>
                    <a:pt x="964" y="554"/>
                  </a:moveTo>
                  <a:cubicBezTo>
                    <a:pt x="970" y="548"/>
                    <a:pt x="970" y="548"/>
                    <a:pt x="970" y="548"/>
                  </a:cubicBezTo>
                  <a:cubicBezTo>
                    <a:pt x="958" y="533"/>
                    <a:pt x="940" y="512"/>
                    <a:pt x="927" y="498"/>
                  </a:cubicBezTo>
                  <a:cubicBezTo>
                    <a:pt x="927" y="511"/>
                    <a:pt x="927" y="511"/>
                    <a:pt x="927" y="511"/>
                  </a:cubicBezTo>
                  <a:cubicBezTo>
                    <a:pt x="940" y="526"/>
                    <a:pt x="951" y="539"/>
                    <a:pt x="964" y="554"/>
                  </a:cubicBezTo>
                  <a:moveTo>
                    <a:pt x="1111" y="577"/>
                  </a:moveTo>
                  <a:cubicBezTo>
                    <a:pt x="1125" y="561"/>
                    <a:pt x="1138" y="545"/>
                    <a:pt x="1151" y="529"/>
                  </a:cubicBezTo>
                  <a:cubicBezTo>
                    <a:pt x="1144" y="524"/>
                    <a:pt x="1144" y="524"/>
                    <a:pt x="1144" y="524"/>
                  </a:cubicBezTo>
                  <a:cubicBezTo>
                    <a:pt x="1131" y="539"/>
                    <a:pt x="1118" y="555"/>
                    <a:pt x="1105" y="571"/>
                  </a:cubicBezTo>
                  <a:lnTo>
                    <a:pt x="1111" y="577"/>
                  </a:lnTo>
                  <a:close/>
                  <a:moveTo>
                    <a:pt x="1148" y="718"/>
                  </a:moveTo>
                  <a:cubicBezTo>
                    <a:pt x="1137" y="718"/>
                    <a:pt x="1122" y="718"/>
                    <a:pt x="1111" y="718"/>
                  </a:cubicBezTo>
                  <a:cubicBezTo>
                    <a:pt x="1111" y="727"/>
                    <a:pt x="1111" y="727"/>
                    <a:pt x="1111" y="727"/>
                  </a:cubicBezTo>
                  <a:cubicBezTo>
                    <a:pt x="1122" y="727"/>
                    <a:pt x="1137" y="727"/>
                    <a:pt x="1148" y="727"/>
                  </a:cubicBezTo>
                  <a:lnTo>
                    <a:pt x="1148" y="718"/>
                  </a:lnTo>
                  <a:close/>
                  <a:moveTo>
                    <a:pt x="1639" y="202"/>
                  </a:moveTo>
                  <a:cubicBezTo>
                    <a:pt x="1696" y="93"/>
                    <a:pt x="1713" y="32"/>
                    <a:pt x="1692" y="15"/>
                  </a:cubicBezTo>
                  <a:cubicBezTo>
                    <a:pt x="1672" y="0"/>
                    <a:pt x="1627" y="24"/>
                    <a:pt x="1552" y="88"/>
                  </a:cubicBezTo>
                  <a:cubicBezTo>
                    <a:pt x="1484" y="147"/>
                    <a:pt x="1396" y="236"/>
                    <a:pt x="1295" y="349"/>
                  </a:cubicBezTo>
                  <a:cubicBezTo>
                    <a:pt x="1295" y="362"/>
                    <a:pt x="1295" y="362"/>
                    <a:pt x="1295" y="362"/>
                  </a:cubicBezTo>
                  <a:cubicBezTo>
                    <a:pt x="1542" y="86"/>
                    <a:pt x="1662" y="4"/>
                    <a:pt x="1686" y="22"/>
                  </a:cubicBezTo>
                  <a:cubicBezTo>
                    <a:pt x="1694" y="29"/>
                    <a:pt x="1705" y="58"/>
                    <a:pt x="1631" y="198"/>
                  </a:cubicBezTo>
                  <a:lnTo>
                    <a:pt x="1639" y="202"/>
                  </a:lnTo>
                  <a:close/>
                  <a:moveTo>
                    <a:pt x="1100" y="972"/>
                  </a:moveTo>
                  <a:cubicBezTo>
                    <a:pt x="1084" y="993"/>
                    <a:pt x="1067" y="1014"/>
                    <a:pt x="1051" y="1035"/>
                  </a:cubicBezTo>
                  <a:cubicBezTo>
                    <a:pt x="1034" y="1014"/>
                    <a:pt x="1017" y="993"/>
                    <a:pt x="999" y="972"/>
                  </a:cubicBezTo>
                  <a:cubicBezTo>
                    <a:pt x="1016" y="972"/>
                    <a:pt x="1033" y="972"/>
                    <a:pt x="1049" y="972"/>
                  </a:cubicBezTo>
                  <a:cubicBezTo>
                    <a:pt x="1066" y="972"/>
                    <a:pt x="1083" y="972"/>
                    <a:pt x="1100" y="972"/>
                  </a:cubicBezTo>
                  <a:moveTo>
                    <a:pt x="2098" y="845"/>
                  </a:moveTo>
                  <a:cubicBezTo>
                    <a:pt x="2098" y="818"/>
                    <a:pt x="2041" y="794"/>
                    <a:pt x="1924" y="773"/>
                  </a:cubicBezTo>
                  <a:cubicBezTo>
                    <a:pt x="1814" y="753"/>
                    <a:pt x="1659" y="738"/>
                    <a:pt x="1479" y="728"/>
                  </a:cubicBezTo>
                  <a:cubicBezTo>
                    <a:pt x="1479" y="737"/>
                    <a:pt x="1479" y="737"/>
                    <a:pt x="1479" y="737"/>
                  </a:cubicBezTo>
                  <a:cubicBezTo>
                    <a:pt x="1659" y="747"/>
                    <a:pt x="1813" y="762"/>
                    <a:pt x="1922" y="782"/>
                  </a:cubicBezTo>
                  <a:cubicBezTo>
                    <a:pt x="2073" y="809"/>
                    <a:pt x="2090" y="835"/>
                    <a:pt x="2090" y="845"/>
                  </a:cubicBezTo>
                  <a:cubicBezTo>
                    <a:pt x="2090" y="856"/>
                    <a:pt x="2068" y="894"/>
                    <a:pt x="1787" y="927"/>
                  </a:cubicBezTo>
                  <a:cubicBezTo>
                    <a:pt x="1607" y="949"/>
                    <a:pt x="1371" y="961"/>
                    <a:pt x="1119" y="963"/>
                  </a:cubicBezTo>
                  <a:cubicBezTo>
                    <a:pt x="1129" y="950"/>
                    <a:pt x="1140" y="936"/>
                    <a:pt x="1150" y="923"/>
                  </a:cubicBezTo>
                  <a:cubicBezTo>
                    <a:pt x="1200" y="858"/>
                    <a:pt x="1249" y="793"/>
                    <a:pt x="1295" y="730"/>
                  </a:cubicBezTo>
                  <a:cubicBezTo>
                    <a:pt x="1307" y="730"/>
                    <a:pt x="1319" y="730"/>
                    <a:pt x="1331" y="731"/>
                  </a:cubicBezTo>
                  <a:cubicBezTo>
                    <a:pt x="1331" y="722"/>
                    <a:pt x="1331" y="722"/>
                    <a:pt x="1331" y="722"/>
                  </a:cubicBezTo>
                  <a:cubicBezTo>
                    <a:pt x="1321" y="722"/>
                    <a:pt x="1312" y="721"/>
                    <a:pt x="1301" y="721"/>
                  </a:cubicBezTo>
                  <a:cubicBezTo>
                    <a:pt x="1405" y="579"/>
                    <a:pt x="1496" y="444"/>
                    <a:pt x="1566" y="329"/>
                  </a:cubicBezTo>
                  <a:cubicBezTo>
                    <a:pt x="1559" y="324"/>
                    <a:pt x="1559" y="324"/>
                    <a:pt x="1559" y="324"/>
                  </a:cubicBezTo>
                  <a:cubicBezTo>
                    <a:pt x="1457" y="492"/>
                    <a:pt x="1309" y="703"/>
                    <a:pt x="1143" y="917"/>
                  </a:cubicBezTo>
                  <a:cubicBezTo>
                    <a:pt x="1131" y="933"/>
                    <a:pt x="1119" y="948"/>
                    <a:pt x="1107" y="963"/>
                  </a:cubicBezTo>
                  <a:cubicBezTo>
                    <a:pt x="1088" y="963"/>
                    <a:pt x="1069" y="963"/>
                    <a:pt x="1049" y="963"/>
                  </a:cubicBezTo>
                  <a:cubicBezTo>
                    <a:pt x="1030" y="963"/>
                    <a:pt x="1011" y="963"/>
                    <a:pt x="992" y="963"/>
                  </a:cubicBezTo>
                  <a:cubicBezTo>
                    <a:pt x="980" y="948"/>
                    <a:pt x="969" y="933"/>
                    <a:pt x="957" y="918"/>
                  </a:cubicBezTo>
                  <a:cubicBezTo>
                    <a:pt x="783" y="700"/>
                    <a:pt x="630" y="487"/>
                    <a:pt x="525" y="318"/>
                  </a:cubicBezTo>
                  <a:cubicBezTo>
                    <a:pt x="377" y="79"/>
                    <a:pt x="393" y="38"/>
                    <a:pt x="402" y="31"/>
                  </a:cubicBezTo>
                  <a:cubicBezTo>
                    <a:pt x="416" y="19"/>
                    <a:pt x="461" y="44"/>
                    <a:pt x="526" y="97"/>
                  </a:cubicBezTo>
                  <a:cubicBezTo>
                    <a:pt x="592" y="152"/>
                    <a:pt x="681" y="240"/>
                    <a:pt x="780" y="346"/>
                  </a:cubicBezTo>
                  <a:cubicBezTo>
                    <a:pt x="780" y="333"/>
                    <a:pt x="780" y="333"/>
                    <a:pt x="780" y="333"/>
                  </a:cubicBezTo>
                  <a:cubicBezTo>
                    <a:pt x="681" y="226"/>
                    <a:pt x="598" y="145"/>
                    <a:pt x="531" y="90"/>
                  </a:cubicBezTo>
                  <a:cubicBezTo>
                    <a:pt x="459" y="31"/>
                    <a:pt x="415" y="9"/>
                    <a:pt x="396" y="24"/>
                  </a:cubicBezTo>
                  <a:cubicBezTo>
                    <a:pt x="381" y="36"/>
                    <a:pt x="386" y="68"/>
                    <a:pt x="409" y="123"/>
                  </a:cubicBezTo>
                  <a:cubicBezTo>
                    <a:pt x="430" y="173"/>
                    <a:pt x="467" y="241"/>
                    <a:pt x="518" y="323"/>
                  </a:cubicBezTo>
                  <a:cubicBezTo>
                    <a:pt x="623" y="492"/>
                    <a:pt x="776" y="705"/>
                    <a:pt x="950" y="924"/>
                  </a:cubicBezTo>
                  <a:cubicBezTo>
                    <a:pt x="960" y="937"/>
                    <a:pt x="971" y="950"/>
                    <a:pt x="981" y="963"/>
                  </a:cubicBezTo>
                  <a:cubicBezTo>
                    <a:pt x="728" y="961"/>
                    <a:pt x="492" y="949"/>
                    <a:pt x="311" y="927"/>
                  </a:cubicBezTo>
                  <a:cubicBezTo>
                    <a:pt x="31" y="894"/>
                    <a:pt x="9" y="856"/>
                    <a:pt x="9" y="845"/>
                  </a:cubicBezTo>
                  <a:cubicBezTo>
                    <a:pt x="9" y="836"/>
                    <a:pt x="22" y="813"/>
                    <a:pt x="140" y="789"/>
                  </a:cubicBezTo>
                  <a:cubicBezTo>
                    <a:pt x="226" y="771"/>
                    <a:pt x="350" y="756"/>
                    <a:pt x="497" y="745"/>
                  </a:cubicBezTo>
                  <a:cubicBezTo>
                    <a:pt x="493" y="736"/>
                    <a:pt x="493" y="736"/>
                    <a:pt x="493" y="736"/>
                  </a:cubicBezTo>
                  <a:cubicBezTo>
                    <a:pt x="346" y="747"/>
                    <a:pt x="224" y="762"/>
                    <a:pt x="139" y="780"/>
                  </a:cubicBezTo>
                  <a:cubicBezTo>
                    <a:pt x="46" y="799"/>
                    <a:pt x="0" y="821"/>
                    <a:pt x="0" y="845"/>
                  </a:cubicBezTo>
                  <a:cubicBezTo>
                    <a:pt x="0" y="864"/>
                    <a:pt x="28" y="881"/>
                    <a:pt x="86" y="897"/>
                  </a:cubicBezTo>
                  <a:cubicBezTo>
                    <a:pt x="139" y="911"/>
                    <a:pt x="214" y="925"/>
                    <a:pt x="310" y="936"/>
                  </a:cubicBezTo>
                  <a:cubicBezTo>
                    <a:pt x="493" y="957"/>
                    <a:pt x="732" y="970"/>
                    <a:pt x="988" y="972"/>
                  </a:cubicBezTo>
                  <a:cubicBezTo>
                    <a:pt x="1007" y="995"/>
                    <a:pt x="1026" y="1019"/>
                    <a:pt x="1045" y="1042"/>
                  </a:cubicBezTo>
                  <a:cubicBezTo>
                    <a:pt x="908" y="1212"/>
                    <a:pt x="775" y="1364"/>
                    <a:pt x="663" y="1479"/>
                  </a:cubicBezTo>
                  <a:cubicBezTo>
                    <a:pt x="465" y="1680"/>
                    <a:pt x="421" y="1674"/>
                    <a:pt x="413" y="1667"/>
                  </a:cubicBezTo>
                  <a:cubicBezTo>
                    <a:pt x="391" y="1651"/>
                    <a:pt x="425" y="1544"/>
                    <a:pt x="584" y="1294"/>
                  </a:cubicBezTo>
                  <a:cubicBezTo>
                    <a:pt x="577" y="1290"/>
                    <a:pt x="577" y="1290"/>
                    <a:pt x="577" y="1290"/>
                  </a:cubicBezTo>
                  <a:cubicBezTo>
                    <a:pt x="510" y="1394"/>
                    <a:pt x="459" y="1483"/>
                    <a:pt x="430" y="1548"/>
                  </a:cubicBezTo>
                  <a:cubicBezTo>
                    <a:pt x="397" y="1620"/>
                    <a:pt x="390" y="1661"/>
                    <a:pt x="407" y="1674"/>
                  </a:cubicBezTo>
                  <a:cubicBezTo>
                    <a:pt x="411" y="1677"/>
                    <a:pt x="416" y="1679"/>
                    <a:pt x="421" y="1679"/>
                  </a:cubicBezTo>
                  <a:cubicBezTo>
                    <a:pt x="439" y="1679"/>
                    <a:pt x="465" y="1665"/>
                    <a:pt x="501" y="1639"/>
                  </a:cubicBezTo>
                  <a:cubicBezTo>
                    <a:pt x="545" y="1606"/>
                    <a:pt x="601" y="1554"/>
                    <a:pt x="669" y="1485"/>
                  </a:cubicBezTo>
                  <a:cubicBezTo>
                    <a:pt x="781" y="1371"/>
                    <a:pt x="914" y="1219"/>
                    <a:pt x="1051" y="1049"/>
                  </a:cubicBezTo>
                  <a:cubicBezTo>
                    <a:pt x="1190" y="1217"/>
                    <a:pt x="1324" y="1367"/>
                    <a:pt x="1438" y="1480"/>
                  </a:cubicBezTo>
                  <a:cubicBezTo>
                    <a:pt x="1507" y="1548"/>
                    <a:pt x="1564" y="1599"/>
                    <a:pt x="1609" y="1631"/>
                  </a:cubicBezTo>
                  <a:cubicBezTo>
                    <a:pt x="1644" y="1657"/>
                    <a:pt x="1671" y="1670"/>
                    <a:pt x="1688" y="1670"/>
                  </a:cubicBezTo>
                  <a:cubicBezTo>
                    <a:pt x="1694" y="1670"/>
                    <a:pt x="1699" y="1669"/>
                    <a:pt x="1702" y="1666"/>
                  </a:cubicBezTo>
                  <a:cubicBezTo>
                    <a:pt x="1754" y="1624"/>
                    <a:pt x="1554" y="1319"/>
                    <a:pt x="1466" y="1192"/>
                  </a:cubicBezTo>
                  <a:cubicBezTo>
                    <a:pt x="1464" y="1204"/>
                    <a:pt x="1464" y="1204"/>
                    <a:pt x="1464" y="1204"/>
                  </a:cubicBezTo>
                  <a:cubicBezTo>
                    <a:pt x="1675" y="1511"/>
                    <a:pt x="1721" y="1640"/>
                    <a:pt x="1697" y="1659"/>
                  </a:cubicBezTo>
                  <a:cubicBezTo>
                    <a:pt x="1688" y="1666"/>
                    <a:pt x="1645" y="1673"/>
                    <a:pt x="1444" y="1474"/>
                  </a:cubicBezTo>
                  <a:cubicBezTo>
                    <a:pt x="1330" y="1361"/>
                    <a:pt x="1196" y="1210"/>
                    <a:pt x="1056" y="1042"/>
                  </a:cubicBezTo>
                  <a:cubicBezTo>
                    <a:pt x="1075" y="1019"/>
                    <a:pt x="1093" y="995"/>
                    <a:pt x="1112" y="972"/>
                  </a:cubicBezTo>
                  <a:cubicBezTo>
                    <a:pt x="1367" y="970"/>
                    <a:pt x="1606" y="957"/>
                    <a:pt x="1788" y="936"/>
                  </a:cubicBezTo>
                  <a:cubicBezTo>
                    <a:pt x="1885" y="925"/>
                    <a:pt x="1960" y="911"/>
                    <a:pt x="2013" y="897"/>
                  </a:cubicBezTo>
                  <a:cubicBezTo>
                    <a:pt x="2070" y="881"/>
                    <a:pt x="2098" y="864"/>
                    <a:pt x="2098" y="845"/>
                  </a:cubicBezTo>
                  <a:moveTo>
                    <a:pt x="657" y="735"/>
                  </a:moveTo>
                  <a:cubicBezTo>
                    <a:pt x="697" y="733"/>
                    <a:pt x="738" y="732"/>
                    <a:pt x="780" y="730"/>
                  </a:cubicBezTo>
                  <a:cubicBezTo>
                    <a:pt x="780" y="722"/>
                    <a:pt x="780" y="722"/>
                    <a:pt x="780" y="722"/>
                  </a:cubicBezTo>
                  <a:cubicBezTo>
                    <a:pt x="738" y="723"/>
                    <a:pt x="693" y="725"/>
                    <a:pt x="653" y="727"/>
                  </a:cubicBezTo>
                  <a:lnTo>
                    <a:pt x="657" y="735"/>
                  </a:lnTo>
                  <a:close/>
                  <a:moveTo>
                    <a:pt x="682" y="1131"/>
                  </a:moveTo>
                  <a:cubicBezTo>
                    <a:pt x="662" y="1160"/>
                    <a:pt x="643" y="1189"/>
                    <a:pt x="624" y="1217"/>
                  </a:cubicBezTo>
                  <a:cubicBezTo>
                    <a:pt x="631" y="1222"/>
                    <a:pt x="631" y="1222"/>
                    <a:pt x="631" y="1222"/>
                  </a:cubicBezTo>
                  <a:cubicBezTo>
                    <a:pt x="649" y="1195"/>
                    <a:pt x="668" y="1167"/>
                    <a:pt x="687" y="1139"/>
                  </a:cubicBezTo>
                  <a:cubicBezTo>
                    <a:pt x="685" y="1135"/>
                    <a:pt x="682" y="1131"/>
                    <a:pt x="682" y="1131"/>
                  </a:cubicBezTo>
                </a:path>
              </a:pathLst>
            </a:custGeom>
            <a:solidFill>
              <a:srgbClr val="FFFFFF"/>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IN" dirty="0"/>
            </a:p>
          </p:txBody>
        </p:sp>
        <p:sp>
          <p:nvSpPr>
            <p:cNvPr id="142" name="Rectangle 6"/>
            <p:cNvSpPr>
              <a:spLocks noChangeArrowheads="1"/>
            </p:cNvSpPr>
            <p:nvPr/>
          </p:nvSpPr>
          <p:spPr bwMode="auto">
            <a:xfrm>
              <a:off x="1652390" y="5699460"/>
              <a:ext cx="218960" cy="593604"/>
            </a:xfrm>
            <a:prstGeom prst="rect">
              <a:avLst/>
            </a:prstGeom>
            <a:solidFill>
              <a:schemeClr val="accent6">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dirty="0"/>
            </a:p>
          </p:txBody>
        </p:sp>
        <p:sp>
          <p:nvSpPr>
            <p:cNvPr id="143" name="Rectangle 5"/>
            <p:cNvSpPr>
              <a:spLocks noChangeArrowheads="1"/>
            </p:cNvSpPr>
            <p:nvPr/>
          </p:nvSpPr>
          <p:spPr bwMode="auto">
            <a:xfrm>
              <a:off x="1447971" y="6149055"/>
              <a:ext cx="504634" cy="306607"/>
            </a:xfrm>
            <a:prstGeom prst="rect">
              <a:avLst/>
            </a:prstGeom>
            <a:solidFill>
              <a:schemeClr val="accent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dirty="0"/>
            </a:p>
          </p:txBody>
        </p:sp>
        <p:sp>
          <p:nvSpPr>
            <p:cNvPr id="144" name="Freeform 143"/>
            <p:cNvSpPr>
              <a:spLocks noChangeArrowheads="1"/>
            </p:cNvSpPr>
            <p:nvPr/>
          </p:nvSpPr>
          <p:spPr bwMode="auto">
            <a:xfrm>
              <a:off x="2617524" y="4598377"/>
              <a:ext cx="409338" cy="1857285"/>
            </a:xfrm>
            <a:custGeom>
              <a:avLst/>
              <a:gdLst>
                <a:gd name="connsiteX0" fmla="*/ 622314 w 622314"/>
                <a:gd name="connsiteY0" fmla="*/ 0 h 2886480"/>
                <a:gd name="connsiteX1" fmla="*/ 622314 w 622314"/>
                <a:gd name="connsiteY1" fmla="*/ 2886480 h 2886480"/>
                <a:gd name="connsiteX2" fmla="*/ 0 w 622314"/>
                <a:gd name="connsiteY2" fmla="*/ 2886480 h 2886480"/>
                <a:gd name="connsiteX3" fmla="*/ 0 w 622314"/>
                <a:gd name="connsiteY3" fmla="*/ 0 h 2886480"/>
                <a:gd name="connsiteX4" fmla="*/ 79779 w 622314"/>
                <a:gd name="connsiteY4" fmla="*/ 9367 h 2886480"/>
                <a:gd name="connsiteX5" fmla="*/ 542531 w 622314"/>
                <a:gd name="connsiteY5" fmla="*/ 9367 h 28864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2314" h="2886480">
                  <a:moveTo>
                    <a:pt x="622314" y="0"/>
                  </a:moveTo>
                  <a:lnTo>
                    <a:pt x="622314" y="2886480"/>
                  </a:lnTo>
                  <a:lnTo>
                    <a:pt x="0" y="2886480"/>
                  </a:lnTo>
                  <a:lnTo>
                    <a:pt x="0" y="0"/>
                  </a:lnTo>
                  <a:lnTo>
                    <a:pt x="79779" y="9367"/>
                  </a:lnTo>
                  <a:cubicBezTo>
                    <a:pt x="232138" y="20995"/>
                    <a:pt x="390172" y="20995"/>
                    <a:pt x="542531" y="9367"/>
                  </a:cubicBezTo>
                  <a:close/>
                </a:path>
              </a:pathLst>
            </a:custGeom>
            <a:solidFill>
              <a:schemeClr val="accent1"/>
            </a:solidFill>
            <a:ln>
              <a:noFill/>
            </a:ln>
            <a:extLst/>
          </p:spPr>
          <p:txBody>
            <a:bodyPr vert="horz" wrap="square" lIns="89642" tIns="44821" rIns="89642" bIns="44821" numCol="1" anchor="t" anchorCtr="0" compatLnSpc="1">
              <a:prstTxWarp prst="textNoShape">
                <a:avLst/>
              </a:prstTxWarp>
              <a:noAutofit/>
            </a:bodyPr>
            <a:lstStyle/>
            <a:p>
              <a:endParaRPr lang="en-US" sz="1765" dirty="0"/>
            </a:p>
          </p:txBody>
        </p:sp>
        <p:sp>
          <p:nvSpPr>
            <p:cNvPr id="145" name="Rectangle 8"/>
            <p:cNvSpPr>
              <a:spLocks noChangeArrowheads="1"/>
            </p:cNvSpPr>
            <p:nvPr/>
          </p:nvSpPr>
          <p:spPr bwMode="auto">
            <a:xfrm>
              <a:off x="2052926" y="5584188"/>
              <a:ext cx="320743" cy="871474"/>
            </a:xfrm>
            <a:prstGeom prst="rect">
              <a:avLst/>
            </a:prstGeom>
            <a:solidFill>
              <a:schemeClr val="accent5"/>
            </a:solidFill>
            <a:ln>
              <a:noFill/>
            </a:ln>
            <a:extLst/>
          </p:spPr>
          <p:txBody>
            <a:bodyPr vert="horz" wrap="square" lIns="89642" tIns="44821" rIns="89642" bIns="44821" numCol="1" anchor="t" anchorCtr="0" compatLnSpc="1">
              <a:prstTxWarp prst="textNoShape">
                <a:avLst/>
              </a:prstTxWarp>
            </a:bodyPr>
            <a:lstStyle/>
            <a:p>
              <a:endParaRPr lang="en-US" sz="1765" dirty="0"/>
            </a:p>
          </p:txBody>
        </p:sp>
        <p:sp>
          <p:nvSpPr>
            <p:cNvPr id="146" name="Rectangle 9"/>
            <p:cNvSpPr>
              <a:spLocks noChangeArrowheads="1"/>
            </p:cNvSpPr>
            <p:nvPr/>
          </p:nvSpPr>
          <p:spPr bwMode="auto">
            <a:xfrm>
              <a:off x="3740221" y="5930746"/>
              <a:ext cx="501213" cy="503305"/>
            </a:xfrm>
            <a:prstGeom prst="rect">
              <a:avLst/>
            </a:prstGeom>
            <a:solidFill>
              <a:schemeClr val="accent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dirty="0"/>
            </a:p>
          </p:txBody>
        </p:sp>
        <p:sp>
          <p:nvSpPr>
            <p:cNvPr id="151" name="Round Same Side Corner Rectangle 2"/>
            <p:cNvSpPr/>
            <p:nvPr/>
          </p:nvSpPr>
          <p:spPr>
            <a:xfrm flipH="1">
              <a:off x="2140893" y="2499369"/>
              <a:ext cx="163327" cy="331128"/>
            </a:xfrm>
            <a:custGeom>
              <a:avLst/>
              <a:gdLst/>
              <a:ahLst/>
              <a:cxnLst/>
              <a:rect l="l" t="t" r="r" b="b"/>
              <a:pathLst>
                <a:path w="1479550" h="2999631">
                  <a:moveTo>
                    <a:pt x="739775" y="2723722"/>
                  </a:moveTo>
                  <a:cubicBezTo>
                    <a:pt x="701170" y="2723722"/>
                    <a:pt x="669874" y="2755018"/>
                    <a:pt x="669874" y="2793623"/>
                  </a:cubicBezTo>
                  <a:cubicBezTo>
                    <a:pt x="669874" y="2832228"/>
                    <a:pt x="701170" y="2863524"/>
                    <a:pt x="739775" y="2863524"/>
                  </a:cubicBezTo>
                  <a:cubicBezTo>
                    <a:pt x="778380" y="2863524"/>
                    <a:pt x="809676" y="2832228"/>
                    <a:pt x="809676" y="2793623"/>
                  </a:cubicBezTo>
                  <a:cubicBezTo>
                    <a:pt x="809676" y="2755018"/>
                    <a:pt x="778380" y="2723722"/>
                    <a:pt x="739775" y="2723722"/>
                  </a:cubicBezTo>
                  <a:close/>
                  <a:moveTo>
                    <a:pt x="201613" y="1629933"/>
                  </a:moveTo>
                  <a:lnTo>
                    <a:pt x="1123848" y="1629933"/>
                  </a:lnTo>
                  <a:lnTo>
                    <a:pt x="1123848" y="2058558"/>
                  </a:lnTo>
                  <a:lnTo>
                    <a:pt x="201613" y="2058558"/>
                  </a:lnTo>
                  <a:close/>
                  <a:moveTo>
                    <a:pt x="685698" y="1155271"/>
                  </a:moveTo>
                  <a:lnTo>
                    <a:pt x="1123848" y="1155271"/>
                  </a:lnTo>
                  <a:lnTo>
                    <a:pt x="1123848" y="1583896"/>
                  </a:lnTo>
                  <a:lnTo>
                    <a:pt x="685698" y="1583896"/>
                  </a:lnTo>
                  <a:close/>
                  <a:moveTo>
                    <a:pt x="201613" y="1155271"/>
                  </a:moveTo>
                  <a:lnTo>
                    <a:pt x="639763" y="1155271"/>
                  </a:lnTo>
                  <a:lnTo>
                    <a:pt x="639763" y="1583896"/>
                  </a:lnTo>
                  <a:lnTo>
                    <a:pt x="201613" y="1583896"/>
                  </a:lnTo>
                  <a:close/>
                  <a:moveTo>
                    <a:pt x="685698" y="680609"/>
                  </a:moveTo>
                  <a:lnTo>
                    <a:pt x="1123848" y="680609"/>
                  </a:lnTo>
                  <a:lnTo>
                    <a:pt x="1123848" y="1109234"/>
                  </a:lnTo>
                  <a:lnTo>
                    <a:pt x="685698" y="1109234"/>
                  </a:lnTo>
                  <a:close/>
                  <a:moveTo>
                    <a:pt x="201613" y="680609"/>
                  </a:moveTo>
                  <a:lnTo>
                    <a:pt x="639763" y="680609"/>
                  </a:lnTo>
                  <a:lnTo>
                    <a:pt x="639763" y="1109234"/>
                  </a:lnTo>
                  <a:lnTo>
                    <a:pt x="201613" y="1109234"/>
                  </a:lnTo>
                  <a:close/>
                  <a:moveTo>
                    <a:pt x="154163" y="413909"/>
                  </a:moveTo>
                  <a:lnTo>
                    <a:pt x="154163" y="2528459"/>
                  </a:lnTo>
                  <a:lnTo>
                    <a:pt x="201613" y="2528459"/>
                  </a:lnTo>
                  <a:lnTo>
                    <a:pt x="201613" y="2104596"/>
                  </a:lnTo>
                  <a:lnTo>
                    <a:pt x="639763" y="2104596"/>
                  </a:lnTo>
                  <a:lnTo>
                    <a:pt x="639763" y="2528459"/>
                  </a:lnTo>
                  <a:lnTo>
                    <a:pt x="685698" y="2528459"/>
                  </a:lnTo>
                  <a:lnTo>
                    <a:pt x="685698" y="2104596"/>
                  </a:lnTo>
                  <a:lnTo>
                    <a:pt x="1123848" y="2104596"/>
                  </a:lnTo>
                  <a:lnTo>
                    <a:pt x="1123848" y="2528459"/>
                  </a:lnTo>
                  <a:lnTo>
                    <a:pt x="1325388" y="2528459"/>
                  </a:lnTo>
                  <a:lnTo>
                    <a:pt x="1325388" y="413909"/>
                  </a:lnTo>
                  <a:close/>
                  <a:moveTo>
                    <a:pt x="556419" y="171020"/>
                  </a:moveTo>
                  <a:cubicBezTo>
                    <a:pt x="543267" y="171020"/>
                    <a:pt x="532606" y="181681"/>
                    <a:pt x="532606" y="194833"/>
                  </a:cubicBezTo>
                  <a:cubicBezTo>
                    <a:pt x="532606" y="207984"/>
                    <a:pt x="543267" y="218645"/>
                    <a:pt x="556419" y="218645"/>
                  </a:cubicBezTo>
                  <a:lnTo>
                    <a:pt x="923131" y="218646"/>
                  </a:lnTo>
                  <a:cubicBezTo>
                    <a:pt x="936283" y="218646"/>
                    <a:pt x="946944" y="207985"/>
                    <a:pt x="946944" y="194833"/>
                  </a:cubicBezTo>
                  <a:lnTo>
                    <a:pt x="946945" y="194833"/>
                  </a:lnTo>
                  <a:cubicBezTo>
                    <a:pt x="946945" y="181681"/>
                    <a:pt x="936284" y="171020"/>
                    <a:pt x="923132" y="171020"/>
                  </a:cubicBezTo>
                  <a:close/>
                  <a:moveTo>
                    <a:pt x="725487" y="274"/>
                  </a:moveTo>
                  <a:cubicBezTo>
                    <a:pt x="1081947" y="-5382"/>
                    <a:pt x="1443170" y="76220"/>
                    <a:pt x="1479550" y="262045"/>
                  </a:cubicBezTo>
                  <a:lnTo>
                    <a:pt x="1479550" y="1250633"/>
                  </a:lnTo>
                  <a:lnTo>
                    <a:pt x="1479550" y="1748998"/>
                  </a:lnTo>
                  <a:lnTo>
                    <a:pt x="1479550" y="2737586"/>
                  </a:lnTo>
                  <a:cubicBezTo>
                    <a:pt x="1406789" y="3109236"/>
                    <a:pt x="34660" y="3063993"/>
                    <a:pt x="0" y="2737586"/>
                  </a:cubicBezTo>
                  <a:lnTo>
                    <a:pt x="0" y="1748998"/>
                  </a:lnTo>
                  <a:lnTo>
                    <a:pt x="0" y="1250633"/>
                  </a:lnTo>
                  <a:lnTo>
                    <a:pt x="0" y="262045"/>
                  </a:lnTo>
                  <a:cubicBezTo>
                    <a:pt x="17330" y="98842"/>
                    <a:pt x="369027" y="5929"/>
                    <a:pt x="725487" y="274"/>
                  </a:cubicBez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65" dirty="0"/>
            </a:p>
          </p:txBody>
        </p:sp>
        <p:sp>
          <p:nvSpPr>
            <p:cNvPr id="152" name="Oval 20"/>
            <p:cNvSpPr/>
            <p:nvPr/>
          </p:nvSpPr>
          <p:spPr bwMode="auto">
            <a:xfrm flipH="1">
              <a:off x="1777772" y="3098827"/>
              <a:ext cx="273765" cy="305155"/>
            </a:xfrm>
            <a:custGeom>
              <a:avLst/>
              <a:gdLst/>
              <a:ahLst/>
              <a:cxnLst/>
              <a:rect l="l" t="t" r="r" b="b"/>
              <a:pathLst>
                <a:path w="1371600" h="1528869">
                  <a:moveTo>
                    <a:pt x="176321" y="61931"/>
                  </a:moveTo>
                  <a:cubicBezTo>
                    <a:pt x="138207" y="345243"/>
                    <a:pt x="100093" y="625381"/>
                    <a:pt x="61979" y="908693"/>
                  </a:cubicBezTo>
                  <a:lnTo>
                    <a:pt x="1154853" y="1120942"/>
                  </a:lnTo>
                  <a:cubicBezTo>
                    <a:pt x="1191909" y="816463"/>
                    <a:pt x="1228964" y="502460"/>
                    <a:pt x="1266020" y="197981"/>
                  </a:cubicBezTo>
                  <a:close/>
                  <a:moveTo>
                    <a:pt x="123825" y="0"/>
                  </a:moveTo>
                  <a:lnTo>
                    <a:pt x="1327150" y="152400"/>
                  </a:lnTo>
                  <a:lnTo>
                    <a:pt x="1371600" y="203200"/>
                  </a:lnTo>
                  <a:lnTo>
                    <a:pt x="1266825" y="1133475"/>
                  </a:lnTo>
                  <a:lnTo>
                    <a:pt x="1203325" y="1206500"/>
                  </a:lnTo>
                  <a:lnTo>
                    <a:pt x="1104540" y="1186430"/>
                  </a:lnTo>
                  <a:cubicBezTo>
                    <a:pt x="1143520" y="1218893"/>
                    <a:pt x="1165226" y="1257868"/>
                    <a:pt x="1165226" y="1299422"/>
                  </a:cubicBezTo>
                  <a:cubicBezTo>
                    <a:pt x="1165226" y="1426142"/>
                    <a:pt x="963374" y="1528869"/>
                    <a:pt x="714376" y="1528869"/>
                  </a:cubicBezTo>
                  <a:cubicBezTo>
                    <a:pt x="465378" y="1528869"/>
                    <a:pt x="263526" y="1426142"/>
                    <a:pt x="263526" y="1299422"/>
                  </a:cubicBezTo>
                  <a:cubicBezTo>
                    <a:pt x="263526" y="1195700"/>
                    <a:pt x="398762" y="1108052"/>
                    <a:pt x="584567" y="1080790"/>
                  </a:cubicBezTo>
                  <a:lnTo>
                    <a:pt x="0" y="962025"/>
                  </a:lnTo>
                  <a:close/>
                </a:path>
              </a:pathLst>
            </a:cu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44821" bIns="89642" numCol="1" spcCol="0" rtlCol="0" fromWordArt="0" anchor="b" anchorCtr="0" forceAA="0" compatLnSpc="1">
              <a:prstTxWarp prst="textNoShape">
                <a:avLst/>
              </a:prstTxWarp>
              <a:noAutofit/>
            </a:bodyPr>
            <a:lstStyle/>
            <a:p>
              <a:pPr algn="ctr" defTabSz="896091" fontAlgn="base">
                <a:spcBef>
                  <a:spcPct val="0"/>
                </a:spcBef>
                <a:spcAft>
                  <a:spcPct val="0"/>
                </a:spcAft>
              </a:pPr>
              <a:endParaRPr lang="en-US" sz="1765" spc="-49" dirty="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153" name="Freeform 43"/>
            <p:cNvSpPr>
              <a:spLocks noEditPoints="1"/>
            </p:cNvSpPr>
            <p:nvPr/>
          </p:nvSpPr>
          <p:spPr bwMode="auto">
            <a:xfrm>
              <a:off x="2540997" y="3960468"/>
              <a:ext cx="547795" cy="707569"/>
            </a:xfrm>
            <a:custGeom>
              <a:avLst/>
              <a:gdLst>
                <a:gd name="T0" fmla="*/ 0 w 312"/>
                <a:gd name="T1" fmla="*/ 403 h 403"/>
                <a:gd name="T2" fmla="*/ 312 w 312"/>
                <a:gd name="T3" fmla="*/ 403 h 403"/>
                <a:gd name="T4" fmla="*/ 312 w 312"/>
                <a:gd name="T5" fmla="*/ 104 h 403"/>
                <a:gd name="T6" fmla="*/ 0 w 312"/>
                <a:gd name="T7" fmla="*/ 104 h 403"/>
                <a:gd name="T8" fmla="*/ 0 w 312"/>
                <a:gd name="T9" fmla="*/ 403 h 403"/>
                <a:gd name="T10" fmla="*/ 0 w 312"/>
                <a:gd name="T11" fmla="*/ 86 h 403"/>
                <a:gd name="T12" fmla="*/ 312 w 312"/>
                <a:gd name="T13" fmla="*/ 86 h 403"/>
                <a:gd name="T14" fmla="*/ 312 w 312"/>
                <a:gd name="T15" fmla="*/ 67 h 403"/>
                <a:gd name="T16" fmla="*/ 0 w 312"/>
                <a:gd name="T17" fmla="*/ 67 h 403"/>
                <a:gd name="T18" fmla="*/ 0 w 312"/>
                <a:gd name="T19" fmla="*/ 86 h 403"/>
                <a:gd name="T20" fmla="*/ 0 w 312"/>
                <a:gd name="T21" fmla="*/ 48 h 403"/>
                <a:gd name="T22" fmla="*/ 312 w 312"/>
                <a:gd name="T23" fmla="*/ 48 h 403"/>
                <a:gd name="T24" fmla="*/ 312 w 312"/>
                <a:gd name="T25" fmla="*/ 0 h 403"/>
                <a:gd name="T26" fmla="*/ 0 w 312"/>
                <a:gd name="T27" fmla="*/ 0 h 403"/>
                <a:gd name="T28" fmla="*/ 0 w 312"/>
                <a:gd name="T29" fmla="*/ 48 h 4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12" h="403">
                  <a:moveTo>
                    <a:pt x="0" y="403"/>
                  </a:moveTo>
                  <a:lnTo>
                    <a:pt x="312" y="403"/>
                  </a:lnTo>
                  <a:lnTo>
                    <a:pt x="312" y="104"/>
                  </a:lnTo>
                  <a:lnTo>
                    <a:pt x="0" y="104"/>
                  </a:lnTo>
                  <a:lnTo>
                    <a:pt x="0" y="403"/>
                  </a:lnTo>
                  <a:close/>
                  <a:moveTo>
                    <a:pt x="0" y="86"/>
                  </a:moveTo>
                  <a:lnTo>
                    <a:pt x="312" y="86"/>
                  </a:lnTo>
                  <a:lnTo>
                    <a:pt x="312" y="67"/>
                  </a:lnTo>
                  <a:lnTo>
                    <a:pt x="0" y="67"/>
                  </a:lnTo>
                  <a:lnTo>
                    <a:pt x="0" y="86"/>
                  </a:lnTo>
                  <a:close/>
                  <a:moveTo>
                    <a:pt x="0" y="48"/>
                  </a:moveTo>
                  <a:lnTo>
                    <a:pt x="312" y="48"/>
                  </a:lnTo>
                  <a:lnTo>
                    <a:pt x="312" y="0"/>
                  </a:lnTo>
                  <a:lnTo>
                    <a:pt x="0" y="0"/>
                  </a:lnTo>
                  <a:lnTo>
                    <a:pt x="0" y="48"/>
                  </a:lnTo>
                  <a:close/>
                </a:path>
              </a:pathLst>
            </a:custGeom>
            <a:solidFill>
              <a:srgbClr val="00D8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grpSp>
          <p:nvGrpSpPr>
            <p:cNvPr id="154" name="Group 153"/>
            <p:cNvGrpSpPr/>
            <p:nvPr/>
          </p:nvGrpSpPr>
          <p:grpSpPr>
            <a:xfrm flipH="1">
              <a:off x="2046858" y="3794887"/>
              <a:ext cx="399868" cy="356691"/>
              <a:chOff x="6807044" y="4500374"/>
              <a:chExt cx="636686" cy="567940"/>
            </a:xfrm>
            <a:solidFill>
              <a:schemeClr val="tx2"/>
            </a:solidFill>
          </p:grpSpPr>
          <p:sp>
            <p:nvSpPr>
              <p:cNvPr id="155" name="Freeform 154"/>
              <p:cNvSpPr/>
              <p:nvPr/>
            </p:nvSpPr>
            <p:spPr bwMode="auto">
              <a:xfrm>
                <a:off x="7137772" y="4500374"/>
                <a:ext cx="305958" cy="300872"/>
              </a:xfrm>
              <a:custGeom>
                <a:avLst/>
                <a:gdLst>
                  <a:gd name="connsiteX0" fmla="*/ 357242 w 357242"/>
                  <a:gd name="connsiteY0" fmla="*/ 75952 h 351304"/>
                  <a:gd name="connsiteX1" fmla="*/ 357242 w 357242"/>
                  <a:gd name="connsiteY1" fmla="*/ 284769 h 351304"/>
                  <a:gd name="connsiteX2" fmla="*/ 183227 w 357242"/>
                  <a:gd name="connsiteY2" fmla="*/ 351304 h 351304"/>
                  <a:gd name="connsiteX3" fmla="*/ 182203 w 357242"/>
                  <a:gd name="connsiteY3" fmla="*/ 140440 h 351304"/>
                  <a:gd name="connsiteX4" fmla="*/ 0 w 357242"/>
                  <a:gd name="connsiteY4" fmla="*/ 75952 h 351304"/>
                  <a:gd name="connsiteX5" fmla="*/ 171967 w 357242"/>
                  <a:gd name="connsiteY5" fmla="*/ 139416 h 351304"/>
                  <a:gd name="connsiteX6" fmla="*/ 171967 w 357242"/>
                  <a:gd name="connsiteY6" fmla="*/ 348234 h 351304"/>
                  <a:gd name="connsiteX7" fmla="*/ 0 w 357242"/>
                  <a:gd name="connsiteY7" fmla="*/ 284769 h 351304"/>
                  <a:gd name="connsiteX8" fmla="*/ 179133 w 357242"/>
                  <a:gd name="connsiteY8" fmla="*/ 0 h 351304"/>
                  <a:gd name="connsiteX9" fmla="*/ 357242 w 357242"/>
                  <a:gd name="connsiteY9" fmla="*/ 64590 h 351304"/>
                  <a:gd name="connsiteX10" fmla="*/ 179133 w 357242"/>
                  <a:gd name="connsiteY10" fmla="*/ 129180 h 351304"/>
                  <a:gd name="connsiteX11" fmla="*/ 1024 w 357242"/>
                  <a:gd name="connsiteY11" fmla="*/ 64590 h 3513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57242" h="351304">
                    <a:moveTo>
                      <a:pt x="357242" y="75952"/>
                    </a:moveTo>
                    <a:lnTo>
                      <a:pt x="357242" y="284769"/>
                    </a:lnTo>
                    <a:lnTo>
                      <a:pt x="183227" y="351304"/>
                    </a:lnTo>
                    <a:cubicBezTo>
                      <a:pt x="182886" y="281016"/>
                      <a:pt x="182545" y="210728"/>
                      <a:pt x="182203" y="140440"/>
                    </a:cubicBezTo>
                    <a:close/>
                    <a:moveTo>
                      <a:pt x="0" y="75952"/>
                    </a:moveTo>
                    <a:lnTo>
                      <a:pt x="171967" y="139416"/>
                    </a:lnTo>
                    <a:lnTo>
                      <a:pt x="171967" y="348234"/>
                    </a:lnTo>
                    <a:lnTo>
                      <a:pt x="0" y="284769"/>
                    </a:lnTo>
                    <a:close/>
                    <a:moveTo>
                      <a:pt x="179133" y="0"/>
                    </a:moveTo>
                    <a:lnTo>
                      <a:pt x="357242" y="64590"/>
                    </a:lnTo>
                    <a:lnTo>
                      <a:pt x="179133" y="129180"/>
                    </a:lnTo>
                    <a:lnTo>
                      <a:pt x="1024" y="64590"/>
                    </a:lnTo>
                    <a:close/>
                  </a:path>
                </a:pathLst>
              </a:custGeom>
              <a:grpFill/>
              <a:ln>
                <a:noFill/>
              </a:ln>
              <a:extLst/>
            </p:spPr>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pPr algn="ctr"/>
                <a:endParaRPr lang="en-US" sz="1765" dirty="0">
                  <a:solidFill>
                    <a:schemeClr val="bg1"/>
                  </a:solidFill>
                </a:endParaRPr>
              </a:p>
            </p:txBody>
          </p:sp>
          <p:sp>
            <p:nvSpPr>
              <p:cNvPr id="156" name="Freeform 155"/>
              <p:cNvSpPr/>
              <p:nvPr/>
            </p:nvSpPr>
            <p:spPr bwMode="auto">
              <a:xfrm>
                <a:off x="6807044" y="4500374"/>
                <a:ext cx="305958" cy="300872"/>
              </a:xfrm>
              <a:custGeom>
                <a:avLst/>
                <a:gdLst>
                  <a:gd name="connsiteX0" fmla="*/ 357242 w 357242"/>
                  <a:gd name="connsiteY0" fmla="*/ 75952 h 351304"/>
                  <a:gd name="connsiteX1" fmla="*/ 357242 w 357242"/>
                  <a:gd name="connsiteY1" fmla="*/ 284769 h 351304"/>
                  <a:gd name="connsiteX2" fmla="*/ 183227 w 357242"/>
                  <a:gd name="connsiteY2" fmla="*/ 351304 h 351304"/>
                  <a:gd name="connsiteX3" fmla="*/ 182203 w 357242"/>
                  <a:gd name="connsiteY3" fmla="*/ 140440 h 351304"/>
                  <a:gd name="connsiteX4" fmla="*/ 0 w 357242"/>
                  <a:gd name="connsiteY4" fmla="*/ 75952 h 351304"/>
                  <a:gd name="connsiteX5" fmla="*/ 171967 w 357242"/>
                  <a:gd name="connsiteY5" fmla="*/ 139416 h 351304"/>
                  <a:gd name="connsiteX6" fmla="*/ 171967 w 357242"/>
                  <a:gd name="connsiteY6" fmla="*/ 348234 h 351304"/>
                  <a:gd name="connsiteX7" fmla="*/ 0 w 357242"/>
                  <a:gd name="connsiteY7" fmla="*/ 284769 h 351304"/>
                  <a:gd name="connsiteX8" fmla="*/ 179133 w 357242"/>
                  <a:gd name="connsiteY8" fmla="*/ 0 h 351304"/>
                  <a:gd name="connsiteX9" fmla="*/ 357242 w 357242"/>
                  <a:gd name="connsiteY9" fmla="*/ 64590 h 351304"/>
                  <a:gd name="connsiteX10" fmla="*/ 179133 w 357242"/>
                  <a:gd name="connsiteY10" fmla="*/ 129180 h 351304"/>
                  <a:gd name="connsiteX11" fmla="*/ 1024 w 357242"/>
                  <a:gd name="connsiteY11" fmla="*/ 64590 h 3513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57242" h="351304">
                    <a:moveTo>
                      <a:pt x="357242" y="75952"/>
                    </a:moveTo>
                    <a:lnTo>
                      <a:pt x="357242" y="284769"/>
                    </a:lnTo>
                    <a:lnTo>
                      <a:pt x="183227" y="351304"/>
                    </a:lnTo>
                    <a:cubicBezTo>
                      <a:pt x="182886" y="281016"/>
                      <a:pt x="182545" y="210728"/>
                      <a:pt x="182203" y="140440"/>
                    </a:cubicBezTo>
                    <a:close/>
                    <a:moveTo>
                      <a:pt x="0" y="75952"/>
                    </a:moveTo>
                    <a:lnTo>
                      <a:pt x="171967" y="139416"/>
                    </a:lnTo>
                    <a:lnTo>
                      <a:pt x="171967" y="348234"/>
                    </a:lnTo>
                    <a:lnTo>
                      <a:pt x="0" y="284769"/>
                    </a:lnTo>
                    <a:close/>
                    <a:moveTo>
                      <a:pt x="179133" y="0"/>
                    </a:moveTo>
                    <a:lnTo>
                      <a:pt x="357242" y="64590"/>
                    </a:lnTo>
                    <a:lnTo>
                      <a:pt x="179133" y="129180"/>
                    </a:lnTo>
                    <a:lnTo>
                      <a:pt x="1024" y="64590"/>
                    </a:lnTo>
                    <a:close/>
                  </a:path>
                </a:pathLst>
              </a:custGeom>
              <a:grpFill/>
              <a:ln>
                <a:noFill/>
              </a:ln>
              <a:extLst/>
            </p:spPr>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pPr algn="ctr"/>
                <a:endParaRPr lang="en-US" sz="1765" dirty="0">
                  <a:solidFill>
                    <a:schemeClr val="bg1"/>
                  </a:solidFill>
                </a:endParaRPr>
              </a:p>
            </p:txBody>
          </p:sp>
          <p:sp>
            <p:nvSpPr>
              <p:cNvPr id="157" name="Freeform 156"/>
              <p:cNvSpPr/>
              <p:nvPr/>
            </p:nvSpPr>
            <p:spPr bwMode="auto">
              <a:xfrm>
                <a:off x="6972975" y="4767441"/>
                <a:ext cx="305958" cy="300873"/>
              </a:xfrm>
              <a:custGeom>
                <a:avLst/>
                <a:gdLst>
                  <a:gd name="connsiteX0" fmla="*/ 357242 w 357242"/>
                  <a:gd name="connsiteY0" fmla="*/ 75952 h 351304"/>
                  <a:gd name="connsiteX1" fmla="*/ 357242 w 357242"/>
                  <a:gd name="connsiteY1" fmla="*/ 284769 h 351304"/>
                  <a:gd name="connsiteX2" fmla="*/ 183227 w 357242"/>
                  <a:gd name="connsiteY2" fmla="*/ 351304 h 351304"/>
                  <a:gd name="connsiteX3" fmla="*/ 182203 w 357242"/>
                  <a:gd name="connsiteY3" fmla="*/ 140440 h 351304"/>
                  <a:gd name="connsiteX4" fmla="*/ 0 w 357242"/>
                  <a:gd name="connsiteY4" fmla="*/ 75952 h 351304"/>
                  <a:gd name="connsiteX5" fmla="*/ 171967 w 357242"/>
                  <a:gd name="connsiteY5" fmla="*/ 139416 h 351304"/>
                  <a:gd name="connsiteX6" fmla="*/ 171967 w 357242"/>
                  <a:gd name="connsiteY6" fmla="*/ 348234 h 351304"/>
                  <a:gd name="connsiteX7" fmla="*/ 0 w 357242"/>
                  <a:gd name="connsiteY7" fmla="*/ 284769 h 351304"/>
                  <a:gd name="connsiteX8" fmla="*/ 179133 w 357242"/>
                  <a:gd name="connsiteY8" fmla="*/ 0 h 351304"/>
                  <a:gd name="connsiteX9" fmla="*/ 357242 w 357242"/>
                  <a:gd name="connsiteY9" fmla="*/ 64590 h 351304"/>
                  <a:gd name="connsiteX10" fmla="*/ 179133 w 357242"/>
                  <a:gd name="connsiteY10" fmla="*/ 129180 h 351304"/>
                  <a:gd name="connsiteX11" fmla="*/ 1024 w 357242"/>
                  <a:gd name="connsiteY11" fmla="*/ 64590 h 3513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57242" h="351304">
                    <a:moveTo>
                      <a:pt x="357242" y="75952"/>
                    </a:moveTo>
                    <a:lnTo>
                      <a:pt x="357242" y="284769"/>
                    </a:lnTo>
                    <a:lnTo>
                      <a:pt x="183227" y="351304"/>
                    </a:lnTo>
                    <a:cubicBezTo>
                      <a:pt x="182886" y="281016"/>
                      <a:pt x="182545" y="210728"/>
                      <a:pt x="182203" y="140440"/>
                    </a:cubicBezTo>
                    <a:close/>
                    <a:moveTo>
                      <a:pt x="0" y="75952"/>
                    </a:moveTo>
                    <a:lnTo>
                      <a:pt x="171967" y="139416"/>
                    </a:lnTo>
                    <a:lnTo>
                      <a:pt x="171967" y="348234"/>
                    </a:lnTo>
                    <a:lnTo>
                      <a:pt x="0" y="284769"/>
                    </a:lnTo>
                    <a:close/>
                    <a:moveTo>
                      <a:pt x="179133" y="0"/>
                    </a:moveTo>
                    <a:lnTo>
                      <a:pt x="357242" y="64590"/>
                    </a:lnTo>
                    <a:lnTo>
                      <a:pt x="179133" y="129180"/>
                    </a:lnTo>
                    <a:lnTo>
                      <a:pt x="1024" y="64590"/>
                    </a:lnTo>
                    <a:close/>
                  </a:path>
                </a:pathLst>
              </a:custGeom>
              <a:grpFill/>
              <a:ln>
                <a:noFill/>
              </a:ln>
              <a:extLst/>
            </p:spPr>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pPr algn="ctr"/>
                <a:endParaRPr lang="en-US" sz="1765" dirty="0">
                  <a:solidFill>
                    <a:schemeClr val="bg1"/>
                  </a:solidFill>
                </a:endParaRPr>
              </a:p>
            </p:txBody>
          </p:sp>
        </p:grpSp>
        <p:grpSp>
          <p:nvGrpSpPr>
            <p:cNvPr id="158" name="Group 157"/>
            <p:cNvGrpSpPr/>
            <p:nvPr/>
          </p:nvGrpSpPr>
          <p:grpSpPr>
            <a:xfrm>
              <a:off x="3254460" y="3787581"/>
              <a:ext cx="384272" cy="363997"/>
              <a:chOff x="207736" y="182563"/>
              <a:chExt cx="1925638" cy="1824038"/>
            </a:xfrm>
            <a:solidFill>
              <a:schemeClr val="accent6"/>
            </a:solidFill>
          </p:grpSpPr>
          <p:sp>
            <p:nvSpPr>
              <p:cNvPr id="159" name="Freeform 158"/>
              <p:cNvSpPr>
                <a:spLocks/>
              </p:cNvSpPr>
              <p:nvPr/>
            </p:nvSpPr>
            <p:spPr bwMode="auto">
              <a:xfrm>
                <a:off x="207736" y="182563"/>
                <a:ext cx="1925638" cy="1824038"/>
              </a:xfrm>
              <a:custGeom>
                <a:avLst/>
                <a:gdLst>
                  <a:gd name="T0" fmla="*/ 2338 w 2426"/>
                  <a:gd name="T1" fmla="*/ 1870 h 2298"/>
                  <a:gd name="T2" fmla="*/ 2154 w 2426"/>
                  <a:gd name="T3" fmla="*/ 1830 h 2298"/>
                  <a:gd name="T4" fmla="*/ 2015 w 2426"/>
                  <a:gd name="T5" fmla="*/ 1833 h 2298"/>
                  <a:gd name="T6" fmla="*/ 1985 w 2426"/>
                  <a:gd name="T7" fmla="*/ 1852 h 2298"/>
                  <a:gd name="T8" fmla="*/ 2001 w 2426"/>
                  <a:gd name="T9" fmla="*/ 1878 h 2298"/>
                  <a:gd name="T10" fmla="*/ 2048 w 2426"/>
                  <a:gd name="T11" fmla="*/ 1903 h 2298"/>
                  <a:gd name="T12" fmla="*/ 2071 w 2426"/>
                  <a:gd name="T13" fmla="*/ 1929 h 2298"/>
                  <a:gd name="T14" fmla="*/ 2004 w 2426"/>
                  <a:gd name="T15" fmla="*/ 1955 h 2298"/>
                  <a:gd name="T16" fmla="*/ 1888 w 2426"/>
                  <a:gd name="T17" fmla="*/ 1938 h 2298"/>
                  <a:gd name="T18" fmla="*/ 1877 w 2426"/>
                  <a:gd name="T19" fmla="*/ 1520 h 2298"/>
                  <a:gd name="T20" fmla="*/ 1394 w 2426"/>
                  <a:gd name="T21" fmla="*/ 140 h 2298"/>
                  <a:gd name="T22" fmla="*/ 1606 w 2426"/>
                  <a:gd name="T23" fmla="*/ 146 h 2298"/>
                  <a:gd name="T24" fmla="*/ 1690 w 2426"/>
                  <a:gd name="T25" fmla="*/ 151 h 2298"/>
                  <a:gd name="T26" fmla="*/ 1706 w 2426"/>
                  <a:gd name="T27" fmla="*/ 940 h 2298"/>
                  <a:gd name="T28" fmla="*/ 1661 w 2426"/>
                  <a:gd name="T29" fmla="*/ 1339 h 2298"/>
                  <a:gd name="T30" fmla="*/ 1433 w 2426"/>
                  <a:gd name="T31" fmla="*/ 1347 h 2298"/>
                  <a:gd name="T32" fmla="*/ 1031 w 2426"/>
                  <a:gd name="T33" fmla="*/ 1353 h 2298"/>
                  <a:gd name="T34" fmla="*/ 754 w 2426"/>
                  <a:gd name="T35" fmla="*/ 1352 h 2298"/>
                  <a:gd name="T36" fmla="*/ 546 w 2426"/>
                  <a:gd name="T37" fmla="*/ 1348 h 2298"/>
                  <a:gd name="T38" fmla="*/ 378 w 2426"/>
                  <a:gd name="T39" fmla="*/ 1345 h 2298"/>
                  <a:gd name="T40" fmla="*/ 257 w 2426"/>
                  <a:gd name="T41" fmla="*/ 1341 h 2298"/>
                  <a:gd name="T42" fmla="*/ 193 w 2426"/>
                  <a:gd name="T43" fmla="*/ 1338 h 2298"/>
                  <a:gd name="T44" fmla="*/ 171 w 2426"/>
                  <a:gd name="T45" fmla="*/ 952 h 2298"/>
                  <a:gd name="T46" fmla="*/ 187 w 2426"/>
                  <a:gd name="T47" fmla="*/ 151 h 2298"/>
                  <a:gd name="T48" fmla="*/ 301 w 2426"/>
                  <a:gd name="T49" fmla="*/ 145 h 2298"/>
                  <a:gd name="T50" fmla="*/ 578 w 2426"/>
                  <a:gd name="T51" fmla="*/ 138 h 2298"/>
                  <a:gd name="T52" fmla="*/ 831 w 2426"/>
                  <a:gd name="T53" fmla="*/ 136 h 2298"/>
                  <a:gd name="T54" fmla="*/ 953 w 2426"/>
                  <a:gd name="T55" fmla="*/ 135 h 2298"/>
                  <a:gd name="T56" fmla="*/ 1076 w 2426"/>
                  <a:gd name="T57" fmla="*/ 135 h 2298"/>
                  <a:gd name="T58" fmla="*/ 1191 w 2426"/>
                  <a:gd name="T59" fmla="*/ 136 h 2298"/>
                  <a:gd name="T60" fmla="*/ 0 w 2426"/>
                  <a:gd name="T61" fmla="*/ 0 h 2298"/>
                  <a:gd name="T62" fmla="*/ 2 w 2426"/>
                  <a:gd name="T63" fmla="*/ 1938 h 2298"/>
                  <a:gd name="T64" fmla="*/ 1962 w 2426"/>
                  <a:gd name="T65" fmla="*/ 1972 h 2298"/>
                  <a:gd name="T66" fmla="*/ 2076 w 2426"/>
                  <a:gd name="T67" fmla="*/ 1946 h 2298"/>
                  <a:gd name="T68" fmla="*/ 2076 w 2426"/>
                  <a:gd name="T69" fmla="*/ 1905 h 2298"/>
                  <a:gd name="T70" fmla="*/ 2023 w 2426"/>
                  <a:gd name="T71" fmla="*/ 1872 h 2298"/>
                  <a:gd name="T72" fmla="*/ 2015 w 2426"/>
                  <a:gd name="T73" fmla="*/ 1850 h 2298"/>
                  <a:gd name="T74" fmla="*/ 2154 w 2426"/>
                  <a:gd name="T75" fmla="*/ 1846 h 2298"/>
                  <a:gd name="T76" fmla="*/ 2329 w 2426"/>
                  <a:gd name="T77" fmla="*/ 1883 h 2298"/>
                  <a:gd name="T78" fmla="*/ 2410 w 2426"/>
                  <a:gd name="T79" fmla="*/ 1939 h 2298"/>
                  <a:gd name="T80" fmla="*/ 2310 w 2426"/>
                  <a:gd name="T81" fmla="*/ 2001 h 2298"/>
                  <a:gd name="T82" fmla="*/ 2193 w 2426"/>
                  <a:gd name="T83" fmla="*/ 2029 h 2298"/>
                  <a:gd name="T84" fmla="*/ 2127 w 2426"/>
                  <a:gd name="T85" fmla="*/ 2057 h 2298"/>
                  <a:gd name="T86" fmla="*/ 2081 w 2426"/>
                  <a:gd name="T87" fmla="*/ 2105 h 2298"/>
                  <a:gd name="T88" fmla="*/ 2033 w 2426"/>
                  <a:gd name="T89" fmla="*/ 2105 h 2298"/>
                  <a:gd name="T90" fmla="*/ 1907 w 2426"/>
                  <a:gd name="T91" fmla="*/ 2091 h 2298"/>
                  <a:gd name="T92" fmla="*/ 1758 w 2426"/>
                  <a:gd name="T93" fmla="*/ 2126 h 2298"/>
                  <a:gd name="T94" fmla="*/ 1675 w 2426"/>
                  <a:gd name="T95" fmla="*/ 2192 h 2298"/>
                  <a:gd name="T96" fmla="*/ 1764 w 2426"/>
                  <a:gd name="T97" fmla="*/ 2287 h 2298"/>
                  <a:gd name="T98" fmla="*/ 1900 w 2426"/>
                  <a:gd name="T99" fmla="*/ 2282 h 2298"/>
                  <a:gd name="T100" fmla="*/ 2003 w 2426"/>
                  <a:gd name="T101" fmla="*/ 2217 h 2298"/>
                  <a:gd name="T102" fmla="*/ 2060 w 2426"/>
                  <a:gd name="T103" fmla="*/ 2152 h 2298"/>
                  <a:gd name="T104" fmla="*/ 2090 w 2426"/>
                  <a:gd name="T105" fmla="*/ 2118 h 2298"/>
                  <a:gd name="T106" fmla="*/ 2140 w 2426"/>
                  <a:gd name="T107" fmla="*/ 2066 h 2298"/>
                  <a:gd name="T108" fmla="*/ 2197 w 2426"/>
                  <a:gd name="T109" fmla="*/ 2044 h 2298"/>
                  <a:gd name="T110" fmla="*/ 2316 w 2426"/>
                  <a:gd name="T111" fmla="*/ 2016 h 2298"/>
                  <a:gd name="T112" fmla="*/ 2419 w 2426"/>
                  <a:gd name="T113" fmla="*/ 1956 h 2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426" h="2298">
                    <a:moveTo>
                      <a:pt x="2423" y="1925"/>
                    </a:moveTo>
                    <a:lnTo>
                      <a:pt x="2415" y="1913"/>
                    </a:lnTo>
                    <a:lnTo>
                      <a:pt x="2403" y="1901"/>
                    </a:lnTo>
                    <a:lnTo>
                      <a:pt x="2384" y="1890"/>
                    </a:lnTo>
                    <a:lnTo>
                      <a:pt x="2362" y="1879"/>
                    </a:lnTo>
                    <a:lnTo>
                      <a:pt x="2338" y="1870"/>
                    </a:lnTo>
                    <a:lnTo>
                      <a:pt x="2310" y="1861"/>
                    </a:lnTo>
                    <a:lnTo>
                      <a:pt x="2280" y="1853"/>
                    </a:lnTo>
                    <a:lnTo>
                      <a:pt x="2249" y="1845"/>
                    </a:lnTo>
                    <a:lnTo>
                      <a:pt x="2217" y="1839"/>
                    </a:lnTo>
                    <a:lnTo>
                      <a:pt x="2186" y="1834"/>
                    </a:lnTo>
                    <a:lnTo>
                      <a:pt x="2154" y="1830"/>
                    </a:lnTo>
                    <a:lnTo>
                      <a:pt x="2124" y="1827"/>
                    </a:lnTo>
                    <a:lnTo>
                      <a:pt x="2095" y="1826"/>
                    </a:lnTo>
                    <a:lnTo>
                      <a:pt x="2068" y="1826"/>
                    </a:lnTo>
                    <a:lnTo>
                      <a:pt x="2044" y="1827"/>
                    </a:lnTo>
                    <a:lnTo>
                      <a:pt x="2024" y="1831"/>
                    </a:lnTo>
                    <a:lnTo>
                      <a:pt x="2015" y="1833"/>
                    </a:lnTo>
                    <a:lnTo>
                      <a:pt x="2007" y="1837"/>
                    </a:lnTo>
                    <a:lnTo>
                      <a:pt x="2000" y="1839"/>
                    </a:lnTo>
                    <a:lnTo>
                      <a:pt x="1995" y="1841"/>
                    </a:lnTo>
                    <a:lnTo>
                      <a:pt x="1990" y="1845"/>
                    </a:lnTo>
                    <a:lnTo>
                      <a:pt x="1988" y="1848"/>
                    </a:lnTo>
                    <a:lnTo>
                      <a:pt x="1985" y="1852"/>
                    </a:lnTo>
                    <a:lnTo>
                      <a:pt x="1984" y="1855"/>
                    </a:lnTo>
                    <a:lnTo>
                      <a:pt x="1984" y="1860"/>
                    </a:lnTo>
                    <a:lnTo>
                      <a:pt x="1986" y="1865"/>
                    </a:lnTo>
                    <a:lnTo>
                      <a:pt x="1990" y="1869"/>
                    </a:lnTo>
                    <a:lnTo>
                      <a:pt x="1996" y="1873"/>
                    </a:lnTo>
                    <a:lnTo>
                      <a:pt x="2001" y="1878"/>
                    </a:lnTo>
                    <a:lnTo>
                      <a:pt x="2008" y="1883"/>
                    </a:lnTo>
                    <a:lnTo>
                      <a:pt x="2016" y="1887"/>
                    </a:lnTo>
                    <a:lnTo>
                      <a:pt x="2026" y="1892"/>
                    </a:lnTo>
                    <a:lnTo>
                      <a:pt x="2033" y="1895"/>
                    </a:lnTo>
                    <a:lnTo>
                      <a:pt x="2041" y="1900"/>
                    </a:lnTo>
                    <a:lnTo>
                      <a:pt x="2048" y="1903"/>
                    </a:lnTo>
                    <a:lnTo>
                      <a:pt x="2056" y="1908"/>
                    </a:lnTo>
                    <a:lnTo>
                      <a:pt x="2061" y="1913"/>
                    </a:lnTo>
                    <a:lnTo>
                      <a:pt x="2066" y="1917"/>
                    </a:lnTo>
                    <a:lnTo>
                      <a:pt x="2069" y="1921"/>
                    </a:lnTo>
                    <a:lnTo>
                      <a:pt x="2071" y="1925"/>
                    </a:lnTo>
                    <a:lnTo>
                      <a:pt x="2071" y="1929"/>
                    </a:lnTo>
                    <a:lnTo>
                      <a:pt x="2068" y="1932"/>
                    </a:lnTo>
                    <a:lnTo>
                      <a:pt x="2065" y="1936"/>
                    </a:lnTo>
                    <a:lnTo>
                      <a:pt x="2059" y="1939"/>
                    </a:lnTo>
                    <a:lnTo>
                      <a:pt x="2043" y="1947"/>
                    </a:lnTo>
                    <a:lnTo>
                      <a:pt x="2024" y="1952"/>
                    </a:lnTo>
                    <a:lnTo>
                      <a:pt x="2004" y="1955"/>
                    </a:lnTo>
                    <a:lnTo>
                      <a:pt x="1982" y="1956"/>
                    </a:lnTo>
                    <a:lnTo>
                      <a:pt x="1959" y="1956"/>
                    </a:lnTo>
                    <a:lnTo>
                      <a:pt x="1935" y="1954"/>
                    </a:lnTo>
                    <a:lnTo>
                      <a:pt x="1912" y="1952"/>
                    </a:lnTo>
                    <a:lnTo>
                      <a:pt x="1888" y="1948"/>
                    </a:lnTo>
                    <a:lnTo>
                      <a:pt x="1888" y="1938"/>
                    </a:lnTo>
                    <a:lnTo>
                      <a:pt x="1891" y="1938"/>
                    </a:lnTo>
                    <a:lnTo>
                      <a:pt x="1619" y="1729"/>
                    </a:lnTo>
                    <a:lnTo>
                      <a:pt x="1619" y="1612"/>
                    </a:lnTo>
                    <a:lnTo>
                      <a:pt x="1290" y="1612"/>
                    </a:lnTo>
                    <a:lnTo>
                      <a:pt x="1290" y="1520"/>
                    </a:lnTo>
                    <a:lnTo>
                      <a:pt x="1877" y="1520"/>
                    </a:lnTo>
                    <a:lnTo>
                      <a:pt x="1877" y="0"/>
                    </a:lnTo>
                    <a:lnTo>
                      <a:pt x="1242" y="0"/>
                    </a:lnTo>
                    <a:lnTo>
                      <a:pt x="1242" y="137"/>
                    </a:lnTo>
                    <a:lnTo>
                      <a:pt x="1296" y="138"/>
                    </a:lnTo>
                    <a:lnTo>
                      <a:pt x="1347" y="139"/>
                    </a:lnTo>
                    <a:lnTo>
                      <a:pt x="1394" y="140"/>
                    </a:lnTo>
                    <a:lnTo>
                      <a:pt x="1438" y="142"/>
                    </a:lnTo>
                    <a:lnTo>
                      <a:pt x="1478" y="143"/>
                    </a:lnTo>
                    <a:lnTo>
                      <a:pt x="1516" y="144"/>
                    </a:lnTo>
                    <a:lnTo>
                      <a:pt x="1549" y="145"/>
                    </a:lnTo>
                    <a:lnTo>
                      <a:pt x="1579" y="145"/>
                    </a:lnTo>
                    <a:lnTo>
                      <a:pt x="1606" y="146"/>
                    </a:lnTo>
                    <a:lnTo>
                      <a:pt x="1629" y="147"/>
                    </a:lnTo>
                    <a:lnTo>
                      <a:pt x="1647" y="149"/>
                    </a:lnTo>
                    <a:lnTo>
                      <a:pt x="1664" y="150"/>
                    </a:lnTo>
                    <a:lnTo>
                      <a:pt x="1676" y="150"/>
                    </a:lnTo>
                    <a:lnTo>
                      <a:pt x="1686" y="151"/>
                    </a:lnTo>
                    <a:lnTo>
                      <a:pt x="1690" y="151"/>
                    </a:lnTo>
                    <a:lnTo>
                      <a:pt x="1692" y="151"/>
                    </a:lnTo>
                    <a:lnTo>
                      <a:pt x="1695" y="199"/>
                    </a:lnTo>
                    <a:lnTo>
                      <a:pt x="1701" y="328"/>
                    </a:lnTo>
                    <a:lnTo>
                      <a:pt x="1706" y="511"/>
                    </a:lnTo>
                    <a:lnTo>
                      <a:pt x="1709" y="722"/>
                    </a:lnTo>
                    <a:lnTo>
                      <a:pt x="1706" y="940"/>
                    </a:lnTo>
                    <a:lnTo>
                      <a:pt x="1701" y="1139"/>
                    </a:lnTo>
                    <a:lnTo>
                      <a:pt x="1695" y="1283"/>
                    </a:lnTo>
                    <a:lnTo>
                      <a:pt x="1692" y="1338"/>
                    </a:lnTo>
                    <a:lnTo>
                      <a:pt x="1689" y="1338"/>
                    </a:lnTo>
                    <a:lnTo>
                      <a:pt x="1679" y="1339"/>
                    </a:lnTo>
                    <a:lnTo>
                      <a:pt x="1661" y="1339"/>
                    </a:lnTo>
                    <a:lnTo>
                      <a:pt x="1638" y="1340"/>
                    </a:lnTo>
                    <a:lnTo>
                      <a:pt x="1608" y="1341"/>
                    </a:lnTo>
                    <a:lnTo>
                      <a:pt x="1573" y="1343"/>
                    </a:lnTo>
                    <a:lnTo>
                      <a:pt x="1531" y="1344"/>
                    </a:lnTo>
                    <a:lnTo>
                      <a:pt x="1485" y="1345"/>
                    </a:lnTo>
                    <a:lnTo>
                      <a:pt x="1433" y="1347"/>
                    </a:lnTo>
                    <a:lnTo>
                      <a:pt x="1377" y="1348"/>
                    </a:lnTo>
                    <a:lnTo>
                      <a:pt x="1315" y="1350"/>
                    </a:lnTo>
                    <a:lnTo>
                      <a:pt x="1250" y="1351"/>
                    </a:lnTo>
                    <a:lnTo>
                      <a:pt x="1181" y="1352"/>
                    </a:lnTo>
                    <a:lnTo>
                      <a:pt x="1107" y="1352"/>
                    </a:lnTo>
                    <a:lnTo>
                      <a:pt x="1031" y="1353"/>
                    </a:lnTo>
                    <a:lnTo>
                      <a:pt x="950" y="1353"/>
                    </a:lnTo>
                    <a:lnTo>
                      <a:pt x="910" y="1353"/>
                    </a:lnTo>
                    <a:lnTo>
                      <a:pt x="869" y="1353"/>
                    </a:lnTo>
                    <a:lnTo>
                      <a:pt x="830" y="1353"/>
                    </a:lnTo>
                    <a:lnTo>
                      <a:pt x="791" y="1352"/>
                    </a:lnTo>
                    <a:lnTo>
                      <a:pt x="754" y="1352"/>
                    </a:lnTo>
                    <a:lnTo>
                      <a:pt x="717" y="1352"/>
                    </a:lnTo>
                    <a:lnTo>
                      <a:pt x="680" y="1351"/>
                    </a:lnTo>
                    <a:lnTo>
                      <a:pt x="646" y="1351"/>
                    </a:lnTo>
                    <a:lnTo>
                      <a:pt x="611" y="1350"/>
                    </a:lnTo>
                    <a:lnTo>
                      <a:pt x="579" y="1350"/>
                    </a:lnTo>
                    <a:lnTo>
                      <a:pt x="546" y="1348"/>
                    </a:lnTo>
                    <a:lnTo>
                      <a:pt x="515" y="1348"/>
                    </a:lnTo>
                    <a:lnTo>
                      <a:pt x="485" y="1347"/>
                    </a:lnTo>
                    <a:lnTo>
                      <a:pt x="457" y="1347"/>
                    </a:lnTo>
                    <a:lnTo>
                      <a:pt x="429" y="1346"/>
                    </a:lnTo>
                    <a:lnTo>
                      <a:pt x="404" y="1345"/>
                    </a:lnTo>
                    <a:lnTo>
                      <a:pt x="378" y="1345"/>
                    </a:lnTo>
                    <a:lnTo>
                      <a:pt x="354" y="1344"/>
                    </a:lnTo>
                    <a:lnTo>
                      <a:pt x="332" y="1344"/>
                    </a:lnTo>
                    <a:lnTo>
                      <a:pt x="311" y="1343"/>
                    </a:lnTo>
                    <a:lnTo>
                      <a:pt x="292" y="1343"/>
                    </a:lnTo>
                    <a:lnTo>
                      <a:pt x="273" y="1341"/>
                    </a:lnTo>
                    <a:lnTo>
                      <a:pt x="257" y="1341"/>
                    </a:lnTo>
                    <a:lnTo>
                      <a:pt x="242" y="1340"/>
                    </a:lnTo>
                    <a:lnTo>
                      <a:pt x="229" y="1340"/>
                    </a:lnTo>
                    <a:lnTo>
                      <a:pt x="218" y="1339"/>
                    </a:lnTo>
                    <a:lnTo>
                      <a:pt x="208" y="1339"/>
                    </a:lnTo>
                    <a:lnTo>
                      <a:pt x="199" y="1339"/>
                    </a:lnTo>
                    <a:lnTo>
                      <a:pt x="193" y="1338"/>
                    </a:lnTo>
                    <a:lnTo>
                      <a:pt x="188" y="1338"/>
                    </a:lnTo>
                    <a:lnTo>
                      <a:pt x="186" y="1338"/>
                    </a:lnTo>
                    <a:lnTo>
                      <a:pt x="184" y="1338"/>
                    </a:lnTo>
                    <a:lnTo>
                      <a:pt x="182" y="1285"/>
                    </a:lnTo>
                    <a:lnTo>
                      <a:pt x="176" y="1146"/>
                    </a:lnTo>
                    <a:lnTo>
                      <a:pt x="171" y="952"/>
                    </a:lnTo>
                    <a:lnTo>
                      <a:pt x="168" y="737"/>
                    </a:lnTo>
                    <a:lnTo>
                      <a:pt x="171" y="524"/>
                    </a:lnTo>
                    <a:lnTo>
                      <a:pt x="176" y="336"/>
                    </a:lnTo>
                    <a:lnTo>
                      <a:pt x="182" y="202"/>
                    </a:lnTo>
                    <a:lnTo>
                      <a:pt x="184" y="151"/>
                    </a:lnTo>
                    <a:lnTo>
                      <a:pt x="187" y="151"/>
                    </a:lnTo>
                    <a:lnTo>
                      <a:pt x="194" y="151"/>
                    </a:lnTo>
                    <a:lnTo>
                      <a:pt x="206" y="150"/>
                    </a:lnTo>
                    <a:lnTo>
                      <a:pt x="223" y="149"/>
                    </a:lnTo>
                    <a:lnTo>
                      <a:pt x="244" y="147"/>
                    </a:lnTo>
                    <a:lnTo>
                      <a:pt x="271" y="146"/>
                    </a:lnTo>
                    <a:lnTo>
                      <a:pt x="301" y="145"/>
                    </a:lnTo>
                    <a:lnTo>
                      <a:pt x="337" y="144"/>
                    </a:lnTo>
                    <a:lnTo>
                      <a:pt x="376" y="143"/>
                    </a:lnTo>
                    <a:lnTo>
                      <a:pt x="420" y="142"/>
                    </a:lnTo>
                    <a:lnTo>
                      <a:pt x="468" y="140"/>
                    </a:lnTo>
                    <a:lnTo>
                      <a:pt x="521" y="139"/>
                    </a:lnTo>
                    <a:lnTo>
                      <a:pt x="578" y="138"/>
                    </a:lnTo>
                    <a:lnTo>
                      <a:pt x="639" y="137"/>
                    </a:lnTo>
                    <a:lnTo>
                      <a:pt x="704" y="136"/>
                    </a:lnTo>
                    <a:lnTo>
                      <a:pt x="774" y="136"/>
                    </a:lnTo>
                    <a:lnTo>
                      <a:pt x="792" y="136"/>
                    </a:lnTo>
                    <a:lnTo>
                      <a:pt x="812" y="136"/>
                    </a:lnTo>
                    <a:lnTo>
                      <a:pt x="831" y="136"/>
                    </a:lnTo>
                    <a:lnTo>
                      <a:pt x="851" y="135"/>
                    </a:lnTo>
                    <a:lnTo>
                      <a:pt x="870" y="135"/>
                    </a:lnTo>
                    <a:lnTo>
                      <a:pt x="891" y="135"/>
                    </a:lnTo>
                    <a:lnTo>
                      <a:pt x="912" y="135"/>
                    </a:lnTo>
                    <a:lnTo>
                      <a:pt x="934" y="135"/>
                    </a:lnTo>
                    <a:lnTo>
                      <a:pt x="953" y="135"/>
                    </a:lnTo>
                    <a:lnTo>
                      <a:pt x="974" y="135"/>
                    </a:lnTo>
                    <a:lnTo>
                      <a:pt x="995" y="135"/>
                    </a:lnTo>
                    <a:lnTo>
                      <a:pt x="1015" y="135"/>
                    </a:lnTo>
                    <a:lnTo>
                      <a:pt x="1035" y="135"/>
                    </a:lnTo>
                    <a:lnTo>
                      <a:pt x="1056" y="135"/>
                    </a:lnTo>
                    <a:lnTo>
                      <a:pt x="1076" y="135"/>
                    </a:lnTo>
                    <a:lnTo>
                      <a:pt x="1096" y="136"/>
                    </a:lnTo>
                    <a:lnTo>
                      <a:pt x="1116" y="136"/>
                    </a:lnTo>
                    <a:lnTo>
                      <a:pt x="1136" y="136"/>
                    </a:lnTo>
                    <a:lnTo>
                      <a:pt x="1154" y="136"/>
                    </a:lnTo>
                    <a:lnTo>
                      <a:pt x="1172" y="136"/>
                    </a:lnTo>
                    <a:lnTo>
                      <a:pt x="1191" y="136"/>
                    </a:lnTo>
                    <a:lnTo>
                      <a:pt x="1208" y="137"/>
                    </a:lnTo>
                    <a:lnTo>
                      <a:pt x="1226" y="137"/>
                    </a:lnTo>
                    <a:lnTo>
                      <a:pt x="1242" y="137"/>
                    </a:lnTo>
                    <a:lnTo>
                      <a:pt x="1242" y="0"/>
                    </a:lnTo>
                    <a:lnTo>
                      <a:pt x="774" y="0"/>
                    </a:lnTo>
                    <a:lnTo>
                      <a:pt x="0" y="0"/>
                    </a:lnTo>
                    <a:lnTo>
                      <a:pt x="0" y="1520"/>
                    </a:lnTo>
                    <a:lnTo>
                      <a:pt x="587" y="1520"/>
                    </a:lnTo>
                    <a:lnTo>
                      <a:pt x="587" y="1612"/>
                    </a:lnTo>
                    <a:lnTo>
                      <a:pt x="258" y="1612"/>
                    </a:lnTo>
                    <a:lnTo>
                      <a:pt x="258" y="1729"/>
                    </a:lnTo>
                    <a:lnTo>
                      <a:pt x="2" y="1938"/>
                    </a:lnTo>
                    <a:lnTo>
                      <a:pt x="2" y="2058"/>
                    </a:lnTo>
                    <a:lnTo>
                      <a:pt x="1888" y="2058"/>
                    </a:lnTo>
                    <a:lnTo>
                      <a:pt x="1888" y="1964"/>
                    </a:lnTo>
                    <a:lnTo>
                      <a:pt x="1913" y="1968"/>
                    </a:lnTo>
                    <a:lnTo>
                      <a:pt x="1937" y="1970"/>
                    </a:lnTo>
                    <a:lnTo>
                      <a:pt x="1962" y="1972"/>
                    </a:lnTo>
                    <a:lnTo>
                      <a:pt x="1986" y="1972"/>
                    </a:lnTo>
                    <a:lnTo>
                      <a:pt x="2009" y="1971"/>
                    </a:lnTo>
                    <a:lnTo>
                      <a:pt x="2031" y="1968"/>
                    </a:lnTo>
                    <a:lnTo>
                      <a:pt x="2051" y="1961"/>
                    </a:lnTo>
                    <a:lnTo>
                      <a:pt x="2068" y="1953"/>
                    </a:lnTo>
                    <a:lnTo>
                      <a:pt x="2076" y="1946"/>
                    </a:lnTo>
                    <a:lnTo>
                      <a:pt x="2083" y="1939"/>
                    </a:lnTo>
                    <a:lnTo>
                      <a:pt x="2086" y="1932"/>
                    </a:lnTo>
                    <a:lnTo>
                      <a:pt x="2087" y="1925"/>
                    </a:lnTo>
                    <a:lnTo>
                      <a:pt x="2086" y="1918"/>
                    </a:lnTo>
                    <a:lnTo>
                      <a:pt x="2082" y="1911"/>
                    </a:lnTo>
                    <a:lnTo>
                      <a:pt x="2076" y="1905"/>
                    </a:lnTo>
                    <a:lnTo>
                      <a:pt x="2069" y="1899"/>
                    </a:lnTo>
                    <a:lnTo>
                      <a:pt x="2061" y="1893"/>
                    </a:lnTo>
                    <a:lnTo>
                      <a:pt x="2052" y="1887"/>
                    </a:lnTo>
                    <a:lnTo>
                      <a:pt x="2043" y="1883"/>
                    </a:lnTo>
                    <a:lnTo>
                      <a:pt x="2033" y="1877"/>
                    </a:lnTo>
                    <a:lnTo>
                      <a:pt x="2023" y="1872"/>
                    </a:lnTo>
                    <a:lnTo>
                      <a:pt x="2013" y="1867"/>
                    </a:lnTo>
                    <a:lnTo>
                      <a:pt x="2005" y="1862"/>
                    </a:lnTo>
                    <a:lnTo>
                      <a:pt x="2000" y="1857"/>
                    </a:lnTo>
                    <a:lnTo>
                      <a:pt x="2003" y="1856"/>
                    </a:lnTo>
                    <a:lnTo>
                      <a:pt x="2007" y="1854"/>
                    </a:lnTo>
                    <a:lnTo>
                      <a:pt x="2015" y="1850"/>
                    </a:lnTo>
                    <a:lnTo>
                      <a:pt x="2028" y="1847"/>
                    </a:lnTo>
                    <a:lnTo>
                      <a:pt x="2048" y="1843"/>
                    </a:lnTo>
                    <a:lnTo>
                      <a:pt x="2071" y="1842"/>
                    </a:lnTo>
                    <a:lnTo>
                      <a:pt x="2096" y="1842"/>
                    </a:lnTo>
                    <a:lnTo>
                      <a:pt x="2124" y="1843"/>
                    </a:lnTo>
                    <a:lnTo>
                      <a:pt x="2154" y="1846"/>
                    </a:lnTo>
                    <a:lnTo>
                      <a:pt x="2184" y="1849"/>
                    </a:lnTo>
                    <a:lnTo>
                      <a:pt x="2215" y="1854"/>
                    </a:lnTo>
                    <a:lnTo>
                      <a:pt x="2245" y="1860"/>
                    </a:lnTo>
                    <a:lnTo>
                      <a:pt x="2275" y="1867"/>
                    </a:lnTo>
                    <a:lnTo>
                      <a:pt x="2302" y="1875"/>
                    </a:lnTo>
                    <a:lnTo>
                      <a:pt x="2329" y="1883"/>
                    </a:lnTo>
                    <a:lnTo>
                      <a:pt x="2353" y="1892"/>
                    </a:lnTo>
                    <a:lnTo>
                      <a:pt x="2373" y="1901"/>
                    </a:lnTo>
                    <a:lnTo>
                      <a:pt x="2389" y="1910"/>
                    </a:lnTo>
                    <a:lnTo>
                      <a:pt x="2401" y="1921"/>
                    </a:lnTo>
                    <a:lnTo>
                      <a:pt x="2408" y="1931"/>
                    </a:lnTo>
                    <a:lnTo>
                      <a:pt x="2410" y="1939"/>
                    </a:lnTo>
                    <a:lnTo>
                      <a:pt x="2406" y="1948"/>
                    </a:lnTo>
                    <a:lnTo>
                      <a:pt x="2398" y="1956"/>
                    </a:lnTo>
                    <a:lnTo>
                      <a:pt x="2385" y="1966"/>
                    </a:lnTo>
                    <a:lnTo>
                      <a:pt x="2360" y="1979"/>
                    </a:lnTo>
                    <a:lnTo>
                      <a:pt x="2335" y="1991"/>
                    </a:lnTo>
                    <a:lnTo>
                      <a:pt x="2310" y="2001"/>
                    </a:lnTo>
                    <a:lnTo>
                      <a:pt x="2287" y="2008"/>
                    </a:lnTo>
                    <a:lnTo>
                      <a:pt x="2265" y="2015"/>
                    </a:lnTo>
                    <a:lnTo>
                      <a:pt x="2245" y="2020"/>
                    </a:lnTo>
                    <a:lnTo>
                      <a:pt x="2226" y="2023"/>
                    </a:lnTo>
                    <a:lnTo>
                      <a:pt x="2208" y="2027"/>
                    </a:lnTo>
                    <a:lnTo>
                      <a:pt x="2193" y="2029"/>
                    </a:lnTo>
                    <a:lnTo>
                      <a:pt x="2179" y="2032"/>
                    </a:lnTo>
                    <a:lnTo>
                      <a:pt x="2166" y="2035"/>
                    </a:lnTo>
                    <a:lnTo>
                      <a:pt x="2155" y="2038"/>
                    </a:lnTo>
                    <a:lnTo>
                      <a:pt x="2144" y="2043"/>
                    </a:lnTo>
                    <a:lnTo>
                      <a:pt x="2135" y="2048"/>
                    </a:lnTo>
                    <a:lnTo>
                      <a:pt x="2127" y="2057"/>
                    </a:lnTo>
                    <a:lnTo>
                      <a:pt x="2121" y="2065"/>
                    </a:lnTo>
                    <a:lnTo>
                      <a:pt x="2116" y="2074"/>
                    </a:lnTo>
                    <a:lnTo>
                      <a:pt x="2107" y="2083"/>
                    </a:lnTo>
                    <a:lnTo>
                      <a:pt x="2099" y="2091"/>
                    </a:lnTo>
                    <a:lnTo>
                      <a:pt x="2090" y="2098"/>
                    </a:lnTo>
                    <a:lnTo>
                      <a:pt x="2081" y="2105"/>
                    </a:lnTo>
                    <a:lnTo>
                      <a:pt x="2072" y="2112"/>
                    </a:lnTo>
                    <a:lnTo>
                      <a:pt x="2063" y="2118"/>
                    </a:lnTo>
                    <a:lnTo>
                      <a:pt x="2053" y="2122"/>
                    </a:lnTo>
                    <a:lnTo>
                      <a:pt x="2049" y="2116"/>
                    </a:lnTo>
                    <a:lnTo>
                      <a:pt x="2042" y="2111"/>
                    </a:lnTo>
                    <a:lnTo>
                      <a:pt x="2033" y="2105"/>
                    </a:lnTo>
                    <a:lnTo>
                      <a:pt x="2020" y="2099"/>
                    </a:lnTo>
                    <a:lnTo>
                      <a:pt x="2004" y="2094"/>
                    </a:lnTo>
                    <a:lnTo>
                      <a:pt x="1984" y="2091"/>
                    </a:lnTo>
                    <a:lnTo>
                      <a:pt x="1960" y="2090"/>
                    </a:lnTo>
                    <a:lnTo>
                      <a:pt x="1930" y="2090"/>
                    </a:lnTo>
                    <a:lnTo>
                      <a:pt x="1907" y="2091"/>
                    </a:lnTo>
                    <a:lnTo>
                      <a:pt x="1882" y="2094"/>
                    </a:lnTo>
                    <a:lnTo>
                      <a:pt x="1856" y="2098"/>
                    </a:lnTo>
                    <a:lnTo>
                      <a:pt x="1831" y="2104"/>
                    </a:lnTo>
                    <a:lnTo>
                      <a:pt x="1805" y="2109"/>
                    </a:lnTo>
                    <a:lnTo>
                      <a:pt x="1781" y="2118"/>
                    </a:lnTo>
                    <a:lnTo>
                      <a:pt x="1758" y="2126"/>
                    </a:lnTo>
                    <a:lnTo>
                      <a:pt x="1737" y="2135"/>
                    </a:lnTo>
                    <a:lnTo>
                      <a:pt x="1718" y="2145"/>
                    </a:lnTo>
                    <a:lnTo>
                      <a:pt x="1702" y="2156"/>
                    </a:lnTo>
                    <a:lnTo>
                      <a:pt x="1689" y="2168"/>
                    </a:lnTo>
                    <a:lnTo>
                      <a:pt x="1680" y="2180"/>
                    </a:lnTo>
                    <a:lnTo>
                      <a:pt x="1675" y="2192"/>
                    </a:lnTo>
                    <a:lnTo>
                      <a:pt x="1675" y="2206"/>
                    </a:lnTo>
                    <a:lnTo>
                      <a:pt x="1680" y="2220"/>
                    </a:lnTo>
                    <a:lnTo>
                      <a:pt x="1690" y="2234"/>
                    </a:lnTo>
                    <a:lnTo>
                      <a:pt x="1716" y="2257"/>
                    </a:lnTo>
                    <a:lnTo>
                      <a:pt x="1740" y="2274"/>
                    </a:lnTo>
                    <a:lnTo>
                      <a:pt x="1764" y="2287"/>
                    </a:lnTo>
                    <a:lnTo>
                      <a:pt x="1788" y="2295"/>
                    </a:lnTo>
                    <a:lnTo>
                      <a:pt x="1812" y="2298"/>
                    </a:lnTo>
                    <a:lnTo>
                      <a:pt x="1835" y="2298"/>
                    </a:lnTo>
                    <a:lnTo>
                      <a:pt x="1857" y="2296"/>
                    </a:lnTo>
                    <a:lnTo>
                      <a:pt x="1879" y="2290"/>
                    </a:lnTo>
                    <a:lnTo>
                      <a:pt x="1900" y="2282"/>
                    </a:lnTo>
                    <a:lnTo>
                      <a:pt x="1920" y="2273"/>
                    </a:lnTo>
                    <a:lnTo>
                      <a:pt x="1939" y="2263"/>
                    </a:lnTo>
                    <a:lnTo>
                      <a:pt x="1956" y="2251"/>
                    </a:lnTo>
                    <a:lnTo>
                      <a:pt x="1973" y="2240"/>
                    </a:lnTo>
                    <a:lnTo>
                      <a:pt x="1989" y="2228"/>
                    </a:lnTo>
                    <a:lnTo>
                      <a:pt x="2003" y="2217"/>
                    </a:lnTo>
                    <a:lnTo>
                      <a:pt x="2015" y="2207"/>
                    </a:lnTo>
                    <a:lnTo>
                      <a:pt x="2031" y="2194"/>
                    </a:lnTo>
                    <a:lnTo>
                      <a:pt x="2044" y="2182"/>
                    </a:lnTo>
                    <a:lnTo>
                      <a:pt x="2052" y="2170"/>
                    </a:lnTo>
                    <a:lnTo>
                      <a:pt x="2058" y="2161"/>
                    </a:lnTo>
                    <a:lnTo>
                      <a:pt x="2060" y="2152"/>
                    </a:lnTo>
                    <a:lnTo>
                      <a:pt x="2061" y="2145"/>
                    </a:lnTo>
                    <a:lnTo>
                      <a:pt x="2061" y="2141"/>
                    </a:lnTo>
                    <a:lnTo>
                      <a:pt x="2060" y="2136"/>
                    </a:lnTo>
                    <a:lnTo>
                      <a:pt x="2069" y="2131"/>
                    </a:lnTo>
                    <a:lnTo>
                      <a:pt x="2080" y="2124"/>
                    </a:lnTo>
                    <a:lnTo>
                      <a:pt x="2090" y="2118"/>
                    </a:lnTo>
                    <a:lnTo>
                      <a:pt x="2101" y="2111"/>
                    </a:lnTo>
                    <a:lnTo>
                      <a:pt x="2111" y="2101"/>
                    </a:lnTo>
                    <a:lnTo>
                      <a:pt x="2120" y="2093"/>
                    </a:lnTo>
                    <a:lnTo>
                      <a:pt x="2128" y="2083"/>
                    </a:lnTo>
                    <a:lnTo>
                      <a:pt x="2135" y="2073"/>
                    </a:lnTo>
                    <a:lnTo>
                      <a:pt x="2140" y="2066"/>
                    </a:lnTo>
                    <a:lnTo>
                      <a:pt x="2146" y="2060"/>
                    </a:lnTo>
                    <a:lnTo>
                      <a:pt x="2154" y="2057"/>
                    </a:lnTo>
                    <a:lnTo>
                      <a:pt x="2163" y="2052"/>
                    </a:lnTo>
                    <a:lnTo>
                      <a:pt x="2173" y="2050"/>
                    </a:lnTo>
                    <a:lnTo>
                      <a:pt x="2185" y="2046"/>
                    </a:lnTo>
                    <a:lnTo>
                      <a:pt x="2197" y="2044"/>
                    </a:lnTo>
                    <a:lnTo>
                      <a:pt x="2211" y="2042"/>
                    </a:lnTo>
                    <a:lnTo>
                      <a:pt x="2230" y="2038"/>
                    </a:lnTo>
                    <a:lnTo>
                      <a:pt x="2249" y="2035"/>
                    </a:lnTo>
                    <a:lnTo>
                      <a:pt x="2270" y="2030"/>
                    </a:lnTo>
                    <a:lnTo>
                      <a:pt x="2292" y="2024"/>
                    </a:lnTo>
                    <a:lnTo>
                      <a:pt x="2316" y="2016"/>
                    </a:lnTo>
                    <a:lnTo>
                      <a:pt x="2340" y="2006"/>
                    </a:lnTo>
                    <a:lnTo>
                      <a:pt x="2367" y="1994"/>
                    </a:lnTo>
                    <a:lnTo>
                      <a:pt x="2393" y="1979"/>
                    </a:lnTo>
                    <a:lnTo>
                      <a:pt x="2405" y="1971"/>
                    </a:lnTo>
                    <a:lnTo>
                      <a:pt x="2413" y="1964"/>
                    </a:lnTo>
                    <a:lnTo>
                      <a:pt x="2419" y="1956"/>
                    </a:lnTo>
                    <a:lnTo>
                      <a:pt x="2423" y="1949"/>
                    </a:lnTo>
                    <a:lnTo>
                      <a:pt x="2425" y="1943"/>
                    </a:lnTo>
                    <a:lnTo>
                      <a:pt x="2426" y="1937"/>
                    </a:lnTo>
                    <a:lnTo>
                      <a:pt x="2425" y="1931"/>
                    </a:lnTo>
                    <a:lnTo>
                      <a:pt x="2423" y="1925"/>
                    </a:lnTo>
                    <a:close/>
                  </a:path>
                </a:pathLst>
              </a:custGeom>
              <a:grpFill/>
              <a:ln>
                <a:noFill/>
              </a:ln>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dirty="0"/>
              </a:p>
            </p:txBody>
          </p:sp>
          <p:sp>
            <p:nvSpPr>
              <p:cNvPr id="160" name="Freeform 159"/>
              <p:cNvSpPr>
                <a:spLocks/>
              </p:cNvSpPr>
              <p:nvPr/>
            </p:nvSpPr>
            <p:spPr bwMode="auto">
              <a:xfrm>
                <a:off x="412524" y="372269"/>
                <a:ext cx="1084262" cy="779463"/>
              </a:xfrm>
              <a:custGeom>
                <a:avLst/>
                <a:gdLst/>
                <a:ahLst/>
                <a:cxnLst/>
                <a:rect l="l" t="t" r="r" b="b"/>
                <a:pathLst>
                  <a:path w="1084262" h="779463">
                    <a:moveTo>
                      <a:pt x="412277" y="700088"/>
                    </a:moveTo>
                    <a:lnTo>
                      <a:pt x="420353" y="707478"/>
                    </a:lnTo>
                    <a:lnTo>
                      <a:pt x="430046" y="714047"/>
                    </a:lnTo>
                    <a:lnTo>
                      <a:pt x="438122" y="720616"/>
                    </a:lnTo>
                    <a:lnTo>
                      <a:pt x="447814" y="726364"/>
                    </a:lnTo>
                    <a:lnTo>
                      <a:pt x="456699" y="732933"/>
                    </a:lnTo>
                    <a:lnTo>
                      <a:pt x="466391" y="737860"/>
                    </a:lnTo>
                    <a:lnTo>
                      <a:pt x="476891" y="743608"/>
                    </a:lnTo>
                    <a:lnTo>
                      <a:pt x="485775" y="747713"/>
                    </a:lnTo>
                    <a:lnTo>
                      <a:pt x="473660" y="744429"/>
                    </a:lnTo>
                    <a:lnTo>
                      <a:pt x="461545" y="740323"/>
                    </a:lnTo>
                    <a:lnTo>
                      <a:pt x="449430" y="735396"/>
                    </a:lnTo>
                    <a:lnTo>
                      <a:pt x="437315" y="731291"/>
                    </a:lnTo>
                    <a:lnTo>
                      <a:pt x="426007" y="726364"/>
                    </a:lnTo>
                    <a:lnTo>
                      <a:pt x="414700" y="720616"/>
                    </a:lnTo>
                    <a:lnTo>
                      <a:pt x="404200" y="714868"/>
                    </a:lnTo>
                    <a:lnTo>
                      <a:pt x="393700" y="709120"/>
                    </a:lnTo>
                    <a:lnTo>
                      <a:pt x="398546" y="706657"/>
                    </a:lnTo>
                    <a:lnTo>
                      <a:pt x="404200" y="704194"/>
                    </a:lnTo>
                    <a:lnTo>
                      <a:pt x="408238" y="701730"/>
                    </a:lnTo>
                    <a:close/>
                    <a:moveTo>
                      <a:pt x="454548" y="681038"/>
                    </a:moveTo>
                    <a:lnTo>
                      <a:pt x="458473" y="688182"/>
                    </a:lnTo>
                    <a:lnTo>
                      <a:pt x="462398" y="692944"/>
                    </a:lnTo>
                    <a:lnTo>
                      <a:pt x="466324" y="698501"/>
                    </a:lnTo>
                    <a:lnTo>
                      <a:pt x="471034" y="704057"/>
                    </a:lnTo>
                    <a:lnTo>
                      <a:pt x="474174" y="709613"/>
                    </a:lnTo>
                    <a:lnTo>
                      <a:pt x="478884" y="714376"/>
                    </a:lnTo>
                    <a:lnTo>
                      <a:pt x="483594" y="719138"/>
                    </a:lnTo>
                    <a:lnTo>
                      <a:pt x="488305" y="723107"/>
                    </a:lnTo>
                    <a:lnTo>
                      <a:pt x="491445" y="727076"/>
                    </a:lnTo>
                    <a:lnTo>
                      <a:pt x="495370" y="730251"/>
                    </a:lnTo>
                    <a:lnTo>
                      <a:pt x="497725" y="733426"/>
                    </a:lnTo>
                    <a:lnTo>
                      <a:pt x="501650" y="736601"/>
                    </a:lnTo>
                    <a:lnTo>
                      <a:pt x="492230" y="732632"/>
                    </a:lnTo>
                    <a:lnTo>
                      <a:pt x="482809" y="727870"/>
                    </a:lnTo>
                    <a:lnTo>
                      <a:pt x="473389" y="723107"/>
                    </a:lnTo>
                    <a:lnTo>
                      <a:pt x="464754" y="718345"/>
                    </a:lnTo>
                    <a:lnTo>
                      <a:pt x="456118" y="712788"/>
                    </a:lnTo>
                    <a:lnTo>
                      <a:pt x="447483" y="707232"/>
                    </a:lnTo>
                    <a:lnTo>
                      <a:pt x="438062" y="700882"/>
                    </a:lnTo>
                    <a:lnTo>
                      <a:pt x="430212" y="692944"/>
                    </a:lnTo>
                    <a:lnTo>
                      <a:pt x="436492" y="690563"/>
                    </a:lnTo>
                    <a:lnTo>
                      <a:pt x="442773" y="688182"/>
                    </a:lnTo>
                    <a:lnTo>
                      <a:pt x="448268" y="685007"/>
                    </a:lnTo>
                    <a:close/>
                    <a:moveTo>
                      <a:pt x="522769" y="649288"/>
                    </a:moveTo>
                    <a:lnTo>
                      <a:pt x="526774" y="665692"/>
                    </a:lnTo>
                    <a:lnTo>
                      <a:pt x="530779" y="679753"/>
                    </a:lnTo>
                    <a:lnTo>
                      <a:pt x="533983" y="694595"/>
                    </a:lnTo>
                    <a:lnTo>
                      <a:pt x="538789" y="707093"/>
                    </a:lnTo>
                    <a:lnTo>
                      <a:pt x="543596" y="718811"/>
                    </a:lnTo>
                    <a:lnTo>
                      <a:pt x="548402" y="729747"/>
                    </a:lnTo>
                    <a:lnTo>
                      <a:pt x="552407" y="739120"/>
                    </a:lnTo>
                    <a:lnTo>
                      <a:pt x="557213" y="747713"/>
                    </a:lnTo>
                    <a:lnTo>
                      <a:pt x="550004" y="744589"/>
                    </a:lnTo>
                    <a:lnTo>
                      <a:pt x="542795" y="742245"/>
                    </a:lnTo>
                    <a:lnTo>
                      <a:pt x="534784" y="738339"/>
                    </a:lnTo>
                    <a:lnTo>
                      <a:pt x="528376" y="733652"/>
                    </a:lnTo>
                    <a:lnTo>
                      <a:pt x="521167" y="729747"/>
                    </a:lnTo>
                    <a:lnTo>
                      <a:pt x="513957" y="724279"/>
                    </a:lnTo>
                    <a:lnTo>
                      <a:pt x="507549" y="718811"/>
                    </a:lnTo>
                    <a:lnTo>
                      <a:pt x="500340" y="712561"/>
                    </a:lnTo>
                    <a:lnTo>
                      <a:pt x="496334" y="707874"/>
                    </a:lnTo>
                    <a:lnTo>
                      <a:pt x="492329" y="703969"/>
                    </a:lnTo>
                    <a:lnTo>
                      <a:pt x="488324" y="700063"/>
                    </a:lnTo>
                    <a:lnTo>
                      <a:pt x="484319" y="695376"/>
                    </a:lnTo>
                    <a:lnTo>
                      <a:pt x="480314" y="689908"/>
                    </a:lnTo>
                    <a:lnTo>
                      <a:pt x="477109" y="685221"/>
                    </a:lnTo>
                    <a:lnTo>
                      <a:pt x="473104" y="680534"/>
                    </a:lnTo>
                    <a:lnTo>
                      <a:pt x="469900" y="675066"/>
                    </a:lnTo>
                    <a:lnTo>
                      <a:pt x="476308" y="671941"/>
                    </a:lnTo>
                    <a:lnTo>
                      <a:pt x="482717" y="668817"/>
                    </a:lnTo>
                    <a:lnTo>
                      <a:pt x="489926" y="665692"/>
                    </a:lnTo>
                    <a:lnTo>
                      <a:pt x="496334" y="661787"/>
                    </a:lnTo>
                    <a:lnTo>
                      <a:pt x="502743" y="659443"/>
                    </a:lnTo>
                    <a:lnTo>
                      <a:pt x="509952" y="655537"/>
                    </a:lnTo>
                    <a:lnTo>
                      <a:pt x="516360" y="653194"/>
                    </a:lnTo>
                    <a:close/>
                    <a:moveTo>
                      <a:pt x="833647" y="614363"/>
                    </a:moveTo>
                    <a:lnTo>
                      <a:pt x="840762" y="615157"/>
                    </a:lnTo>
                    <a:lnTo>
                      <a:pt x="847085" y="616744"/>
                    </a:lnTo>
                    <a:lnTo>
                      <a:pt x="853409" y="617538"/>
                    </a:lnTo>
                    <a:lnTo>
                      <a:pt x="859733" y="619126"/>
                    </a:lnTo>
                    <a:lnTo>
                      <a:pt x="866057" y="619919"/>
                    </a:lnTo>
                    <a:lnTo>
                      <a:pt x="871590" y="620713"/>
                    </a:lnTo>
                    <a:lnTo>
                      <a:pt x="877914" y="623094"/>
                    </a:lnTo>
                    <a:lnTo>
                      <a:pt x="884238" y="623888"/>
                    </a:lnTo>
                    <a:lnTo>
                      <a:pt x="873962" y="635001"/>
                    </a:lnTo>
                    <a:lnTo>
                      <a:pt x="865267" y="645319"/>
                    </a:lnTo>
                    <a:lnTo>
                      <a:pt x="854200" y="655638"/>
                    </a:lnTo>
                    <a:lnTo>
                      <a:pt x="843923" y="665163"/>
                    </a:lnTo>
                    <a:lnTo>
                      <a:pt x="832066" y="674688"/>
                    </a:lnTo>
                    <a:lnTo>
                      <a:pt x="820999" y="684213"/>
                    </a:lnTo>
                    <a:lnTo>
                      <a:pt x="809142" y="692151"/>
                    </a:lnTo>
                    <a:lnTo>
                      <a:pt x="797285" y="700882"/>
                    </a:lnTo>
                    <a:lnTo>
                      <a:pt x="785428" y="708026"/>
                    </a:lnTo>
                    <a:lnTo>
                      <a:pt x="772780" y="715169"/>
                    </a:lnTo>
                    <a:lnTo>
                      <a:pt x="760132" y="721519"/>
                    </a:lnTo>
                    <a:lnTo>
                      <a:pt x="746694" y="727869"/>
                    </a:lnTo>
                    <a:lnTo>
                      <a:pt x="734046" y="733426"/>
                    </a:lnTo>
                    <a:lnTo>
                      <a:pt x="719817" y="738982"/>
                    </a:lnTo>
                    <a:lnTo>
                      <a:pt x="705589" y="743744"/>
                    </a:lnTo>
                    <a:lnTo>
                      <a:pt x="692150" y="747713"/>
                    </a:lnTo>
                    <a:lnTo>
                      <a:pt x="702427" y="742157"/>
                    </a:lnTo>
                    <a:lnTo>
                      <a:pt x="714284" y="735807"/>
                    </a:lnTo>
                    <a:lnTo>
                      <a:pt x="725351" y="729457"/>
                    </a:lnTo>
                    <a:lnTo>
                      <a:pt x="736417" y="722313"/>
                    </a:lnTo>
                    <a:lnTo>
                      <a:pt x="746694" y="714376"/>
                    </a:lnTo>
                    <a:lnTo>
                      <a:pt x="757761" y="705644"/>
                    </a:lnTo>
                    <a:lnTo>
                      <a:pt x="767246" y="697707"/>
                    </a:lnTo>
                    <a:lnTo>
                      <a:pt x="777523" y="687388"/>
                    </a:lnTo>
                    <a:lnTo>
                      <a:pt x="785428" y="679451"/>
                    </a:lnTo>
                    <a:lnTo>
                      <a:pt x="793332" y="671513"/>
                    </a:lnTo>
                    <a:lnTo>
                      <a:pt x="800447" y="661988"/>
                    </a:lnTo>
                    <a:lnTo>
                      <a:pt x="807561" y="654051"/>
                    </a:lnTo>
                    <a:lnTo>
                      <a:pt x="814676" y="643732"/>
                    </a:lnTo>
                    <a:lnTo>
                      <a:pt x="820999" y="635001"/>
                    </a:lnTo>
                    <a:lnTo>
                      <a:pt x="827323" y="624682"/>
                    </a:lnTo>
                    <a:close/>
                    <a:moveTo>
                      <a:pt x="341381" y="614363"/>
                    </a:moveTo>
                    <a:lnTo>
                      <a:pt x="346225" y="622896"/>
                    </a:lnTo>
                    <a:lnTo>
                      <a:pt x="351878" y="629877"/>
                    </a:lnTo>
                    <a:lnTo>
                      <a:pt x="356722" y="636859"/>
                    </a:lnTo>
                    <a:lnTo>
                      <a:pt x="361567" y="643840"/>
                    </a:lnTo>
                    <a:lnTo>
                      <a:pt x="367219" y="650822"/>
                    </a:lnTo>
                    <a:lnTo>
                      <a:pt x="372871" y="658579"/>
                    </a:lnTo>
                    <a:lnTo>
                      <a:pt x="378523" y="664785"/>
                    </a:lnTo>
                    <a:lnTo>
                      <a:pt x="384175" y="671766"/>
                    </a:lnTo>
                    <a:lnTo>
                      <a:pt x="380138" y="672542"/>
                    </a:lnTo>
                    <a:lnTo>
                      <a:pt x="376908" y="674093"/>
                    </a:lnTo>
                    <a:lnTo>
                      <a:pt x="372871" y="675645"/>
                    </a:lnTo>
                    <a:lnTo>
                      <a:pt x="369641" y="677196"/>
                    </a:lnTo>
                    <a:lnTo>
                      <a:pt x="365604" y="677972"/>
                    </a:lnTo>
                    <a:lnTo>
                      <a:pt x="361567" y="679523"/>
                    </a:lnTo>
                    <a:lnTo>
                      <a:pt x="358337" y="680299"/>
                    </a:lnTo>
                    <a:lnTo>
                      <a:pt x="354300" y="682626"/>
                    </a:lnTo>
                    <a:lnTo>
                      <a:pt x="346225" y="676420"/>
                    </a:lnTo>
                    <a:lnTo>
                      <a:pt x="337344" y="669439"/>
                    </a:lnTo>
                    <a:lnTo>
                      <a:pt x="329269" y="661682"/>
                    </a:lnTo>
                    <a:lnTo>
                      <a:pt x="321195" y="654700"/>
                    </a:lnTo>
                    <a:lnTo>
                      <a:pt x="312313" y="646943"/>
                    </a:lnTo>
                    <a:lnTo>
                      <a:pt x="305046" y="639962"/>
                    </a:lnTo>
                    <a:lnTo>
                      <a:pt x="297779" y="631429"/>
                    </a:lnTo>
                    <a:lnTo>
                      <a:pt x="290512" y="623672"/>
                    </a:lnTo>
                    <a:lnTo>
                      <a:pt x="296972" y="622896"/>
                    </a:lnTo>
                    <a:lnTo>
                      <a:pt x="303431" y="620569"/>
                    </a:lnTo>
                    <a:lnTo>
                      <a:pt x="309083" y="619793"/>
                    </a:lnTo>
                    <a:lnTo>
                      <a:pt x="315543" y="619017"/>
                    </a:lnTo>
                    <a:lnTo>
                      <a:pt x="322002" y="617466"/>
                    </a:lnTo>
                    <a:lnTo>
                      <a:pt x="328462" y="616690"/>
                    </a:lnTo>
                    <a:lnTo>
                      <a:pt x="334921" y="615139"/>
                    </a:lnTo>
                    <a:close/>
                    <a:moveTo>
                      <a:pt x="759304" y="603250"/>
                    </a:moveTo>
                    <a:lnTo>
                      <a:pt x="766488" y="604049"/>
                    </a:lnTo>
                    <a:lnTo>
                      <a:pt x="773671" y="604847"/>
                    </a:lnTo>
                    <a:lnTo>
                      <a:pt x="781653" y="605646"/>
                    </a:lnTo>
                    <a:lnTo>
                      <a:pt x="788039" y="606444"/>
                    </a:lnTo>
                    <a:lnTo>
                      <a:pt x="795222" y="607243"/>
                    </a:lnTo>
                    <a:lnTo>
                      <a:pt x="802406" y="608840"/>
                    </a:lnTo>
                    <a:lnTo>
                      <a:pt x="808792" y="609638"/>
                    </a:lnTo>
                    <a:lnTo>
                      <a:pt x="815975" y="610437"/>
                    </a:lnTo>
                    <a:lnTo>
                      <a:pt x="801608" y="631198"/>
                    </a:lnTo>
                    <a:lnTo>
                      <a:pt x="785644" y="651959"/>
                    </a:lnTo>
                    <a:lnTo>
                      <a:pt x="769681" y="670324"/>
                    </a:lnTo>
                    <a:lnTo>
                      <a:pt x="752121" y="686294"/>
                    </a:lnTo>
                    <a:lnTo>
                      <a:pt x="733762" y="702264"/>
                    </a:lnTo>
                    <a:lnTo>
                      <a:pt x="713808" y="715041"/>
                    </a:lnTo>
                    <a:lnTo>
                      <a:pt x="693853" y="727018"/>
                    </a:lnTo>
                    <a:lnTo>
                      <a:pt x="673100" y="736600"/>
                    </a:lnTo>
                    <a:lnTo>
                      <a:pt x="676293" y="733406"/>
                    </a:lnTo>
                    <a:lnTo>
                      <a:pt x="680284" y="730212"/>
                    </a:lnTo>
                    <a:lnTo>
                      <a:pt x="683477" y="727018"/>
                    </a:lnTo>
                    <a:lnTo>
                      <a:pt x="687468" y="723026"/>
                    </a:lnTo>
                    <a:lnTo>
                      <a:pt x="697844" y="712645"/>
                    </a:lnTo>
                    <a:lnTo>
                      <a:pt x="707422" y="699869"/>
                    </a:lnTo>
                    <a:lnTo>
                      <a:pt x="717799" y="685496"/>
                    </a:lnTo>
                    <a:lnTo>
                      <a:pt x="727377" y="671123"/>
                    </a:lnTo>
                    <a:lnTo>
                      <a:pt x="736157" y="655153"/>
                    </a:lnTo>
                    <a:lnTo>
                      <a:pt x="744139" y="639183"/>
                    </a:lnTo>
                    <a:lnTo>
                      <a:pt x="752121" y="621616"/>
                    </a:lnTo>
                    <a:close/>
                    <a:moveTo>
                      <a:pt x="416923" y="603250"/>
                    </a:moveTo>
                    <a:lnTo>
                      <a:pt x="420851" y="615311"/>
                    </a:lnTo>
                    <a:lnTo>
                      <a:pt x="425564" y="627372"/>
                    </a:lnTo>
                    <a:lnTo>
                      <a:pt x="431063" y="639433"/>
                    </a:lnTo>
                    <a:lnTo>
                      <a:pt x="436562" y="649886"/>
                    </a:lnTo>
                    <a:lnTo>
                      <a:pt x="431849" y="652298"/>
                    </a:lnTo>
                    <a:lnTo>
                      <a:pt x="427135" y="653906"/>
                    </a:lnTo>
                    <a:lnTo>
                      <a:pt x="423207" y="655514"/>
                    </a:lnTo>
                    <a:lnTo>
                      <a:pt x="418494" y="657927"/>
                    </a:lnTo>
                    <a:lnTo>
                      <a:pt x="413781" y="659535"/>
                    </a:lnTo>
                    <a:lnTo>
                      <a:pt x="409067" y="661143"/>
                    </a:lnTo>
                    <a:lnTo>
                      <a:pt x="405925" y="662751"/>
                    </a:lnTo>
                    <a:lnTo>
                      <a:pt x="401212" y="665163"/>
                    </a:lnTo>
                    <a:lnTo>
                      <a:pt x="395713" y="658731"/>
                    </a:lnTo>
                    <a:lnTo>
                      <a:pt x="390214" y="652298"/>
                    </a:lnTo>
                    <a:lnTo>
                      <a:pt x="384715" y="645866"/>
                    </a:lnTo>
                    <a:lnTo>
                      <a:pt x="379216" y="639433"/>
                    </a:lnTo>
                    <a:lnTo>
                      <a:pt x="373717" y="631392"/>
                    </a:lnTo>
                    <a:lnTo>
                      <a:pt x="369789" y="624960"/>
                    </a:lnTo>
                    <a:lnTo>
                      <a:pt x="365076" y="617723"/>
                    </a:lnTo>
                    <a:lnTo>
                      <a:pt x="360362" y="610487"/>
                    </a:lnTo>
                    <a:lnTo>
                      <a:pt x="367432" y="609683"/>
                    </a:lnTo>
                    <a:lnTo>
                      <a:pt x="373717" y="608879"/>
                    </a:lnTo>
                    <a:lnTo>
                      <a:pt x="381572" y="607270"/>
                    </a:lnTo>
                    <a:lnTo>
                      <a:pt x="388643" y="606466"/>
                    </a:lnTo>
                    <a:lnTo>
                      <a:pt x="394927" y="605662"/>
                    </a:lnTo>
                    <a:lnTo>
                      <a:pt x="401997" y="604858"/>
                    </a:lnTo>
                    <a:lnTo>
                      <a:pt x="409067" y="604054"/>
                    </a:lnTo>
                    <a:close/>
                    <a:moveTo>
                      <a:pt x="661740" y="596900"/>
                    </a:moveTo>
                    <a:lnTo>
                      <a:pt x="671389" y="598471"/>
                    </a:lnTo>
                    <a:lnTo>
                      <a:pt x="681842" y="598471"/>
                    </a:lnTo>
                    <a:lnTo>
                      <a:pt x="693099" y="599257"/>
                    </a:lnTo>
                    <a:lnTo>
                      <a:pt x="702747" y="600042"/>
                    </a:lnTo>
                    <a:lnTo>
                      <a:pt x="713200" y="600828"/>
                    </a:lnTo>
                    <a:lnTo>
                      <a:pt x="723653" y="600828"/>
                    </a:lnTo>
                    <a:lnTo>
                      <a:pt x="732497" y="601613"/>
                    </a:lnTo>
                    <a:lnTo>
                      <a:pt x="742950" y="602399"/>
                    </a:lnTo>
                    <a:lnTo>
                      <a:pt x="731693" y="629890"/>
                    </a:lnTo>
                    <a:lnTo>
                      <a:pt x="718828" y="655026"/>
                    </a:lnTo>
                    <a:lnTo>
                      <a:pt x="704355" y="677805"/>
                    </a:lnTo>
                    <a:lnTo>
                      <a:pt x="689078" y="697442"/>
                    </a:lnTo>
                    <a:lnTo>
                      <a:pt x="672193" y="714723"/>
                    </a:lnTo>
                    <a:lnTo>
                      <a:pt x="656112" y="728076"/>
                    </a:lnTo>
                    <a:lnTo>
                      <a:pt x="637619" y="739073"/>
                    </a:lnTo>
                    <a:lnTo>
                      <a:pt x="619125" y="747713"/>
                    </a:lnTo>
                    <a:lnTo>
                      <a:pt x="625558" y="735931"/>
                    </a:lnTo>
                    <a:lnTo>
                      <a:pt x="631990" y="721792"/>
                    </a:lnTo>
                    <a:lnTo>
                      <a:pt x="637619" y="706868"/>
                    </a:lnTo>
                    <a:lnTo>
                      <a:pt x="643247" y="688802"/>
                    </a:lnTo>
                    <a:lnTo>
                      <a:pt x="648071" y="667594"/>
                    </a:lnTo>
                    <a:lnTo>
                      <a:pt x="652896" y="646386"/>
                    </a:lnTo>
                    <a:lnTo>
                      <a:pt x="657720" y="622821"/>
                    </a:lnTo>
                    <a:close/>
                    <a:moveTo>
                      <a:pt x="514350" y="596900"/>
                    </a:moveTo>
                    <a:lnTo>
                      <a:pt x="515144" y="601663"/>
                    </a:lnTo>
                    <a:lnTo>
                      <a:pt x="515938" y="606425"/>
                    </a:lnTo>
                    <a:lnTo>
                      <a:pt x="515938" y="610394"/>
                    </a:lnTo>
                    <a:lnTo>
                      <a:pt x="517525" y="614363"/>
                    </a:lnTo>
                    <a:lnTo>
                      <a:pt x="508794" y="618331"/>
                    </a:lnTo>
                    <a:lnTo>
                      <a:pt x="500856" y="621506"/>
                    </a:lnTo>
                    <a:lnTo>
                      <a:pt x="492125" y="625475"/>
                    </a:lnTo>
                    <a:lnTo>
                      <a:pt x="484187" y="629444"/>
                    </a:lnTo>
                    <a:lnTo>
                      <a:pt x="476250" y="633413"/>
                    </a:lnTo>
                    <a:lnTo>
                      <a:pt x="467519" y="637381"/>
                    </a:lnTo>
                    <a:lnTo>
                      <a:pt x="459581" y="641350"/>
                    </a:lnTo>
                    <a:lnTo>
                      <a:pt x="451643" y="644525"/>
                    </a:lnTo>
                    <a:lnTo>
                      <a:pt x="446881" y="635000"/>
                    </a:lnTo>
                    <a:lnTo>
                      <a:pt x="442118" y="623888"/>
                    </a:lnTo>
                    <a:lnTo>
                      <a:pt x="437356" y="613569"/>
                    </a:lnTo>
                    <a:lnTo>
                      <a:pt x="433387" y="602456"/>
                    </a:lnTo>
                    <a:lnTo>
                      <a:pt x="442912" y="601663"/>
                    </a:lnTo>
                    <a:lnTo>
                      <a:pt x="453231" y="600869"/>
                    </a:lnTo>
                    <a:lnTo>
                      <a:pt x="463550" y="600869"/>
                    </a:lnTo>
                    <a:lnTo>
                      <a:pt x="473075" y="600075"/>
                    </a:lnTo>
                    <a:lnTo>
                      <a:pt x="483394" y="599281"/>
                    </a:lnTo>
                    <a:lnTo>
                      <a:pt x="494506" y="598488"/>
                    </a:lnTo>
                    <a:lnTo>
                      <a:pt x="504031" y="598488"/>
                    </a:lnTo>
                    <a:close/>
                    <a:moveTo>
                      <a:pt x="617538" y="595313"/>
                    </a:moveTo>
                    <a:lnTo>
                      <a:pt x="623888" y="595313"/>
                    </a:lnTo>
                    <a:lnTo>
                      <a:pt x="631825" y="595313"/>
                    </a:lnTo>
                    <a:lnTo>
                      <a:pt x="638175" y="595313"/>
                    </a:lnTo>
                    <a:lnTo>
                      <a:pt x="644525" y="596107"/>
                    </a:lnTo>
                    <a:lnTo>
                      <a:pt x="638969" y="631826"/>
                    </a:lnTo>
                    <a:lnTo>
                      <a:pt x="632619" y="662782"/>
                    </a:lnTo>
                    <a:lnTo>
                      <a:pt x="624681" y="689770"/>
                    </a:lnTo>
                    <a:lnTo>
                      <a:pt x="617538" y="712788"/>
                    </a:lnTo>
                    <a:lnTo>
                      <a:pt x="610394" y="730251"/>
                    </a:lnTo>
                    <a:lnTo>
                      <a:pt x="603250" y="742951"/>
                    </a:lnTo>
                    <a:lnTo>
                      <a:pt x="596106" y="750095"/>
                    </a:lnTo>
                    <a:lnTo>
                      <a:pt x="588169" y="752476"/>
                    </a:lnTo>
                    <a:lnTo>
                      <a:pt x="586581" y="752476"/>
                    </a:lnTo>
                    <a:lnTo>
                      <a:pt x="584200" y="750889"/>
                    </a:lnTo>
                    <a:lnTo>
                      <a:pt x="581025" y="750095"/>
                    </a:lnTo>
                    <a:lnTo>
                      <a:pt x="578644" y="746920"/>
                    </a:lnTo>
                    <a:lnTo>
                      <a:pt x="573088" y="740570"/>
                    </a:lnTo>
                    <a:lnTo>
                      <a:pt x="568325" y="732632"/>
                    </a:lnTo>
                    <a:lnTo>
                      <a:pt x="562769" y="722314"/>
                    </a:lnTo>
                    <a:lnTo>
                      <a:pt x="558006" y="709613"/>
                    </a:lnTo>
                    <a:lnTo>
                      <a:pt x="554038" y="695326"/>
                    </a:lnTo>
                    <a:lnTo>
                      <a:pt x="549275" y="678657"/>
                    </a:lnTo>
                    <a:lnTo>
                      <a:pt x="544513" y="660401"/>
                    </a:lnTo>
                    <a:lnTo>
                      <a:pt x="539750" y="639763"/>
                    </a:lnTo>
                    <a:lnTo>
                      <a:pt x="550069" y="634207"/>
                    </a:lnTo>
                    <a:lnTo>
                      <a:pt x="558800" y="629444"/>
                    </a:lnTo>
                    <a:lnTo>
                      <a:pt x="569119" y="623888"/>
                    </a:lnTo>
                    <a:lnTo>
                      <a:pt x="579438" y="618332"/>
                    </a:lnTo>
                    <a:lnTo>
                      <a:pt x="588169" y="612776"/>
                    </a:lnTo>
                    <a:lnTo>
                      <a:pt x="598488" y="607219"/>
                    </a:lnTo>
                    <a:lnTo>
                      <a:pt x="608013" y="600869"/>
                    </a:lnTo>
                    <a:close/>
                    <a:moveTo>
                      <a:pt x="538751" y="595313"/>
                    </a:moveTo>
                    <a:lnTo>
                      <a:pt x="544101" y="595313"/>
                    </a:lnTo>
                    <a:lnTo>
                      <a:pt x="549452" y="595313"/>
                    </a:lnTo>
                    <a:lnTo>
                      <a:pt x="554038" y="595313"/>
                    </a:lnTo>
                    <a:lnTo>
                      <a:pt x="549452" y="598244"/>
                    </a:lnTo>
                    <a:lnTo>
                      <a:pt x="544101" y="600442"/>
                    </a:lnTo>
                    <a:lnTo>
                      <a:pt x="539515" y="603373"/>
                    </a:lnTo>
                    <a:lnTo>
                      <a:pt x="534165" y="604838"/>
                    </a:lnTo>
                    <a:lnTo>
                      <a:pt x="534165" y="603373"/>
                    </a:lnTo>
                    <a:lnTo>
                      <a:pt x="534165" y="600442"/>
                    </a:lnTo>
                    <a:lnTo>
                      <a:pt x="533400" y="598244"/>
                    </a:lnTo>
                    <a:lnTo>
                      <a:pt x="533400" y="596046"/>
                    </a:lnTo>
                    <a:close/>
                    <a:moveTo>
                      <a:pt x="878148" y="512763"/>
                    </a:moveTo>
                    <a:lnTo>
                      <a:pt x="885962" y="513570"/>
                    </a:lnTo>
                    <a:lnTo>
                      <a:pt x="895338" y="514378"/>
                    </a:lnTo>
                    <a:lnTo>
                      <a:pt x="903152" y="515185"/>
                    </a:lnTo>
                    <a:lnTo>
                      <a:pt x="910965" y="515992"/>
                    </a:lnTo>
                    <a:lnTo>
                      <a:pt x="920341" y="516799"/>
                    </a:lnTo>
                    <a:lnTo>
                      <a:pt x="928155" y="518414"/>
                    </a:lnTo>
                    <a:lnTo>
                      <a:pt x="936750" y="519221"/>
                    </a:lnTo>
                    <a:lnTo>
                      <a:pt x="944563" y="520028"/>
                    </a:lnTo>
                    <a:lnTo>
                      <a:pt x="939875" y="532136"/>
                    </a:lnTo>
                    <a:lnTo>
                      <a:pt x="934406" y="543437"/>
                    </a:lnTo>
                    <a:lnTo>
                      <a:pt x="928936" y="553930"/>
                    </a:lnTo>
                    <a:lnTo>
                      <a:pt x="923467" y="565231"/>
                    </a:lnTo>
                    <a:lnTo>
                      <a:pt x="917216" y="576532"/>
                    </a:lnTo>
                    <a:lnTo>
                      <a:pt x="910965" y="587833"/>
                    </a:lnTo>
                    <a:lnTo>
                      <a:pt x="903933" y="598327"/>
                    </a:lnTo>
                    <a:lnTo>
                      <a:pt x="896901" y="608013"/>
                    </a:lnTo>
                    <a:lnTo>
                      <a:pt x="890650" y="607206"/>
                    </a:lnTo>
                    <a:lnTo>
                      <a:pt x="884399" y="605592"/>
                    </a:lnTo>
                    <a:lnTo>
                      <a:pt x="878148" y="604784"/>
                    </a:lnTo>
                    <a:lnTo>
                      <a:pt x="870335" y="603170"/>
                    </a:lnTo>
                    <a:lnTo>
                      <a:pt x="864084" y="601555"/>
                    </a:lnTo>
                    <a:lnTo>
                      <a:pt x="857833" y="600748"/>
                    </a:lnTo>
                    <a:lnTo>
                      <a:pt x="850801" y="599941"/>
                    </a:lnTo>
                    <a:lnTo>
                      <a:pt x="844550" y="599134"/>
                    </a:lnTo>
                    <a:lnTo>
                      <a:pt x="850020" y="588640"/>
                    </a:lnTo>
                    <a:lnTo>
                      <a:pt x="854708" y="578147"/>
                    </a:lnTo>
                    <a:lnTo>
                      <a:pt x="858615" y="568460"/>
                    </a:lnTo>
                    <a:lnTo>
                      <a:pt x="863303" y="557159"/>
                    </a:lnTo>
                    <a:lnTo>
                      <a:pt x="867209" y="545858"/>
                    </a:lnTo>
                    <a:lnTo>
                      <a:pt x="871898" y="534558"/>
                    </a:lnTo>
                    <a:lnTo>
                      <a:pt x="874242" y="523257"/>
                    </a:lnTo>
                    <a:close/>
                    <a:moveTo>
                      <a:pt x="298181" y="512763"/>
                    </a:moveTo>
                    <a:lnTo>
                      <a:pt x="301307" y="523257"/>
                    </a:lnTo>
                    <a:lnTo>
                      <a:pt x="304433" y="534558"/>
                    </a:lnTo>
                    <a:lnTo>
                      <a:pt x="309123" y="545858"/>
                    </a:lnTo>
                    <a:lnTo>
                      <a:pt x="312249" y="557159"/>
                    </a:lnTo>
                    <a:lnTo>
                      <a:pt x="316938" y="567653"/>
                    </a:lnTo>
                    <a:lnTo>
                      <a:pt x="321627" y="577339"/>
                    </a:lnTo>
                    <a:lnTo>
                      <a:pt x="326316" y="587833"/>
                    </a:lnTo>
                    <a:lnTo>
                      <a:pt x="331787" y="598327"/>
                    </a:lnTo>
                    <a:lnTo>
                      <a:pt x="324753" y="599134"/>
                    </a:lnTo>
                    <a:lnTo>
                      <a:pt x="317719" y="600748"/>
                    </a:lnTo>
                    <a:lnTo>
                      <a:pt x="311467" y="601555"/>
                    </a:lnTo>
                    <a:lnTo>
                      <a:pt x="305215" y="602363"/>
                    </a:lnTo>
                    <a:lnTo>
                      <a:pt x="298181" y="604784"/>
                    </a:lnTo>
                    <a:lnTo>
                      <a:pt x="291928" y="605592"/>
                    </a:lnTo>
                    <a:lnTo>
                      <a:pt x="285676" y="607206"/>
                    </a:lnTo>
                    <a:lnTo>
                      <a:pt x="279424" y="608013"/>
                    </a:lnTo>
                    <a:lnTo>
                      <a:pt x="271608" y="598327"/>
                    </a:lnTo>
                    <a:lnTo>
                      <a:pt x="264575" y="587833"/>
                    </a:lnTo>
                    <a:lnTo>
                      <a:pt x="258322" y="576532"/>
                    </a:lnTo>
                    <a:lnTo>
                      <a:pt x="252070" y="565231"/>
                    </a:lnTo>
                    <a:lnTo>
                      <a:pt x="245818" y="553930"/>
                    </a:lnTo>
                    <a:lnTo>
                      <a:pt x="240347" y="543437"/>
                    </a:lnTo>
                    <a:lnTo>
                      <a:pt x="234876" y="532136"/>
                    </a:lnTo>
                    <a:lnTo>
                      <a:pt x="230187" y="520028"/>
                    </a:lnTo>
                    <a:lnTo>
                      <a:pt x="238784" y="519221"/>
                    </a:lnTo>
                    <a:lnTo>
                      <a:pt x="247381" y="518414"/>
                    </a:lnTo>
                    <a:lnTo>
                      <a:pt x="255978" y="516799"/>
                    </a:lnTo>
                    <a:lnTo>
                      <a:pt x="264575" y="515992"/>
                    </a:lnTo>
                    <a:lnTo>
                      <a:pt x="273171" y="515185"/>
                    </a:lnTo>
                    <a:lnTo>
                      <a:pt x="280987" y="514378"/>
                    </a:lnTo>
                    <a:lnTo>
                      <a:pt x="290365" y="513570"/>
                    </a:lnTo>
                    <a:close/>
                    <a:moveTo>
                      <a:pt x="786439" y="506413"/>
                    </a:moveTo>
                    <a:lnTo>
                      <a:pt x="795884" y="507221"/>
                    </a:lnTo>
                    <a:lnTo>
                      <a:pt x="804542" y="507221"/>
                    </a:lnTo>
                    <a:lnTo>
                      <a:pt x="813987" y="508029"/>
                    </a:lnTo>
                    <a:lnTo>
                      <a:pt x="824219" y="508838"/>
                    </a:lnTo>
                    <a:lnTo>
                      <a:pt x="832877" y="509646"/>
                    </a:lnTo>
                    <a:lnTo>
                      <a:pt x="842322" y="509646"/>
                    </a:lnTo>
                    <a:lnTo>
                      <a:pt x="850980" y="510454"/>
                    </a:lnTo>
                    <a:lnTo>
                      <a:pt x="860425" y="511262"/>
                    </a:lnTo>
                    <a:lnTo>
                      <a:pt x="856490" y="522577"/>
                    </a:lnTo>
                    <a:lnTo>
                      <a:pt x="853341" y="533891"/>
                    </a:lnTo>
                    <a:lnTo>
                      <a:pt x="849406" y="544398"/>
                    </a:lnTo>
                    <a:lnTo>
                      <a:pt x="844684" y="555712"/>
                    </a:lnTo>
                    <a:lnTo>
                      <a:pt x="839961" y="565410"/>
                    </a:lnTo>
                    <a:lnTo>
                      <a:pt x="836026" y="575917"/>
                    </a:lnTo>
                    <a:lnTo>
                      <a:pt x="831303" y="586423"/>
                    </a:lnTo>
                    <a:lnTo>
                      <a:pt x="825794" y="595313"/>
                    </a:lnTo>
                    <a:lnTo>
                      <a:pt x="818710" y="594505"/>
                    </a:lnTo>
                    <a:lnTo>
                      <a:pt x="811626" y="593697"/>
                    </a:lnTo>
                    <a:lnTo>
                      <a:pt x="803755" y="592889"/>
                    </a:lnTo>
                    <a:lnTo>
                      <a:pt x="796671" y="591272"/>
                    </a:lnTo>
                    <a:lnTo>
                      <a:pt x="789588" y="590464"/>
                    </a:lnTo>
                    <a:lnTo>
                      <a:pt x="780930" y="589656"/>
                    </a:lnTo>
                    <a:lnTo>
                      <a:pt x="773846" y="588848"/>
                    </a:lnTo>
                    <a:lnTo>
                      <a:pt x="766762" y="588039"/>
                    </a:lnTo>
                    <a:lnTo>
                      <a:pt x="772272" y="568643"/>
                    </a:lnTo>
                    <a:lnTo>
                      <a:pt x="777781" y="547630"/>
                    </a:lnTo>
                    <a:lnTo>
                      <a:pt x="782504" y="527426"/>
                    </a:lnTo>
                    <a:close/>
                    <a:moveTo>
                      <a:pt x="754959" y="506413"/>
                    </a:moveTo>
                    <a:lnTo>
                      <a:pt x="758898" y="506413"/>
                    </a:lnTo>
                    <a:lnTo>
                      <a:pt x="762049" y="506413"/>
                    </a:lnTo>
                    <a:lnTo>
                      <a:pt x="765199" y="506413"/>
                    </a:lnTo>
                    <a:lnTo>
                      <a:pt x="768350" y="506413"/>
                    </a:lnTo>
                    <a:lnTo>
                      <a:pt x="765199" y="527632"/>
                    </a:lnTo>
                    <a:lnTo>
                      <a:pt x="760473" y="547279"/>
                    </a:lnTo>
                    <a:lnTo>
                      <a:pt x="754959" y="566141"/>
                    </a:lnTo>
                    <a:lnTo>
                      <a:pt x="748658" y="585788"/>
                    </a:lnTo>
                    <a:lnTo>
                      <a:pt x="737630" y="584216"/>
                    </a:lnTo>
                    <a:lnTo>
                      <a:pt x="728178" y="583430"/>
                    </a:lnTo>
                    <a:lnTo>
                      <a:pt x="717150" y="582645"/>
                    </a:lnTo>
                    <a:lnTo>
                      <a:pt x="706910" y="581859"/>
                    </a:lnTo>
                    <a:lnTo>
                      <a:pt x="696670" y="581859"/>
                    </a:lnTo>
                    <a:lnTo>
                      <a:pt x="686430" y="581073"/>
                    </a:lnTo>
                    <a:lnTo>
                      <a:pt x="676190" y="580287"/>
                    </a:lnTo>
                    <a:lnTo>
                      <a:pt x="665162" y="580287"/>
                    </a:lnTo>
                    <a:lnTo>
                      <a:pt x="665162" y="576357"/>
                    </a:lnTo>
                    <a:lnTo>
                      <a:pt x="665950" y="572428"/>
                    </a:lnTo>
                    <a:lnTo>
                      <a:pt x="665950" y="570070"/>
                    </a:lnTo>
                    <a:lnTo>
                      <a:pt x="665950" y="566141"/>
                    </a:lnTo>
                    <a:lnTo>
                      <a:pt x="677765" y="558282"/>
                    </a:lnTo>
                    <a:lnTo>
                      <a:pt x="689581" y="551209"/>
                    </a:lnTo>
                    <a:lnTo>
                      <a:pt x="701396" y="544136"/>
                    </a:lnTo>
                    <a:lnTo>
                      <a:pt x="712424" y="535491"/>
                    </a:lnTo>
                    <a:lnTo>
                      <a:pt x="723452" y="528418"/>
                    </a:lnTo>
                    <a:lnTo>
                      <a:pt x="734479" y="521345"/>
                    </a:lnTo>
                    <a:lnTo>
                      <a:pt x="744719" y="514272"/>
                    </a:lnTo>
                    <a:close/>
                    <a:moveTo>
                      <a:pt x="389111" y="506413"/>
                    </a:moveTo>
                    <a:lnTo>
                      <a:pt x="393833" y="527426"/>
                    </a:lnTo>
                    <a:lnTo>
                      <a:pt x="398556" y="547630"/>
                    </a:lnTo>
                    <a:lnTo>
                      <a:pt x="404066" y="568643"/>
                    </a:lnTo>
                    <a:lnTo>
                      <a:pt x="409575" y="588039"/>
                    </a:lnTo>
                    <a:lnTo>
                      <a:pt x="401704" y="588848"/>
                    </a:lnTo>
                    <a:lnTo>
                      <a:pt x="394621" y="589656"/>
                    </a:lnTo>
                    <a:lnTo>
                      <a:pt x="386750" y="590464"/>
                    </a:lnTo>
                    <a:lnTo>
                      <a:pt x="378879" y="591272"/>
                    </a:lnTo>
                    <a:lnTo>
                      <a:pt x="371795" y="592889"/>
                    </a:lnTo>
                    <a:lnTo>
                      <a:pt x="364711" y="593697"/>
                    </a:lnTo>
                    <a:lnTo>
                      <a:pt x="356840" y="594505"/>
                    </a:lnTo>
                    <a:lnTo>
                      <a:pt x="348970" y="595313"/>
                    </a:lnTo>
                    <a:lnTo>
                      <a:pt x="344247" y="584807"/>
                    </a:lnTo>
                    <a:lnTo>
                      <a:pt x="339525" y="575917"/>
                    </a:lnTo>
                    <a:lnTo>
                      <a:pt x="334802" y="565410"/>
                    </a:lnTo>
                    <a:lnTo>
                      <a:pt x="330080" y="554096"/>
                    </a:lnTo>
                    <a:lnTo>
                      <a:pt x="326931" y="544398"/>
                    </a:lnTo>
                    <a:lnTo>
                      <a:pt x="322209" y="533891"/>
                    </a:lnTo>
                    <a:lnTo>
                      <a:pt x="319060" y="522577"/>
                    </a:lnTo>
                    <a:lnTo>
                      <a:pt x="315912" y="511262"/>
                    </a:lnTo>
                    <a:lnTo>
                      <a:pt x="324570" y="510454"/>
                    </a:lnTo>
                    <a:lnTo>
                      <a:pt x="334015" y="509646"/>
                    </a:lnTo>
                    <a:lnTo>
                      <a:pt x="342673" y="509646"/>
                    </a:lnTo>
                    <a:lnTo>
                      <a:pt x="352118" y="508838"/>
                    </a:lnTo>
                    <a:lnTo>
                      <a:pt x="360776" y="508029"/>
                    </a:lnTo>
                    <a:lnTo>
                      <a:pt x="370221" y="507221"/>
                    </a:lnTo>
                    <a:lnTo>
                      <a:pt x="380453" y="507221"/>
                    </a:lnTo>
                    <a:close/>
                    <a:moveTo>
                      <a:pt x="670818" y="501650"/>
                    </a:moveTo>
                    <a:lnTo>
                      <a:pt x="675779" y="501650"/>
                    </a:lnTo>
                    <a:lnTo>
                      <a:pt x="680740" y="502491"/>
                    </a:lnTo>
                    <a:lnTo>
                      <a:pt x="685701" y="502491"/>
                    </a:lnTo>
                    <a:lnTo>
                      <a:pt x="689835" y="502491"/>
                    </a:lnTo>
                    <a:lnTo>
                      <a:pt x="693969" y="502491"/>
                    </a:lnTo>
                    <a:lnTo>
                      <a:pt x="698930" y="502491"/>
                    </a:lnTo>
                    <a:lnTo>
                      <a:pt x="703064" y="502491"/>
                    </a:lnTo>
                    <a:lnTo>
                      <a:pt x="708025" y="502491"/>
                    </a:lnTo>
                    <a:lnTo>
                      <a:pt x="703064" y="506693"/>
                    </a:lnTo>
                    <a:lnTo>
                      <a:pt x="698930" y="509214"/>
                    </a:lnTo>
                    <a:lnTo>
                      <a:pt x="693969" y="513416"/>
                    </a:lnTo>
                    <a:lnTo>
                      <a:pt x="689008" y="515938"/>
                    </a:lnTo>
                    <a:lnTo>
                      <a:pt x="683220" y="520140"/>
                    </a:lnTo>
                    <a:lnTo>
                      <a:pt x="678259" y="523502"/>
                    </a:lnTo>
                    <a:lnTo>
                      <a:pt x="674125" y="526863"/>
                    </a:lnTo>
                    <a:lnTo>
                      <a:pt x="668337" y="530225"/>
                    </a:lnTo>
                    <a:lnTo>
                      <a:pt x="669164" y="522661"/>
                    </a:lnTo>
                    <a:lnTo>
                      <a:pt x="669991" y="515938"/>
                    </a:lnTo>
                    <a:lnTo>
                      <a:pt x="669991" y="508374"/>
                    </a:lnTo>
                    <a:close/>
                    <a:moveTo>
                      <a:pt x="538956" y="501650"/>
                    </a:moveTo>
                    <a:lnTo>
                      <a:pt x="546894" y="501650"/>
                    </a:lnTo>
                    <a:lnTo>
                      <a:pt x="555625" y="501650"/>
                    </a:lnTo>
                    <a:lnTo>
                      <a:pt x="563562" y="501650"/>
                    </a:lnTo>
                    <a:lnTo>
                      <a:pt x="572294" y="501650"/>
                    </a:lnTo>
                    <a:lnTo>
                      <a:pt x="580231" y="501650"/>
                    </a:lnTo>
                    <a:lnTo>
                      <a:pt x="588169" y="501650"/>
                    </a:lnTo>
                    <a:lnTo>
                      <a:pt x="596900" y="501650"/>
                    </a:lnTo>
                    <a:lnTo>
                      <a:pt x="604838" y="501650"/>
                    </a:lnTo>
                    <a:lnTo>
                      <a:pt x="612775" y="501650"/>
                    </a:lnTo>
                    <a:lnTo>
                      <a:pt x="621506" y="501650"/>
                    </a:lnTo>
                    <a:lnTo>
                      <a:pt x="629444" y="501650"/>
                    </a:lnTo>
                    <a:lnTo>
                      <a:pt x="638175" y="501650"/>
                    </a:lnTo>
                    <a:lnTo>
                      <a:pt x="646113" y="502444"/>
                    </a:lnTo>
                    <a:lnTo>
                      <a:pt x="654050" y="502444"/>
                    </a:lnTo>
                    <a:lnTo>
                      <a:pt x="653256" y="511969"/>
                    </a:lnTo>
                    <a:lnTo>
                      <a:pt x="653256" y="522288"/>
                    </a:lnTo>
                    <a:lnTo>
                      <a:pt x="652463" y="531813"/>
                    </a:lnTo>
                    <a:lnTo>
                      <a:pt x="651669" y="540544"/>
                    </a:lnTo>
                    <a:lnTo>
                      <a:pt x="647700" y="543719"/>
                    </a:lnTo>
                    <a:lnTo>
                      <a:pt x="644525" y="545307"/>
                    </a:lnTo>
                    <a:lnTo>
                      <a:pt x="640556" y="547688"/>
                    </a:lnTo>
                    <a:lnTo>
                      <a:pt x="636588" y="550069"/>
                    </a:lnTo>
                    <a:lnTo>
                      <a:pt x="631825" y="553244"/>
                    </a:lnTo>
                    <a:lnTo>
                      <a:pt x="624681" y="557213"/>
                    </a:lnTo>
                    <a:lnTo>
                      <a:pt x="618331" y="560388"/>
                    </a:lnTo>
                    <a:lnTo>
                      <a:pt x="612775" y="563563"/>
                    </a:lnTo>
                    <a:lnTo>
                      <a:pt x="606425" y="567532"/>
                    </a:lnTo>
                    <a:lnTo>
                      <a:pt x="600075" y="570707"/>
                    </a:lnTo>
                    <a:lnTo>
                      <a:pt x="593725" y="574676"/>
                    </a:lnTo>
                    <a:lnTo>
                      <a:pt x="587375" y="577851"/>
                    </a:lnTo>
                    <a:lnTo>
                      <a:pt x="580231" y="577851"/>
                    </a:lnTo>
                    <a:lnTo>
                      <a:pt x="573087" y="577851"/>
                    </a:lnTo>
                    <a:lnTo>
                      <a:pt x="565944" y="577851"/>
                    </a:lnTo>
                    <a:lnTo>
                      <a:pt x="558800" y="577851"/>
                    </a:lnTo>
                    <a:lnTo>
                      <a:pt x="551656" y="577851"/>
                    </a:lnTo>
                    <a:lnTo>
                      <a:pt x="544512" y="577851"/>
                    </a:lnTo>
                    <a:lnTo>
                      <a:pt x="537369" y="579438"/>
                    </a:lnTo>
                    <a:lnTo>
                      <a:pt x="530225" y="579438"/>
                    </a:lnTo>
                    <a:lnTo>
                      <a:pt x="527844" y="560388"/>
                    </a:lnTo>
                    <a:lnTo>
                      <a:pt x="526256" y="541338"/>
                    </a:lnTo>
                    <a:lnTo>
                      <a:pt x="524669" y="522288"/>
                    </a:lnTo>
                    <a:lnTo>
                      <a:pt x="522287" y="502444"/>
                    </a:lnTo>
                    <a:lnTo>
                      <a:pt x="531019" y="502444"/>
                    </a:lnTo>
                    <a:close/>
                    <a:moveTo>
                      <a:pt x="493068" y="501650"/>
                    </a:moveTo>
                    <a:lnTo>
                      <a:pt x="504884" y="501650"/>
                    </a:lnTo>
                    <a:lnTo>
                      <a:pt x="507248" y="521683"/>
                    </a:lnTo>
                    <a:lnTo>
                      <a:pt x="508823" y="541716"/>
                    </a:lnTo>
                    <a:lnTo>
                      <a:pt x="510399" y="561749"/>
                    </a:lnTo>
                    <a:lnTo>
                      <a:pt x="512762" y="580179"/>
                    </a:lnTo>
                    <a:lnTo>
                      <a:pt x="501733" y="580179"/>
                    </a:lnTo>
                    <a:lnTo>
                      <a:pt x="490704" y="580980"/>
                    </a:lnTo>
                    <a:lnTo>
                      <a:pt x="479675" y="581782"/>
                    </a:lnTo>
                    <a:lnTo>
                      <a:pt x="469434" y="581782"/>
                    </a:lnTo>
                    <a:lnTo>
                      <a:pt x="459193" y="582583"/>
                    </a:lnTo>
                    <a:lnTo>
                      <a:pt x="448952" y="583384"/>
                    </a:lnTo>
                    <a:lnTo>
                      <a:pt x="437923" y="584185"/>
                    </a:lnTo>
                    <a:lnTo>
                      <a:pt x="427682" y="585788"/>
                    </a:lnTo>
                    <a:lnTo>
                      <a:pt x="421379" y="565755"/>
                    </a:lnTo>
                    <a:lnTo>
                      <a:pt x="417441" y="546524"/>
                    </a:lnTo>
                    <a:lnTo>
                      <a:pt x="411926" y="526491"/>
                    </a:lnTo>
                    <a:lnTo>
                      <a:pt x="407987" y="504855"/>
                    </a:lnTo>
                    <a:lnTo>
                      <a:pt x="419804" y="504054"/>
                    </a:lnTo>
                    <a:lnTo>
                      <a:pt x="431621" y="504054"/>
                    </a:lnTo>
                    <a:lnTo>
                      <a:pt x="444225" y="503253"/>
                    </a:lnTo>
                    <a:lnTo>
                      <a:pt x="456042" y="503253"/>
                    </a:lnTo>
                    <a:lnTo>
                      <a:pt x="468646" y="502451"/>
                    </a:lnTo>
                    <a:lnTo>
                      <a:pt x="480463" y="502451"/>
                    </a:lnTo>
                    <a:close/>
                    <a:moveTo>
                      <a:pt x="173480" y="430213"/>
                    </a:moveTo>
                    <a:lnTo>
                      <a:pt x="142586" y="501651"/>
                    </a:lnTo>
                    <a:lnTo>
                      <a:pt x="126743" y="484982"/>
                    </a:lnTo>
                    <a:lnTo>
                      <a:pt x="105355" y="513557"/>
                    </a:lnTo>
                    <a:lnTo>
                      <a:pt x="87136" y="540544"/>
                    </a:lnTo>
                    <a:lnTo>
                      <a:pt x="72877" y="565151"/>
                    </a:lnTo>
                    <a:lnTo>
                      <a:pt x="63372" y="588963"/>
                    </a:lnTo>
                    <a:lnTo>
                      <a:pt x="57827" y="611982"/>
                    </a:lnTo>
                    <a:lnTo>
                      <a:pt x="57034" y="633413"/>
                    </a:lnTo>
                    <a:lnTo>
                      <a:pt x="59411" y="653257"/>
                    </a:lnTo>
                    <a:lnTo>
                      <a:pt x="65748" y="672307"/>
                    </a:lnTo>
                    <a:lnTo>
                      <a:pt x="72085" y="683419"/>
                    </a:lnTo>
                    <a:lnTo>
                      <a:pt x="80007" y="693738"/>
                    </a:lnTo>
                    <a:lnTo>
                      <a:pt x="90305" y="701676"/>
                    </a:lnTo>
                    <a:lnTo>
                      <a:pt x="102979" y="708819"/>
                    </a:lnTo>
                    <a:lnTo>
                      <a:pt x="115653" y="714376"/>
                    </a:lnTo>
                    <a:lnTo>
                      <a:pt x="131496" y="719138"/>
                    </a:lnTo>
                    <a:lnTo>
                      <a:pt x="148131" y="721519"/>
                    </a:lnTo>
                    <a:lnTo>
                      <a:pt x="166351" y="723901"/>
                    </a:lnTo>
                    <a:lnTo>
                      <a:pt x="186155" y="723901"/>
                    </a:lnTo>
                    <a:lnTo>
                      <a:pt x="207543" y="722313"/>
                    </a:lnTo>
                    <a:lnTo>
                      <a:pt x="228930" y="719932"/>
                    </a:lnTo>
                    <a:lnTo>
                      <a:pt x="251903" y="715963"/>
                    </a:lnTo>
                    <a:lnTo>
                      <a:pt x="276459" y="711994"/>
                    </a:lnTo>
                    <a:lnTo>
                      <a:pt x="301016" y="705644"/>
                    </a:lnTo>
                    <a:lnTo>
                      <a:pt x="327949" y="697707"/>
                    </a:lnTo>
                    <a:lnTo>
                      <a:pt x="354090" y="689769"/>
                    </a:lnTo>
                    <a:lnTo>
                      <a:pt x="358843" y="692151"/>
                    </a:lnTo>
                    <a:lnTo>
                      <a:pt x="363596" y="695326"/>
                    </a:lnTo>
                    <a:lnTo>
                      <a:pt x="368349" y="697707"/>
                    </a:lnTo>
                    <a:lnTo>
                      <a:pt x="372309" y="700882"/>
                    </a:lnTo>
                    <a:lnTo>
                      <a:pt x="377062" y="703263"/>
                    </a:lnTo>
                    <a:lnTo>
                      <a:pt x="382607" y="706438"/>
                    </a:lnTo>
                    <a:lnTo>
                      <a:pt x="387360" y="708819"/>
                    </a:lnTo>
                    <a:lnTo>
                      <a:pt x="392113" y="711994"/>
                    </a:lnTo>
                    <a:lnTo>
                      <a:pt x="356466" y="726282"/>
                    </a:lnTo>
                    <a:lnTo>
                      <a:pt x="321612" y="738982"/>
                    </a:lnTo>
                    <a:lnTo>
                      <a:pt x="287549" y="750094"/>
                    </a:lnTo>
                    <a:lnTo>
                      <a:pt x="255863" y="759619"/>
                    </a:lnTo>
                    <a:lnTo>
                      <a:pt x="224970" y="767557"/>
                    </a:lnTo>
                    <a:lnTo>
                      <a:pt x="194868" y="773113"/>
                    </a:lnTo>
                    <a:lnTo>
                      <a:pt x="167143" y="776288"/>
                    </a:lnTo>
                    <a:lnTo>
                      <a:pt x="141002" y="779463"/>
                    </a:lnTo>
                    <a:lnTo>
                      <a:pt x="115653" y="779463"/>
                    </a:lnTo>
                    <a:lnTo>
                      <a:pt x="94265" y="778669"/>
                    </a:lnTo>
                    <a:lnTo>
                      <a:pt x="73670" y="774701"/>
                    </a:lnTo>
                    <a:lnTo>
                      <a:pt x="55450" y="769144"/>
                    </a:lnTo>
                    <a:lnTo>
                      <a:pt x="40399" y="762001"/>
                    </a:lnTo>
                    <a:lnTo>
                      <a:pt x="26141" y="752476"/>
                    </a:lnTo>
                    <a:lnTo>
                      <a:pt x="16635" y="742157"/>
                    </a:lnTo>
                    <a:lnTo>
                      <a:pt x="7921" y="727869"/>
                    </a:lnTo>
                    <a:lnTo>
                      <a:pt x="792" y="704057"/>
                    </a:lnTo>
                    <a:lnTo>
                      <a:pt x="0" y="679451"/>
                    </a:lnTo>
                    <a:lnTo>
                      <a:pt x="5545" y="651669"/>
                    </a:lnTo>
                    <a:lnTo>
                      <a:pt x="17427" y="622301"/>
                    </a:lnTo>
                    <a:lnTo>
                      <a:pt x="34854" y="589757"/>
                    </a:lnTo>
                    <a:lnTo>
                      <a:pt x="58619" y="556419"/>
                    </a:lnTo>
                    <a:lnTo>
                      <a:pt x="88720" y="519907"/>
                    </a:lnTo>
                    <a:lnTo>
                      <a:pt x="124367" y="481013"/>
                    </a:lnTo>
                    <a:lnTo>
                      <a:pt x="106940" y="461963"/>
                    </a:lnTo>
                    <a:close/>
                    <a:moveTo>
                      <a:pt x="877887" y="407988"/>
                    </a:moveTo>
                    <a:lnTo>
                      <a:pt x="876314" y="430800"/>
                    </a:lnTo>
                    <a:lnTo>
                      <a:pt x="873167" y="452038"/>
                    </a:lnTo>
                    <a:lnTo>
                      <a:pt x="868447" y="474063"/>
                    </a:lnTo>
                    <a:lnTo>
                      <a:pt x="864513" y="495301"/>
                    </a:lnTo>
                    <a:lnTo>
                      <a:pt x="855072" y="493728"/>
                    </a:lnTo>
                    <a:lnTo>
                      <a:pt x="845631" y="493728"/>
                    </a:lnTo>
                    <a:lnTo>
                      <a:pt x="836191" y="492941"/>
                    </a:lnTo>
                    <a:lnTo>
                      <a:pt x="826750" y="492155"/>
                    </a:lnTo>
                    <a:lnTo>
                      <a:pt x="817309" y="491368"/>
                    </a:lnTo>
                    <a:lnTo>
                      <a:pt x="807869" y="491368"/>
                    </a:lnTo>
                    <a:lnTo>
                      <a:pt x="797641" y="490582"/>
                    </a:lnTo>
                    <a:lnTo>
                      <a:pt x="788987" y="490582"/>
                    </a:lnTo>
                    <a:lnTo>
                      <a:pt x="789774" y="487435"/>
                    </a:lnTo>
                    <a:lnTo>
                      <a:pt x="789774" y="485075"/>
                    </a:lnTo>
                    <a:lnTo>
                      <a:pt x="789774" y="481929"/>
                    </a:lnTo>
                    <a:lnTo>
                      <a:pt x="790561" y="480356"/>
                    </a:lnTo>
                    <a:lnTo>
                      <a:pt x="802362" y="471703"/>
                    </a:lnTo>
                    <a:lnTo>
                      <a:pt x="814162" y="462264"/>
                    </a:lnTo>
                    <a:lnTo>
                      <a:pt x="825177" y="453611"/>
                    </a:lnTo>
                    <a:lnTo>
                      <a:pt x="836191" y="444172"/>
                    </a:lnTo>
                    <a:lnTo>
                      <a:pt x="847205" y="435519"/>
                    </a:lnTo>
                    <a:lnTo>
                      <a:pt x="857432" y="426080"/>
                    </a:lnTo>
                    <a:lnTo>
                      <a:pt x="867660" y="417427"/>
                    </a:lnTo>
                    <a:close/>
                    <a:moveTo>
                      <a:pt x="902152" y="385763"/>
                    </a:moveTo>
                    <a:lnTo>
                      <a:pt x="973138" y="385763"/>
                    </a:lnTo>
                    <a:lnTo>
                      <a:pt x="970798" y="417300"/>
                    </a:lnTo>
                    <a:lnTo>
                      <a:pt x="966898" y="445683"/>
                    </a:lnTo>
                    <a:lnTo>
                      <a:pt x="960657" y="474855"/>
                    </a:lnTo>
                    <a:lnTo>
                      <a:pt x="951296" y="503238"/>
                    </a:lnTo>
                    <a:lnTo>
                      <a:pt x="943496" y="502450"/>
                    </a:lnTo>
                    <a:lnTo>
                      <a:pt x="934915" y="501661"/>
                    </a:lnTo>
                    <a:lnTo>
                      <a:pt x="926334" y="500873"/>
                    </a:lnTo>
                    <a:lnTo>
                      <a:pt x="917753" y="499296"/>
                    </a:lnTo>
                    <a:lnTo>
                      <a:pt x="909173" y="499296"/>
                    </a:lnTo>
                    <a:lnTo>
                      <a:pt x="899812" y="498508"/>
                    </a:lnTo>
                    <a:lnTo>
                      <a:pt x="892011" y="497719"/>
                    </a:lnTo>
                    <a:lnTo>
                      <a:pt x="882650" y="496931"/>
                    </a:lnTo>
                    <a:lnTo>
                      <a:pt x="888111" y="471701"/>
                    </a:lnTo>
                    <a:lnTo>
                      <a:pt x="892791" y="444895"/>
                    </a:lnTo>
                    <a:lnTo>
                      <a:pt x="895911" y="418088"/>
                    </a:lnTo>
                    <a:lnTo>
                      <a:pt x="897472" y="390494"/>
                    </a:lnTo>
                    <a:lnTo>
                      <a:pt x="898252" y="389705"/>
                    </a:lnTo>
                    <a:lnTo>
                      <a:pt x="899032" y="388128"/>
                    </a:lnTo>
                    <a:lnTo>
                      <a:pt x="900592" y="387340"/>
                    </a:lnTo>
                    <a:close/>
                    <a:moveTo>
                      <a:pt x="797718" y="385763"/>
                    </a:moveTo>
                    <a:lnTo>
                      <a:pt x="855662" y="385763"/>
                    </a:lnTo>
                    <a:lnTo>
                      <a:pt x="848518" y="392113"/>
                    </a:lnTo>
                    <a:lnTo>
                      <a:pt x="841375" y="399257"/>
                    </a:lnTo>
                    <a:lnTo>
                      <a:pt x="833437" y="405607"/>
                    </a:lnTo>
                    <a:lnTo>
                      <a:pt x="826293" y="411957"/>
                    </a:lnTo>
                    <a:lnTo>
                      <a:pt x="818356" y="419101"/>
                    </a:lnTo>
                    <a:lnTo>
                      <a:pt x="811212" y="425451"/>
                    </a:lnTo>
                    <a:lnTo>
                      <a:pt x="803275" y="431801"/>
                    </a:lnTo>
                    <a:lnTo>
                      <a:pt x="795337" y="438151"/>
                    </a:lnTo>
                    <a:lnTo>
                      <a:pt x="796131" y="425451"/>
                    </a:lnTo>
                    <a:lnTo>
                      <a:pt x="796925" y="411957"/>
                    </a:lnTo>
                    <a:lnTo>
                      <a:pt x="797718" y="399257"/>
                    </a:lnTo>
                    <a:close/>
                    <a:moveTo>
                      <a:pt x="676275" y="385763"/>
                    </a:moveTo>
                    <a:lnTo>
                      <a:pt x="781050" y="385763"/>
                    </a:lnTo>
                    <a:lnTo>
                      <a:pt x="781050" y="403090"/>
                    </a:lnTo>
                    <a:lnTo>
                      <a:pt x="780256" y="419630"/>
                    </a:lnTo>
                    <a:lnTo>
                      <a:pt x="778669" y="436169"/>
                    </a:lnTo>
                    <a:lnTo>
                      <a:pt x="777875" y="451921"/>
                    </a:lnTo>
                    <a:lnTo>
                      <a:pt x="772319" y="456647"/>
                    </a:lnTo>
                    <a:lnTo>
                      <a:pt x="765969" y="461372"/>
                    </a:lnTo>
                    <a:lnTo>
                      <a:pt x="760413" y="466098"/>
                    </a:lnTo>
                    <a:lnTo>
                      <a:pt x="754063" y="469248"/>
                    </a:lnTo>
                    <a:lnTo>
                      <a:pt x="748506" y="473974"/>
                    </a:lnTo>
                    <a:lnTo>
                      <a:pt x="742156" y="478700"/>
                    </a:lnTo>
                    <a:lnTo>
                      <a:pt x="736600" y="483425"/>
                    </a:lnTo>
                    <a:lnTo>
                      <a:pt x="730250" y="487363"/>
                    </a:lnTo>
                    <a:lnTo>
                      <a:pt x="723900" y="487363"/>
                    </a:lnTo>
                    <a:lnTo>
                      <a:pt x="716756" y="486576"/>
                    </a:lnTo>
                    <a:lnTo>
                      <a:pt x="710406" y="486576"/>
                    </a:lnTo>
                    <a:lnTo>
                      <a:pt x="702469" y="486576"/>
                    </a:lnTo>
                    <a:lnTo>
                      <a:pt x="695325" y="485788"/>
                    </a:lnTo>
                    <a:lnTo>
                      <a:pt x="688181" y="485788"/>
                    </a:lnTo>
                    <a:lnTo>
                      <a:pt x="681038" y="485788"/>
                    </a:lnTo>
                    <a:lnTo>
                      <a:pt x="673100" y="485788"/>
                    </a:lnTo>
                    <a:lnTo>
                      <a:pt x="674688" y="461372"/>
                    </a:lnTo>
                    <a:lnTo>
                      <a:pt x="675481" y="436957"/>
                    </a:lnTo>
                    <a:lnTo>
                      <a:pt x="676275" y="411754"/>
                    </a:lnTo>
                    <a:close/>
                    <a:moveTo>
                      <a:pt x="517525" y="385763"/>
                    </a:moveTo>
                    <a:lnTo>
                      <a:pt x="658813" y="385763"/>
                    </a:lnTo>
                    <a:lnTo>
                      <a:pt x="658813" y="412322"/>
                    </a:lnTo>
                    <a:lnTo>
                      <a:pt x="658015" y="436538"/>
                    </a:lnTo>
                    <a:lnTo>
                      <a:pt x="656419" y="460754"/>
                    </a:lnTo>
                    <a:lnTo>
                      <a:pt x="655620" y="484188"/>
                    </a:lnTo>
                    <a:lnTo>
                      <a:pt x="646840" y="484188"/>
                    </a:lnTo>
                    <a:lnTo>
                      <a:pt x="638857" y="484188"/>
                    </a:lnTo>
                    <a:lnTo>
                      <a:pt x="630077" y="484188"/>
                    </a:lnTo>
                    <a:lnTo>
                      <a:pt x="622094" y="483407"/>
                    </a:lnTo>
                    <a:lnTo>
                      <a:pt x="614112" y="483407"/>
                    </a:lnTo>
                    <a:lnTo>
                      <a:pt x="605331" y="483407"/>
                    </a:lnTo>
                    <a:lnTo>
                      <a:pt x="596551" y="483407"/>
                    </a:lnTo>
                    <a:lnTo>
                      <a:pt x="587770" y="483407"/>
                    </a:lnTo>
                    <a:lnTo>
                      <a:pt x="579788" y="483407"/>
                    </a:lnTo>
                    <a:lnTo>
                      <a:pt x="571805" y="483407"/>
                    </a:lnTo>
                    <a:lnTo>
                      <a:pt x="563025" y="483407"/>
                    </a:lnTo>
                    <a:lnTo>
                      <a:pt x="555042" y="483407"/>
                    </a:lnTo>
                    <a:lnTo>
                      <a:pt x="545464" y="484188"/>
                    </a:lnTo>
                    <a:lnTo>
                      <a:pt x="537481" y="484188"/>
                    </a:lnTo>
                    <a:lnTo>
                      <a:pt x="529499" y="484188"/>
                    </a:lnTo>
                    <a:lnTo>
                      <a:pt x="520718" y="484188"/>
                    </a:lnTo>
                    <a:lnTo>
                      <a:pt x="519920" y="460754"/>
                    </a:lnTo>
                    <a:lnTo>
                      <a:pt x="518323" y="436538"/>
                    </a:lnTo>
                    <a:lnTo>
                      <a:pt x="517525" y="412322"/>
                    </a:lnTo>
                    <a:close/>
                    <a:moveTo>
                      <a:pt x="395287" y="385763"/>
                    </a:moveTo>
                    <a:lnTo>
                      <a:pt x="502426" y="385763"/>
                    </a:lnTo>
                    <a:lnTo>
                      <a:pt x="502426" y="411560"/>
                    </a:lnTo>
                    <a:lnTo>
                      <a:pt x="503226" y="436575"/>
                    </a:lnTo>
                    <a:lnTo>
                      <a:pt x="504026" y="460809"/>
                    </a:lnTo>
                    <a:lnTo>
                      <a:pt x="504825" y="485042"/>
                    </a:lnTo>
                    <a:lnTo>
                      <a:pt x="492032" y="485042"/>
                    </a:lnTo>
                    <a:lnTo>
                      <a:pt x="479240" y="485824"/>
                    </a:lnTo>
                    <a:lnTo>
                      <a:pt x="467246" y="485824"/>
                    </a:lnTo>
                    <a:lnTo>
                      <a:pt x="454454" y="486606"/>
                    </a:lnTo>
                    <a:lnTo>
                      <a:pt x="441661" y="486606"/>
                    </a:lnTo>
                    <a:lnTo>
                      <a:pt x="429668" y="488169"/>
                    </a:lnTo>
                    <a:lnTo>
                      <a:pt x="416875" y="488169"/>
                    </a:lnTo>
                    <a:lnTo>
                      <a:pt x="403283" y="488951"/>
                    </a:lnTo>
                    <a:lnTo>
                      <a:pt x="400084" y="463154"/>
                    </a:lnTo>
                    <a:lnTo>
                      <a:pt x="398485" y="438139"/>
                    </a:lnTo>
                    <a:lnTo>
                      <a:pt x="396087" y="412342"/>
                    </a:lnTo>
                    <a:close/>
                    <a:moveTo>
                      <a:pt x="296862" y="385763"/>
                    </a:moveTo>
                    <a:lnTo>
                      <a:pt x="377825" y="385763"/>
                    </a:lnTo>
                    <a:lnTo>
                      <a:pt x="378619" y="412365"/>
                    </a:lnTo>
                    <a:lnTo>
                      <a:pt x="381000" y="438185"/>
                    </a:lnTo>
                    <a:lnTo>
                      <a:pt x="383381" y="464787"/>
                    </a:lnTo>
                    <a:lnTo>
                      <a:pt x="387350" y="489824"/>
                    </a:lnTo>
                    <a:lnTo>
                      <a:pt x="377825" y="490607"/>
                    </a:lnTo>
                    <a:lnTo>
                      <a:pt x="368300" y="490607"/>
                    </a:lnTo>
                    <a:lnTo>
                      <a:pt x="358775" y="491389"/>
                    </a:lnTo>
                    <a:lnTo>
                      <a:pt x="348456" y="492171"/>
                    </a:lnTo>
                    <a:lnTo>
                      <a:pt x="339725" y="492954"/>
                    </a:lnTo>
                    <a:lnTo>
                      <a:pt x="329406" y="492954"/>
                    </a:lnTo>
                    <a:lnTo>
                      <a:pt x="320675" y="494519"/>
                    </a:lnTo>
                    <a:lnTo>
                      <a:pt x="311150" y="495301"/>
                    </a:lnTo>
                    <a:lnTo>
                      <a:pt x="304800" y="468699"/>
                    </a:lnTo>
                    <a:lnTo>
                      <a:pt x="300037" y="442097"/>
                    </a:lnTo>
                    <a:lnTo>
                      <a:pt x="297656" y="413930"/>
                    </a:lnTo>
                    <a:close/>
                    <a:moveTo>
                      <a:pt x="201612" y="385763"/>
                    </a:moveTo>
                    <a:lnTo>
                      <a:pt x="279275" y="385763"/>
                    </a:lnTo>
                    <a:lnTo>
                      <a:pt x="280876" y="414338"/>
                    </a:lnTo>
                    <a:lnTo>
                      <a:pt x="283278" y="442913"/>
                    </a:lnTo>
                    <a:lnTo>
                      <a:pt x="287282" y="469901"/>
                    </a:lnTo>
                    <a:lnTo>
                      <a:pt x="293687" y="497682"/>
                    </a:lnTo>
                    <a:lnTo>
                      <a:pt x="284880" y="498476"/>
                    </a:lnTo>
                    <a:lnTo>
                      <a:pt x="276073" y="499270"/>
                    </a:lnTo>
                    <a:lnTo>
                      <a:pt x="267265" y="500064"/>
                    </a:lnTo>
                    <a:lnTo>
                      <a:pt x="258458" y="501651"/>
                    </a:lnTo>
                    <a:lnTo>
                      <a:pt x="249651" y="502445"/>
                    </a:lnTo>
                    <a:lnTo>
                      <a:pt x="240844" y="503239"/>
                    </a:lnTo>
                    <a:lnTo>
                      <a:pt x="232037" y="504032"/>
                    </a:lnTo>
                    <a:lnTo>
                      <a:pt x="223229" y="504826"/>
                    </a:lnTo>
                    <a:lnTo>
                      <a:pt x="214422" y="476251"/>
                    </a:lnTo>
                    <a:lnTo>
                      <a:pt x="208017" y="446088"/>
                    </a:lnTo>
                    <a:lnTo>
                      <a:pt x="203213" y="417513"/>
                    </a:lnTo>
                    <a:close/>
                    <a:moveTo>
                      <a:pt x="967662" y="314325"/>
                    </a:moveTo>
                    <a:lnTo>
                      <a:pt x="969226" y="327025"/>
                    </a:lnTo>
                    <a:lnTo>
                      <a:pt x="970791" y="340519"/>
                    </a:lnTo>
                    <a:lnTo>
                      <a:pt x="972355" y="354012"/>
                    </a:lnTo>
                    <a:lnTo>
                      <a:pt x="973137" y="368300"/>
                    </a:lnTo>
                    <a:lnTo>
                      <a:pt x="919162" y="368300"/>
                    </a:lnTo>
                    <a:lnTo>
                      <a:pt x="925420" y="361156"/>
                    </a:lnTo>
                    <a:lnTo>
                      <a:pt x="931678" y="354806"/>
                    </a:lnTo>
                    <a:lnTo>
                      <a:pt x="937936" y="347662"/>
                    </a:lnTo>
                    <a:lnTo>
                      <a:pt x="944194" y="341312"/>
                    </a:lnTo>
                    <a:lnTo>
                      <a:pt x="949670" y="334169"/>
                    </a:lnTo>
                    <a:lnTo>
                      <a:pt x="955928" y="327819"/>
                    </a:lnTo>
                    <a:lnTo>
                      <a:pt x="962186" y="320675"/>
                    </a:lnTo>
                    <a:close/>
                    <a:moveTo>
                      <a:pt x="520718" y="266700"/>
                    </a:moveTo>
                    <a:lnTo>
                      <a:pt x="529499" y="266700"/>
                    </a:lnTo>
                    <a:lnTo>
                      <a:pt x="537481" y="266700"/>
                    </a:lnTo>
                    <a:lnTo>
                      <a:pt x="545464" y="266700"/>
                    </a:lnTo>
                    <a:lnTo>
                      <a:pt x="554244" y="266700"/>
                    </a:lnTo>
                    <a:lnTo>
                      <a:pt x="562227" y="267500"/>
                    </a:lnTo>
                    <a:lnTo>
                      <a:pt x="570209" y="267500"/>
                    </a:lnTo>
                    <a:lnTo>
                      <a:pt x="579788" y="267500"/>
                    </a:lnTo>
                    <a:lnTo>
                      <a:pt x="587770" y="267500"/>
                    </a:lnTo>
                    <a:lnTo>
                      <a:pt x="596551" y="267500"/>
                    </a:lnTo>
                    <a:lnTo>
                      <a:pt x="605331" y="267500"/>
                    </a:lnTo>
                    <a:lnTo>
                      <a:pt x="614112" y="267500"/>
                    </a:lnTo>
                    <a:lnTo>
                      <a:pt x="622094" y="266700"/>
                    </a:lnTo>
                    <a:lnTo>
                      <a:pt x="630077" y="266700"/>
                    </a:lnTo>
                    <a:lnTo>
                      <a:pt x="638857" y="266700"/>
                    </a:lnTo>
                    <a:lnTo>
                      <a:pt x="646840" y="266700"/>
                    </a:lnTo>
                    <a:lnTo>
                      <a:pt x="655620" y="266700"/>
                    </a:lnTo>
                    <a:lnTo>
                      <a:pt x="656419" y="290700"/>
                    </a:lnTo>
                    <a:lnTo>
                      <a:pt x="658015" y="315500"/>
                    </a:lnTo>
                    <a:lnTo>
                      <a:pt x="658813" y="341100"/>
                    </a:lnTo>
                    <a:lnTo>
                      <a:pt x="658813" y="368300"/>
                    </a:lnTo>
                    <a:lnTo>
                      <a:pt x="517525" y="368300"/>
                    </a:lnTo>
                    <a:lnTo>
                      <a:pt x="517525" y="341100"/>
                    </a:lnTo>
                    <a:lnTo>
                      <a:pt x="518323" y="315500"/>
                    </a:lnTo>
                    <a:lnTo>
                      <a:pt x="519920" y="290700"/>
                    </a:lnTo>
                    <a:close/>
                    <a:moveTo>
                      <a:pt x="772319" y="263525"/>
                    </a:moveTo>
                    <a:lnTo>
                      <a:pt x="776288" y="288734"/>
                    </a:lnTo>
                    <a:lnTo>
                      <a:pt x="778669" y="315518"/>
                    </a:lnTo>
                    <a:lnTo>
                      <a:pt x="780256" y="341515"/>
                    </a:lnTo>
                    <a:lnTo>
                      <a:pt x="781050" y="368300"/>
                    </a:lnTo>
                    <a:lnTo>
                      <a:pt x="676275" y="368300"/>
                    </a:lnTo>
                    <a:lnTo>
                      <a:pt x="676275" y="342303"/>
                    </a:lnTo>
                    <a:lnTo>
                      <a:pt x="675481" y="317094"/>
                    </a:lnTo>
                    <a:lnTo>
                      <a:pt x="674688" y="291885"/>
                    </a:lnTo>
                    <a:lnTo>
                      <a:pt x="673100" y="267464"/>
                    </a:lnTo>
                    <a:lnTo>
                      <a:pt x="686594" y="267464"/>
                    </a:lnTo>
                    <a:lnTo>
                      <a:pt x="699294" y="267464"/>
                    </a:lnTo>
                    <a:lnTo>
                      <a:pt x="711200" y="266676"/>
                    </a:lnTo>
                    <a:lnTo>
                      <a:pt x="723900" y="266676"/>
                    </a:lnTo>
                    <a:lnTo>
                      <a:pt x="735806" y="265100"/>
                    </a:lnTo>
                    <a:lnTo>
                      <a:pt x="748506" y="264313"/>
                    </a:lnTo>
                    <a:lnTo>
                      <a:pt x="760413" y="264313"/>
                    </a:lnTo>
                    <a:close/>
                    <a:moveTo>
                      <a:pt x="404882" y="263525"/>
                    </a:moveTo>
                    <a:lnTo>
                      <a:pt x="416875" y="264313"/>
                    </a:lnTo>
                    <a:lnTo>
                      <a:pt x="429668" y="264313"/>
                    </a:lnTo>
                    <a:lnTo>
                      <a:pt x="441661" y="265100"/>
                    </a:lnTo>
                    <a:lnTo>
                      <a:pt x="454454" y="266676"/>
                    </a:lnTo>
                    <a:lnTo>
                      <a:pt x="466447" y="266676"/>
                    </a:lnTo>
                    <a:lnTo>
                      <a:pt x="479240" y="267464"/>
                    </a:lnTo>
                    <a:lnTo>
                      <a:pt x="492032" y="267464"/>
                    </a:lnTo>
                    <a:lnTo>
                      <a:pt x="504825" y="267464"/>
                    </a:lnTo>
                    <a:lnTo>
                      <a:pt x="504026" y="292673"/>
                    </a:lnTo>
                    <a:lnTo>
                      <a:pt x="503226" y="317094"/>
                    </a:lnTo>
                    <a:lnTo>
                      <a:pt x="502426" y="342303"/>
                    </a:lnTo>
                    <a:lnTo>
                      <a:pt x="502426" y="368300"/>
                    </a:lnTo>
                    <a:lnTo>
                      <a:pt x="395287" y="368300"/>
                    </a:lnTo>
                    <a:lnTo>
                      <a:pt x="396087" y="341515"/>
                    </a:lnTo>
                    <a:lnTo>
                      <a:pt x="398485" y="315518"/>
                    </a:lnTo>
                    <a:lnTo>
                      <a:pt x="400884" y="288734"/>
                    </a:lnTo>
                    <a:close/>
                    <a:moveTo>
                      <a:pt x="865188" y="257175"/>
                    </a:moveTo>
                    <a:lnTo>
                      <a:pt x="869950" y="282575"/>
                    </a:lnTo>
                    <a:lnTo>
                      <a:pt x="874713" y="308769"/>
                    </a:lnTo>
                    <a:lnTo>
                      <a:pt x="877888" y="334962"/>
                    </a:lnTo>
                    <a:lnTo>
                      <a:pt x="879475" y="362744"/>
                    </a:lnTo>
                    <a:lnTo>
                      <a:pt x="878681" y="363537"/>
                    </a:lnTo>
                    <a:lnTo>
                      <a:pt x="877094" y="365125"/>
                    </a:lnTo>
                    <a:lnTo>
                      <a:pt x="875506" y="365919"/>
                    </a:lnTo>
                    <a:lnTo>
                      <a:pt x="873919" y="368300"/>
                    </a:lnTo>
                    <a:lnTo>
                      <a:pt x="797719" y="368300"/>
                    </a:lnTo>
                    <a:lnTo>
                      <a:pt x="796925" y="340519"/>
                    </a:lnTo>
                    <a:lnTo>
                      <a:pt x="795337" y="314325"/>
                    </a:lnTo>
                    <a:lnTo>
                      <a:pt x="792162" y="287337"/>
                    </a:lnTo>
                    <a:lnTo>
                      <a:pt x="788987" y="261937"/>
                    </a:lnTo>
                    <a:lnTo>
                      <a:pt x="797719" y="261937"/>
                    </a:lnTo>
                    <a:lnTo>
                      <a:pt x="808037" y="261144"/>
                    </a:lnTo>
                    <a:lnTo>
                      <a:pt x="817562" y="261144"/>
                    </a:lnTo>
                    <a:lnTo>
                      <a:pt x="827087" y="260350"/>
                    </a:lnTo>
                    <a:lnTo>
                      <a:pt x="836613" y="259556"/>
                    </a:lnTo>
                    <a:lnTo>
                      <a:pt x="846138" y="257969"/>
                    </a:lnTo>
                    <a:lnTo>
                      <a:pt x="855663" y="257969"/>
                    </a:lnTo>
                    <a:close/>
                    <a:moveTo>
                      <a:pt x="311150" y="257175"/>
                    </a:moveTo>
                    <a:lnTo>
                      <a:pt x="320675" y="257969"/>
                    </a:lnTo>
                    <a:lnTo>
                      <a:pt x="329406" y="257969"/>
                    </a:lnTo>
                    <a:lnTo>
                      <a:pt x="339725" y="259556"/>
                    </a:lnTo>
                    <a:lnTo>
                      <a:pt x="348456" y="260350"/>
                    </a:lnTo>
                    <a:lnTo>
                      <a:pt x="358775" y="261144"/>
                    </a:lnTo>
                    <a:lnTo>
                      <a:pt x="368300" y="261144"/>
                    </a:lnTo>
                    <a:lnTo>
                      <a:pt x="377825" y="261937"/>
                    </a:lnTo>
                    <a:lnTo>
                      <a:pt x="387350" y="261937"/>
                    </a:lnTo>
                    <a:lnTo>
                      <a:pt x="383381" y="287337"/>
                    </a:lnTo>
                    <a:lnTo>
                      <a:pt x="381000" y="314325"/>
                    </a:lnTo>
                    <a:lnTo>
                      <a:pt x="378619" y="340519"/>
                    </a:lnTo>
                    <a:lnTo>
                      <a:pt x="377825" y="368300"/>
                    </a:lnTo>
                    <a:lnTo>
                      <a:pt x="296862" y="368300"/>
                    </a:lnTo>
                    <a:lnTo>
                      <a:pt x="297656" y="339725"/>
                    </a:lnTo>
                    <a:lnTo>
                      <a:pt x="300037" y="311150"/>
                    </a:lnTo>
                    <a:lnTo>
                      <a:pt x="304800" y="284162"/>
                    </a:lnTo>
                    <a:close/>
                    <a:moveTo>
                      <a:pt x="951780" y="249238"/>
                    </a:moveTo>
                    <a:lnTo>
                      <a:pt x="953351" y="255588"/>
                    </a:lnTo>
                    <a:lnTo>
                      <a:pt x="955708" y="261144"/>
                    </a:lnTo>
                    <a:lnTo>
                      <a:pt x="957279" y="267494"/>
                    </a:lnTo>
                    <a:lnTo>
                      <a:pt x="958850" y="273844"/>
                    </a:lnTo>
                    <a:lnTo>
                      <a:pt x="951780" y="282576"/>
                    </a:lnTo>
                    <a:lnTo>
                      <a:pt x="944710" y="292101"/>
                    </a:lnTo>
                    <a:lnTo>
                      <a:pt x="937640" y="300832"/>
                    </a:lnTo>
                    <a:lnTo>
                      <a:pt x="929784" y="309563"/>
                    </a:lnTo>
                    <a:lnTo>
                      <a:pt x="921929" y="318294"/>
                    </a:lnTo>
                    <a:lnTo>
                      <a:pt x="914073" y="327820"/>
                    </a:lnTo>
                    <a:lnTo>
                      <a:pt x="905432" y="336551"/>
                    </a:lnTo>
                    <a:lnTo>
                      <a:pt x="896790" y="346076"/>
                    </a:lnTo>
                    <a:lnTo>
                      <a:pt x="894434" y="323057"/>
                    </a:lnTo>
                    <a:lnTo>
                      <a:pt x="892077" y="300038"/>
                    </a:lnTo>
                    <a:lnTo>
                      <a:pt x="887364" y="277813"/>
                    </a:lnTo>
                    <a:lnTo>
                      <a:pt x="882650" y="255588"/>
                    </a:lnTo>
                    <a:lnTo>
                      <a:pt x="892077" y="254794"/>
                    </a:lnTo>
                    <a:lnTo>
                      <a:pt x="899933" y="254000"/>
                    </a:lnTo>
                    <a:lnTo>
                      <a:pt x="909360" y="252413"/>
                    </a:lnTo>
                    <a:lnTo>
                      <a:pt x="917215" y="251619"/>
                    </a:lnTo>
                    <a:lnTo>
                      <a:pt x="926642" y="251619"/>
                    </a:lnTo>
                    <a:lnTo>
                      <a:pt x="934498" y="250825"/>
                    </a:lnTo>
                    <a:lnTo>
                      <a:pt x="943924" y="250032"/>
                    </a:lnTo>
                    <a:close/>
                    <a:moveTo>
                      <a:pt x="223229" y="249238"/>
                    </a:moveTo>
                    <a:lnTo>
                      <a:pt x="232037" y="250032"/>
                    </a:lnTo>
                    <a:lnTo>
                      <a:pt x="240844" y="250825"/>
                    </a:lnTo>
                    <a:lnTo>
                      <a:pt x="249651" y="251619"/>
                    </a:lnTo>
                    <a:lnTo>
                      <a:pt x="258458" y="251619"/>
                    </a:lnTo>
                    <a:lnTo>
                      <a:pt x="267265" y="252413"/>
                    </a:lnTo>
                    <a:lnTo>
                      <a:pt x="276073" y="254000"/>
                    </a:lnTo>
                    <a:lnTo>
                      <a:pt x="284880" y="254794"/>
                    </a:lnTo>
                    <a:lnTo>
                      <a:pt x="293687" y="255588"/>
                    </a:lnTo>
                    <a:lnTo>
                      <a:pt x="287282" y="282576"/>
                    </a:lnTo>
                    <a:lnTo>
                      <a:pt x="283278" y="310357"/>
                    </a:lnTo>
                    <a:lnTo>
                      <a:pt x="280876" y="338932"/>
                    </a:lnTo>
                    <a:lnTo>
                      <a:pt x="279275" y="368301"/>
                    </a:lnTo>
                    <a:lnTo>
                      <a:pt x="201612" y="368301"/>
                    </a:lnTo>
                    <a:lnTo>
                      <a:pt x="203213" y="336551"/>
                    </a:lnTo>
                    <a:lnTo>
                      <a:pt x="208017" y="306388"/>
                    </a:lnTo>
                    <a:lnTo>
                      <a:pt x="214422" y="277813"/>
                    </a:lnTo>
                    <a:close/>
                    <a:moveTo>
                      <a:pt x="530225" y="173038"/>
                    </a:moveTo>
                    <a:lnTo>
                      <a:pt x="537369" y="173038"/>
                    </a:lnTo>
                    <a:lnTo>
                      <a:pt x="544512" y="173832"/>
                    </a:lnTo>
                    <a:lnTo>
                      <a:pt x="551656" y="173832"/>
                    </a:lnTo>
                    <a:lnTo>
                      <a:pt x="558800" y="173832"/>
                    </a:lnTo>
                    <a:lnTo>
                      <a:pt x="566737" y="173832"/>
                    </a:lnTo>
                    <a:lnTo>
                      <a:pt x="573881" y="173832"/>
                    </a:lnTo>
                    <a:lnTo>
                      <a:pt x="581025" y="173832"/>
                    </a:lnTo>
                    <a:lnTo>
                      <a:pt x="588169" y="173832"/>
                    </a:lnTo>
                    <a:lnTo>
                      <a:pt x="596106" y="173832"/>
                    </a:lnTo>
                    <a:lnTo>
                      <a:pt x="603250" y="173832"/>
                    </a:lnTo>
                    <a:lnTo>
                      <a:pt x="610394" y="173832"/>
                    </a:lnTo>
                    <a:lnTo>
                      <a:pt x="617538" y="173832"/>
                    </a:lnTo>
                    <a:lnTo>
                      <a:pt x="624681" y="173832"/>
                    </a:lnTo>
                    <a:lnTo>
                      <a:pt x="632619" y="173832"/>
                    </a:lnTo>
                    <a:lnTo>
                      <a:pt x="639763" y="173038"/>
                    </a:lnTo>
                    <a:lnTo>
                      <a:pt x="646906" y="173038"/>
                    </a:lnTo>
                    <a:lnTo>
                      <a:pt x="648494" y="191294"/>
                    </a:lnTo>
                    <a:lnTo>
                      <a:pt x="650875" y="209551"/>
                    </a:lnTo>
                    <a:lnTo>
                      <a:pt x="652463" y="230188"/>
                    </a:lnTo>
                    <a:lnTo>
                      <a:pt x="654050" y="250032"/>
                    </a:lnTo>
                    <a:lnTo>
                      <a:pt x="646113" y="250032"/>
                    </a:lnTo>
                    <a:lnTo>
                      <a:pt x="638175" y="250826"/>
                    </a:lnTo>
                    <a:lnTo>
                      <a:pt x="629444" y="250826"/>
                    </a:lnTo>
                    <a:lnTo>
                      <a:pt x="621506" y="250826"/>
                    </a:lnTo>
                    <a:lnTo>
                      <a:pt x="612775" y="250826"/>
                    </a:lnTo>
                    <a:lnTo>
                      <a:pt x="604838" y="250826"/>
                    </a:lnTo>
                    <a:lnTo>
                      <a:pt x="596900" y="250826"/>
                    </a:lnTo>
                    <a:lnTo>
                      <a:pt x="588169" y="250826"/>
                    </a:lnTo>
                    <a:lnTo>
                      <a:pt x="580231" y="250826"/>
                    </a:lnTo>
                    <a:lnTo>
                      <a:pt x="572294" y="250826"/>
                    </a:lnTo>
                    <a:lnTo>
                      <a:pt x="563562" y="250826"/>
                    </a:lnTo>
                    <a:lnTo>
                      <a:pt x="555625" y="250826"/>
                    </a:lnTo>
                    <a:lnTo>
                      <a:pt x="546894" y="250826"/>
                    </a:lnTo>
                    <a:lnTo>
                      <a:pt x="538956" y="250826"/>
                    </a:lnTo>
                    <a:lnTo>
                      <a:pt x="531019" y="250032"/>
                    </a:lnTo>
                    <a:lnTo>
                      <a:pt x="522287" y="250032"/>
                    </a:lnTo>
                    <a:lnTo>
                      <a:pt x="524669" y="230188"/>
                    </a:lnTo>
                    <a:lnTo>
                      <a:pt x="526256" y="209551"/>
                    </a:lnTo>
                    <a:lnTo>
                      <a:pt x="527844" y="191294"/>
                    </a:lnTo>
                    <a:close/>
                    <a:moveTo>
                      <a:pt x="747870" y="166688"/>
                    </a:moveTo>
                    <a:lnTo>
                      <a:pt x="754172" y="185919"/>
                    </a:lnTo>
                    <a:lnTo>
                      <a:pt x="759686" y="205952"/>
                    </a:lnTo>
                    <a:lnTo>
                      <a:pt x="764412" y="225985"/>
                    </a:lnTo>
                    <a:lnTo>
                      <a:pt x="768350" y="246819"/>
                    </a:lnTo>
                    <a:lnTo>
                      <a:pt x="756535" y="248422"/>
                    </a:lnTo>
                    <a:lnTo>
                      <a:pt x="744719" y="248422"/>
                    </a:lnTo>
                    <a:lnTo>
                      <a:pt x="733692" y="249223"/>
                    </a:lnTo>
                    <a:lnTo>
                      <a:pt x="721876" y="249223"/>
                    </a:lnTo>
                    <a:lnTo>
                      <a:pt x="710061" y="250025"/>
                    </a:lnTo>
                    <a:lnTo>
                      <a:pt x="696670" y="250025"/>
                    </a:lnTo>
                    <a:lnTo>
                      <a:pt x="684855" y="250826"/>
                    </a:lnTo>
                    <a:lnTo>
                      <a:pt x="672252" y="250826"/>
                    </a:lnTo>
                    <a:lnTo>
                      <a:pt x="670676" y="230793"/>
                    </a:lnTo>
                    <a:lnTo>
                      <a:pt x="669101" y="209959"/>
                    </a:lnTo>
                    <a:lnTo>
                      <a:pt x="666738" y="190727"/>
                    </a:lnTo>
                    <a:lnTo>
                      <a:pt x="665162" y="172297"/>
                    </a:lnTo>
                    <a:lnTo>
                      <a:pt x="676190" y="172297"/>
                    </a:lnTo>
                    <a:lnTo>
                      <a:pt x="686430" y="171496"/>
                    </a:lnTo>
                    <a:lnTo>
                      <a:pt x="696670" y="170694"/>
                    </a:lnTo>
                    <a:lnTo>
                      <a:pt x="706910" y="170694"/>
                    </a:lnTo>
                    <a:lnTo>
                      <a:pt x="717150" y="169893"/>
                    </a:lnTo>
                    <a:lnTo>
                      <a:pt x="726602" y="169092"/>
                    </a:lnTo>
                    <a:lnTo>
                      <a:pt x="737630" y="167489"/>
                    </a:lnTo>
                    <a:close/>
                    <a:moveTo>
                      <a:pt x="429099" y="166688"/>
                    </a:moveTo>
                    <a:lnTo>
                      <a:pt x="438481" y="167489"/>
                    </a:lnTo>
                    <a:lnTo>
                      <a:pt x="449428" y="169092"/>
                    </a:lnTo>
                    <a:lnTo>
                      <a:pt x="459593" y="169893"/>
                    </a:lnTo>
                    <a:lnTo>
                      <a:pt x="470539" y="170694"/>
                    </a:lnTo>
                    <a:lnTo>
                      <a:pt x="479922" y="170694"/>
                    </a:lnTo>
                    <a:lnTo>
                      <a:pt x="490869" y="171496"/>
                    </a:lnTo>
                    <a:lnTo>
                      <a:pt x="501815" y="172297"/>
                    </a:lnTo>
                    <a:lnTo>
                      <a:pt x="512762" y="172297"/>
                    </a:lnTo>
                    <a:lnTo>
                      <a:pt x="509635" y="191529"/>
                    </a:lnTo>
                    <a:lnTo>
                      <a:pt x="508071" y="210760"/>
                    </a:lnTo>
                    <a:lnTo>
                      <a:pt x="506507" y="230793"/>
                    </a:lnTo>
                    <a:lnTo>
                      <a:pt x="504161" y="250826"/>
                    </a:lnTo>
                    <a:lnTo>
                      <a:pt x="492433" y="250826"/>
                    </a:lnTo>
                    <a:lnTo>
                      <a:pt x="479922" y="250025"/>
                    </a:lnTo>
                    <a:lnTo>
                      <a:pt x="468194" y="250025"/>
                    </a:lnTo>
                    <a:lnTo>
                      <a:pt x="455683" y="249223"/>
                    </a:lnTo>
                    <a:lnTo>
                      <a:pt x="443955" y="249223"/>
                    </a:lnTo>
                    <a:lnTo>
                      <a:pt x="431444" y="248422"/>
                    </a:lnTo>
                    <a:lnTo>
                      <a:pt x="419716" y="248422"/>
                    </a:lnTo>
                    <a:lnTo>
                      <a:pt x="407987" y="246819"/>
                    </a:lnTo>
                    <a:lnTo>
                      <a:pt x="412679" y="225985"/>
                    </a:lnTo>
                    <a:lnTo>
                      <a:pt x="417370" y="205952"/>
                    </a:lnTo>
                    <a:lnTo>
                      <a:pt x="422843" y="185919"/>
                    </a:lnTo>
                    <a:close/>
                    <a:moveTo>
                      <a:pt x="825500" y="157163"/>
                    </a:moveTo>
                    <a:lnTo>
                      <a:pt x="831056" y="166861"/>
                    </a:lnTo>
                    <a:lnTo>
                      <a:pt x="835819" y="176559"/>
                    </a:lnTo>
                    <a:lnTo>
                      <a:pt x="839788" y="187066"/>
                    </a:lnTo>
                    <a:lnTo>
                      <a:pt x="844550" y="197572"/>
                    </a:lnTo>
                    <a:lnTo>
                      <a:pt x="849313" y="208078"/>
                    </a:lnTo>
                    <a:lnTo>
                      <a:pt x="853281" y="219393"/>
                    </a:lnTo>
                    <a:lnTo>
                      <a:pt x="856456" y="230707"/>
                    </a:lnTo>
                    <a:lnTo>
                      <a:pt x="860425" y="241214"/>
                    </a:lnTo>
                    <a:lnTo>
                      <a:pt x="850900" y="242830"/>
                    </a:lnTo>
                    <a:lnTo>
                      <a:pt x="842169" y="242830"/>
                    </a:lnTo>
                    <a:lnTo>
                      <a:pt x="832644" y="243638"/>
                    </a:lnTo>
                    <a:lnTo>
                      <a:pt x="823913" y="243638"/>
                    </a:lnTo>
                    <a:lnTo>
                      <a:pt x="814388" y="244447"/>
                    </a:lnTo>
                    <a:lnTo>
                      <a:pt x="805656" y="245255"/>
                    </a:lnTo>
                    <a:lnTo>
                      <a:pt x="795338" y="245255"/>
                    </a:lnTo>
                    <a:lnTo>
                      <a:pt x="785813" y="246063"/>
                    </a:lnTo>
                    <a:lnTo>
                      <a:pt x="781844" y="225050"/>
                    </a:lnTo>
                    <a:lnTo>
                      <a:pt x="777081" y="204037"/>
                    </a:lnTo>
                    <a:lnTo>
                      <a:pt x="771525" y="183833"/>
                    </a:lnTo>
                    <a:lnTo>
                      <a:pt x="765175" y="164437"/>
                    </a:lnTo>
                    <a:lnTo>
                      <a:pt x="773113" y="163628"/>
                    </a:lnTo>
                    <a:lnTo>
                      <a:pt x="780256" y="162820"/>
                    </a:lnTo>
                    <a:lnTo>
                      <a:pt x="788194" y="161204"/>
                    </a:lnTo>
                    <a:lnTo>
                      <a:pt x="796131" y="160396"/>
                    </a:lnTo>
                    <a:lnTo>
                      <a:pt x="803275" y="159587"/>
                    </a:lnTo>
                    <a:lnTo>
                      <a:pt x="811213" y="158779"/>
                    </a:lnTo>
                    <a:lnTo>
                      <a:pt x="818356" y="157971"/>
                    </a:lnTo>
                    <a:close/>
                    <a:moveTo>
                      <a:pt x="350837" y="157163"/>
                    </a:moveTo>
                    <a:lnTo>
                      <a:pt x="357981" y="157971"/>
                    </a:lnTo>
                    <a:lnTo>
                      <a:pt x="365125" y="158779"/>
                    </a:lnTo>
                    <a:lnTo>
                      <a:pt x="372268" y="159587"/>
                    </a:lnTo>
                    <a:lnTo>
                      <a:pt x="381000" y="160396"/>
                    </a:lnTo>
                    <a:lnTo>
                      <a:pt x="388143" y="161204"/>
                    </a:lnTo>
                    <a:lnTo>
                      <a:pt x="395287" y="162820"/>
                    </a:lnTo>
                    <a:lnTo>
                      <a:pt x="403225" y="163628"/>
                    </a:lnTo>
                    <a:lnTo>
                      <a:pt x="411162" y="164437"/>
                    </a:lnTo>
                    <a:lnTo>
                      <a:pt x="404812" y="183833"/>
                    </a:lnTo>
                    <a:lnTo>
                      <a:pt x="399256" y="203229"/>
                    </a:lnTo>
                    <a:lnTo>
                      <a:pt x="394493" y="225050"/>
                    </a:lnTo>
                    <a:lnTo>
                      <a:pt x="389731" y="246063"/>
                    </a:lnTo>
                    <a:lnTo>
                      <a:pt x="381000" y="245255"/>
                    </a:lnTo>
                    <a:lnTo>
                      <a:pt x="371475" y="244447"/>
                    </a:lnTo>
                    <a:lnTo>
                      <a:pt x="362743" y="244447"/>
                    </a:lnTo>
                    <a:lnTo>
                      <a:pt x="353218" y="243638"/>
                    </a:lnTo>
                    <a:lnTo>
                      <a:pt x="342900" y="242830"/>
                    </a:lnTo>
                    <a:lnTo>
                      <a:pt x="334168" y="241214"/>
                    </a:lnTo>
                    <a:lnTo>
                      <a:pt x="324643" y="241214"/>
                    </a:lnTo>
                    <a:lnTo>
                      <a:pt x="315912" y="240406"/>
                    </a:lnTo>
                    <a:lnTo>
                      <a:pt x="319087" y="229899"/>
                    </a:lnTo>
                    <a:lnTo>
                      <a:pt x="323056" y="218585"/>
                    </a:lnTo>
                    <a:lnTo>
                      <a:pt x="327025" y="208078"/>
                    </a:lnTo>
                    <a:lnTo>
                      <a:pt x="330993" y="196764"/>
                    </a:lnTo>
                    <a:lnTo>
                      <a:pt x="335756" y="187066"/>
                    </a:lnTo>
                    <a:lnTo>
                      <a:pt x="340518" y="176559"/>
                    </a:lnTo>
                    <a:lnTo>
                      <a:pt x="345281" y="166861"/>
                    </a:lnTo>
                    <a:close/>
                    <a:moveTo>
                      <a:pt x="895731" y="144463"/>
                    </a:moveTo>
                    <a:lnTo>
                      <a:pt x="902820" y="154149"/>
                    </a:lnTo>
                    <a:lnTo>
                      <a:pt x="909908" y="164643"/>
                    </a:lnTo>
                    <a:lnTo>
                      <a:pt x="916209" y="175944"/>
                    </a:lnTo>
                    <a:lnTo>
                      <a:pt x="922510" y="187245"/>
                    </a:lnTo>
                    <a:lnTo>
                      <a:pt x="928810" y="197738"/>
                    </a:lnTo>
                    <a:lnTo>
                      <a:pt x="934323" y="209039"/>
                    </a:lnTo>
                    <a:lnTo>
                      <a:pt x="939837" y="221147"/>
                    </a:lnTo>
                    <a:lnTo>
                      <a:pt x="944562" y="233255"/>
                    </a:lnTo>
                    <a:lnTo>
                      <a:pt x="936686" y="234062"/>
                    </a:lnTo>
                    <a:lnTo>
                      <a:pt x="928023" y="234870"/>
                    </a:lnTo>
                    <a:lnTo>
                      <a:pt x="920147" y="236484"/>
                    </a:lnTo>
                    <a:lnTo>
                      <a:pt x="910696" y="236484"/>
                    </a:lnTo>
                    <a:lnTo>
                      <a:pt x="902820" y="237291"/>
                    </a:lnTo>
                    <a:lnTo>
                      <a:pt x="894944" y="238098"/>
                    </a:lnTo>
                    <a:lnTo>
                      <a:pt x="885492" y="238906"/>
                    </a:lnTo>
                    <a:lnTo>
                      <a:pt x="877617" y="239713"/>
                    </a:lnTo>
                    <a:lnTo>
                      <a:pt x="873679" y="228412"/>
                    </a:lnTo>
                    <a:lnTo>
                      <a:pt x="869741" y="217918"/>
                    </a:lnTo>
                    <a:lnTo>
                      <a:pt x="866590" y="206618"/>
                    </a:lnTo>
                    <a:lnTo>
                      <a:pt x="861865" y="195317"/>
                    </a:lnTo>
                    <a:lnTo>
                      <a:pt x="857139" y="184823"/>
                    </a:lnTo>
                    <a:lnTo>
                      <a:pt x="853201" y="175137"/>
                    </a:lnTo>
                    <a:lnTo>
                      <a:pt x="848475" y="164643"/>
                    </a:lnTo>
                    <a:lnTo>
                      <a:pt x="842962" y="154149"/>
                    </a:lnTo>
                    <a:lnTo>
                      <a:pt x="849263" y="153342"/>
                    </a:lnTo>
                    <a:lnTo>
                      <a:pt x="856351" y="151728"/>
                    </a:lnTo>
                    <a:lnTo>
                      <a:pt x="862652" y="150921"/>
                    </a:lnTo>
                    <a:lnTo>
                      <a:pt x="869741" y="148499"/>
                    </a:lnTo>
                    <a:lnTo>
                      <a:pt x="876829" y="147692"/>
                    </a:lnTo>
                    <a:lnTo>
                      <a:pt x="883130" y="146884"/>
                    </a:lnTo>
                    <a:lnTo>
                      <a:pt x="889430" y="145270"/>
                    </a:lnTo>
                    <a:close/>
                    <a:moveTo>
                      <a:pt x="279781" y="144463"/>
                    </a:moveTo>
                    <a:lnTo>
                      <a:pt x="286180" y="145270"/>
                    </a:lnTo>
                    <a:lnTo>
                      <a:pt x="292580" y="146884"/>
                    </a:lnTo>
                    <a:lnTo>
                      <a:pt x="298979" y="147692"/>
                    </a:lnTo>
                    <a:lnTo>
                      <a:pt x="305378" y="148499"/>
                    </a:lnTo>
                    <a:lnTo>
                      <a:pt x="312578" y="150921"/>
                    </a:lnTo>
                    <a:lnTo>
                      <a:pt x="318977" y="151728"/>
                    </a:lnTo>
                    <a:lnTo>
                      <a:pt x="326976" y="153342"/>
                    </a:lnTo>
                    <a:lnTo>
                      <a:pt x="333375" y="154149"/>
                    </a:lnTo>
                    <a:lnTo>
                      <a:pt x="327776" y="164643"/>
                    </a:lnTo>
                    <a:lnTo>
                      <a:pt x="322976" y="175137"/>
                    </a:lnTo>
                    <a:lnTo>
                      <a:pt x="318177" y="184823"/>
                    </a:lnTo>
                    <a:lnTo>
                      <a:pt x="313377" y="195317"/>
                    </a:lnTo>
                    <a:lnTo>
                      <a:pt x="309378" y="206618"/>
                    </a:lnTo>
                    <a:lnTo>
                      <a:pt x="305378" y="217918"/>
                    </a:lnTo>
                    <a:lnTo>
                      <a:pt x="301379" y="228412"/>
                    </a:lnTo>
                    <a:lnTo>
                      <a:pt x="298179" y="239713"/>
                    </a:lnTo>
                    <a:lnTo>
                      <a:pt x="290180" y="238906"/>
                    </a:lnTo>
                    <a:lnTo>
                      <a:pt x="280581" y="238098"/>
                    </a:lnTo>
                    <a:lnTo>
                      <a:pt x="272582" y="237291"/>
                    </a:lnTo>
                    <a:lnTo>
                      <a:pt x="263783" y="236484"/>
                    </a:lnTo>
                    <a:lnTo>
                      <a:pt x="254984" y="234870"/>
                    </a:lnTo>
                    <a:lnTo>
                      <a:pt x="246185" y="234062"/>
                    </a:lnTo>
                    <a:lnTo>
                      <a:pt x="238186" y="233255"/>
                    </a:lnTo>
                    <a:lnTo>
                      <a:pt x="230187" y="232448"/>
                    </a:lnTo>
                    <a:lnTo>
                      <a:pt x="234186" y="220340"/>
                    </a:lnTo>
                    <a:lnTo>
                      <a:pt x="239786" y="209039"/>
                    </a:lnTo>
                    <a:lnTo>
                      <a:pt x="245385" y="197738"/>
                    </a:lnTo>
                    <a:lnTo>
                      <a:pt x="251784" y="187245"/>
                    </a:lnTo>
                    <a:lnTo>
                      <a:pt x="258184" y="175944"/>
                    </a:lnTo>
                    <a:lnTo>
                      <a:pt x="264583" y="164643"/>
                    </a:lnTo>
                    <a:lnTo>
                      <a:pt x="272582" y="154149"/>
                    </a:lnTo>
                    <a:close/>
                    <a:moveTo>
                      <a:pt x="674687" y="15875"/>
                    </a:moveTo>
                    <a:lnTo>
                      <a:pt x="686594" y="21464"/>
                    </a:lnTo>
                    <a:lnTo>
                      <a:pt x="698500" y="27852"/>
                    </a:lnTo>
                    <a:lnTo>
                      <a:pt x="710406" y="34240"/>
                    </a:lnTo>
                    <a:lnTo>
                      <a:pt x="722312" y="41427"/>
                    </a:lnTo>
                    <a:lnTo>
                      <a:pt x="733425" y="50211"/>
                    </a:lnTo>
                    <a:lnTo>
                      <a:pt x="743744" y="58196"/>
                    </a:lnTo>
                    <a:lnTo>
                      <a:pt x="754856" y="68576"/>
                    </a:lnTo>
                    <a:lnTo>
                      <a:pt x="765969" y="78957"/>
                    </a:lnTo>
                    <a:lnTo>
                      <a:pt x="773113" y="86143"/>
                    </a:lnTo>
                    <a:lnTo>
                      <a:pt x="779463" y="93330"/>
                    </a:lnTo>
                    <a:lnTo>
                      <a:pt x="785813" y="100516"/>
                    </a:lnTo>
                    <a:lnTo>
                      <a:pt x="792163" y="109300"/>
                    </a:lnTo>
                    <a:lnTo>
                      <a:pt x="799306" y="117285"/>
                    </a:lnTo>
                    <a:lnTo>
                      <a:pt x="805656" y="125270"/>
                    </a:lnTo>
                    <a:lnTo>
                      <a:pt x="811213" y="134053"/>
                    </a:lnTo>
                    <a:lnTo>
                      <a:pt x="815975" y="142038"/>
                    </a:lnTo>
                    <a:lnTo>
                      <a:pt x="808831" y="142837"/>
                    </a:lnTo>
                    <a:lnTo>
                      <a:pt x="802481" y="143635"/>
                    </a:lnTo>
                    <a:lnTo>
                      <a:pt x="795338" y="144434"/>
                    </a:lnTo>
                    <a:lnTo>
                      <a:pt x="788194" y="146031"/>
                    </a:lnTo>
                    <a:lnTo>
                      <a:pt x="781844" y="146829"/>
                    </a:lnTo>
                    <a:lnTo>
                      <a:pt x="773906" y="147628"/>
                    </a:lnTo>
                    <a:lnTo>
                      <a:pt x="766763" y="148426"/>
                    </a:lnTo>
                    <a:lnTo>
                      <a:pt x="759619" y="149225"/>
                    </a:lnTo>
                    <a:lnTo>
                      <a:pt x="752475" y="130859"/>
                    </a:lnTo>
                    <a:lnTo>
                      <a:pt x="744537" y="113292"/>
                    </a:lnTo>
                    <a:lnTo>
                      <a:pt x="736600" y="97322"/>
                    </a:lnTo>
                    <a:lnTo>
                      <a:pt x="727869" y="81352"/>
                    </a:lnTo>
                    <a:lnTo>
                      <a:pt x="718344" y="66979"/>
                    </a:lnTo>
                    <a:lnTo>
                      <a:pt x="708025" y="52606"/>
                    </a:lnTo>
                    <a:lnTo>
                      <a:pt x="698500" y="40628"/>
                    </a:lnTo>
                    <a:lnTo>
                      <a:pt x="688181" y="28651"/>
                    </a:lnTo>
                    <a:lnTo>
                      <a:pt x="684212" y="25457"/>
                    </a:lnTo>
                    <a:lnTo>
                      <a:pt x="681831" y="22263"/>
                    </a:lnTo>
                    <a:lnTo>
                      <a:pt x="677862" y="19069"/>
                    </a:lnTo>
                    <a:close/>
                    <a:moveTo>
                      <a:pt x="504825" y="15875"/>
                    </a:moveTo>
                    <a:lnTo>
                      <a:pt x="492125" y="27852"/>
                    </a:lnTo>
                    <a:lnTo>
                      <a:pt x="479425" y="40628"/>
                    </a:lnTo>
                    <a:lnTo>
                      <a:pt x="467519" y="55800"/>
                    </a:lnTo>
                    <a:lnTo>
                      <a:pt x="456406" y="70972"/>
                    </a:lnTo>
                    <a:lnTo>
                      <a:pt x="445294" y="89337"/>
                    </a:lnTo>
                    <a:lnTo>
                      <a:pt x="435769" y="107703"/>
                    </a:lnTo>
                    <a:lnTo>
                      <a:pt x="426244" y="128464"/>
                    </a:lnTo>
                    <a:lnTo>
                      <a:pt x="418306" y="149225"/>
                    </a:lnTo>
                    <a:lnTo>
                      <a:pt x="411162" y="148426"/>
                    </a:lnTo>
                    <a:lnTo>
                      <a:pt x="403225" y="147628"/>
                    </a:lnTo>
                    <a:lnTo>
                      <a:pt x="396081" y="146829"/>
                    </a:lnTo>
                    <a:lnTo>
                      <a:pt x="389731" y="146031"/>
                    </a:lnTo>
                    <a:lnTo>
                      <a:pt x="382587" y="144434"/>
                    </a:lnTo>
                    <a:lnTo>
                      <a:pt x="375443" y="143635"/>
                    </a:lnTo>
                    <a:lnTo>
                      <a:pt x="367506" y="142837"/>
                    </a:lnTo>
                    <a:lnTo>
                      <a:pt x="360362" y="142038"/>
                    </a:lnTo>
                    <a:lnTo>
                      <a:pt x="365918" y="134053"/>
                    </a:lnTo>
                    <a:lnTo>
                      <a:pt x="371475" y="125270"/>
                    </a:lnTo>
                    <a:lnTo>
                      <a:pt x="377825" y="117285"/>
                    </a:lnTo>
                    <a:lnTo>
                      <a:pt x="384175" y="109300"/>
                    </a:lnTo>
                    <a:lnTo>
                      <a:pt x="390525" y="100516"/>
                    </a:lnTo>
                    <a:lnTo>
                      <a:pt x="396875" y="93330"/>
                    </a:lnTo>
                    <a:lnTo>
                      <a:pt x="403225" y="86143"/>
                    </a:lnTo>
                    <a:lnTo>
                      <a:pt x="411162" y="78957"/>
                    </a:lnTo>
                    <a:lnTo>
                      <a:pt x="421481" y="68576"/>
                    </a:lnTo>
                    <a:lnTo>
                      <a:pt x="432594" y="58196"/>
                    </a:lnTo>
                    <a:lnTo>
                      <a:pt x="443706" y="50211"/>
                    </a:lnTo>
                    <a:lnTo>
                      <a:pt x="455612" y="41427"/>
                    </a:lnTo>
                    <a:lnTo>
                      <a:pt x="467519" y="33442"/>
                    </a:lnTo>
                    <a:lnTo>
                      <a:pt x="480219" y="27054"/>
                    </a:lnTo>
                    <a:lnTo>
                      <a:pt x="492125" y="21464"/>
                    </a:lnTo>
                    <a:close/>
                    <a:moveTo>
                      <a:pt x="944898" y="9525"/>
                    </a:moveTo>
                    <a:lnTo>
                      <a:pt x="963214" y="9525"/>
                    </a:lnTo>
                    <a:lnTo>
                      <a:pt x="979938" y="10321"/>
                    </a:lnTo>
                    <a:lnTo>
                      <a:pt x="995069" y="12708"/>
                    </a:lnTo>
                    <a:lnTo>
                      <a:pt x="1010200" y="15095"/>
                    </a:lnTo>
                    <a:lnTo>
                      <a:pt x="1022942" y="19870"/>
                    </a:lnTo>
                    <a:lnTo>
                      <a:pt x="1034887" y="24645"/>
                    </a:lnTo>
                    <a:lnTo>
                      <a:pt x="1046036" y="31011"/>
                    </a:lnTo>
                    <a:lnTo>
                      <a:pt x="1055593" y="37378"/>
                    </a:lnTo>
                    <a:lnTo>
                      <a:pt x="1064353" y="45336"/>
                    </a:lnTo>
                    <a:lnTo>
                      <a:pt x="1071520" y="54885"/>
                    </a:lnTo>
                    <a:lnTo>
                      <a:pt x="1077095" y="64435"/>
                    </a:lnTo>
                    <a:lnTo>
                      <a:pt x="1083466" y="87512"/>
                    </a:lnTo>
                    <a:lnTo>
                      <a:pt x="1084262" y="113774"/>
                    </a:lnTo>
                    <a:lnTo>
                      <a:pt x="1078688" y="143218"/>
                    </a:lnTo>
                    <a:lnTo>
                      <a:pt x="1067538" y="175845"/>
                    </a:lnTo>
                    <a:lnTo>
                      <a:pt x="1050018" y="208473"/>
                    </a:lnTo>
                    <a:lnTo>
                      <a:pt x="1028516" y="244283"/>
                    </a:lnTo>
                    <a:lnTo>
                      <a:pt x="1001440" y="280890"/>
                    </a:lnTo>
                    <a:lnTo>
                      <a:pt x="969585" y="319088"/>
                    </a:lnTo>
                    <a:lnTo>
                      <a:pt x="967992" y="307151"/>
                    </a:lnTo>
                    <a:lnTo>
                      <a:pt x="965603" y="295214"/>
                    </a:lnTo>
                    <a:lnTo>
                      <a:pt x="963214" y="284869"/>
                    </a:lnTo>
                    <a:lnTo>
                      <a:pt x="960029" y="272932"/>
                    </a:lnTo>
                    <a:lnTo>
                      <a:pt x="980734" y="243488"/>
                    </a:lnTo>
                    <a:lnTo>
                      <a:pt x="998254" y="214839"/>
                    </a:lnTo>
                    <a:lnTo>
                      <a:pt x="1010996" y="188578"/>
                    </a:lnTo>
                    <a:lnTo>
                      <a:pt x="1021349" y="162317"/>
                    </a:lnTo>
                    <a:lnTo>
                      <a:pt x="1027720" y="137647"/>
                    </a:lnTo>
                    <a:lnTo>
                      <a:pt x="1029313" y="115365"/>
                    </a:lnTo>
                    <a:lnTo>
                      <a:pt x="1027720" y="94675"/>
                    </a:lnTo>
                    <a:lnTo>
                      <a:pt x="1021349" y="75576"/>
                    </a:lnTo>
                    <a:lnTo>
                      <a:pt x="1016571" y="66822"/>
                    </a:lnTo>
                    <a:lnTo>
                      <a:pt x="1010996" y="58864"/>
                    </a:lnTo>
                    <a:lnTo>
                      <a:pt x="1004625" y="51702"/>
                    </a:lnTo>
                    <a:lnTo>
                      <a:pt x="995865" y="45336"/>
                    </a:lnTo>
                    <a:lnTo>
                      <a:pt x="987902" y="38969"/>
                    </a:lnTo>
                    <a:lnTo>
                      <a:pt x="978345" y="34194"/>
                    </a:lnTo>
                    <a:lnTo>
                      <a:pt x="968789" y="30215"/>
                    </a:lnTo>
                    <a:lnTo>
                      <a:pt x="957639" y="26237"/>
                    </a:lnTo>
                    <a:lnTo>
                      <a:pt x="945694" y="23053"/>
                    </a:lnTo>
                    <a:lnTo>
                      <a:pt x="932952" y="21462"/>
                    </a:lnTo>
                    <a:lnTo>
                      <a:pt x="920210" y="19870"/>
                    </a:lnTo>
                    <a:lnTo>
                      <a:pt x="905079" y="19870"/>
                    </a:lnTo>
                    <a:lnTo>
                      <a:pt x="890744" y="19870"/>
                    </a:lnTo>
                    <a:lnTo>
                      <a:pt x="874817" y="19870"/>
                    </a:lnTo>
                    <a:lnTo>
                      <a:pt x="859686" y="21462"/>
                    </a:lnTo>
                    <a:lnTo>
                      <a:pt x="842962" y="23053"/>
                    </a:lnTo>
                    <a:lnTo>
                      <a:pt x="865261" y="19074"/>
                    </a:lnTo>
                    <a:lnTo>
                      <a:pt x="885966" y="15095"/>
                    </a:lnTo>
                    <a:lnTo>
                      <a:pt x="907468" y="12708"/>
                    </a:lnTo>
                    <a:lnTo>
                      <a:pt x="926581" y="10321"/>
                    </a:lnTo>
                    <a:close/>
                    <a:moveTo>
                      <a:pt x="692150" y="4763"/>
                    </a:moveTo>
                    <a:lnTo>
                      <a:pt x="705644" y="9497"/>
                    </a:lnTo>
                    <a:lnTo>
                      <a:pt x="719932" y="14232"/>
                    </a:lnTo>
                    <a:lnTo>
                      <a:pt x="734219" y="19755"/>
                    </a:lnTo>
                    <a:lnTo>
                      <a:pt x="746919" y="25278"/>
                    </a:lnTo>
                    <a:lnTo>
                      <a:pt x="760413" y="31591"/>
                    </a:lnTo>
                    <a:lnTo>
                      <a:pt x="773113" y="37903"/>
                    </a:lnTo>
                    <a:lnTo>
                      <a:pt x="785019" y="45005"/>
                    </a:lnTo>
                    <a:lnTo>
                      <a:pt x="797719" y="52895"/>
                    </a:lnTo>
                    <a:lnTo>
                      <a:pt x="809626" y="61575"/>
                    </a:lnTo>
                    <a:lnTo>
                      <a:pt x="821532" y="69465"/>
                    </a:lnTo>
                    <a:lnTo>
                      <a:pt x="832644" y="78934"/>
                    </a:lnTo>
                    <a:lnTo>
                      <a:pt x="843757" y="87613"/>
                    </a:lnTo>
                    <a:lnTo>
                      <a:pt x="854869" y="97871"/>
                    </a:lnTo>
                    <a:lnTo>
                      <a:pt x="865188" y="108129"/>
                    </a:lnTo>
                    <a:lnTo>
                      <a:pt x="874713" y="117597"/>
                    </a:lnTo>
                    <a:lnTo>
                      <a:pt x="884238" y="128644"/>
                    </a:lnTo>
                    <a:lnTo>
                      <a:pt x="877888" y="129433"/>
                    </a:lnTo>
                    <a:lnTo>
                      <a:pt x="871538" y="131011"/>
                    </a:lnTo>
                    <a:lnTo>
                      <a:pt x="865982" y="132590"/>
                    </a:lnTo>
                    <a:lnTo>
                      <a:pt x="859632" y="133379"/>
                    </a:lnTo>
                    <a:lnTo>
                      <a:pt x="853282" y="134957"/>
                    </a:lnTo>
                    <a:lnTo>
                      <a:pt x="846138" y="135746"/>
                    </a:lnTo>
                    <a:lnTo>
                      <a:pt x="839788" y="136535"/>
                    </a:lnTo>
                    <a:lnTo>
                      <a:pt x="833438" y="138113"/>
                    </a:lnTo>
                    <a:lnTo>
                      <a:pt x="827088" y="127855"/>
                    </a:lnTo>
                    <a:lnTo>
                      <a:pt x="821532" y="118387"/>
                    </a:lnTo>
                    <a:lnTo>
                      <a:pt x="815182" y="108918"/>
                    </a:lnTo>
                    <a:lnTo>
                      <a:pt x="808038" y="99449"/>
                    </a:lnTo>
                    <a:lnTo>
                      <a:pt x="800894" y="90770"/>
                    </a:lnTo>
                    <a:lnTo>
                      <a:pt x="793751" y="82090"/>
                    </a:lnTo>
                    <a:lnTo>
                      <a:pt x="785813" y="74200"/>
                    </a:lnTo>
                    <a:lnTo>
                      <a:pt x="777875" y="66309"/>
                    </a:lnTo>
                    <a:lnTo>
                      <a:pt x="767557" y="56051"/>
                    </a:lnTo>
                    <a:lnTo>
                      <a:pt x="758032" y="48161"/>
                    </a:lnTo>
                    <a:lnTo>
                      <a:pt x="746919" y="38692"/>
                    </a:lnTo>
                    <a:lnTo>
                      <a:pt x="736600" y="31591"/>
                    </a:lnTo>
                    <a:lnTo>
                      <a:pt x="725488" y="24489"/>
                    </a:lnTo>
                    <a:lnTo>
                      <a:pt x="714375" y="16599"/>
                    </a:lnTo>
                    <a:lnTo>
                      <a:pt x="702469" y="10286"/>
                    </a:lnTo>
                    <a:close/>
                    <a:moveTo>
                      <a:pt x="619125" y="4763"/>
                    </a:moveTo>
                    <a:lnTo>
                      <a:pt x="626362" y="7921"/>
                    </a:lnTo>
                    <a:lnTo>
                      <a:pt x="633598" y="10290"/>
                    </a:lnTo>
                    <a:lnTo>
                      <a:pt x="640835" y="14238"/>
                    </a:lnTo>
                    <a:lnTo>
                      <a:pt x="647267" y="18976"/>
                    </a:lnTo>
                    <a:lnTo>
                      <a:pt x="655308" y="22924"/>
                    </a:lnTo>
                    <a:lnTo>
                      <a:pt x="661740" y="28451"/>
                    </a:lnTo>
                    <a:lnTo>
                      <a:pt x="668977" y="34768"/>
                    </a:lnTo>
                    <a:lnTo>
                      <a:pt x="675409" y="41084"/>
                    </a:lnTo>
                    <a:lnTo>
                      <a:pt x="685862" y="51349"/>
                    </a:lnTo>
                    <a:lnTo>
                      <a:pt x="694707" y="63193"/>
                    </a:lnTo>
                    <a:lnTo>
                      <a:pt x="704355" y="75827"/>
                    </a:lnTo>
                    <a:lnTo>
                      <a:pt x="713200" y="88460"/>
                    </a:lnTo>
                    <a:lnTo>
                      <a:pt x="720437" y="103462"/>
                    </a:lnTo>
                    <a:lnTo>
                      <a:pt x="729281" y="118465"/>
                    </a:lnTo>
                    <a:lnTo>
                      <a:pt x="736518" y="134257"/>
                    </a:lnTo>
                    <a:lnTo>
                      <a:pt x="742950" y="150049"/>
                    </a:lnTo>
                    <a:lnTo>
                      <a:pt x="732497" y="151628"/>
                    </a:lnTo>
                    <a:lnTo>
                      <a:pt x="723653" y="151628"/>
                    </a:lnTo>
                    <a:lnTo>
                      <a:pt x="713200" y="152417"/>
                    </a:lnTo>
                    <a:lnTo>
                      <a:pt x="702747" y="153207"/>
                    </a:lnTo>
                    <a:lnTo>
                      <a:pt x="693099" y="153997"/>
                    </a:lnTo>
                    <a:lnTo>
                      <a:pt x="681842" y="153997"/>
                    </a:lnTo>
                    <a:lnTo>
                      <a:pt x="671389" y="154786"/>
                    </a:lnTo>
                    <a:lnTo>
                      <a:pt x="661740" y="155576"/>
                    </a:lnTo>
                    <a:lnTo>
                      <a:pt x="657720" y="130309"/>
                    </a:lnTo>
                    <a:lnTo>
                      <a:pt x="652896" y="106621"/>
                    </a:lnTo>
                    <a:lnTo>
                      <a:pt x="648071" y="85302"/>
                    </a:lnTo>
                    <a:lnTo>
                      <a:pt x="643247" y="64772"/>
                    </a:lnTo>
                    <a:lnTo>
                      <a:pt x="637619" y="46612"/>
                    </a:lnTo>
                    <a:lnTo>
                      <a:pt x="631990" y="30820"/>
                    </a:lnTo>
                    <a:lnTo>
                      <a:pt x="625558" y="16607"/>
                    </a:lnTo>
                    <a:close/>
                    <a:moveTo>
                      <a:pt x="558800" y="4763"/>
                    </a:moveTo>
                    <a:lnTo>
                      <a:pt x="551565" y="16607"/>
                    </a:lnTo>
                    <a:lnTo>
                      <a:pt x="545133" y="31609"/>
                    </a:lnTo>
                    <a:lnTo>
                      <a:pt x="539506" y="47401"/>
                    </a:lnTo>
                    <a:lnTo>
                      <a:pt x="533878" y="65562"/>
                    </a:lnTo>
                    <a:lnTo>
                      <a:pt x="528251" y="86091"/>
                    </a:lnTo>
                    <a:lnTo>
                      <a:pt x="523427" y="107410"/>
                    </a:lnTo>
                    <a:lnTo>
                      <a:pt x="519408" y="131098"/>
                    </a:lnTo>
                    <a:lnTo>
                      <a:pt x="515388" y="155576"/>
                    </a:lnTo>
                    <a:lnTo>
                      <a:pt x="504937" y="154786"/>
                    </a:lnTo>
                    <a:lnTo>
                      <a:pt x="495290" y="153997"/>
                    </a:lnTo>
                    <a:lnTo>
                      <a:pt x="484035" y="153997"/>
                    </a:lnTo>
                    <a:lnTo>
                      <a:pt x="473584" y="153207"/>
                    </a:lnTo>
                    <a:lnTo>
                      <a:pt x="463936" y="152417"/>
                    </a:lnTo>
                    <a:lnTo>
                      <a:pt x="453485" y="151628"/>
                    </a:lnTo>
                    <a:lnTo>
                      <a:pt x="443034" y="151628"/>
                    </a:lnTo>
                    <a:lnTo>
                      <a:pt x="433387" y="150049"/>
                    </a:lnTo>
                    <a:lnTo>
                      <a:pt x="439819" y="134257"/>
                    </a:lnTo>
                    <a:lnTo>
                      <a:pt x="447054" y="118465"/>
                    </a:lnTo>
                    <a:lnTo>
                      <a:pt x="455093" y="103462"/>
                    </a:lnTo>
                    <a:lnTo>
                      <a:pt x="463936" y="88460"/>
                    </a:lnTo>
                    <a:lnTo>
                      <a:pt x="471976" y="75827"/>
                    </a:lnTo>
                    <a:lnTo>
                      <a:pt x="480819" y="63193"/>
                    </a:lnTo>
                    <a:lnTo>
                      <a:pt x="490466" y="51349"/>
                    </a:lnTo>
                    <a:lnTo>
                      <a:pt x="500917" y="41084"/>
                    </a:lnTo>
                    <a:lnTo>
                      <a:pt x="508153" y="34768"/>
                    </a:lnTo>
                    <a:lnTo>
                      <a:pt x="514584" y="28451"/>
                    </a:lnTo>
                    <a:lnTo>
                      <a:pt x="521819" y="22924"/>
                    </a:lnTo>
                    <a:lnTo>
                      <a:pt x="529055" y="18976"/>
                    </a:lnTo>
                    <a:lnTo>
                      <a:pt x="537094" y="14238"/>
                    </a:lnTo>
                    <a:lnTo>
                      <a:pt x="544330" y="10290"/>
                    </a:lnTo>
                    <a:lnTo>
                      <a:pt x="551565" y="7921"/>
                    </a:lnTo>
                    <a:close/>
                    <a:moveTo>
                      <a:pt x="485775" y="4763"/>
                    </a:moveTo>
                    <a:lnTo>
                      <a:pt x="465138" y="15810"/>
                    </a:lnTo>
                    <a:lnTo>
                      <a:pt x="443706" y="27645"/>
                    </a:lnTo>
                    <a:lnTo>
                      <a:pt x="424656" y="42637"/>
                    </a:lnTo>
                    <a:lnTo>
                      <a:pt x="406400" y="58418"/>
                    </a:lnTo>
                    <a:lnTo>
                      <a:pt x="388144" y="75778"/>
                    </a:lnTo>
                    <a:lnTo>
                      <a:pt x="371475" y="94715"/>
                    </a:lnTo>
                    <a:lnTo>
                      <a:pt x="356394" y="116019"/>
                    </a:lnTo>
                    <a:lnTo>
                      <a:pt x="342106" y="138113"/>
                    </a:lnTo>
                    <a:lnTo>
                      <a:pt x="335756" y="136535"/>
                    </a:lnTo>
                    <a:lnTo>
                      <a:pt x="329406" y="135746"/>
                    </a:lnTo>
                    <a:lnTo>
                      <a:pt x="323056" y="134957"/>
                    </a:lnTo>
                    <a:lnTo>
                      <a:pt x="316706" y="133379"/>
                    </a:lnTo>
                    <a:lnTo>
                      <a:pt x="310356" y="132590"/>
                    </a:lnTo>
                    <a:lnTo>
                      <a:pt x="304800" y="131011"/>
                    </a:lnTo>
                    <a:lnTo>
                      <a:pt x="298450" y="129433"/>
                    </a:lnTo>
                    <a:lnTo>
                      <a:pt x="292100" y="128644"/>
                    </a:lnTo>
                    <a:lnTo>
                      <a:pt x="300831" y="117597"/>
                    </a:lnTo>
                    <a:lnTo>
                      <a:pt x="311150" y="106551"/>
                    </a:lnTo>
                    <a:lnTo>
                      <a:pt x="321469" y="97082"/>
                    </a:lnTo>
                    <a:lnTo>
                      <a:pt x="332581" y="87613"/>
                    </a:lnTo>
                    <a:lnTo>
                      <a:pt x="342900" y="78145"/>
                    </a:lnTo>
                    <a:lnTo>
                      <a:pt x="354806" y="68676"/>
                    </a:lnTo>
                    <a:lnTo>
                      <a:pt x="366713" y="60786"/>
                    </a:lnTo>
                    <a:lnTo>
                      <a:pt x="378619" y="52106"/>
                    </a:lnTo>
                    <a:lnTo>
                      <a:pt x="390525" y="45005"/>
                    </a:lnTo>
                    <a:lnTo>
                      <a:pt x="403225" y="37903"/>
                    </a:lnTo>
                    <a:lnTo>
                      <a:pt x="416719" y="31591"/>
                    </a:lnTo>
                    <a:lnTo>
                      <a:pt x="430213" y="25278"/>
                    </a:lnTo>
                    <a:lnTo>
                      <a:pt x="443706" y="19755"/>
                    </a:lnTo>
                    <a:lnTo>
                      <a:pt x="457200" y="14232"/>
                    </a:lnTo>
                    <a:lnTo>
                      <a:pt x="471488" y="9497"/>
                    </a:lnTo>
                    <a:close/>
                    <a:moveTo>
                      <a:pt x="586992" y="0"/>
                    </a:moveTo>
                    <a:lnTo>
                      <a:pt x="588569" y="0"/>
                    </a:lnTo>
                    <a:lnTo>
                      <a:pt x="590933" y="0"/>
                    </a:lnTo>
                    <a:lnTo>
                      <a:pt x="593297" y="790"/>
                    </a:lnTo>
                    <a:lnTo>
                      <a:pt x="596450" y="2369"/>
                    </a:lnTo>
                    <a:lnTo>
                      <a:pt x="598814" y="4738"/>
                    </a:lnTo>
                    <a:lnTo>
                      <a:pt x="605119" y="13426"/>
                    </a:lnTo>
                    <a:lnTo>
                      <a:pt x="611424" y="24483"/>
                    </a:lnTo>
                    <a:lnTo>
                      <a:pt x="616941" y="38698"/>
                    </a:lnTo>
                    <a:lnTo>
                      <a:pt x="623246" y="56073"/>
                    </a:lnTo>
                    <a:lnTo>
                      <a:pt x="628763" y="76607"/>
                    </a:lnTo>
                    <a:lnTo>
                      <a:pt x="634280" y="100300"/>
                    </a:lnTo>
                    <a:lnTo>
                      <a:pt x="639797" y="126362"/>
                    </a:lnTo>
                    <a:lnTo>
                      <a:pt x="644525" y="154794"/>
                    </a:lnTo>
                    <a:lnTo>
                      <a:pt x="636644" y="154794"/>
                    </a:lnTo>
                    <a:lnTo>
                      <a:pt x="630339" y="156373"/>
                    </a:lnTo>
                    <a:lnTo>
                      <a:pt x="623246" y="156373"/>
                    </a:lnTo>
                    <a:lnTo>
                      <a:pt x="616941" y="156373"/>
                    </a:lnTo>
                    <a:lnTo>
                      <a:pt x="609848" y="157163"/>
                    </a:lnTo>
                    <a:lnTo>
                      <a:pt x="603543" y="157163"/>
                    </a:lnTo>
                    <a:lnTo>
                      <a:pt x="596450" y="157163"/>
                    </a:lnTo>
                    <a:lnTo>
                      <a:pt x="588569" y="157163"/>
                    </a:lnTo>
                    <a:lnTo>
                      <a:pt x="581476" y="157163"/>
                    </a:lnTo>
                    <a:lnTo>
                      <a:pt x="574383" y="157163"/>
                    </a:lnTo>
                    <a:lnTo>
                      <a:pt x="568078" y="157163"/>
                    </a:lnTo>
                    <a:lnTo>
                      <a:pt x="560984" y="156373"/>
                    </a:lnTo>
                    <a:lnTo>
                      <a:pt x="554680" y="156373"/>
                    </a:lnTo>
                    <a:lnTo>
                      <a:pt x="546798" y="156373"/>
                    </a:lnTo>
                    <a:lnTo>
                      <a:pt x="540493" y="154794"/>
                    </a:lnTo>
                    <a:lnTo>
                      <a:pt x="533400" y="154794"/>
                    </a:lnTo>
                    <a:lnTo>
                      <a:pt x="538129" y="126362"/>
                    </a:lnTo>
                    <a:lnTo>
                      <a:pt x="543646" y="100300"/>
                    </a:lnTo>
                    <a:lnTo>
                      <a:pt x="549163" y="76607"/>
                    </a:lnTo>
                    <a:lnTo>
                      <a:pt x="554680" y="56073"/>
                    </a:lnTo>
                    <a:lnTo>
                      <a:pt x="560984" y="38698"/>
                    </a:lnTo>
                    <a:lnTo>
                      <a:pt x="566501" y="24483"/>
                    </a:lnTo>
                    <a:lnTo>
                      <a:pt x="572806" y="13426"/>
                    </a:lnTo>
                    <a:lnTo>
                      <a:pt x="579111" y="4738"/>
                    </a:lnTo>
                    <a:lnTo>
                      <a:pt x="581476" y="2369"/>
                    </a:lnTo>
                    <a:lnTo>
                      <a:pt x="584628" y="790"/>
                    </a:lnTo>
                    <a:close/>
                  </a:path>
                </a:pathLst>
              </a:custGeom>
              <a:grpFill/>
              <a:ln>
                <a:noFill/>
              </a:ln>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dirty="0"/>
              </a:p>
            </p:txBody>
          </p:sp>
        </p:grpSp>
        <p:sp>
          <p:nvSpPr>
            <p:cNvPr id="161" name="Freeform 81"/>
            <p:cNvSpPr>
              <a:spLocks noEditPoints="1"/>
            </p:cNvSpPr>
            <p:nvPr/>
          </p:nvSpPr>
          <p:spPr bwMode="black">
            <a:xfrm flipH="1">
              <a:off x="3322705" y="3119598"/>
              <a:ext cx="431850" cy="263614"/>
            </a:xfrm>
            <a:custGeom>
              <a:avLst/>
              <a:gdLst>
                <a:gd name="T0" fmla="*/ 1588 w 3451"/>
                <a:gd name="T1" fmla="*/ 2110 h 2110"/>
                <a:gd name="T2" fmla="*/ 2100 w 3451"/>
                <a:gd name="T3" fmla="*/ 1951 h 2110"/>
                <a:gd name="T4" fmla="*/ 1141 w 3451"/>
                <a:gd name="T5" fmla="*/ 1911 h 2110"/>
                <a:gd name="T6" fmla="*/ 1215 w 3451"/>
                <a:gd name="T7" fmla="*/ 1929 h 2110"/>
                <a:gd name="T8" fmla="*/ 1799 w 3451"/>
                <a:gd name="T9" fmla="*/ 2021 h 2110"/>
                <a:gd name="T10" fmla="*/ 2036 w 3451"/>
                <a:gd name="T11" fmla="*/ 1911 h 2110"/>
                <a:gd name="T12" fmla="*/ 1121 w 3451"/>
                <a:gd name="T13" fmla="*/ 1193 h 2110"/>
                <a:gd name="T14" fmla="*/ 1992 w 3451"/>
                <a:gd name="T15" fmla="*/ 1211 h 2110"/>
                <a:gd name="T16" fmla="*/ 2497 w 3451"/>
                <a:gd name="T17" fmla="*/ 803 h 2110"/>
                <a:gd name="T18" fmla="*/ 975 w 3451"/>
                <a:gd name="T19" fmla="*/ 240 h 2110"/>
                <a:gd name="T20" fmla="*/ 1616 w 3451"/>
                <a:gd name="T21" fmla="*/ 736 h 2110"/>
                <a:gd name="T22" fmla="*/ 2006 w 3451"/>
                <a:gd name="T23" fmla="*/ 508 h 2110"/>
                <a:gd name="T24" fmla="*/ 1990 w 3451"/>
                <a:gd name="T25" fmla="*/ 320 h 2110"/>
                <a:gd name="T26" fmla="*/ 2004 w 3451"/>
                <a:gd name="T27" fmla="*/ 426 h 2110"/>
                <a:gd name="T28" fmla="*/ 2038 w 3451"/>
                <a:gd name="T29" fmla="*/ 1120 h 2110"/>
                <a:gd name="T30" fmla="*/ 2304 w 3451"/>
                <a:gd name="T31" fmla="*/ 985 h 2110"/>
                <a:gd name="T32" fmla="*/ 2225 w 3451"/>
                <a:gd name="T33" fmla="*/ 465 h 2110"/>
                <a:gd name="T34" fmla="*/ 2219 w 3451"/>
                <a:gd name="T35" fmla="*/ 477 h 2110"/>
                <a:gd name="T36" fmla="*/ 1844 w 3451"/>
                <a:gd name="T37" fmla="*/ 192 h 2110"/>
                <a:gd name="T38" fmla="*/ 1818 w 3451"/>
                <a:gd name="T39" fmla="*/ 109 h 2110"/>
                <a:gd name="T40" fmla="*/ 1133 w 3451"/>
                <a:gd name="T41" fmla="*/ 1121 h 2110"/>
                <a:gd name="T42" fmla="*/ 1171 w 3451"/>
                <a:gd name="T43" fmla="*/ 951 h 2110"/>
                <a:gd name="T44" fmla="*/ 1115 w 3451"/>
                <a:gd name="T45" fmla="*/ 350 h 2110"/>
                <a:gd name="T46" fmla="*/ 1155 w 3451"/>
                <a:gd name="T47" fmla="*/ 517 h 2110"/>
                <a:gd name="T48" fmla="*/ 1265 w 3451"/>
                <a:gd name="T49" fmla="*/ 843 h 2110"/>
                <a:gd name="T50" fmla="*/ 1555 w 3451"/>
                <a:gd name="T51" fmla="*/ 284 h 2110"/>
                <a:gd name="T52" fmla="*/ 1353 w 3451"/>
                <a:gd name="T53" fmla="*/ 109 h 2110"/>
                <a:gd name="T54" fmla="*/ 1221 w 3451"/>
                <a:gd name="T55" fmla="*/ 201 h 2110"/>
                <a:gd name="T56" fmla="*/ 923 w 3451"/>
                <a:gd name="T57" fmla="*/ 379 h 2110"/>
                <a:gd name="T58" fmla="*/ 945 w 3451"/>
                <a:gd name="T59" fmla="*/ 466 h 2110"/>
                <a:gd name="T60" fmla="*/ 447 w 3451"/>
                <a:gd name="T61" fmla="*/ 993 h 2110"/>
                <a:gd name="T62" fmla="*/ 2737 w 3451"/>
                <a:gd name="T63" fmla="*/ 1157 h 2110"/>
                <a:gd name="T64" fmla="*/ 1748 w 3451"/>
                <a:gd name="T65" fmla="*/ 1552 h 2110"/>
                <a:gd name="T66" fmla="*/ 2015 w 3451"/>
                <a:gd name="T67" fmla="*/ 1319 h 2110"/>
                <a:gd name="T68" fmla="*/ 581 w 3451"/>
                <a:gd name="T69" fmla="*/ 1265 h 2110"/>
                <a:gd name="T70" fmla="*/ 1557 w 3451"/>
                <a:gd name="T71" fmla="*/ 1799 h 2110"/>
                <a:gd name="T72" fmla="*/ 2476 w 3451"/>
                <a:gd name="T73" fmla="*/ 1476 h 2110"/>
                <a:gd name="T74" fmla="*/ 123 w 3451"/>
                <a:gd name="T75" fmla="*/ 1195 h 2110"/>
                <a:gd name="T76" fmla="*/ 231 w 3451"/>
                <a:gd name="T77" fmla="*/ 956 h 2110"/>
                <a:gd name="T78" fmla="*/ 530 w 3451"/>
                <a:gd name="T79" fmla="*/ 1074 h 2110"/>
                <a:gd name="T80" fmla="*/ 658 w 3451"/>
                <a:gd name="T81" fmla="*/ 1255 h 2110"/>
                <a:gd name="T82" fmla="*/ 628 w 3451"/>
                <a:gd name="T83" fmla="*/ 1016 h 2110"/>
                <a:gd name="T84" fmla="*/ 724 w 3451"/>
                <a:gd name="T85" fmla="*/ 1343 h 2110"/>
                <a:gd name="T86" fmla="*/ 824 w 3451"/>
                <a:gd name="T87" fmla="*/ 1434 h 2110"/>
                <a:gd name="T88" fmla="*/ 767 w 3451"/>
                <a:gd name="T89" fmla="*/ 1212 h 2110"/>
                <a:gd name="T90" fmla="*/ 927 w 3451"/>
                <a:gd name="T91" fmla="*/ 1501 h 2110"/>
                <a:gd name="T92" fmla="*/ 988 w 3451"/>
                <a:gd name="T93" fmla="*/ 1427 h 2110"/>
                <a:gd name="T94" fmla="*/ 1270 w 3451"/>
                <a:gd name="T95" fmla="*/ 1671 h 2110"/>
                <a:gd name="T96" fmla="*/ 1264 w 3451"/>
                <a:gd name="T97" fmla="*/ 1444 h 2110"/>
                <a:gd name="T98" fmla="*/ 1501 w 3451"/>
                <a:gd name="T99" fmla="*/ 1703 h 2110"/>
                <a:gd name="T100" fmla="*/ 1695 w 3451"/>
                <a:gd name="T101" fmla="*/ 1440 h 2110"/>
                <a:gd name="T102" fmla="*/ 2020 w 3451"/>
                <a:gd name="T103" fmla="*/ 1654 h 2110"/>
                <a:gd name="T104" fmla="*/ 1901 w 3451"/>
                <a:gd name="T105" fmla="*/ 1457 h 2110"/>
                <a:gd name="T106" fmla="*/ 2053 w 3451"/>
                <a:gd name="T107" fmla="*/ 1600 h 2110"/>
                <a:gd name="T108" fmla="*/ 2208 w 3451"/>
                <a:gd name="T109" fmla="*/ 1543 h 2110"/>
                <a:gd name="T110" fmla="*/ 2294 w 3451"/>
                <a:gd name="T111" fmla="*/ 1280 h 2110"/>
                <a:gd name="T112" fmla="*/ 2386 w 3451"/>
                <a:gd name="T113" fmla="*/ 1486 h 2110"/>
                <a:gd name="T114" fmla="*/ 2473 w 3451"/>
                <a:gd name="T115" fmla="*/ 1155 h 2110"/>
                <a:gd name="T116" fmla="*/ 2654 w 3451"/>
                <a:gd name="T117" fmla="*/ 1074 h 2110"/>
                <a:gd name="T118" fmla="*/ 2954 w 3451"/>
                <a:gd name="T119" fmla="*/ 1154 h 2110"/>
                <a:gd name="T120" fmla="*/ 3062 w 3451"/>
                <a:gd name="T121" fmla="*/ 1154 h 2110"/>
                <a:gd name="T122" fmla="*/ 1038 w 3451"/>
                <a:gd name="T123" fmla="*/ 1498 h 2110"/>
                <a:gd name="T124" fmla="*/ 2472 w 3451"/>
                <a:gd name="T125" fmla="*/ 1231 h 2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451" h="2110">
                  <a:moveTo>
                    <a:pt x="1585" y="1902"/>
                  </a:moveTo>
                  <a:cubicBezTo>
                    <a:pt x="1383" y="1902"/>
                    <a:pt x="1184" y="1867"/>
                    <a:pt x="1012" y="1802"/>
                  </a:cubicBezTo>
                  <a:cubicBezTo>
                    <a:pt x="945" y="1776"/>
                    <a:pt x="884" y="1747"/>
                    <a:pt x="828" y="1714"/>
                  </a:cubicBezTo>
                  <a:cubicBezTo>
                    <a:pt x="896" y="1807"/>
                    <a:pt x="980" y="1887"/>
                    <a:pt x="1077" y="1951"/>
                  </a:cubicBezTo>
                  <a:cubicBezTo>
                    <a:pt x="1119" y="1979"/>
                    <a:pt x="1165" y="2004"/>
                    <a:pt x="1212" y="2026"/>
                  </a:cubicBezTo>
                  <a:cubicBezTo>
                    <a:pt x="1264" y="2049"/>
                    <a:pt x="1318" y="2068"/>
                    <a:pt x="1375" y="2082"/>
                  </a:cubicBezTo>
                  <a:cubicBezTo>
                    <a:pt x="1443" y="2099"/>
                    <a:pt x="1515" y="2108"/>
                    <a:pt x="1588" y="2110"/>
                  </a:cubicBezTo>
                  <a:cubicBezTo>
                    <a:pt x="1588" y="2110"/>
                    <a:pt x="1588" y="2110"/>
                    <a:pt x="1588" y="2110"/>
                  </a:cubicBezTo>
                  <a:cubicBezTo>
                    <a:pt x="1588" y="2110"/>
                    <a:pt x="1588" y="2110"/>
                    <a:pt x="1588" y="2110"/>
                  </a:cubicBezTo>
                  <a:cubicBezTo>
                    <a:pt x="1588" y="2110"/>
                    <a:pt x="1588" y="2110"/>
                    <a:pt x="1588" y="2110"/>
                  </a:cubicBezTo>
                  <a:cubicBezTo>
                    <a:pt x="1588" y="2110"/>
                    <a:pt x="1588" y="2110"/>
                    <a:pt x="1588" y="2110"/>
                  </a:cubicBezTo>
                  <a:cubicBezTo>
                    <a:pt x="1662" y="2108"/>
                    <a:pt x="1733" y="2099"/>
                    <a:pt x="1802" y="2082"/>
                  </a:cubicBezTo>
                  <a:cubicBezTo>
                    <a:pt x="1858" y="2068"/>
                    <a:pt x="1913" y="2049"/>
                    <a:pt x="1965" y="2026"/>
                  </a:cubicBezTo>
                  <a:cubicBezTo>
                    <a:pt x="2012" y="2004"/>
                    <a:pt x="2057" y="1979"/>
                    <a:pt x="2100" y="1951"/>
                  </a:cubicBezTo>
                  <a:cubicBezTo>
                    <a:pt x="2199" y="1886"/>
                    <a:pt x="2285" y="1802"/>
                    <a:pt x="2354" y="1706"/>
                  </a:cubicBezTo>
                  <a:cubicBezTo>
                    <a:pt x="2264" y="1761"/>
                    <a:pt x="2159" y="1806"/>
                    <a:pt x="2045" y="1839"/>
                  </a:cubicBezTo>
                  <a:cubicBezTo>
                    <a:pt x="1899" y="1881"/>
                    <a:pt x="1744" y="1902"/>
                    <a:pt x="1585" y="1902"/>
                  </a:cubicBezTo>
                  <a:close/>
                  <a:moveTo>
                    <a:pt x="1104" y="1897"/>
                  </a:moveTo>
                  <a:cubicBezTo>
                    <a:pt x="1087" y="1886"/>
                    <a:pt x="1071" y="1874"/>
                    <a:pt x="1054" y="1861"/>
                  </a:cubicBezTo>
                  <a:cubicBezTo>
                    <a:pt x="1080" y="1873"/>
                    <a:pt x="1107" y="1883"/>
                    <a:pt x="1134" y="1893"/>
                  </a:cubicBezTo>
                  <a:cubicBezTo>
                    <a:pt x="1136" y="1899"/>
                    <a:pt x="1138" y="1905"/>
                    <a:pt x="1141" y="1911"/>
                  </a:cubicBezTo>
                  <a:cubicBezTo>
                    <a:pt x="1128" y="1907"/>
                    <a:pt x="1116" y="1902"/>
                    <a:pt x="1104" y="1897"/>
                  </a:cubicBezTo>
                  <a:close/>
                  <a:moveTo>
                    <a:pt x="1557" y="2049"/>
                  </a:moveTo>
                  <a:cubicBezTo>
                    <a:pt x="1532" y="2048"/>
                    <a:pt x="1513" y="2045"/>
                    <a:pt x="1488" y="2042"/>
                  </a:cubicBezTo>
                  <a:cubicBezTo>
                    <a:pt x="1451" y="2037"/>
                    <a:pt x="1414" y="2030"/>
                    <a:pt x="1378" y="2021"/>
                  </a:cubicBezTo>
                  <a:cubicBezTo>
                    <a:pt x="1353" y="2014"/>
                    <a:pt x="1328" y="2007"/>
                    <a:pt x="1304" y="1998"/>
                  </a:cubicBezTo>
                  <a:cubicBezTo>
                    <a:pt x="1284" y="1991"/>
                    <a:pt x="1265" y="1983"/>
                    <a:pt x="1247" y="1975"/>
                  </a:cubicBezTo>
                  <a:cubicBezTo>
                    <a:pt x="1235" y="1962"/>
                    <a:pt x="1224" y="1947"/>
                    <a:pt x="1215" y="1929"/>
                  </a:cubicBezTo>
                  <a:cubicBezTo>
                    <a:pt x="1213" y="1925"/>
                    <a:pt x="1211" y="1921"/>
                    <a:pt x="1209" y="1917"/>
                  </a:cubicBezTo>
                  <a:cubicBezTo>
                    <a:pt x="1329" y="1952"/>
                    <a:pt x="1449" y="1971"/>
                    <a:pt x="1557" y="1973"/>
                  </a:cubicBezTo>
                  <a:lnTo>
                    <a:pt x="1557" y="2049"/>
                  </a:lnTo>
                  <a:close/>
                  <a:moveTo>
                    <a:pt x="1962" y="1929"/>
                  </a:moveTo>
                  <a:cubicBezTo>
                    <a:pt x="1952" y="1947"/>
                    <a:pt x="1942" y="1962"/>
                    <a:pt x="1930" y="1975"/>
                  </a:cubicBezTo>
                  <a:cubicBezTo>
                    <a:pt x="1911" y="1983"/>
                    <a:pt x="1892" y="1991"/>
                    <a:pt x="1873" y="1998"/>
                  </a:cubicBezTo>
                  <a:cubicBezTo>
                    <a:pt x="1849" y="2007"/>
                    <a:pt x="1824" y="2014"/>
                    <a:pt x="1799" y="2021"/>
                  </a:cubicBezTo>
                  <a:cubicBezTo>
                    <a:pt x="1763" y="2030"/>
                    <a:pt x="1726" y="2037"/>
                    <a:pt x="1689" y="2042"/>
                  </a:cubicBezTo>
                  <a:cubicBezTo>
                    <a:pt x="1664" y="2045"/>
                    <a:pt x="1645" y="2048"/>
                    <a:pt x="1620" y="2049"/>
                  </a:cubicBezTo>
                  <a:cubicBezTo>
                    <a:pt x="1620" y="1973"/>
                    <a:pt x="1620" y="1973"/>
                    <a:pt x="1620" y="1973"/>
                  </a:cubicBezTo>
                  <a:cubicBezTo>
                    <a:pt x="1728" y="1971"/>
                    <a:pt x="1848" y="1952"/>
                    <a:pt x="1968" y="1917"/>
                  </a:cubicBezTo>
                  <a:cubicBezTo>
                    <a:pt x="1966" y="1921"/>
                    <a:pt x="1964" y="1925"/>
                    <a:pt x="1962" y="1929"/>
                  </a:cubicBezTo>
                  <a:close/>
                  <a:moveTo>
                    <a:pt x="2072" y="1897"/>
                  </a:moveTo>
                  <a:cubicBezTo>
                    <a:pt x="2060" y="1902"/>
                    <a:pt x="2048" y="1907"/>
                    <a:pt x="2036" y="1911"/>
                  </a:cubicBezTo>
                  <a:cubicBezTo>
                    <a:pt x="2038" y="1905"/>
                    <a:pt x="2040" y="1899"/>
                    <a:pt x="2043" y="1893"/>
                  </a:cubicBezTo>
                  <a:cubicBezTo>
                    <a:pt x="2070" y="1883"/>
                    <a:pt x="2097" y="1872"/>
                    <a:pt x="2123" y="1860"/>
                  </a:cubicBezTo>
                  <a:cubicBezTo>
                    <a:pt x="2107" y="1873"/>
                    <a:pt x="2090" y="1886"/>
                    <a:pt x="2072" y="1897"/>
                  </a:cubicBezTo>
                  <a:close/>
                  <a:moveTo>
                    <a:pt x="699" y="879"/>
                  </a:moveTo>
                  <a:cubicBezTo>
                    <a:pt x="783" y="1007"/>
                    <a:pt x="903" y="1100"/>
                    <a:pt x="1046" y="1163"/>
                  </a:cubicBezTo>
                  <a:cubicBezTo>
                    <a:pt x="1070" y="1173"/>
                    <a:pt x="1095" y="1182"/>
                    <a:pt x="1121" y="1191"/>
                  </a:cubicBezTo>
                  <a:cubicBezTo>
                    <a:pt x="1121" y="1191"/>
                    <a:pt x="1121" y="1192"/>
                    <a:pt x="1121" y="1193"/>
                  </a:cubicBezTo>
                  <a:cubicBezTo>
                    <a:pt x="1140" y="1199"/>
                    <a:pt x="1159" y="1205"/>
                    <a:pt x="1178" y="1211"/>
                  </a:cubicBezTo>
                  <a:cubicBezTo>
                    <a:pt x="1178" y="1210"/>
                    <a:pt x="1178" y="1209"/>
                    <a:pt x="1178" y="1208"/>
                  </a:cubicBezTo>
                  <a:cubicBezTo>
                    <a:pt x="1237" y="1225"/>
                    <a:pt x="1296" y="1239"/>
                    <a:pt x="1355" y="1249"/>
                  </a:cubicBezTo>
                  <a:cubicBezTo>
                    <a:pt x="1429" y="1259"/>
                    <a:pt x="1506" y="1264"/>
                    <a:pt x="1585" y="1264"/>
                  </a:cubicBezTo>
                  <a:cubicBezTo>
                    <a:pt x="1663" y="1264"/>
                    <a:pt x="1739" y="1259"/>
                    <a:pt x="1812" y="1249"/>
                  </a:cubicBezTo>
                  <a:cubicBezTo>
                    <a:pt x="1872" y="1239"/>
                    <a:pt x="1932" y="1225"/>
                    <a:pt x="1992" y="1208"/>
                  </a:cubicBezTo>
                  <a:cubicBezTo>
                    <a:pt x="1992" y="1209"/>
                    <a:pt x="1992" y="1210"/>
                    <a:pt x="1992" y="1211"/>
                  </a:cubicBezTo>
                  <a:cubicBezTo>
                    <a:pt x="2012" y="1205"/>
                    <a:pt x="2031" y="1199"/>
                    <a:pt x="2049" y="1193"/>
                  </a:cubicBezTo>
                  <a:cubicBezTo>
                    <a:pt x="2049" y="1192"/>
                    <a:pt x="2049" y="1191"/>
                    <a:pt x="2049" y="1190"/>
                  </a:cubicBezTo>
                  <a:cubicBezTo>
                    <a:pt x="2077" y="1181"/>
                    <a:pt x="2104" y="1171"/>
                    <a:pt x="2130" y="1161"/>
                  </a:cubicBezTo>
                  <a:cubicBezTo>
                    <a:pt x="2267" y="1099"/>
                    <a:pt x="2382" y="1010"/>
                    <a:pt x="2465" y="888"/>
                  </a:cubicBezTo>
                  <a:cubicBezTo>
                    <a:pt x="2466" y="887"/>
                    <a:pt x="2467" y="885"/>
                    <a:pt x="2467" y="883"/>
                  </a:cubicBezTo>
                  <a:cubicBezTo>
                    <a:pt x="2472" y="873"/>
                    <a:pt x="2476" y="863"/>
                    <a:pt x="2480" y="852"/>
                  </a:cubicBezTo>
                  <a:cubicBezTo>
                    <a:pt x="2497" y="803"/>
                    <a:pt x="2497" y="803"/>
                    <a:pt x="2497" y="803"/>
                  </a:cubicBezTo>
                  <a:cubicBezTo>
                    <a:pt x="2495" y="788"/>
                    <a:pt x="2491" y="763"/>
                    <a:pt x="2490" y="756"/>
                  </a:cubicBezTo>
                  <a:cubicBezTo>
                    <a:pt x="2458" y="596"/>
                    <a:pt x="2386" y="451"/>
                    <a:pt x="2285" y="332"/>
                  </a:cubicBezTo>
                  <a:cubicBezTo>
                    <a:pt x="2272" y="316"/>
                    <a:pt x="2259" y="301"/>
                    <a:pt x="2245" y="287"/>
                  </a:cubicBezTo>
                  <a:cubicBezTo>
                    <a:pt x="2241" y="283"/>
                    <a:pt x="2195" y="240"/>
                    <a:pt x="2195" y="240"/>
                  </a:cubicBezTo>
                  <a:cubicBezTo>
                    <a:pt x="2033" y="94"/>
                    <a:pt x="1819" y="4"/>
                    <a:pt x="1585" y="0"/>
                  </a:cubicBezTo>
                  <a:cubicBezTo>
                    <a:pt x="1585" y="0"/>
                    <a:pt x="1585" y="0"/>
                    <a:pt x="1585" y="0"/>
                  </a:cubicBezTo>
                  <a:cubicBezTo>
                    <a:pt x="1351" y="4"/>
                    <a:pt x="1137" y="94"/>
                    <a:pt x="975" y="240"/>
                  </a:cubicBezTo>
                  <a:cubicBezTo>
                    <a:pt x="975" y="240"/>
                    <a:pt x="925" y="283"/>
                    <a:pt x="886" y="332"/>
                  </a:cubicBezTo>
                  <a:cubicBezTo>
                    <a:pt x="784" y="451"/>
                    <a:pt x="712" y="596"/>
                    <a:pt x="681" y="756"/>
                  </a:cubicBezTo>
                  <a:cubicBezTo>
                    <a:pt x="680" y="759"/>
                    <a:pt x="677" y="779"/>
                    <a:pt x="673" y="806"/>
                  </a:cubicBezTo>
                  <a:cubicBezTo>
                    <a:pt x="689" y="853"/>
                    <a:pt x="689" y="853"/>
                    <a:pt x="689" y="853"/>
                  </a:cubicBezTo>
                  <a:cubicBezTo>
                    <a:pt x="692" y="861"/>
                    <a:pt x="695" y="870"/>
                    <a:pt x="699" y="879"/>
                  </a:cubicBezTo>
                  <a:close/>
                  <a:moveTo>
                    <a:pt x="1616" y="1197"/>
                  </a:moveTo>
                  <a:cubicBezTo>
                    <a:pt x="1616" y="736"/>
                    <a:pt x="1616" y="736"/>
                    <a:pt x="1616" y="736"/>
                  </a:cubicBezTo>
                  <a:cubicBezTo>
                    <a:pt x="1687" y="734"/>
                    <a:pt x="1767" y="723"/>
                    <a:pt x="1852" y="700"/>
                  </a:cubicBezTo>
                  <a:cubicBezTo>
                    <a:pt x="1871" y="747"/>
                    <a:pt x="1889" y="794"/>
                    <a:pt x="1905" y="843"/>
                  </a:cubicBezTo>
                  <a:cubicBezTo>
                    <a:pt x="1918" y="879"/>
                    <a:pt x="1928" y="916"/>
                    <a:pt x="1938" y="951"/>
                  </a:cubicBezTo>
                  <a:cubicBezTo>
                    <a:pt x="1949" y="989"/>
                    <a:pt x="1958" y="1026"/>
                    <a:pt x="1966" y="1063"/>
                  </a:cubicBezTo>
                  <a:cubicBezTo>
                    <a:pt x="1972" y="1088"/>
                    <a:pt x="1977" y="1113"/>
                    <a:pt x="1981" y="1138"/>
                  </a:cubicBezTo>
                  <a:cubicBezTo>
                    <a:pt x="1857" y="1175"/>
                    <a:pt x="1731" y="1195"/>
                    <a:pt x="1616" y="1197"/>
                  </a:cubicBezTo>
                  <a:close/>
                  <a:moveTo>
                    <a:pt x="2006" y="508"/>
                  </a:moveTo>
                  <a:cubicBezTo>
                    <a:pt x="2009" y="511"/>
                    <a:pt x="2012" y="514"/>
                    <a:pt x="2015" y="517"/>
                  </a:cubicBezTo>
                  <a:cubicBezTo>
                    <a:pt x="2026" y="527"/>
                    <a:pt x="2035" y="538"/>
                    <a:pt x="2045" y="548"/>
                  </a:cubicBezTo>
                  <a:cubicBezTo>
                    <a:pt x="1998" y="577"/>
                    <a:pt x="1942" y="601"/>
                    <a:pt x="1882" y="620"/>
                  </a:cubicBezTo>
                  <a:cubicBezTo>
                    <a:pt x="1823" y="488"/>
                    <a:pt x="1755" y="373"/>
                    <a:pt x="1684" y="281"/>
                  </a:cubicBezTo>
                  <a:cubicBezTo>
                    <a:pt x="1798" y="335"/>
                    <a:pt x="1909" y="413"/>
                    <a:pt x="2006" y="508"/>
                  </a:cubicBezTo>
                  <a:close/>
                  <a:moveTo>
                    <a:pt x="1755" y="251"/>
                  </a:moveTo>
                  <a:cubicBezTo>
                    <a:pt x="1838" y="265"/>
                    <a:pt x="1917" y="288"/>
                    <a:pt x="1990" y="320"/>
                  </a:cubicBezTo>
                  <a:cubicBezTo>
                    <a:pt x="2013" y="329"/>
                    <a:pt x="2034" y="339"/>
                    <a:pt x="2055" y="350"/>
                  </a:cubicBezTo>
                  <a:cubicBezTo>
                    <a:pt x="2095" y="371"/>
                    <a:pt x="2133" y="394"/>
                    <a:pt x="2168" y="420"/>
                  </a:cubicBezTo>
                  <a:cubicBezTo>
                    <a:pt x="2165" y="427"/>
                    <a:pt x="2162" y="435"/>
                    <a:pt x="2158" y="443"/>
                  </a:cubicBezTo>
                  <a:cubicBezTo>
                    <a:pt x="2143" y="468"/>
                    <a:pt x="2121" y="492"/>
                    <a:pt x="2094" y="515"/>
                  </a:cubicBezTo>
                  <a:cubicBezTo>
                    <a:pt x="2085" y="504"/>
                    <a:pt x="2075" y="494"/>
                    <a:pt x="2065" y="484"/>
                  </a:cubicBezTo>
                  <a:cubicBezTo>
                    <a:pt x="2062" y="481"/>
                    <a:pt x="2060" y="479"/>
                    <a:pt x="2057" y="476"/>
                  </a:cubicBezTo>
                  <a:cubicBezTo>
                    <a:pt x="2040" y="459"/>
                    <a:pt x="2022" y="442"/>
                    <a:pt x="2004" y="426"/>
                  </a:cubicBezTo>
                  <a:cubicBezTo>
                    <a:pt x="1926" y="356"/>
                    <a:pt x="1842" y="298"/>
                    <a:pt x="1755" y="251"/>
                  </a:cubicBezTo>
                  <a:close/>
                  <a:moveTo>
                    <a:pt x="1824" y="636"/>
                  </a:moveTo>
                  <a:cubicBezTo>
                    <a:pt x="1753" y="654"/>
                    <a:pt x="1684" y="664"/>
                    <a:pt x="1616" y="666"/>
                  </a:cubicBezTo>
                  <a:cubicBezTo>
                    <a:pt x="1616" y="284"/>
                    <a:pt x="1616" y="284"/>
                    <a:pt x="1616" y="284"/>
                  </a:cubicBezTo>
                  <a:cubicBezTo>
                    <a:pt x="1623" y="292"/>
                    <a:pt x="1625" y="302"/>
                    <a:pt x="1632" y="311"/>
                  </a:cubicBezTo>
                  <a:cubicBezTo>
                    <a:pt x="1702" y="400"/>
                    <a:pt x="1768" y="512"/>
                    <a:pt x="1824" y="636"/>
                  </a:cubicBezTo>
                  <a:close/>
                  <a:moveTo>
                    <a:pt x="2038" y="1120"/>
                  </a:moveTo>
                  <a:cubicBezTo>
                    <a:pt x="2028" y="1066"/>
                    <a:pt x="2015" y="1009"/>
                    <a:pt x="1999" y="951"/>
                  </a:cubicBezTo>
                  <a:cubicBezTo>
                    <a:pt x="1989" y="915"/>
                    <a:pt x="1978" y="878"/>
                    <a:pt x="1966" y="840"/>
                  </a:cubicBezTo>
                  <a:cubicBezTo>
                    <a:pt x="1964" y="835"/>
                    <a:pt x="1963" y="830"/>
                    <a:pt x="1961" y="825"/>
                  </a:cubicBezTo>
                  <a:cubicBezTo>
                    <a:pt x="1945" y="776"/>
                    <a:pt x="1927" y="729"/>
                    <a:pt x="1909" y="684"/>
                  </a:cubicBezTo>
                  <a:cubicBezTo>
                    <a:pt x="1975" y="663"/>
                    <a:pt x="2038" y="636"/>
                    <a:pt x="2092" y="602"/>
                  </a:cubicBezTo>
                  <a:cubicBezTo>
                    <a:pt x="2183" y="710"/>
                    <a:pt x="2251" y="829"/>
                    <a:pt x="2293" y="951"/>
                  </a:cubicBezTo>
                  <a:cubicBezTo>
                    <a:pt x="2297" y="962"/>
                    <a:pt x="2300" y="974"/>
                    <a:pt x="2304" y="985"/>
                  </a:cubicBezTo>
                  <a:cubicBezTo>
                    <a:pt x="2234" y="1040"/>
                    <a:pt x="2140" y="1086"/>
                    <a:pt x="2038" y="1120"/>
                  </a:cubicBezTo>
                  <a:close/>
                  <a:moveTo>
                    <a:pt x="2246" y="379"/>
                  </a:moveTo>
                  <a:cubicBezTo>
                    <a:pt x="2261" y="398"/>
                    <a:pt x="2273" y="418"/>
                    <a:pt x="2284" y="440"/>
                  </a:cubicBezTo>
                  <a:cubicBezTo>
                    <a:pt x="2271" y="428"/>
                    <a:pt x="2258" y="416"/>
                    <a:pt x="2244" y="405"/>
                  </a:cubicBezTo>
                  <a:cubicBezTo>
                    <a:pt x="2245" y="397"/>
                    <a:pt x="2246" y="388"/>
                    <a:pt x="2246" y="379"/>
                  </a:cubicBezTo>
                  <a:close/>
                  <a:moveTo>
                    <a:pt x="2219" y="477"/>
                  </a:moveTo>
                  <a:cubicBezTo>
                    <a:pt x="2221" y="473"/>
                    <a:pt x="2223" y="469"/>
                    <a:pt x="2225" y="465"/>
                  </a:cubicBezTo>
                  <a:cubicBezTo>
                    <a:pt x="2264" y="499"/>
                    <a:pt x="2299" y="537"/>
                    <a:pt x="2330" y="576"/>
                  </a:cubicBezTo>
                  <a:cubicBezTo>
                    <a:pt x="2357" y="611"/>
                    <a:pt x="2380" y="648"/>
                    <a:pt x="2399" y="686"/>
                  </a:cubicBezTo>
                  <a:cubicBezTo>
                    <a:pt x="2412" y="713"/>
                    <a:pt x="2423" y="741"/>
                    <a:pt x="2433" y="769"/>
                  </a:cubicBezTo>
                  <a:cubicBezTo>
                    <a:pt x="2433" y="773"/>
                    <a:pt x="2453" y="840"/>
                    <a:pt x="2352" y="942"/>
                  </a:cubicBezTo>
                  <a:cubicBezTo>
                    <a:pt x="2342" y="914"/>
                    <a:pt x="2332" y="886"/>
                    <a:pt x="2320" y="858"/>
                  </a:cubicBezTo>
                  <a:cubicBezTo>
                    <a:pt x="2276" y="757"/>
                    <a:pt x="2216" y="658"/>
                    <a:pt x="2140" y="567"/>
                  </a:cubicBezTo>
                  <a:cubicBezTo>
                    <a:pt x="2173" y="541"/>
                    <a:pt x="2201" y="510"/>
                    <a:pt x="2219" y="477"/>
                  </a:cubicBezTo>
                  <a:close/>
                  <a:moveTo>
                    <a:pt x="2022" y="219"/>
                  </a:moveTo>
                  <a:cubicBezTo>
                    <a:pt x="2069" y="234"/>
                    <a:pt x="2111" y="255"/>
                    <a:pt x="2149" y="283"/>
                  </a:cubicBezTo>
                  <a:cubicBezTo>
                    <a:pt x="2163" y="307"/>
                    <a:pt x="2172" y="331"/>
                    <a:pt x="2175" y="353"/>
                  </a:cubicBezTo>
                  <a:cubicBezTo>
                    <a:pt x="2133" y="325"/>
                    <a:pt x="2088" y="300"/>
                    <a:pt x="2041" y="278"/>
                  </a:cubicBezTo>
                  <a:cubicBezTo>
                    <a:pt x="2018" y="267"/>
                    <a:pt x="1995" y="258"/>
                    <a:pt x="1971" y="249"/>
                  </a:cubicBezTo>
                  <a:cubicBezTo>
                    <a:pt x="1909" y="225"/>
                    <a:pt x="1844" y="208"/>
                    <a:pt x="1776" y="196"/>
                  </a:cubicBezTo>
                  <a:cubicBezTo>
                    <a:pt x="1799" y="193"/>
                    <a:pt x="1822" y="192"/>
                    <a:pt x="1844" y="192"/>
                  </a:cubicBezTo>
                  <a:cubicBezTo>
                    <a:pt x="1881" y="192"/>
                    <a:pt x="1916" y="195"/>
                    <a:pt x="1950" y="201"/>
                  </a:cubicBezTo>
                  <a:cubicBezTo>
                    <a:pt x="1975" y="206"/>
                    <a:pt x="1999" y="211"/>
                    <a:pt x="2022" y="219"/>
                  </a:cubicBezTo>
                  <a:close/>
                  <a:moveTo>
                    <a:pt x="1859" y="116"/>
                  </a:moveTo>
                  <a:cubicBezTo>
                    <a:pt x="1872" y="120"/>
                    <a:pt x="1885" y="127"/>
                    <a:pt x="1897" y="136"/>
                  </a:cubicBezTo>
                  <a:cubicBezTo>
                    <a:pt x="1879" y="134"/>
                    <a:pt x="1862" y="134"/>
                    <a:pt x="1844" y="134"/>
                  </a:cubicBezTo>
                  <a:cubicBezTo>
                    <a:pt x="1798" y="134"/>
                    <a:pt x="1750" y="138"/>
                    <a:pt x="1703" y="147"/>
                  </a:cubicBezTo>
                  <a:cubicBezTo>
                    <a:pt x="1744" y="122"/>
                    <a:pt x="1782" y="109"/>
                    <a:pt x="1818" y="109"/>
                  </a:cubicBezTo>
                  <a:cubicBezTo>
                    <a:pt x="1832" y="109"/>
                    <a:pt x="1846" y="111"/>
                    <a:pt x="1859" y="116"/>
                  </a:cubicBezTo>
                  <a:close/>
                  <a:moveTo>
                    <a:pt x="1610" y="59"/>
                  </a:moveTo>
                  <a:cubicBezTo>
                    <a:pt x="1648" y="61"/>
                    <a:pt x="1686" y="65"/>
                    <a:pt x="1722" y="71"/>
                  </a:cubicBezTo>
                  <a:cubicBezTo>
                    <a:pt x="1685" y="87"/>
                    <a:pt x="1648" y="111"/>
                    <a:pt x="1610" y="142"/>
                  </a:cubicBezTo>
                  <a:lnTo>
                    <a:pt x="1610" y="59"/>
                  </a:lnTo>
                  <a:close/>
                  <a:moveTo>
                    <a:pt x="1171" y="951"/>
                  </a:moveTo>
                  <a:cubicBezTo>
                    <a:pt x="1155" y="1009"/>
                    <a:pt x="1143" y="1066"/>
                    <a:pt x="1133" y="1121"/>
                  </a:cubicBezTo>
                  <a:cubicBezTo>
                    <a:pt x="1030" y="1086"/>
                    <a:pt x="937" y="1040"/>
                    <a:pt x="867" y="985"/>
                  </a:cubicBezTo>
                  <a:cubicBezTo>
                    <a:pt x="870" y="974"/>
                    <a:pt x="873" y="963"/>
                    <a:pt x="877" y="951"/>
                  </a:cubicBezTo>
                  <a:cubicBezTo>
                    <a:pt x="919" y="830"/>
                    <a:pt x="987" y="710"/>
                    <a:pt x="1078" y="602"/>
                  </a:cubicBezTo>
                  <a:cubicBezTo>
                    <a:pt x="1132" y="636"/>
                    <a:pt x="1195" y="663"/>
                    <a:pt x="1261" y="684"/>
                  </a:cubicBezTo>
                  <a:cubicBezTo>
                    <a:pt x="1243" y="729"/>
                    <a:pt x="1225" y="776"/>
                    <a:pt x="1209" y="825"/>
                  </a:cubicBezTo>
                  <a:cubicBezTo>
                    <a:pt x="1208" y="830"/>
                    <a:pt x="1206" y="835"/>
                    <a:pt x="1204" y="840"/>
                  </a:cubicBezTo>
                  <a:cubicBezTo>
                    <a:pt x="1192" y="878"/>
                    <a:pt x="1181" y="915"/>
                    <a:pt x="1171" y="951"/>
                  </a:cubicBezTo>
                  <a:close/>
                  <a:moveTo>
                    <a:pt x="1166" y="426"/>
                  </a:moveTo>
                  <a:cubicBezTo>
                    <a:pt x="1148" y="442"/>
                    <a:pt x="1131" y="459"/>
                    <a:pt x="1114" y="476"/>
                  </a:cubicBezTo>
                  <a:cubicBezTo>
                    <a:pt x="1111" y="479"/>
                    <a:pt x="1108" y="481"/>
                    <a:pt x="1105" y="484"/>
                  </a:cubicBezTo>
                  <a:cubicBezTo>
                    <a:pt x="1095" y="494"/>
                    <a:pt x="1086" y="505"/>
                    <a:pt x="1076" y="515"/>
                  </a:cubicBezTo>
                  <a:cubicBezTo>
                    <a:pt x="1049" y="493"/>
                    <a:pt x="1026" y="468"/>
                    <a:pt x="1012" y="443"/>
                  </a:cubicBezTo>
                  <a:cubicBezTo>
                    <a:pt x="1008" y="435"/>
                    <a:pt x="1005" y="428"/>
                    <a:pt x="1002" y="420"/>
                  </a:cubicBezTo>
                  <a:cubicBezTo>
                    <a:pt x="1037" y="394"/>
                    <a:pt x="1075" y="371"/>
                    <a:pt x="1115" y="350"/>
                  </a:cubicBezTo>
                  <a:cubicBezTo>
                    <a:pt x="1136" y="339"/>
                    <a:pt x="1158" y="329"/>
                    <a:pt x="1180" y="320"/>
                  </a:cubicBezTo>
                  <a:cubicBezTo>
                    <a:pt x="1253" y="288"/>
                    <a:pt x="1332" y="265"/>
                    <a:pt x="1416" y="251"/>
                  </a:cubicBezTo>
                  <a:cubicBezTo>
                    <a:pt x="1328" y="298"/>
                    <a:pt x="1244" y="356"/>
                    <a:pt x="1166" y="426"/>
                  </a:cubicBezTo>
                  <a:close/>
                  <a:moveTo>
                    <a:pt x="1487" y="281"/>
                  </a:moveTo>
                  <a:cubicBezTo>
                    <a:pt x="1415" y="373"/>
                    <a:pt x="1348" y="488"/>
                    <a:pt x="1289" y="620"/>
                  </a:cubicBezTo>
                  <a:cubicBezTo>
                    <a:pt x="1228" y="601"/>
                    <a:pt x="1172" y="577"/>
                    <a:pt x="1125" y="549"/>
                  </a:cubicBezTo>
                  <a:cubicBezTo>
                    <a:pt x="1135" y="538"/>
                    <a:pt x="1145" y="527"/>
                    <a:pt x="1155" y="517"/>
                  </a:cubicBezTo>
                  <a:cubicBezTo>
                    <a:pt x="1158" y="514"/>
                    <a:pt x="1161" y="511"/>
                    <a:pt x="1164" y="508"/>
                  </a:cubicBezTo>
                  <a:cubicBezTo>
                    <a:pt x="1262" y="413"/>
                    <a:pt x="1372" y="335"/>
                    <a:pt x="1487" y="281"/>
                  </a:cubicBezTo>
                  <a:close/>
                  <a:moveTo>
                    <a:pt x="1555" y="1197"/>
                  </a:moveTo>
                  <a:cubicBezTo>
                    <a:pt x="1439" y="1195"/>
                    <a:pt x="1313" y="1175"/>
                    <a:pt x="1189" y="1139"/>
                  </a:cubicBezTo>
                  <a:cubicBezTo>
                    <a:pt x="1194" y="1114"/>
                    <a:pt x="1199" y="1088"/>
                    <a:pt x="1204" y="1063"/>
                  </a:cubicBezTo>
                  <a:cubicBezTo>
                    <a:pt x="1212" y="1026"/>
                    <a:pt x="1222" y="989"/>
                    <a:pt x="1232" y="951"/>
                  </a:cubicBezTo>
                  <a:cubicBezTo>
                    <a:pt x="1242" y="916"/>
                    <a:pt x="1253" y="879"/>
                    <a:pt x="1265" y="843"/>
                  </a:cubicBezTo>
                  <a:cubicBezTo>
                    <a:pt x="1281" y="794"/>
                    <a:pt x="1299" y="747"/>
                    <a:pt x="1318" y="700"/>
                  </a:cubicBezTo>
                  <a:cubicBezTo>
                    <a:pt x="1404" y="723"/>
                    <a:pt x="1484" y="734"/>
                    <a:pt x="1555" y="736"/>
                  </a:cubicBezTo>
                  <a:lnTo>
                    <a:pt x="1555" y="1197"/>
                  </a:lnTo>
                  <a:close/>
                  <a:moveTo>
                    <a:pt x="1555" y="666"/>
                  </a:moveTo>
                  <a:cubicBezTo>
                    <a:pt x="1486" y="664"/>
                    <a:pt x="1418" y="654"/>
                    <a:pt x="1346" y="636"/>
                  </a:cubicBezTo>
                  <a:cubicBezTo>
                    <a:pt x="1402" y="512"/>
                    <a:pt x="1468" y="400"/>
                    <a:pt x="1538" y="311"/>
                  </a:cubicBezTo>
                  <a:cubicBezTo>
                    <a:pt x="1545" y="302"/>
                    <a:pt x="1547" y="292"/>
                    <a:pt x="1555" y="284"/>
                  </a:cubicBezTo>
                  <a:lnTo>
                    <a:pt x="1555" y="666"/>
                  </a:lnTo>
                  <a:close/>
                  <a:moveTo>
                    <a:pt x="1560" y="59"/>
                  </a:moveTo>
                  <a:cubicBezTo>
                    <a:pt x="1560" y="142"/>
                    <a:pt x="1560" y="142"/>
                    <a:pt x="1560" y="142"/>
                  </a:cubicBezTo>
                  <a:cubicBezTo>
                    <a:pt x="1523" y="111"/>
                    <a:pt x="1485" y="87"/>
                    <a:pt x="1448" y="71"/>
                  </a:cubicBezTo>
                  <a:cubicBezTo>
                    <a:pt x="1485" y="65"/>
                    <a:pt x="1522" y="61"/>
                    <a:pt x="1560" y="59"/>
                  </a:cubicBezTo>
                  <a:close/>
                  <a:moveTo>
                    <a:pt x="1311" y="116"/>
                  </a:moveTo>
                  <a:cubicBezTo>
                    <a:pt x="1324" y="111"/>
                    <a:pt x="1338" y="109"/>
                    <a:pt x="1353" y="109"/>
                  </a:cubicBezTo>
                  <a:cubicBezTo>
                    <a:pt x="1388" y="109"/>
                    <a:pt x="1427" y="122"/>
                    <a:pt x="1468" y="147"/>
                  </a:cubicBezTo>
                  <a:cubicBezTo>
                    <a:pt x="1420" y="138"/>
                    <a:pt x="1373" y="134"/>
                    <a:pt x="1326" y="134"/>
                  </a:cubicBezTo>
                  <a:cubicBezTo>
                    <a:pt x="1309" y="134"/>
                    <a:pt x="1291" y="134"/>
                    <a:pt x="1274" y="136"/>
                  </a:cubicBezTo>
                  <a:cubicBezTo>
                    <a:pt x="1286" y="127"/>
                    <a:pt x="1298" y="120"/>
                    <a:pt x="1311" y="116"/>
                  </a:cubicBezTo>
                  <a:close/>
                  <a:moveTo>
                    <a:pt x="1020" y="283"/>
                  </a:moveTo>
                  <a:cubicBezTo>
                    <a:pt x="1059" y="256"/>
                    <a:pt x="1101" y="234"/>
                    <a:pt x="1148" y="219"/>
                  </a:cubicBezTo>
                  <a:cubicBezTo>
                    <a:pt x="1172" y="211"/>
                    <a:pt x="1196" y="206"/>
                    <a:pt x="1221" y="201"/>
                  </a:cubicBezTo>
                  <a:cubicBezTo>
                    <a:pt x="1254" y="195"/>
                    <a:pt x="1290" y="192"/>
                    <a:pt x="1326" y="192"/>
                  </a:cubicBezTo>
                  <a:cubicBezTo>
                    <a:pt x="1349" y="192"/>
                    <a:pt x="1371" y="193"/>
                    <a:pt x="1394" y="196"/>
                  </a:cubicBezTo>
                  <a:cubicBezTo>
                    <a:pt x="1326" y="208"/>
                    <a:pt x="1261" y="225"/>
                    <a:pt x="1200" y="249"/>
                  </a:cubicBezTo>
                  <a:cubicBezTo>
                    <a:pt x="1176" y="258"/>
                    <a:pt x="1152" y="267"/>
                    <a:pt x="1130" y="278"/>
                  </a:cubicBezTo>
                  <a:cubicBezTo>
                    <a:pt x="1082" y="300"/>
                    <a:pt x="1037" y="326"/>
                    <a:pt x="995" y="354"/>
                  </a:cubicBezTo>
                  <a:cubicBezTo>
                    <a:pt x="998" y="331"/>
                    <a:pt x="1006" y="308"/>
                    <a:pt x="1020" y="283"/>
                  </a:cubicBezTo>
                  <a:close/>
                  <a:moveTo>
                    <a:pt x="923" y="379"/>
                  </a:moveTo>
                  <a:cubicBezTo>
                    <a:pt x="924" y="388"/>
                    <a:pt x="925" y="397"/>
                    <a:pt x="926" y="406"/>
                  </a:cubicBezTo>
                  <a:cubicBezTo>
                    <a:pt x="912" y="417"/>
                    <a:pt x="899" y="428"/>
                    <a:pt x="886" y="440"/>
                  </a:cubicBezTo>
                  <a:cubicBezTo>
                    <a:pt x="897" y="419"/>
                    <a:pt x="909" y="399"/>
                    <a:pt x="923" y="379"/>
                  </a:cubicBezTo>
                  <a:close/>
                  <a:moveTo>
                    <a:pt x="742" y="759"/>
                  </a:moveTo>
                  <a:cubicBezTo>
                    <a:pt x="751" y="731"/>
                    <a:pt x="758" y="713"/>
                    <a:pt x="772" y="686"/>
                  </a:cubicBezTo>
                  <a:cubicBezTo>
                    <a:pt x="791" y="648"/>
                    <a:pt x="814" y="611"/>
                    <a:pt x="840" y="576"/>
                  </a:cubicBezTo>
                  <a:cubicBezTo>
                    <a:pt x="871" y="537"/>
                    <a:pt x="906" y="500"/>
                    <a:pt x="945" y="466"/>
                  </a:cubicBezTo>
                  <a:cubicBezTo>
                    <a:pt x="947" y="469"/>
                    <a:pt x="949" y="473"/>
                    <a:pt x="951" y="477"/>
                  </a:cubicBezTo>
                  <a:cubicBezTo>
                    <a:pt x="969" y="510"/>
                    <a:pt x="997" y="541"/>
                    <a:pt x="1030" y="568"/>
                  </a:cubicBezTo>
                  <a:cubicBezTo>
                    <a:pt x="955" y="659"/>
                    <a:pt x="894" y="757"/>
                    <a:pt x="851" y="858"/>
                  </a:cubicBezTo>
                  <a:cubicBezTo>
                    <a:pt x="839" y="886"/>
                    <a:pt x="828" y="914"/>
                    <a:pt x="819" y="942"/>
                  </a:cubicBezTo>
                  <a:cubicBezTo>
                    <a:pt x="772" y="894"/>
                    <a:pt x="743" y="839"/>
                    <a:pt x="741" y="780"/>
                  </a:cubicBezTo>
                  <a:cubicBezTo>
                    <a:pt x="741" y="780"/>
                    <a:pt x="741" y="763"/>
                    <a:pt x="742" y="759"/>
                  </a:cubicBezTo>
                  <a:close/>
                  <a:moveTo>
                    <a:pt x="447" y="993"/>
                  </a:moveTo>
                  <a:cubicBezTo>
                    <a:pt x="411" y="993"/>
                    <a:pt x="409" y="1049"/>
                    <a:pt x="409" y="1074"/>
                  </a:cubicBezTo>
                  <a:cubicBezTo>
                    <a:pt x="409" y="1153"/>
                    <a:pt x="437" y="1157"/>
                    <a:pt x="447" y="1157"/>
                  </a:cubicBezTo>
                  <a:cubicBezTo>
                    <a:pt x="458" y="1157"/>
                    <a:pt x="486" y="1153"/>
                    <a:pt x="486" y="1074"/>
                  </a:cubicBezTo>
                  <a:cubicBezTo>
                    <a:pt x="486" y="1049"/>
                    <a:pt x="483" y="993"/>
                    <a:pt x="447" y="993"/>
                  </a:cubicBezTo>
                  <a:close/>
                  <a:moveTo>
                    <a:pt x="2737" y="993"/>
                  </a:moveTo>
                  <a:cubicBezTo>
                    <a:pt x="2701" y="993"/>
                    <a:pt x="2698" y="1049"/>
                    <a:pt x="2698" y="1074"/>
                  </a:cubicBezTo>
                  <a:cubicBezTo>
                    <a:pt x="2698" y="1153"/>
                    <a:pt x="2726" y="1157"/>
                    <a:pt x="2737" y="1157"/>
                  </a:cubicBezTo>
                  <a:cubicBezTo>
                    <a:pt x="2747" y="1157"/>
                    <a:pt x="2776" y="1153"/>
                    <a:pt x="2776" y="1074"/>
                  </a:cubicBezTo>
                  <a:cubicBezTo>
                    <a:pt x="2776" y="1049"/>
                    <a:pt x="2773" y="993"/>
                    <a:pt x="2737" y="993"/>
                  </a:cubicBezTo>
                  <a:close/>
                  <a:moveTo>
                    <a:pt x="1746" y="1536"/>
                  </a:moveTo>
                  <a:cubicBezTo>
                    <a:pt x="1733" y="1465"/>
                    <a:pt x="1677" y="1481"/>
                    <a:pt x="1660" y="1501"/>
                  </a:cubicBezTo>
                  <a:cubicBezTo>
                    <a:pt x="1653" y="1509"/>
                    <a:pt x="1648" y="1524"/>
                    <a:pt x="1644" y="1541"/>
                  </a:cubicBezTo>
                  <a:cubicBezTo>
                    <a:pt x="1634" y="1593"/>
                    <a:pt x="1642" y="1668"/>
                    <a:pt x="1695" y="1667"/>
                  </a:cubicBezTo>
                  <a:cubicBezTo>
                    <a:pt x="1741" y="1664"/>
                    <a:pt x="1753" y="1606"/>
                    <a:pt x="1748" y="1552"/>
                  </a:cubicBezTo>
                  <a:cubicBezTo>
                    <a:pt x="1748" y="1546"/>
                    <a:pt x="1747" y="1541"/>
                    <a:pt x="1746" y="1536"/>
                  </a:cubicBezTo>
                  <a:close/>
                  <a:moveTo>
                    <a:pt x="3451" y="1075"/>
                  </a:moveTo>
                  <a:cubicBezTo>
                    <a:pt x="3118" y="753"/>
                    <a:pt x="3118" y="753"/>
                    <a:pt x="3118" y="753"/>
                  </a:cubicBezTo>
                  <a:cubicBezTo>
                    <a:pt x="3118" y="886"/>
                    <a:pt x="3118" y="886"/>
                    <a:pt x="3118" y="886"/>
                  </a:cubicBezTo>
                  <a:cubicBezTo>
                    <a:pt x="2577" y="886"/>
                    <a:pt x="2577" y="886"/>
                    <a:pt x="2577" y="886"/>
                  </a:cubicBezTo>
                  <a:cubicBezTo>
                    <a:pt x="2572" y="900"/>
                    <a:pt x="2567" y="913"/>
                    <a:pt x="2560" y="927"/>
                  </a:cubicBezTo>
                  <a:cubicBezTo>
                    <a:pt x="2483" y="1094"/>
                    <a:pt x="2292" y="1240"/>
                    <a:pt x="2015" y="1319"/>
                  </a:cubicBezTo>
                  <a:cubicBezTo>
                    <a:pt x="1876" y="1360"/>
                    <a:pt x="1728" y="1379"/>
                    <a:pt x="1584" y="1379"/>
                  </a:cubicBezTo>
                  <a:cubicBezTo>
                    <a:pt x="1203" y="1379"/>
                    <a:pt x="839" y="1247"/>
                    <a:pt x="667" y="1023"/>
                  </a:cubicBezTo>
                  <a:cubicBezTo>
                    <a:pt x="650" y="1001"/>
                    <a:pt x="635" y="979"/>
                    <a:pt x="623" y="957"/>
                  </a:cubicBezTo>
                  <a:cubicBezTo>
                    <a:pt x="610" y="933"/>
                    <a:pt x="600" y="910"/>
                    <a:pt x="592" y="886"/>
                  </a:cubicBezTo>
                  <a:cubicBezTo>
                    <a:pt x="0" y="886"/>
                    <a:pt x="0" y="886"/>
                    <a:pt x="0" y="886"/>
                  </a:cubicBezTo>
                  <a:cubicBezTo>
                    <a:pt x="0" y="1265"/>
                    <a:pt x="0" y="1265"/>
                    <a:pt x="0" y="1265"/>
                  </a:cubicBezTo>
                  <a:cubicBezTo>
                    <a:pt x="581" y="1265"/>
                    <a:pt x="581" y="1265"/>
                    <a:pt x="581" y="1265"/>
                  </a:cubicBezTo>
                  <a:cubicBezTo>
                    <a:pt x="585" y="1281"/>
                    <a:pt x="590" y="1298"/>
                    <a:pt x="596" y="1315"/>
                  </a:cubicBezTo>
                  <a:cubicBezTo>
                    <a:pt x="612" y="1358"/>
                    <a:pt x="635" y="1401"/>
                    <a:pt x="668" y="1443"/>
                  </a:cubicBezTo>
                  <a:cubicBezTo>
                    <a:pt x="679" y="1459"/>
                    <a:pt x="692" y="1474"/>
                    <a:pt x="706" y="1488"/>
                  </a:cubicBezTo>
                  <a:cubicBezTo>
                    <a:pt x="744" y="1530"/>
                    <a:pt x="790" y="1568"/>
                    <a:pt x="841" y="1601"/>
                  </a:cubicBezTo>
                  <a:cubicBezTo>
                    <a:pt x="917" y="1651"/>
                    <a:pt x="1005" y="1693"/>
                    <a:pt x="1101" y="1724"/>
                  </a:cubicBezTo>
                  <a:cubicBezTo>
                    <a:pt x="1121" y="1731"/>
                    <a:pt x="1142" y="1737"/>
                    <a:pt x="1163" y="1743"/>
                  </a:cubicBezTo>
                  <a:cubicBezTo>
                    <a:pt x="1286" y="1778"/>
                    <a:pt x="1420" y="1797"/>
                    <a:pt x="1557" y="1799"/>
                  </a:cubicBezTo>
                  <a:cubicBezTo>
                    <a:pt x="1566" y="1799"/>
                    <a:pt x="1575" y="1800"/>
                    <a:pt x="1585" y="1800"/>
                  </a:cubicBezTo>
                  <a:cubicBezTo>
                    <a:pt x="1596" y="1800"/>
                    <a:pt x="1608" y="1799"/>
                    <a:pt x="1620" y="1799"/>
                  </a:cubicBezTo>
                  <a:cubicBezTo>
                    <a:pt x="1752" y="1796"/>
                    <a:pt x="1886" y="1777"/>
                    <a:pt x="2014" y="1741"/>
                  </a:cubicBezTo>
                  <a:cubicBezTo>
                    <a:pt x="2015" y="1741"/>
                    <a:pt x="2016" y="1740"/>
                    <a:pt x="2016" y="1740"/>
                  </a:cubicBezTo>
                  <a:cubicBezTo>
                    <a:pt x="2037" y="1734"/>
                    <a:pt x="2057" y="1728"/>
                    <a:pt x="2076" y="1721"/>
                  </a:cubicBezTo>
                  <a:cubicBezTo>
                    <a:pt x="2177" y="1687"/>
                    <a:pt x="2265" y="1644"/>
                    <a:pt x="2338" y="1594"/>
                  </a:cubicBezTo>
                  <a:cubicBezTo>
                    <a:pt x="2392" y="1558"/>
                    <a:pt x="2438" y="1518"/>
                    <a:pt x="2476" y="1476"/>
                  </a:cubicBezTo>
                  <a:cubicBezTo>
                    <a:pt x="2521" y="1425"/>
                    <a:pt x="2554" y="1371"/>
                    <a:pt x="2575" y="1316"/>
                  </a:cubicBezTo>
                  <a:cubicBezTo>
                    <a:pt x="2581" y="1299"/>
                    <a:pt x="2586" y="1282"/>
                    <a:pt x="2590" y="1265"/>
                  </a:cubicBezTo>
                  <a:cubicBezTo>
                    <a:pt x="3118" y="1265"/>
                    <a:pt x="3118" y="1265"/>
                    <a:pt x="3118" y="1265"/>
                  </a:cubicBezTo>
                  <a:cubicBezTo>
                    <a:pt x="3118" y="1397"/>
                    <a:pt x="3118" y="1397"/>
                    <a:pt x="3118" y="1397"/>
                  </a:cubicBezTo>
                  <a:lnTo>
                    <a:pt x="3451" y="1075"/>
                  </a:lnTo>
                  <a:close/>
                  <a:moveTo>
                    <a:pt x="296" y="1195"/>
                  </a:moveTo>
                  <a:cubicBezTo>
                    <a:pt x="123" y="1195"/>
                    <a:pt x="123" y="1195"/>
                    <a:pt x="123" y="1195"/>
                  </a:cubicBezTo>
                  <a:cubicBezTo>
                    <a:pt x="123" y="1154"/>
                    <a:pt x="123" y="1154"/>
                    <a:pt x="123" y="1154"/>
                  </a:cubicBezTo>
                  <a:cubicBezTo>
                    <a:pt x="188" y="1154"/>
                    <a:pt x="188" y="1154"/>
                    <a:pt x="188" y="1154"/>
                  </a:cubicBezTo>
                  <a:cubicBezTo>
                    <a:pt x="188" y="1005"/>
                    <a:pt x="188" y="1005"/>
                    <a:pt x="188" y="1005"/>
                  </a:cubicBezTo>
                  <a:cubicBezTo>
                    <a:pt x="135" y="1028"/>
                    <a:pt x="135" y="1028"/>
                    <a:pt x="135" y="1028"/>
                  </a:cubicBezTo>
                  <a:cubicBezTo>
                    <a:pt x="118" y="991"/>
                    <a:pt x="118" y="991"/>
                    <a:pt x="118" y="991"/>
                  </a:cubicBezTo>
                  <a:cubicBezTo>
                    <a:pt x="201" y="956"/>
                    <a:pt x="201" y="956"/>
                    <a:pt x="201" y="956"/>
                  </a:cubicBezTo>
                  <a:cubicBezTo>
                    <a:pt x="231" y="956"/>
                    <a:pt x="231" y="956"/>
                    <a:pt x="231" y="956"/>
                  </a:cubicBezTo>
                  <a:cubicBezTo>
                    <a:pt x="231" y="1154"/>
                    <a:pt x="231" y="1154"/>
                    <a:pt x="231" y="1154"/>
                  </a:cubicBezTo>
                  <a:cubicBezTo>
                    <a:pt x="296" y="1154"/>
                    <a:pt x="296" y="1154"/>
                    <a:pt x="296" y="1154"/>
                  </a:cubicBezTo>
                  <a:lnTo>
                    <a:pt x="296" y="1195"/>
                  </a:lnTo>
                  <a:close/>
                  <a:moveTo>
                    <a:pt x="447" y="1197"/>
                  </a:moveTo>
                  <a:cubicBezTo>
                    <a:pt x="377" y="1197"/>
                    <a:pt x="365" y="1127"/>
                    <a:pt x="365" y="1074"/>
                  </a:cubicBezTo>
                  <a:cubicBezTo>
                    <a:pt x="365" y="1022"/>
                    <a:pt x="378" y="953"/>
                    <a:pt x="447" y="953"/>
                  </a:cubicBezTo>
                  <a:cubicBezTo>
                    <a:pt x="517" y="953"/>
                    <a:pt x="530" y="1022"/>
                    <a:pt x="530" y="1074"/>
                  </a:cubicBezTo>
                  <a:cubicBezTo>
                    <a:pt x="530" y="1127"/>
                    <a:pt x="517" y="1197"/>
                    <a:pt x="447" y="1197"/>
                  </a:cubicBezTo>
                  <a:close/>
                  <a:moveTo>
                    <a:pt x="693" y="1351"/>
                  </a:moveTo>
                  <a:cubicBezTo>
                    <a:pt x="678" y="1332"/>
                    <a:pt x="666" y="1313"/>
                    <a:pt x="655" y="1294"/>
                  </a:cubicBezTo>
                  <a:cubicBezTo>
                    <a:pt x="645" y="1278"/>
                    <a:pt x="637" y="1261"/>
                    <a:pt x="630" y="1245"/>
                  </a:cubicBezTo>
                  <a:cubicBezTo>
                    <a:pt x="630" y="1201"/>
                    <a:pt x="630" y="1201"/>
                    <a:pt x="630" y="1201"/>
                  </a:cubicBezTo>
                  <a:cubicBezTo>
                    <a:pt x="635" y="1213"/>
                    <a:pt x="641" y="1225"/>
                    <a:pt x="648" y="1237"/>
                  </a:cubicBezTo>
                  <a:cubicBezTo>
                    <a:pt x="651" y="1243"/>
                    <a:pt x="654" y="1249"/>
                    <a:pt x="658" y="1255"/>
                  </a:cubicBezTo>
                  <a:cubicBezTo>
                    <a:pt x="658" y="1177"/>
                    <a:pt x="658" y="1177"/>
                    <a:pt x="658" y="1177"/>
                  </a:cubicBezTo>
                  <a:cubicBezTo>
                    <a:pt x="658" y="1090"/>
                    <a:pt x="658" y="1090"/>
                    <a:pt x="658" y="1090"/>
                  </a:cubicBezTo>
                  <a:cubicBezTo>
                    <a:pt x="654" y="1087"/>
                    <a:pt x="650" y="1084"/>
                    <a:pt x="646" y="1080"/>
                  </a:cubicBezTo>
                  <a:cubicBezTo>
                    <a:pt x="646" y="1080"/>
                    <a:pt x="646" y="1080"/>
                    <a:pt x="646" y="1080"/>
                  </a:cubicBezTo>
                  <a:cubicBezTo>
                    <a:pt x="642" y="1077"/>
                    <a:pt x="638" y="1073"/>
                    <a:pt x="634" y="1070"/>
                  </a:cubicBezTo>
                  <a:cubicBezTo>
                    <a:pt x="630" y="1032"/>
                    <a:pt x="630" y="1032"/>
                    <a:pt x="630" y="1032"/>
                  </a:cubicBezTo>
                  <a:cubicBezTo>
                    <a:pt x="628" y="1016"/>
                    <a:pt x="628" y="1016"/>
                    <a:pt x="628" y="1016"/>
                  </a:cubicBezTo>
                  <a:cubicBezTo>
                    <a:pt x="638" y="1025"/>
                    <a:pt x="653" y="1037"/>
                    <a:pt x="664" y="1046"/>
                  </a:cubicBezTo>
                  <a:cubicBezTo>
                    <a:pt x="670" y="1054"/>
                    <a:pt x="675" y="1062"/>
                    <a:pt x="681" y="1070"/>
                  </a:cubicBezTo>
                  <a:cubicBezTo>
                    <a:pt x="681" y="1113"/>
                    <a:pt x="681" y="1113"/>
                    <a:pt x="681" y="1113"/>
                  </a:cubicBezTo>
                  <a:cubicBezTo>
                    <a:pt x="681" y="1205"/>
                    <a:pt x="681" y="1205"/>
                    <a:pt x="681" y="1205"/>
                  </a:cubicBezTo>
                  <a:cubicBezTo>
                    <a:pt x="681" y="1291"/>
                    <a:pt x="681" y="1291"/>
                    <a:pt x="681" y="1291"/>
                  </a:cubicBezTo>
                  <a:cubicBezTo>
                    <a:pt x="685" y="1296"/>
                    <a:pt x="689" y="1301"/>
                    <a:pt x="693" y="1306"/>
                  </a:cubicBezTo>
                  <a:cubicBezTo>
                    <a:pt x="703" y="1319"/>
                    <a:pt x="713" y="1331"/>
                    <a:pt x="724" y="1343"/>
                  </a:cubicBezTo>
                  <a:cubicBezTo>
                    <a:pt x="724" y="1388"/>
                    <a:pt x="724" y="1388"/>
                    <a:pt x="724" y="1388"/>
                  </a:cubicBezTo>
                  <a:cubicBezTo>
                    <a:pt x="713" y="1376"/>
                    <a:pt x="703" y="1364"/>
                    <a:pt x="693" y="1351"/>
                  </a:cubicBezTo>
                  <a:close/>
                  <a:moveTo>
                    <a:pt x="816" y="1473"/>
                  </a:moveTo>
                  <a:cubicBezTo>
                    <a:pt x="800" y="1460"/>
                    <a:pt x="784" y="1447"/>
                    <a:pt x="769" y="1433"/>
                  </a:cubicBezTo>
                  <a:cubicBezTo>
                    <a:pt x="768" y="1388"/>
                    <a:pt x="768" y="1388"/>
                    <a:pt x="768" y="1388"/>
                  </a:cubicBezTo>
                  <a:cubicBezTo>
                    <a:pt x="783" y="1402"/>
                    <a:pt x="799" y="1415"/>
                    <a:pt x="815" y="1427"/>
                  </a:cubicBezTo>
                  <a:cubicBezTo>
                    <a:pt x="818" y="1430"/>
                    <a:pt x="821" y="1432"/>
                    <a:pt x="824" y="1434"/>
                  </a:cubicBezTo>
                  <a:cubicBezTo>
                    <a:pt x="823" y="1333"/>
                    <a:pt x="823" y="1333"/>
                    <a:pt x="823" y="1333"/>
                  </a:cubicBezTo>
                  <a:cubicBezTo>
                    <a:pt x="823" y="1322"/>
                    <a:pt x="823" y="1322"/>
                    <a:pt x="823" y="1322"/>
                  </a:cubicBezTo>
                  <a:cubicBezTo>
                    <a:pt x="823" y="1268"/>
                    <a:pt x="823" y="1268"/>
                    <a:pt x="823" y="1268"/>
                  </a:cubicBezTo>
                  <a:cubicBezTo>
                    <a:pt x="810" y="1265"/>
                    <a:pt x="792" y="1260"/>
                    <a:pt x="778" y="1257"/>
                  </a:cubicBezTo>
                  <a:cubicBezTo>
                    <a:pt x="776" y="1248"/>
                    <a:pt x="776" y="1248"/>
                    <a:pt x="776" y="1248"/>
                  </a:cubicBezTo>
                  <a:cubicBezTo>
                    <a:pt x="768" y="1218"/>
                    <a:pt x="768" y="1218"/>
                    <a:pt x="768" y="1218"/>
                  </a:cubicBezTo>
                  <a:cubicBezTo>
                    <a:pt x="767" y="1212"/>
                    <a:pt x="767" y="1212"/>
                    <a:pt x="767" y="1212"/>
                  </a:cubicBezTo>
                  <a:cubicBezTo>
                    <a:pt x="764" y="1204"/>
                    <a:pt x="764" y="1204"/>
                    <a:pt x="764" y="1204"/>
                  </a:cubicBezTo>
                  <a:cubicBezTo>
                    <a:pt x="785" y="1210"/>
                    <a:pt x="814" y="1217"/>
                    <a:pt x="835" y="1222"/>
                  </a:cubicBezTo>
                  <a:cubicBezTo>
                    <a:pt x="844" y="1229"/>
                    <a:pt x="853" y="1235"/>
                    <a:pt x="862" y="1241"/>
                  </a:cubicBezTo>
                  <a:cubicBezTo>
                    <a:pt x="862" y="1291"/>
                    <a:pt x="862" y="1291"/>
                    <a:pt x="862" y="1291"/>
                  </a:cubicBezTo>
                  <a:cubicBezTo>
                    <a:pt x="863" y="1360"/>
                    <a:pt x="863" y="1360"/>
                    <a:pt x="863" y="1360"/>
                  </a:cubicBezTo>
                  <a:cubicBezTo>
                    <a:pt x="863" y="1462"/>
                    <a:pt x="863" y="1462"/>
                    <a:pt x="863" y="1462"/>
                  </a:cubicBezTo>
                  <a:cubicBezTo>
                    <a:pt x="883" y="1475"/>
                    <a:pt x="905" y="1489"/>
                    <a:pt x="927" y="1501"/>
                  </a:cubicBezTo>
                  <a:cubicBezTo>
                    <a:pt x="927" y="1546"/>
                    <a:pt x="927" y="1546"/>
                    <a:pt x="927" y="1546"/>
                  </a:cubicBezTo>
                  <a:cubicBezTo>
                    <a:pt x="888" y="1523"/>
                    <a:pt x="850" y="1499"/>
                    <a:pt x="816" y="1473"/>
                  </a:cubicBezTo>
                  <a:close/>
                  <a:moveTo>
                    <a:pt x="1172" y="1585"/>
                  </a:moveTo>
                  <a:cubicBezTo>
                    <a:pt x="1168" y="1596"/>
                    <a:pt x="1163" y="1604"/>
                    <a:pt x="1157" y="1611"/>
                  </a:cubicBezTo>
                  <a:cubicBezTo>
                    <a:pt x="1141" y="1628"/>
                    <a:pt x="1119" y="1632"/>
                    <a:pt x="1096" y="1627"/>
                  </a:cubicBezTo>
                  <a:cubicBezTo>
                    <a:pt x="1063" y="1619"/>
                    <a:pt x="1028" y="1592"/>
                    <a:pt x="1010" y="1557"/>
                  </a:cubicBezTo>
                  <a:cubicBezTo>
                    <a:pt x="1006" y="1548"/>
                    <a:pt x="987" y="1483"/>
                    <a:pt x="988" y="1427"/>
                  </a:cubicBezTo>
                  <a:cubicBezTo>
                    <a:pt x="989" y="1406"/>
                    <a:pt x="992" y="1385"/>
                    <a:pt x="1001" y="1371"/>
                  </a:cubicBezTo>
                  <a:cubicBezTo>
                    <a:pt x="1014" y="1348"/>
                    <a:pt x="1039" y="1338"/>
                    <a:pt x="1082" y="1351"/>
                  </a:cubicBezTo>
                  <a:cubicBezTo>
                    <a:pt x="1127" y="1368"/>
                    <a:pt x="1152" y="1398"/>
                    <a:pt x="1166" y="1431"/>
                  </a:cubicBezTo>
                  <a:cubicBezTo>
                    <a:pt x="1167" y="1434"/>
                    <a:pt x="1168" y="1437"/>
                    <a:pt x="1169" y="1439"/>
                  </a:cubicBezTo>
                  <a:cubicBezTo>
                    <a:pt x="1176" y="1458"/>
                    <a:pt x="1179" y="1476"/>
                    <a:pt x="1181" y="1494"/>
                  </a:cubicBezTo>
                  <a:cubicBezTo>
                    <a:pt x="1184" y="1543"/>
                    <a:pt x="1173" y="1584"/>
                    <a:pt x="1172" y="1585"/>
                  </a:cubicBezTo>
                  <a:close/>
                  <a:moveTo>
                    <a:pt x="1270" y="1671"/>
                  </a:moveTo>
                  <a:cubicBezTo>
                    <a:pt x="1270" y="1627"/>
                    <a:pt x="1270" y="1627"/>
                    <a:pt x="1270" y="1627"/>
                  </a:cubicBezTo>
                  <a:cubicBezTo>
                    <a:pt x="1298" y="1633"/>
                    <a:pt x="1327" y="1638"/>
                    <a:pt x="1356" y="1643"/>
                  </a:cubicBezTo>
                  <a:cubicBezTo>
                    <a:pt x="1356" y="1528"/>
                    <a:pt x="1356" y="1528"/>
                    <a:pt x="1356" y="1528"/>
                  </a:cubicBezTo>
                  <a:cubicBezTo>
                    <a:pt x="1355" y="1477"/>
                    <a:pt x="1355" y="1477"/>
                    <a:pt x="1355" y="1477"/>
                  </a:cubicBezTo>
                  <a:cubicBezTo>
                    <a:pt x="1335" y="1481"/>
                    <a:pt x="1307" y="1486"/>
                    <a:pt x="1286" y="1489"/>
                  </a:cubicBezTo>
                  <a:cubicBezTo>
                    <a:pt x="1270" y="1456"/>
                    <a:pt x="1270" y="1456"/>
                    <a:pt x="1270" y="1456"/>
                  </a:cubicBezTo>
                  <a:cubicBezTo>
                    <a:pt x="1264" y="1444"/>
                    <a:pt x="1264" y="1444"/>
                    <a:pt x="1264" y="1444"/>
                  </a:cubicBezTo>
                  <a:cubicBezTo>
                    <a:pt x="1297" y="1439"/>
                    <a:pt x="1340" y="1431"/>
                    <a:pt x="1373" y="1425"/>
                  </a:cubicBezTo>
                  <a:cubicBezTo>
                    <a:pt x="1386" y="1427"/>
                    <a:pt x="1399" y="1429"/>
                    <a:pt x="1412" y="1430"/>
                  </a:cubicBezTo>
                  <a:cubicBezTo>
                    <a:pt x="1413" y="1477"/>
                    <a:pt x="1413" y="1477"/>
                    <a:pt x="1413" y="1477"/>
                  </a:cubicBezTo>
                  <a:cubicBezTo>
                    <a:pt x="1413" y="1534"/>
                    <a:pt x="1413" y="1534"/>
                    <a:pt x="1413" y="1534"/>
                  </a:cubicBezTo>
                  <a:cubicBezTo>
                    <a:pt x="1413" y="1651"/>
                    <a:pt x="1413" y="1651"/>
                    <a:pt x="1413" y="1651"/>
                  </a:cubicBezTo>
                  <a:cubicBezTo>
                    <a:pt x="1442" y="1654"/>
                    <a:pt x="1472" y="1657"/>
                    <a:pt x="1501" y="1659"/>
                  </a:cubicBezTo>
                  <a:cubicBezTo>
                    <a:pt x="1501" y="1703"/>
                    <a:pt x="1501" y="1703"/>
                    <a:pt x="1501" y="1703"/>
                  </a:cubicBezTo>
                  <a:cubicBezTo>
                    <a:pt x="1422" y="1698"/>
                    <a:pt x="1345" y="1687"/>
                    <a:pt x="1270" y="1671"/>
                  </a:cubicBezTo>
                  <a:close/>
                  <a:moveTo>
                    <a:pt x="1625" y="1693"/>
                  </a:moveTo>
                  <a:cubicBezTo>
                    <a:pt x="1623" y="1692"/>
                    <a:pt x="1622" y="1691"/>
                    <a:pt x="1620" y="1689"/>
                  </a:cubicBezTo>
                  <a:cubicBezTo>
                    <a:pt x="1580" y="1654"/>
                    <a:pt x="1577" y="1586"/>
                    <a:pt x="1583" y="1542"/>
                  </a:cubicBezTo>
                  <a:cubicBezTo>
                    <a:pt x="1584" y="1534"/>
                    <a:pt x="1586" y="1526"/>
                    <a:pt x="1587" y="1519"/>
                  </a:cubicBezTo>
                  <a:cubicBezTo>
                    <a:pt x="1591" y="1506"/>
                    <a:pt x="1596" y="1495"/>
                    <a:pt x="1602" y="1485"/>
                  </a:cubicBezTo>
                  <a:cubicBezTo>
                    <a:pt x="1628" y="1446"/>
                    <a:pt x="1672" y="1442"/>
                    <a:pt x="1695" y="1440"/>
                  </a:cubicBezTo>
                  <a:cubicBezTo>
                    <a:pt x="1737" y="1438"/>
                    <a:pt x="1768" y="1449"/>
                    <a:pt x="1786" y="1475"/>
                  </a:cubicBezTo>
                  <a:cubicBezTo>
                    <a:pt x="1797" y="1489"/>
                    <a:pt x="1804" y="1507"/>
                    <a:pt x="1807" y="1530"/>
                  </a:cubicBezTo>
                  <a:cubicBezTo>
                    <a:pt x="1807" y="1530"/>
                    <a:pt x="1808" y="1530"/>
                    <a:pt x="1808" y="1531"/>
                  </a:cubicBezTo>
                  <a:cubicBezTo>
                    <a:pt x="1834" y="1705"/>
                    <a:pt x="1690" y="1741"/>
                    <a:pt x="1625" y="1693"/>
                  </a:cubicBezTo>
                  <a:close/>
                  <a:moveTo>
                    <a:pt x="2080" y="1636"/>
                  </a:moveTo>
                  <a:cubicBezTo>
                    <a:pt x="2068" y="1640"/>
                    <a:pt x="2055" y="1644"/>
                    <a:pt x="2042" y="1648"/>
                  </a:cubicBezTo>
                  <a:cubicBezTo>
                    <a:pt x="2034" y="1650"/>
                    <a:pt x="2027" y="1652"/>
                    <a:pt x="2020" y="1654"/>
                  </a:cubicBezTo>
                  <a:cubicBezTo>
                    <a:pt x="1982" y="1664"/>
                    <a:pt x="1945" y="1673"/>
                    <a:pt x="1907" y="1680"/>
                  </a:cubicBezTo>
                  <a:cubicBezTo>
                    <a:pt x="1907" y="1635"/>
                    <a:pt x="1907" y="1635"/>
                    <a:pt x="1907" y="1635"/>
                  </a:cubicBezTo>
                  <a:cubicBezTo>
                    <a:pt x="1936" y="1629"/>
                    <a:pt x="1966" y="1623"/>
                    <a:pt x="1996" y="1616"/>
                  </a:cubicBezTo>
                  <a:cubicBezTo>
                    <a:pt x="1995" y="1495"/>
                    <a:pt x="1995" y="1495"/>
                    <a:pt x="1995" y="1495"/>
                  </a:cubicBezTo>
                  <a:cubicBezTo>
                    <a:pt x="1995" y="1450"/>
                    <a:pt x="1995" y="1450"/>
                    <a:pt x="1995" y="1450"/>
                  </a:cubicBezTo>
                  <a:cubicBezTo>
                    <a:pt x="1974" y="1463"/>
                    <a:pt x="1945" y="1479"/>
                    <a:pt x="1923" y="1491"/>
                  </a:cubicBezTo>
                  <a:cubicBezTo>
                    <a:pt x="1901" y="1457"/>
                    <a:pt x="1901" y="1457"/>
                    <a:pt x="1901" y="1457"/>
                  </a:cubicBezTo>
                  <a:cubicBezTo>
                    <a:pt x="1900" y="1455"/>
                    <a:pt x="1900" y="1455"/>
                    <a:pt x="1900" y="1455"/>
                  </a:cubicBezTo>
                  <a:cubicBezTo>
                    <a:pt x="1934" y="1436"/>
                    <a:pt x="1979" y="1410"/>
                    <a:pt x="2013" y="1391"/>
                  </a:cubicBezTo>
                  <a:cubicBezTo>
                    <a:pt x="2022" y="1388"/>
                    <a:pt x="2032" y="1386"/>
                    <a:pt x="2041" y="1383"/>
                  </a:cubicBezTo>
                  <a:cubicBezTo>
                    <a:pt x="2045" y="1382"/>
                    <a:pt x="2049" y="1381"/>
                    <a:pt x="2053" y="1380"/>
                  </a:cubicBezTo>
                  <a:cubicBezTo>
                    <a:pt x="2053" y="1419"/>
                    <a:pt x="2053" y="1419"/>
                    <a:pt x="2053" y="1419"/>
                  </a:cubicBezTo>
                  <a:cubicBezTo>
                    <a:pt x="2053" y="1478"/>
                    <a:pt x="2053" y="1478"/>
                    <a:pt x="2053" y="1478"/>
                  </a:cubicBezTo>
                  <a:cubicBezTo>
                    <a:pt x="2053" y="1600"/>
                    <a:pt x="2053" y="1600"/>
                    <a:pt x="2053" y="1600"/>
                  </a:cubicBezTo>
                  <a:cubicBezTo>
                    <a:pt x="2062" y="1597"/>
                    <a:pt x="2071" y="1594"/>
                    <a:pt x="2080" y="1591"/>
                  </a:cubicBezTo>
                  <a:cubicBezTo>
                    <a:pt x="2099" y="1585"/>
                    <a:pt x="2118" y="1579"/>
                    <a:pt x="2137" y="1572"/>
                  </a:cubicBezTo>
                  <a:cubicBezTo>
                    <a:pt x="2137" y="1617"/>
                    <a:pt x="2137" y="1617"/>
                    <a:pt x="2137" y="1617"/>
                  </a:cubicBezTo>
                  <a:cubicBezTo>
                    <a:pt x="2118" y="1623"/>
                    <a:pt x="2100" y="1630"/>
                    <a:pt x="2080" y="1636"/>
                  </a:cubicBezTo>
                  <a:close/>
                  <a:moveTo>
                    <a:pt x="2357" y="1506"/>
                  </a:moveTo>
                  <a:cubicBezTo>
                    <a:pt x="2313" y="1536"/>
                    <a:pt x="2263" y="1563"/>
                    <a:pt x="2208" y="1588"/>
                  </a:cubicBezTo>
                  <a:cubicBezTo>
                    <a:pt x="2208" y="1543"/>
                    <a:pt x="2208" y="1543"/>
                    <a:pt x="2208" y="1543"/>
                  </a:cubicBezTo>
                  <a:cubicBezTo>
                    <a:pt x="2233" y="1532"/>
                    <a:pt x="2257" y="1520"/>
                    <a:pt x="2280" y="1508"/>
                  </a:cubicBezTo>
                  <a:cubicBezTo>
                    <a:pt x="2280" y="1380"/>
                    <a:pt x="2280" y="1380"/>
                    <a:pt x="2280" y="1380"/>
                  </a:cubicBezTo>
                  <a:cubicBezTo>
                    <a:pt x="2280" y="1342"/>
                    <a:pt x="2280" y="1342"/>
                    <a:pt x="2280" y="1342"/>
                  </a:cubicBezTo>
                  <a:cubicBezTo>
                    <a:pt x="2263" y="1359"/>
                    <a:pt x="2239" y="1380"/>
                    <a:pt x="2222" y="1396"/>
                  </a:cubicBezTo>
                  <a:cubicBezTo>
                    <a:pt x="2202" y="1364"/>
                    <a:pt x="2202" y="1364"/>
                    <a:pt x="2202" y="1364"/>
                  </a:cubicBezTo>
                  <a:cubicBezTo>
                    <a:pt x="2208" y="1359"/>
                    <a:pt x="2214" y="1354"/>
                    <a:pt x="2220" y="1349"/>
                  </a:cubicBezTo>
                  <a:cubicBezTo>
                    <a:pt x="2244" y="1327"/>
                    <a:pt x="2272" y="1301"/>
                    <a:pt x="2294" y="1280"/>
                  </a:cubicBezTo>
                  <a:cubicBezTo>
                    <a:pt x="2304" y="1274"/>
                    <a:pt x="2314" y="1268"/>
                    <a:pt x="2324" y="1262"/>
                  </a:cubicBezTo>
                  <a:cubicBezTo>
                    <a:pt x="2324" y="1284"/>
                    <a:pt x="2324" y="1284"/>
                    <a:pt x="2324" y="1284"/>
                  </a:cubicBezTo>
                  <a:cubicBezTo>
                    <a:pt x="2324" y="1353"/>
                    <a:pt x="2324" y="1353"/>
                    <a:pt x="2324" y="1353"/>
                  </a:cubicBezTo>
                  <a:cubicBezTo>
                    <a:pt x="2324" y="1483"/>
                    <a:pt x="2324" y="1483"/>
                    <a:pt x="2324" y="1483"/>
                  </a:cubicBezTo>
                  <a:cubicBezTo>
                    <a:pt x="2337" y="1475"/>
                    <a:pt x="2349" y="1467"/>
                    <a:pt x="2361" y="1459"/>
                  </a:cubicBezTo>
                  <a:cubicBezTo>
                    <a:pt x="2369" y="1453"/>
                    <a:pt x="2378" y="1448"/>
                    <a:pt x="2386" y="1442"/>
                  </a:cubicBezTo>
                  <a:cubicBezTo>
                    <a:pt x="2386" y="1486"/>
                    <a:pt x="2386" y="1486"/>
                    <a:pt x="2386" y="1486"/>
                  </a:cubicBezTo>
                  <a:cubicBezTo>
                    <a:pt x="2376" y="1493"/>
                    <a:pt x="2367" y="1500"/>
                    <a:pt x="2357" y="1506"/>
                  </a:cubicBezTo>
                  <a:close/>
                  <a:moveTo>
                    <a:pt x="2534" y="1312"/>
                  </a:moveTo>
                  <a:cubicBezTo>
                    <a:pt x="2527" y="1345"/>
                    <a:pt x="2516" y="1369"/>
                    <a:pt x="2503" y="1386"/>
                  </a:cubicBezTo>
                  <a:cubicBezTo>
                    <a:pt x="2490" y="1405"/>
                    <a:pt x="2476" y="1414"/>
                    <a:pt x="2465" y="1413"/>
                  </a:cubicBezTo>
                  <a:cubicBezTo>
                    <a:pt x="2456" y="1413"/>
                    <a:pt x="2447" y="1403"/>
                    <a:pt x="2441" y="1386"/>
                  </a:cubicBezTo>
                  <a:cubicBezTo>
                    <a:pt x="2432" y="1358"/>
                    <a:pt x="2429" y="1314"/>
                    <a:pt x="2436" y="1266"/>
                  </a:cubicBezTo>
                  <a:cubicBezTo>
                    <a:pt x="2441" y="1228"/>
                    <a:pt x="2453" y="1189"/>
                    <a:pt x="2473" y="1155"/>
                  </a:cubicBezTo>
                  <a:cubicBezTo>
                    <a:pt x="2480" y="1144"/>
                    <a:pt x="2487" y="1134"/>
                    <a:pt x="2495" y="1124"/>
                  </a:cubicBezTo>
                  <a:cubicBezTo>
                    <a:pt x="2512" y="1107"/>
                    <a:pt x="2523" y="1102"/>
                    <a:pt x="2531" y="1109"/>
                  </a:cubicBezTo>
                  <a:cubicBezTo>
                    <a:pt x="2531" y="1110"/>
                    <a:pt x="2532" y="1111"/>
                    <a:pt x="2532" y="1111"/>
                  </a:cubicBezTo>
                  <a:cubicBezTo>
                    <a:pt x="2532" y="1111"/>
                    <a:pt x="2532" y="1111"/>
                    <a:pt x="2532" y="1111"/>
                  </a:cubicBezTo>
                  <a:cubicBezTo>
                    <a:pt x="2549" y="1135"/>
                    <a:pt x="2549" y="1246"/>
                    <a:pt x="2534" y="1312"/>
                  </a:cubicBezTo>
                  <a:close/>
                  <a:moveTo>
                    <a:pt x="2737" y="1197"/>
                  </a:moveTo>
                  <a:cubicBezTo>
                    <a:pt x="2667" y="1197"/>
                    <a:pt x="2654" y="1127"/>
                    <a:pt x="2654" y="1074"/>
                  </a:cubicBezTo>
                  <a:cubicBezTo>
                    <a:pt x="2654" y="1022"/>
                    <a:pt x="2668" y="953"/>
                    <a:pt x="2737" y="953"/>
                  </a:cubicBezTo>
                  <a:cubicBezTo>
                    <a:pt x="2806" y="953"/>
                    <a:pt x="2819" y="1022"/>
                    <a:pt x="2819" y="1074"/>
                  </a:cubicBezTo>
                  <a:cubicBezTo>
                    <a:pt x="2819" y="1127"/>
                    <a:pt x="2807" y="1197"/>
                    <a:pt x="2737" y="1197"/>
                  </a:cubicBezTo>
                  <a:close/>
                  <a:moveTo>
                    <a:pt x="3062" y="1195"/>
                  </a:moveTo>
                  <a:cubicBezTo>
                    <a:pt x="2889" y="1195"/>
                    <a:pt x="2889" y="1195"/>
                    <a:pt x="2889" y="1195"/>
                  </a:cubicBezTo>
                  <a:cubicBezTo>
                    <a:pt x="2889" y="1154"/>
                    <a:pt x="2889" y="1154"/>
                    <a:pt x="2889" y="1154"/>
                  </a:cubicBezTo>
                  <a:cubicBezTo>
                    <a:pt x="2954" y="1154"/>
                    <a:pt x="2954" y="1154"/>
                    <a:pt x="2954" y="1154"/>
                  </a:cubicBezTo>
                  <a:cubicBezTo>
                    <a:pt x="2954" y="1005"/>
                    <a:pt x="2954" y="1005"/>
                    <a:pt x="2954" y="1005"/>
                  </a:cubicBezTo>
                  <a:cubicBezTo>
                    <a:pt x="2902" y="1028"/>
                    <a:pt x="2902" y="1028"/>
                    <a:pt x="2902" y="1028"/>
                  </a:cubicBezTo>
                  <a:cubicBezTo>
                    <a:pt x="2885" y="991"/>
                    <a:pt x="2885" y="991"/>
                    <a:pt x="2885" y="991"/>
                  </a:cubicBezTo>
                  <a:cubicBezTo>
                    <a:pt x="2967" y="956"/>
                    <a:pt x="2967" y="956"/>
                    <a:pt x="2967" y="956"/>
                  </a:cubicBezTo>
                  <a:cubicBezTo>
                    <a:pt x="2997" y="956"/>
                    <a:pt x="2997" y="956"/>
                    <a:pt x="2997" y="956"/>
                  </a:cubicBezTo>
                  <a:cubicBezTo>
                    <a:pt x="2997" y="1154"/>
                    <a:pt x="2997" y="1154"/>
                    <a:pt x="2997" y="1154"/>
                  </a:cubicBezTo>
                  <a:cubicBezTo>
                    <a:pt x="3062" y="1154"/>
                    <a:pt x="3062" y="1154"/>
                    <a:pt x="3062" y="1154"/>
                  </a:cubicBezTo>
                  <a:lnTo>
                    <a:pt x="3062" y="1195"/>
                  </a:lnTo>
                  <a:close/>
                  <a:moveTo>
                    <a:pt x="1111" y="1423"/>
                  </a:moveTo>
                  <a:cubicBezTo>
                    <a:pt x="1108" y="1419"/>
                    <a:pt x="1106" y="1415"/>
                    <a:pt x="1103" y="1412"/>
                  </a:cubicBezTo>
                  <a:cubicBezTo>
                    <a:pt x="1092" y="1397"/>
                    <a:pt x="1078" y="1390"/>
                    <a:pt x="1062" y="1395"/>
                  </a:cubicBezTo>
                  <a:cubicBezTo>
                    <a:pt x="1061" y="1395"/>
                    <a:pt x="1060" y="1395"/>
                    <a:pt x="1059" y="1396"/>
                  </a:cubicBezTo>
                  <a:cubicBezTo>
                    <a:pt x="1045" y="1402"/>
                    <a:pt x="1039" y="1425"/>
                    <a:pt x="1038" y="1448"/>
                  </a:cubicBezTo>
                  <a:cubicBezTo>
                    <a:pt x="1036" y="1472"/>
                    <a:pt x="1038" y="1496"/>
                    <a:pt x="1038" y="1498"/>
                  </a:cubicBezTo>
                  <a:cubicBezTo>
                    <a:pt x="1046" y="1564"/>
                    <a:pt x="1073" y="1575"/>
                    <a:pt x="1082" y="1578"/>
                  </a:cubicBezTo>
                  <a:cubicBezTo>
                    <a:pt x="1087" y="1580"/>
                    <a:pt x="1092" y="1581"/>
                    <a:pt x="1097" y="1580"/>
                  </a:cubicBezTo>
                  <a:cubicBezTo>
                    <a:pt x="1105" y="1579"/>
                    <a:pt x="1112" y="1575"/>
                    <a:pt x="1117" y="1566"/>
                  </a:cubicBezTo>
                  <a:cubicBezTo>
                    <a:pt x="1129" y="1544"/>
                    <a:pt x="1132" y="1511"/>
                    <a:pt x="1128" y="1480"/>
                  </a:cubicBezTo>
                  <a:cubicBezTo>
                    <a:pt x="1125" y="1459"/>
                    <a:pt x="1119" y="1439"/>
                    <a:pt x="1111" y="1423"/>
                  </a:cubicBezTo>
                  <a:close/>
                  <a:moveTo>
                    <a:pt x="2509" y="1164"/>
                  </a:moveTo>
                  <a:cubicBezTo>
                    <a:pt x="2502" y="1159"/>
                    <a:pt x="2480" y="1174"/>
                    <a:pt x="2472" y="1231"/>
                  </a:cubicBezTo>
                  <a:cubicBezTo>
                    <a:pt x="2469" y="1250"/>
                    <a:pt x="2467" y="1273"/>
                    <a:pt x="2468" y="1302"/>
                  </a:cubicBezTo>
                  <a:cubicBezTo>
                    <a:pt x="2469" y="1330"/>
                    <a:pt x="2474" y="1373"/>
                    <a:pt x="2495" y="1351"/>
                  </a:cubicBezTo>
                  <a:cubicBezTo>
                    <a:pt x="2521" y="1323"/>
                    <a:pt x="2525" y="1221"/>
                    <a:pt x="2516" y="1180"/>
                  </a:cubicBezTo>
                  <a:cubicBezTo>
                    <a:pt x="2514" y="1171"/>
                    <a:pt x="2512" y="1165"/>
                    <a:pt x="2509" y="1164"/>
                  </a:cubicBezTo>
                  <a:close/>
                </a:path>
              </a:pathLst>
            </a:custGeom>
            <a:solidFill>
              <a:schemeClr val="accent4"/>
            </a:solidFill>
            <a:ln>
              <a:noFill/>
            </a:ln>
          </p:spPr>
          <p:txBody>
            <a:bodyPr vert="horz" wrap="square" lIns="80687" tIns="40344" rIns="80687" bIns="40344" numCol="1" anchor="t" anchorCtr="0" compatLnSpc="1">
              <a:prstTxWarp prst="textNoShape">
                <a:avLst/>
              </a:prstTxWarp>
            </a:bodyPr>
            <a:lstStyle/>
            <a:p>
              <a:endParaRPr lang="en-US" sz="2157" dirty="0"/>
            </a:p>
          </p:txBody>
        </p:sp>
        <p:sp>
          <p:nvSpPr>
            <p:cNvPr id="162" name="Freeform 44"/>
            <p:cNvSpPr>
              <a:spLocks noEditPoints="1"/>
            </p:cNvSpPr>
            <p:nvPr/>
          </p:nvSpPr>
          <p:spPr bwMode="auto">
            <a:xfrm>
              <a:off x="3099327" y="2575675"/>
              <a:ext cx="419171" cy="247691"/>
            </a:xfrm>
            <a:custGeom>
              <a:avLst/>
              <a:gdLst>
                <a:gd name="T0" fmla="*/ 281 w 372"/>
                <a:gd name="T1" fmla="*/ 71 h 221"/>
                <a:gd name="T2" fmla="*/ 284 w 372"/>
                <a:gd name="T3" fmla="*/ 71 h 221"/>
                <a:gd name="T4" fmla="*/ 206 w 372"/>
                <a:gd name="T5" fmla="*/ 0 h 221"/>
                <a:gd name="T6" fmla="*/ 136 w 372"/>
                <a:gd name="T7" fmla="*/ 42 h 221"/>
                <a:gd name="T8" fmla="*/ 106 w 372"/>
                <a:gd name="T9" fmla="*/ 34 h 221"/>
                <a:gd name="T10" fmla="*/ 46 w 372"/>
                <a:gd name="T11" fmla="*/ 94 h 221"/>
                <a:gd name="T12" fmla="*/ 47 w 372"/>
                <a:gd name="T13" fmla="*/ 104 h 221"/>
                <a:gd name="T14" fmla="*/ 0 w 372"/>
                <a:gd name="T15" fmla="*/ 153 h 221"/>
                <a:gd name="T16" fmla="*/ 46 w 372"/>
                <a:gd name="T17" fmla="*/ 202 h 221"/>
                <a:gd name="T18" fmla="*/ 46 w 372"/>
                <a:gd name="T19" fmla="*/ 202 h 221"/>
                <a:gd name="T20" fmla="*/ 49 w 372"/>
                <a:gd name="T21" fmla="*/ 202 h 221"/>
                <a:gd name="T22" fmla="*/ 49 w 372"/>
                <a:gd name="T23" fmla="*/ 202 h 221"/>
                <a:gd name="T24" fmla="*/ 49 w 372"/>
                <a:gd name="T25" fmla="*/ 202 h 221"/>
                <a:gd name="T26" fmla="*/ 82 w 372"/>
                <a:gd name="T27" fmla="*/ 202 h 221"/>
                <a:gd name="T28" fmla="*/ 72 w 372"/>
                <a:gd name="T29" fmla="*/ 171 h 221"/>
                <a:gd name="T30" fmla="*/ 125 w 372"/>
                <a:gd name="T31" fmla="*/ 113 h 221"/>
                <a:gd name="T32" fmla="*/ 200 w 372"/>
                <a:gd name="T33" fmla="*/ 49 h 221"/>
                <a:gd name="T34" fmla="*/ 259 w 372"/>
                <a:gd name="T35" fmla="*/ 76 h 221"/>
                <a:gd name="T36" fmla="*/ 281 w 372"/>
                <a:gd name="T37" fmla="*/ 71 h 221"/>
                <a:gd name="T38" fmla="*/ 336 w 372"/>
                <a:gd name="T39" fmla="*/ 139 h 221"/>
                <a:gd name="T40" fmla="*/ 337 w 372"/>
                <a:gd name="T41" fmla="*/ 136 h 221"/>
                <a:gd name="T42" fmla="*/ 283 w 372"/>
                <a:gd name="T43" fmla="*/ 82 h 221"/>
                <a:gd name="T44" fmla="*/ 256 w 372"/>
                <a:gd name="T45" fmla="*/ 89 h 221"/>
                <a:gd name="T46" fmla="*/ 200 w 372"/>
                <a:gd name="T47" fmla="*/ 58 h 221"/>
                <a:gd name="T48" fmla="*/ 136 w 372"/>
                <a:gd name="T49" fmla="*/ 122 h 221"/>
                <a:gd name="T50" fmla="*/ 133 w 372"/>
                <a:gd name="T51" fmla="*/ 121 h 221"/>
                <a:gd name="T52" fmla="*/ 84 w 372"/>
                <a:gd name="T53" fmla="*/ 171 h 221"/>
                <a:gd name="T54" fmla="*/ 133 w 372"/>
                <a:gd name="T55" fmla="*/ 220 h 221"/>
                <a:gd name="T56" fmla="*/ 133 w 372"/>
                <a:gd name="T57" fmla="*/ 220 h 221"/>
                <a:gd name="T58" fmla="*/ 133 w 372"/>
                <a:gd name="T59" fmla="*/ 220 h 221"/>
                <a:gd name="T60" fmla="*/ 322 w 372"/>
                <a:gd name="T61" fmla="*/ 220 h 221"/>
                <a:gd name="T62" fmla="*/ 331 w 372"/>
                <a:gd name="T63" fmla="*/ 221 h 221"/>
                <a:gd name="T64" fmla="*/ 372 w 372"/>
                <a:gd name="T65" fmla="*/ 180 h 221"/>
                <a:gd name="T66" fmla="*/ 336 w 372"/>
                <a:gd name="T67" fmla="*/ 139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72" h="221">
                  <a:moveTo>
                    <a:pt x="281" y="71"/>
                  </a:moveTo>
                  <a:cubicBezTo>
                    <a:pt x="282" y="71"/>
                    <a:pt x="283" y="71"/>
                    <a:pt x="284" y="71"/>
                  </a:cubicBezTo>
                  <a:cubicBezTo>
                    <a:pt x="280" y="31"/>
                    <a:pt x="247" y="0"/>
                    <a:pt x="206" y="0"/>
                  </a:cubicBezTo>
                  <a:cubicBezTo>
                    <a:pt x="176" y="0"/>
                    <a:pt x="149" y="17"/>
                    <a:pt x="136" y="42"/>
                  </a:cubicBezTo>
                  <a:cubicBezTo>
                    <a:pt x="127" y="37"/>
                    <a:pt x="117" y="34"/>
                    <a:pt x="106" y="34"/>
                  </a:cubicBezTo>
                  <a:cubicBezTo>
                    <a:pt x="73" y="34"/>
                    <a:pt x="46" y="61"/>
                    <a:pt x="46" y="94"/>
                  </a:cubicBezTo>
                  <a:cubicBezTo>
                    <a:pt x="46" y="97"/>
                    <a:pt x="46" y="101"/>
                    <a:pt x="47" y="104"/>
                  </a:cubicBezTo>
                  <a:cubicBezTo>
                    <a:pt x="21" y="105"/>
                    <a:pt x="0" y="127"/>
                    <a:pt x="0" y="153"/>
                  </a:cubicBezTo>
                  <a:cubicBezTo>
                    <a:pt x="0" y="179"/>
                    <a:pt x="20" y="201"/>
                    <a:pt x="46" y="202"/>
                  </a:cubicBezTo>
                  <a:cubicBezTo>
                    <a:pt x="46" y="202"/>
                    <a:pt x="46" y="202"/>
                    <a:pt x="46" y="202"/>
                  </a:cubicBezTo>
                  <a:cubicBezTo>
                    <a:pt x="49" y="202"/>
                    <a:pt x="49" y="202"/>
                    <a:pt x="49" y="202"/>
                  </a:cubicBezTo>
                  <a:cubicBezTo>
                    <a:pt x="49" y="202"/>
                    <a:pt x="49" y="202"/>
                    <a:pt x="49" y="202"/>
                  </a:cubicBezTo>
                  <a:cubicBezTo>
                    <a:pt x="49" y="202"/>
                    <a:pt x="49" y="202"/>
                    <a:pt x="49" y="202"/>
                  </a:cubicBezTo>
                  <a:cubicBezTo>
                    <a:pt x="82" y="202"/>
                    <a:pt x="82" y="202"/>
                    <a:pt x="82" y="202"/>
                  </a:cubicBezTo>
                  <a:cubicBezTo>
                    <a:pt x="76" y="193"/>
                    <a:pt x="72" y="182"/>
                    <a:pt x="72" y="171"/>
                  </a:cubicBezTo>
                  <a:cubicBezTo>
                    <a:pt x="72" y="140"/>
                    <a:pt x="96" y="115"/>
                    <a:pt x="125" y="113"/>
                  </a:cubicBezTo>
                  <a:cubicBezTo>
                    <a:pt x="131" y="76"/>
                    <a:pt x="162" y="49"/>
                    <a:pt x="200" y="49"/>
                  </a:cubicBezTo>
                  <a:cubicBezTo>
                    <a:pt x="224" y="49"/>
                    <a:pt x="245" y="59"/>
                    <a:pt x="259" y="76"/>
                  </a:cubicBezTo>
                  <a:cubicBezTo>
                    <a:pt x="266" y="73"/>
                    <a:pt x="273" y="71"/>
                    <a:pt x="281" y="71"/>
                  </a:cubicBezTo>
                  <a:moveTo>
                    <a:pt x="336" y="139"/>
                  </a:moveTo>
                  <a:cubicBezTo>
                    <a:pt x="336" y="138"/>
                    <a:pt x="337" y="137"/>
                    <a:pt x="337" y="136"/>
                  </a:cubicBezTo>
                  <a:cubicBezTo>
                    <a:pt x="337" y="106"/>
                    <a:pt x="312" y="82"/>
                    <a:pt x="283" y="82"/>
                  </a:cubicBezTo>
                  <a:cubicBezTo>
                    <a:pt x="273" y="82"/>
                    <a:pt x="264" y="85"/>
                    <a:pt x="256" y="89"/>
                  </a:cubicBezTo>
                  <a:cubicBezTo>
                    <a:pt x="244" y="71"/>
                    <a:pt x="224" y="58"/>
                    <a:pt x="200" y="58"/>
                  </a:cubicBezTo>
                  <a:cubicBezTo>
                    <a:pt x="165" y="58"/>
                    <a:pt x="136" y="87"/>
                    <a:pt x="136" y="122"/>
                  </a:cubicBezTo>
                  <a:cubicBezTo>
                    <a:pt x="135" y="121"/>
                    <a:pt x="134" y="121"/>
                    <a:pt x="133" y="121"/>
                  </a:cubicBezTo>
                  <a:cubicBezTo>
                    <a:pt x="106" y="121"/>
                    <a:pt x="84" y="144"/>
                    <a:pt x="84" y="171"/>
                  </a:cubicBezTo>
                  <a:cubicBezTo>
                    <a:pt x="84" y="198"/>
                    <a:pt x="106" y="220"/>
                    <a:pt x="133" y="220"/>
                  </a:cubicBezTo>
                  <a:cubicBezTo>
                    <a:pt x="133" y="220"/>
                    <a:pt x="133" y="220"/>
                    <a:pt x="133" y="220"/>
                  </a:cubicBezTo>
                  <a:cubicBezTo>
                    <a:pt x="133" y="220"/>
                    <a:pt x="133" y="220"/>
                    <a:pt x="133" y="220"/>
                  </a:cubicBezTo>
                  <a:cubicBezTo>
                    <a:pt x="322" y="220"/>
                    <a:pt x="322" y="220"/>
                    <a:pt x="322" y="220"/>
                  </a:cubicBezTo>
                  <a:cubicBezTo>
                    <a:pt x="325" y="220"/>
                    <a:pt x="328" y="221"/>
                    <a:pt x="331" y="221"/>
                  </a:cubicBezTo>
                  <a:cubicBezTo>
                    <a:pt x="353" y="221"/>
                    <a:pt x="372" y="202"/>
                    <a:pt x="372" y="180"/>
                  </a:cubicBezTo>
                  <a:cubicBezTo>
                    <a:pt x="372" y="159"/>
                    <a:pt x="356" y="142"/>
                    <a:pt x="336" y="139"/>
                  </a:cubicBezTo>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IN" dirty="0"/>
            </a:p>
          </p:txBody>
        </p:sp>
      </p:grpSp>
      <p:sp>
        <p:nvSpPr>
          <p:cNvPr id="2" name="Slide Number Placeholder 1"/>
          <p:cNvSpPr>
            <a:spLocks noGrp="1"/>
          </p:cNvSpPr>
          <p:nvPr>
            <p:ph type="sldNum" sz="quarter" idx="4"/>
          </p:nvPr>
        </p:nvSpPr>
        <p:spPr/>
        <p:txBody>
          <a:bodyPr/>
          <a:lstStyle/>
          <a:p>
            <a:pPr>
              <a:defRPr/>
            </a:pPr>
            <a:fld id="{75FAD755-3BD0-2447-A9DF-109DAABEFD99}" type="slidenum">
              <a:rPr lang="en-US" smtClean="0"/>
              <a:pPr>
                <a:defRPr/>
              </a:pPr>
              <a:t>39</a:t>
            </a:fld>
            <a:endParaRPr lang="en-US" dirty="0"/>
          </a:p>
        </p:txBody>
      </p:sp>
    </p:spTree>
    <p:extLst>
      <p:ext uri="{BB962C8B-B14F-4D97-AF65-F5344CB8AC3E}">
        <p14:creationId xmlns:p14="http://schemas.microsoft.com/office/powerpoint/2010/main" val="2247976083"/>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33"/>
                                        </p:tgtEl>
                                        <p:attrNameLst>
                                          <p:attrName>style.visibility</p:attrName>
                                        </p:attrNameLst>
                                      </p:cBhvr>
                                      <p:to>
                                        <p:strVal val="visible"/>
                                      </p:to>
                                    </p:set>
                                    <p:animEffect transition="in" filter="fade">
                                      <p:cBhvr>
                                        <p:cTn id="7" dur="500"/>
                                        <p:tgtEl>
                                          <p:spTgt spid="13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53" name="Group 152"/>
          <p:cNvGrpSpPr/>
          <p:nvPr/>
        </p:nvGrpSpPr>
        <p:grpSpPr>
          <a:xfrm>
            <a:off x="8495716" y="561025"/>
            <a:ext cx="3696284" cy="6296975"/>
            <a:chOff x="8215732" y="561025"/>
            <a:chExt cx="3696284" cy="6296975"/>
          </a:xfrm>
        </p:grpSpPr>
        <p:sp>
          <p:nvSpPr>
            <p:cNvPr id="9" name="Freeform 5"/>
            <p:cNvSpPr>
              <a:spLocks/>
            </p:cNvSpPr>
            <p:nvPr/>
          </p:nvSpPr>
          <p:spPr bwMode="auto">
            <a:xfrm>
              <a:off x="8790290" y="4889891"/>
              <a:ext cx="1968110" cy="1968109"/>
            </a:xfrm>
            <a:custGeom>
              <a:avLst/>
              <a:gdLst>
                <a:gd name="T0" fmla="*/ 252 w 629"/>
                <a:gd name="T1" fmla="*/ 66 h 629"/>
                <a:gd name="T2" fmla="*/ 252 w 629"/>
                <a:gd name="T3" fmla="*/ 0 h 629"/>
                <a:gd name="T4" fmla="*/ 89 w 629"/>
                <a:gd name="T5" fmla="*/ 0 h 629"/>
                <a:gd name="T6" fmla="*/ 89 w 629"/>
                <a:gd name="T7" fmla="*/ 66 h 629"/>
                <a:gd name="T8" fmla="*/ 0 w 629"/>
                <a:gd name="T9" fmla="*/ 66 h 629"/>
                <a:gd name="T10" fmla="*/ 0 w 629"/>
                <a:gd name="T11" fmla="*/ 82 h 629"/>
                <a:gd name="T12" fmla="*/ 21 w 629"/>
                <a:gd name="T13" fmla="*/ 82 h 629"/>
                <a:gd name="T14" fmla="*/ 21 w 629"/>
                <a:gd name="T15" fmla="*/ 629 h 629"/>
                <a:gd name="T16" fmla="*/ 608 w 629"/>
                <a:gd name="T17" fmla="*/ 629 h 629"/>
                <a:gd name="T18" fmla="*/ 608 w 629"/>
                <a:gd name="T19" fmla="*/ 82 h 629"/>
                <a:gd name="T20" fmla="*/ 629 w 629"/>
                <a:gd name="T21" fmla="*/ 82 h 629"/>
                <a:gd name="T22" fmla="*/ 629 w 629"/>
                <a:gd name="T23" fmla="*/ 66 h 629"/>
                <a:gd name="T24" fmla="*/ 252 w 629"/>
                <a:gd name="T25" fmla="*/ 66 h 6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9" h="629">
                  <a:moveTo>
                    <a:pt x="252" y="66"/>
                  </a:moveTo>
                  <a:lnTo>
                    <a:pt x="252" y="0"/>
                  </a:lnTo>
                  <a:lnTo>
                    <a:pt x="89" y="0"/>
                  </a:lnTo>
                  <a:lnTo>
                    <a:pt x="89" y="66"/>
                  </a:lnTo>
                  <a:lnTo>
                    <a:pt x="0" y="66"/>
                  </a:lnTo>
                  <a:lnTo>
                    <a:pt x="0" y="82"/>
                  </a:lnTo>
                  <a:lnTo>
                    <a:pt x="21" y="82"/>
                  </a:lnTo>
                  <a:lnTo>
                    <a:pt x="21" y="629"/>
                  </a:lnTo>
                  <a:lnTo>
                    <a:pt x="608" y="629"/>
                  </a:lnTo>
                  <a:lnTo>
                    <a:pt x="608" y="82"/>
                  </a:lnTo>
                  <a:lnTo>
                    <a:pt x="629" y="82"/>
                  </a:lnTo>
                  <a:lnTo>
                    <a:pt x="629" y="66"/>
                  </a:lnTo>
                  <a:lnTo>
                    <a:pt x="252" y="66"/>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 name="Freeform 6"/>
            <p:cNvSpPr>
              <a:spLocks/>
            </p:cNvSpPr>
            <p:nvPr/>
          </p:nvSpPr>
          <p:spPr bwMode="auto">
            <a:xfrm>
              <a:off x="8790290" y="4889891"/>
              <a:ext cx="1968110" cy="1968109"/>
            </a:xfrm>
            <a:custGeom>
              <a:avLst/>
              <a:gdLst>
                <a:gd name="T0" fmla="*/ 252 w 629"/>
                <a:gd name="T1" fmla="*/ 66 h 629"/>
                <a:gd name="T2" fmla="*/ 252 w 629"/>
                <a:gd name="T3" fmla="*/ 0 h 629"/>
                <a:gd name="T4" fmla="*/ 89 w 629"/>
                <a:gd name="T5" fmla="*/ 0 h 629"/>
                <a:gd name="T6" fmla="*/ 89 w 629"/>
                <a:gd name="T7" fmla="*/ 66 h 629"/>
                <a:gd name="T8" fmla="*/ 0 w 629"/>
                <a:gd name="T9" fmla="*/ 66 h 629"/>
                <a:gd name="T10" fmla="*/ 0 w 629"/>
                <a:gd name="T11" fmla="*/ 82 h 629"/>
                <a:gd name="T12" fmla="*/ 21 w 629"/>
                <a:gd name="T13" fmla="*/ 82 h 629"/>
                <a:gd name="T14" fmla="*/ 21 w 629"/>
                <a:gd name="T15" fmla="*/ 629 h 629"/>
                <a:gd name="T16" fmla="*/ 608 w 629"/>
                <a:gd name="T17" fmla="*/ 629 h 629"/>
                <a:gd name="T18" fmla="*/ 608 w 629"/>
                <a:gd name="T19" fmla="*/ 82 h 629"/>
                <a:gd name="T20" fmla="*/ 629 w 629"/>
                <a:gd name="T21" fmla="*/ 82 h 629"/>
                <a:gd name="T22" fmla="*/ 629 w 629"/>
                <a:gd name="T23" fmla="*/ 66 h 629"/>
                <a:gd name="T24" fmla="*/ 252 w 629"/>
                <a:gd name="T25" fmla="*/ 66 h 6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9" h="629">
                  <a:moveTo>
                    <a:pt x="252" y="66"/>
                  </a:moveTo>
                  <a:lnTo>
                    <a:pt x="252" y="0"/>
                  </a:lnTo>
                  <a:lnTo>
                    <a:pt x="89" y="0"/>
                  </a:lnTo>
                  <a:lnTo>
                    <a:pt x="89" y="66"/>
                  </a:lnTo>
                  <a:lnTo>
                    <a:pt x="0" y="66"/>
                  </a:lnTo>
                  <a:lnTo>
                    <a:pt x="0" y="82"/>
                  </a:lnTo>
                  <a:lnTo>
                    <a:pt x="21" y="82"/>
                  </a:lnTo>
                  <a:lnTo>
                    <a:pt x="21" y="629"/>
                  </a:lnTo>
                  <a:lnTo>
                    <a:pt x="608" y="629"/>
                  </a:lnTo>
                  <a:lnTo>
                    <a:pt x="608" y="82"/>
                  </a:lnTo>
                  <a:lnTo>
                    <a:pt x="629" y="82"/>
                  </a:lnTo>
                  <a:lnTo>
                    <a:pt x="629" y="66"/>
                  </a:lnTo>
                  <a:lnTo>
                    <a:pt x="252" y="6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 name="Freeform 7"/>
            <p:cNvSpPr>
              <a:spLocks/>
            </p:cNvSpPr>
            <p:nvPr/>
          </p:nvSpPr>
          <p:spPr bwMode="auto">
            <a:xfrm>
              <a:off x="9218955" y="3071973"/>
              <a:ext cx="1073230" cy="704014"/>
            </a:xfrm>
            <a:custGeom>
              <a:avLst/>
              <a:gdLst>
                <a:gd name="T0" fmla="*/ 206 w 245"/>
                <a:gd name="T1" fmla="*/ 71 h 161"/>
                <a:gd name="T2" fmla="*/ 206 w 245"/>
                <a:gd name="T3" fmla="*/ 67 h 161"/>
                <a:gd name="T4" fmla="*/ 139 w 245"/>
                <a:gd name="T5" fmla="*/ 0 h 161"/>
                <a:gd name="T6" fmla="*/ 82 w 245"/>
                <a:gd name="T7" fmla="*/ 30 h 161"/>
                <a:gd name="T8" fmla="*/ 64 w 245"/>
                <a:gd name="T9" fmla="*/ 25 h 161"/>
                <a:gd name="T10" fmla="*/ 42 w 245"/>
                <a:gd name="T11" fmla="*/ 32 h 161"/>
                <a:gd name="T12" fmla="*/ 25 w 245"/>
                <a:gd name="T13" fmla="*/ 63 h 161"/>
                <a:gd name="T14" fmla="*/ 0 w 245"/>
                <a:gd name="T15" fmla="*/ 108 h 161"/>
                <a:gd name="T16" fmla="*/ 48 w 245"/>
                <a:gd name="T17" fmla="*/ 161 h 161"/>
                <a:gd name="T18" fmla="*/ 54 w 245"/>
                <a:gd name="T19" fmla="*/ 161 h 161"/>
                <a:gd name="T20" fmla="*/ 59 w 245"/>
                <a:gd name="T21" fmla="*/ 161 h 161"/>
                <a:gd name="T22" fmla="*/ 169 w 245"/>
                <a:gd name="T23" fmla="*/ 161 h 161"/>
                <a:gd name="T24" fmla="*/ 171 w 245"/>
                <a:gd name="T25" fmla="*/ 161 h 161"/>
                <a:gd name="T26" fmla="*/ 174 w 245"/>
                <a:gd name="T27" fmla="*/ 161 h 161"/>
                <a:gd name="T28" fmla="*/ 182 w 245"/>
                <a:gd name="T29" fmla="*/ 161 h 161"/>
                <a:gd name="T30" fmla="*/ 200 w 245"/>
                <a:gd name="T31" fmla="*/ 161 h 161"/>
                <a:gd name="T32" fmla="*/ 245 w 245"/>
                <a:gd name="T33" fmla="*/ 116 h 161"/>
                <a:gd name="T34" fmla="*/ 206 w 245"/>
                <a:gd name="T35" fmla="*/ 71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5" h="161">
                  <a:moveTo>
                    <a:pt x="206" y="71"/>
                  </a:moveTo>
                  <a:cubicBezTo>
                    <a:pt x="206" y="70"/>
                    <a:pt x="206" y="68"/>
                    <a:pt x="206" y="67"/>
                  </a:cubicBezTo>
                  <a:cubicBezTo>
                    <a:pt x="206" y="30"/>
                    <a:pt x="176" y="0"/>
                    <a:pt x="139" y="0"/>
                  </a:cubicBezTo>
                  <a:cubicBezTo>
                    <a:pt x="115" y="0"/>
                    <a:pt x="95" y="12"/>
                    <a:pt x="82" y="30"/>
                  </a:cubicBezTo>
                  <a:cubicBezTo>
                    <a:pt x="77" y="27"/>
                    <a:pt x="71" y="25"/>
                    <a:pt x="64" y="25"/>
                  </a:cubicBezTo>
                  <a:cubicBezTo>
                    <a:pt x="56" y="25"/>
                    <a:pt x="48" y="28"/>
                    <a:pt x="42" y="32"/>
                  </a:cubicBezTo>
                  <a:cubicBezTo>
                    <a:pt x="32" y="39"/>
                    <a:pt x="25" y="50"/>
                    <a:pt x="25" y="63"/>
                  </a:cubicBezTo>
                  <a:cubicBezTo>
                    <a:pt x="10" y="73"/>
                    <a:pt x="0" y="90"/>
                    <a:pt x="0" y="108"/>
                  </a:cubicBezTo>
                  <a:cubicBezTo>
                    <a:pt x="0" y="135"/>
                    <a:pt x="21" y="158"/>
                    <a:pt x="48" y="161"/>
                  </a:cubicBezTo>
                  <a:cubicBezTo>
                    <a:pt x="50" y="161"/>
                    <a:pt x="52" y="161"/>
                    <a:pt x="54" y="161"/>
                  </a:cubicBezTo>
                  <a:cubicBezTo>
                    <a:pt x="55" y="161"/>
                    <a:pt x="57" y="161"/>
                    <a:pt x="59" y="161"/>
                  </a:cubicBezTo>
                  <a:cubicBezTo>
                    <a:pt x="84" y="161"/>
                    <a:pt x="142" y="161"/>
                    <a:pt x="169" y="161"/>
                  </a:cubicBezTo>
                  <a:cubicBezTo>
                    <a:pt x="170" y="161"/>
                    <a:pt x="171" y="161"/>
                    <a:pt x="171" y="161"/>
                  </a:cubicBezTo>
                  <a:cubicBezTo>
                    <a:pt x="174" y="161"/>
                    <a:pt x="174" y="161"/>
                    <a:pt x="174" y="161"/>
                  </a:cubicBezTo>
                  <a:cubicBezTo>
                    <a:pt x="176" y="161"/>
                    <a:pt x="180" y="161"/>
                    <a:pt x="182" y="161"/>
                  </a:cubicBezTo>
                  <a:cubicBezTo>
                    <a:pt x="200" y="161"/>
                    <a:pt x="200" y="161"/>
                    <a:pt x="200" y="161"/>
                  </a:cubicBezTo>
                  <a:cubicBezTo>
                    <a:pt x="225" y="161"/>
                    <a:pt x="245" y="140"/>
                    <a:pt x="245" y="116"/>
                  </a:cubicBezTo>
                  <a:cubicBezTo>
                    <a:pt x="245" y="93"/>
                    <a:pt x="228" y="74"/>
                    <a:pt x="206" y="71"/>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 name="Freeform 8"/>
            <p:cNvSpPr>
              <a:spLocks/>
            </p:cNvSpPr>
            <p:nvPr/>
          </p:nvSpPr>
          <p:spPr bwMode="auto">
            <a:xfrm>
              <a:off x="10432987" y="3600764"/>
              <a:ext cx="384862" cy="250316"/>
            </a:xfrm>
            <a:custGeom>
              <a:avLst/>
              <a:gdLst>
                <a:gd name="T0" fmla="*/ 74 w 88"/>
                <a:gd name="T1" fmla="*/ 25 h 57"/>
                <a:gd name="T2" fmla="*/ 74 w 88"/>
                <a:gd name="T3" fmla="*/ 24 h 57"/>
                <a:gd name="T4" fmla="*/ 50 w 88"/>
                <a:gd name="T5" fmla="*/ 0 h 57"/>
                <a:gd name="T6" fmla="*/ 29 w 88"/>
                <a:gd name="T7" fmla="*/ 10 h 57"/>
                <a:gd name="T8" fmla="*/ 23 w 88"/>
                <a:gd name="T9" fmla="*/ 9 h 57"/>
                <a:gd name="T10" fmla="*/ 15 w 88"/>
                <a:gd name="T11" fmla="*/ 11 h 57"/>
                <a:gd name="T12" fmla="*/ 9 w 88"/>
                <a:gd name="T13" fmla="*/ 22 h 57"/>
                <a:gd name="T14" fmla="*/ 0 w 88"/>
                <a:gd name="T15" fmla="*/ 38 h 57"/>
                <a:gd name="T16" fmla="*/ 17 w 88"/>
                <a:gd name="T17" fmla="*/ 57 h 57"/>
                <a:gd name="T18" fmla="*/ 19 w 88"/>
                <a:gd name="T19" fmla="*/ 57 h 57"/>
                <a:gd name="T20" fmla="*/ 21 w 88"/>
                <a:gd name="T21" fmla="*/ 57 h 57"/>
                <a:gd name="T22" fmla="*/ 61 w 88"/>
                <a:gd name="T23" fmla="*/ 57 h 57"/>
                <a:gd name="T24" fmla="*/ 61 w 88"/>
                <a:gd name="T25" fmla="*/ 57 h 57"/>
                <a:gd name="T26" fmla="*/ 62 w 88"/>
                <a:gd name="T27" fmla="*/ 57 h 57"/>
                <a:gd name="T28" fmla="*/ 65 w 88"/>
                <a:gd name="T29" fmla="*/ 57 h 57"/>
                <a:gd name="T30" fmla="*/ 72 w 88"/>
                <a:gd name="T31" fmla="*/ 57 h 57"/>
                <a:gd name="T32" fmla="*/ 88 w 88"/>
                <a:gd name="T33" fmla="*/ 41 h 57"/>
                <a:gd name="T34" fmla="*/ 74 w 88"/>
                <a:gd name="T35" fmla="*/ 25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8" h="57">
                  <a:moveTo>
                    <a:pt x="74" y="25"/>
                  </a:moveTo>
                  <a:cubicBezTo>
                    <a:pt x="74" y="24"/>
                    <a:pt x="74" y="24"/>
                    <a:pt x="74" y="24"/>
                  </a:cubicBezTo>
                  <a:cubicBezTo>
                    <a:pt x="74" y="10"/>
                    <a:pt x="63" y="0"/>
                    <a:pt x="50" y="0"/>
                  </a:cubicBezTo>
                  <a:cubicBezTo>
                    <a:pt x="41" y="0"/>
                    <a:pt x="34" y="4"/>
                    <a:pt x="29" y="10"/>
                  </a:cubicBezTo>
                  <a:cubicBezTo>
                    <a:pt x="28" y="9"/>
                    <a:pt x="25" y="9"/>
                    <a:pt x="23" y="9"/>
                  </a:cubicBezTo>
                  <a:cubicBezTo>
                    <a:pt x="20" y="9"/>
                    <a:pt x="17" y="10"/>
                    <a:pt x="15" y="11"/>
                  </a:cubicBezTo>
                  <a:cubicBezTo>
                    <a:pt x="11" y="13"/>
                    <a:pt x="9" y="18"/>
                    <a:pt x="9" y="22"/>
                  </a:cubicBezTo>
                  <a:cubicBezTo>
                    <a:pt x="4" y="26"/>
                    <a:pt x="0" y="32"/>
                    <a:pt x="0" y="38"/>
                  </a:cubicBezTo>
                  <a:cubicBezTo>
                    <a:pt x="0" y="48"/>
                    <a:pt x="7" y="56"/>
                    <a:pt x="17" y="57"/>
                  </a:cubicBezTo>
                  <a:cubicBezTo>
                    <a:pt x="18" y="57"/>
                    <a:pt x="18" y="57"/>
                    <a:pt x="19" y="57"/>
                  </a:cubicBezTo>
                  <a:cubicBezTo>
                    <a:pt x="20" y="57"/>
                    <a:pt x="20" y="57"/>
                    <a:pt x="21" y="57"/>
                  </a:cubicBezTo>
                  <a:cubicBezTo>
                    <a:pt x="30" y="57"/>
                    <a:pt x="51" y="57"/>
                    <a:pt x="61" y="57"/>
                  </a:cubicBezTo>
                  <a:cubicBezTo>
                    <a:pt x="61" y="57"/>
                    <a:pt x="61" y="57"/>
                    <a:pt x="61" y="57"/>
                  </a:cubicBezTo>
                  <a:cubicBezTo>
                    <a:pt x="62" y="57"/>
                    <a:pt x="62" y="57"/>
                    <a:pt x="62" y="57"/>
                  </a:cubicBezTo>
                  <a:cubicBezTo>
                    <a:pt x="63" y="57"/>
                    <a:pt x="64" y="57"/>
                    <a:pt x="65" y="57"/>
                  </a:cubicBezTo>
                  <a:cubicBezTo>
                    <a:pt x="72" y="57"/>
                    <a:pt x="72" y="57"/>
                    <a:pt x="72" y="57"/>
                  </a:cubicBezTo>
                  <a:cubicBezTo>
                    <a:pt x="81" y="57"/>
                    <a:pt x="88" y="50"/>
                    <a:pt x="88" y="41"/>
                  </a:cubicBezTo>
                  <a:cubicBezTo>
                    <a:pt x="88" y="33"/>
                    <a:pt x="82" y="26"/>
                    <a:pt x="74" y="25"/>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9"/>
            <p:cNvSpPr>
              <a:spLocks/>
            </p:cNvSpPr>
            <p:nvPr/>
          </p:nvSpPr>
          <p:spPr bwMode="auto">
            <a:xfrm>
              <a:off x="8718323" y="3729052"/>
              <a:ext cx="597630" cy="387990"/>
            </a:xfrm>
            <a:custGeom>
              <a:avLst/>
              <a:gdLst>
                <a:gd name="T0" fmla="*/ 114 w 136"/>
                <a:gd name="T1" fmla="*/ 39 h 89"/>
                <a:gd name="T2" fmla="*/ 114 w 136"/>
                <a:gd name="T3" fmla="*/ 37 h 89"/>
                <a:gd name="T4" fmla="*/ 76 w 136"/>
                <a:gd name="T5" fmla="*/ 0 h 89"/>
                <a:gd name="T6" fmla="*/ 45 w 136"/>
                <a:gd name="T7" fmla="*/ 16 h 89"/>
                <a:gd name="T8" fmla="*/ 35 w 136"/>
                <a:gd name="T9" fmla="*/ 14 h 89"/>
                <a:gd name="T10" fmla="*/ 23 w 136"/>
                <a:gd name="T11" fmla="*/ 17 h 89"/>
                <a:gd name="T12" fmla="*/ 13 w 136"/>
                <a:gd name="T13" fmla="*/ 35 h 89"/>
                <a:gd name="T14" fmla="*/ 0 w 136"/>
                <a:gd name="T15" fmla="*/ 60 h 89"/>
                <a:gd name="T16" fmla="*/ 26 w 136"/>
                <a:gd name="T17" fmla="*/ 89 h 89"/>
                <a:gd name="T18" fmla="*/ 29 w 136"/>
                <a:gd name="T19" fmla="*/ 89 h 89"/>
                <a:gd name="T20" fmla="*/ 32 w 136"/>
                <a:gd name="T21" fmla="*/ 89 h 89"/>
                <a:gd name="T22" fmla="*/ 93 w 136"/>
                <a:gd name="T23" fmla="*/ 89 h 89"/>
                <a:gd name="T24" fmla="*/ 95 w 136"/>
                <a:gd name="T25" fmla="*/ 89 h 89"/>
                <a:gd name="T26" fmla="*/ 96 w 136"/>
                <a:gd name="T27" fmla="*/ 89 h 89"/>
                <a:gd name="T28" fmla="*/ 101 w 136"/>
                <a:gd name="T29" fmla="*/ 89 h 89"/>
                <a:gd name="T30" fmla="*/ 110 w 136"/>
                <a:gd name="T31" fmla="*/ 89 h 89"/>
                <a:gd name="T32" fmla="*/ 136 w 136"/>
                <a:gd name="T33" fmla="*/ 64 h 89"/>
                <a:gd name="T34" fmla="*/ 114 w 136"/>
                <a:gd name="T35" fmla="*/ 39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6" h="89">
                  <a:moveTo>
                    <a:pt x="114" y="39"/>
                  </a:moveTo>
                  <a:cubicBezTo>
                    <a:pt x="114" y="38"/>
                    <a:pt x="114" y="38"/>
                    <a:pt x="114" y="37"/>
                  </a:cubicBezTo>
                  <a:cubicBezTo>
                    <a:pt x="114" y="16"/>
                    <a:pt x="97" y="0"/>
                    <a:pt x="76" y="0"/>
                  </a:cubicBezTo>
                  <a:cubicBezTo>
                    <a:pt x="63" y="0"/>
                    <a:pt x="52" y="6"/>
                    <a:pt x="45" y="16"/>
                  </a:cubicBezTo>
                  <a:cubicBezTo>
                    <a:pt x="42" y="15"/>
                    <a:pt x="39" y="14"/>
                    <a:pt x="35" y="14"/>
                  </a:cubicBezTo>
                  <a:cubicBezTo>
                    <a:pt x="30" y="14"/>
                    <a:pt x="26" y="15"/>
                    <a:pt x="23" y="17"/>
                  </a:cubicBezTo>
                  <a:cubicBezTo>
                    <a:pt x="17" y="21"/>
                    <a:pt x="13" y="27"/>
                    <a:pt x="13" y="35"/>
                  </a:cubicBezTo>
                  <a:cubicBezTo>
                    <a:pt x="5" y="40"/>
                    <a:pt x="0" y="49"/>
                    <a:pt x="0" y="60"/>
                  </a:cubicBezTo>
                  <a:cubicBezTo>
                    <a:pt x="0" y="75"/>
                    <a:pt x="11" y="87"/>
                    <a:pt x="26" y="89"/>
                  </a:cubicBezTo>
                  <a:cubicBezTo>
                    <a:pt x="27" y="89"/>
                    <a:pt x="28" y="89"/>
                    <a:pt x="29" y="89"/>
                  </a:cubicBezTo>
                  <a:cubicBezTo>
                    <a:pt x="30" y="89"/>
                    <a:pt x="31" y="89"/>
                    <a:pt x="32" y="89"/>
                  </a:cubicBezTo>
                  <a:cubicBezTo>
                    <a:pt x="46" y="89"/>
                    <a:pt x="78" y="89"/>
                    <a:pt x="93" y="89"/>
                  </a:cubicBezTo>
                  <a:cubicBezTo>
                    <a:pt x="94" y="89"/>
                    <a:pt x="94" y="89"/>
                    <a:pt x="95" y="89"/>
                  </a:cubicBezTo>
                  <a:cubicBezTo>
                    <a:pt x="96" y="89"/>
                    <a:pt x="96" y="89"/>
                    <a:pt x="96" y="89"/>
                  </a:cubicBezTo>
                  <a:cubicBezTo>
                    <a:pt x="97" y="89"/>
                    <a:pt x="99" y="89"/>
                    <a:pt x="101" y="89"/>
                  </a:cubicBezTo>
                  <a:cubicBezTo>
                    <a:pt x="110" y="89"/>
                    <a:pt x="110" y="89"/>
                    <a:pt x="110" y="89"/>
                  </a:cubicBezTo>
                  <a:cubicBezTo>
                    <a:pt x="124" y="89"/>
                    <a:pt x="136" y="78"/>
                    <a:pt x="136" y="64"/>
                  </a:cubicBezTo>
                  <a:cubicBezTo>
                    <a:pt x="136" y="51"/>
                    <a:pt x="126" y="41"/>
                    <a:pt x="114" y="39"/>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 name="Rectangle 10"/>
            <p:cNvSpPr>
              <a:spLocks noChangeArrowheads="1"/>
            </p:cNvSpPr>
            <p:nvPr/>
          </p:nvSpPr>
          <p:spPr bwMode="auto">
            <a:xfrm>
              <a:off x="9525592" y="4095138"/>
              <a:ext cx="1314158" cy="1092004"/>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 name="Rectangle 11"/>
            <p:cNvSpPr>
              <a:spLocks noChangeArrowheads="1"/>
            </p:cNvSpPr>
            <p:nvPr/>
          </p:nvSpPr>
          <p:spPr bwMode="auto">
            <a:xfrm>
              <a:off x="9525592" y="4095138"/>
              <a:ext cx="1314158" cy="10920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 name="Rectangle 12"/>
            <p:cNvSpPr>
              <a:spLocks noChangeArrowheads="1"/>
            </p:cNvSpPr>
            <p:nvPr/>
          </p:nvSpPr>
          <p:spPr bwMode="auto">
            <a:xfrm>
              <a:off x="9459885" y="4045075"/>
              <a:ext cx="1445574" cy="5006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 name="Rectangle 13"/>
            <p:cNvSpPr>
              <a:spLocks noChangeArrowheads="1"/>
            </p:cNvSpPr>
            <p:nvPr/>
          </p:nvSpPr>
          <p:spPr bwMode="auto">
            <a:xfrm>
              <a:off x="9459885" y="4045075"/>
              <a:ext cx="1445574" cy="50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 name="Rectangle 14"/>
            <p:cNvSpPr>
              <a:spLocks noChangeArrowheads="1"/>
            </p:cNvSpPr>
            <p:nvPr/>
          </p:nvSpPr>
          <p:spPr bwMode="auto">
            <a:xfrm>
              <a:off x="9657008" y="4242200"/>
              <a:ext cx="1060715" cy="16896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9" name="Rectangle 15"/>
            <p:cNvSpPr>
              <a:spLocks noChangeArrowheads="1"/>
            </p:cNvSpPr>
            <p:nvPr/>
          </p:nvSpPr>
          <p:spPr bwMode="auto">
            <a:xfrm>
              <a:off x="9657008" y="4242200"/>
              <a:ext cx="1060715" cy="168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0" name="Rectangle 16"/>
            <p:cNvSpPr>
              <a:spLocks noChangeArrowheads="1"/>
            </p:cNvSpPr>
            <p:nvPr/>
          </p:nvSpPr>
          <p:spPr bwMode="auto">
            <a:xfrm>
              <a:off x="9657008" y="4539449"/>
              <a:ext cx="1060715" cy="16896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1" name="Rectangle 17"/>
            <p:cNvSpPr>
              <a:spLocks noChangeArrowheads="1"/>
            </p:cNvSpPr>
            <p:nvPr/>
          </p:nvSpPr>
          <p:spPr bwMode="auto">
            <a:xfrm>
              <a:off x="9657008" y="4539449"/>
              <a:ext cx="1060715" cy="168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2" name="Freeform 18"/>
            <p:cNvSpPr>
              <a:spLocks/>
            </p:cNvSpPr>
            <p:nvPr/>
          </p:nvSpPr>
          <p:spPr bwMode="auto">
            <a:xfrm>
              <a:off x="9525592" y="4095138"/>
              <a:ext cx="466214" cy="438053"/>
            </a:xfrm>
            <a:custGeom>
              <a:avLst/>
              <a:gdLst>
                <a:gd name="T0" fmla="*/ 106 w 106"/>
                <a:gd name="T1" fmla="*/ 0 h 100"/>
                <a:gd name="T2" fmla="*/ 0 w 106"/>
                <a:gd name="T3" fmla="*/ 0 h 100"/>
                <a:gd name="T4" fmla="*/ 0 w 106"/>
                <a:gd name="T5" fmla="*/ 99 h 100"/>
                <a:gd name="T6" fmla="*/ 8 w 106"/>
                <a:gd name="T7" fmla="*/ 100 h 100"/>
                <a:gd name="T8" fmla="*/ 76 w 106"/>
                <a:gd name="T9" fmla="*/ 72 h 100"/>
                <a:gd name="T10" fmla="*/ 30 w 106"/>
                <a:gd name="T11" fmla="*/ 72 h 100"/>
                <a:gd name="T12" fmla="*/ 30 w 106"/>
                <a:gd name="T13" fmla="*/ 33 h 100"/>
                <a:gd name="T14" fmla="*/ 101 w 106"/>
                <a:gd name="T15" fmla="*/ 33 h 100"/>
                <a:gd name="T16" fmla="*/ 106 w 106"/>
                <a:gd name="T17" fmla="*/ 2 h 100"/>
                <a:gd name="T18" fmla="*/ 106 w 106"/>
                <a:gd name="T19" fmla="*/ 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6" h="100">
                  <a:moveTo>
                    <a:pt x="106" y="0"/>
                  </a:moveTo>
                  <a:cubicBezTo>
                    <a:pt x="0" y="0"/>
                    <a:pt x="0" y="0"/>
                    <a:pt x="0" y="0"/>
                  </a:cubicBezTo>
                  <a:cubicBezTo>
                    <a:pt x="0" y="99"/>
                    <a:pt x="0" y="99"/>
                    <a:pt x="0" y="99"/>
                  </a:cubicBezTo>
                  <a:cubicBezTo>
                    <a:pt x="3" y="99"/>
                    <a:pt x="5" y="100"/>
                    <a:pt x="8" y="100"/>
                  </a:cubicBezTo>
                  <a:cubicBezTo>
                    <a:pt x="34" y="100"/>
                    <a:pt x="58" y="89"/>
                    <a:pt x="76" y="72"/>
                  </a:cubicBezTo>
                  <a:cubicBezTo>
                    <a:pt x="30" y="72"/>
                    <a:pt x="30" y="72"/>
                    <a:pt x="30" y="72"/>
                  </a:cubicBezTo>
                  <a:cubicBezTo>
                    <a:pt x="30" y="33"/>
                    <a:pt x="30" y="33"/>
                    <a:pt x="30" y="33"/>
                  </a:cubicBezTo>
                  <a:cubicBezTo>
                    <a:pt x="101" y="33"/>
                    <a:pt x="101" y="33"/>
                    <a:pt x="101" y="33"/>
                  </a:cubicBezTo>
                  <a:cubicBezTo>
                    <a:pt x="104" y="23"/>
                    <a:pt x="106" y="13"/>
                    <a:pt x="106" y="2"/>
                  </a:cubicBezTo>
                  <a:cubicBezTo>
                    <a:pt x="106" y="1"/>
                    <a:pt x="106" y="0"/>
                    <a:pt x="106"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3" name="Freeform 19"/>
            <p:cNvSpPr>
              <a:spLocks/>
            </p:cNvSpPr>
            <p:nvPr/>
          </p:nvSpPr>
          <p:spPr bwMode="auto">
            <a:xfrm>
              <a:off x="9525592" y="4045075"/>
              <a:ext cx="466214" cy="50063"/>
            </a:xfrm>
            <a:custGeom>
              <a:avLst/>
              <a:gdLst>
                <a:gd name="T0" fmla="*/ 105 w 106"/>
                <a:gd name="T1" fmla="*/ 0 h 12"/>
                <a:gd name="T2" fmla="*/ 0 w 106"/>
                <a:gd name="T3" fmla="*/ 0 h 12"/>
                <a:gd name="T4" fmla="*/ 0 w 106"/>
                <a:gd name="T5" fmla="*/ 12 h 12"/>
                <a:gd name="T6" fmla="*/ 106 w 106"/>
                <a:gd name="T7" fmla="*/ 12 h 12"/>
                <a:gd name="T8" fmla="*/ 105 w 106"/>
                <a:gd name="T9" fmla="*/ 0 h 12"/>
              </a:gdLst>
              <a:ahLst/>
              <a:cxnLst>
                <a:cxn ang="0">
                  <a:pos x="T0" y="T1"/>
                </a:cxn>
                <a:cxn ang="0">
                  <a:pos x="T2" y="T3"/>
                </a:cxn>
                <a:cxn ang="0">
                  <a:pos x="T4" y="T5"/>
                </a:cxn>
                <a:cxn ang="0">
                  <a:pos x="T6" y="T7"/>
                </a:cxn>
                <a:cxn ang="0">
                  <a:pos x="T8" y="T9"/>
                </a:cxn>
              </a:cxnLst>
              <a:rect l="0" t="0" r="r" b="b"/>
              <a:pathLst>
                <a:path w="106" h="12">
                  <a:moveTo>
                    <a:pt x="105" y="0"/>
                  </a:moveTo>
                  <a:cubicBezTo>
                    <a:pt x="0" y="0"/>
                    <a:pt x="0" y="0"/>
                    <a:pt x="0" y="0"/>
                  </a:cubicBezTo>
                  <a:cubicBezTo>
                    <a:pt x="0" y="12"/>
                    <a:pt x="0" y="12"/>
                    <a:pt x="0" y="12"/>
                  </a:cubicBezTo>
                  <a:cubicBezTo>
                    <a:pt x="106" y="12"/>
                    <a:pt x="106" y="12"/>
                    <a:pt x="106" y="12"/>
                  </a:cubicBezTo>
                  <a:cubicBezTo>
                    <a:pt x="106" y="8"/>
                    <a:pt x="105" y="4"/>
                    <a:pt x="105"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4" name="Freeform 20"/>
            <p:cNvSpPr>
              <a:spLocks/>
            </p:cNvSpPr>
            <p:nvPr/>
          </p:nvSpPr>
          <p:spPr bwMode="auto">
            <a:xfrm>
              <a:off x="9657008" y="4242200"/>
              <a:ext cx="312895" cy="168963"/>
            </a:xfrm>
            <a:custGeom>
              <a:avLst/>
              <a:gdLst>
                <a:gd name="T0" fmla="*/ 71 w 71"/>
                <a:gd name="T1" fmla="*/ 0 h 39"/>
                <a:gd name="T2" fmla="*/ 0 w 71"/>
                <a:gd name="T3" fmla="*/ 0 h 39"/>
                <a:gd name="T4" fmla="*/ 0 w 71"/>
                <a:gd name="T5" fmla="*/ 39 h 39"/>
                <a:gd name="T6" fmla="*/ 46 w 71"/>
                <a:gd name="T7" fmla="*/ 39 h 39"/>
                <a:gd name="T8" fmla="*/ 71 w 71"/>
                <a:gd name="T9" fmla="*/ 0 h 39"/>
              </a:gdLst>
              <a:ahLst/>
              <a:cxnLst>
                <a:cxn ang="0">
                  <a:pos x="T0" y="T1"/>
                </a:cxn>
                <a:cxn ang="0">
                  <a:pos x="T2" y="T3"/>
                </a:cxn>
                <a:cxn ang="0">
                  <a:pos x="T4" y="T5"/>
                </a:cxn>
                <a:cxn ang="0">
                  <a:pos x="T6" y="T7"/>
                </a:cxn>
                <a:cxn ang="0">
                  <a:pos x="T8" y="T9"/>
                </a:cxn>
              </a:cxnLst>
              <a:rect l="0" t="0" r="r" b="b"/>
              <a:pathLst>
                <a:path w="71" h="39">
                  <a:moveTo>
                    <a:pt x="71" y="0"/>
                  </a:moveTo>
                  <a:cubicBezTo>
                    <a:pt x="0" y="0"/>
                    <a:pt x="0" y="0"/>
                    <a:pt x="0" y="0"/>
                  </a:cubicBezTo>
                  <a:cubicBezTo>
                    <a:pt x="0" y="39"/>
                    <a:pt x="0" y="39"/>
                    <a:pt x="0" y="39"/>
                  </a:cubicBezTo>
                  <a:cubicBezTo>
                    <a:pt x="46" y="39"/>
                    <a:pt x="46" y="39"/>
                    <a:pt x="46" y="39"/>
                  </a:cubicBezTo>
                  <a:cubicBezTo>
                    <a:pt x="57" y="29"/>
                    <a:pt x="65" y="15"/>
                    <a:pt x="71"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5" name="Rectangle 21"/>
            <p:cNvSpPr>
              <a:spLocks noChangeArrowheads="1"/>
            </p:cNvSpPr>
            <p:nvPr/>
          </p:nvSpPr>
          <p:spPr bwMode="auto">
            <a:xfrm>
              <a:off x="9657008" y="4833570"/>
              <a:ext cx="1060715" cy="16896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6" name="Rectangle 22"/>
            <p:cNvSpPr>
              <a:spLocks noChangeArrowheads="1"/>
            </p:cNvSpPr>
            <p:nvPr/>
          </p:nvSpPr>
          <p:spPr bwMode="auto">
            <a:xfrm>
              <a:off x="9657008" y="4833570"/>
              <a:ext cx="1060715" cy="168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7" name="Rectangle 23"/>
            <p:cNvSpPr>
              <a:spLocks noChangeArrowheads="1"/>
            </p:cNvSpPr>
            <p:nvPr/>
          </p:nvSpPr>
          <p:spPr bwMode="auto">
            <a:xfrm>
              <a:off x="9525592" y="5187142"/>
              <a:ext cx="1314158" cy="167085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8" name="Rectangle 24"/>
            <p:cNvSpPr>
              <a:spLocks noChangeArrowheads="1"/>
            </p:cNvSpPr>
            <p:nvPr/>
          </p:nvSpPr>
          <p:spPr bwMode="auto">
            <a:xfrm>
              <a:off x="9525592" y="5187142"/>
              <a:ext cx="1314158" cy="16708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9" name="Rectangle 25"/>
            <p:cNvSpPr>
              <a:spLocks noChangeArrowheads="1"/>
            </p:cNvSpPr>
            <p:nvPr/>
          </p:nvSpPr>
          <p:spPr bwMode="auto">
            <a:xfrm>
              <a:off x="9459885" y="5162110"/>
              <a:ext cx="1445574" cy="5006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0" name="Rectangle 26"/>
            <p:cNvSpPr>
              <a:spLocks noChangeArrowheads="1"/>
            </p:cNvSpPr>
            <p:nvPr/>
          </p:nvSpPr>
          <p:spPr bwMode="auto">
            <a:xfrm>
              <a:off x="9459885" y="5162110"/>
              <a:ext cx="1445574" cy="50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 name="Rectangle 27"/>
            <p:cNvSpPr>
              <a:spLocks noChangeArrowheads="1"/>
            </p:cNvSpPr>
            <p:nvPr/>
          </p:nvSpPr>
          <p:spPr bwMode="auto">
            <a:xfrm>
              <a:off x="10248380" y="6523202"/>
              <a:ext cx="172093" cy="328541"/>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2" name="Rectangle 28"/>
            <p:cNvSpPr>
              <a:spLocks noChangeArrowheads="1"/>
            </p:cNvSpPr>
            <p:nvPr/>
          </p:nvSpPr>
          <p:spPr bwMode="auto">
            <a:xfrm>
              <a:off x="9951129" y="6523202"/>
              <a:ext cx="172093" cy="328541"/>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3" name="Rectangle 29"/>
            <p:cNvSpPr>
              <a:spLocks noChangeArrowheads="1"/>
            </p:cNvSpPr>
            <p:nvPr/>
          </p:nvSpPr>
          <p:spPr bwMode="auto">
            <a:xfrm>
              <a:off x="9951129" y="6523202"/>
              <a:ext cx="172093" cy="3285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4" name="Rectangle 30"/>
            <p:cNvSpPr>
              <a:spLocks noChangeArrowheads="1"/>
            </p:cNvSpPr>
            <p:nvPr/>
          </p:nvSpPr>
          <p:spPr bwMode="auto">
            <a:xfrm>
              <a:off x="9657008" y="5362363"/>
              <a:ext cx="1060715" cy="17209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5" name="Rectangle 31"/>
            <p:cNvSpPr>
              <a:spLocks noChangeArrowheads="1"/>
            </p:cNvSpPr>
            <p:nvPr/>
          </p:nvSpPr>
          <p:spPr bwMode="auto">
            <a:xfrm>
              <a:off x="9657008" y="5362363"/>
              <a:ext cx="1060715" cy="1720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6" name="Rectangle 32"/>
            <p:cNvSpPr>
              <a:spLocks noChangeArrowheads="1"/>
            </p:cNvSpPr>
            <p:nvPr/>
          </p:nvSpPr>
          <p:spPr bwMode="auto">
            <a:xfrm>
              <a:off x="9657008" y="5656484"/>
              <a:ext cx="1060715" cy="17209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7" name="Rectangle 33"/>
            <p:cNvSpPr>
              <a:spLocks noChangeArrowheads="1"/>
            </p:cNvSpPr>
            <p:nvPr/>
          </p:nvSpPr>
          <p:spPr bwMode="auto">
            <a:xfrm>
              <a:off x="9657008" y="5656484"/>
              <a:ext cx="1060715" cy="1720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8" name="Rectangle 34"/>
            <p:cNvSpPr>
              <a:spLocks noChangeArrowheads="1"/>
            </p:cNvSpPr>
            <p:nvPr/>
          </p:nvSpPr>
          <p:spPr bwMode="auto">
            <a:xfrm>
              <a:off x="9657008" y="5950605"/>
              <a:ext cx="1060715" cy="16896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9" name="Rectangle 35"/>
            <p:cNvSpPr>
              <a:spLocks noChangeArrowheads="1"/>
            </p:cNvSpPr>
            <p:nvPr/>
          </p:nvSpPr>
          <p:spPr bwMode="auto">
            <a:xfrm>
              <a:off x="9657008" y="5950605"/>
              <a:ext cx="1060715" cy="168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0" name="Rectangle 36"/>
            <p:cNvSpPr>
              <a:spLocks noChangeArrowheads="1"/>
            </p:cNvSpPr>
            <p:nvPr/>
          </p:nvSpPr>
          <p:spPr bwMode="auto">
            <a:xfrm>
              <a:off x="9657008" y="6247854"/>
              <a:ext cx="1060715" cy="17209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1" name="Rectangle 37"/>
            <p:cNvSpPr>
              <a:spLocks noChangeArrowheads="1"/>
            </p:cNvSpPr>
            <p:nvPr/>
          </p:nvSpPr>
          <p:spPr bwMode="auto">
            <a:xfrm>
              <a:off x="9657008" y="6247854"/>
              <a:ext cx="1060715" cy="1720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8" name="Freeform 44"/>
            <p:cNvSpPr>
              <a:spLocks noEditPoints="1"/>
            </p:cNvSpPr>
            <p:nvPr/>
          </p:nvSpPr>
          <p:spPr bwMode="auto">
            <a:xfrm>
              <a:off x="9347243" y="3919917"/>
              <a:ext cx="428667" cy="366088"/>
            </a:xfrm>
            <a:custGeom>
              <a:avLst/>
              <a:gdLst>
                <a:gd name="T0" fmla="*/ 93 w 98"/>
                <a:gd name="T1" fmla="*/ 78 h 83"/>
                <a:gd name="T2" fmla="*/ 0 w 98"/>
                <a:gd name="T3" fmla="*/ 15 h 83"/>
                <a:gd name="T4" fmla="*/ 0 w 98"/>
                <a:gd name="T5" fmla="*/ 83 h 83"/>
                <a:gd name="T6" fmla="*/ 98 w 98"/>
                <a:gd name="T7" fmla="*/ 0 h 83"/>
                <a:gd name="T8" fmla="*/ 0 w 98"/>
                <a:gd name="T9" fmla="*/ 0 h 83"/>
                <a:gd name="T10" fmla="*/ 57 w 98"/>
                <a:gd name="T11" fmla="*/ 47 h 83"/>
                <a:gd name="T12" fmla="*/ 54 w 98"/>
                <a:gd name="T13" fmla="*/ 42 h 83"/>
                <a:gd name="T14" fmla="*/ 51 w 98"/>
                <a:gd name="T15" fmla="*/ 40 h 83"/>
                <a:gd name="T16" fmla="*/ 46 w 98"/>
                <a:gd name="T17" fmla="*/ 37 h 83"/>
                <a:gd name="T18" fmla="*/ 41 w 98"/>
                <a:gd name="T19" fmla="*/ 37 h 83"/>
                <a:gd name="T20" fmla="*/ 36 w 98"/>
                <a:gd name="T21" fmla="*/ 40 h 83"/>
                <a:gd name="T22" fmla="*/ 33 w 98"/>
                <a:gd name="T23" fmla="*/ 42 h 83"/>
                <a:gd name="T24" fmla="*/ 30 w 98"/>
                <a:gd name="T25" fmla="*/ 47 h 83"/>
                <a:gd name="T26" fmla="*/ 29 w 98"/>
                <a:gd name="T27" fmla="*/ 51 h 83"/>
                <a:gd name="T28" fmla="*/ 30 w 98"/>
                <a:gd name="T29" fmla="*/ 57 h 83"/>
                <a:gd name="T30" fmla="*/ 32 w 98"/>
                <a:gd name="T31" fmla="*/ 60 h 83"/>
                <a:gd name="T32" fmla="*/ 37 w 98"/>
                <a:gd name="T33" fmla="*/ 64 h 83"/>
                <a:gd name="T34" fmla="*/ 41 w 98"/>
                <a:gd name="T35" fmla="*/ 66 h 83"/>
                <a:gd name="T36" fmla="*/ 44 w 98"/>
                <a:gd name="T37" fmla="*/ 62 h 83"/>
                <a:gd name="T38" fmla="*/ 50 w 98"/>
                <a:gd name="T39" fmla="*/ 65 h 83"/>
                <a:gd name="T40" fmla="*/ 51 w 98"/>
                <a:gd name="T41" fmla="*/ 59 h 83"/>
                <a:gd name="T42" fmla="*/ 57 w 98"/>
                <a:gd name="T43" fmla="*/ 58 h 83"/>
                <a:gd name="T44" fmla="*/ 54 w 98"/>
                <a:gd name="T45" fmla="*/ 53 h 83"/>
                <a:gd name="T46" fmla="*/ 49 w 98"/>
                <a:gd name="T47" fmla="*/ 52 h 83"/>
                <a:gd name="T48" fmla="*/ 40 w 98"/>
                <a:gd name="T49" fmla="*/ 56 h 83"/>
                <a:gd name="T50" fmla="*/ 44 w 98"/>
                <a:gd name="T51" fmla="*/ 46 h 83"/>
                <a:gd name="T52" fmla="*/ 41 w 98"/>
                <a:gd name="T53" fmla="*/ 52 h 83"/>
                <a:gd name="T54" fmla="*/ 44 w 98"/>
                <a:gd name="T55" fmla="*/ 54 h 83"/>
                <a:gd name="T56" fmla="*/ 67 w 98"/>
                <a:gd name="T57" fmla="*/ 41 h 83"/>
                <a:gd name="T58" fmla="*/ 69 w 98"/>
                <a:gd name="T59" fmla="*/ 38 h 83"/>
                <a:gd name="T60" fmla="*/ 67 w 98"/>
                <a:gd name="T61" fmla="*/ 36 h 83"/>
                <a:gd name="T62" fmla="*/ 63 w 98"/>
                <a:gd name="T63" fmla="*/ 36 h 83"/>
                <a:gd name="T64" fmla="*/ 61 w 98"/>
                <a:gd name="T65" fmla="*/ 33 h 83"/>
                <a:gd name="T66" fmla="*/ 58 w 98"/>
                <a:gd name="T67" fmla="*/ 37 h 83"/>
                <a:gd name="T68" fmla="*/ 55 w 98"/>
                <a:gd name="T69" fmla="*/ 37 h 83"/>
                <a:gd name="T70" fmla="*/ 54 w 98"/>
                <a:gd name="T71" fmla="*/ 39 h 83"/>
                <a:gd name="T72" fmla="*/ 56 w 98"/>
                <a:gd name="T73" fmla="*/ 42 h 83"/>
                <a:gd name="T74" fmla="*/ 54 w 98"/>
                <a:gd name="T75" fmla="*/ 45 h 83"/>
                <a:gd name="T76" fmla="*/ 56 w 98"/>
                <a:gd name="T77" fmla="*/ 46 h 83"/>
                <a:gd name="T78" fmla="*/ 60 w 98"/>
                <a:gd name="T79" fmla="*/ 49 h 83"/>
                <a:gd name="T80" fmla="*/ 63 w 98"/>
                <a:gd name="T81" fmla="*/ 49 h 83"/>
                <a:gd name="T82" fmla="*/ 67 w 98"/>
                <a:gd name="T83" fmla="*/ 46 h 83"/>
                <a:gd name="T84" fmla="*/ 69 w 98"/>
                <a:gd name="T85" fmla="*/ 45 h 83"/>
                <a:gd name="T86" fmla="*/ 67 w 98"/>
                <a:gd name="T87" fmla="*/ 42 h 83"/>
                <a:gd name="T88" fmla="*/ 59 w 98"/>
                <a:gd name="T89" fmla="*/ 41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98" h="83">
                  <a:moveTo>
                    <a:pt x="5" y="20"/>
                  </a:moveTo>
                  <a:cubicBezTo>
                    <a:pt x="5" y="78"/>
                    <a:pt x="5" y="78"/>
                    <a:pt x="5" y="78"/>
                  </a:cubicBezTo>
                  <a:cubicBezTo>
                    <a:pt x="93" y="78"/>
                    <a:pt x="93" y="78"/>
                    <a:pt x="93" y="78"/>
                  </a:cubicBezTo>
                  <a:cubicBezTo>
                    <a:pt x="93" y="20"/>
                    <a:pt x="93" y="20"/>
                    <a:pt x="93" y="20"/>
                  </a:cubicBezTo>
                  <a:cubicBezTo>
                    <a:pt x="5" y="20"/>
                    <a:pt x="5" y="20"/>
                    <a:pt x="5" y="20"/>
                  </a:cubicBezTo>
                  <a:close/>
                  <a:moveTo>
                    <a:pt x="0" y="15"/>
                  </a:moveTo>
                  <a:cubicBezTo>
                    <a:pt x="98" y="15"/>
                    <a:pt x="98" y="15"/>
                    <a:pt x="98" y="15"/>
                  </a:cubicBezTo>
                  <a:cubicBezTo>
                    <a:pt x="98" y="83"/>
                    <a:pt x="98" y="83"/>
                    <a:pt x="98" y="83"/>
                  </a:cubicBezTo>
                  <a:cubicBezTo>
                    <a:pt x="0" y="83"/>
                    <a:pt x="0" y="83"/>
                    <a:pt x="0" y="83"/>
                  </a:cubicBezTo>
                  <a:cubicBezTo>
                    <a:pt x="0" y="15"/>
                    <a:pt x="0" y="15"/>
                    <a:pt x="0" y="15"/>
                  </a:cubicBezTo>
                  <a:close/>
                  <a:moveTo>
                    <a:pt x="0" y="0"/>
                  </a:moveTo>
                  <a:cubicBezTo>
                    <a:pt x="98" y="0"/>
                    <a:pt x="98" y="0"/>
                    <a:pt x="98" y="0"/>
                  </a:cubicBezTo>
                  <a:cubicBezTo>
                    <a:pt x="98" y="10"/>
                    <a:pt x="98" y="10"/>
                    <a:pt x="98" y="10"/>
                  </a:cubicBezTo>
                  <a:cubicBezTo>
                    <a:pt x="0" y="10"/>
                    <a:pt x="0" y="10"/>
                    <a:pt x="0" y="10"/>
                  </a:cubicBezTo>
                  <a:cubicBezTo>
                    <a:pt x="0" y="0"/>
                    <a:pt x="0" y="0"/>
                    <a:pt x="0" y="0"/>
                  </a:cubicBezTo>
                  <a:close/>
                  <a:moveTo>
                    <a:pt x="58" y="50"/>
                  </a:moveTo>
                  <a:cubicBezTo>
                    <a:pt x="58" y="48"/>
                    <a:pt x="58" y="48"/>
                    <a:pt x="58" y="48"/>
                  </a:cubicBezTo>
                  <a:cubicBezTo>
                    <a:pt x="58" y="48"/>
                    <a:pt x="57" y="47"/>
                    <a:pt x="57" y="47"/>
                  </a:cubicBezTo>
                  <a:cubicBezTo>
                    <a:pt x="53" y="47"/>
                    <a:pt x="53" y="47"/>
                    <a:pt x="53" y="47"/>
                  </a:cubicBezTo>
                  <a:cubicBezTo>
                    <a:pt x="52" y="46"/>
                    <a:pt x="52" y="46"/>
                    <a:pt x="52" y="46"/>
                  </a:cubicBezTo>
                  <a:cubicBezTo>
                    <a:pt x="54" y="42"/>
                    <a:pt x="54" y="42"/>
                    <a:pt x="54" y="42"/>
                  </a:cubicBezTo>
                  <a:cubicBezTo>
                    <a:pt x="54" y="41"/>
                    <a:pt x="54" y="41"/>
                    <a:pt x="54" y="41"/>
                  </a:cubicBezTo>
                  <a:cubicBezTo>
                    <a:pt x="52" y="40"/>
                    <a:pt x="52" y="40"/>
                    <a:pt x="52" y="40"/>
                  </a:cubicBezTo>
                  <a:cubicBezTo>
                    <a:pt x="51" y="40"/>
                    <a:pt x="51" y="40"/>
                    <a:pt x="51" y="40"/>
                  </a:cubicBezTo>
                  <a:cubicBezTo>
                    <a:pt x="48" y="42"/>
                    <a:pt x="48" y="42"/>
                    <a:pt x="48" y="42"/>
                  </a:cubicBezTo>
                  <a:cubicBezTo>
                    <a:pt x="47" y="42"/>
                    <a:pt x="47" y="42"/>
                    <a:pt x="47" y="42"/>
                  </a:cubicBezTo>
                  <a:cubicBezTo>
                    <a:pt x="46" y="37"/>
                    <a:pt x="46" y="37"/>
                    <a:pt x="46" y="37"/>
                  </a:cubicBezTo>
                  <a:cubicBezTo>
                    <a:pt x="45" y="37"/>
                    <a:pt x="45" y="37"/>
                    <a:pt x="45" y="37"/>
                  </a:cubicBezTo>
                  <a:cubicBezTo>
                    <a:pt x="42" y="37"/>
                    <a:pt x="42" y="37"/>
                    <a:pt x="42" y="37"/>
                  </a:cubicBezTo>
                  <a:cubicBezTo>
                    <a:pt x="41" y="37"/>
                    <a:pt x="41" y="37"/>
                    <a:pt x="41" y="37"/>
                  </a:cubicBezTo>
                  <a:cubicBezTo>
                    <a:pt x="41" y="42"/>
                    <a:pt x="41" y="42"/>
                    <a:pt x="41" y="42"/>
                  </a:cubicBezTo>
                  <a:cubicBezTo>
                    <a:pt x="40" y="42"/>
                    <a:pt x="40" y="42"/>
                    <a:pt x="40" y="42"/>
                  </a:cubicBezTo>
                  <a:cubicBezTo>
                    <a:pt x="36" y="40"/>
                    <a:pt x="36" y="40"/>
                    <a:pt x="36" y="40"/>
                  </a:cubicBezTo>
                  <a:cubicBezTo>
                    <a:pt x="35" y="40"/>
                    <a:pt x="35" y="40"/>
                    <a:pt x="35" y="40"/>
                  </a:cubicBezTo>
                  <a:cubicBezTo>
                    <a:pt x="33" y="41"/>
                    <a:pt x="33" y="41"/>
                    <a:pt x="33" y="41"/>
                  </a:cubicBezTo>
                  <a:cubicBezTo>
                    <a:pt x="33" y="42"/>
                    <a:pt x="33" y="42"/>
                    <a:pt x="33" y="42"/>
                  </a:cubicBezTo>
                  <a:cubicBezTo>
                    <a:pt x="35" y="46"/>
                    <a:pt x="35" y="46"/>
                    <a:pt x="35" y="46"/>
                  </a:cubicBezTo>
                  <a:cubicBezTo>
                    <a:pt x="34" y="47"/>
                    <a:pt x="34" y="47"/>
                    <a:pt x="34" y="47"/>
                  </a:cubicBezTo>
                  <a:cubicBezTo>
                    <a:pt x="30" y="47"/>
                    <a:pt x="30" y="47"/>
                    <a:pt x="30" y="47"/>
                  </a:cubicBezTo>
                  <a:cubicBezTo>
                    <a:pt x="30" y="47"/>
                    <a:pt x="30" y="48"/>
                    <a:pt x="29" y="48"/>
                  </a:cubicBezTo>
                  <a:cubicBezTo>
                    <a:pt x="29" y="50"/>
                    <a:pt x="29" y="50"/>
                    <a:pt x="29" y="50"/>
                  </a:cubicBezTo>
                  <a:cubicBezTo>
                    <a:pt x="29" y="51"/>
                    <a:pt x="29" y="51"/>
                    <a:pt x="29" y="51"/>
                  </a:cubicBezTo>
                  <a:cubicBezTo>
                    <a:pt x="33" y="53"/>
                    <a:pt x="33" y="53"/>
                    <a:pt x="33" y="53"/>
                  </a:cubicBezTo>
                  <a:cubicBezTo>
                    <a:pt x="33" y="53"/>
                    <a:pt x="33" y="54"/>
                    <a:pt x="33" y="54"/>
                  </a:cubicBezTo>
                  <a:cubicBezTo>
                    <a:pt x="30" y="57"/>
                    <a:pt x="30" y="57"/>
                    <a:pt x="30" y="57"/>
                  </a:cubicBezTo>
                  <a:cubicBezTo>
                    <a:pt x="30" y="58"/>
                    <a:pt x="30" y="58"/>
                    <a:pt x="30" y="58"/>
                  </a:cubicBezTo>
                  <a:cubicBezTo>
                    <a:pt x="32" y="60"/>
                    <a:pt x="32" y="60"/>
                    <a:pt x="32" y="60"/>
                  </a:cubicBezTo>
                  <a:cubicBezTo>
                    <a:pt x="32" y="60"/>
                    <a:pt x="32" y="60"/>
                    <a:pt x="32" y="60"/>
                  </a:cubicBezTo>
                  <a:cubicBezTo>
                    <a:pt x="36" y="59"/>
                    <a:pt x="36" y="59"/>
                    <a:pt x="36" y="59"/>
                  </a:cubicBezTo>
                  <a:cubicBezTo>
                    <a:pt x="37" y="60"/>
                    <a:pt x="37" y="60"/>
                    <a:pt x="37" y="60"/>
                  </a:cubicBezTo>
                  <a:cubicBezTo>
                    <a:pt x="37" y="64"/>
                    <a:pt x="37" y="64"/>
                    <a:pt x="37" y="64"/>
                  </a:cubicBezTo>
                  <a:cubicBezTo>
                    <a:pt x="37" y="65"/>
                    <a:pt x="37" y="65"/>
                    <a:pt x="37" y="65"/>
                  </a:cubicBezTo>
                  <a:cubicBezTo>
                    <a:pt x="40" y="66"/>
                    <a:pt x="40" y="66"/>
                    <a:pt x="40" y="66"/>
                  </a:cubicBezTo>
                  <a:cubicBezTo>
                    <a:pt x="41" y="66"/>
                    <a:pt x="41" y="66"/>
                    <a:pt x="41" y="66"/>
                  </a:cubicBezTo>
                  <a:cubicBezTo>
                    <a:pt x="43" y="62"/>
                    <a:pt x="43" y="62"/>
                    <a:pt x="43" y="62"/>
                  </a:cubicBezTo>
                  <a:cubicBezTo>
                    <a:pt x="44" y="62"/>
                    <a:pt x="44" y="62"/>
                    <a:pt x="44" y="62"/>
                  </a:cubicBezTo>
                  <a:cubicBezTo>
                    <a:pt x="44" y="62"/>
                    <a:pt x="44" y="62"/>
                    <a:pt x="44" y="62"/>
                  </a:cubicBezTo>
                  <a:cubicBezTo>
                    <a:pt x="46" y="66"/>
                    <a:pt x="46" y="66"/>
                    <a:pt x="46" y="66"/>
                  </a:cubicBezTo>
                  <a:cubicBezTo>
                    <a:pt x="47" y="66"/>
                    <a:pt x="47" y="66"/>
                    <a:pt x="47" y="66"/>
                  </a:cubicBezTo>
                  <a:cubicBezTo>
                    <a:pt x="50" y="65"/>
                    <a:pt x="50" y="65"/>
                    <a:pt x="50" y="65"/>
                  </a:cubicBezTo>
                  <a:cubicBezTo>
                    <a:pt x="50" y="64"/>
                    <a:pt x="50" y="64"/>
                    <a:pt x="50" y="64"/>
                  </a:cubicBezTo>
                  <a:cubicBezTo>
                    <a:pt x="50" y="60"/>
                    <a:pt x="50" y="60"/>
                    <a:pt x="50" y="60"/>
                  </a:cubicBezTo>
                  <a:cubicBezTo>
                    <a:pt x="51" y="59"/>
                    <a:pt x="51" y="59"/>
                    <a:pt x="51" y="59"/>
                  </a:cubicBezTo>
                  <a:cubicBezTo>
                    <a:pt x="55" y="60"/>
                    <a:pt x="55" y="60"/>
                    <a:pt x="55" y="60"/>
                  </a:cubicBezTo>
                  <a:cubicBezTo>
                    <a:pt x="55" y="60"/>
                    <a:pt x="55" y="60"/>
                    <a:pt x="55" y="60"/>
                  </a:cubicBezTo>
                  <a:cubicBezTo>
                    <a:pt x="57" y="58"/>
                    <a:pt x="57" y="58"/>
                    <a:pt x="57" y="58"/>
                  </a:cubicBezTo>
                  <a:cubicBezTo>
                    <a:pt x="57" y="57"/>
                    <a:pt x="57" y="57"/>
                    <a:pt x="57" y="57"/>
                  </a:cubicBezTo>
                  <a:cubicBezTo>
                    <a:pt x="54" y="54"/>
                    <a:pt x="54" y="54"/>
                    <a:pt x="54" y="54"/>
                  </a:cubicBezTo>
                  <a:cubicBezTo>
                    <a:pt x="54" y="54"/>
                    <a:pt x="54" y="53"/>
                    <a:pt x="54" y="53"/>
                  </a:cubicBezTo>
                  <a:cubicBezTo>
                    <a:pt x="58" y="51"/>
                    <a:pt x="58" y="51"/>
                    <a:pt x="58" y="51"/>
                  </a:cubicBezTo>
                  <a:cubicBezTo>
                    <a:pt x="58" y="51"/>
                    <a:pt x="58" y="51"/>
                    <a:pt x="58" y="50"/>
                  </a:cubicBezTo>
                  <a:close/>
                  <a:moveTo>
                    <a:pt x="49" y="52"/>
                  </a:moveTo>
                  <a:cubicBezTo>
                    <a:pt x="49" y="53"/>
                    <a:pt x="49" y="55"/>
                    <a:pt x="48" y="56"/>
                  </a:cubicBezTo>
                  <a:cubicBezTo>
                    <a:pt x="47" y="57"/>
                    <a:pt x="45" y="58"/>
                    <a:pt x="44" y="58"/>
                  </a:cubicBezTo>
                  <a:cubicBezTo>
                    <a:pt x="42" y="58"/>
                    <a:pt x="41" y="57"/>
                    <a:pt x="40" y="56"/>
                  </a:cubicBezTo>
                  <a:cubicBezTo>
                    <a:pt x="39" y="55"/>
                    <a:pt x="38" y="53"/>
                    <a:pt x="38" y="52"/>
                  </a:cubicBezTo>
                  <a:cubicBezTo>
                    <a:pt x="38" y="50"/>
                    <a:pt x="39" y="49"/>
                    <a:pt x="40" y="48"/>
                  </a:cubicBezTo>
                  <a:cubicBezTo>
                    <a:pt x="41" y="47"/>
                    <a:pt x="42" y="46"/>
                    <a:pt x="44" y="46"/>
                  </a:cubicBezTo>
                  <a:cubicBezTo>
                    <a:pt x="45" y="46"/>
                    <a:pt x="47" y="47"/>
                    <a:pt x="48" y="48"/>
                  </a:cubicBezTo>
                  <a:cubicBezTo>
                    <a:pt x="49" y="49"/>
                    <a:pt x="49" y="50"/>
                    <a:pt x="49" y="52"/>
                  </a:cubicBezTo>
                  <a:close/>
                  <a:moveTo>
                    <a:pt x="41" y="52"/>
                  </a:moveTo>
                  <a:cubicBezTo>
                    <a:pt x="41" y="50"/>
                    <a:pt x="42" y="49"/>
                    <a:pt x="44" y="49"/>
                  </a:cubicBezTo>
                  <a:cubicBezTo>
                    <a:pt x="45" y="49"/>
                    <a:pt x="46" y="50"/>
                    <a:pt x="46" y="52"/>
                  </a:cubicBezTo>
                  <a:cubicBezTo>
                    <a:pt x="46" y="53"/>
                    <a:pt x="45" y="54"/>
                    <a:pt x="44" y="54"/>
                  </a:cubicBezTo>
                  <a:cubicBezTo>
                    <a:pt x="42" y="54"/>
                    <a:pt x="41" y="53"/>
                    <a:pt x="41" y="52"/>
                  </a:cubicBezTo>
                  <a:close/>
                  <a:moveTo>
                    <a:pt x="67" y="42"/>
                  </a:moveTo>
                  <a:cubicBezTo>
                    <a:pt x="67" y="41"/>
                    <a:pt x="67" y="41"/>
                    <a:pt x="67" y="41"/>
                  </a:cubicBezTo>
                  <a:cubicBezTo>
                    <a:pt x="67" y="40"/>
                    <a:pt x="67" y="40"/>
                    <a:pt x="67" y="40"/>
                  </a:cubicBezTo>
                  <a:cubicBezTo>
                    <a:pt x="69" y="39"/>
                    <a:pt x="69" y="39"/>
                    <a:pt x="69" y="39"/>
                  </a:cubicBezTo>
                  <a:cubicBezTo>
                    <a:pt x="69" y="38"/>
                    <a:pt x="69" y="38"/>
                    <a:pt x="69" y="38"/>
                  </a:cubicBezTo>
                  <a:cubicBezTo>
                    <a:pt x="69" y="38"/>
                    <a:pt x="69" y="38"/>
                    <a:pt x="69" y="38"/>
                  </a:cubicBezTo>
                  <a:cubicBezTo>
                    <a:pt x="68" y="37"/>
                    <a:pt x="68" y="37"/>
                    <a:pt x="68" y="37"/>
                  </a:cubicBezTo>
                  <a:cubicBezTo>
                    <a:pt x="67" y="36"/>
                    <a:pt x="67" y="36"/>
                    <a:pt x="67" y="36"/>
                  </a:cubicBezTo>
                  <a:cubicBezTo>
                    <a:pt x="67" y="36"/>
                    <a:pt x="67" y="36"/>
                    <a:pt x="67" y="36"/>
                  </a:cubicBezTo>
                  <a:cubicBezTo>
                    <a:pt x="65" y="37"/>
                    <a:pt x="65" y="37"/>
                    <a:pt x="65" y="37"/>
                  </a:cubicBezTo>
                  <a:cubicBezTo>
                    <a:pt x="65" y="37"/>
                    <a:pt x="64" y="36"/>
                    <a:pt x="63" y="36"/>
                  </a:cubicBezTo>
                  <a:cubicBezTo>
                    <a:pt x="63" y="34"/>
                    <a:pt x="63" y="34"/>
                    <a:pt x="63" y="34"/>
                  </a:cubicBezTo>
                  <a:cubicBezTo>
                    <a:pt x="62" y="33"/>
                    <a:pt x="62" y="33"/>
                    <a:pt x="62" y="33"/>
                  </a:cubicBezTo>
                  <a:cubicBezTo>
                    <a:pt x="61" y="33"/>
                    <a:pt x="61" y="33"/>
                    <a:pt x="61" y="33"/>
                  </a:cubicBezTo>
                  <a:cubicBezTo>
                    <a:pt x="60" y="34"/>
                    <a:pt x="60" y="34"/>
                    <a:pt x="60" y="34"/>
                  </a:cubicBezTo>
                  <a:cubicBezTo>
                    <a:pt x="60" y="36"/>
                    <a:pt x="60" y="36"/>
                    <a:pt x="60" y="36"/>
                  </a:cubicBezTo>
                  <a:cubicBezTo>
                    <a:pt x="59" y="36"/>
                    <a:pt x="58" y="37"/>
                    <a:pt x="58" y="37"/>
                  </a:cubicBezTo>
                  <a:cubicBezTo>
                    <a:pt x="56" y="36"/>
                    <a:pt x="56" y="36"/>
                    <a:pt x="56" y="36"/>
                  </a:cubicBezTo>
                  <a:cubicBezTo>
                    <a:pt x="56" y="36"/>
                    <a:pt x="56" y="36"/>
                    <a:pt x="56" y="36"/>
                  </a:cubicBezTo>
                  <a:cubicBezTo>
                    <a:pt x="55" y="37"/>
                    <a:pt x="55" y="37"/>
                    <a:pt x="55" y="37"/>
                  </a:cubicBezTo>
                  <a:cubicBezTo>
                    <a:pt x="54" y="38"/>
                    <a:pt x="54" y="38"/>
                    <a:pt x="54" y="38"/>
                  </a:cubicBezTo>
                  <a:cubicBezTo>
                    <a:pt x="54" y="38"/>
                    <a:pt x="54" y="38"/>
                    <a:pt x="54" y="38"/>
                  </a:cubicBezTo>
                  <a:cubicBezTo>
                    <a:pt x="54" y="39"/>
                    <a:pt x="54" y="39"/>
                    <a:pt x="54" y="39"/>
                  </a:cubicBezTo>
                  <a:cubicBezTo>
                    <a:pt x="56" y="40"/>
                    <a:pt x="56" y="40"/>
                    <a:pt x="56" y="40"/>
                  </a:cubicBezTo>
                  <a:cubicBezTo>
                    <a:pt x="56" y="41"/>
                    <a:pt x="56" y="41"/>
                    <a:pt x="56" y="41"/>
                  </a:cubicBezTo>
                  <a:cubicBezTo>
                    <a:pt x="56" y="42"/>
                    <a:pt x="56" y="42"/>
                    <a:pt x="56" y="42"/>
                  </a:cubicBezTo>
                  <a:cubicBezTo>
                    <a:pt x="54" y="44"/>
                    <a:pt x="54" y="44"/>
                    <a:pt x="54" y="44"/>
                  </a:cubicBezTo>
                  <a:cubicBezTo>
                    <a:pt x="54" y="44"/>
                    <a:pt x="54" y="44"/>
                    <a:pt x="54" y="44"/>
                  </a:cubicBezTo>
                  <a:cubicBezTo>
                    <a:pt x="54" y="45"/>
                    <a:pt x="54" y="45"/>
                    <a:pt x="54" y="45"/>
                  </a:cubicBezTo>
                  <a:cubicBezTo>
                    <a:pt x="55" y="46"/>
                    <a:pt x="55" y="46"/>
                    <a:pt x="55" y="46"/>
                  </a:cubicBezTo>
                  <a:cubicBezTo>
                    <a:pt x="56" y="46"/>
                    <a:pt x="56" y="46"/>
                    <a:pt x="56" y="46"/>
                  </a:cubicBezTo>
                  <a:cubicBezTo>
                    <a:pt x="56" y="46"/>
                    <a:pt x="56" y="46"/>
                    <a:pt x="56" y="46"/>
                  </a:cubicBezTo>
                  <a:cubicBezTo>
                    <a:pt x="58" y="46"/>
                    <a:pt x="58" y="46"/>
                    <a:pt x="58" y="46"/>
                  </a:cubicBezTo>
                  <a:cubicBezTo>
                    <a:pt x="58" y="46"/>
                    <a:pt x="59" y="46"/>
                    <a:pt x="60" y="47"/>
                  </a:cubicBezTo>
                  <a:cubicBezTo>
                    <a:pt x="60" y="49"/>
                    <a:pt x="60" y="49"/>
                    <a:pt x="60" y="49"/>
                  </a:cubicBezTo>
                  <a:cubicBezTo>
                    <a:pt x="61" y="49"/>
                    <a:pt x="61" y="49"/>
                    <a:pt x="61" y="49"/>
                  </a:cubicBezTo>
                  <a:cubicBezTo>
                    <a:pt x="62" y="49"/>
                    <a:pt x="62" y="49"/>
                    <a:pt x="62" y="49"/>
                  </a:cubicBezTo>
                  <a:cubicBezTo>
                    <a:pt x="63" y="49"/>
                    <a:pt x="63" y="49"/>
                    <a:pt x="63" y="49"/>
                  </a:cubicBezTo>
                  <a:cubicBezTo>
                    <a:pt x="63" y="47"/>
                    <a:pt x="63" y="47"/>
                    <a:pt x="63" y="47"/>
                  </a:cubicBezTo>
                  <a:cubicBezTo>
                    <a:pt x="64" y="46"/>
                    <a:pt x="65" y="46"/>
                    <a:pt x="65" y="46"/>
                  </a:cubicBezTo>
                  <a:cubicBezTo>
                    <a:pt x="67" y="46"/>
                    <a:pt x="67" y="46"/>
                    <a:pt x="67" y="46"/>
                  </a:cubicBezTo>
                  <a:cubicBezTo>
                    <a:pt x="67" y="46"/>
                    <a:pt x="67" y="46"/>
                    <a:pt x="67" y="46"/>
                  </a:cubicBezTo>
                  <a:cubicBezTo>
                    <a:pt x="68" y="46"/>
                    <a:pt x="68" y="46"/>
                    <a:pt x="68" y="46"/>
                  </a:cubicBezTo>
                  <a:cubicBezTo>
                    <a:pt x="69" y="45"/>
                    <a:pt x="69" y="45"/>
                    <a:pt x="69" y="45"/>
                  </a:cubicBezTo>
                  <a:cubicBezTo>
                    <a:pt x="69" y="44"/>
                    <a:pt x="69" y="44"/>
                    <a:pt x="69" y="44"/>
                  </a:cubicBezTo>
                  <a:cubicBezTo>
                    <a:pt x="69" y="44"/>
                    <a:pt x="69" y="44"/>
                    <a:pt x="69" y="44"/>
                  </a:cubicBezTo>
                  <a:cubicBezTo>
                    <a:pt x="67" y="42"/>
                    <a:pt x="67" y="42"/>
                    <a:pt x="67" y="42"/>
                  </a:cubicBezTo>
                  <a:close/>
                  <a:moveTo>
                    <a:pt x="64" y="41"/>
                  </a:moveTo>
                  <a:cubicBezTo>
                    <a:pt x="64" y="42"/>
                    <a:pt x="63" y="43"/>
                    <a:pt x="62" y="43"/>
                  </a:cubicBezTo>
                  <a:cubicBezTo>
                    <a:pt x="60" y="43"/>
                    <a:pt x="59" y="42"/>
                    <a:pt x="59" y="41"/>
                  </a:cubicBezTo>
                  <a:cubicBezTo>
                    <a:pt x="59" y="40"/>
                    <a:pt x="60" y="39"/>
                    <a:pt x="62" y="39"/>
                  </a:cubicBezTo>
                  <a:cubicBezTo>
                    <a:pt x="63" y="39"/>
                    <a:pt x="64" y="40"/>
                    <a:pt x="64" y="4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9" name="Oval 45"/>
            <p:cNvSpPr>
              <a:spLocks noChangeArrowheads="1"/>
            </p:cNvSpPr>
            <p:nvPr/>
          </p:nvSpPr>
          <p:spPr bwMode="auto">
            <a:xfrm>
              <a:off x="9056250" y="3600764"/>
              <a:ext cx="860462" cy="854204"/>
            </a:xfrm>
            <a:prstGeom prst="ellipse">
              <a:avLst/>
            </a:pr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0" name="Freeform 46"/>
            <p:cNvSpPr>
              <a:spLocks noEditPoints="1"/>
            </p:cNvSpPr>
            <p:nvPr/>
          </p:nvSpPr>
          <p:spPr bwMode="auto">
            <a:xfrm>
              <a:off x="9272148" y="3847952"/>
              <a:ext cx="428667" cy="362958"/>
            </a:xfrm>
            <a:custGeom>
              <a:avLst/>
              <a:gdLst>
                <a:gd name="T0" fmla="*/ 93 w 98"/>
                <a:gd name="T1" fmla="*/ 78 h 83"/>
                <a:gd name="T2" fmla="*/ 0 w 98"/>
                <a:gd name="T3" fmla="*/ 15 h 83"/>
                <a:gd name="T4" fmla="*/ 0 w 98"/>
                <a:gd name="T5" fmla="*/ 83 h 83"/>
                <a:gd name="T6" fmla="*/ 98 w 98"/>
                <a:gd name="T7" fmla="*/ 0 h 83"/>
                <a:gd name="T8" fmla="*/ 0 w 98"/>
                <a:gd name="T9" fmla="*/ 0 h 83"/>
                <a:gd name="T10" fmla="*/ 57 w 98"/>
                <a:gd name="T11" fmla="*/ 47 h 83"/>
                <a:gd name="T12" fmla="*/ 54 w 98"/>
                <a:gd name="T13" fmla="*/ 42 h 83"/>
                <a:gd name="T14" fmla="*/ 51 w 98"/>
                <a:gd name="T15" fmla="*/ 40 h 83"/>
                <a:gd name="T16" fmla="*/ 46 w 98"/>
                <a:gd name="T17" fmla="*/ 37 h 83"/>
                <a:gd name="T18" fmla="*/ 41 w 98"/>
                <a:gd name="T19" fmla="*/ 37 h 83"/>
                <a:gd name="T20" fmla="*/ 36 w 98"/>
                <a:gd name="T21" fmla="*/ 40 h 83"/>
                <a:gd name="T22" fmla="*/ 33 w 98"/>
                <a:gd name="T23" fmla="*/ 42 h 83"/>
                <a:gd name="T24" fmla="*/ 30 w 98"/>
                <a:gd name="T25" fmla="*/ 47 h 83"/>
                <a:gd name="T26" fmla="*/ 29 w 98"/>
                <a:gd name="T27" fmla="*/ 51 h 83"/>
                <a:gd name="T28" fmla="*/ 30 w 98"/>
                <a:gd name="T29" fmla="*/ 57 h 83"/>
                <a:gd name="T30" fmla="*/ 32 w 98"/>
                <a:gd name="T31" fmla="*/ 60 h 83"/>
                <a:gd name="T32" fmla="*/ 37 w 98"/>
                <a:gd name="T33" fmla="*/ 64 h 83"/>
                <a:gd name="T34" fmla="*/ 41 w 98"/>
                <a:gd name="T35" fmla="*/ 66 h 83"/>
                <a:gd name="T36" fmla="*/ 44 w 98"/>
                <a:gd name="T37" fmla="*/ 62 h 83"/>
                <a:gd name="T38" fmla="*/ 50 w 98"/>
                <a:gd name="T39" fmla="*/ 65 h 83"/>
                <a:gd name="T40" fmla="*/ 51 w 98"/>
                <a:gd name="T41" fmla="*/ 59 h 83"/>
                <a:gd name="T42" fmla="*/ 57 w 98"/>
                <a:gd name="T43" fmla="*/ 58 h 83"/>
                <a:gd name="T44" fmla="*/ 54 w 98"/>
                <a:gd name="T45" fmla="*/ 53 h 83"/>
                <a:gd name="T46" fmla="*/ 49 w 98"/>
                <a:gd name="T47" fmla="*/ 52 h 83"/>
                <a:gd name="T48" fmla="*/ 40 w 98"/>
                <a:gd name="T49" fmla="*/ 56 h 83"/>
                <a:gd name="T50" fmla="*/ 44 w 98"/>
                <a:gd name="T51" fmla="*/ 46 h 83"/>
                <a:gd name="T52" fmla="*/ 41 w 98"/>
                <a:gd name="T53" fmla="*/ 52 h 83"/>
                <a:gd name="T54" fmla="*/ 44 w 98"/>
                <a:gd name="T55" fmla="*/ 54 h 83"/>
                <a:gd name="T56" fmla="*/ 67 w 98"/>
                <a:gd name="T57" fmla="*/ 41 h 83"/>
                <a:gd name="T58" fmla="*/ 69 w 98"/>
                <a:gd name="T59" fmla="*/ 38 h 83"/>
                <a:gd name="T60" fmla="*/ 67 w 98"/>
                <a:gd name="T61" fmla="*/ 36 h 83"/>
                <a:gd name="T62" fmla="*/ 63 w 98"/>
                <a:gd name="T63" fmla="*/ 36 h 83"/>
                <a:gd name="T64" fmla="*/ 61 w 98"/>
                <a:gd name="T65" fmla="*/ 33 h 83"/>
                <a:gd name="T66" fmla="*/ 58 w 98"/>
                <a:gd name="T67" fmla="*/ 37 h 83"/>
                <a:gd name="T68" fmla="*/ 55 w 98"/>
                <a:gd name="T69" fmla="*/ 37 h 83"/>
                <a:gd name="T70" fmla="*/ 54 w 98"/>
                <a:gd name="T71" fmla="*/ 39 h 83"/>
                <a:gd name="T72" fmla="*/ 56 w 98"/>
                <a:gd name="T73" fmla="*/ 42 h 83"/>
                <a:gd name="T74" fmla="*/ 54 w 98"/>
                <a:gd name="T75" fmla="*/ 45 h 83"/>
                <a:gd name="T76" fmla="*/ 56 w 98"/>
                <a:gd name="T77" fmla="*/ 46 h 83"/>
                <a:gd name="T78" fmla="*/ 60 w 98"/>
                <a:gd name="T79" fmla="*/ 49 h 83"/>
                <a:gd name="T80" fmla="*/ 63 w 98"/>
                <a:gd name="T81" fmla="*/ 49 h 83"/>
                <a:gd name="T82" fmla="*/ 67 w 98"/>
                <a:gd name="T83" fmla="*/ 46 h 83"/>
                <a:gd name="T84" fmla="*/ 69 w 98"/>
                <a:gd name="T85" fmla="*/ 45 h 83"/>
                <a:gd name="T86" fmla="*/ 67 w 98"/>
                <a:gd name="T87" fmla="*/ 42 h 83"/>
                <a:gd name="T88" fmla="*/ 59 w 98"/>
                <a:gd name="T89" fmla="*/ 41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98" h="83">
                  <a:moveTo>
                    <a:pt x="5" y="20"/>
                  </a:moveTo>
                  <a:cubicBezTo>
                    <a:pt x="5" y="78"/>
                    <a:pt x="5" y="78"/>
                    <a:pt x="5" y="78"/>
                  </a:cubicBezTo>
                  <a:cubicBezTo>
                    <a:pt x="93" y="78"/>
                    <a:pt x="93" y="78"/>
                    <a:pt x="93" y="78"/>
                  </a:cubicBezTo>
                  <a:cubicBezTo>
                    <a:pt x="93" y="20"/>
                    <a:pt x="93" y="20"/>
                    <a:pt x="93" y="20"/>
                  </a:cubicBezTo>
                  <a:cubicBezTo>
                    <a:pt x="5" y="20"/>
                    <a:pt x="5" y="20"/>
                    <a:pt x="5" y="20"/>
                  </a:cubicBezTo>
                  <a:close/>
                  <a:moveTo>
                    <a:pt x="0" y="15"/>
                  </a:moveTo>
                  <a:cubicBezTo>
                    <a:pt x="98" y="15"/>
                    <a:pt x="98" y="15"/>
                    <a:pt x="98" y="15"/>
                  </a:cubicBezTo>
                  <a:cubicBezTo>
                    <a:pt x="98" y="83"/>
                    <a:pt x="98" y="83"/>
                    <a:pt x="98" y="83"/>
                  </a:cubicBezTo>
                  <a:cubicBezTo>
                    <a:pt x="0" y="83"/>
                    <a:pt x="0" y="83"/>
                    <a:pt x="0" y="83"/>
                  </a:cubicBezTo>
                  <a:cubicBezTo>
                    <a:pt x="0" y="15"/>
                    <a:pt x="0" y="15"/>
                    <a:pt x="0" y="15"/>
                  </a:cubicBezTo>
                  <a:close/>
                  <a:moveTo>
                    <a:pt x="0" y="0"/>
                  </a:moveTo>
                  <a:cubicBezTo>
                    <a:pt x="98" y="0"/>
                    <a:pt x="98" y="0"/>
                    <a:pt x="98" y="0"/>
                  </a:cubicBezTo>
                  <a:cubicBezTo>
                    <a:pt x="98" y="10"/>
                    <a:pt x="98" y="10"/>
                    <a:pt x="98" y="10"/>
                  </a:cubicBezTo>
                  <a:cubicBezTo>
                    <a:pt x="0" y="10"/>
                    <a:pt x="0" y="10"/>
                    <a:pt x="0" y="10"/>
                  </a:cubicBezTo>
                  <a:cubicBezTo>
                    <a:pt x="0" y="0"/>
                    <a:pt x="0" y="0"/>
                    <a:pt x="0" y="0"/>
                  </a:cubicBezTo>
                  <a:close/>
                  <a:moveTo>
                    <a:pt x="58" y="50"/>
                  </a:moveTo>
                  <a:cubicBezTo>
                    <a:pt x="58" y="48"/>
                    <a:pt x="58" y="48"/>
                    <a:pt x="58" y="48"/>
                  </a:cubicBezTo>
                  <a:cubicBezTo>
                    <a:pt x="58" y="48"/>
                    <a:pt x="57" y="47"/>
                    <a:pt x="57" y="47"/>
                  </a:cubicBezTo>
                  <a:cubicBezTo>
                    <a:pt x="53" y="47"/>
                    <a:pt x="53" y="47"/>
                    <a:pt x="53" y="47"/>
                  </a:cubicBezTo>
                  <a:cubicBezTo>
                    <a:pt x="52" y="46"/>
                    <a:pt x="52" y="46"/>
                    <a:pt x="52" y="46"/>
                  </a:cubicBezTo>
                  <a:cubicBezTo>
                    <a:pt x="54" y="42"/>
                    <a:pt x="54" y="42"/>
                    <a:pt x="54" y="42"/>
                  </a:cubicBezTo>
                  <a:cubicBezTo>
                    <a:pt x="54" y="41"/>
                    <a:pt x="54" y="41"/>
                    <a:pt x="54" y="41"/>
                  </a:cubicBezTo>
                  <a:cubicBezTo>
                    <a:pt x="52" y="40"/>
                    <a:pt x="52" y="40"/>
                    <a:pt x="52" y="40"/>
                  </a:cubicBezTo>
                  <a:cubicBezTo>
                    <a:pt x="51" y="40"/>
                    <a:pt x="51" y="40"/>
                    <a:pt x="51" y="40"/>
                  </a:cubicBezTo>
                  <a:cubicBezTo>
                    <a:pt x="48" y="42"/>
                    <a:pt x="48" y="42"/>
                    <a:pt x="48" y="42"/>
                  </a:cubicBezTo>
                  <a:cubicBezTo>
                    <a:pt x="47" y="42"/>
                    <a:pt x="47" y="42"/>
                    <a:pt x="47" y="42"/>
                  </a:cubicBezTo>
                  <a:cubicBezTo>
                    <a:pt x="46" y="37"/>
                    <a:pt x="46" y="37"/>
                    <a:pt x="46" y="37"/>
                  </a:cubicBezTo>
                  <a:cubicBezTo>
                    <a:pt x="45" y="37"/>
                    <a:pt x="45" y="37"/>
                    <a:pt x="45" y="37"/>
                  </a:cubicBezTo>
                  <a:cubicBezTo>
                    <a:pt x="42" y="37"/>
                    <a:pt x="42" y="37"/>
                    <a:pt x="42" y="37"/>
                  </a:cubicBezTo>
                  <a:cubicBezTo>
                    <a:pt x="41" y="37"/>
                    <a:pt x="41" y="37"/>
                    <a:pt x="41" y="37"/>
                  </a:cubicBezTo>
                  <a:cubicBezTo>
                    <a:pt x="41" y="42"/>
                    <a:pt x="41" y="42"/>
                    <a:pt x="41" y="42"/>
                  </a:cubicBezTo>
                  <a:cubicBezTo>
                    <a:pt x="40" y="42"/>
                    <a:pt x="40" y="42"/>
                    <a:pt x="40" y="42"/>
                  </a:cubicBezTo>
                  <a:cubicBezTo>
                    <a:pt x="36" y="40"/>
                    <a:pt x="36" y="40"/>
                    <a:pt x="36" y="40"/>
                  </a:cubicBezTo>
                  <a:cubicBezTo>
                    <a:pt x="35" y="40"/>
                    <a:pt x="35" y="40"/>
                    <a:pt x="35" y="40"/>
                  </a:cubicBezTo>
                  <a:cubicBezTo>
                    <a:pt x="33" y="41"/>
                    <a:pt x="33" y="41"/>
                    <a:pt x="33" y="41"/>
                  </a:cubicBezTo>
                  <a:cubicBezTo>
                    <a:pt x="33" y="42"/>
                    <a:pt x="33" y="42"/>
                    <a:pt x="33" y="42"/>
                  </a:cubicBezTo>
                  <a:cubicBezTo>
                    <a:pt x="35" y="46"/>
                    <a:pt x="35" y="46"/>
                    <a:pt x="35" y="46"/>
                  </a:cubicBezTo>
                  <a:cubicBezTo>
                    <a:pt x="34" y="47"/>
                    <a:pt x="34" y="47"/>
                    <a:pt x="34" y="47"/>
                  </a:cubicBezTo>
                  <a:cubicBezTo>
                    <a:pt x="30" y="47"/>
                    <a:pt x="30" y="47"/>
                    <a:pt x="30" y="47"/>
                  </a:cubicBezTo>
                  <a:cubicBezTo>
                    <a:pt x="30" y="47"/>
                    <a:pt x="30" y="48"/>
                    <a:pt x="29" y="48"/>
                  </a:cubicBezTo>
                  <a:cubicBezTo>
                    <a:pt x="29" y="50"/>
                    <a:pt x="29" y="50"/>
                    <a:pt x="29" y="50"/>
                  </a:cubicBezTo>
                  <a:cubicBezTo>
                    <a:pt x="29" y="51"/>
                    <a:pt x="29" y="51"/>
                    <a:pt x="29" y="51"/>
                  </a:cubicBezTo>
                  <a:cubicBezTo>
                    <a:pt x="33" y="53"/>
                    <a:pt x="33" y="53"/>
                    <a:pt x="33" y="53"/>
                  </a:cubicBezTo>
                  <a:cubicBezTo>
                    <a:pt x="33" y="53"/>
                    <a:pt x="33" y="54"/>
                    <a:pt x="33" y="54"/>
                  </a:cubicBezTo>
                  <a:cubicBezTo>
                    <a:pt x="30" y="57"/>
                    <a:pt x="30" y="57"/>
                    <a:pt x="30" y="57"/>
                  </a:cubicBezTo>
                  <a:cubicBezTo>
                    <a:pt x="30" y="58"/>
                    <a:pt x="30" y="58"/>
                    <a:pt x="30" y="58"/>
                  </a:cubicBezTo>
                  <a:cubicBezTo>
                    <a:pt x="32" y="60"/>
                    <a:pt x="32" y="60"/>
                    <a:pt x="32" y="60"/>
                  </a:cubicBezTo>
                  <a:cubicBezTo>
                    <a:pt x="32" y="60"/>
                    <a:pt x="32" y="60"/>
                    <a:pt x="32" y="60"/>
                  </a:cubicBezTo>
                  <a:cubicBezTo>
                    <a:pt x="36" y="59"/>
                    <a:pt x="36" y="59"/>
                    <a:pt x="36" y="59"/>
                  </a:cubicBezTo>
                  <a:cubicBezTo>
                    <a:pt x="37" y="60"/>
                    <a:pt x="37" y="60"/>
                    <a:pt x="37" y="60"/>
                  </a:cubicBezTo>
                  <a:cubicBezTo>
                    <a:pt x="37" y="64"/>
                    <a:pt x="37" y="64"/>
                    <a:pt x="37" y="64"/>
                  </a:cubicBezTo>
                  <a:cubicBezTo>
                    <a:pt x="37" y="65"/>
                    <a:pt x="37" y="65"/>
                    <a:pt x="37" y="65"/>
                  </a:cubicBezTo>
                  <a:cubicBezTo>
                    <a:pt x="40" y="66"/>
                    <a:pt x="40" y="66"/>
                    <a:pt x="40" y="66"/>
                  </a:cubicBezTo>
                  <a:cubicBezTo>
                    <a:pt x="41" y="66"/>
                    <a:pt x="41" y="66"/>
                    <a:pt x="41" y="66"/>
                  </a:cubicBezTo>
                  <a:cubicBezTo>
                    <a:pt x="43" y="62"/>
                    <a:pt x="43" y="62"/>
                    <a:pt x="43" y="62"/>
                  </a:cubicBezTo>
                  <a:cubicBezTo>
                    <a:pt x="44" y="62"/>
                    <a:pt x="44" y="62"/>
                    <a:pt x="44" y="62"/>
                  </a:cubicBezTo>
                  <a:cubicBezTo>
                    <a:pt x="44" y="62"/>
                    <a:pt x="44" y="62"/>
                    <a:pt x="44" y="62"/>
                  </a:cubicBezTo>
                  <a:cubicBezTo>
                    <a:pt x="46" y="66"/>
                    <a:pt x="46" y="66"/>
                    <a:pt x="46" y="66"/>
                  </a:cubicBezTo>
                  <a:cubicBezTo>
                    <a:pt x="47" y="66"/>
                    <a:pt x="47" y="66"/>
                    <a:pt x="47" y="66"/>
                  </a:cubicBezTo>
                  <a:cubicBezTo>
                    <a:pt x="50" y="65"/>
                    <a:pt x="50" y="65"/>
                    <a:pt x="50" y="65"/>
                  </a:cubicBezTo>
                  <a:cubicBezTo>
                    <a:pt x="50" y="64"/>
                    <a:pt x="50" y="64"/>
                    <a:pt x="50" y="64"/>
                  </a:cubicBezTo>
                  <a:cubicBezTo>
                    <a:pt x="50" y="60"/>
                    <a:pt x="50" y="60"/>
                    <a:pt x="50" y="60"/>
                  </a:cubicBezTo>
                  <a:cubicBezTo>
                    <a:pt x="51" y="59"/>
                    <a:pt x="51" y="59"/>
                    <a:pt x="51" y="59"/>
                  </a:cubicBezTo>
                  <a:cubicBezTo>
                    <a:pt x="55" y="60"/>
                    <a:pt x="55" y="60"/>
                    <a:pt x="55" y="60"/>
                  </a:cubicBezTo>
                  <a:cubicBezTo>
                    <a:pt x="55" y="60"/>
                    <a:pt x="55" y="60"/>
                    <a:pt x="55" y="60"/>
                  </a:cubicBezTo>
                  <a:cubicBezTo>
                    <a:pt x="57" y="58"/>
                    <a:pt x="57" y="58"/>
                    <a:pt x="57" y="58"/>
                  </a:cubicBezTo>
                  <a:cubicBezTo>
                    <a:pt x="57" y="57"/>
                    <a:pt x="57" y="57"/>
                    <a:pt x="57" y="57"/>
                  </a:cubicBezTo>
                  <a:cubicBezTo>
                    <a:pt x="54" y="54"/>
                    <a:pt x="54" y="54"/>
                    <a:pt x="54" y="54"/>
                  </a:cubicBezTo>
                  <a:cubicBezTo>
                    <a:pt x="54" y="54"/>
                    <a:pt x="54" y="53"/>
                    <a:pt x="54" y="53"/>
                  </a:cubicBezTo>
                  <a:cubicBezTo>
                    <a:pt x="58" y="51"/>
                    <a:pt x="58" y="51"/>
                    <a:pt x="58" y="51"/>
                  </a:cubicBezTo>
                  <a:cubicBezTo>
                    <a:pt x="58" y="51"/>
                    <a:pt x="58" y="51"/>
                    <a:pt x="58" y="50"/>
                  </a:cubicBezTo>
                  <a:close/>
                  <a:moveTo>
                    <a:pt x="49" y="52"/>
                  </a:moveTo>
                  <a:cubicBezTo>
                    <a:pt x="49" y="53"/>
                    <a:pt x="49" y="55"/>
                    <a:pt x="48" y="56"/>
                  </a:cubicBezTo>
                  <a:cubicBezTo>
                    <a:pt x="47" y="57"/>
                    <a:pt x="45" y="58"/>
                    <a:pt x="44" y="58"/>
                  </a:cubicBezTo>
                  <a:cubicBezTo>
                    <a:pt x="42" y="58"/>
                    <a:pt x="41" y="57"/>
                    <a:pt x="40" y="56"/>
                  </a:cubicBezTo>
                  <a:cubicBezTo>
                    <a:pt x="39" y="55"/>
                    <a:pt x="38" y="53"/>
                    <a:pt x="38" y="52"/>
                  </a:cubicBezTo>
                  <a:cubicBezTo>
                    <a:pt x="38" y="50"/>
                    <a:pt x="39" y="49"/>
                    <a:pt x="40" y="48"/>
                  </a:cubicBezTo>
                  <a:cubicBezTo>
                    <a:pt x="41" y="47"/>
                    <a:pt x="42" y="46"/>
                    <a:pt x="44" y="46"/>
                  </a:cubicBezTo>
                  <a:cubicBezTo>
                    <a:pt x="45" y="46"/>
                    <a:pt x="47" y="47"/>
                    <a:pt x="48" y="48"/>
                  </a:cubicBezTo>
                  <a:cubicBezTo>
                    <a:pt x="49" y="49"/>
                    <a:pt x="49" y="50"/>
                    <a:pt x="49" y="52"/>
                  </a:cubicBezTo>
                  <a:close/>
                  <a:moveTo>
                    <a:pt x="41" y="52"/>
                  </a:moveTo>
                  <a:cubicBezTo>
                    <a:pt x="41" y="50"/>
                    <a:pt x="42" y="49"/>
                    <a:pt x="44" y="49"/>
                  </a:cubicBezTo>
                  <a:cubicBezTo>
                    <a:pt x="45" y="49"/>
                    <a:pt x="46" y="50"/>
                    <a:pt x="46" y="52"/>
                  </a:cubicBezTo>
                  <a:cubicBezTo>
                    <a:pt x="46" y="53"/>
                    <a:pt x="45" y="54"/>
                    <a:pt x="44" y="54"/>
                  </a:cubicBezTo>
                  <a:cubicBezTo>
                    <a:pt x="42" y="54"/>
                    <a:pt x="41" y="53"/>
                    <a:pt x="41" y="52"/>
                  </a:cubicBezTo>
                  <a:close/>
                  <a:moveTo>
                    <a:pt x="67" y="42"/>
                  </a:moveTo>
                  <a:cubicBezTo>
                    <a:pt x="67" y="41"/>
                    <a:pt x="67" y="41"/>
                    <a:pt x="67" y="41"/>
                  </a:cubicBezTo>
                  <a:cubicBezTo>
                    <a:pt x="67" y="40"/>
                    <a:pt x="67" y="40"/>
                    <a:pt x="67" y="40"/>
                  </a:cubicBezTo>
                  <a:cubicBezTo>
                    <a:pt x="69" y="39"/>
                    <a:pt x="69" y="39"/>
                    <a:pt x="69" y="39"/>
                  </a:cubicBezTo>
                  <a:cubicBezTo>
                    <a:pt x="69" y="38"/>
                    <a:pt x="69" y="38"/>
                    <a:pt x="69" y="38"/>
                  </a:cubicBezTo>
                  <a:cubicBezTo>
                    <a:pt x="69" y="38"/>
                    <a:pt x="69" y="38"/>
                    <a:pt x="69" y="38"/>
                  </a:cubicBezTo>
                  <a:cubicBezTo>
                    <a:pt x="68" y="37"/>
                    <a:pt x="68" y="37"/>
                    <a:pt x="68" y="37"/>
                  </a:cubicBezTo>
                  <a:cubicBezTo>
                    <a:pt x="67" y="36"/>
                    <a:pt x="67" y="36"/>
                    <a:pt x="67" y="36"/>
                  </a:cubicBezTo>
                  <a:cubicBezTo>
                    <a:pt x="67" y="36"/>
                    <a:pt x="67" y="36"/>
                    <a:pt x="67" y="36"/>
                  </a:cubicBezTo>
                  <a:cubicBezTo>
                    <a:pt x="65" y="37"/>
                    <a:pt x="65" y="37"/>
                    <a:pt x="65" y="37"/>
                  </a:cubicBezTo>
                  <a:cubicBezTo>
                    <a:pt x="65" y="37"/>
                    <a:pt x="64" y="36"/>
                    <a:pt x="63" y="36"/>
                  </a:cubicBezTo>
                  <a:cubicBezTo>
                    <a:pt x="63" y="34"/>
                    <a:pt x="63" y="34"/>
                    <a:pt x="63" y="34"/>
                  </a:cubicBezTo>
                  <a:cubicBezTo>
                    <a:pt x="62" y="33"/>
                    <a:pt x="62" y="33"/>
                    <a:pt x="62" y="33"/>
                  </a:cubicBezTo>
                  <a:cubicBezTo>
                    <a:pt x="61" y="33"/>
                    <a:pt x="61" y="33"/>
                    <a:pt x="61" y="33"/>
                  </a:cubicBezTo>
                  <a:cubicBezTo>
                    <a:pt x="60" y="34"/>
                    <a:pt x="60" y="34"/>
                    <a:pt x="60" y="34"/>
                  </a:cubicBezTo>
                  <a:cubicBezTo>
                    <a:pt x="60" y="36"/>
                    <a:pt x="60" y="36"/>
                    <a:pt x="60" y="36"/>
                  </a:cubicBezTo>
                  <a:cubicBezTo>
                    <a:pt x="59" y="36"/>
                    <a:pt x="58" y="37"/>
                    <a:pt x="58" y="37"/>
                  </a:cubicBezTo>
                  <a:cubicBezTo>
                    <a:pt x="56" y="36"/>
                    <a:pt x="56" y="36"/>
                    <a:pt x="56" y="36"/>
                  </a:cubicBezTo>
                  <a:cubicBezTo>
                    <a:pt x="56" y="36"/>
                    <a:pt x="56" y="36"/>
                    <a:pt x="56" y="36"/>
                  </a:cubicBezTo>
                  <a:cubicBezTo>
                    <a:pt x="55" y="37"/>
                    <a:pt x="55" y="37"/>
                    <a:pt x="55" y="37"/>
                  </a:cubicBezTo>
                  <a:cubicBezTo>
                    <a:pt x="54" y="38"/>
                    <a:pt x="54" y="38"/>
                    <a:pt x="54" y="38"/>
                  </a:cubicBezTo>
                  <a:cubicBezTo>
                    <a:pt x="54" y="38"/>
                    <a:pt x="54" y="38"/>
                    <a:pt x="54" y="38"/>
                  </a:cubicBezTo>
                  <a:cubicBezTo>
                    <a:pt x="54" y="39"/>
                    <a:pt x="54" y="39"/>
                    <a:pt x="54" y="39"/>
                  </a:cubicBezTo>
                  <a:cubicBezTo>
                    <a:pt x="56" y="40"/>
                    <a:pt x="56" y="40"/>
                    <a:pt x="56" y="40"/>
                  </a:cubicBezTo>
                  <a:cubicBezTo>
                    <a:pt x="56" y="41"/>
                    <a:pt x="56" y="41"/>
                    <a:pt x="56" y="41"/>
                  </a:cubicBezTo>
                  <a:cubicBezTo>
                    <a:pt x="56" y="42"/>
                    <a:pt x="56" y="42"/>
                    <a:pt x="56" y="42"/>
                  </a:cubicBezTo>
                  <a:cubicBezTo>
                    <a:pt x="54" y="44"/>
                    <a:pt x="54" y="44"/>
                    <a:pt x="54" y="44"/>
                  </a:cubicBezTo>
                  <a:cubicBezTo>
                    <a:pt x="54" y="44"/>
                    <a:pt x="54" y="44"/>
                    <a:pt x="54" y="44"/>
                  </a:cubicBezTo>
                  <a:cubicBezTo>
                    <a:pt x="54" y="45"/>
                    <a:pt x="54" y="45"/>
                    <a:pt x="54" y="45"/>
                  </a:cubicBezTo>
                  <a:cubicBezTo>
                    <a:pt x="55" y="46"/>
                    <a:pt x="55" y="46"/>
                    <a:pt x="55" y="46"/>
                  </a:cubicBezTo>
                  <a:cubicBezTo>
                    <a:pt x="56" y="46"/>
                    <a:pt x="56" y="46"/>
                    <a:pt x="56" y="46"/>
                  </a:cubicBezTo>
                  <a:cubicBezTo>
                    <a:pt x="56" y="46"/>
                    <a:pt x="56" y="46"/>
                    <a:pt x="56" y="46"/>
                  </a:cubicBezTo>
                  <a:cubicBezTo>
                    <a:pt x="58" y="46"/>
                    <a:pt x="58" y="46"/>
                    <a:pt x="58" y="46"/>
                  </a:cubicBezTo>
                  <a:cubicBezTo>
                    <a:pt x="58" y="46"/>
                    <a:pt x="59" y="46"/>
                    <a:pt x="60" y="47"/>
                  </a:cubicBezTo>
                  <a:cubicBezTo>
                    <a:pt x="60" y="49"/>
                    <a:pt x="60" y="49"/>
                    <a:pt x="60" y="49"/>
                  </a:cubicBezTo>
                  <a:cubicBezTo>
                    <a:pt x="61" y="49"/>
                    <a:pt x="61" y="49"/>
                    <a:pt x="61" y="49"/>
                  </a:cubicBezTo>
                  <a:cubicBezTo>
                    <a:pt x="62" y="49"/>
                    <a:pt x="62" y="49"/>
                    <a:pt x="62" y="49"/>
                  </a:cubicBezTo>
                  <a:cubicBezTo>
                    <a:pt x="63" y="49"/>
                    <a:pt x="63" y="49"/>
                    <a:pt x="63" y="49"/>
                  </a:cubicBezTo>
                  <a:cubicBezTo>
                    <a:pt x="63" y="47"/>
                    <a:pt x="63" y="47"/>
                    <a:pt x="63" y="47"/>
                  </a:cubicBezTo>
                  <a:cubicBezTo>
                    <a:pt x="64" y="46"/>
                    <a:pt x="65" y="46"/>
                    <a:pt x="65" y="46"/>
                  </a:cubicBezTo>
                  <a:cubicBezTo>
                    <a:pt x="67" y="46"/>
                    <a:pt x="67" y="46"/>
                    <a:pt x="67" y="46"/>
                  </a:cubicBezTo>
                  <a:cubicBezTo>
                    <a:pt x="67" y="46"/>
                    <a:pt x="67" y="46"/>
                    <a:pt x="67" y="46"/>
                  </a:cubicBezTo>
                  <a:cubicBezTo>
                    <a:pt x="68" y="46"/>
                    <a:pt x="68" y="46"/>
                    <a:pt x="68" y="46"/>
                  </a:cubicBezTo>
                  <a:cubicBezTo>
                    <a:pt x="69" y="45"/>
                    <a:pt x="69" y="45"/>
                    <a:pt x="69" y="45"/>
                  </a:cubicBezTo>
                  <a:cubicBezTo>
                    <a:pt x="69" y="44"/>
                    <a:pt x="69" y="44"/>
                    <a:pt x="69" y="44"/>
                  </a:cubicBezTo>
                  <a:cubicBezTo>
                    <a:pt x="69" y="44"/>
                    <a:pt x="69" y="44"/>
                    <a:pt x="69" y="44"/>
                  </a:cubicBezTo>
                  <a:cubicBezTo>
                    <a:pt x="67" y="42"/>
                    <a:pt x="67" y="42"/>
                    <a:pt x="67" y="42"/>
                  </a:cubicBezTo>
                  <a:close/>
                  <a:moveTo>
                    <a:pt x="64" y="41"/>
                  </a:moveTo>
                  <a:cubicBezTo>
                    <a:pt x="64" y="42"/>
                    <a:pt x="63" y="43"/>
                    <a:pt x="62" y="43"/>
                  </a:cubicBezTo>
                  <a:cubicBezTo>
                    <a:pt x="60" y="43"/>
                    <a:pt x="59" y="42"/>
                    <a:pt x="59" y="41"/>
                  </a:cubicBezTo>
                  <a:cubicBezTo>
                    <a:pt x="59" y="40"/>
                    <a:pt x="60" y="39"/>
                    <a:pt x="62" y="39"/>
                  </a:cubicBezTo>
                  <a:cubicBezTo>
                    <a:pt x="63" y="39"/>
                    <a:pt x="64" y="40"/>
                    <a:pt x="64" y="41"/>
                  </a:cubicBez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1" name="Freeform 47"/>
            <p:cNvSpPr>
              <a:spLocks noEditPoints="1"/>
            </p:cNvSpPr>
            <p:nvPr/>
          </p:nvSpPr>
          <p:spPr bwMode="auto">
            <a:xfrm>
              <a:off x="9725845" y="5212173"/>
              <a:ext cx="556953" cy="444311"/>
            </a:xfrm>
            <a:custGeom>
              <a:avLst/>
              <a:gdLst>
                <a:gd name="T0" fmla="*/ 127 w 127"/>
                <a:gd name="T1" fmla="*/ 73 h 101"/>
                <a:gd name="T2" fmla="*/ 0 w 127"/>
                <a:gd name="T3" fmla="*/ 73 h 101"/>
                <a:gd name="T4" fmla="*/ 16 w 127"/>
                <a:gd name="T5" fmla="*/ 101 h 101"/>
                <a:gd name="T6" fmla="*/ 112 w 127"/>
                <a:gd name="T7" fmla="*/ 101 h 101"/>
                <a:gd name="T8" fmla="*/ 127 w 127"/>
                <a:gd name="T9" fmla="*/ 73 h 101"/>
                <a:gd name="T10" fmla="*/ 95 w 127"/>
                <a:gd name="T11" fmla="*/ 0 h 101"/>
                <a:gd name="T12" fmla="*/ 33 w 127"/>
                <a:gd name="T13" fmla="*/ 0 h 101"/>
                <a:gd name="T14" fmla="*/ 3 w 127"/>
                <a:gd name="T15" fmla="*/ 34 h 101"/>
                <a:gd name="T16" fmla="*/ 124 w 127"/>
                <a:gd name="T17" fmla="*/ 34 h 101"/>
                <a:gd name="T18" fmla="*/ 95 w 127"/>
                <a:gd name="T19"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7" h="101">
                  <a:moveTo>
                    <a:pt x="127" y="73"/>
                  </a:moveTo>
                  <a:cubicBezTo>
                    <a:pt x="0" y="73"/>
                    <a:pt x="0" y="73"/>
                    <a:pt x="0" y="73"/>
                  </a:cubicBezTo>
                  <a:cubicBezTo>
                    <a:pt x="3" y="83"/>
                    <a:pt x="8" y="93"/>
                    <a:pt x="16" y="101"/>
                  </a:cubicBezTo>
                  <a:cubicBezTo>
                    <a:pt x="112" y="101"/>
                    <a:pt x="112" y="101"/>
                    <a:pt x="112" y="101"/>
                  </a:cubicBezTo>
                  <a:cubicBezTo>
                    <a:pt x="119" y="93"/>
                    <a:pt x="124" y="83"/>
                    <a:pt x="127" y="73"/>
                  </a:cubicBezTo>
                  <a:moveTo>
                    <a:pt x="95" y="0"/>
                  </a:moveTo>
                  <a:cubicBezTo>
                    <a:pt x="33" y="0"/>
                    <a:pt x="33" y="0"/>
                    <a:pt x="33" y="0"/>
                  </a:cubicBezTo>
                  <a:cubicBezTo>
                    <a:pt x="19" y="7"/>
                    <a:pt x="9" y="19"/>
                    <a:pt x="3" y="34"/>
                  </a:cubicBezTo>
                  <a:cubicBezTo>
                    <a:pt x="124" y="34"/>
                    <a:pt x="124" y="34"/>
                    <a:pt x="124" y="34"/>
                  </a:cubicBezTo>
                  <a:cubicBezTo>
                    <a:pt x="119" y="19"/>
                    <a:pt x="108" y="7"/>
                    <a:pt x="95"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2" name="Freeform 48"/>
            <p:cNvSpPr>
              <a:spLocks/>
            </p:cNvSpPr>
            <p:nvPr/>
          </p:nvSpPr>
          <p:spPr bwMode="auto">
            <a:xfrm>
              <a:off x="9872906" y="5177754"/>
              <a:ext cx="272220" cy="34419"/>
            </a:xfrm>
            <a:custGeom>
              <a:avLst/>
              <a:gdLst>
                <a:gd name="T0" fmla="*/ 31 w 62"/>
                <a:gd name="T1" fmla="*/ 0 h 8"/>
                <a:gd name="T2" fmla="*/ 0 w 62"/>
                <a:gd name="T3" fmla="*/ 8 h 8"/>
                <a:gd name="T4" fmla="*/ 62 w 62"/>
                <a:gd name="T5" fmla="*/ 8 h 8"/>
                <a:gd name="T6" fmla="*/ 31 w 62"/>
                <a:gd name="T7" fmla="*/ 0 h 8"/>
              </a:gdLst>
              <a:ahLst/>
              <a:cxnLst>
                <a:cxn ang="0">
                  <a:pos x="T0" y="T1"/>
                </a:cxn>
                <a:cxn ang="0">
                  <a:pos x="T2" y="T3"/>
                </a:cxn>
                <a:cxn ang="0">
                  <a:pos x="T4" y="T5"/>
                </a:cxn>
                <a:cxn ang="0">
                  <a:pos x="T6" y="T7"/>
                </a:cxn>
              </a:cxnLst>
              <a:rect l="0" t="0" r="r" b="b"/>
              <a:pathLst>
                <a:path w="62" h="8">
                  <a:moveTo>
                    <a:pt x="31" y="0"/>
                  </a:moveTo>
                  <a:cubicBezTo>
                    <a:pt x="19" y="0"/>
                    <a:pt x="9" y="3"/>
                    <a:pt x="0" y="8"/>
                  </a:cubicBezTo>
                  <a:cubicBezTo>
                    <a:pt x="62" y="8"/>
                    <a:pt x="62" y="8"/>
                    <a:pt x="62" y="8"/>
                  </a:cubicBezTo>
                  <a:cubicBezTo>
                    <a:pt x="53" y="3"/>
                    <a:pt x="42" y="0"/>
                    <a:pt x="31"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3" name="Freeform 49"/>
            <p:cNvSpPr>
              <a:spLocks/>
            </p:cNvSpPr>
            <p:nvPr/>
          </p:nvSpPr>
          <p:spPr bwMode="auto">
            <a:xfrm>
              <a:off x="9722717" y="5362363"/>
              <a:ext cx="569469" cy="172093"/>
            </a:xfrm>
            <a:custGeom>
              <a:avLst/>
              <a:gdLst>
                <a:gd name="T0" fmla="*/ 125 w 130"/>
                <a:gd name="T1" fmla="*/ 0 h 39"/>
                <a:gd name="T2" fmla="*/ 4 w 130"/>
                <a:gd name="T3" fmla="*/ 0 h 39"/>
                <a:gd name="T4" fmla="*/ 0 w 130"/>
                <a:gd name="T5" fmla="*/ 23 h 39"/>
                <a:gd name="T6" fmla="*/ 1 w 130"/>
                <a:gd name="T7" fmla="*/ 39 h 39"/>
                <a:gd name="T8" fmla="*/ 128 w 130"/>
                <a:gd name="T9" fmla="*/ 39 h 39"/>
                <a:gd name="T10" fmla="*/ 130 w 130"/>
                <a:gd name="T11" fmla="*/ 23 h 39"/>
                <a:gd name="T12" fmla="*/ 125 w 130"/>
                <a:gd name="T13" fmla="*/ 0 h 39"/>
              </a:gdLst>
              <a:ahLst/>
              <a:cxnLst>
                <a:cxn ang="0">
                  <a:pos x="T0" y="T1"/>
                </a:cxn>
                <a:cxn ang="0">
                  <a:pos x="T2" y="T3"/>
                </a:cxn>
                <a:cxn ang="0">
                  <a:pos x="T4" y="T5"/>
                </a:cxn>
                <a:cxn ang="0">
                  <a:pos x="T6" y="T7"/>
                </a:cxn>
                <a:cxn ang="0">
                  <a:pos x="T8" y="T9"/>
                </a:cxn>
                <a:cxn ang="0">
                  <a:pos x="T10" y="T11"/>
                </a:cxn>
                <a:cxn ang="0">
                  <a:pos x="T12" y="T13"/>
                </a:cxn>
              </a:cxnLst>
              <a:rect l="0" t="0" r="r" b="b"/>
              <a:pathLst>
                <a:path w="130" h="39">
                  <a:moveTo>
                    <a:pt x="125" y="0"/>
                  </a:moveTo>
                  <a:cubicBezTo>
                    <a:pt x="4" y="0"/>
                    <a:pt x="4" y="0"/>
                    <a:pt x="4" y="0"/>
                  </a:cubicBezTo>
                  <a:cubicBezTo>
                    <a:pt x="1" y="7"/>
                    <a:pt x="0" y="15"/>
                    <a:pt x="0" y="23"/>
                  </a:cubicBezTo>
                  <a:cubicBezTo>
                    <a:pt x="0" y="28"/>
                    <a:pt x="0" y="34"/>
                    <a:pt x="1" y="39"/>
                  </a:cubicBezTo>
                  <a:cubicBezTo>
                    <a:pt x="128" y="39"/>
                    <a:pt x="128" y="39"/>
                    <a:pt x="128" y="39"/>
                  </a:cubicBezTo>
                  <a:cubicBezTo>
                    <a:pt x="129" y="34"/>
                    <a:pt x="130" y="28"/>
                    <a:pt x="130" y="23"/>
                  </a:cubicBezTo>
                  <a:cubicBezTo>
                    <a:pt x="130" y="15"/>
                    <a:pt x="128" y="7"/>
                    <a:pt x="125"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4" name="Freeform 50"/>
            <p:cNvSpPr>
              <a:spLocks/>
            </p:cNvSpPr>
            <p:nvPr/>
          </p:nvSpPr>
          <p:spPr bwMode="auto">
            <a:xfrm>
              <a:off x="9797812" y="5656484"/>
              <a:ext cx="419279" cy="90740"/>
            </a:xfrm>
            <a:custGeom>
              <a:avLst/>
              <a:gdLst>
                <a:gd name="T0" fmla="*/ 96 w 96"/>
                <a:gd name="T1" fmla="*/ 0 h 21"/>
                <a:gd name="T2" fmla="*/ 0 w 96"/>
                <a:gd name="T3" fmla="*/ 0 h 21"/>
                <a:gd name="T4" fmla="*/ 48 w 96"/>
                <a:gd name="T5" fmla="*/ 21 h 21"/>
                <a:gd name="T6" fmla="*/ 96 w 96"/>
                <a:gd name="T7" fmla="*/ 0 h 21"/>
              </a:gdLst>
              <a:ahLst/>
              <a:cxnLst>
                <a:cxn ang="0">
                  <a:pos x="T0" y="T1"/>
                </a:cxn>
                <a:cxn ang="0">
                  <a:pos x="T2" y="T3"/>
                </a:cxn>
                <a:cxn ang="0">
                  <a:pos x="T4" y="T5"/>
                </a:cxn>
                <a:cxn ang="0">
                  <a:pos x="T6" y="T7"/>
                </a:cxn>
              </a:cxnLst>
              <a:rect l="0" t="0" r="r" b="b"/>
              <a:pathLst>
                <a:path w="96" h="21">
                  <a:moveTo>
                    <a:pt x="96" y="0"/>
                  </a:moveTo>
                  <a:cubicBezTo>
                    <a:pt x="0" y="0"/>
                    <a:pt x="0" y="0"/>
                    <a:pt x="0" y="0"/>
                  </a:cubicBezTo>
                  <a:cubicBezTo>
                    <a:pt x="12" y="13"/>
                    <a:pt x="29" y="21"/>
                    <a:pt x="48" y="21"/>
                  </a:cubicBezTo>
                  <a:cubicBezTo>
                    <a:pt x="67" y="21"/>
                    <a:pt x="84" y="13"/>
                    <a:pt x="96"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5" name="Oval 51"/>
            <p:cNvSpPr>
              <a:spLocks noChangeArrowheads="1"/>
            </p:cNvSpPr>
            <p:nvPr/>
          </p:nvSpPr>
          <p:spPr bwMode="auto">
            <a:xfrm>
              <a:off x="9688297" y="5143337"/>
              <a:ext cx="569469" cy="569469"/>
            </a:xfrm>
            <a:prstGeom prst="ellipse">
              <a:avLst/>
            </a:pr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6" name="Freeform 52"/>
            <p:cNvSpPr>
              <a:spLocks noEditPoints="1"/>
            </p:cNvSpPr>
            <p:nvPr/>
          </p:nvSpPr>
          <p:spPr bwMode="auto">
            <a:xfrm>
              <a:off x="9829101" y="5306042"/>
              <a:ext cx="284735" cy="244058"/>
            </a:xfrm>
            <a:custGeom>
              <a:avLst/>
              <a:gdLst>
                <a:gd name="T0" fmla="*/ 62 w 65"/>
                <a:gd name="T1" fmla="*/ 53 h 56"/>
                <a:gd name="T2" fmla="*/ 0 w 65"/>
                <a:gd name="T3" fmla="*/ 10 h 56"/>
                <a:gd name="T4" fmla="*/ 0 w 65"/>
                <a:gd name="T5" fmla="*/ 56 h 56"/>
                <a:gd name="T6" fmla="*/ 65 w 65"/>
                <a:gd name="T7" fmla="*/ 0 h 56"/>
                <a:gd name="T8" fmla="*/ 0 w 65"/>
                <a:gd name="T9" fmla="*/ 0 h 56"/>
                <a:gd name="T10" fmla="*/ 38 w 65"/>
                <a:gd name="T11" fmla="*/ 32 h 56"/>
                <a:gd name="T12" fmla="*/ 36 w 65"/>
                <a:gd name="T13" fmla="*/ 28 h 56"/>
                <a:gd name="T14" fmla="*/ 34 w 65"/>
                <a:gd name="T15" fmla="*/ 27 h 56"/>
                <a:gd name="T16" fmla="*/ 31 w 65"/>
                <a:gd name="T17" fmla="*/ 25 h 56"/>
                <a:gd name="T18" fmla="*/ 28 w 65"/>
                <a:gd name="T19" fmla="*/ 25 h 56"/>
                <a:gd name="T20" fmla="*/ 24 w 65"/>
                <a:gd name="T21" fmla="*/ 27 h 56"/>
                <a:gd name="T22" fmla="*/ 22 w 65"/>
                <a:gd name="T23" fmla="*/ 28 h 56"/>
                <a:gd name="T24" fmla="*/ 20 w 65"/>
                <a:gd name="T25" fmla="*/ 32 h 56"/>
                <a:gd name="T26" fmla="*/ 20 w 65"/>
                <a:gd name="T27" fmla="*/ 34 h 56"/>
                <a:gd name="T28" fmla="*/ 20 w 65"/>
                <a:gd name="T29" fmla="*/ 38 h 56"/>
                <a:gd name="T30" fmla="*/ 22 w 65"/>
                <a:gd name="T31" fmla="*/ 41 h 56"/>
                <a:gd name="T32" fmla="*/ 25 w 65"/>
                <a:gd name="T33" fmla="*/ 43 h 56"/>
                <a:gd name="T34" fmla="*/ 27 w 65"/>
                <a:gd name="T35" fmla="*/ 44 h 56"/>
                <a:gd name="T36" fmla="*/ 30 w 65"/>
                <a:gd name="T37" fmla="*/ 42 h 56"/>
                <a:gd name="T38" fmla="*/ 33 w 65"/>
                <a:gd name="T39" fmla="*/ 43 h 56"/>
                <a:gd name="T40" fmla="*/ 34 w 65"/>
                <a:gd name="T41" fmla="*/ 40 h 56"/>
                <a:gd name="T42" fmla="*/ 38 w 65"/>
                <a:gd name="T43" fmla="*/ 39 h 56"/>
                <a:gd name="T44" fmla="*/ 36 w 65"/>
                <a:gd name="T45" fmla="*/ 36 h 56"/>
                <a:gd name="T46" fmla="*/ 32 w 65"/>
                <a:gd name="T47" fmla="*/ 38 h 56"/>
                <a:gd name="T48" fmla="*/ 25 w 65"/>
                <a:gd name="T49" fmla="*/ 35 h 56"/>
                <a:gd name="T50" fmla="*/ 32 w 65"/>
                <a:gd name="T51" fmla="*/ 32 h 56"/>
                <a:gd name="T52" fmla="*/ 29 w 65"/>
                <a:gd name="T53" fmla="*/ 33 h 56"/>
                <a:gd name="T54" fmla="*/ 27 w 65"/>
                <a:gd name="T55" fmla="*/ 35 h 56"/>
                <a:gd name="T56" fmla="*/ 45 w 65"/>
                <a:gd name="T57" fmla="*/ 27 h 56"/>
                <a:gd name="T58" fmla="*/ 46 w 65"/>
                <a:gd name="T59" fmla="*/ 26 h 56"/>
                <a:gd name="T60" fmla="*/ 45 w 65"/>
                <a:gd name="T61" fmla="*/ 25 h 56"/>
                <a:gd name="T62" fmla="*/ 42 w 65"/>
                <a:gd name="T63" fmla="*/ 23 h 56"/>
                <a:gd name="T64" fmla="*/ 40 w 65"/>
                <a:gd name="T65" fmla="*/ 23 h 56"/>
                <a:gd name="T66" fmla="*/ 37 w 65"/>
                <a:gd name="T67" fmla="*/ 25 h 56"/>
                <a:gd name="T68" fmla="*/ 36 w 65"/>
                <a:gd name="T69" fmla="*/ 26 h 56"/>
                <a:gd name="T70" fmla="*/ 38 w 65"/>
                <a:gd name="T71" fmla="*/ 27 h 56"/>
                <a:gd name="T72" fmla="*/ 36 w 65"/>
                <a:gd name="T73" fmla="*/ 29 h 56"/>
                <a:gd name="T74" fmla="*/ 37 w 65"/>
                <a:gd name="T75" fmla="*/ 31 h 56"/>
                <a:gd name="T76" fmla="*/ 39 w 65"/>
                <a:gd name="T77" fmla="*/ 31 h 56"/>
                <a:gd name="T78" fmla="*/ 41 w 65"/>
                <a:gd name="T79" fmla="*/ 33 h 56"/>
                <a:gd name="T80" fmla="*/ 42 w 65"/>
                <a:gd name="T81" fmla="*/ 31 h 56"/>
                <a:gd name="T82" fmla="*/ 45 w 65"/>
                <a:gd name="T83" fmla="*/ 31 h 56"/>
                <a:gd name="T84" fmla="*/ 46 w 65"/>
                <a:gd name="T85" fmla="*/ 30 h 56"/>
                <a:gd name="T86" fmla="*/ 43 w 65"/>
                <a:gd name="T87" fmla="*/ 28 h 56"/>
                <a:gd name="T88" fmla="*/ 41 w 65"/>
                <a:gd name="T89" fmla="*/ 2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5" h="56">
                  <a:moveTo>
                    <a:pt x="3" y="14"/>
                  </a:moveTo>
                  <a:cubicBezTo>
                    <a:pt x="3" y="53"/>
                    <a:pt x="3" y="53"/>
                    <a:pt x="3" y="53"/>
                  </a:cubicBezTo>
                  <a:cubicBezTo>
                    <a:pt x="62" y="53"/>
                    <a:pt x="62" y="53"/>
                    <a:pt x="62" y="53"/>
                  </a:cubicBezTo>
                  <a:cubicBezTo>
                    <a:pt x="62" y="14"/>
                    <a:pt x="62" y="14"/>
                    <a:pt x="62" y="14"/>
                  </a:cubicBezTo>
                  <a:cubicBezTo>
                    <a:pt x="3" y="14"/>
                    <a:pt x="3" y="14"/>
                    <a:pt x="3" y="14"/>
                  </a:cubicBezTo>
                  <a:close/>
                  <a:moveTo>
                    <a:pt x="0" y="10"/>
                  </a:moveTo>
                  <a:cubicBezTo>
                    <a:pt x="65" y="10"/>
                    <a:pt x="65" y="10"/>
                    <a:pt x="65" y="10"/>
                  </a:cubicBezTo>
                  <a:cubicBezTo>
                    <a:pt x="65" y="56"/>
                    <a:pt x="65" y="56"/>
                    <a:pt x="65" y="56"/>
                  </a:cubicBezTo>
                  <a:cubicBezTo>
                    <a:pt x="0" y="56"/>
                    <a:pt x="0" y="56"/>
                    <a:pt x="0" y="56"/>
                  </a:cubicBezTo>
                  <a:cubicBezTo>
                    <a:pt x="0" y="10"/>
                    <a:pt x="0" y="10"/>
                    <a:pt x="0" y="10"/>
                  </a:cubicBezTo>
                  <a:close/>
                  <a:moveTo>
                    <a:pt x="0" y="0"/>
                  </a:moveTo>
                  <a:cubicBezTo>
                    <a:pt x="65" y="0"/>
                    <a:pt x="65" y="0"/>
                    <a:pt x="65" y="0"/>
                  </a:cubicBezTo>
                  <a:cubicBezTo>
                    <a:pt x="65" y="7"/>
                    <a:pt x="65" y="7"/>
                    <a:pt x="65" y="7"/>
                  </a:cubicBezTo>
                  <a:cubicBezTo>
                    <a:pt x="0" y="7"/>
                    <a:pt x="0" y="7"/>
                    <a:pt x="0" y="7"/>
                  </a:cubicBezTo>
                  <a:cubicBezTo>
                    <a:pt x="0" y="0"/>
                    <a:pt x="0" y="0"/>
                    <a:pt x="0" y="0"/>
                  </a:cubicBezTo>
                  <a:close/>
                  <a:moveTo>
                    <a:pt x="39" y="34"/>
                  </a:moveTo>
                  <a:cubicBezTo>
                    <a:pt x="39" y="32"/>
                    <a:pt x="39" y="32"/>
                    <a:pt x="39" y="32"/>
                  </a:cubicBezTo>
                  <a:cubicBezTo>
                    <a:pt x="38" y="32"/>
                    <a:pt x="38" y="32"/>
                    <a:pt x="38" y="32"/>
                  </a:cubicBezTo>
                  <a:cubicBezTo>
                    <a:pt x="35" y="32"/>
                    <a:pt x="35" y="32"/>
                    <a:pt x="35" y="32"/>
                  </a:cubicBezTo>
                  <a:cubicBezTo>
                    <a:pt x="35" y="31"/>
                    <a:pt x="35" y="31"/>
                    <a:pt x="35" y="31"/>
                  </a:cubicBezTo>
                  <a:cubicBezTo>
                    <a:pt x="36" y="28"/>
                    <a:pt x="36" y="28"/>
                    <a:pt x="36" y="28"/>
                  </a:cubicBezTo>
                  <a:cubicBezTo>
                    <a:pt x="36" y="28"/>
                    <a:pt x="36" y="28"/>
                    <a:pt x="36" y="28"/>
                  </a:cubicBezTo>
                  <a:cubicBezTo>
                    <a:pt x="35" y="27"/>
                    <a:pt x="35" y="27"/>
                    <a:pt x="35" y="27"/>
                  </a:cubicBezTo>
                  <a:cubicBezTo>
                    <a:pt x="34" y="27"/>
                    <a:pt x="34" y="27"/>
                    <a:pt x="34" y="27"/>
                  </a:cubicBezTo>
                  <a:cubicBezTo>
                    <a:pt x="32" y="28"/>
                    <a:pt x="32" y="28"/>
                    <a:pt x="32" y="28"/>
                  </a:cubicBezTo>
                  <a:cubicBezTo>
                    <a:pt x="31" y="28"/>
                    <a:pt x="31" y="28"/>
                    <a:pt x="31" y="28"/>
                  </a:cubicBezTo>
                  <a:cubicBezTo>
                    <a:pt x="31" y="25"/>
                    <a:pt x="31" y="25"/>
                    <a:pt x="31" y="25"/>
                  </a:cubicBezTo>
                  <a:cubicBezTo>
                    <a:pt x="30" y="25"/>
                    <a:pt x="30" y="25"/>
                    <a:pt x="30" y="25"/>
                  </a:cubicBezTo>
                  <a:cubicBezTo>
                    <a:pt x="28" y="25"/>
                    <a:pt x="28" y="25"/>
                    <a:pt x="28" y="25"/>
                  </a:cubicBezTo>
                  <a:cubicBezTo>
                    <a:pt x="28" y="25"/>
                    <a:pt x="28" y="25"/>
                    <a:pt x="28" y="25"/>
                  </a:cubicBezTo>
                  <a:cubicBezTo>
                    <a:pt x="27" y="28"/>
                    <a:pt x="27" y="28"/>
                    <a:pt x="27" y="28"/>
                  </a:cubicBezTo>
                  <a:cubicBezTo>
                    <a:pt x="26" y="28"/>
                    <a:pt x="26" y="28"/>
                    <a:pt x="26" y="28"/>
                  </a:cubicBezTo>
                  <a:cubicBezTo>
                    <a:pt x="24" y="27"/>
                    <a:pt x="24" y="27"/>
                    <a:pt x="24" y="27"/>
                  </a:cubicBezTo>
                  <a:cubicBezTo>
                    <a:pt x="24" y="27"/>
                    <a:pt x="24" y="27"/>
                    <a:pt x="24" y="27"/>
                  </a:cubicBezTo>
                  <a:cubicBezTo>
                    <a:pt x="22" y="28"/>
                    <a:pt x="22" y="28"/>
                    <a:pt x="22" y="28"/>
                  </a:cubicBezTo>
                  <a:cubicBezTo>
                    <a:pt x="22" y="28"/>
                    <a:pt x="22" y="28"/>
                    <a:pt x="22" y="28"/>
                  </a:cubicBezTo>
                  <a:cubicBezTo>
                    <a:pt x="23" y="31"/>
                    <a:pt x="23" y="31"/>
                    <a:pt x="23" y="31"/>
                  </a:cubicBezTo>
                  <a:cubicBezTo>
                    <a:pt x="23" y="32"/>
                    <a:pt x="23" y="32"/>
                    <a:pt x="23" y="32"/>
                  </a:cubicBezTo>
                  <a:cubicBezTo>
                    <a:pt x="20" y="32"/>
                    <a:pt x="20" y="32"/>
                    <a:pt x="20" y="32"/>
                  </a:cubicBezTo>
                  <a:cubicBezTo>
                    <a:pt x="20" y="32"/>
                    <a:pt x="20" y="32"/>
                    <a:pt x="20" y="32"/>
                  </a:cubicBezTo>
                  <a:cubicBezTo>
                    <a:pt x="19" y="34"/>
                    <a:pt x="19" y="34"/>
                    <a:pt x="19" y="34"/>
                  </a:cubicBezTo>
                  <a:cubicBezTo>
                    <a:pt x="20" y="34"/>
                    <a:pt x="20" y="34"/>
                    <a:pt x="20" y="34"/>
                  </a:cubicBezTo>
                  <a:cubicBezTo>
                    <a:pt x="22" y="36"/>
                    <a:pt x="22" y="36"/>
                    <a:pt x="22" y="36"/>
                  </a:cubicBezTo>
                  <a:cubicBezTo>
                    <a:pt x="22" y="36"/>
                    <a:pt x="22" y="36"/>
                    <a:pt x="22" y="36"/>
                  </a:cubicBezTo>
                  <a:cubicBezTo>
                    <a:pt x="20" y="38"/>
                    <a:pt x="20" y="38"/>
                    <a:pt x="20" y="38"/>
                  </a:cubicBezTo>
                  <a:cubicBezTo>
                    <a:pt x="20" y="39"/>
                    <a:pt x="20" y="39"/>
                    <a:pt x="20" y="39"/>
                  </a:cubicBezTo>
                  <a:cubicBezTo>
                    <a:pt x="21" y="40"/>
                    <a:pt x="21" y="40"/>
                    <a:pt x="21" y="40"/>
                  </a:cubicBezTo>
                  <a:cubicBezTo>
                    <a:pt x="22" y="41"/>
                    <a:pt x="22" y="41"/>
                    <a:pt x="22" y="41"/>
                  </a:cubicBezTo>
                  <a:cubicBezTo>
                    <a:pt x="24" y="40"/>
                    <a:pt x="24" y="40"/>
                    <a:pt x="24" y="40"/>
                  </a:cubicBezTo>
                  <a:cubicBezTo>
                    <a:pt x="25" y="40"/>
                    <a:pt x="25" y="40"/>
                    <a:pt x="25" y="40"/>
                  </a:cubicBezTo>
                  <a:cubicBezTo>
                    <a:pt x="25" y="43"/>
                    <a:pt x="25" y="43"/>
                    <a:pt x="25" y="43"/>
                  </a:cubicBezTo>
                  <a:cubicBezTo>
                    <a:pt x="25" y="43"/>
                    <a:pt x="25" y="43"/>
                    <a:pt x="25" y="43"/>
                  </a:cubicBezTo>
                  <a:cubicBezTo>
                    <a:pt x="27" y="44"/>
                    <a:pt x="27" y="44"/>
                    <a:pt x="27" y="44"/>
                  </a:cubicBezTo>
                  <a:cubicBezTo>
                    <a:pt x="27" y="44"/>
                    <a:pt x="27" y="44"/>
                    <a:pt x="27" y="44"/>
                  </a:cubicBezTo>
                  <a:cubicBezTo>
                    <a:pt x="29" y="42"/>
                    <a:pt x="29" y="42"/>
                    <a:pt x="29" y="42"/>
                  </a:cubicBezTo>
                  <a:cubicBezTo>
                    <a:pt x="29" y="42"/>
                    <a:pt x="29" y="42"/>
                    <a:pt x="29" y="42"/>
                  </a:cubicBezTo>
                  <a:cubicBezTo>
                    <a:pt x="30" y="42"/>
                    <a:pt x="30" y="42"/>
                    <a:pt x="30" y="42"/>
                  </a:cubicBezTo>
                  <a:cubicBezTo>
                    <a:pt x="31" y="44"/>
                    <a:pt x="31" y="44"/>
                    <a:pt x="31" y="44"/>
                  </a:cubicBezTo>
                  <a:cubicBezTo>
                    <a:pt x="32" y="44"/>
                    <a:pt x="32" y="44"/>
                    <a:pt x="32" y="44"/>
                  </a:cubicBezTo>
                  <a:cubicBezTo>
                    <a:pt x="33" y="43"/>
                    <a:pt x="33" y="43"/>
                    <a:pt x="33" y="43"/>
                  </a:cubicBezTo>
                  <a:cubicBezTo>
                    <a:pt x="34" y="43"/>
                    <a:pt x="34" y="43"/>
                    <a:pt x="34" y="43"/>
                  </a:cubicBezTo>
                  <a:cubicBezTo>
                    <a:pt x="33" y="40"/>
                    <a:pt x="33" y="40"/>
                    <a:pt x="33" y="40"/>
                  </a:cubicBezTo>
                  <a:cubicBezTo>
                    <a:pt x="34" y="40"/>
                    <a:pt x="34" y="40"/>
                    <a:pt x="34" y="40"/>
                  </a:cubicBezTo>
                  <a:cubicBezTo>
                    <a:pt x="37" y="41"/>
                    <a:pt x="37" y="41"/>
                    <a:pt x="37" y="41"/>
                  </a:cubicBezTo>
                  <a:cubicBezTo>
                    <a:pt x="37" y="40"/>
                    <a:pt x="37" y="40"/>
                    <a:pt x="37" y="40"/>
                  </a:cubicBezTo>
                  <a:cubicBezTo>
                    <a:pt x="38" y="39"/>
                    <a:pt x="38" y="39"/>
                    <a:pt x="38" y="39"/>
                  </a:cubicBezTo>
                  <a:cubicBezTo>
                    <a:pt x="38" y="38"/>
                    <a:pt x="38" y="38"/>
                    <a:pt x="38" y="38"/>
                  </a:cubicBezTo>
                  <a:cubicBezTo>
                    <a:pt x="36" y="36"/>
                    <a:pt x="36" y="36"/>
                    <a:pt x="36" y="36"/>
                  </a:cubicBezTo>
                  <a:cubicBezTo>
                    <a:pt x="36" y="36"/>
                    <a:pt x="36" y="36"/>
                    <a:pt x="36" y="36"/>
                  </a:cubicBezTo>
                  <a:cubicBezTo>
                    <a:pt x="39" y="34"/>
                    <a:pt x="39" y="34"/>
                    <a:pt x="39" y="34"/>
                  </a:cubicBezTo>
                  <a:close/>
                  <a:moveTo>
                    <a:pt x="33" y="35"/>
                  </a:moveTo>
                  <a:cubicBezTo>
                    <a:pt x="33" y="36"/>
                    <a:pt x="33" y="37"/>
                    <a:pt x="32" y="38"/>
                  </a:cubicBezTo>
                  <a:cubicBezTo>
                    <a:pt x="31" y="38"/>
                    <a:pt x="30" y="39"/>
                    <a:pt x="29" y="39"/>
                  </a:cubicBezTo>
                  <a:cubicBezTo>
                    <a:pt x="28" y="39"/>
                    <a:pt x="27" y="38"/>
                    <a:pt x="26" y="38"/>
                  </a:cubicBezTo>
                  <a:cubicBezTo>
                    <a:pt x="26" y="37"/>
                    <a:pt x="25" y="36"/>
                    <a:pt x="25" y="35"/>
                  </a:cubicBezTo>
                  <a:cubicBezTo>
                    <a:pt x="25" y="34"/>
                    <a:pt x="26" y="33"/>
                    <a:pt x="26" y="32"/>
                  </a:cubicBezTo>
                  <a:cubicBezTo>
                    <a:pt x="27" y="31"/>
                    <a:pt x="28" y="31"/>
                    <a:pt x="29" y="31"/>
                  </a:cubicBezTo>
                  <a:cubicBezTo>
                    <a:pt x="30" y="31"/>
                    <a:pt x="31" y="31"/>
                    <a:pt x="32" y="32"/>
                  </a:cubicBezTo>
                  <a:cubicBezTo>
                    <a:pt x="33" y="33"/>
                    <a:pt x="33" y="34"/>
                    <a:pt x="33" y="35"/>
                  </a:cubicBezTo>
                  <a:close/>
                  <a:moveTo>
                    <a:pt x="27" y="35"/>
                  </a:moveTo>
                  <a:cubicBezTo>
                    <a:pt x="27" y="34"/>
                    <a:pt x="28" y="33"/>
                    <a:pt x="29" y="33"/>
                  </a:cubicBezTo>
                  <a:cubicBezTo>
                    <a:pt x="30" y="33"/>
                    <a:pt x="31" y="34"/>
                    <a:pt x="31" y="35"/>
                  </a:cubicBezTo>
                  <a:cubicBezTo>
                    <a:pt x="31" y="36"/>
                    <a:pt x="30" y="36"/>
                    <a:pt x="29" y="36"/>
                  </a:cubicBezTo>
                  <a:cubicBezTo>
                    <a:pt x="28" y="36"/>
                    <a:pt x="27" y="36"/>
                    <a:pt x="27" y="35"/>
                  </a:cubicBezTo>
                  <a:close/>
                  <a:moveTo>
                    <a:pt x="45" y="28"/>
                  </a:moveTo>
                  <a:cubicBezTo>
                    <a:pt x="45" y="28"/>
                    <a:pt x="45" y="28"/>
                    <a:pt x="45" y="28"/>
                  </a:cubicBezTo>
                  <a:cubicBezTo>
                    <a:pt x="45" y="27"/>
                    <a:pt x="45" y="27"/>
                    <a:pt x="45" y="27"/>
                  </a:cubicBezTo>
                  <a:cubicBezTo>
                    <a:pt x="46" y="26"/>
                    <a:pt x="46" y="26"/>
                    <a:pt x="46" y="26"/>
                  </a:cubicBezTo>
                  <a:cubicBezTo>
                    <a:pt x="46" y="26"/>
                    <a:pt x="46" y="26"/>
                    <a:pt x="46" y="26"/>
                  </a:cubicBezTo>
                  <a:cubicBezTo>
                    <a:pt x="46" y="26"/>
                    <a:pt x="46" y="26"/>
                    <a:pt x="46" y="26"/>
                  </a:cubicBezTo>
                  <a:cubicBezTo>
                    <a:pt x="46" y="25"/>
                    <a:pt x="46" y="25"/>
                    <a:pt x="46" y="25"/>
                  </a:cubicBezTo>
                  <a:cubicBezTo>
                    <a:pt x="45" y="25"/>
                    <a:pt x="45" y="25"/>
                    <a:pt x="45" y="25"/>
                  </a:cubicBezTo>
                  <a:cubicBezTo>
                    <a:pt x="45" y="25"/>
                    <a:pt x="45" y="25"/>
                    <a:pt x="45" y="25"/>
                  </a:cubicBezTo>
                  <a:cubicBezTo>
                    <a:pt x="44" y="25"/>
                    <a:pt x="44" y="25"/>
                    <a:pt x="44" y="25"/>
                  </a:cubicBezTo>
                  <a:cubicBezTo>
                    <a:pt x="43" y="25"/>
                    <a:pt x="43" y="24"/>
                    <a:pt x="42" y="24"/>
                  </a:cubicBezTo>
                  <a:cubicBezTo>
                    <a:pt x="42" y="23"/>
                    <a:pt x="42" y="23"/>
                    <a:pt x="42" y="23"/>
                  </a:cubicBezTo>
                  <a:cubicBezTo>
                    <a:pt x="42" y="22"/>
                    <a:pt x="42" y="22"/>
                    <a:pt x="42" y="22"/>
                  </a:cubicBezTo>
                  <a:cubicBezTo>
                    <a:pt x="41" y="22"/>
                    <a:pt x="41" y="22"/>
                    <a:pt x="41" y="22"/>
                  </a:cubicBezTo>
                  <a:cubicBezTo>
                    <a:pt x="40" y="23"/>
                    <a:pt x="40" y="23"/>
                    <a:pt x="40" y="23"/>
                  </a:cubicBezTo>
                  <a:cubicBezTo>
                    <a:pt x="40" y="24"/>
                    <a:pt x="40" y="24"/>
                    <a:pt x="40" y="24"/>
                  </a:cubicBezTo>
                  <a:cubicBezTo>
                    <a:pt x="39" y="24"/>
                    <a:pt x="39" y="25"/>
                    <a:pt x="39" y="25"/>
                  </a:cubicBezTo>
                  <a:cubicBezTo>
                    <a:pt x="37" y="25"/>
                    <a:pt x="37" y="25"/>
                    <a:pt x="37" y="25"/>
                  </a:cubicBezTo>
                  <a:cubicBezTo>
                    <a:pt x="37" y="25"/>
                    <a:pt x="37" y="25"/>
                    <a:pt x="37" y="25"/>
                  </a:cubicBezTo>
                  <a:cubicBezTo>
                    <a:pt x="37" y="25"/>
                    <a:pt x="37" y="25"/>
                    <a:pt x="37" y="25"/>
                  </a:cubicBezTo>
                  <a:cubicBezTo>
                    <a:pt x="36" y="26"/>
                    <a:pt x="36" y="26"/>
                    <a:pt x="36" y="26"/>
                  </a:cubicBezTo>
                  <a:cubicBezTo>
                    <a:pt x="36" y="26"/>
                    <a:pt x="36" y="26"/>
                    <a:pt x="36" y="26"/>
                  </a:cubicBezTo>
                  <a:cubicBezTo>
                    <a:pt x="36" y="26"/>
                    <a:pt x="36" y="26"/>
                    <a:pt x="36" y="26"/>
                  </a:cubicBezTo>
                  <a:cubicBezTo>
                    <a:pt x="38" y="27"/>
                    <a:pt x="38" y="27"/>
                    <a:pt x="38" y="27"/>
                  </a:cubicBezTo>
                  <a:cubicBezTo>
                    <a:pt x="37" y="28"/>
                    <a:pt x="37" y="28"/>
                    <a:pt x="37" y="28"/>
                  </a:cubicBezTo>
                  <a:cubicBezTo>
                    <a:pt x="38" y="28"/>
                    <a:pt x="38" y="28"/>
                    <a:pt x="38" y="28"/>
                  </a:cubicBezTo>
                  <a:cubicBezTo>
                    <a:pt x="36" y="29"/>
                    <a:pt x="36" y="29"/>
                    <a:pt x="36" y="29"/>
                  </a:cubicBezTo>
                  <a:cubicBezTo>
                    <a:pt x="36" y="30"/>
                    <a:pt x="36" y="30"/>
                    <a:pt x="36" y="30"/>
                  </a:cubicBezTo>
                  <a:cubicBezTo>
                    <a:pt x="36" y="30"/>
                    <a:pt x="36" y="30"/>
                    <a:pt x="36" y="30"/>
                  </a:cubicBezTo>
                  <a:cubicBezTo>
                    <a:pt x="37" y="31"/>
                    <a:pt x="37" y="31"/>
                    <a:pt x="37" y="31"/>
                  </a:cubicBezTo>
                  <a:cubicBezTo>
                    <a:pt x="37" y="31"/>
                    <a:pt x="37" y="31"/>
                    <a:pt x="37" y="31"/>
                  </a:cubicBezTo>
                  <a:cubicBezTo>
                    <a:pt x="37" y="31"/>
                    <a:pt x="37" y="31"/>
                    <a:pt x="37" y="31"/>
                  </a:cubicBezTo>
                  <a:cubicBezTo>
                    <a:pt x="39" y="31"/>
                    <a:pt x="39" y="31"/>
                    <a:pt x="39" y="31"/>
                  </a:cubicBezTo>
                  <a:cubicBezTo>
                    <a:pt x="39" y="31"/>
                    <a:pt x="39" y="31"/>
                    <a:pt x="40" y="31"/>
                  </a:cubicBezTo>
                  <a:cubicBezTo>
                    <a:pt x="40" y="33"/>
                    <a:pt x="40" y="33"/>
                    <a:pt x="40" y="33"/>
                  </a:cubicBezTo>
                  <a:cubicBezTo>
                    <a:pt x="41" y="33"/>
                    <a:pt x="41" y="33"/>
                    <a:pt x="41" y="33"/>
                  </a:cubicBezTo>
                  <a:cubicBezTo>
                    <a:pt x="42" y="33"/>
                    <a:pt x="42" y="33"/>
                    <a:pt x="42" y="33"/>
                  </a:cubicBezTo>
                  <a:cubicBezTo>
                    <a:pt x="42" y="33"/>
                    <a:pt x="42" y="33"/>
                    <a:pt x="42" y="33"/>
                  </a:cubicBezTo>
                  <a:cubicBezTo>
                    <a:pt x="42" y="31"/>
                    <a:pt x="42" y="31"/>
                    <a:pt x="42" y="31"/>
                  </a:cubicBezTo>
                  <a:cubicBezTo>
                    <a:pt x="43" y="31"/>
                    <a:pt x="43" y="31"/>
                    <a:pt x="44" y="31"/>
                  </a:cubicBezTo>
                  <a:cubicBezTo>
                    <a:pt x="45" y="31"/>
                    <a:pt x="45" y="31"/>
                    <a:pt x="45" y="31"/>
                  </a:cubicBezTo>
                  <a:cubicBezTo>
                    <a:pt x="45" y="31"/>
                    <a:pt x="45" y="31"/>
                    <a:pt x="45" y="31"/>
                  </a:cubicBezTo>
                  <a:cubicBezTo>
                    <a:pt x="46" y="31"/>
                    <a:pt x="46" y="31"/>
                    <a:pt x="46" y="31"/>
                  </a:cubicBezTo>
                  <a:cubicBezTo>
                    <a:pt x="46" y="30"/>
                    <a:pt x="46" y="30"/>
                    <a:pt x="46" y="30"/>
                  </a:cubicBezTo>
                  <a:cubicBezTo>
                    <a:pt x="46" y="30"/>
                    <a:pt x="46" y="30"/>
                    <a:pt x="46" y="30"/>
                  </a:cubicBezTo>
                  <a:cubicBezTo>
                    <a:pt x="46" y="29"/>
                    <a:pt x="46" y="29"/>
                    <a:pt x="46" y="29"/>
                  </a:cubicBezTo>
                  <a:cubicBezTo>
                    <a:pt x="45" y="28"/>
                    <a:pt x="45" y="28"/>
                    <a:pt x="45" y="28"/>
                  </a:cubicBezTo>
                  <a:close/>
                  <a:moveTo>
                    <a:pt x="43" y="28"/>
                  </a:moveTo>
                  <a:cubicBezTo>
                    <a:pt x="43" y="29"/>
                    <a:pt x="42" y="29"/>
                    <a:pt x="41" y="29"/>
                  </a:cubicBezTo>
                  <a:cubicBezTo>
                    <a:pt x="40" y="29"/>
                    <a:pt x="40" y="29"/>
                    <a:pt x="40" y="28"/>
                  </a:cubicBezTo>
                  <a:cubicBezTo>
                    <a:pt x="40" y="27"/>
                    <a:pt x="40" y="26"/>
                    <a:pt x="41" y="26"/>
                  </a:cubicBezTo>
                  <a:cubicBezTo>
                    <a:pt x="42" y="26"/>
                    <a:pt x="43" y="27"/>
                    <a:pt x="43" y="28"/>
                  </a:cubicBez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7" name="Oval 53"/>
            <p:cNvSpPr>
              <a:spLocks noChangeArrowheads="1"/>
            </p:cNvSpPr>
            <p:nvPr/>
          </p:nvSpPr>
          <p:spPr bwMode="auto">
            <a:xfrm>
              <a:off x="10626982" y="4264101"/>
              <a:ext cx="607016" cy="607016"/>
            </a:xfrm>
            <a:prstGeom prst="ellipse">
              <a:avLst/>
            </a:pr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8" name="Freeform 54"/>
            <p:cNvSpPr>
              <a:spLocks noEditPoints="1"/>
            </p:cNvSpPr>
            <p:nvPr/>
          </p:nvSpPr>
          <p:spPr bwMode="auto">
            <a:xfrm>
              <a:off x="10780301" y="4439322"/>
              <a:ext cx="300379" cy="256574"/>
            </a:xfrm>
            <a:custGeom>
              <a:avLst/>
              <a:gdLst>
                <a:gd name="T0" fmla="*/ 66 w 69"/>
                <a:gd name="T1" fmla="*/ 56 h 59"/>
                <a:gd name="T2" fmla="*/ 0 w 69"/>
                <a:gd name="T3" fmla="*/ 10 h 59"/>
                <a:gd name="T4" fmla="*/ 0 w 69"/>
                <a:gd name="T5" fmla="*/ 59 h 59"/>
                <a:gd name="T6" fmla="*/ 69 w 69"/>
                <a:gd name="T7" fmla="*/ 0 h 59"/>
                <a:gd name="T8" fmla="*/ 0 w 69"/>
                <a:gd name="T9" fmla="*/ 0 h 59"/>
                <a:gd name="T10" fmla="*/ 40 w 69"/>
                <a:gd name="T11" fmla="*/ 33 h 59"/>
                <a:gd name="T12" fmla="*/ 38 w 69"/>
                <a:gd name="T13" fmla="*/ 30 h 59"/>
                <a:gd name="T14" fmla="*/ 36 w 69"/>
                <a:gd name="T15" fmla="*/ 28 h 59"/>
                <a:gd name="T16" fmla="*/ 32 w 69"/>
                <a:gd name="T17" fmla="*/ 26 h 59"/>
                <a:gd name="T18" fmla="*/ 29 w 69"/>
                <a:gd name="T19" fmla="*/ 26 h 59"/>
                <a:gd name="T20" fmla="*/ 25 w 69"/>
                <a:gd name="T21" fmla="*/ 28 h 59"/>
                <a:gd name="T22" fmla="*/ 23 w 69"/>
                <a:gd name="T23" fmla="*/ 30 h 59"/>
                <a:gd name="T24" fmla="*/ 21 w 69"/>
                <a:gd name="T25" fmla="*/ 33 h 59"/>
                <a:gd name="T26" fmla="*/ 21 w 69"/>
                <a:gd name="T27" fmla="*/ 36 h 59"/>
                <a:gd name="T28" fmla="*/ 21 w 69"/>
                <a:gd name="T29" fmla="*/ 40 h 59"/>
                <a:gd name="T30" fmla="*/ 23 w 69"/>
                <a:gd name="T31" fmla="*/ 43 h 59"/>
                <a:gd name="T32" fmla="*/ 26 w 69"/>
                <a:gd name="T33" fmla="*/ 46 h 59"/>
                <a:gd name="T34" fmla="*/ 29 w 69"/>
                <a:gd name="T35" fmla="*/ 47 h 59"/>
                <a:gd name="T36" fmla="*/ 31 w 69"/>
                <a:gd name="T37" fmla="*/ 44 h 59"/>
                <a:gd name="T38" fmla="*/ 35 w 69"/>
                <a:gd name="T39" fmla="*/ 46 h 59"/>
                <a:gd name="T40" fmla="*/ 36 w 69"/>
                <a:gd name="T41" fmla="*/ 42 h 59"/>
                <a:gd name="T42" fmla="*/ 40 w 69"/>
                <a:gd name="T43" fmla="*/ 41 h 59"/>
                <a:gd name="T44" fmla="*/ 38 w 69"/>
                <a:gd name="T45" fmla="*/ 38 h 59"/>
                <a:gd name="T46" fmla="*/ 34 w 69"/>
                <a:gd name="T47" fmla="*/ 40 h 59"/>
                <a:gd name="T48" fmla="*/ 27 w 69"/>
                <a:gd name="T49" fmla="*/ 37 h 59"/>
                <a:gd name="T50" fmla="*/ 34 w 69"/>
                <a:gd name="T51" fmla="*/ 34 h 59"/>
                <a:gd name="T52" fmla="*/ 31 w 69"/>
                <a:gd name="T53" fmla="*/ 35 h 59"/>
                <a:gd name="T54" fmla="*/ 29 w 69"/>
                <a:gd name="T55" fmla="*/ 37 h 59"/>
                <a:gd name="T56" fmla="*/ 48 w 69"/>
                <a:gd name="T57" fmla="*/ 28 h 59"/>
                <a:gd name="T58" fmla="*/ 49 w 69"/>
                <a:gd name="T59" fmla="*/ 27 h 59"/>
                <a:gd name="T60" fmla="*/ 48 w 69"/>
                <a:gd name="T61" fmla="*/ 26 h 59"/>
                <a:gd name="T62" fmla="*/ 45 w 69"/>
                <a:gd name="T63" fmla="*/ 24 h 59"/>
                <a:gd name="T64" fmla="*/ 43 w 69"/>
                <a:gd name="T65" fmla="*/ 24 h 59"/>
                <a:gd name="T66" fmla="*/ 39 w 69"/>
                <a:gd name="T67" fmla="*/ 26 h 59"/>
                <a:gd name="T68" fmla="*/ 38 w 69"/>
                <a:gd name="T69" fmla="*/ 27 h 59"/>
                <a:gd name="T70" fmla="*/ 40 w 69"/>
                <a:gd name="T71" fmla="*/ 28 h 59"/>
                <a:gd name="T72" fmla="*/ 38 w 69"/>
                <a:gd name="T73" fmla="*/ 31 h 59"/>
                <a:gd name="T74" fmla="*/ 39 w 69"/>
                <a:gd name="T75" fmla="*/ 32 h 59"/>
                <a:gd name="T76" fmla="*/ 41 w 69"/>
                <a:gd name="T77" fmla="*/ 32 h 59"/>
                <a:gd name="T78" fmla="*/ 43 w 69"/>
                <a:gd name="T79" fmla="*/ 35 h 59"/>
                <a:gd name="T80" fmla="*/ 45 w 69"/>
                <a:gd name="T81" fmla="*/ 33 h 59"/>
                <a:gd name="T82" fmla="*/ 48 w 69"/>
                <a:gd name="T83" fmla="*/ 33 h 59"/>
                <a:gd name="T84" fmla="*/ 49 w 69"/>
                <a:gd name="T85" fmla="*/ 31 h 59"/>
                <a:gd name="T86" fmla="*/ 45 w 69"/>
                <a:gd name="T87" fmla="*/ 29 h 59"/>
                <a:gd name="T88" fmla="*/ 44 w 69"/>
                <a:gd name="T89" fmla="*/ 28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 h="59">
                  <a:moveTo>
                    <a:pt x="3" y="14"/>
                  </a:moveTo>
                  <a:cubicBezTo>
                    <a:pt x="3" y="56"/>
                    <a:pt x="3" y="56"/>
                    <a:pt x="3" y="56"/>
                  </a:cubicBezTo>
                  <a:cubicBezTo>
                    <a:pt x="66" y="56"/>
                    <a:pt x="66" y="56"/>
                    <a:pt x="66" y="56"/>
                  </a:cubicBezTo>
                  <a:cubicBezTo>
                    <a:pt x="66" y="14"/>
                    <a:pt x="66" y="14"/>
                    <a:pt x="66" y="14"/>
                  </a:cubicBezTo>
                  <a:cubicBezTo>
                    <a:pt x="3" y="14"/>
                    <a:pt x="3" y="14"/>
                    <a:pt x="3" y="14"/>
                  </a:cubicBezTo>
                  <a:close/>
                  <a:moveTo>
                    <a:pt x="0" y="10"/>
                  </a:moveTo>
                  <a:cubicBezTo>
                    <a:pt x="69" y="10"/>
                    <a:pt x="69" y="10"/>
                    <a:pt x="69" y="10"/>
                  </a:cubicBezTo>
                  <a:cubicBezTo>
                    <a:pt x="69" y="59"/>
                    <a:pt x="69" y="59"/>
                    <a:pt x="69" y="59"/>
                  </a:cubicBezTo>
                  <a:cubicBezTo>
                    <a:pt x="0" y="59"/>
                    <a:pt x="0" y="59"/>
                    <a:pt x="0" y="59"/>
                  </a:cubicBezTo>
                  <a:cubicBezTo>
                    <a:pt x="0" y="10"/>
                    <a:pt x="0" y="10"/>
                    <a:pt x="0" y="10"/>
                  </a:cubicBezTo>
                  <a:close/>
                  <a:moveTo>
                    <a:pt x="0" y="0"/>
                  </a:moveTo>
                  <a:cubicBezTo>
                    <a:pt x="69" y="0"/>
                    <a:pt x="69" y="0"/>
                    <a:pt x="69" y="0"/>
                  </a:cubicBezTo>
                  <a:cubicBezTo>
                    <a:pt x="69" y="7"/>
                    <a:pt x="69" y="7"/>
                    <a:pt x="69" y="7"/>
                  </a:cubicBezTo>
                  <a:cubicBezTo>
                    <a:pt x="0" y="7"/>
                    <a:pt x="0" y="7"/>
                    <a:pt x="0" y="7"/>
                  </a:cubicBezTo>
                  <a:cubicBezTo>
                    <a:pt x="0" y="0"/>
                    <a:pt x="0" y="0"/>
                    <a:pt x="0" y="0"/>
                  </a:cubicBezTo>
                  <a:close/>
                  <a:moveTo>
                    <a:pt x="41" y="36"/>
                  </a:moveTo>
                  <a:cubicBezTo>
                    <a:pt x="41" y="34"/>
                    <a:pt x="41" y="34"/>
                    <a:pt x="41" y="34"/>
                  </a:cubicBezTo>
                  <a:cubicBezTo>
                    <a:pt x="41" y="34"/>
                    <a:pt x="41" y="33"/>
                    <a:pt x="40" y="33"/>
                  </a:cubicBezTo>
                  <a:cubicBezTo>
                    <a:pt x="37" y="33"/>
                    <a:pt x="37" y="33"/>
                    <a:pt x="37" y="33"/>
                  </a:cubicBezTo>
                  <a:cubicBezTo>
                    <a:pt x="37" y="33"/>
                    <a:pt x="37" y="33"/>
                    <a:pt x="37" y="33"/>
                  </a:cubicBezTo>
                  <a:cubicBezTo>
                    <a:pt x="38" y="30"/>
                    <a:pt x="38" y="30"/>
                    <a:pt x="38" y="30"/>
                  </a:cubicBezTo>
                  <a:cubicBezTo>
                    <a:pt x="38" y="29"/>
                    <a:pt x="38" y="29"/>
                    <a:pt x="38" y="29"/>
                  </a:cubicBezTo>
                  <a:cubicBezTo>
                    <a:pt x="37" y="28"/>
                    <a:pt x="37" y="28"/>
                    <a:pt x="37" y="28"/>
                  </a:cubicBezTo>
                  <a:cubicBezTo>
                    <a:pt x="36" y="28"/>
                    <a:pt x="36" y="28"/>
                    <a:pt x="36" y="28"/>
                  </a:cubicBezTo>
                  <a:cubicBezTo>
                    <a:pt x="34" y="30"/>
                    <a:pt x="34" y="30"/>
                    <a:pt x="34" y="30"/>
                  </a:cubicBezTo>
                  <a:cubicBezTo>
                    <a:pt x="33" y="30"/>
                    <a:pt x="33" y="30"/>
                    <a:pt x="33" y="30"/>
                  </a:cubicBezTo>
                  <a:cubicBezTo>
                    <a:pt x="32" y="26"/>
                    <a:pt x="32" y="26"/>
                    <a:pt x="32" y="26"/>
                  </a:cubicBezTo>
                  <a:cubicBezTo>
                    <a:pt x="32" y="26"/>
                    <a:pt x="32" y="26"/>
                    <a:pt x="32" y="26"/>
                  </a:cubicBezTo>
                  <a:cubicBezTo>
                    <a:pt x="30" y="26"/>
                    <a:pt x="30" y="26"/>
                    <a:pt x="30" y="26"/>
                  </a:cubicBezTo>
                  <a:cubicBezTo>
                    <a:pt x="29" y="26"/>
                    <a:pt x="29" y="26"/>
                    <a:pt x="29" y="26"/>
                  </a:cubicBezTo>
                  <a:cubicBezTo>
                    <a:pt x="29" y="30"/>
                    <a:pt x="29" y="30"/>
                    <a:pt x="29" y="30"/>
                  </a:cubicBezTo>
                  <a:cubicBezTo>
                    <a:pt x="28" y="30"/>
                    <a:pt x="28" y="30"/>
                    <a:pt x="28" y="30"/>
                  </a:cubicBezTo>
                  <a:cubicBezTo>
                    <a:pt x="25" y="28"/>
                    <a:pt x="25" y="28"/>
                    <a:pt x="25" y="28"/>
                  </a:cubicBezTo>
                  <a:cubicBezTo>
                    <a:pt x="25" y="28"/>
                    <a:pt x="25" y="28"/>
                    <a:pt x="25" y="28"/>
                  </a:cubicBezTo>
                  <a:cubicBezTo>
                    <a:pt x="23" y="29"/>
                    <a:pt x="23" y="29"/>
                    <a:pt x="23" y="29"/>
                  </a:cubicBezTo>
                  <a:cubicBezTo>
                    <a:pt x="23" y="30"/>
                    <a:pt x="23" y="30"/>
                    <a:pt x="23" y="30"/>
                  </a:cubicBezTo>
                  <a:cubicBezTo>
                    <a:pt x="25" y="33"/>
                    <a:pt x="25" y="33"/>
                    <a:pt x="25" y="33"/>
                  </a:cubicBezTo>
                  <a:cubicBezTo>
                    <a:pt x="24" y="33"/>
                    <a:pt x="24" y="33"/>
                    <a:pt x="24" y="33"/>
                  </a:cubicBezTo>
                  <a:cubicBezTo>
                    <a:pt x="21" y="33"/>
                    <a:pt x="21" y="33"/>
                    <a:pt x="21" y="33"/>
                  </a:cubicBezTo>
                  <a:cubicBezTo>
                    <a:pt x="21" y="34"/>
                    <a:pt x="21" y="34"/>
                    <a:pt x="21" y="34"/>
                  </a:cubicBezTo>
                  <a:cubicBezTo>
                    <a:pt x="20" y="36"/>
                    <a:pt x="20" y="36"/>
                    <a:pt x="20" y="36"/>
                  </a:cubicBezTo>
                  <a:cubicBezTo>
                    <a:pt x="21" y="36"/>
                    <a:pt x="21" y="36"/>
                    <a:pt x="21" y="36"/>
                  </a:cubicBezTo>
                  <a:cubicBezTo>
                    <a:pt x="23" y="38"/>
                    <a:pt x="23" y="38"/>
                    <a:pt x="23" y="38"/>
                  </a:cubicBezTo>
                  <a:cubicBezTo>
                    <a:pt x="23" y="38"/>
                    <a:pt x="23" y="38"/>
                    <a:pt x="24" y="38"/>
                  </a:cubicBezTo>
                  <a:cubicBezTo>
                    <a:pt x="21" y="40"/>
                    <a:pt x="21" y="40"/>
                    <a:pt x="21" y="40"/>
                  </a:cubicBezTo>
                  <a:cubicBezTo>
                    <a:pt x="21" y="41"/>
                    <a:pt x="21" y="41"/>
                    <a:pt x="21" y="41"/>
                  </a:cubicBezTo>
                  <a:cubicBezTo>
                    <a:pt x="22" y="43"/>
                    <a:pt x="22" y="43"/>
                    <a:pt x="22" y="43"/>
                  </a:cubicBezTo>
                  <a:cubicBezTo>
                    <a:pt x="23" y="43"/>
                    <a:pt x="23" y="43"/>
                    <a:pt x="23" y="43"/>
                  </a:cubicBezTo>
                  <a:cubicBezTo>
                    <a:pt x="26" y="42"/>
                    <a:pt x="26" y="42"/>
                    <a:pt x="26" y="42"/>
                  </a:cubicBezTo>
                  <a:cubicBezTo>
                    <a:pt x="26" y="43"/>
                    <a:pt x="26" y="43"/>
                    <a:pt x="26" y="43"/>
                  </a:cubicBezTo>
                  <a:cubicBezTo>
                    <a:pt x="26" y="46"/>
                    <a:pt x="26" y="46"/>
                    <a:pt x="26" y="46"/>
                  </a:cubicBezTo>
                  <a:cubicBezTo>
                    <a:pt x="26" y="46"/>
                    <a:pt x="26" y="46"/>
                    <a:pt x="26" y="46"/>
                  </a:cubicBezTo>
                  <a:cubicBezTo>
                    <a:pt x="28" y="47"/>
                    <a:pt x="28" y="47"/>
                    <a:pt x="28" y="47"/>
                  </a:cubicBezTo>
                  <a:cubicBezTo>
                    <a:pt x="29" y="47"/>
                    <a:pt x="29" y="47"/>
                    <a:pt x="29" y="47"/>
                  </a:cubicBezTo>
                  <a:cubicBezTo>
                    <a:pt x="30" y="44"/>
                    <a:pt x="30" y="44"/>
                    <a:pt x="30" y="44"/>
                  </a:cubicBezTo>
                  <a:cubicBezTo>
                    <a:pt x="31" y="44"/>
                    <a:pt x="31" y="44"/>
                    <a:pt x="31" y="44"/>
                  </a:cubicBezTo>
                  <a:cubicBezTo>
                    <a:pt x="31" y="44"/>
                    <a:pt x="31" y="44"/>
                    <a:pt x="31" y="44"/>
                  </a:cubicBezTo>
                  <a:cubicBezTo>
                    <a:pt x="33" y="47"/>
                    <a:pt x="33" y="47"/>
                    <a:pt x="33" y="47"/>
                  </a:cubicBezTo>
                  <a:cubicBezTo>
                    <a:pt x="33" y="47"/>
                    <a:pt x="33" y="47"/>
                    <a:pt x="33" y="47"/>
                  </a:cubicBezTo>
                  <a:cubicBezTo>
                    <a:pt x="35" y="46"/>
                    <a:pt x="35" y="46"/>
                    <a:pt x="35" y="46"/>
                  </a:cubicBezTo>
                  <a:cubicBezTo>
                    <a:pt x="36" y="46"/>
                    <a:pt x="36" y="46"/>
                    <a:pt x="36" y="46"/>
                  </a:cubicBezTo>
                  <a:cubicBezTo>
                    <a:pt x="35" y="43"/>
                    <a:pt x="35" y="43"/>
                    <a:pt x="35" y="43"/>
                  </a:cubicBezTo>
                  <a:cubicBezTo>
                    <a:pt x="36" y="42"/>
                    <a:pt x="36" y="42"/>
                    <a:pt x="36" y="42"/>
                  </a:cubicBezTo>
                  <a:cubicBezTo>
                    <a:pt x="39" y="43"/>
                    <a:pt x="39" y="43"/>
                    <a:pt x="39" y="43"/>
                  </a:cubicBezTo>
                  <a:cubicBezTo>
                    <a:pt x="39" y="43"/>
                    <a:pt x="39" y="43"/>
                    <a:pt x="39" y="43"/>
                  </a:cubicBezTo>
                  <a:cubicBezTo>
                    <a:pt x="40" y="41"/>
                    <a:pt x="40" y="41"/>
                    <a:pt x="40" y="41"/>
                  </a:cubicBezTo>
                  <a:cubicBezTo>
                    <a:pt x="40" y="40"/>
                    <a:pt x="40" y="40"/>
                    <a:pt x="40" y="40"/>
                  </a:cubicBezTo>
                  <a:cubicBezTo>
                    <a:pt x="38" y="38"/>
                    <a:pt x="38" y="38"/>
                    <a:pt x="38" y="38"/>
                  </a:cubicBezTo>
                  <a:cubicBezTo>
                    <a:pt x="38" y="38"/>
                    <a:pt x="38" y="38"/>
                    <a:pt x="38" y="38"/>
                  </a:cubicBezTo>
                  <a:cubicBezTo>
                    <a:pt x="41" y="36"/>
                    <a:pt x="41" y="36"/>
                    <a:pt x="41" y="36"/>
                  </a:cubicBezTo>
                  <a:close/>
                  <a:moveTo>
                    <a:pt x="35" y="37"/>
                  </a:moveTo>
                  <a:cubicBezTo>
                    <a:pt x="35" y="38"/>
                    <a:pt x="34" y="39"/>
                    <a:pt x="34" y="40"/>
                  </a:cubicBezTo>
                  <a:cubicBezTo>
                    <a:pt x="33" y="40"/>
                    <a:pt x="32" y="41"/>
                    <a:pt x="31" y="41"/>
                  </a:cubicBezTo>
                  <a:cubicBezTo>
                    <a:pt x="30" y="41"/>
                    <a:pt x="29" y="40"/>
                    <a:pt x="28" y="40"/>
                  </a:cubicBezTo>
                  <a:cubicBezTo>
                    <a:pt x="27" y="39"/>
                    <a:pt x="27" y="38"/>
                    <a:pt x="27" y="37"/>
                  </a:cubicBezTo>
                  <a:cubicBezTo>
                    <a:pt x="27" y="35"/>
                    <a:pt x="27" y="34"/>
                    <a:pt x="28" y="34"/>
                  </a:cubicBezTo>
                  <a:cubicBezTo>
                    <a:pt x="29" y="33"/>
                    <a:pt x="30" y="32"/>
                    <a:pt x="31" y="32"/>
                  </a:cubicBezTo>
                  <a:cubicBezTo>
                    <a:pt x="32" y="32"/>
                    <a:pt x="33" y="33"/>
                    <a:pt x="34" y="34"/>
                  </a:cubicBezTo>
                  <a:cubicBezTo>
                    <a:pt x="34" y="34"/>
                    <a:pt x="35" y="35"/>
                    <a:pt x="35" y="37"/>
                  </a:cubicBezTo>
                  <a:close/>
                  <a:moveTo>
                    <a:pt x="29" y="37"/>
                  </a:moveTo>
                  <a:cubicBezTo>
                    <a:pt x="29" y="36"/>
                    <a:pt x="30" y="35"/>
                    <a:pt x="31" y="35"/>
                  </a:cubicBezTo>
                  <a:cubicBezTo>
                    <a:pt x="32" y="35"/>
                    <a:pt x="33" y="36"/>
                    <a:pt x="33" y="37"/>
                  </a:cubicBezTo>
                  <a:cubicBezTo>
                    <a:pt x="33" y="38"/>
                    <a:pt x="32" y="39"/>
                    <a:pt x="31" y="39"/>
                  </a:cubicBezTo>
                  <a:cubicBezTo>
                    <a:pt x="30" y="39"/>
                    <a:pt x="29" y="38"/>
                    <a:pt x="29" y="37"/>
                  </a:cubicBezTo>
                  <a:close/>
                  <a:moveTo>
                    <a:pt x="48" y="30"/>
                  </a:moveTo>
                  <a:cubicBezTo>
                    <a:pt x="48" y="29"/>
                    <a:pt x="48" y="29"/>
                    <a:pt x="48" y="29"/>
                  </a:cubicBezTo>
                  <a:cubicBezTo>
                    <a:pt x="48" y="28"/>
                    <a:pt x="48" y="28"/>
                    <a:pt x="48" y="28"/>
                  </a:cubicBezTo>
                  <a:cubicBezTo>
                    <a:pt x="49" y="27"/>
                    <a:pt x="49" y="27"/>
                    <a:pt x="49" y="27"/>
                  </a:cubicBezTo>
                  <a:cubicBezTo>
                    <a:pt x="49" y="27"/>
                    <a:pt x="49" y="27"/>
                    <a:pt x="49" y="27"/>
                  </a:cubicBezTo>
                  <a:cubicBezTo>
                    <a:pt x="49" y="27"/>
                    <a:pt x="49" y="27"/>
                    <a:pt x="49" y="27"/>
                  </a:cubicBezTo>
                  <a:cubicBezTo>
                    <a:pt x="48" y="26"/>
                    <a:pt x="48" y="26"/>
                    <a:pt x="48" y="26"/>
                  </a:cubicBezTo>
                  <a:cubicBezTo>
                    <a:pt x="48" y="26"/>
                    <a:pt x="48" y="26"/>
                    <a:pt x="48" y="26"/>
                  </a:cubicBezTo>
                  <a:cubicBezTo>
                    <a:pt x="48" y="26"/>
                    <a:pt x="48" y="26"/>
                    <a:pt x="48" y="26"/>
                  </a:cubicBezTo>
                  <a:cubicBezTo>
                    <a:pt x="46" y="26"/>
                    <a:pt x="46" y="26"/>
                    <a:pt x="46" y="26"/>
                  </a:cubicBezTo>
                  <a:cubicBezTo>
                    <a:pt x="46" y="26"/>
                    <a:pt x="45" y="26"/>
                    <a:pt x="45" y="25"/>
                  </a:cubicBezTo>
                  <a:cubicBezTo>
                    <a:pt x="45" y="24"/>
                    <a:pt x="45" y="24"/>
                    <a:pt x="45" y="24"/>
                  </a:cubicBezTo>
                  <a:cubicBezTo>
                    <a:pt x="44" y="24"/>
                    <a:pt x="44" y="24"/>
                    <a:pt x="44" y="24"/>
                  </a:cubicBezTo>
                  <a:cubicBezTo>
                    <a:pt x="43" y="24"/>
                    <a:pt x="43" y="24"/>
                    <a:pt x="43" y="24"/>
                  </a:cubicBezTo>
                  <a:cubicBezTo>
                    <a:pt x="43" y="24"/>
                    <a:pt x="43" y="24"/>
                    <a:pt x="43" y="24"/>
                  </a:cubicBezTo>
                  <a:cubicBezTo>
                    <a:pt x="42" y="25"/>
                    <a:pt x="42" y="25"/>
                    <a:pt x="42" y="25"/>
                  </a:cubicBezTo>
                  <a:cubicBezTo>
                    <a:pt x="42" y="26"/>
                    <a:pt x="41" y="26"/>
                    <a:pt x="41" y="26"/>
                  </a:cubicBezTo>
                  <a:cubicBezTo>
                    <a:pt x="39" y="26"/>
                    <a:pt x="39" y="26"/>
                    <a:pt x="39" y="26"/>
                  </a:cubicBezTo>
                  <a:cubicBezTo>
                    <a:pt x="39" y="26"/>
                    <a:pt x="39" y="26"/>
                    <a:pt x="39" y="26"/>
                  </a:cubicBezTo>
                  <a:cubicBezTo>
                    <a:pt x="39" y="26"/>
                    <a:pt x="39" y="26"/>
                    <a:pt x="39" y="26"/>
                  </a:cubicBezTo>
                  <a:cubicBezTo>
                    <a:pt x="38" y="27"/>
                    <a:pt x="38" y="27"/>
                    <a:pt x="38" y="27"/>
                  </a:cubicBezTo>
                  <a:cubicBezTo>
                    <a:pt x="38" y="27"/>
                    <a:pt x="38" y="27"/>
                    <a:pt x="38" y="27"/>
                  </a:cubicBezTo>
                  <a:cubicBezTo>
                    <a:pt x="38" y="27"/>
                    <a:pt x="38" y="27"/>
                    <a:pt x="38" y="27"/>
                  </a:cubicBezTo>
                  <a:cubicBezTo>
                    <a:pt x="40" y="28"/>
                    <a:pt x="40" y="28"/>
                    <a:pt x="40" y="28"/>
                  </a:cubicBezTo>
                  <a:cubicBezTo>
                    <a:pt x="39" y="29"/>
                    <a:pt x="39" y="29"/>
                    <a:pt x="39" y="29"/>
                  </a:cubicBezTo>
                  <a:cubicBezTo>
                    <a:pt x="40" y="30"/>
                    <a:pt x="40" y="30"/>
                    <a:pt x="40" y="30"/>
                  </a:cubicBezTo>
                  <a:cubicBezTo>
                    <a:pt x="38" y="31"/>
                    <a:pt x="38" y="31"/>
                    <a:pt x="38" y="31"/>
                  </a:cubicBezTo>
                  <a:cubicBezTo>
                    <a:pt x="38" y="31"/>
                    <a:pt x="38" y="31"/>
                    <a:pt x="38" y="31"/>
                  </a:cubicBezTo>
                  <a:cubicBezTo>
                    <a:pt x="38" y="32"/>
                    <a:pt x="38" y="32"/>
                    <a:pt x="38" y="32"/>
                  </a:cubicBezTo>
                  <a:cubicBezTo>
                    <a:pt x="39" y="32"/>
                    <a:pt x="39" y="32"/>
                    <a:pt x="39" y="32"/>
                  </a:cubicBezTo>
                  <a:cubicBezTo>
                    <a:pt x="39" y="33"/>
                    <a:pt x="39" y="33"/>
                    <a:pt x="39" y="33"/>
                  </a:cubicBezTo>
                  <a:cubicBezTo>
                    <a:pt x="39" y="33"/>
                    <a:pt x="39" y="33"/>
                    <a:pt x="39" y="33"/>
                  </a:cubicBezTo>
                  <a:cubicBezTo>
                    <a:pt x="41" y="32"/>
                    <a:pt x="41" y="32"/>
                    <a:pt x="41" y="32"/>
                  </a:cubicBezTo>
                  <a:cubicBezTo>
                    <a:pt x="41" y="33"/>
                    <a:pt x="42" y="33"/>
                    <a:pt x="42" y="33"/>
                  </a:cubicBezTo>
                  <a:cubicBezTo>
                    <a:pt x="43" y="35"/>
                    <a:pt x="43" y="35"/>
                    <a:pt x="43" y="35"/>
                  </a:cubicBezTo>
                  <a:cubicBezTo>
                    <a:pt x="43" y="35"/>
                    <a:pt x="43" y="35"/>
                    <a:pt x="43" y="35"/>
                  </a:cubicBezTo>
                  <a:cubicBezTo>
                    <a:pt x="44" y="35"/>
                    <a:pt x="44" y="35"/>
                    <a:pt x="44" y="35"/>
                  </a:cubicBezTo>
                  <a:cubicBezTo>
                    <a:pt x="45" y="35"/>
                    <a:pt x="45" y="35"/>
                    <a:pt x="45" y="35"/>
                  </a:cubicBezTo>
                  <a:cubicBezTo>
                    <a:pt x="45" y="33"/>
                    <a:pt x="45" y="33"/>
                    <a:pt x="45" y="33"/>
                  </a:cubicBezTo>
                  <a:cubicBezTo>
                    <a:pt x="45" y="33"/>
                    <a:pt x="46" y="33"/>
                    <a:pt x="46" y="32"/>
                  </a:cubicBezTo>
                  <a:cubicBezTo>
                    <a:pt x="48" y="33"/>
                    <a:pt x="48" y="33"/>
                    <a:pt x="48" y="33"/>
                  </a:cubicBezTo>
                  <a:cubicBezTo>
                    <a:pt x="48" y="33"/>
                    <a:pt x="48" y="33"/>
                    <a:pt x="48" y="33"/>
                  </a:cubicBezTo>
                  <a:cubicBezTo>
                    <a:pt x="48" y="32"/>
                    <a:pt x="48" y="32"/>
                    <a:pt x="48" y="32"/>
                  </a:cubicBezTo>
                  <a:cubicBezTo>
                    <a:pt x="49" y="32"/>
                    <a:pt x="49" y="32"/>
                    <a:pt x="49" y="32"/>
                  </a:cubicBezTo>
                  <a:cubicBezTo>
                    <a:pt x="49" y="31"/>
                    <a:pt x="49" y="31"/>
                    <a:pt x="49" y="31"/>
                  </a:cubicBezTo>
                  <a:cubicBezTo>
                    <a:pt x="49" y="31"/>
                    <a:pt x="49" y="31"/>
                    <a:pt x="49" y="31"/>
                  </a:cubicBezTo>
                  <a:cubicBezTo>
                    <a:pt x="48" y="30"/>
                    <a:pt x="48" y="30"/>
                    <a:pt x="48" y="30"/>
                  </a:cubicBezTo>
                  <a:close/>
                  <a:moveTo>
                    <a:pt x="45" y="29"/>
                  </a:moveTo>
                  <a:cubicBezTo>
                    <a:pt x="45" y="30"/>
                    <a:pt x="44" y="31"/>
                    <a:pt x="44" y="31"/>
                  </a:cubicBezTo>
                  <a:cubicBezTo>
                    <a:pt x="43" y="31"/>
                    <a:pt x="42" y="30"/>
                    <a:pt x="42" y="29"/>
                  </a:cubicBezTo>
                  <a:cubicBezTo>
                    <a:pt x="42" y="28"/>
                    <a:pt x="43" y="28"/>
                    <a:pt x="44" y="28"/>
                  </a:cubicBezTo>
                  <a:cubicBezTo>
                    <a:pt x="44" y="28"/>
                    <a:pt x="45" y="28"/>
                    <a:pt x="45" y="29"/>
                  </a:cubicBez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9" name="Freeform 55"/>
            <p:cNvSpPr>
              <a:spLocks/>
            </p:cNvSpPr>
            <p:nvPr/>
          </p:nvSpPr>
          <p:spPr bwMode="auto">
            <a:xfrm>
              <a:off x="10414213" y="5697159"/>
              <a:ext cx="372346" cy="297251"/>
            </a:xfrm>
            <a:custGeom>
              <a:avLst/>
              <a:gdLst>
                <a:gd name="T0" fmla="*/ 69 w 85"/>
                <a:gd name="T1" fmla="*/ 0 h 68"/>
                <a:gd name="T2" fmla="*/ 69 w 85"/>
                <a:gd name="T3" fmla="*/ 30 h 68"/>
                <a:gd name="T4" fmla="*/ 1 w 85"/>
                <a:gd name="T5" fmla="*/ 30 h 68"/>
                <a:gd name="T6" fmla="*/ 0 w 85"/>
                <a:gd name="T7" fmla="*/ 34 h 68"/>
                <a:gd name="T8" fmla="*/ 8 w 85"/>
                <a:gd name="T9" fmla="*/ 58 h 68"/>
                <a:gd name="T10" fmla="*/ 69 w 85"/>
                <a:gd name="T11" fmla="*/ 58 h 68"/>
                <a:gd name="T12" fmla="*/ 69 w 85"/>
                <a:gd name="T13" fmla="*/ 68 h 68"/>
                <a:gd name="T14" fmla="*/ 85 w 85"/>
                <a:gd name="T15" fmla="*/ 34 h 68"/>
                <a:gd name="T16" fmla="*/ 69 w 85"/>
                <a:gd name="T17"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5" h="68">
                  <a:moveTo>
                    <a:pt x="69" y="0"/>
                  </a:moveTo>
                  <a:cubicBezTo>
                    <a:pt x="69" y="30"/>
                    <a:pt x="69" y="30"/>
                    <a:pt x="69" y="30"/>
                  </a:cubicBezTo>
                  <a:cubicBezTo>
                    <a:pt x="1" y="30"/>
                    <a:pt x="1" y="30"/>
                    <a:pt x="1" y="30"/>
                  </a:cubicBezTo>
                  <a:cubicBezTo>
                    <a:pt x="0" y="31"/>
                    <a:pt x="0" y="33"/>
                    <a:pt x="0" y="34"/>
                  </a:cubicBezTo>
                  <a:cubicBezTo>
                    <a:pt x="0" y="43"/>
                    <a:pt x="3" y="51"/>
                    <a:pt x="8" y="58"/>
                  </a:cubicBezTo>
                  <a:cubicBezTo>
                    <a:pt x="69" y="58"/>
                    <a:pt x="69" y="58"/>
                    <a:pt x="69" y="58"/>
                  </a:cubicBezTo>
                  <a:cubicBezTo>
                    <a:pt x="69" y="68"/>
                    <a:pt x="69" y="68"/>
                    <a:pt x="69" y="68"/>
                  </a:cubicBezTo>
                  <a:cubicBezTo>
                    <a:pt x="79" y="60"/>
                    <a:pt x="85" y="48"/>
                    <a:pt x="85" y="34"/>
                  </a:cubicBezTo>
                  <a:cubicBezTo>
                    <a:pt x="85" y="20"/>
                    <a:pt x="79" y="8"/>
                    <a:pt x="69"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0" name="Freeform 56"/>
            <p:cNvSpPr>
              <a:spLocks/>
            </p:cNvSpPr>
            <p:nvPr/>
          </p:nvSpPr>
          <p:spPr bwMode="auto">
            <a:xfrm>
              <a:off x="10420471" y="5656484"/>
              <a:ext cx="297251" cy="172093"/>
            </a:xfrm>
            <a:custGeom>
              <a:avLst/>
              <a:gdLst>
                <a:gd name="T0" fmla="*/ 42 w 68"/>
                <a:gd name="T1" fmla="*/ 0 h 39"/>
                <a:gd name="T2" fmla="*/ 0 w 68"/>
                <a:gd name="T3" fmla="*/ 39 h 39"/>
                <a:gd name="T4" fmla="*/ 68 w 68"/>
                <a:gd name="T5" fmla="*/ 39 h 39"/>
                <a:gd name="T6" fmla="*/ 68 w 68"/>
                <a:gd name="T7" fmla="*/ 9 h 39"/>
                <a:gd name="T8" fmla="*/ 42 w 68"/>
                <a:gd name="T9" fmla="*/ 0 h 39"/>
              </a:gdLst>
              <a:ahLst/>
              <a:cxnLst>
                <a:cxn ang="0">
                  <a:pos x="T0" y="T1"/>
                </a:cxn>
                <a:cxn ang="0">
                  <a:pos x="T2" y="T3"/>
                </a:cxn>
                <a:cxn ang="0">
                  <a:pos x="T4" y="T5"/>
                </a:cxn>
                <a:cxn ang="0">
                  <a:pos x="T6" y="T7"/>
                </a:cxn>
                <a:cxn ang="0">
                  <a:pos x="T8" y="T9"/>
                </a:cxn>
              </a:cxnLst>
              <a:rect l="0" t="0" r="r" b="b"/>
              <a:pathLst>
                <a:path w="68" h="39">
                  <a:moveTo>
                    <a:pt x="42" y="0"/>
                  </a:moveTo>
                  <a:cubicBezTo>
                    <a:pt x="20" y="0"/>
                    <a:pt x="2" y="17"/>
                    <a:pt x="0" y="39"/>
                  </a:cubicBezTo>
                  <a:cubicBezTo>
                    <a:pt x="68" y="39"/>
                    <a:pt x="68" y="39"/>
                    <a:pt x="68" y="39"/>
                  </a:cubicBezTo>
                  <a:cubicBezTo>
                    <a:pt x="68" y="9"/>
                    <a:pt x="68" y="9"/>
                    <a:pt x="68" y="9"/>
                  </a:cubicBezTo>
                  <a:cubicBezTo>
                    <a:pt x="61" y="4"/>
                    <a:pt x="52" y="0"/>
                    <a:pt x="42"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1" name="Freeform 57"/>
            <p:cNvSpPr>
              <a:spLocks/>
            </p:cNvSpPr>
            <p:nvPr/>
          </p:nvSpPr>
          <p:spPr bwMode="auto">
            <a:xfrm>
              <a:off x="10451761" y="5950605"/>
              <a:ext cx="265962" cy="78225"/>
            </a:xfrm>
            <a:custGeom>
              <a:avLst/>
              <a:gdLst>
                <a:gd name="T0" fmla="*/ 61 w 61"/>
                <a:gd name="T1" fmla="*/ 0 h 18"/>
                <a:gd name="T2" fmla="*/ 0 w 61"/>
                <a:gd name="T3" fmla="*/ 0 h 18"/>
                <a:gd name="T4" fmla="*/ 35 w 61"/>
                <a:gd name="T5" fmla="*/ 18 h 18"/>
                <a:gd name="T6" fmla="*/ 61 w 61"/>
                <a:gd name="T7" fmla="*/ 10 h 18"/>
                <a:gd name="T8" fmla="*/ 61 w 61"/>
                <a:gd name="T9" fmla="*/ 0 h 18"/>
              </a:gdLst>
              <a:ahLst/>
              <a:cxnLst>
                <a:cxn ang="0">
                  <a:pos x="T0" y="T1"/>
                </a:cxn>
                <a:cxn ang="0">
                  <a:pos x="T2" y="T3"/>
                </a:cxn>
                <a:cxn ang="0">
                  <a:pos x="T4" y="T5"/>
                </a:cxn>
                <a:cxn ang="0">
                  <a:pos x="T6" y="T7"/>
                </a:cxn>
                <a:cxn ang="0">
                  <a:pos x="T8" y="T9"/>
                </a:cxn>
              </a:cxnLst>
              <a:rect l="0" t="0" r="r" b="b"/>
              <a:pathLst>
                <a:path w="61" h="18">
                  <a:moveTo>
                    <a:pt x="61" y="0"/>
                  </a:moveTo>
                  <a:cubicBezTo>
                    <a:pt x="0" y="0"/>
                    <a:pt x="0" y="0"/>
                    <a:pt x="0" y="0"/>
                  </a:cubicBezTo>
                  <a:cubicBezTo>
                    <a:pt x="8" y="11"/>
                    <a:pt x="20" y="18"/>
                    <a:pt x="35" y="18"/>
                  </a:cubicBezTo>
                  <a:cubicBezTo>
                    <a:pt x="45" y="18"/>
                    <a:pt x="54" y="15"/>
                    <a:pt x="61" y="10"/>
                  </a:cubicBezTo>
                  <a:cubicBezTo>
                    <a:pt x="61" y="0"/>
                    <a:pt x="61" y="0"/>
                    <a:pt x="61"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2" name="Oval 58"/>
            <p:cNvSpPr>
              <a:spLocks noChangeArrowheads="1"/>
            </p:cNvSpPr>
            <p:nvPr/>
          </p:nvSpPr>
          <p:spPr bwMode="auto">
            <a:xfrm>
              <a:off x="10379796" y="5622065"/>
              <a:ext cx="372346" cy="372346"/>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3" name="Freeform 59"/>
            <p:cNvSpPr>
              <a:spLocks noEditPoints="1"/>
            </p:cNvSpPr>
            <p:nvPr/>
          </p:nvSpPr>
          <p:spPr bwMode="auto">
            <a:xfrm>
              <a:off x="10476792" y="5731579"/>
              <a:ext cx="184609" cy="156447"/>
            </a:xfrm>
            <a:custGeom>
              <a:avLst/>
              <a:gdLst>
                <a:gd name="T0" fmla="*/ 40 w 42"/>
                <a:gd name="T1" fmla="*/ 34 h 36"/>
                <a:gd name="T2" fmla="*/ 0 w 42"/>
                <a:gd name="T3" fmla="*/ 6 h 36"/>
                <a:gd name="T4" fmla="*/ 0 w 42"/>
                <a:gd name="T5" fmla="*/ 36 h 36"/>
                <a:gd name="T6" fmla="*/ 42 w 42"/>
                <a:gd name="T7" fmla="*/ 0 h 36"/>
                <a:gd name="T8" fmla="*/ 0 w 42"/>
                <a:gd name="T9" fmla="*/ 0 h 36"/>
                <a:gd name="T10" fmla="*/ 24 w 42"/>
                <a:gd name="T11" fmla="*/ 20 h 36"/>
                <a:gd name="T12" fmla="*/ 23 w 42"/>
                <a:gd name="T13" fmla="*/ 18 h 36"/>
                <a:gd name="T14" fmla="*/ 22 w 42"/>
                <a:gd name="T15" fmla="*/ 17 h 36"/>
                <a:gd name="T16" fmla="*/ 19 w 42"/>
                <a:gd name="T17" fmla="*/ 16 h 36"/>
                <a:gd name="T18" fmla="*/ 18 w 42"/>
                <a:gd name="T19" fmla="*/ 16 h 36"/>
                <a:gd name="T20" fmla="*/ 15 w 42"/>
                <a:gd name="T21" fmla="*/ 17 h 36"/>
                <a:gd name="T22" fmla="*/ 14 w 42"/>
                <a:gd name="T23" fmla="*/ 18 h 36"/>
                <a:gd name="T24" fmla="*/ 13 w 42"/>
                <a:gd name="T25" fmla="*/ 20 h 36"/>
                <a:gd name="T26" fmla="*/ 12 w 42"/>
                <a:gd name="T27" fmla="*/ 22 h 36"/>
                <a:gd name="T28" fmla="*/ 13 w 42"/>
                <a:gd name="T29" fmla="*/ 24 h 36"/>
                <a:gd name="T30" fmla="*/ 14 w 42"/>
                <a:gd name="T31" fmla="*/ 26 h 36"/>
                <a:gd name="T32" fmla="*/ 16 w 42"/>
                <a:gd name="T33" fmla="*/ 28 h 36"/>
                <a:gd name="T34" fmla="*/ 17 w 42"/>
                <a:gd name="T35" fmla="*/ 28 h 36"/>
                <a:gd name="T36" fmla="*/ 19 w 42"/>
                <a:gd name="T37" fmla="*/ 27 h 36"/>
                <a:gd name="T38" fmla="*/ 21 w 42"/>
                <a:gd name="T39" fmla="*/ 28 h 36"/>
                <a:gd name="T40" fmla="*/ 22 w 42"/>
                <a:gd name="T41" fmla="*/ 26 h 36"/>
                <a:gd name="T42" fmla="*/ 24 w 42"/>
                <a:gd name="T43" fmla="*/ 25 h 36"/>
                <a:gd name="T44" fmla="*/ 23 w 42"/>
                <a:gd name="T45" fmla="*/ 23 h 36"/>
                <a:gd name="T46" fmla="*/ 20 w 42"/>
                <a:gd name="T47" fmla="*/ 24 h 36"/>
                <a:gd name="T48" fmla="*/ 16 w 42"/>
                <a:gd name="T49" fmla="*/ 22 h 36"/>
                <a:gd name="T50" fmla="*/ 20 w 42"/>
                <a:gd name="T51" fmla="*/ 20 h 36"/>
                <a:gd name="T52" fmla="*/ 19 w 42"/>
                <a:gd name="T53" fmla="*/ 21 h 36"/>
                <a:gd name="T54" fmla="*/ 17 w 42"/>
                <a:gd name="T55" fmla="*/ 22 h 36"/>
                <a:gd name="T56" fmla="*/ 29 w 42"/>
                <a:gd name="T57" fmla="*/ 17 h 36"/>
                <a:gd name="T58" fmla="*/ 30 w 42"/>
                <a:gd name="T59" fmla="*/ 16 h 36"/>
                <a:gd name="T60" fmla="*/ 29 w 42"/>
                <a:gd name="T61" fmla="*/ 16 h 36"/>
                <a:gd name="T62" fmla="*/ 27 w 42"/>
                <a:gd name="T63" fmla="*/ 14 h 36"/>
                <a:gd name="T64" fmla="*/ 26 w 42"/>
                <a:gd name="T65" fmla="*/ 14 h 36"/>
                <a:gd name="T66" fmla="*/ 24 w 42"/>
                <a:gd name="T67" fmla="*/ 16 h 36"/>
                <a:gd name="T68" fmla="*/ 23 w 42"/>
                <a:gd name="T69" fmla="*/ 16 h 36"/>
                <a:gd name="T70" fmla="*/ 24 w 42"/>
                <a:gd name="T71" fmla="*/ 17 h 36"/>
                <a:gd name="T72" fmla="*/ 23 w 42"/>
                <a:gd name="T73" fmla="*/ 19 h 36"/>
                <a:gd name="T74" fmla="*/ 24 w 42"/>
                <a:gd name="T75" fmla="*/ 20 h 36"/>
                <a:gd name="T76" fmla="*/ 25 w 42"/>
                <a:gd name="T77" fmla="*/ 20 h 36"/>
                <a:gd name="T78" fmla="*/ 26 w 42"/>
                <a:gd name="T79" fmla="*/ 21 h 36"/>
                <a:gd name="T80" fmla="*/ 27 w 42"/>
                <a:gd name="T81" fmla="*/ 20 h 36"/>
                <a:gd name="T82" fmla="*/ 29 w 42"/>
                <a:gd name="T83" fmla="*/ 20 h 36"/>
                <a:gd name="T84" fmla="*/ 30 w 42"/>
                <a:gd name="T85" fmla="*/ 19 h 36"/>
                <a:gd name="T86" fmla="*/ 27 w 42"/>
                <a:gd name="T87" fmla="*/ 18 h 36"/>
                <a:gd name="T88" fmla="*/ 26 w 42"/>
                <a:gd name="T89" fmla="*/ 17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2" h="36">
                  <a:moveTo>
                    <a:pt x="2" y="8"/>
                  </a:moveTo>
                  <a:cubicBezTo>
                    <a:pt x="2" y="34"/>
                    <a:pt x="2" y="34"/>
                    <a:pt x="2" y="34"/>
                  </a:cubicBezTo>
                  <a:cubicBezTo>
                    <a:pt x="40" y="34"/>
                    <a:pt x="40" y="34"/>
                    <a:pt x="40" y="34"/>
                  </a:cubicBezTo>
                  <a:cubicBezTo>
                    <a:pt x="40" y="8"/>
                    <a:pt x="40" y="8"/>
                    <a:pt x="40" y="8"/>
                  </a:cubicBezTo>
                  <a:cubicBezTo>
                    <a:pt x="2" y="8"/>
                    <a:pt x="2" y="8"/>
                    <a:pt x="2" y="8"/>
                  </a:cubicBezTo>
                  <a:close/>
                  <a:moveTo>
                    <a:pt x="0" y="6"/>
                  </a:moveTo>
                  <a:cubicBezTo>
                    <a:pt x="42" y="6"/>
                    <a:pt x="42" y="6"/>
                    <a:pt x="42" y="6"/>
                  </a:cubicBezTo>
                  <a:cubicBezTo>
                    <a:pt x="42" y="36"/>
                    <a:pt x="42" y="36"/>
                    <a:pt x="42" y="36"/>
                  </a:cubicBezTo>
                  <a:cubicBezTo>
                    <a:pt x="0" y="36"/>
                    <a:pt x="0" y="36"/>
                    <a:pt x="0" y="36"/>
                  </a:cubicBezTo>
                  <a:cubicBezTo>
                    <a:pt x="0" y="6"/>
                    <a:pt x="0" y="6"/>
                    <a:pt x="0" y="6"/>
                  </a:cubicBezTo>
                  <a:close/>
                  <a:moveTo>
                    <a:pt x="0" y="0"/>
                  </a:moveTo>
                  <a:cubicBezTo>
                    <a:pt x="42" y="0"/>
                    <a:pt x="42" y="0"/>
                    <a:pt x="42" y="0"/>
                  </a:cubicBezTo>
                  <a:cubicBezTo>
                    <a:pt x="42" y="4"/>
                    <a:pt x="42" y="4"/>
                    <a:pt x="42" y="4"/>
                  </a:cubicBezTo>
                  <a:cubicBezTo>
                    <a:pt x="0" y="4"/>
                    <a:pt x="0" y="4"/>
                    <a:pt x="0" y="4"/>
                  </a:cubicBezTo>
                  <a:cubicBezTo>
                    <a:pt x="0" y="0"/>
                    <a:pt x="0" y="0"/>
                    <a:pt x="0" y="0"/>
                  </a:cubicBezTo>
                  <a:close/>
                  <a:moveTo>
                    <a:pt x="25" y="22"/>
                  </a:moveTo>
                  <a:cubicBezTo>
                    <a:pt x="25" y="21"/>
                    <a:pt x="25" y="21"/>
                    <a:pt x="25" y="21"/>
                  </a:cubicBezTo>
                  <a:cubicBezTo>
                    <a:pt x="24" y="20"/>
                    <a:pt x="24" y="20"/>
                    <a:pt x="24" y="20"/>
                  </a:cubicBezTo>
                  <a:cubicBezTo>
                    <a:pt x="23" y="20"/>
                    <a:pt x="23" y="20"/>
                    <a:pt x="23" y="20"/>
                  </a:cubicBezTo>
                  <a:cubicBezTo>
                    <a:pt x="22" y="20"/>
                    <a:pt x="22" y="20"/>
                    <a:pt x="22" y="20"/>
                  </a:cubicBezTo>
                  <a:cubicBezTo>
                    <a:pt x="23" y="18"/>
                    <a:pt x="23" y="18"/>
                    <a:pt x="23" y="18"/>
                  </a:cubicBezTo>
                  <a:cubicBezTo>
                    <a:pt x="23" y="18"/>
                    <a:pt x="23" y="18"/>
                    <a:pt x="23" y="18"/>
                  </a:cubicBezTo>
                  <a:cubicBezTo>
                    <a:pt x="22" y="17"/>
                    <a:pt x="22" y="17"/>
                    <a:pt x="22" y="17"/>
                  </a:cubicBezTo>
                  <a:cubicBezTo>
                    <a:pt x="22" y="17"/>
                    <a:pt x="22" y="17"/>
                    <a:pt x="22" y="17"/>
                  </a:cubicBezTo>
                  <a:cubicBezTo>
                    <a:pt x="20" y="18"/>
                    <a:pt x="20" y="18"/>
                    <a:pt x="20" y="18"/>
                  </a:cubicBezTo>
                  <a:cubicBezTo>
                    <a:pt x="20" y="18"/>
                    <a:pt x="20" y="18"/>
                    <a:pt x="20" y="18"/>
                  </a:cubicBezTo>
                  <a:cubicBezTo>
                    <a:pt x="19" y="16"/>
                    <a:pt x="19" y="16"/>
                    <a:pt x="19" y="16"/>
                  </a:cubicBezTo>
                  <a:cubicBezTo>
                    <a:pt x="19" y="16"/>
                    <a:pt x="19" y="16"/>
                    <a:pt x="19" y="16"/>
                  </a:cubicBezTo>
                  <a:cubicBezTo>
                    <a:pt x="18" y="16"/>
                    <a:pt x="18" y="16"/>
                    <a:pt x="18" y="16"/>
                  </a:cubicBezTo>
                  <a:cubicBezTo>
                    <a:pt x="18" y="16"/>
                    <a:pt x="18" y="16"/>
                    <a:pt x="18" y="16"/>
                  </a:cubicBezTo>
                  <a:cubicBezTo>
                    <a:pt x="17" y="18"/>
                    <a:pt x="17" y="18"/>
                    <a:pt x="17" y="18"/>
                  </a:cubicBezTo>
                  <a:cubicBezTo>
                    <a:pt x="17" y="18"/>
                    <a:pt x="17" y="18"/>
                    <a:pt x="17" y="18"/>
                  </a:cubicBezTo>
                  <a:cubicBezTo>
                    <a:pt x="15" y="17"/>
                    <a:pt x="15" y="17"/>
                    <a:pt x="15" y="17"/>
                  </a:cubicBezTo>
                  <a:cubicBezTo>
                    <a:pt x="15" y="17"/>
                    <a:pt x="15" y="17"/>
                    <a:pt x="15" y="17"/>
                  </a:cubicBezTo>
                  <a:cubicBezTo>
                    <a:pt x="14" y="18"/>
                    <a:pt x="14" y="18"/>
                    <a:pt x="14" y="18"/>
                  </a:cubicBezTo>
                  <a:cubicBezTo>
                    <a:pt x="14" y="18"/>
                    <a:pt x="14" y="18"/>
                    <a:pt x="14" y="18"/>
                  </a:cubicBezTo>
                  <a:cubicBezTo>
                    <a:pt x="15" y="20"/>
                    <a:pt x="15" y="20"/>
                    <a:pt x="15" y="20"/>
                  </a:cubicBezTo>
                  <a:cubicBezTo>
                    <a:pt x="15" y="20"/>
                    <a:pt x="15" y="20"/>
                    <a:pt x="15" y="20"/>
                  </a:cubicBezTo>
                  <a:cubicBezTo>
                    <a:pt x="13" y="20"/>
                    <a:pt x="13" y="20"/>
                    <a:pt x="13" y="20"/>
                  </a:cubicBezTo>
                  <a:cubicBezTo>
                    <a:pt x="12" y="21"/>
                    <a:pt x="12" y="21"/>
                    <a:pt x="12" y="21"/>
                  </a:cubicBezTo>
                  <a:cubicBezTo>
                    <a:pt x="12" y="22"/>
                    <a:pt x="12" y="22"/>
                    <a:pt x="12" y="22"/>
                  </a:cubicBezTo>
                  <a:cubicBezTo>
                    <a:pt x="12" y="22"/>
                    <a:pt x="12" y="22"/>
                    <a:pt x="12" y="22"/>
                  </a:cubicBezTo>
                  <a:cubicBezTo>
                    <a:pt x="14" y="23"/>
                    <a:pt x="14" y="23"/>
                    <a:pt x="14" y="23"/>
                  </a:cubicBezTo>
                  <a:cubicBezTo>
                    <a:pt x="14" y="23"/>
                    <a:pt x="14" y="23"/>
                    <a:pt x="14" y="23"/>
                  </a:cubicBezTo>
                  <a:cubicBezTo>
                    <a:pt x="13" y="24"/>
                    <a:pt x="13" y="24"/>
                    <a:pt x="13" y="24"/>
                  </a:cubicBezTo>
                  <a:cubicBezTo>
                    <a:pt x="13" y="25"/>
                    <a:pt x="13" y="25"/>
                    <a:pt x="13" y="25"/>
                  </a:cubicBezTo>
                  <a:cubicBezTo>
                    <a:pt x="13" y="26"/>
                    <a:pt x="13" y="26"/>
                    <a:pt x="13" y="26"/>
                  </a:cubicBezTo>
                  <a:cubicBezTo>
                    <a:pt x="14" y="26"/>
                    <a:pt x="14" y="26"/>
                    <a:pt x="14" y="26"/>
                  </a:cubicBezTo>
                  <a:cubicBezTo>
                    <a:pt x="15" y="26"/>
                    <a:pt x="15" y="26"/>
                    <a:pt x="15" y="26"/>
                  </a:cubicBezTo>
                  <a:cubicBezTo>
                    <a:pt x="16" y="26"/>
                    <a:pt x="16" y="26"/>
                    <a:pt x="16" y="26"/>
                  </a:cubicBezTo>
                  <a:cubicBezTo>
                    <a:pt x="16" y="28"/>
                    <a:pt x="16" y="28"/>
                    <a:pt x="16" y="28"/>
                  </a:cubicBezTo>
                  <a:cubicBezTo>
                    <a:pt x="16" y="28"/>
                    <a:pt x="16" y="28"/>
                    <a:pt x="16" y="28"/>
                  </a:cubicBezTo>
                  <a:cubicBezTo>
                    <a:pt x="17" y="28"/>
                    <a:pt x="17" y="28"/>
                    <a:pt x="17" y="28"/>
                  </a:cubicBezTo>
                  <a:cubicBezTo>
                    <a:pt x="17" y="28"/>
                    <a:pt x="17" y="28"/>
                    <a:pt x="17" y="28"/>
                  </a:cubicBezTo>
                  <a:cubicBezTo>
                    <a:pt x="18" y="27"/>
                    <a:pt x="18" y="27"/>
                    <a:pt x="18" y="27"/>
                  </a:cubicBezTo>
                  <a:cubicBezTo>
                    <a:pt x="19" y="27"/>
                    <a:pt x="19" y="27"/>
                    <a:pt x="19" y="27"/>
                  </a:cubicBezTo>
                  <a:cubicBezTo>
                    <a:pt x="19" y="27"/>
                    <a:pt x="19" y="27"/>
                    <a:pt x="19" y="27"/>
                  </a:cubicBezTo>
                  <a:cubicBezTo>
                    <a:pt x="20" y="28"/>
                    <a:pt x="20" y="28"/>
                    <a:pt x="20" y="28"/>
                  </a:cubicBezTo>
                  <a:cubicBezTo>
                    <a:pt x="20" y="28"/>
                    <a:pt x="20" y="28"/>
                    <a:pt x="20" y="28"/>
                  </a:cubicBezTo>
                  <a:cubicBezTo>
                    <a:pt x="21" y="28"/>
                    <a:pt x="21" y="28"/>
                    <a:pt x="21" y="28"/>
                  </a:cubicBezTo>
                  <a:cubicBezTo>
                    <a:pt x="22" y="28"/>
                    <a:pt x="22" y="28"/>
                    <a:pt x="22" y="28"/>
                  </a:cubicBezTo>
                  <a:cubicBezTo>
                    <a:pt x="21" y="26"/>
                    <a:pt x="21" y="26"/>
                    <a:pt x="21" y="26"/>
                  </a:cubicBezTo>
                  <a:cubicBezTo>
                    <a:pt x="22" y="26"/>
                    <a:pt x="22" y="26"/>
                    <a:pt x="22" y="26"/>
                  </a:cubicBezTo>
                  <a:cubicBezTo>
                    <a:pt x="23" y="26"/>
                    <a:pt x="23" y="26"/>
                    <a:pt x="23" y="26"/>
                  </a:cubicBezTo>
                  <a:cubicBezTo>
                    <a:pt x="24" y="26"/>
                    <a:pt x="24" y="26"/>
                    <a:pt x="24" y="26"/>
                  </a:cubicBezTo>
                  <a:cubicBezTo>
                    <a:pt x="24" y="25"/>
                    <a:pt x="24" y="25"/>
                    <a:pt x="24" y="25"/>
                  </a:cubicBezTo>
                  <a:cubicBezTo>
                    <a:pt x="24" y="24"/>
                    <a:pt x="24" y="24"/>
                    <a:pt x="24" y="24"/>
                  </a:cubicBezTo>
                  <a:cubicBezTo>
                    <a:pt x="23" y="23"/>
                    <a:pt x="23" y="23"/>
                    <a:pt x="23" y="23"/>
                  </a:cubicBezTo>
                  <a:cubicBezTo>
                    <a:pt x="23" y="23"/>
                    <a:pt x="23" y="23"/>
                    <a:pt x="23" y="23"/>
                  </a:cubicBezTo>
                  <a:cubicBezTo>
                    <a:pt x="25" y="22"/>
                    <a:pt x="25" y="22"/>
                    <a:pt x="25" y="22"/>
                  </a:cubicBezTo>
                  <a:close/>
                  <a:moveTo>
                    <a:pt x="21" y="22"/>
                  </a:moveTo>
                  <a:cubicBezTo>
                    <a:pt x="21" y="23"/>
                    <a:pt x="21" y="24"/>
                    <a:pt x="20" y="24"/>
                  </a:cubicBezTo>
                  <a:cubicBezTo>
                    <a:pt x="20" y="24"/>
                    <a:pt x="19" y="25"/>
                    <a:pt x="19" y="25"/>
                  </a:cubicBezTo>
                  <a:cubicBezTo>
                    <a:pt x="18" y="25"/>
                    <a:pt x="17" y="24"/>
                    <a:pt x="17" y="24"/>
                  </a:cubicBezTo>
                  <a:cubicBezTo>
                    <a:pt x="16" y="24"/>
                    <a:pt x="16" y="23"/>
                    <a:pt x="16" y="22"/>
                  </a:cubicBezTo>
                  <a:cubicBezTo>
                    <a:pt x="16" y="22"/>
                    <a:pt x="16" y="21"/>
                    <a:pt x="17" y="20"/>
                  </a:cubicBezTo>
                  <a:cubicBezTo>
                    <a:pt x="17" y="20"/>
                    <a:pt x="18" y="20"/>
                    <a:pt x="19" y="20"/>
                  </a:cubicBezTo>
                  <a:cubicBezTo>
                    <a:pt x="19" y="20"/>
                    <a:pt x="20" y="20"/>
                    <a:pt x="20" y="20"/>
                  </a:cubicBezTo>
                  <a:cubicBezTo>
                    <a:pt x="21" y="21"/>
                    <a:pt x="21" y="22"/>
                    <a:pt x="21" y="22"/>
                  </a:cubicBezTo>
                  <a:close/>
                  <a:moveTo>
                    <a:pt x="17" y="22"/>
                  </a:moveTo>
                  <a:cubicBezTo>
                    <a:pt x="17" y="22"/>
                    <a:pt x="18" y="21"/>
                    <a:pt x="19" y="21"/>
                  </a:cubicBezTo>
                  <a:cubicBezTo>
                    <a:pt x="19" y="21"/>
                    <a:pt x="20" y="22"/>
                    <a:pt x="20" y="22"/>
                  </a:cubicBezTo>
                  <a:cubicBezTo>
                    <a:pt x="20" y="23"/>
                    <a:pt x="19" y="23"/>
                    <a:pt x="19" y="23"/>
                  </a:cubicBezTo>
                  <a:cubicBezTo>
                    <a:pt x="18" y="23"/>
                    <a:pt x="17" y="23"/>
                    <a:pt x="17" y="22"/>
                  </a:cubicBezTo>
                  <a:close/>
                  <a:moveTo>
                    <a:pt x="29" y="18"/>
                  </a:moveTo>
                  <a:cubicBezTo>
                    <a:pt x="29" y="18"/>
                    <a:pt x="29" y="18"/>
                    <a:pt x="29" y="18"/>
                  </a:cubicBezTo>
                  <a:cubicBezTo>
                    <a:pt x="29" y="17"/>
                    <a:pt x="29" y="17"/>
                    <a:pt x="29" y="17"/>
                  </a:cubicBezTo>
                  <a:cubicBezTo>
                    <a:pt x="29" y="17"/>
                    <a:pt x="29" y="17"/>
                    <a:pt x="29" y="17"/>
                  </a:cubicBezTo>
                  <a:cubicBezTo>
                    <a:pt x="30" y="16"/>
                    <a:pt x="30" y="16"/>
                    <a:pt x="30" y="16"/>
                  </a:cubicBezTo>
                  <a:cubicBezTo>
                    <a:pt x="30" y="16"/>
                    <a:pt x="30" y="16"/>
                    <a:pt x="30" y="16"/>
                  </a:cubicBezTo>
                  <a:cubicBezTo>
                    <a:pt x="29" y="16"/>
                    <a:pt x="29" y="16"/>
                    <a:pt x="29" y="16"/>
                  </a:cubicBezTo>
                  <a:cubicBezTo>
                    <a:pt x="29" y="16"/>
                    <a:pt x="29" y="16"/>
                    <a:pt x="29" y="16"/>
                  </a:cubicBezTo>
                  <a:cubicBezTo>
                    <a:pt x="29" y="16"/>
                    <a:pt x="29" y="16"/>
                    <a:pt x="29" y="16"/>
                  </a:cubicBezTo>
                  <a:cubicBezTo>
                    <a:pt x="28" y="16"/>
                    <a:pt x="28" y="16"/>
                    <a:pt x="28" y="16"/>
                  </a:cubicBezTo>
                  <a:cubicBezTo>
                    <a:pt x="27" y="15"/>
                    <a:pt x="27" y="15"/>
                    <a:pt x="27" y="15"/>
                  </a:cubicBezTo>
                  <a:cubicBezTo>
                    <a:pt x="27" y="14"/>
                    <a:pt x="27" y="14"/>
                    <a:pt x="27" y="14"/>
                  </a:cubicBezTo>
                  <a:cubicBezTo>
                    <a:pt x="27" y="14"/>
                    <a:pt x="27" y="14"/>
                    <a:pt x="27" y="14"/>
                  </a:cubicBezTo>
                  <a:cubicBezTo>
                    <a:pt x="26" y="14"/>
                    <a:pt x="26" y="14"/>
                    <a:pt x="26" y="14"/>
                  </a:cubicBezTo>
                  <a:cubicBezTo>
                    <a:pt x="26" y="14"/>
                    <a:pt x="26" y="14"/>
                    <a:pt x="26" y="14"/>
                  </a:cubicBezTo>
                  <a:cubicBezTo>
                    <a:pt x="26" y="15"/>
                    <a:pt x="26" y="15"/>
                    <a:pt x="26" y="15"/>
                  </a:cubicBezTo>
                  <a:cubicBezTo>
                    <a:pt x="25" y="16"/>
                    <a:pt x="25" y="16"/>
                    <a:pt x="25" y="16"/>
                  </a:cubicBezTo>
                  <a:cubicBezTo>
                    <a:pt x="24" y="16"/>
                    <a:pt x="24" y="16"/>
                    <a:pt x="24" y="16"/>
                  </a:cubicBezTo>
                  <a:cubicBezTo>
                    <a:pt x="24" y="16"/>
                    <a:pt x="24" y="16"/>
                    <a:pt x="24" y="16"/>
                  </a:cubicBezTo>
                  <a:cubicBezTo>
                    <a:pt x="24" y="16"/>
                    <a:pt x="24" y="16"/>
                    <a:pt x="24" y="16"/>
                  </a:cubicBezTo>
                  <a:cubicBezTo>
                    <a:pt x="23" y="16"/>
                    <a:pt x="23" y="16"/>
                    <a:pt x="23" y="16"/>
                  </a:cubicBezTo>
                  <a:cubicBezTo>
                    <a:pt x="23" y="16"/>
                    <a:pt x="23" y="16"/>
                    <a:pt x="23" y="16"/>
                  </a:cubicBezTo>
                  <a:cubicBezTo>
                    <a:pt x="23" y="17"/>
                    <a:pt x="23" y="17"/>
                    <a:pt x="23" y="17"/>
                  </a:cubicBezTo>
                  <a:cubicBezTo>
                    <a:pt x="24" y="17"/>
                    <a:pt x="24" y="17"/>
                    <a:pt x="24" y="17"/>
                  </a:cubicBezTo>
                  <a:cubicBezTo>
                    <a:pt x="24" y="18"/>
                    <a:pt x="24" y="18"/>
                    <a:pt x="24" y="18"/>
                  </a:cubicBezTo>
                  <a:cubicBezTo>
                    <a:pt x="24" y="18"/>
                    <a:pt x="24" y="18"/>
                    <a:pt x="24" y="18"/>
                  </a:cubicBezTo>
                  <a:cubicBezTo>
                    <a:pt x="23" y="19"/>
                    <a:pt x="23" y="19"/>
                    <a:pt x="23" y="19"/>
                  </a:cubicBezTo>
                  <a:cubicBezTo>
                    <a:pt x="23" y="19"/>
                    <a:pt x="23" y="19"/>
                    <a:pt x="23" y="19"/>
                  </a:cubicBezTo>
                  <a:cubicBezTo>
                    <a:pt x="23" y="19"/>
                    <a:pt x="23" y="19"/>
                    <a:pt x="23" y="19"/>
                  </a:cubicBezTo>
                  <a:cubicBezTo>
                    <a:pt x="24" y="20"/>
                    <a:pt x="24" y="20"/>
                    <a:pt x="24" y="20"/>
                  </a:cubicBezTo>
                  <a:cubicBezTo>
                    <a:pt x="24" y="20"/>
                    <a:pt x="24" y="20"/>
                    <a:pt x="24" y="20"/>
                  </a:cubicBezTo>
                  <a:cubicBezTo>
                    <a:pt x="24" y="20"/>
                    <a:pt x="24" y="20"/>
                    <a:pt x="24" y="20"/>
                  </a:cubicBezTo>
                  <a:cubicBezTo>
                    <a:pt x="25" y="20"/>
                    <a:pt x="25" y="20"/>
                    <a:pt x="25" y="20"/>
                  </a:cubicBezTo>
                  <a:cubicBezTo>
                    <a:pt x="26" y="20"/>
                    <a:pt x="26" y="20"/>
                    <a:pt x="26" y="20"/>
                  </a:cubicBezTo>
                  <a:cubicBezTo>
                    <a:pt x="26" y="21"/>
                    <a:pt x="26" y="21"/>
                    <a:pt x="26" y="21"/>
                  </a:cubicBezTo>
                  <a:cubicBezTo>
                    <a:pt x="26" y="21"/>
                    <a:pt x="26" y="21"/>
                    <a:pt x="26" y="21"/>
                  </a:cubicBezTo>
                  <a:cubicBezTo>
                    <a:pt x="27" y="21"/>
                    <a:pt x="27" y="21"/>
                    <a:pt x="27" y="21"/>
                  </a:cubicBezTo>
                  <a:cubicBezTo>
                    <a:pt x="27" y="21"/>
                    <a:pt x="27" y="21"/>
                    <a:pt x="27" y="21"/>
                  </a:cubicBezTo>
                  <a:cubicBezTo>
                    <a:pt x="27" y="20"/>
                    <a:pt x="27" y="20"/>
                    <a:pt x="27" y="20"/>
                  </a:cubicBezTo>
                  <a:cubicBezTo>
                    <a:pt x="28" y="20"/>
                    <a:pt x="28" y="20"/>
                    <a:pt x="28" y="20"/>
                  </a:cubicBezTo>
                  <a:cubicBezTo>
                    <a:pt x="29" y="20"/>
                    <a:pt x="29" y="20"/>
                    <a:pt x="29" y="20"/>
                  </a:cubicBezTo>
                  <a:cubicBezTo>
                    <a:pt x="29" y="20"/>
                    <a:pt x="29" y="20"/>
                    <a:pt x="29" y="20"/>
                  </a:cubicBezTo>
                  <a:cubicBezTo>
                    <a:pt x="29" y="20"/>
                    <a:pt x="29" y="20"/>
                    <a:pt x="29" y="20"/>
                  </a:cubicBezTo>
                  <a:cubicBezTo>
                    <a:pt x="30" y="19"/>
                    <a:pt x="30" y="19"/>
                    <a:pt x="30" y="19"/>
                  </a:cubicBezTo>
                  <a:cubicBezTo>
                    <a:pt x="30" y="19"/>
                    <a:pt x="30" y="19"/>
                    <a:pt x="30" y="19"/>
                  </a:cubicBezTo>
                  <a:cubicBezTo>
                    <a:pt x="29" y="19"/>
                    <a:pt x="29" y="19"/>
                    <a:pt x="29" y="19"/>
                  </a:cubicBezTo>
                  <a:cubicBezTo>
                    <a:pt x="29" y="18"/>
                    <a:pt x="29" y="18"/>
                    <a:pt x="29" y="18"/>
                  </a:cubicBezTo>
                  <a:close/>
                  <a:moveTo>
                    <a:pt x="27" y="18"/>
                  </a:moveTo>
                  <a:cubicBezTo>
                    <a:pt x="27" y="18"/>
                    <a:pt x="27" y="19"/>
                    <a:pt x="26" y="19"/>
                  </a:cubicBezTo>
                  <a:cubicBezTo>
                    <a:pt x="26" y="19"/>
                    <a:pt x="25" y="18"/>
                    <a:pt x="25" y="18"/>
                  </a:cubicBezTo>
                  <a:cubicBezTo>
                    <a:pt x="25" y="17"/>
                    <a:pt x="26" y="17"/>
                    <a:pt x="26" y="17"/>
                  </a:cubicBezTo>
                  <a:cubicBezTo>
                    <a:pt x="27" y="17"/>
                    <a:pt x="27" y="17"/>
                    <a:pt x="27" y="18"/>
                  </a:cubicBez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4" name="Freeform 60"/>
            <p:cNvSpPr>
              <a:spLocks noEditPoints="1"/>
            </p:cNvSpPr>
            <p:nvPr/>
          </p:nvSpPr>
          <p:spPr bwMode="auto">
            <a:xfrm>
              <a:off x="10004322" y="4708412"/>
              <a:ext cx="372346" cy="303509"/>
            </a:xfrm>
            <a:custGeom>
              <a:avLst/>
              <a:gdLst>
                <a:gd name="T0" fmla="*/ 54 w 85"/>
                <a:gd name="T1" fmla="*/ 67 h 69"/>
                <a:gd name="T2" fmla="*/ 31 w 85"/>
                <a:gd name="T3" fmla="*/ 67 h 69"/>
                <a:gd name="T4" fmla="*/ 42 w 85"/>
                <a:gd name="T5" fmla="*/ 69 h 69"/>
                <a:gd name="T6" fmla="*/ 54 w 85"/>
                <a:gd name="T7" fmla="*/ 67 h 69"/>
                <a:gd name="T8" fmla="*/ 76 w 85"/>
                <a:gd name="T9" fmla="*/ 0 h 69"/>
                <a:gd name="T10" fmla="*/ 9 w 85"/>
                <a:gd name="T11" fmla="*/ 0 h 69"/>
                <a:gd name="T12" fmla="*/ 0 w 85"/>
                <a:gd name="T13" fmla="*/ 26 h 69"/>
                <a:gd name="T14" fmla="*/ 0 w 85"/>
                <a:gd name="T15" fmla="*/ 28 h 69"/>
                <a:gd name="T16" fmla="*/ 85 w 85"/>
                <a:gd name="T17" fmla="*/ 28 h 69"/>
                <a:gd name="T18" fmla="*/ 85 w 85"/>
                <a:gd name="T19" fmla="*/ 26 h 69"/>
                <a:gd name="T20" fmla="*/ 76 w 85"/>
                <a:gd name="T21" fmla="*/ 0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5" h="69">
                  <a:moveTo>
                    <a:pt x="54" y="67"/>
                  </a:moveTo>
                  <a:cubicBezTo>
                    <a:pt x="31" y="67"/>
                    <a:pt x="31" y="67"/>
                    <a:pt x="31" y="67"/>
                  </a:cubicBezTo>
                  <a:cubicBezTo>
                    <a:pt x="35" y="68"/>
                    <a:pt x="38" y="69"/>
                    <a:pt x="42" y="69"/>
                  </a:cubicBezTo>
                  <a:cubicBezTo>
                    <a:pt x="47" y="69"/>
                    <a:pt x="50" y="68"/>
                    <a:pt x="54" y="67"/>
                  </a:cubicBezTo>
                  <a:moveTo>
                    <a:pt x="76" y="0"/>
                  </a:moveTo>
                  <a:cubicBezTo>
                    <a:pt x="9" y="0"/>
                    <a:pt x="9" y="0"/>
                    <a:pt x="9" y="0"/>
                  </a:cubicBezTo>
                  <a:cubicBezTo>
                    <a:pt x="3" y="7"/>
                    <a:pt x="0" y="16"/>
                    <a:pt x="0" y="26"/>
                  </a:cubicBezTo>
                  <a:cubicBezTo>
                    <a:pt x="0" y="27"/>
                    <a:pt x="0" y="27"/>
                    <a:pt x="0" y="28"/>
                  </a:cubicBezTo>
                  <a:cubicBezTo>
                    <a:pt x="85" y="28"/>
                    <a:pt x="85" y="28"/>
                    <a:pt x="85" y="28"/>
                  </a:cubicBezTo>
                  <a:cubicBezTo>
                    <a:pt x="85" y="27"/>
                    <a:pt x="85" y="27"/>
                    <a:pt x="85" y="26"/>
                  </a:cubicBezTo>
                  <a:cubicBezTo>
                    <a:pt x="85" y="16"/>
                    <a:pt x="82" y="7"/>
                    <a:pt x="76"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5" name="Freeform 61"/>
            <p:cNvSpPr>
              <a:spLocks/>
            </p:cNvSpPr>
            <p:nvPr/>
          </p:nvSpPr>
          <p:spPr bwMode="auto">
            <a:xfrm>
              <a:off x="10041870" y="4636447"/>
              <a:ext cx="294121" cy="71967"/>
            </a:xfrm>
            <a:custGeom>
              <a:avLst/>
              <a:gdLst>
                <a:gd name="T0" fmla="*/ 33 w 67"/>
                <a:gd name="T1" fmla="*/ 0 h 17"/>
                <a:gd name="T2" fmla="*/ 0 w 67"/>
                <a:gd name="T3" fmla="*/ 17 h 17"/>
                <a:gd name="T4" fmla="*/ 67 w 67"/>
                <a:gd name="T5" fmla="*/ 17 h 17"/>
                <a:gd name="T6" fmla="*/ 33 w 67"/>
                <a:gd name="T7" fmla="*/ 0 h 17"/>
              </a:gdLst>
              <a:ahLst/>
              <a:cxnLst>
                <a:cxn ang="0">
                  <a:pos x="T0" y="T1"/>
                </a:cxn>
                <a:cxn ang="0">
                  <a:pos x="T2" y="T3"/>
                </a:cxn>
                <a:cxn ang="0">
                  <a:pos x="T4" y="T5"/>
                </a:cxn>
                <a:cxn ang="0">
                  <a:pos x="T6" y="T7"/>
                </a:cxn>
              </a:cxnLst>
              <a:rect l="0" t="0" r="r" b="b"/>
              <a:pathLst>
                <a:path w="67" h="17">
                  <a:moveTo>
                    <a:pt x="33" y="0"/>
                  </a:moveTo>
                  <a:cubicBezTo>
                    <a:pt x="20" y="0"/>
                    <a:pt x="8" y="7"/>
                    <a:pt x="0" y="17"/>
                  </a:cubicBezTo>
                  <a:cubicBezTo>
                    <a:pt x="67" y="17"/>
                    <a:pt x="67" y="17"/>
                    <a:pt x="67" y="17"/>
                  </a:cubicBezTo>
                  <a:cubicBezTo>
                    <a:pt x="59" y="7"/>
                    <a:pt x="47" y="0"/>
                    <a:pt x="33"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6" name="Freeform 62"/>
            <p:cNvSpPr>
              <a:spLocks/>
            </p:cNvSpPr>
            <p:nvPr/>
          </p:nvSpPr>
          <p:spPr bwMode="auto">
            <a:xfrm>
              <a:off x="10004322" y="4833570"/>
              <a:ext cx="372346" cy="168963"/>
            </a:xfrm>
            <a:custGeom>
              <a:avLst/>
              <a:gdLst>
                <a:gd name="T0" fmla="*/ 85 w 85"/>
                <a:gd name="T1" fmla="*/ 0 h 39"/>
                <a:gd name="T2" fmla="*/ 0 w 85"/>
                <a:gd name="T3" fmla="*/ 0 h 39"/>
                <a:gd name="T4" fmla="*/ 31 w 85"/>
                <a:gd name="T5" fmla="*/ 39 h 39"/>
                <a:gd name="T6" fmla="*/ 54 w 85"/>
                <a:gd name="T7" fmla="*/ 39 h 39"/>
                <a:gd name="T8" fmla="*/ 85 w 85"/>
                <a:gd name="T9" fmla="*/ 0 h 39"/>
              </a:gdLst>
              <a:ahLst/>
              <a:cxnLst>
                <a:cxn ang="0">
                  <a:pos x="T0" y="T1"/>
                </a:cxn>
                <a:cxn ang="0">
                  <a:pos x="T2" y="T3"/>
                </a:cxn>
                <a:cxn ang="0">
                  <a:pos x="T4" y="T5"/>
                </a:cxn>
                <a:cxn ang="0">
                  <a:pos x="T6" y="T7"/>
                </a:cxn>
                <a:cxn ang="0">
                  <a:pos x="T8" y="T9"/>
                </a:cxn>
              </a:cxnLst>
              <a:rect l="0" t="0" r="r" b="b"/>
              <a:pathLst>
                <a:path w="85" h="39">
                  <a:moveTo>
                    <a:pt x="85" y="0"/>
                  </a:moveTo>
                  <a:cubicBezTo>
                    <a:pt x="0" y="0"/>
                    <a:pt x="0" y="0"/>
                    <a:pt x="0" y="0"/>
                  </a:cubicBezTo>
                  <a:cubicBezTo>
                    <a:pt x="1" y="19"/>
                    <a:pt x="14" y="34"/>
                    <a:pt x="31" y="39"/>
                  </a:cubicBezTo>
                  <a:cubicBezTo>
                    <a:pt x="54" y="39"/>
                    <a:pt x="54" y="39"/>
                    <a:pt x="54" y="39"/>
                  </a:cubicBezTo>
                  <a:cubicBezTo>
                    <a:pt x="71" y="34"/>
                    <a:pt x="84" y="19"/>
                    <a:pt x="85"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7" name="Oval 63"/>
            <p:cNvSpPr>
              <a:spLocks noChangeArrowheads="1"/>
            </p:cNvSpPr>
            <p:nvPr/>
          </p:nvSpPr>
          <p:spPr bwMode="auto">
            <a:xfrm>
              <a:off x="9932355" y="4570738"/>
              <a:ext cx="372346" cy="372346"/>
            </a:xfrm>
            <a:prstGeom prst="ellipse">
              <a:avLst/>
            </a:pr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8" name="Freeform 64"/>
            <p:cNvSpPr>
              <a:spLocks noEditPoints="1"/>
            </p:cNvSpPr>
            <p:nvPr/>
          </p:nvSpPr>
          <p:spPr bwMode="auto">
            <a:xfrm>
              <a:off x="10026224" y="4673994"/>
              <a:ext cx="187737" cy="159577"/>
            </a:xfrm>
            <a:custGeom>
              <a:avLst/>
              <a:gdLst>
                <a:gd name="T0" fmla="*/ 41 w 43"/>
                <a:gd name="T1" fmla="*/ 34 h 36"/>
                <a:gd name="T2" fmla="*/ 0 w 43"/>
                <a:gd name="T3" fmla="*/ 6 h 36"/>
                <a:gd name="T4" fmla="*/ 0 w 43"/>
                <a:gd name="T5" fmla="*/ 36 h 36"/>
                <a:gd name="T6" fmla="*/ 43 w 43"/>
                <a:gd name="T7" fmla="*/ 0 h 36"/>
                <a:gd name="T8" fmla="*/ 0 w 43"/>
                <a:gd name="T9" fmla="*/ 0 h 36"/>
                <a:gd name="T10" fmla="*/ 25 w 43"/>
                <a:gd name="T11" fmla="*/ 20 h 36"/>
                <a:gd name="T12" fmla="*/ 24 w 43"/>
                <a:gd name="T13" fmla="*/ 18 h 36"/>
                <a:gd name="T14" fmla="*/ 22 w 43"/>
                <a:gd name="T15" fmla="*/ 17 h 36"/>
                <a:gd name="T16" fmla="*/ 20 w 43"/>
                <a:gd name="T17" fmla="*/ 16 h 36"/>
                <a:gd name="T18" fmla="*/ 18 w 43"/>
                <a:gd name="T19" fmla="*/ 16 h 36"/>
                <a:gd name="T20" fmla="*/ 16 w 43"/>
                <a:gd name="T21" fmla="*/ 17 h 36"/>
                <a:gd name="T22" fmla="*/ 15 w 43"/>
                <a:gd name="T23" fmla="*/ 18 h 36"/>
                <a:gd name="T24" fmla="*/ 13 w 43"/>
                <a:gd name="T25" fmla="*/ 20 h 36"/>
                <a:gd name="T26" fmla="*/ 13 w 43"/>
                <a:gd name="T27" fmla="*/ 22 h 36"/>
                <a:gd name="T28" fmla="*/ 14 w 43"/>
                <a:gd name="T29" fmla="*/ 25 h 36"/>
                <a:gd name="T30" fmla="*/ 14 w 43"/>
                <a:gd name="T31" fmla="*/ 26 h 36"/>
                <a:gd name="T32" fmla="*/ 16 w 43"/>
                <a:gd name="T33" fmla="*/ 28 h 36"/>
                <a:gd name="T34" fmla="*/ 18 w 43"/>
                <a:gd name="T35" fmla="*/ 29 h 36"/>
                <a:gd name="T36" fmla="*/ 19 w 43"/>
                <a:gd name="T37" fmla="*/ 27 h 36"/>
                <a:gd name="T38" fmla="*/ 22 w 43"/>
                <a:gd name="T39" fmla="*/ 28 h 36"/>
                <a:gd name="T40" fmla="*/ 22 w 43"/>
                <a:gd name="T41" fmla="*/ 26 h 36"/>
                <a:gd name="T42" fmla="*/ 25 w 43"/>
                <a:gd name="T43" fmla="*/ 25 h 36"/>
                <a:gd name="T44" fmla="*/ 24 w 43"/>
                <a:gd name="T45" fmla="*/ 23 h 36"/>
                <a:gd name="T46" fmla="*/ 22 w 43"/>
                <a:gd name="T47" fmla="*/ 22 h 36"/>
                <a:gd name="T48" fmla="*/ 17 w 43"/>
                <a:gd name="T49" fmla="*/ 24 h 36"/>
                <a:gd name="T50" fmla="*/ 19 w 43"/>
                <a:gd name="T51" fmla="*/ 20 h 36"/>
                <a:gd name="T52" fmla="*/ 18 w 43"/>
                <a:gd name="T53" fmla="*/ 22 h 36"/>
                <a:gd name="T54" fmla="*/ 19 w 43"/>
                <a:gd name="T55" fmla="*/ 24 h 36"/>
                <a:gd name="T56" fmla="*/ 30 w 43"/>
                <a:gd name="T57" fmla="*/ 18 h 36"/>
                <a:gd name="T58" fmla="*/ 30 w 43"/>
                <a:gd name="T59" fmla="*/ 17 h 36"/>
                <a:gd name="T60" fmla="*/ 30 w 43"/>
                <a:gd name="T61" fmla="*/ 16 h 36"/>
                <a:gd name="T62" fmla="*/ 28 w 43"/>
                <a:gd name="T63" fmla="*/ 16 h 36"/>
                <a:gd name="T64" fmla="*/ 27 w 43"/>
                <a:gd name="T65" fmla="*/ 14 h 36"/>
                <a:gd name="T66" fmla="*/ 25 w 43"/>
                <a:gd name="T67" fmla="*/ 16 h 36"/>
                <a:gd name="T68" fmla="*/ 24 w 43"/>
                <a:gd name="T69" fmla="*/ 16 h 36"/>
                <a:gd name="T70" fmla="*/ 24 w 43"/>
                <a:gd name="T71" fmla="*/ 17 h 36"/>
                <a:gd name="T72" fmla="*/ 25 w 43"/>
                <a:gd name="T73" fmla="*/ 18 h 36"/>
                <a:gd name="T74" fmla="*/ 24 w 43"/>
                <a:gd name="T75" fmla="*/ 19 h 36"/>
                <a:gd name="T76" fmla="*/ 25 w 43"/>
                <a:gd name="T77" fmla="*/ 20 h 36"/>
                <a:gd name="T78" fmla="*/ 26 w 43"/>
                <a:gd name="T79" fmla="*/ 21 h 36"/>
                <a:gd name="T80" fmla="*/ 28 w 43"/>
                <a:gd name="T81" fmla="*/ 21 h 36"/>
                <a:gd name="T82" fmla="*/ 30 w 43"/>
                <a:gd name="T83" fmla="*/ 20 h 36"/>
                <a:gd name="T84" fmla="*/ 30 w 43"/>
                <a:gd name="T85" fmla="*/ 19 h 36"/>
                <a:gd name="T86" fmla="*/ 29 w 43"/>
                <a:gd name="T87" fmla="*/ 18 h 36"/>
                <a:gd name="T88" fmla="*/ 26 w 43"/>
                <a:gd name="T89" fmla="*/ 18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3" h="36">
                  <a:moveTo>
                    <a:pt x="2" y="9"/>
                  </a:moveTo>
                  <a:cubicBezTo>
                    <a:pt x="2" y="34"/>
                    <a:pt x="2" y="34"/>
                    <a:pt x="2" y="34"/>
                  </a:cubicBezTo>
                  <a:cubicBezTo>
                    <a:pt x="41" y="34"/>
                    <a:pt x="41" y="34"/>
                    <a:pt x="41" y="34"/>
                  </a:cubicBezTo>
                  <a:cubicBezTo>
                    <a:pt x="41" y="9"/>
                    <a:pt x="41" y="9"/>
                    <a:pt x="41" y="9"/>
                  </a:cubicBezTo>
                  <a:cubicBezTo>
                    <a:pt x="2" y="9"/>
                    <a:pt x="2" y="9"/>
                    <a:pt x="2" y="9"/>
                  </a:cubicBezTo>
                  <a:close/>
                  <a:moveTo>
                    <a:pt x="0" y="6"/>
                  </a:moveTo>
                  <a:cubicBezTo>
                    <a:pt x="43" y="6"/>
                    <a:pt x="43" y="6"/>
                    <a:pt x="43" y="6"/>
                  </a:cubicBezTo>
                  <a:cubicBezTo>
                    <a:pt x="43" y="36"/>
                    <a:pt x="43" y="36"/>
                    <a:pt x="43" y="36"/>
                  </a:cubicBezTo>
                  <a:cubicBezTo>
                    <a:pt x="0" y="36"/>
                    <a:pt x="0" y="36"/>
                    <a:pt x="0" y="36"/>
                  </a:cubicBezTo>
                  <a:cubicBezTo>
                    <a:pt x="0" y="6"/>
                    <a:pt x="0" y="6"/>
                    <a:pt x="0" y="6"/>
                  </a:cubicBezTo>
                  <a:close/>
                  <a:moveTo>
                    <a:pt x="0" y="0"/>
                  </a:moveTo>
                  <a:cubicBezTo>
                    <a:pt x="43" y="0"/>
                    <a:pt x="43" y="0"/>
                    <a:pt x="43" y="0"/>
                  </a:cubicBezTo>
                  <a:cubicBezTo>
                    <a:pt x="43" y="4"/>
                    <a:pt x="43" y="4"/>
                    <a:pt x="43" y="4"/>
                  </a:cubicBezTo>
                  <a:cubicBezTo>
                    <a:pt x="0" y="4"/>
                    <a:pt x="0" y="4"/>
                    <a:pt x="0" y="4"/>
                  </a:cubicBezTo>
                  <a:cubicBezTo>
                    <a:pt x="0" y="0"/>
                    <a:pt x="0" y="0"/>
                    <a:pt x="0" y="0"/>
                  </a:cubicBezTo>
                  <a:close/>
                  <a:moveTo>
                    <a:pt x="26" y="22"/>
                  </a:moveTo>
                  <a:cubicBezTo>
                    <a:pt x="25" y="21"/>
                    <a:pt x="25" y="21"/>
                    <a:pt x="25" y="21"/>
                  </a:cubicBezTo>
                  <a:cubicBezTo>
                    <a:pt x="25" y="20"/>
                    <a:pt x="25" y="20"/>
                    <a:pt x="25" y="20"/>
                  </a:cubicBezTo>
                  <a:cubicBezTo>
                    <a:pt x="23" y="20"/>
                    <a:pt x="23" y="20"/>
                    <a:pt x="23" y="20"/>
                  </a:cubicBezTo>
                  <a:cubicBezTo>
                    <a:pt x="23" y="20"/>
                    <a:pt x="23" y="20"/>
                    <a:pt x="23" y="20"/>
                  </a:cubicBezTo>
                  <a:cubicBezTo>
                    <a:pt x="24" y="18"/>
                    <a:pt x="24" y="18"/>
                    <a:pt x="24" y="18"/>
                  </a:cubicBezTo>
                  <a:cubicBezTo>
                    <a:pt x="24" y="18"/>
                    <a:pt x="24" y="18"/>
                    <a:pt x="24" y="18"/>
                  </a:cubicBezTo>
                  <a:cubicBezTo>
                    <a:pt x="23" y="17"/>
                    <a:pt x="23" y="17"/>
                    <a:pt x="23" y="17"/>
                  </a:cubicBezTo>
                  <a:cubicBezTo>
                    <a:pt x="22" y="17"/>
                    <a:pt x="22" y="17"/>
                    <a:pt x="22" y="17"/>
                  </a:cubicBezTo>
                  <a:cubicBezTo>
                    <a:pt x="21" y="18"/>
                    <a:pt x="21" y="18"/>
                    <a:pt x="21" y="18"/>
                  </a:cubicBezTo>
                  <a:cubicBezTo>
                    <a:pt x="21" y="18"/>
                    <a:pt x="21" y="18"/>
                    <a:pt x="21" y="18"/>
                  </a:cubicBezTo>
                  <a:cubicBezTo>
                    <a:pt x="20" y="16"/>
                    <a:pt x="20" y="16"/>
                    <a:pt x="20" y="16"/>
                  </a:cubicBezTo>
                  <a:cubicBezTo>
                    <a:pt x="20" y="16"/>
                    <a:pt x="20" y="16"/>
                    <a:pt x="20" y="16"/>
                  </a:cubicBezTo>
                  <a:cubicBezTo>
                    <a:pt x="19" y="16"/>
                    <a:pt x="19" y="16"/>
                    <a:pt x="19" y="16"/>
                  </a:cubicBezTo>
                  <a:cubicBezTo>
                    <a:pt x="18" y="16"/>
                    <a:pt x="18" y="16"/>
                    <a:pt x="18" y="16"/>
                  </a:cubicBezTo>
                  <a:cubicBezTo>
                    <a:pt x="18" y="18"/>
                    <a:pt x="18" y="18"/>
                    <a:pt x="18" y="18"/>
                  </a:cubicBezTo>
                  <a:cubicBezTo>
                    <a:pt x="17" y="18"/>
                    <a:pt x="17" y="18"/>
                    <a:pt x="17" y="18"/>
                  </a:cubicBezTo>
                  <a:cubicBezTo>
                    <a:pt x="16" y="17"/>
                    <a:pt x="16" y="17"/>
                    <a:pt x="16" y="17"/>
                  </a:cubicBezTo>
                  <a:cubicBezTo>
                    <a:pt x="16" y="17"/>
                    <a:pt x="16" y="17"/>
                    <a:pt x="16" y="17"/>
                  </a:cubicBezTo>
                  <a:cubicBezTo>
                    <a:pt x="15" y="18"/>
                    <a:pt x="15" y="18"/>
                    <a:pt x="15" y="18"/>
                  </a:cubicBezTo>
                  <a:cubicBezTo>
                    <a:pt x="15" y="18"/>
                    <a:pt x="15" y="18"/>
                    <a:pt x="15" y="18"/>
                  </a:cubicBezTo>
                  <a:cubicBezTo>
                    <a:pt x="15" y="20"/>
                    <a:pt x="15" y="20"/>
                    <a:pt x="15" y="20"/>
                  </a:cubicBezTo>
                  <a:cubicBezTo>
                    <a:pt x="15" y="20"/>
                    <a:pt x="15" y="20"/>
                    <a:pt x="15" y="20"/>
                  </a:cubicBezTo>
                  <a:cubicBezTo>
                    <a:pt x="13" y="20"/>
                    <a:pt x="13" y="20"/>
                    <a:pt x="13" y="20"/>
                  </a:cubicBezTo>
                  <a:cubicBezTo>
                    <a:pt x="13" y="21"/>
                    <a:pt x="13" y="21"/>
                    <a:pt x="13" y="21"/>
                  </a:cubicBezTo>
                  <a:cubicBezTo>
                    <a:pt x="13" y="22"/>
                    <a:pt x="13" y="22"/>
                    <a:pt x="13" y="22"/>
                  </a:cubicBezTo>
                  <a:cubicBezTo>
                    <a:pt x="13" y="22"/>
                    <a:pt x="13" y="22"/>
                    <a:pt x="13" y="22"/>
                  </a:cubicBezTo>
                  <a:cubicBezTo>
                    <a:pt x="15" y="23"/>
                    <a:pt x="15" y="23"/>
                    <a:pt x="15" y="23"/>
                  </a:cubicBezTo>
                  <a:cubicBezTo>
                    <a:pt x="15" y="23"/>
                    <a:pt x="15" y="23"/>
                    <a:pt x="15" y="23"/>
                  </a:cubicBezTo>
                  <a:cubicBezTo>
                    <a:pt x="14" y="25"/>
                    <a:pt x="14" y="25"/>
                    <a:pt x="14" y="25"/>
                  </a:cubicBezTo>
                  <a:cubicBezTo>
                    <a:pt x="13" y="25"/>
                    <a:pt x="13" y="25"/>
                    <a:pt x="13" y="25"/>
                  </a:cubicBezTo>
                  <a:cubicBezTo>
                    <a:pt x="14" y="26"/>
                    <a:pt x="14" y="26"/>
                    <a:pt x="14" y="26"/>
                  </a:cubicBezTo>
                  <a:cubicBezTo>
                    <a:pt x="14" y="26"/>
                    <a:pt x="14" y="26"/>
                    <a:pt x="14" y="26"/>
                  </a:cubicBezTo>
                  <a:cubicBezTo>
                    <a:pt x="16" y="26"/>
                    <a:pt x="16" y="26"/>
                    <a:pt x="16" y="26"/>
                  </a:cubicBezTo>
                  <a:cubicBezTo>
                    <a:pt x="17" y="26"/>
                    <a:pt x="17" y="26"/>
                    <a:pt x="17" y="26"/>
                  </a:cubicBezTo>
                  <a:cubicBezTo>
                    <a:pt x="16" y="28"/>
                    <a:pt x="16" y="28"/>
                    <a:pt x="16" y="28"/>
                  </a:cubicBezTo>
                  <a:cubicBezTo>
                    <a:pt x="17" y="28"/>
                    <a:pt x="17" y="28"/>
                    <a:pt x="17" y="28"/>
                  </a:cubicBezTo>
                  <a:cubicBezTo>
                    <a:pt x="18" y="29"/>
                    <a:pt x="18" y="29"/>
                    <a:pt x="18" y="29"/>
                  </a:cubicBezTo>
                  <a:cubicBezTo>
                    <a:pt x="18" y="29"/>
                    <a:pt x="18" y="29"/>
                    <a:pt x="18" y="29"/>
                  </a:cubicBezTo>
                  <a:cubicBezTo>
                    <a:pt x="19" y="27"/>
                    <a:pt x="19" y="27"/>
                    <a:pt x="19" y="27"/>
                  </a:cubicBezTo>
                  <a:cubicBezTo>
                    <a:pt x="19" y="27"/>
                    <a:pt x="19" y="27"/>
                    <a:pt x="19" y="27"/>
                  </a:cubicBezTo>
                  <a:cubicBezTo>
                    <a:pt x="19" y="27"/>
                    <a:pt x="19" y="27"/>
                    <a:pt x="19" y="27"/>
                  </a:cubicBezTo>
                  <a:cubicBezTo>
                    <a:pt x="20" y="29"/>
                    <a:pt x="20" y="29"/>
                    <a:pt x="20" y="29"/>
                  </a:cubicBezTo>
                  <a:cubicBezTo>
                    <a:pt x="21" y="29"/>
                    <a:pt x="21" y="29"/>
                    <a:pt x="21" y="29"/>
                  </a:cubicBezTo>
                  <a:cubicBezTo>
                    <a:pt x="22" y="28"/>
                    <a:pt x="22" y="28"/>
                    <a:pt x="22" y="28"/>
                  </a:cubicBezTo>
                  <a:cubicBezTo>
                    <a:pt x="22" y="28"/>
                    <a:pt x="22" y="28"/>
                    <a:pt x="22" y="28"/>
                  </a:cubicBezTo>
                  <a:cubicBezTo>
                    <a:pt x="22" y="26"/>
                    <a:pt x="22" y="26"/>
                    <a:pt x="22" y="26"/>
                  </a:cubicBezTo>
                  <a:cubicBezTo>
                    <a:pt x="22" y="26"/>
                    <a:pt x="22" y="26"/>
                    <a:pt x="22" y="26"/>
                  </a:cubicBezTo>
                  <a:cubicBezTo>
                    <a:pt x="24" y="26"/>
                    <a:pt x="24" y="26"/>
                    <a:pt x="24" y="26"/>
                  </a:cubicBezTo>
                  <a:cubicBezTo>
                    <a:pt x="24" y="26"/>
                    <a:pt x="24" y="26"/>
                    <a:pt x="24" y="26"/>
                  </a:cubicBezTo>
                  <a:cubicBezTo>
                    <a:pt x="25" y="25"/>
                    <a:pt x="25" y="25"/>
                    <a:pt x="25" y="25"/>
                  </a:cubicBezTo>
                  <a:cubicBezTo>
                    <a:pt x="25" y="25"/>
                    <a:pt x="25" y="25"/>
                    <a:pt x="25" y="25"/>
                  </a:cubicBezTo>
                  <a:cubicBezTo>
                    <a:pt x="24" y="23"/>
                    <a:pt x="24" y="23"/>
                    <a:pt x="24" y="23"/>
                  </a:cubicBezTo>
                  <a:cubicBezTo>
                    <a:pt x="24" y="23"/>
                    <a:pt x="24" y="23"/>
                    <a:pt x="24" y="23"/>
                  </a:cubicBezTo>
                  <a:cubicBezTo>
                    <a:pt x="25" y="22"/>
                    <a:pt x="25" y="22"/>
                    <a:pt x="25" y="22"/>
                  </a:cubicBezTo>
                  <a:lnTo>
                    <a:pt x="26" y="22"/>
                  </a:lnTo>
                  <a:close/>
                  <a:moveTo>
                    <a:pt x="22" y="22"/>
                  </a:moveTo>
                  <a:cubicBezTo>
                    <a:pt x="22" y="23"/>
                    <a:pt x="21" y="24"/>
                    <a:pt x="21" y="24"/>
                  </a:cubicBezTo>
                  <a:cubicBezTo>
                    <a:pt x="21" y="25"/>
                    <a:pt x="20" y="25"/>
                    <a:pt x="19" y="25"/>
                  </a:cubicBezTo>
                  <a:cubicBezTo>
                    <a:pt x="19" y="25"/>
                    <a:pt x="18" y="25"/>
                    <a:pt x="17" y="24"/>
                  </a:cubicBezTo>
                  <a:cubicBezTo>
                    <a:pt x="17" y="24"/>
                    <a:pt x="17" y="23"/>
                    <a:pt x="17" y="22"/>
                  </a:cubicBezTo>
                  <a:cubicBezTo>
                    <a:pt x="17" y="22"/>
                    <a:pt x="17" y="21"/>
                    <a:pt x="17" y="21"/>
                  </a:cubicBezTo>
                  <a:cubicBezTo>
                    <a:pt x="18" y="20"/>
                    <a:pt x="19" y="20"/>
                    <a:pt x="19" y="20"/>
                  </a:cubicBezTo>
                  <a:cubicBezTo>
                    <a:pt x="20" y="20"/>
                    <a:pt x="21" y="20"/>
                    <a:pt x="21" y="21"/>
                  </a:cubicBezTo>
                  <a:cubicBezTo>
                    <a:pt x="21" y="21"/>
                    <a:pt x="22" y="22"/>
                    <a:pt x="22" y="22"/>
                  </a:cubicBezTo>
                  <a:close/>
                  <a:moveTo>
                    <a:pt x="18" y="22"/>
                  </a:moveTo>
                  <a:cubicBezTo>
                    <a:pt x="18" y="22"/>
                    <a:pt x="19" y="21"/>
                    <a:pt x="19" y="21"/>
                  </a:cubicBezTo>
                  <a:cubicBezTo>
                    <a:pt x="20" y="21"/>
                    <a:pt x="20" y="22"/>
                    <a:pt x="20" y="22"/>
                  </a:cubicBezTo>
                  <a:cubicBezTo>
                    <a:pt x="20" y="23"/>
                    <a:pt x="20" y="24"/>
                    <a:pt x="19" y="24"/>
                  </a:cubicBezTo>
                  <a:cubicBezTo>
                    <a:pt x="19" y="24"/>
                    <a:pt x="18" y="23"/>
                    <a:pt x="18" y="22"/>
                  </a:cubicBezTo>
                  <a:close/>
                  <a:moveTo>
                    <a:pt x="29" y="18"/>
                  </a:moveTo>
                  <a:cubicBezTo>
                    <a:pt x="30" y="18"/>
                    <a:pt x="30" y="18"/>
                    <a:pt x="30" y="18"/>
                  </a:cubicBezTo>
                  <a:cubicBezTo>
                    <a:pt x="29" y="17"/>
                    <a:pt x="29" y="17"/>
                    <a:pt x="29" y="17"/>
                  </a:cubicBezTo>
                  <a:cubicBezTo>
                    <a:pt x="30" y="17"/>
                    <a:pt x="30" y="17"/>
                    <a:pt x="30" y="17"/>
                  </a:cubicBezTo>
                  <a:cubicBezTo>
                    <a:pt x="30" y="17"/>
                    <a:pt x="30" y="17"/>
                    <a:pt x="30" y="17"/>
                  </a:cubicBezTo>
                  <a:cubicBezTo>
                    <a:pt x="30" y="16"/>
                    <a:pt x="30" y="16"/>
                    <a:pt x="30" y="16"/>
                  </a:cubicBezTo>
                  <a:cubicBezTo>
                    <a:pt x="30" y="16"/>
                    <a:pt x="30" y="16"/>
                    <a:pt x="30" y="16"/>
                  </a:cubicBezTo>
                  <a:cubicBezTo>
                    <a:pt x="30" y="16"/>
                    <a:pt x="30" y="16"/>
                    <a:pt x="30" y="16"/>
                  </a:cubicBezTo>
                  <a:cubicBezTo>
                    <a:pt x="30" y="16"/>
                    <a:pt x="30" y="16"/>
                    <a:pt x="30" y="16"/>
                  </a:cubicBezTo>
                  <a:cubicBezTo>
                    <a:pt x="29" y="16"/>
                    <a:pt x="29" y="16"/>
                    <a:pt x="29" y="16"/>
                  </a:cubicBezTo>
                  <a:cubicBezTo>
                    <a:pt x="28" y="16"/>
                    <a:pt x="28" y="16"/>
                    <a:pt x="28" y="16"/>
                  </a:cubicBezTo>
                  <a:cubicBezTo>
                    <a:pt x="28" y="15"/>
                    <a:pt x="28" y="15"/>
                    <a:pt x="28" y="15"/>
                  </a:cubicBezTo>
                  <a:cubicBezTo>
                    <a:pt x="27" y="14"/>
                    <a:pt x="27" y="14"/>
                    <a:pt x="27" y="14"/>
                  </a:cubicBezTo>
                  <a:cubicBezTo>
                    <a:pt x="27" y="14"/>
                    <a:pt x="27" y="14"/>
                    <a:pt x="27" y="14"/>
                  </a:cubicBezTo>
                  <a:cubicBezTo>
                    <a:pt x="26" y="15"/>
                    <a:pt x="26" y="15"/>
                    <a:pt x="26" y="15"/>
                  </a:cubicBezTo>
                  <a:cubicBezTo>
                    <a:pt x="26" y="16"/>
                    <a:pt x="26" y="16"/>
                    <a:pt x="26" y="16"/>
                  </a:cubicBezTo>
                  <a:cubicBezTo>
                    <a:pt x="25" y="16"/>
                    <a:pt x="25" y="16"/>
                    <a:pt x="25" y="16"/>
                  </a:cubicBezTo>
                  <a:cubicBezTo>
                    <a:pt x="25" y="16"/>
                    <a:pt x="25" y="16"/>
                    <a:pt x="25" y="16"/>
                  </a:cubicBezTo>
                  <a:cubicBezTo>
                    <a:pt x="24" y="16"/>
                    <a:pt x="24" y="16"/>
                    <a:pt x="24" y="16"/>
                  </a:cubicBezTo>
                  <a:cubicBezTo>
                    <a:pt x="24" y="16"/>
                    <a:pt x="24" y="16"/>
                    <a:pt x="24" y="16"/>
                  </a:cubicBezTo>
                  <a:cubicBezTo>
                    <a:pt x="24" y="16"/>
                    <a:pt x="24" y="16"/>
                    <a:pt x="24" y="16"/>
                  </a:cubicBezTo>
                  <a:cubicBezTo>
                    <a:pt x="24" y="17"/>
                    <a:pt x="24" y="17"/>
                    <a:pt x="24" y="17"/>
                  </a:cubicBezTo>
                  <a:cubicBezTo>
                    <a:pt x="24" y="17"/>
                    <a:pt x="24" y="17"/>
                    <a:pt x="24" y="17"/>
                  </a:cubicBezTo>
                  <a:cubicBezTo>
                    <a:pt x="25" y="17"/>
                    <a:pt x="25" y="17"/>
                    <a:pt x="25" y="17"/>
                  </a:cubicBezTo>
                  <a:cubicBezTo>
                    <a:pt x="25" y="18"/>
                    <a:pt x="25" y="18"/>
                    <a:pt x="25" y="18"/>
                  </a:cubicBezTo>
                  <a:cubicBezTo>
                    <a:pt x="25" y="18"/>
                    <a:pt x="25" y="18"/>
                    <a:pt x="25" y="18"/>
                  </a:cubicBezTo>
                  <a:cubicBezTo>
                    <a:pt x="24" y="19"/>
                    <a:pt x="24" y="19"/>
                    <a:pt x="24" y="19"/>
                  </a:cubicBezTo>
                  <a:cubicBezTo>
                    <a:pt x="24" y="19"/>
                    <a:pt x="24" y="19"/>
                    <a:pt x="24" y="19"/>
                  </a:cubicBezTo>
                  <a:cubicBezTo>
                    <a:pt x="24" y="19"/>
                    <a:pt x="24" y="19"/>
                    <a:pt x="24" y="19"/>
                  </a:cubicBezTo>
                  <a:cubicBezTo>
                    <a:pt x="24" y="20"/>
                    <a:pt x="24" y="20"/>
                    <a:pt x="24" y="20"/>
                  </a:cubicBezTo>
                  <a:cubicBezTo>
                    <a:pt x="24" y="20"/>
                    <a:pt x="24" y="20"/>
                    <a:pt x="24" y="20"/>
                  </a:cubicBezTo>
                  <a:cubicBezTo>
                    <a:pt x="25" y="20"/>
                    <a:pt x="25" y="20"/>
                    <a:pt x="25" y="20"/>
                  </a:cubicBezTo>
                  <a:cubicBezTo>
                    <a:pt x="25" y="20"/>
                    <a:pt x="25" y="20"/>
                    <a:pt x="25" y="20"/>
                  </a:cubicBezTo>
                  <a:cubicBezTo>
                    <a:pt x="26" y="20"/>
                    <a:pt x="26" y="20"/>
                    <a:pt x="26" y="20"/>
                  </a:cubicBezTo>
                  <a:cubicBezTo>
                    <a:pt x="26" y="21"/>
                    <a:pt x="26" y="21"/>
                    <a:pt x="26" y="21"/>
                  </a:cubicBezTo>
                  <a:cubicBezTo>
                    <a:pt x="27" y="21"/>
                    <a:pt x="27" y="21"/>
                    <a:pt x="27" y="21"/>
                  </a:cubicBezTo>
                  <a:cubicBezTo>
                    <a:pt x="27" y="21"/>
                    <a:pt x="27" y="21"/>
                    <a:pt x="27" y="21"/>
                  </a:cubicBezTo>
                  <a:cubicBezTo>
                    <a:pt x="28" y="21"/>
                    <a:pt x="28" y="21"/>
                    <a:pt x="28" y="21"/>
                  </a:cubicBezTo>
                  <a:cubicBezTo>
                    <a:pt x="28" y="20"/>
                    <a:pt x="28" y="20"/>
                    <a:pt x="28" y="20"/>
                  </a:cubicBezTo>
                  <a:cubicBezTo>
                    <a:pt x="29" y="20"/>
                    <a:pt x="29" y="20"/>
                    <a:pt x="29" y="20"/>
                  </a:cubicBezTo>
                  <a:cubicBezTo>
                    <a:pt x="30" y="20"/>
                    <a:pt x="30" y="20"/>
                    <a:pt x="30" y="20"/>
                  </a:cubicBezTo>
                  <a:cubicBezTo>
                    <a:pt x="30" y="20"/>
                    <a:pt x="30" y="20"/>
                    <a:pt x="30" y="20"/>
                  </a:cubicBezTo>
                  <a:cubicBezTo>
                    <a:pt x="30" y="20"/>
                    <a:pt x="30" y="20"/>
                    <a:pt x="30" y="20"/>
                  </a:cubicBezTo>
                  <a:cubicBezTo>
                    <a:pt x="30" y="19"/>
                    <a:pt x="30" y="19"/>
                    <a:pt x="30" y="19"/>
                  </a:cubicBezTo>
                  <a:cubicBezTo>
                    <a:pt x="30" y="19"/>
                    <a:pt x="30" y="19"/>
                    <a:pt x="30" y="19"/>
                  </a:cubicBezTo>
                  <a:cubicBezTo>
                    <a:pt x="30" y="19"/>
                    <a:pt x="30" y="19"/>
                    <a:pt x="30" y="19"/>
                  </a:cubicBezTo>
                  <a:cubicBezTo>
                    <a:pt x="29" y="18"/>
                    <a:pt x="29" y="18"/>
                    <a:pt x="29" y="18"/>
                  </a:cubicBezTo>
                  <a:close/>
                  <a:moveTo>
                    <a:pt x="28" y="18"/>
                  </a:moveTo>
                  <a:cubicBezTo>
                    <a:pt x="28" y="18"/>
                    <a:pt x="28" y="19"/>
                    <a:pt x="27" y="19"/>
                  </a:cubicBezTo>
                  <a:cubicBezTo>
                    <a:pt x="27" y="19"/>
                    <a:pt x="26" y="18"/>
                    <a:pt x="26" y="18"/>
                  </a:cubicBezTo>
                  <a:cubicBezTo>
                    <a:pt x="26" y="17"/>
                    <a:pt x="27" y="17"/>
                    <a:pt x="27" y="17"/>
                  </a:cubicBezTo>
                  <a:cubicBezTo>
                    <a:pt x="28" y="17"/>
                    <a:pt x="28" y="17"/>
                    <a:pt x="28" y="18"/>
                  </a:cubicBez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9" name="Freeform 65"/>
            <p:cNvSpPr>
              <a:spLocks/>
            </p:cNvSpPr>
            <p:nvPr/>
          </p:nvSpPr>
          <p:spPr bwMode="auto">
            <a:xfrm>
              <a:off x="9829101" y="6119568"/>
              <a:ext cx="428667" cy="128288"/>
            </a:xfrm>
            <a:custGeom>
              <a:avLst/>
              <a:gdLst>
                <a:gd name="T0" fmla="*/ 62 w 98"/>
                <a:gd name="T1" fmla="*/ 0 h 29"/>
                <a:gd name="T2" fmla="*/ 36 w 98"/>
                <a:gd name="T3" fmla="*/ 0 h 29"/>
                <a:gd name="T4" fmla="*/ 0 w 98"/>
                <a:gd name="T5" fmla="*/ 29 h 29"/>
                <a:gd name="T6" fmla="*/ 98 w 98"/>
                <a:gd name="T7" fmla="*/ 29 h 29"/>
                <a:gd name="T8" fmla="*/ 62 w 98"/>
                <a:gd name="T9" fmla="*/ 0 h 29"/>
              </a:gdLst>
              <a:ahLst/>
              <a:cxnLst>
                <a:cxn ang="0">
                  <a:pos x="T0" y="T1"/>
                </a:cxn>
                <a:cxn ang="0">
                  <a:pos x="T2" y="T3"/>
                </a:cxn>
                <a:cxn ang="0">
                  <a:pos x="T4" y="T5"/>
                </a:cxn>
                <a:cxn ang="0">
                  <a:pos x="T6" y="T7"/>
                </a:cxn>
                <a:cxn ang="0">
                  <a:pos x="T8" y="T9"/>
                </a:cxn>
              </a:cxnLst>
              <a:rect l="0" t="0" r="r" b="b"/>
              <a:pathLst>
                <a:path w="98" h="29">
                  <a:moveTo>
                    <a:pt x="62" y="0"/>
                  </a:moveTo>
                  <a:cubicBezTo>
                    <a:pt x="36" y="0"/>
                    <a:pt x="36" y="0"/>
                    <a:pt x="36" y="0"/>
                  </a:cubicBezTo>
                  <a:cubicBezTo>
                    <a:pt x="20" y="4"/>
                    <a:pt x="7" y="15"/>
                    <a:pt x="0" y="29"/>
                  </a:cubicBezTo>
                  <a:cubicBezTo>
                    <a:pt x="98" y="29"/>
                    <a:pt x="98" y="29"/>
                    <a:pt x="98" y="29"/>
                  </a:cubicBezTo>
                  <a:cubicBezTo>
                    <a:pt x="91" y="15"/>
                    <a:pt x="78" y="4"/>
                    <a:pt x="62"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0" name="Freeform 66"/>
            <p:cNvSpPr>
              <a:spLocks/>
            </p:cNvSpPr>
            <p:nvPr/>
          </p:nvSpPr>
          <p:spPr bwMode="auto">
            <a:xfrm>
              <a:off x="9985548" y="6116438"/>
              <a:ext cx="115772" cy="3130"/>
            </a:xfrm>
            <a:custGeom>
              <a:avLst/>
              <a:gdLst>
                <a:gd name="T0" fmla="*/ 13 w 26"/>
                <a:gd name="T1" fmla="*/ 0 h 1"/>
                <a:gd name="T2" fmla="*/ 0 w 26"/>
                <a:gd name="T3" fmla="*/ 1 h 1"/>
                <a:gd name="T4" fmla="*/ 26 w 26"/>
                <a:gd name="T5" fmla="*/ 1 h 1"/>
                <a:gd name="T6" fmla="*/ 13 w 26"/>
                <a:gd name="T7" fmla="*/ 0 h 1"/>
              </a:gdLst>
              <a:ahLst/>
              <a:cxnLst>
                <a:cxn ang="0">
                  <a:pos x="T0" y="T1"/>
                </a:cxn>
                <a:cxn ang="0">
                  <a:pos x="T2" y="T3"/>
                </a:cxn>
                <a:cxn ang="0">
                  <a:pos x="T4" y="T5"/>
                </a:cxn>
                <a:cxn ang="0">
                  <a:pos x="T6" y="T7"/>
                </a:cxn>
              </a:cxnLst>
              <a:rect l="0" t="0" r="r" b="b"/>
              <a:pathLst>
                <a:path w="26" h="1">
                  <a:moveTo>
                    <a:pt x="13" y="0"/>
                  </a:moveTo>
                  <a:cubicBezTo>
                    <a:pt x="8" y="0"/>
                    <a:pt x="4" y="0"/>
                    <a:pt x="0" y="1"/>
                  </a:cubicBezTo>
                  <a:cubicBezTo>
                    <a:pt x="26" y="1"/>
                    <a:pt x="26" y="1"/>
                    <a:pt x="26" y="1"/>
                  </a:cubicBezTo>
                  <a:cubicBezTo>
                    <a:pt x="22" y="0"/>
                    <a:pt x="17" y="0"/>
                    <a:pt x="13"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1" name="Freeform 67"/>
            <p:cNvSpPr>
              <a:spLocks/>
            </p:cNvSpPr>
            <p:nvPr/>
          </p:nvSpPr>
          <p:spPr bwMode="auto">
            <a:xfrm>
              <a:off x="9810327" y="6419947"/>
              <a:ext cx="466214" cy="159577"/>
            </a:xfrm>
            <a:custGeom>
              <a:avLst/>
              <a:gdLst>
                <a:gd name="T0" fmla="*/ 106 w 106"/>
                <a:gd name="T1" fmla="*/ 0 h 37"/>
                <a:gd name="T2" fmla="*/ 0 w 106"/>
                <a:gd name="T3" fmla="*/ 0 h 37"/>
                <a:gd name="T4" fmla="*/ 32 w 106"/>
                <a:gd name="T5" fmla="*/ 36 h 37"/>
                <a:gd name="T6" fmla="*/ 32 w 106"/>
                <a:gd name="T7" fmla="*/ 24 h 37"/>
                <a:gd name="T8" fmla="*/ 71 w 106"/>
                <a:gd name="T9" fmla="*/ 24 h 37"/>
                <a:gd name="T10" fmla="*/ 71 w 106"/>
                <a:gd name="T11" fmla="*/ 37 h 37"/>
                <a:gd name="T12" fmla="*/ 106 w 106"/>
                <a:gd name="T13" fmla="*/ 0 h 37"/>
              </a:gdLst>
              <a:ahLst/>
              <a:cxnLst>
                <a:cxn ang="0">
                  <a:pos x="T0" y="T1"/>
                </a:cxn>
                <a:cxn ang="0">
                  <a:pos x="T2" y="T3"/>
                </a:cxn>
                <a:cxn ang="0">
                  <a:pos x="T4" y="T5"/>
                </a:cxn>
                <a:cxn ang="0">
                  <a:pos x="T6" y="T7"/>
                </a:cxn>
                <a:cxn ang="0">
                  <a:pos x="T8" y="T9"/>
                </a:cxn>
                <a:cxn ang="0">
                  <a:pos x="T10" y="T11"/>
                </a:cxn>
                <a:cxn ang="0">
                  <a:pos x="T12" y="T13"/>
                </a:cxn>
              </a:cxnLst>
              <a:rect l="0" t="0" r="r" b="b"/>
              <a:pathLst>
                <a:path w="106" h="37">
                  <a:moveTo>
                    <a:pt x="106" y="0"/>
                  </a:moveTo>
                  <a:cubicBezTo>
                    <a:pt x="0" y="0"/>
                    <a:pt x="0" y="0"/>
                    <a:pt x="0" y="0"/>
                  </a:cubicBezTo>
                  <a:cubicBezTo>
                    <a:pt x="4" y="16"/>
                    <a:pt x="16" y="30"/>
                    <a:pt x="32" y="36"/>
                  </a:cubicBezTo>
                  <a:cubicBezTo>
                    <a:pt x="32" y="24"/>
                    <a:pt x="32" y="24"/>
                    <a:pt x="32" y="24"/>
                  </a:cubicBezTo>
                  <a:cubicBezTo>
                    <a:pt x="71" y="24"/>
                    <a:pt x="71" y="24"/>
                    <a:pt x="71" y="24"/>
                  </a:cubicBezTo>
                  <a:cubicBezTo>
                    <a:pt x="71" y="37"/>
                    <a:pt x="71" y="37"/>
                    <a:pt x="71" y="37"/>
                  </a:cubicBezTo>
                  <a:cubicBezTo>
                    <a:pt x="88" y="31"/>
                    <a:pt x="101" y="17"/>
                    <a:pt x="106"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2" name="Freeform 68"/>
            <p:cNvSpPr>
              <a:spLocks/>
            </p:cNvSpPr>
            <p:nvPr/>
          </p:nvSpPr>
          <p:spPr bwMode="auto">
            <a:xfrm>
              <a:off x="9951129" y="6523202"/>
              <a:ext cx="172093" cy="71967"/>
            </a:xfrm>
            <a:custGeom>
              <a:avLst/>
              <a:gdLst>
                <a:gd name="T0" fmla="*/ 39 w 39"/>
                <a:gd name="T1" fmla="*/ 0 h 16"/>
                <a:gd name="T2" fmla="*/ 0 w 39"/>
                <a:gd name="T3" fmla="*/ 0 h 16"/>
                <a:gd name="T4" fmla="*/ 0 w 39"/>
                <a:gd name="T5" fmla="*/ 12 h 16"/>
                <a:gd name="T6" fmla="*/ 21 w 39"/>
                <a:gd name="T7" fmla="*/ 16 h 16"/>
                <a:gd name="T8" fmla="*/ 39 w 39"/>
                <a:gd name="T9" fmla="*/ 13 h 16"/>
                <a:gd name="T10" fmla="*/ 39 w 39"/>
                <a:gd name="T11" fmla="*/ 0 h 16"/>
              </a:gdLst>
              <a:ahLst/>
              <a:cxnLst>
                <a:cxn ang="0">
                  <a:pos x="T0" y="T1"/>
                </a:cxn>
                <a:cxn ang="0">
                  <a:pos x="T2" y="T3"/>
                </a:cxn>
                <a:cxn ang="0">
                  <a:pos x="T4" y="T5"/>
                </a:cxn>
                <a:cxn ang="0">
                  <a:pos x="T6" y="T7"/>
                </a:cxn>
                <a:cxn ang="0">
                  <a:pos x="T8" y="T9"/>
                </a:cxn>
                <a:cxn ang="0">
                  <a:pos x="T10" y="T11"/>
                </a:cxn>
              </a:cxnLst>
              <a:rect l="0" t="0" r="r" b="b"/>
              <a:pathLst>
                <a:path w="39" h="16">
                  <a:moveTo>
                    <a:pt x="39" y="0"/>
                  </a:moveTo>
                  <a:cubicBezTo>
                    <a:pt x="0" y="0"/>
                    <a:pt x="0" y="0"/>
                    <a:pt x="0" y="0"/>
                  </a:cubicBezTo>
                  <a:cubicBezTo>
                    <a:pt x="0" y="12"/>
                    <a:pt x="0" y="12"/>
                    <a:pt x="0" y="12"/>
                  </a:cubicBezTo>
                  <a:cubicBezTo>
                    <a:pt x="7" y="15"/>
                    <a:pt x="14" y="16"/>
                    <a:pt x="21" y="16"/>
                  </a:cubicBezTo>
                  <a:cubicBezTo>
                    <a:pt x="27" y="16"/>
                    <a:pt x="34" y="15"/>
                    <a:pt x="39" y="13"/>
                  </a:cubicBezTo>
                  <a:cubicBezTo>
                    <a:pt x="39" y="0"/>
                    <a:pt x="39" y="0"/>
                    <a:pt x="39"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3" name="Freeform 69"/>
            <p:cNvSpPr>
              <a:spLocks/>
            </p:cNvSpPr>
            <p:nvPr/>
          </p:nvSpPr>
          <p:spPr bwMode="auto">
            <a:xfrm>
              <a:off x="9800939" y="6247854"/>
              <a:ext cx="481858" cy="172093"/>
            </a:xfrm>
            <a:custGeom>
              <a:avLst/>
              <a:gdLst>
                <a:gd name="T0" fmla="*/ 104 w 110"/>
                <a:gd name="T1" fmla="*/ 0 h 39"/>
                <a:gd name="T2" fmla="*/ 6 w 110"/>
                <a:gd name="T3" fmla="*/ 0 h 39"/>
                <a:gd name="T4" fmla="*/ 0 w 110"/>
                <a:gd name="T5" fmla="*/ 25 h 39"/>
                <a:gd name="T6" fmla="*/ 2 w 110"/>
                <a:gd name="T7" fmla="*/ 39 h 39"/>
                <a:gd name="T8" fmla="*/ 108 w 110"/>
                <a:gd name="T9" fmla="*/ 39 h 39"/>
                <a:gd name="T10" fmla="*/ 110 w 110"/>
                <a:gd name="T11" fmla="*/ 25 h 39"/>
                <a:gd name="T12" fmla="*/ 104 w 110"/>
                <a:gd name="T13" fmla="*/ 0 h 39"/>
              </a:gdLst>
              <a:ahLst/>
              <a:cxnLst>
                <a:cxn ang="0">
                  <a:pos x="T0" y="T1"/>
                </a:cxn>
                <a:cxn ang="0">
                  <a:pos x="T2" y="T3"/>
                </a:cxn>
                <a:cxn ang="0">
                  <a:pos x="T4" y="T5"/>
                </a:cxn>
                <a:cxn ang="0">
                  <a:pos x="T6" y="T7"/>
                </a:cxn>
                <a:cxn ang="0">
                  <a:pos x="T8" y="T9"/>
                </a:cxn>
                <a:cxn ang="0">
                  <a:pos x="T10" y="T11"/>
                </a:cxn>
                <a:cxn ang="0">
                  <a:pos x="T12" y="T13"/>
                </a:cxn>
              </a:cxnLst>
              <a:rect l="0" t="0" r="r" b="b"/>
              <a:pathLst>
                <a:path w="110" h="39">
                  <a:moveTo>
                    <a:pt x="104" y="0"/>
                  </a:moveTo>
                  <a:cubicBezTo>
                    <a:pt x="6" y="0"/>
                    <a:pt x="6" y="0"/>
                    <a:pt x="6" y="0"/>
                  </a:cubicBezTo>
                  <a:cubicBezTo>
                    <a:pt x="2" y="7"/>
                    <a:pt x="0" y="16"/>
                    <a:pt x="0" y="25"/>
                  </a:cubicBezTo>
                  <a:cubicBezTo>
                    <a:pt x="0" y="29"/>
                    <a:pt x="1" y="34"/>
                    <a:pt x="2" y="39"/>
                  </a:cubicBezTo>
                  <a:cubicBezTo>
                    <a:pt x="108" y="39"/>
                    <a:pt x="108" y="39"/>
                    <a:pt x="108" y="39"/>
                  </a:cubicBezTo>
                  <a:cubicBezTo>
                    <a:pt x="109" y="34"/>
                    <a:pt x="110" y="29"/>
                    <a:pt x="110" y="25"/>
                  </a:cubicBezTo>
                  <a:cubicBezTo>
                    <a:pt x="110" y="16"/>
                    <a:pt x="108" y="7"/>
                    <a:pt x="104"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4" name="Oval 70"/>
            <p:cNvSpPr>
              <a:spLocks noChangeArrowheads="1"/>
            </p:cNvSpPr>
            <p:nvPr/>
          </p:nvSpPr>
          <p:spPr bwMode="auto">
            <a:xfrm>
              <a:off x="9713329" y="6025700"/>
              <a:ext cx="478730" cy="481858"/>
            </a:xfrm>
            <a:prstGeom prst="ellipse">
              <a:avLst/>
            </a:pr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5" name="Freeform 71"/>
            <p:cNvSpPr>
              <a:spLocks noEditPoints="1"/>
            </p:cNvSpPr>
            <p:nvPr/>
          </p:nvSpPr>
          <p:spPr bwMode="auto">
            <a:xfrm>
              <a:off x="9832229" y="6163374"/>
              <a:ext cx="240930" cy="203383"/>
            </a:xfrm>
            <a:custGeom>
              <a:avLst/>
              <a:gdLst>
                <a:gd name="T0" fmla="*/ 52 w 55"/>
                <a:gd name="T1" fmla="*/ 44 h 46"/>
                <a:gd name="T2" fmla="*/ 0 w 55"/>
                <a:gd name="T3" fmla="*/ 8 h 46"/>
                <a:gd name="T4" fmla="*/ 0 w 55"/>
                <a:gd name="T5" fmla="*/ 46 h 46"/>
                <a:gd name="T6" fmla="*/ 55 w 55"/>
                <a:gd name="T7" fmla="*/ 0 h 46"/>
                <a:gd name="T8" fmla="*/ 0 w 55"/>
                <a:gd name="T9" fmla="*/ 0 h 46"/>
                <a:gd name="T10" fmla="*/ 32 w 55"/>
                <a:gd name="T11" fmla="*/ 26 h 46"/>
                <a:gd name="T12" fmla="*/ 30 w 55"/>
                <a:gd name="T13" fmla="*/ 23 h 46"/>
                <a:gd name="T14" fmla="*/ 29 w 55"/>
                <a:gd name="T15" fmla="*/ 22 h 46"/>
                <a:gd name="T16" fmla="*/ 26 w 55"/>
                <a:gd name="T17" fmla="*/ 20 h 46"/>
                <a:gd name="T18" fmla="*/ 23 w 55"/>
                <a:gd name="T19" fmla="*/ 20 h 46"/>
                <a:gd name="T20" fmla="*/ 20 w 55"/>
                <a:gd name="T21" fmla="*/ 22 h 46"/>
                <a:gd name="T22" fmla="*/ 18 w 55"/>
                <a:gd name="T23" fmla="*/ 23 h 46"/>
                <a:gd name="T24" fmla="*/ 17 w 55"/>
                <a:gd name="T25" fmla="*/ 26 h 46"/>
                <a:gd name="T26" fmla="*/ 16 w 55"/>
                <a:gd name="T27" fmla="*/ 28 h 46"/>
                <a:gd name="T28" fmla="*/ 17 w 55"/>
                <a:gd name="T29" fmla="*/ 31 h 46"/>
                <a:gd name="T30" fmla="*/ 18 w 55"/>
                <a:gd name="T31" fmla="*/ 33 h 46"/>
                <a:gd name="T32" fmla="*/ 21 w 55"/>
                <a:gd name="T33" fmla="*/ 36 h 46"/>
                <a:gd name="T34" fmla="*/ 23 w 55"/>
                <a:gd name="T35" fmla="*/ 36 h 46"/>
                <a:gd name="T36" fmla="*/ 25 w 55"/>
                <a:gd name="T37" fmla="*/ 34 h 46"/>
                <a:gd name="T38" fmla="*/ 28 w 55"/>
                <a:gd name="T39" fmla="*/ 36 h 46"/>
                <a:gd name="T40" fmla="*/ 28 w 55"/>
                <a:gd name="T41" fmla="*/ 33 h 46"/>
                <a:gd name="T42" fmla="*/ 32 w 55"/>
                <a:gd name="T43" fmla="*/ 32 h 46"/>
                <a:gd name="T44" fmla="*/ 30 w 55"/>
                <a:gd name="T45" fmla="*/ 29 h 46"/>
                <a:gd name="T46" fmla="*/ 28 w 55"/>
                <a:gd name="T47" fmla="*/ 29 h 46"/>
                <a:gd name="T48" fmla="*/ 22 w 55"/>
                <a:gd name="T49" fmla="*/ 31 h 46"/>
                <a:gd name="T50" fmla="*/ 24 w 55"/>
                <a:gd name="T51" fmla="*/ 25 h 46"/>
                <a:gd name="T52" fmla="*/ 23 w 55"/>
                <a:gd name="T53" fmla="*/ 29 h 46"/>
                <a:gd name="T54" fmla="*/ 24 w 55"/>
                <a:gd name="T55" fmla="*/ 30 h 46"/>
                <a:gd name="T56" fmla="*/ 38 w 55"/>
                <a:gd name="T57" fmla="*/ 23 h 46"/>
                <a:gd name="T58" fmla="*/ 39 w 55"/>
                <a:gd name="T59" fmla="*/ 21 h 46"/>
                <a:gd name="T60" fmla="*/ 38 w 55"/>
                <a:gd name="T61" fmla="*/ 20 h 46"/>
                <a:gd name="T62" fmla="*/ 36 w 55"/>
                <a:gd name="T63" fmla="*/ 20 h 46"/>
                <a:gd name="T64" fmla="*/ 34 w 55"/>
                <a:gd name="T65" fmla="*/ 18 h 46"/>
                <a:gd name="T66" fmla="*/ 32 w 55"/>
                <a:gd name="T67" fmla="*/ 20 h 46"/>
                <a:gd name="T68" fmla="*/ 31 w 55"/>
                <a:gd name="T69" fmla="*/ 20 h 46"/>
                <a:gd name="T70" fmla="*/ 30 w 55"/>
                <a:gd name="T71" fmla="*/ 21 h 46"/>
                <a:gd name="T72" fmla="*/ 31 w 55"/>
                <a:gd name="T73" fmla="*/ 23 h 46"/>
                <a:gd name="T74" fmla="*/ 30 w 55"/>
                <a:gd name="T75" fmla="*/ 25 h 46"/>
                <a:gd name="T76" fmla="*/ 31 w 55"/>
                <a:gd name="T77" fmla="*/ 25 h 46"/>
                <a:gd name="T78" fmla="*/ 34 w 55"/>
                <a:gd name="T79" fmla="*/ 27 h 46"/>
                <a:gd name="T80" fmla="*/ 35 w 55"/>
                <a:gd name="T81" fmla="*/ 27 h 46"/>
                <a:gd name="T82" fmla="*/ 38 w 55"/>
                <a:gd name="T83" fmla="*/ 25 h 46"/>
                <a:gd name="T84" fmla="*/ 39 w 55"/>
                <a:gd name="T85" fmla="*/ 25 h 46"/>
                <a:gd name="T86" fmla="*/ 38 w 55"/>
                <a:gd name="T87" fmla="*/ 23 h 46"/>
                <a:gd name="T88" fmla="*/ 33 w 55"/>
                <a:gd name="T89" fmla="*/ 23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5" h="46">
                  <a:moveTo>
                    <a:pt x="3" y="11"/>
                  </a:moveTo>
                  <a:cubicBezTo>
                    <a:pt x="3" y="44"/>
                    <a:pt x="3" y="44"/>
                    <a:pt x="3" y="44"/>
                  </a:cubicBezTo>
                  <a:cubicBezTo>
                    <a:pt x="52" y="44"/>
                    <a:pt x="52" y="44"/>
                    <a:pt x="52" y="44"/>
                  </a:cubicBezTo>
                  <a:cubicBezTo>
                    <a:pt x="52" y="11"/>
                    <a:pt x="52" y="11"/>
                    <a:pt x="52" y="11"/>
                  </a:cubicBezTo>
                  <a:cubicBezTo>
                    <a:pt x="3" y="11"/>
                    <a:pt x="3" y="11"/>
                    <a:pt x="3" y="11"/>
                  </a:cubicBezTo>
                  <a:close/>
                  <a:moveTo>
                    <a:pt x="0" y="8"/>
                  </a:moveTo>
                  <a:cubicBezTo>
                    <a:pt x="55" y="8"/>
                    <a:pt x="55" y="8"/>
                    <a:pt x="55" y="8"/>
                  </a:cubicBezTo>
                  <a:cubicBezTo>
                    <a:pt x="55" y="46"/>
                    <a:pt x="55" y="46"/>
                    <a:pt x="55" y="46"/>
                  </a:cubicBezTo>
                  <a:cubicBezTo>
                    <a:pt x="0" y="46"/>
                    <a:pt x="0" y="46"/>
                    <a:pt x="0" y="46"/>
                  </a:cubicBezTo>
                  <a:cubicBezTo>
                    <a:pt x="0" y="8"/>
                    <a:pt x="0" y="8"/>
                    <a:pt x="0" y="8"/>
                  </a:cubicBezTo>
                  <a:close/>
                  <a:moveTo>
                    <a:pt x="0" y="0"/>
                  </a:moveTo>
                  <a:cubicBezTo>
                    <a:pt x="55" y="0"/>
                    <a:pt x="55" y="0"/>
                    <a:pt x="55" y="0"/>
                  </a:cubicBezTo>
                  <a:cubicBezTo>
                    <a:pt x="55" y="5"/>
                    <a:pt x="55" y="5"/>
                    <a:pt x="55" y="5"/>
                  </a:cubicBezTo>
                  <a:cubicBezTo>
                    <a:pt x="0" y="5"/>
                    <a:pt x="0" y="5"/>
                    <a:pt x="0" y="5"/>
                  </a:cubicBezTo>
                  <a:cubicBezTo>
                    <a:pt x="0" y="0"/>
                    <a:pt x="0" y="0"/>
                    <a:pt x="0" y="0"/>
                  </a:cubicBezTo>
                  <a:close/>
                  <a:moveTo>
                    <a:pt x="33" y="28"/>
                  </a:moveTo>
                  <a:cubicBezTo>
                    <a:pt x="32" y="26"/>
                    <a:pt x="32" y="26"/>
                    <a:pt x="32" y="26"/>
                  </a:cubicBezTo>
                  <a:cubicBezTo>
                    <a:pt x="32" y="26"/>
                    <a:pt x="32" y="26"/>
                    <a:pt x="32" y="26"/>
                  </a:cubicBezTo>
                  <a:cubicBezTo>
                    <a:pt x="30" y="26"/>
                    <a:pt x="30" y="26"/>
                    <a:pt x="30" y="26"/>
                  </a:cubicBezTo>
                  <a:cubicBezTo>
                    <a:pt x="29" y="25"/>
                    <a:pt x="29" y="25"/>
                    <a:pt x="29" y="25"/>
                  </a:cubicBezTo>
                  <a:cubicBezTo>
                    <a:pt x="30" y="23"/>
                    <a:pt x="30" y="23"/>
                    <a:pt x="30" y="23"/>
                  </a:cubicBezTo>
                  <a:cubicBezTo>
                    <a:pt x="30" y="23"/>
                    <a:pt x="30" y="23"/>
                    <a:pt x="30" y="23"/>
                  </a:cubicBezTo>
                  <a:cubicBezTo>
                    <a:pt x="29" y="22"/>
                    <a:pt x="29" y="22"/>
                    <a:pt x="29" y="22"/>
                  </a:cubicBezTo>
                  <a:cubicBezTo>
                    <a:pt x="29" y="22"/>
                    <a:pt x="29" y="22"/>
                    <a:pt x="29" y="22"/>
                  </a:cubicBezTo>
                  <a:cubicBezTo>
                    <a:pt x="27" y="23"/>
                    <a:pt x="27" y="23"/>
                    <a:pt x="27" y="23"/>
                  </a:cubicBezTo>
                  <a:cubicBezTo>
                    <a:pt x="26" y="23"/>
                    <a:pt x="26" y="23"/>
                    <a:pt x="26" y="23"/>
                  </a:cubicBezTo>
                  <a:cubicBezTo>
                    <a:pt x="26" y="20"/>
                    <a:pt x="26" y="20"/>
                    <a:pt x="26" y="20"/>
                  </a:cubicBezTo>
                  <a:cubicBezTo>
                    <a:pt x="25" y="20"/>
                    <a:pt x="25" y="20"/>
                    <a:pt x="25" y="20"/>
                  </a:cubicBezTo>
                  <a:cubicBezTo>
                    <a:pt x="24" y="20"/>
                    <a:pt x="24" y="20"/>
                    <a:pt x="24" y="20"/>
                  </a:cubicBezTo>
                  <a:cubicBezTo>
                    <a:pt x="23" y="20"/>
                    <a:pt x="23" y="20"/>
                    <a:pt x="23" y="20"/>
                  </a:cubicBezTo>
                  <a:cubicBezTo>
                    <a:pt x="23" y="23"/>
                    <a:pt x="23" y="23"/>
                    <a:pt x="23" y="23"/>
                  </a:cubicBezTo>
                  <a:cubicBezTo>
                    <a:pt x="22" y="23"/>
                    <a:pt x="22" y="23"/>
                    <a:pt x="22" y="23"/>
                  </a:cubicBezTo>
                  <a:cubicBezTo>
                    <a:pt x="20" y="22"/>
                    <a:pt x="20" y="22"/>
                    <a:pt x="20" y="22"/>
                  </a:cubicBezTo>
                  <a:cubicBezTo>
                    <a:pt x="20" y="22"/>
                    <a:pt x="20" y="22"/>
                    <a:pt x="20" y="22"/>
                  </a:cubicBezTo>
                  <a:cubicBezTo>
                    <a:pt x="19" y="23"/>
                    <a:pt x="19" y="23"/>
                    <a:pt x="19" y="23"/>
                  </a:cubicBezTo>
                  <a:cubicBezTo>
                    <a:pt x="18" y="23"/>
                    <a:pt x="18" y="23"/>
                    <a:pt x="18" y="23"/>
                  </a:cubicBezTo>
                  <a:cubicBezTo>
                    <a:pt x="19" y="25"/>
                    <a:pt x="19" y="25"/>
                    <a:pt x="19" y="25"/>
                  </a:cubicBezTo>
                  <a:cubicBezTo>
                    <a:pt x="19" y="26"/>
                    <a:pt x="19" y="26"/>
                    <a:pt x="19" y="26"/>
                  </a:cubicBezTo>
                  <a:cubicBezTo>
                    <a:pt x="17" y="26"/>
                    <a:pt x="17" y="26"/>
                    <a:pt x="17" y="26"/>
                  </a:cubicBezTo>
                  <a:cubicBezTo>
                    <a:pt x="16" y="26"/>
                    <a:pt x="16" y="26"/>
                    <a:pt x="16" y="26"/>
                  </a:cubicBezTo>
                  <a:cubicBezTo>
                    <a:pt x="16" y="28"/>
                    <a:pt x="16" y="28"/>
                    <a:pt x="16" y="28"/>
                  </a:cubicBezTo>
                  <a:cubicBezTo>
                    <a:pt x="16" y="28"/>
                    <a:pt x="16" y="28"/>
                    <a:pt x="16" y="28"/>
                  </a:cubicBezTo>
                  <a:cubicBezTo>
                    <a:pt x="19" y="29"/>
                    <a:pt x="19" y="29"/>
                    <a:pt x="19" y="29"/>
                  </a:cubicBezTo>
                  <a:cubicBezTo>
                    <a:pt x="19" y="30"/>
                    <a:pt x="19" y="30"/>
                    <a:pt x="19" y="30"/>
                  </a:cubicBezTo>
                  <a:cubicBezTo>
                    <a:pt x="17" y="31"/>
                    <a:pt x="17" y="31"/>
                    <a:pt x="17" y="31"/>
                  </a:cubicBezTo>
                  <a:cubicBezTo>
                    <a:pt x="17" y="32"/>
                    <a:pt x="17" y="32"/>
                    <a:pt x="17" y="32"/>
                  </a:cubicBezTo>
                  <a:cubicBezTo>
                    <a:pt x="18" y="33"/>
                    <a:pt x="18" y="33"/>
                    <a:pt x="18" y="33"/>
                  </a:cubicBezTo>
                  <a:cubicBezTo>
                    <a:pt x="18" y="33"/>
                    <a:pt x="18" y="33"/>
                    <a:pt x="18" y="33"/>
                  </a:cubicBezTo>
                  <a:cubicBezTo>
                    <a:pt x="20" y="33"/>
                    <a:pt x="20" y="33"/>
                    <a:pt x="20" y="33"/>
                  </a:cubicBezTo>
                  <a:cubicBezTo>
                    <a:pt x="21" y="33"/>
                    <a:pt x="21" y="33"/>
                    <a:pt x="21" y="33"/>
                  </a:cubicBezTo>
                  <a:cubicBezTo>
                    <a:pt x="21" y="36"/>
                    <a:pt x="21" y="36"/>
                    <a:pt x="21" y="36"/>
                  </a:cubicBezTo>
                  <a:cubicBezTo>
                    <a:pt x="21" y="36"/>
                    <a:pt x="21" y="36"/>
                    <a:pt x="21" y="36"/>
                  </a:cubicBezTo>
                  <a:cubicBezTo>
                    <a:pt x="22" y="37"/>
                    <a:pt x="22" y="37"/>
                    <a:pt x="22" y="37"/>
                  </a:cubicBezTo>
                  <a:cubicBezTo>
                    <a:pt x="23" y="36"/>
                    <a:pt x="23" y="36"/>
                    <a:pt x="23" y="36"/>
                  </a:cubicBezTo>
                  <a:cubicBezTo>
                    <a:pt x="24" y="34"/>
                    <a:pt x="24" y="34"/>
                    <a:pt x="24" y="34"/>
                  </a:cubicBezTo>
                  <a:cubicBezTo>
                    <a:pt x="24" y="34"/>
                    <a:pt x="24" y="34"/>
                    <a:pt x="24" y="34"/>
                  </a:cubicBezTo>
                  <a:cubicBezTo>
                    <a:pt x="25" y="34"/>
                    <a:pt x="25" y="34"/>
                    <a:pt x="25" y="34"/>
                  </a:cubicBezTo>
                  <a:cubicBezTo>
                    <a:pt x="26" y="36"/>
                    <a:pt x="26" y="36"/>
                    <a:pt x="26" y="36"/>
                  </a:cubicBezTo>
                  <a:cubicBezTo>
                    <a:pt x="26" y="37"/>
                    <a:pt x="26" y="37"/>
                    <a:pt x="26" y="37"/>
                  </a:cubicBezTo>
                  <a:cubicBezTo>
                    <a:pt x="28" y="36"/>
                    <a:pt x="28" y="36"/>
                    <a:pt x="28" y="36"/>
                  </a:cubicBezTo>
                  <a:cubicBezTo>
                    <a:pt x="28" y="36"/>
                    <a:pt x="28" y="36"/>
                    <a:pt x="28" y="36"/>
                  </a:cubicBezTo>
                  <a:cubicBezTo>
                    <a:pt x="28" y="33"/>
                    <a:pt x="28" y="33"/>
                    <a:pt x="28" y="33"/>
                  </a:cubicBezTo>
                  <a:cubicBezTo>
                    <a:pt x="28" y="33"/>
                    <a:pt x="28" y="33"/>
                    <a:pt x="28" y="33"/>
                  </a:cubicBezTo>
                  <a:cubicBezTo>
                    <a:pt x="31" y="33"/>
                    <a:pt x="31" y="33"/>
                    <a:pt x="31" y="33"/>
                  </a:cubicBezTo>
                  <a:cubicBezTo>
                    <a:pt x="31" y="33"/>
                    <a:pt x="31" y="33"/>
                    <a:pt x="31" y="33"/>
                  </a:cubicBezTo>
                  <a:cubicBezTo>
                    <a:pt x="32" y="32"/>
                    <a:pt x="32" y="32"/>
                    <a:pt x="32" y="32"/>
                  </a:cubicBezTo>
                  <a:cubicBezTo>
                    <a:pt x="32" y="31"/>
                    <a:pt x="32" y="31"/>
                    <a:pt x="32" y="31"/>
                  </a:cubicBezTo>
                  <a:cubicBezTo>
                    <a:pt x="30" y="30"/>
                    <a:pt x="30" y="30"/>
                    <a:pt x="30" y="30"/>
                  </a:cubicBezTo>
                  <a:cubicBezTo>
                    <a:pt x="30" y="29"/>
                    <a:pt x="30" y="29"/>
                    <a:pt x="30" y="29"/>
                  </a:cubicBezTo>
                  <a:cubicBezTo>
                    <a:pt x="32" y="28"/>
                    <a:pt x="32" y="28"/>
                    <a:pt x="32" y="28"/>
                  </a:cubicBezTo>
                  <a:lnTo>
                    <a:pt x="33" y="28"/>
                  </a:lnTo>
                  <a:close/>
                  <a:moveTo>
                    <a:pt x="28" y="29"/>
                  </a:moveTo>
                  <a:cubicBezTo>
                    <a:pt x="28" y="29"/>
                    <a:pt x="27" y="30"/>
                    <a:pt x="27" y="31"/>
                  </a:cubicBezTo>
                  <a:cubicBezTo>
                    <a:pt x="26" y="31"/>
                    <a:pt x="25" y="32"/>
                    <a:pt x="24" y="32"/>
                  </a:cubicBezTo>
                  <a:cubicBezTo>
                    <a:pt x="23" y="32"/>
                    <a:pt x="23" y="31"/>
                    <a:pt x="22" y="31"/>
                  </a:cubicBezTo>
                  <a:cubicBezTo>
                    <a:pt x="22" y="30"/>
                    <a:pt x="21" y="29"/>
                    <a:pt x="21" y="29"/>
                  </a:cubicBezTo>
                  <a:cubicBezTo>
                    <a:pt x="21" y="28"/>
                    <a:pt x="22" y="27"/>
                    <a:pt x="22" y="26"/>
                  </a:cubicBezTo>
                  <a:cubicBezTo>
                    <a:pt x="23" y="26"/>
                    <a:pt x="23" y="25"/>
                    <a:pt x="24" y="25"/>
                  </a:cubicBezTo>
                  <a:cubicBezTo>
                    <a:pt x="25" y="25"/>
                    <a:pt x="26" y="26"/>
                    <a:pt x="27" y="26"/>
                  </a:cubicBezTo>
                  <a:cubicBezTo>
                    <a:pt x="27" y="27"/>
                    <a:pt x="28" y="28"/>
                    <a:pt x="28" y="29"/>
                  </a:cubicBezTo>
                  <a:close/>
                  <a:moveTo>
                    <a:pt x="23" y="29"/>
                  </a:moveTo>
                  <a:cubicBezTo>
                    <a:pt x="23" y="28"/>
                    <a:pt x="24" y="27"/>
                    <a:pt x="24" y="27"/>
                  </a:cubicBezTo>
                  <a:cubicBezTo>
                    <a:pt x="25" y="27"/>
                    <a:pt x="26" y="28"/>
                    <a:pt x="26" y="29"/>
                  </a:cubicBezTo>
                  <a:cubicBezTo>
                    <a:pt x="26" y="29"/>
                    <a:pt x="25" y="30"/>
                    <a:pt x="24" y="30"/>
                  </a:cubicBezTo>
                  <a:cubicBezTo>
                    <a:pt x="24" y="30"/>
                    <a:pt x="23" y="29"/>
                    <a:pt x="23" y="29"/>
                  </a:cubicBezTo>
                  <a:close/>
                  <a:moveTo>
                    <a:pt x="38" y="23"/>
                  </a:moveTo>
                  <a:cubicBezTo>
                    <a:pt x="38" y="23"/>
                    <a:pt x="38" y="23"/>
                    <a:pt x="38" y="23"/>
                  </a:cubicBezTo>
                  <a:cubicBezTo>
                    <a:pt x="38" y="22"/>
                    <a:pt x="38" y="22"/>
                    <a:pt x="38" y="22"/>
                  </a:cubicBezTo>
                  <a:cubicBezTo>
                    <a:pt x="38" y="21"/>
                    <a:pt x="38" y="21"/>
                    <a:pt x="38" y="21"/>
                  </a:cubicBezTo>
                  <a:cubicBezTo>
                    <a:pt x="39" y="21"/>
                    <a:pt x="39" y="21"/>
                    <a:pt x="39" y="21"/>
                  </a:cubicBezTo>
                  <a:cubicBezTo>
                    <a:pt x="39" y="21"/>
                    <a:pt x="39" y="21"/>
                    <a:pt x="39" y="21"/>
                  </a:cubicBezTo>
                  <a:cubicBezTo>
                    <a:pt x="38" y="20"/>
                    <a:pt x="38" y="20"/>
                    <a:pt x="38" y="20"/>
                  </a:cubicBezTo>
                  <a:cubicBezTo>
                    <a:pt x="38" y="20"/>
                    <a:pt x="38" y="20"/>
                    <a:pt x="38" y="20"/>
                  </a:cubicBezTo>
                  <a:cubicBezTo>
                    <a:pt x="38" y="20"/>
                    <a:pt x="38" y="20"/>
                    <a:pt x="38" y="20"/>
                  </a:cubicBezTo>
                  <a:cubicBezTo>
                    <a:pt x="37" y="20"/>
                    <a:pt x="37" y="20"/>
                    <a:pt x="37" y="20"/>
                  </a:cubicBezTo>
                  <a:cubicBezTo>
                    <a:pt x="36" y="20"/>
                    <a:pt x="36" y="20"/>
                    <a:pt x="36" y="20"/>
                  </a:cubicBezTo>
                  <a:cubicBezTo>
                    <a:pt x="35" y="19"/>
                    <a:pt x="35" y="19"/>
                    <a:pt x="35" y="19"/>
                  </a:cubicBezTo>
                  <a:cubicBezTo>
                    <a:pt x="35" y="18"/>
                    <a:pt x="35" y="18"/>
                    <a:pt x="35" y="18"/>
                  </a:cubicBezTo>
                  <a:cubicBezTo>
                    <a:pt x="34" y="18"/>
                    <a:pt x="34" y="18"/>
                    <a:pt x="34" y="18"/>
                  </a:cubicBezTo>
                  <a:cubicBezTo>
                    <a:pt x="34" y="19"/>
                    <a:pt x="34" y="19"/>
                    <a:pt x="34" y="19"/>
                  </a:cubicBezTo>
                  <a:cubicBezTo>
                    <a:pt x="33" y="20"/>
                    <a:pt x="33" y="20"/>
                    <a:pt x="33" y="20"/>
                  </a:cubicBezTo>
                  <a:cubicBezTo>
                    <a:pt x="33" y="20"/>
                    <a:pt x="33" y="20"/>
                    <a:pt x="32" y="20"/>
                  </a:cubicBezTo>
                  <a:cubicBezTo>
                    <a:pt x="31" y="20"/>
                    <a:pt x="31" y="20"/>
                    <a:pt x="31" y="20"/>
                  </a:cubicBezTo>
                  <a:cubicBezTo>
                    <a:pt x="31" y="20"/>
                    <a:pt x="31" y="20"/>
                    <a:pt x="31" y="20"/>
                  </a:cubicBezTo>
                  <a:cubicBezTo>
                    <a:pt x="31" y="20"/>
                    <a:pt x="31" y="20"/>
                    <a:pt x="31" y="20"/>
                  </a:cubicBezTo>
                  <a:cubicBezTo>
                    <a:pt x="30" y="21"/>
                    <a:pt x="30" y="21"/>
                    <a:pt x="30" y="21"/>
                  </a:cubicBezTo>
                  <a:cubicBezTo>
                    <a:pt x="30" y="21"/>
                    <a:pt x="30" y="21"/>
                    <a:pt x="30" y="21"/>
                  </a:cubicBezTo>
                  <a:cubicBezTo>
                    <a:pt x="30" y="21"/>
                    <a:pt x="30" y="21"/>
                    <a:pt x="30" y="21"/>
                  </a:cubicBezTo>
                  <a:cubicBezTo>
                    <a:pt x="31" y="22"/>
                    <a:pt x="31" y="22"/>
                    <a:pt x="31" y="22"/>
                  </a:cubicBezTo>
                  <a:cubicBezTo>
                    <a:pt x="31" y="23"/>
                    <a:pt x="31" y="23"/>
                    <a:pt x="31" y="23"/>
                  </a:cubicBezTo>
                  <a:cubicBezTo>
                    <a:pt x="31" y="23"/>
                    <a:pt x="31" y="23"/>
                    <a:pt x="31" y="23"/>
                  </a:cubicBezTo>
                  <a:cubicBezTo>
                    <a:pt x="30" y="24"/>
                    <a:pt x="30" y="24"/>
                    <a:pt x="30" y="24"/>
                  </a:cubicBezTo>
                  <a:cubicBezTo>
                    <a:pt x="30" y="24"/>
                    <a:pt x="30" y="24"/>
                    <a:pt x="30" y="24"/>
                  </a:cubicBezTo>
                  <a:cubicBezTo>
                    <a:pt x="30" y="25"/>
                    <a:pt x="30" y="25"/>
                    <a:pt x="30" y="25"/>
                  </a:cubicBezTo>
                  <a:cubicBezTo>
                    <a:pt x="31" y="25"/>
                    <a:pt x="31" y="25"/>
                    <a:pt x="31" y="25"/>
                  </a:cubicBezTo>
                  <a:cubicBezTo>
                    <a:pt x="31" y="25"/>
                    <a:pt x="31" y="25"/>
                    <a:pt x="31" y="25"/>
                  </a:cubicBezTo>
                  <a:cubicBezTo>
                    <a:pt x="31" y="25"/>
                    <a:pt x="31" y="25"/>
                    <a:pt x="31" y="25"/>
                  </a:cubicBezTo>
                  <a:cubicBezTo>
                    <a:pt x="32" y="25"/>
                    <a:pt x="32" y="25"/>
                    <a:pt x="32" y="25"/>
                  </a:cubicBezTo>
                  <a:cubicBezTo>
                    <a:pt x="33" y="25"/>
                    <a:pt x="33" y="26"/>
                    <a:pt x="33" y="26"/>
                  </a:cubicBezTo>
                  <a:cubicBezTo>
                    <a:pt x="34" y="27"/>
                    <a:pt x="34" y="27"/>
                    <a:pt x="34" y="27"/>
                  </a:cubicBezTo>
                  <a:cubicBezTo>
                    <a:pt x="34" y="27"/>
                    <a:pt x="34" y="27"/>
                    <a:pt x="34" y="27"/>
                  </a:cubicBezTo>
                  <a:cubicBezTo>
                    <a:pt x="35" y="27"/>
                    <a:pt x="35" y="27"/>
                    <a:pt x="35" y="27"/>
                  </a:cubicBezTo>
                  <a:cubicBezTo>
                    <a:pt x="35" y="27"/>
                    <a:pt x="35" y="27"/>
                    <a:pt x="35" y="27"/>
                  </a:cubicBezTo>
                  <a:cubicBezTo>
                    <a:pt x="36" y="26"/>
                    <a:pt x="36" y="26"/>
                    <a:pt x="36" y="26"/>
                  </a:cubicBezTo>
                  <a:cubicBezTo>
                    <a:pt x="36" y="26"/>
                    <a:pt x="36" y="25"/>
                    <a:pt x="37" y="25"/>
                  </a:cubicBezTo>
                  <a:cubicBezTo>
                    <a:pt x="38" y="25"/>
                    <a:pt x="38" y="25"/>
                    <a:pt x="38" y="25"/>
                  </a:cubicBezTo>
                  <a:cubicBezTo>
                    <a:pt x="38" y="25"/>
                    <a:pt x="38" y="25"/>
                    <a:pt x="38" y="25"/>
                  </a:cubicBezTo>
                  <a:cubicBezTo>
                    <a:pt x="38" y="25"/>
                    <a:pt x="38" y="25"/>
                    <a:pt x="38" y="25"/>
                  </a:cubicBezTo>
                  <a:cubicBezTo>
                    <a:pt x="39" y="25"/>
                    <a:pt x="39" y="25"/>
                    <a:pt x="39" y="25"/>
                  </a:cubicBezTo>
                  <a:cubicBezTo>
                    <a:pt x="39" y="24"/>
                    <a:pt x="39" y="24"/>
                    <a:pt x="39" y="24"/>
                  </a:cubicBezTo>
                  <a:cubicBezTo>
                    <a:pt x="38" y="24"/>
                    <a:pt x="38" y="24"/>
                    <a:pt x="38" y="24"/>
                  </a:cubicBezTo>
                  <a:cubicBezTo>
                    <a:pt x="38" y="23"/>
                    <a:pt x="38" y="23"/>
                    <a:pt x="38" y="23"/>
                  </a:cubicBezTo>
                  <a:close/>
                  <a:moveTo>
                    <a:pt x="36" y="23"/>
                  </a:moveTo>
                  <a:cubicBezTo>
                    <a:pt x="36" y="23"/>
                    <a:pt x="35" y="24"/>
                    <a:pt x="34" y="24"/>
                  </a:cubicBezTo>
                  <a:cubicBezTo>
                    <a:pt x="34" y="24"/>
                    <a:pt x="33" y="23"/>
                    <a:pt x="33" y="23"/>
                  </a:cubicBezTo>
                  <a:cubicBezTo>
                    <a:pt x="33" y="22"/>
                    <a:pt x="34" y="22"/>
                    <a:pt x="34" y="22"/>
                  </a:cubicBezTo>
                  <a:cubicBezTo>
                    <a:pt x="35" y="22"/>
                    <a:pt x="36" y="22"/>
                    <a:pt x="36" y="23"/>
                  </a:cubicBez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8" name="Freeform 107"/>
            <p:cNvSpPr>
              <a:spLocks/>
            </p:cNvSpPr>
            <p:nvPr/>
          </p:nvSpPr>
          <p:spPr bwMode="auto">
            <a:xfrm>
              <a:off x="8347495" y="4756188"/>
              <a:ext cx="11113" cy="373063"/>
            </a:xfrm>
            <a:custGeom>
              <a:avLst/>
              <a:gdLst>
                <a:gd name="T0" fmla="*/ 2 w 5"/>
                <a:gd name="T1" fmla="*/ 168 h 168"/>
                <a:gd name="T2" fmla="*/ 0 w 5"/>
                <a:gd name="T3" fmla="*/ 166 h 168"/>
                <a:gd name="T4" fmla="*/ 0 w 5"/>
                <a:gd name="T5" fmla="*/ 2 h 168"/>
                <a:gd name="T6" fmla="*/ 2 w 5"/>
                <a:gd name="T7" fmla="*/ 0 h 168"/>
                <a:gd name="T8" fmla="*/ 5 w 5"/>
                <a:gd name="T9" fmla="*/ 2 h 168"/>
                <a:gd name="T10" fmla="*/ 5 w 5"/>
                <a:gd name="T11" fmla="*/ 166 h 168"/>
                <a:gd name="T12" fmla="*/ 2 w 5"/>
                <a:gd name="T13" fmla="*/ 168 h 168"/>
              </a:gdLst>
              <a:ahLst/>
              <a:cxnLst>
                <a:cxn ang="0">
                  <a:pos x="T0" y="T1"/>
                </a:cxn>
                <a:cxn ang="0">
                  <a:pos x="T2" y="T3"/>
                </a:cxn>
                <a:cxn ang="0">
                  <a:pos x="T4" y="T5"/>
                </a:cxn>
                <a:cxn ang="0">
                  <a:pos x="T6" y="T7"/>
                </a:cxn>
                <a:cxn ang="0">
                  <a:pos x="T8" y="T9"/>
                </a:cxn>
                <a:cxn ang="0">
                  <a:pos x="T10" y="T11"/>
                </a:cxn>
                <a:cxn ang="0">
                  <a:pos x="T12" y="T13"/>
                </a:cxn>
              </a:cxnLst>
              <a:rect l="0" t="0" r="r" b="b"/>
              <a:pathLst>
                <a:path w="5" h="168">
                  <a:moveTo>
                    <a:pt x="2" y="168"/>
                  </a:moveTo>
                  <a:cubicBezTo>
                    <a:pt x="1" y="168"/>
                    <a:pt x="0" y="167"/>
                    <a:pt x="0" y="166"/>
                  </a:cubicBezTo>
                  <a:cubicBezTo>
                    <a:pt x="0" y="2"/>
                    <a:pt x="0" y="2"/>
                    <a:pt x="0" y="2"/>
                  </a:cubicBezTo>
                  <a:cubicBezTo>
                    <a:pt x="0" y="1"/>
                    <a:pt x="1" y="0"/>
                    <a:pt x="2" y="0"/>
                  </a:cubicBezTo>
                  <a:cubicBezTo>
                    <a:pt x="4" y="0"/>
                    <a:pt x="5" y="1"/>
                    <a:pt x="5" y="2"/>
                  </a:cubicBezTo>
                  <a:cubicBezTo>
                    <a:pt x="5" y="166"/>
                    <a:pt x="5" y="166"/>
                    <a:pt x="5" y="166"/>
                  </a:cubicBezTo>
                  <a:cubicBezTo>
                    <a:pt x="5" y="167"/>
                    <a:pt x="4" y="168"/>
                    <a:pt x="2" y="168"/>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9" name="Freeform 108"/>
            <p:cNvSpPr>
              <a:spLocks/>
            </p:cNvSpPr>
            <p:nvPr/>
          </p:nvSpPr>
          <p:spPr bwMode="auto">
            <a:xfrm>
              <a:off x="8371307" y="4756188"/>
              <a:ext cx="14288" cy="422275"/>
            </a:xfrm>
            <a:custGeom>
              <a:avLst/>
              <a:gdLst>
                <a:gd name="T0" fmla="*/ 3 w 6"/>
                <a:gd name="T1" fmla="*/ 190 h 190"/>
                <a:gd name="T2" fmla="*/ 0 w 6"/>
                <a:gd name="T3" fmla="*/ 188 h 190"/>
                <a:gd name="T4" fmla="*/ 0 w 6"/>
                <a:gd name="T5" fmla="*/ 2 h 190"/>
                <a:gd name="T6" fmla="*/ 3 w 6"/>
                <a:gd name="T7" fmla="*/ 0 h 190"/>
                <a:gd name="T8" fmla="*/ 6 w 6"/>
                <a:gd name="T9" fmla="*/ 2 h 190"/>
                <a:gd name="T10" fmla="*/ 6 w 6"/>
                <a:gd name="T11" fmla="*/ 188 h 190"/>
                <a:gd name="T12" fmla="*/ 3 w 6"/>
                <a:gd name="T13" fmla="*/ 190 h 190"/>
              </a:gdLst>
              <a:ahLst/>
              <a:cxnLst>
                <a:cxn ang="0">
                  <a:pos x="T0" y="T1"/>
                </a:cxn>
                <a:cxn ang="0">
                  <a:pos x="T2" y="T3"/>
                </a:cxn>
                <a:cxn ang="0">
                  <a:pos x="T4" y="T5"/>
                </a:cxn>
                <a:cxn ang="0">
                  <a:pos x="T6" y="T7"/>
                </a:cxn>
                <a:cxn ang="0">
                  <a:pos x="T8" y="T9"/>
                </a:cxn>
                <a:cxn ang="0">
                  <a:pos x="T10" y="T11"/>
                </a:cxn>
                <a:cxn ang="0">
                  <a:pos x="T12" y="T13"/>
                </a:cxn>
              </a:cxnLst>
              <a:rect l="0" t="0" r="r" b="b"/>
              <a:pathLst>
                <a:path w="6" h="190">
                  <a:moveTo>
                    <a:pt x="3" y="190"/>
                  </a:moveTo>
                  <a:cubicBezTo>
                    <a:pt x="2" y="190"/>
                    <a:pt x="0" y="189"/>
                    <a:pt x="0" y="188"/>
                  </a:cubicBezTo>
                  <a:cubicBezTo>
                    <a:pt x="0" y="2"/>
                    <a:pt x="0" y="2"/>
                    <a:pt x="0" y="2"/>
                  </a:cubicBezTo>
                  <a:cubicBezTo>
                    <a:pt x="0" y="1"/>
                    <a:pt x="2" y="0"/>
                    <a:pt x="3" y="0"/>
                  </a:cubicBezTo>
                  <a:cubicBezTo>
                    <a:pt x="4" y="0"/>
                    <a:pt x="6" y="1"/>
                    <a:pt x="6" y="2"/>
                  </a:cubicBezTo>
                  <a:cubicBezTo>
                    <a:pt x="6" y="188"/>
                    <a:pt x="6" y="188"/>
                    <a:pt x="6" y="188"/>
                  </a:cubicBezTo>
                  <a:cubicBezTo>
                    <a:pt x="6" y="189"/>
                    <a:pt x="4" y="190"/>
                    <a:pt x="3" y="190"/>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0" name="Freeform 109"/>
            <p:cNvSpPr>
              <a:spLocks/>
            </p:cNvSpPr>
            <p:nvPr/>
          </p:nvSpPr>
          <p:spPr bwMode="auto">
            <a:xfrm>
              <a:off x="8398295" y="4756188"/>
              <a:ext cx="11113" cy="373063"/>
            </a:xfrm>
            <a:custGeom>
              <a:avLst/>
              <a:gdLst>
                <a:gd name="T0" fmla="*/ 3 w 5"/>
                <a:gd name="T1" fmla="*/ 168 h 168"/>
                <a:gd name="T2" fmla="*/ 0 w 5"/>
                <a:gd name="T3" fmla="*/ 166 h 168"/>
                <a:gd name="T4" fmla="*/ 0 w 5"/>
                <a:gd name="T5" fmla="*/ 2 h 168"/>
                <a:gd name="T6" fmla="*/ 3 w 5"/>
                <a:gd name="T7" fmla="*/ 0 h 168"/>
                <a:gd name="T8" fmla="*/ 5 w 5"/>
                <a:gd name="T9" fmla="*/ 2 h 168"/>
                <a:gd name="T10" fmla="*/ 5 w 5"/>
                <a:gd name="T11" fmla="*/ 166 h 168"/>
                <a:gd name="T12" fmla="*/ 3 w 5"/>
                <a:gd name="T13" fmla="*/ 168 h 168"/>
              </a:gdLst>
              <a:ahLst/>
              <a:cxnLst>
                <a:cxn ang="0">
                  <a:pos x="T0" y="T1"/>
                </a:cxn>
                <a:cxn ang="0">
                  <a:pos x="T2" y="T3"/>
                </a:cxn>
                <a:cxn ang="0">
                  <a:pos x="T4" y="T5"/>
                </a:cxn>
                <a:cxn ang="0">
                  <a:pos x="T6" y="T7"/>
                </a:cxn>
                <a:cxn ang="0">
                  <a:pos x="T8" y="T9"/>
                </a:cxn>
                <a:cxn ang="0">
                  <a:pos x="T10" y="T11"/>
                </a:cxn>
                <a:cxn ang="0">
                  <a:pos x="T12" y="T13"/>
                </a:cxn>
              </a:cxnLst>
              <a:rect l="0" t="0" r="r" b="b"/>
              <a:pathLst>
                <a:path w="5" h="168">
                  <a:moveTo>
                    <a:pt x="3" y="168"/>
                  </a:moveTo>
                  <a:cubicBezTo>
                    <a:pt x="1" y="168"/>
                    <a:pt x="0" y="167"/>
                    <a:pt x="0" y="166"/>
                  </a:cubicBezTo>
                  <a:cubicBezTo>
                    <a:pt x="0" y="2"/>
                    <a:pt x="0" y="2"/>
                    <a:pt x="0" y="2"/>
                  </a:cubicBezTo>
                  <a:cubicBezTo>
                    <a:pt x="0" y="1"/>
                    <a:pt x="1" y="0"/>
                    <a:pt x="3" y="0"/>
                  </a:cubicBezTo>
                  <a:cubicBezTo>
                    <a:pt x="4" y="0"/>
                    <a:pt x="5" y="1"/>
                    <a:pt x="5" y="2"/>
                  </a:cubicBezTo>
                  <a:cubicBezTo>
                    <a:pt x="5" y="166"/>
                    <a:pt x="5" y="166"/>
                    <a:pt x="5" y="166"/>
                  </a:cubicBezTo>
                  <a:cubicBezTo>
                    <a:pt x="5" y="167"/>
                    <a:pt x="4" y="168"/>
                    <a:pt x="3" y="168"/>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1" name="Rectangle 110"/>
            <p:cNvSpPr>
              <a:spLocks noChangeArrowheads="1"/>
            </p:cNvSpPr>
            <p:nvPr/>
          </p:nvSpPr>
          <p:spPr bwMode="auto">
            <a:xfrm>
              <a:off x="8285582" y="4511713"/>
              <a:ext cx="179388" cy="115888"/>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2" name="Freeform 111"/>
            <p:cNvSpPr>
              <a:spLocks/>
            </p:cNvSpPr>
            <p:nvPr/>
          </p:nvSpPr>
          <p:spPr bwMode="auto">
            <a:xfrm>
              <a:off x="8285582" y="4368838"/>
              <a:ext cx="179388" cy="142875"/>
            </a:xfrm>
            <a:custGeom>
              <a:avLst/>
              <a:gdLst>
                <a:gd name="T0" fmla="*/ 26 w 81"/>
                <a:gd name="T1" fmla="*/ 64 h 64"/>
                <a:gd name="T2" fmla="*/ 0 w 81"/>
                <a:gd name="T3" fmla="*/ 64 h 64"/>
                <a:gd name="T4" fmla="*/ 0 w 81"/>
                <a:gd name="T5" fmla="*/ 46 h 64"/>
                <a:gd name="T6" fmla="*/ 0 w 81"/>
                <a:gd name="T7" fmla="*/ 45 h 64"/>
                <a:gd name="T8" fmla="*/ 31 w 81"/>
                <a:gd name="T9" fmla="*/ 0 h 64"/>
                <a:gd name="T10" fmla="*/ 50 w 81"/>
                <a:gd name="T11" fmla="*/ 0 h 64"/>
                <a:gd name="T12" fmla="*/ 81 w 81"/>
                <a:gd name="T13" fmla="*/ 45 h 64"/>
                <a:gd name="T14" fmla="*/ 81 w 81"/>
                <a:gd name="T15" fmla="*/ 46 h 64"/>
                <a:gd name="T16" fmla="*/ 81 w 81"/>
                <a:gd name="T17" fmla="*/ 46 h 64"/>
                <a:gd name="T18" fmla="*/ 81 w 81"/>
                <a:gd name="T19" fmla="*/ 64 h 64"/>
                <a:gd name="T20" fmla="*/ 26 w 81"/>
                <a:gd name="T21"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1" h="64">
                  <a:moveTo>
                    <a:pt x="26" y="64"/>
                  </a:moveTo>
                  <a:cubicBezTo>
                    <a:pt x="0" y="64"/>
                    <a:pt x="0" y="64"/>
                    <a:pt x="0" y="64"/>
                  </a:cubicBezTo>
                  <a:cubicBezTo>
                    <a:pt x="0" y="46"/>
                    <a:pt x="0" y="46"/>
                    <a:pt x="0" y="46"/>
                  </a:cubicBezTo>
                  <a:cubicBezTo>
                    <a:pt x="0" y="45"/>
                    <a:pt x="0" y="45"/>
                    <a:pt x="0" y="45"/>
                  </a:cubicBezTo>
                  <a:cubicBezTo>
                    <a:pt x="31" y="0"/>
                    <a:pt x="31" y="0"/>
                    <a:pt x="31" y="0"/>
                  </a:cubicBezTo>
                  <a:cubicBezTo>
                    <a:pt x="50" y="0"/>
                    <a:pt x="50" y="0"/>
                    <a:pt x="50" y="0"/>
                  </a:cubicBezTo>
                  <a:cubicBezTo>
                    <a:pt x="81" y="45"/>
                    <a:pt x="81" y="45"/>
                    <a:pt x="81" y="45"/>
                  </a:cubicBezTo>
                  <a:cubicBezTo>
                    <a:pt x="81" y="46"/>
                    <a:pt x="81" y="46"/>
                    <a:pt x="81" y="46"/>
                  </a:cubicBezTo>
                  <a:cubicBezTo>
                    <a:pt x="81" y="46"/>
                    <a:pt x="81" y="46"/>
                    <a:pt x="81" y="46"/>
                  </a:cubicBezTo>
                  <a:cubicBezTo>
                    <a:pt x="81" y="64"/>
                    <a:pt x="81" y="64"/>
                    <a:pt x="81" y="64"/>
                  </a:cubicBezTo>
                  <a:lnTo>
                    <a:pt x="26" y="64"/>
                  </a:lnTo>
                  <a:close/>
                </a:path>
              </a:pathLst>
            </a:custGeom>
            <a:solidFill>
              <a:srgbClr val="B4B4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3" name="Freeform 112"/>
            <p:cNvSpPr>
              <a:spLocks/>
            </p:cNvSpPr>
            <p:nvPr/>
          </p:nvSpPr>
          <p:spPr bwMode="auto">
            <a:xfrm>
              <a:off x="8296695" y="4472025"/>
              <a:ext cx="44450" cy="39688"/>
            </a:xfrm>
            <a:custGeom>
              <a:avLst/>
              <a:gdLst>
                <a:gd name="T0" fmla="*/ 28 w 28"/>
                <a:gd name="T1" fmla="*/ 25 h 25"/>
                <a:gd name="T2" fmla="*/ 28 w 28"/>
                <a:gd name="T3" fmla="*/ 25 h 25"/>
                <a:gd name="T4" fmla="*/ 0 w 28"/>
                <a:gd name="T5" fmla="*/ 25 h 25"/>
                <a:gd name="T6" fmla="*/ 0 w 28"/>
                <a:gd name="T7" fmla="*/ 0 h 25"/>
                <a:gd name="T8" fmla="*/ 28 w 28"/>
                <a:gd name="T9" fmla="*/ 0 h 25"/>
                <a:gd name="T10" fmla="*/ 28 w 28"/>
                <a:gd name="T11" fmla="*/ 25 h 25"/>
              </a:gdLst>
              <a:ahLst/>
              <a:cxnLst>
                <a:cxn ang="0">
                  <a:pos x="T0" y="T1"/>
                </a:cxn>
                <a:cxn ang="0">
                  <a:pos x="T2" y="T3"/>
                </a:cxn>
                <a:cxn ang="0">
                  <a:pos x="T4" y="T5"/>
                </a:cxn>
                <a:cxn ang="0">
                  <a:pos x="T6" y="T7"/>
                </a:cxn>
                <a:cxn ang="0">
                  <a:pos x="T8" y="T9"/>
                </a:cxn>
                <a:cxn ang="0">
                  <a:pos x="T10" y="T11"/>
                </a:cxn>
              </a:cxnLst>
              <a:rect l="0" t="0" r="r" b="b"/>
              <a:pathLst>
                <a:path w="28" h="25">
                  <a:moveTo>
                    <a:pt x="28" y="25"/>
                  </a:moveTo>
                  <a:lnTo>
                    <a:pt x="28" y="25"/>
                  </a:lnTo>
                  <a:lnTo>
                    <a:pt x="0" y="25"/>
                  </a:lnTo>
                  <a:lnTo>
                    <a:pt x="0" y="0"/>
                  </a:lnTo>
                  <a:lnTo>
                    <a:pt x="28" y="0"/>
                  </a:lnTo>
                  <a:lnTo>
                    <a:pt x="28" y="25"/>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4" name="Freeform 113"/>
            <p:cNvSpPr>
              <a:spLocks/>
            </p:cNvSpPr>
            <p:nvPr/>
          </p:nvSpPr>
          <p:spPr bwMode="auto">
            <a:xfrm>
              <a:off x="8296695" y="4368838"/>
              <a:ext cx="80963" cy="103188"/>
            </a:xfrm>
            <a:custGeom>
              <a:avLst/>
              <a:gdLst>
                <a:gd name="T0" fmla="*/ 51 w 51"/>
                <a:gd name="T1" fmla="*/ 0 h 65"/>
                <a:gd name="T2" fmla="*/ 43 w 51"/>
                <a:gd name="T3" fmla="*/ 0 h 65"/>
                <a:gd name="T4" fmla="*/ 0 w 51"/>
                <a:gd name="T5" fmla="*/ 65 h 65"/>
                <a:gd name="T6" fmla="*/ 28 w 51"/>
                <a:gd name="T7" fmla="*/ 65 h 65"/>
                <a:gd name="T8" fmla="*/ 51 w 51"/>
                <a:gd name="T9" fmla="*/ 0 h 65"/>
              </a:gdLst>
              <a:ahLst/>
              <a:cxnLst>
                <a:cxn ang="0">
                  <a:pos x="T0" y="T1"/>
                </a:cxn>
                <a:cxn ang="0">
                  <a:pos x="T2" y="T3"/>
                </a:cxn>
                <a:cxn ang="0">
                  <a:pos x="T4" y="T5"/>
                </a:cxn>
                <a:cxn ang="0">
                  <a:pos x="T6" y="T7"/>
                </a:cxn>
                <a:cxn ang="0">
                  <a:pos x="T8" y="T9"/>
                </a:cxn>
              </a:cxnLst>
              <a:rect l="0" t="0" r="r" b="b"/>
              <a:pathLst>
                <a:path w="51" h="65">
                  <a:moveTo>
                    <a:pt x="51" y="0"/>
                  </a:moveTo>
                  <a:lnTo>
                    <a:pt x="43" y="0"/>
                  </a:lnTo>
                  <a:lnTo>
                    <a:pt x="0" y="65"/>
                  </a:lnTo>
                  <a:lnTo>
                    <a:pt x="28" y="65"/>
                  </a:lnTo>
                  <a:lnTo>
                    <a:pt x="51" y="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5" name="Rectangle 114"/>
            <p:cNvSpPr>
              <a:spLocks noChangeArrowheads="1"/>
            </p:cNvSpPr>
            <p:nvPr/>
          </p:nvSpPr>
          <p:spPr bwMode="auto">
            <a:xfrm>
              <a:off x="8296695" y="4511713"/>
              <a:ext cx="44450" cy="115888"/>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6" name="Freeform 115"/>
            <p:cNvSpPr>
              <a:spLocks/>
            </p:cNvSpPr>
            <p:nvPr/>
          </p:nvSpPr>
          <p:spPr bwMode="auto">
            <a:xfrm>
              <a:off x="8215732" y="4568863"/>
              <a:ext cx="317500" cy="236538"/>
            </a:xfrm>
            <a:custGeom>
              <a:avLst/>
              <a:gdLst>
                <a:gd name="T0" fmla="*/ 143 w 143"/>
                <a:gd name="T1" fmla="*/ 53 h 106"/>
                <a:gd name="T2" fmla="*/ 130 w 143"/>
                <a:gd name="T3" fmla="*/ 39 h 106"/>
                <a:gd name="T4" fmla="*/ 130 w 143"/>
                <a:gd name="T5" fmla="*/ 38 h 106"/>
                <a:gd name="T6" fmla="*/ 108 w 143"/>
                <a:gd name="T7" fmla="*/ 16 h 106"/>
                <a:gd name="T8" fmla="*/ 93 w 143"/>
                <a:gd name="T9" fmla="*/ 22 h 106"/>
                <a:gd name="T10" fmla="*/ 63 w 143"/>
                <a:gd name="T11" fmla="*/ 0 h 106"/>
                <a:gd name="T12" fmla="*/ 38 w 143"/>
                <a:gd name="T13" fmla="*/ 14 h 106"/>
                <a:gd name="T14" fmla="*/ 29 w 143"/>
                <a:gd name="T15" fmla="*/ 12 h 106"/>
                <a:gd name="T16" fmla="*/ 19 w 143"/>
                <a:gd name="T17" fmla="*/ 15 h 106"/>
                <a:gd name="T18" fmla="*/ 11 w 143"/>
                <a:gd name="T19" fmla="*/ 29 h 106"/>
                <a:gd name="T20" fmla="*/ 0 w 143"/>
                <a:gd name="T21" fmla="*/ 50 h 106"/>
                <a:gd name="T22" fmla="*/ 0 w 143"/>
                <a:gd name="T23" fmla="*/ 52 h 106"/>
                <a:gd name="T24" fmla="*/ 0 w 143"/>
                <a:gd name="T25" fmla="*/ 53 h 106"/>
                <a:gd name="T26" fmla="*/ 18 w 143"/>
                <a:gd name="T27" fmla="*/ 74 h 106"/>
                <a:gd name="T28" fmla="*/ 18 w 143"/>
                <a:gd name="T29" fmla="*/ 75 h 106"/>
                <a:gd name="T30" fmla="*/ 49 w 143"/>
                <a:gd name="T31" fmla="*/ 106 h 106"/>
                <a:gd name="T32" fmla="*/ 75 w 143"/>
                <a:gd name="T33" fmla="*/ 92 h 106"/>
                <a:gd name="T34" fmla="*/ 83 w 143"/>
                <a:gd name="T35" fmla="*/ 95 h 106"/>
                <a:gd name="T36" fmla="*/ 93 w 143"/>
                <a:gd name="T37" fmla="*/ 92 h 106"/>
                <a:gd name="T38" fmla="*/ 95 w 143"/>
                <a:gd name="T39" fmla="*/ 91 h 106"/>
                <a:gd name="T40" fmla="*/ 98 w 143"/>
                <a:gd name="T41" fmla="*/ 91 h 106"/>
                <a:gd name="T42" fmla="*/ 116 w 143"/>
                <a:gd name="T43" fmla="*/ 81 h 106"/>
                <a:gd name="T44" fmla="*/ 122 w 143"/>
                <a:gd name="T45" fmla="*/ 83 h 106"/>
                <a:gd name="T46" fmla="*/ 130 w 143"/>
                <a:gd name="T47" fmla="*/ 81 h 106"/>
                <a:gd name="T48" fmla="*/ 135 w 143"/>
                <a:gd name="T49" fmla="*/ 70 h 106"/>
                <a:gd name="T50" fmla="*/ 143 w 143"/>
                <a:gd name="T51" fmla="*/ 56 h 106"/>
                <a:gd name="T52" fmla="*/ 143 w 143"/>
                <a:gd name="T53" fmla="*/ 54 h 106"/>
                <a:gd name="T54" fmla="*/ 143 w 143"/>
                <a:gd name="T55" fmla="*/ 53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43" h="106">
                  <a:moveTo>
                    <a:pt x="143" y="53"/>
                  </a:moveTo>
                  <a:cubicBezTo>
                    <a:pt x="143" y="46"/>
                    <a:pt x="138" y="40"/>
                    <a:pt x="130" y="39"/>
                  </a:cubicBezTo>
                  <a:cubicBezTo>
                    <a:pt x="130" y="38"/>
                    <a:pt x="130" y="38"/>
                    <a:pt x="130" y="38"/>
                  </a:cubicBezTo>
                  <a:cubicBezTo>
                    <a:pt x="130" y="25"/>
                    <a:pt x="121" y="16"/>
                    <a:pt x="108" y="16"/>
                  </a:cubicBezTo>
                  <a:cubicBezTo>
                    <a:pt x="102" y="16"/>
                    <a:pt x="97" y="18"/>
                    <a:pt x="93" y="22"/>
                  </a:cubicBezTo>
                  <a:cubicBezTo>
                    <a:pt x="89" y="9"/>
                    <a:pt x="77" y="0"/>
                    <a:pt x="63" y="0"/>
                  </a:cubicBezTo>
                  <a:cubicBezTo>
                    <a:pt x="53" y="0"/>
                    <a:pt x="43" y="6"/>
                    <a:pt x="38" y="14"/>
                  </a:cubicBezTo>
                  <a:cubicBezTo>
                    <a:pt x="35" y="13"/>
                    <a:pt x="32" y="12"/>
                    <a:pt x="29" y="12"/>
                  </a:cubicBezTo>
                  <a:cubicBezTo>
                    <a:pt x="25" y="12"/>
                    <a:pt x="22" y="13"/>
                    <a:pt x="19" y="15"/>
                  </a:cubicBezTo>
                  <a:cubicBezTo>
                    <a:pt x="14" y="18"/>
                    <a:pt x="11" y="23"/>
                    <a:pt x="11" y="29"/>
                  </a:cubicBezTo>
                  <a:cubicBezTo>
                    <a:pt x="5" y="34"/>
                    <a:pt x="0" y="41"/>
                    <a:pt x="0" y="50"/>
                  </a:cubicBezTo>
                  <a:cubicBezTo>
                    <a:pt x="0" y="50"/>
                    <a:pt x="0" y="51"/>
                    <a:pt x="0" y="52"/>
                  </a:cubicBezTo>
                  <a:cubicBezTo>
                    <a:pt x="0" y="52"/>
                    <a:pt x="0" y="53"/>
                    <a:pt x="0" y="53"/>
                  </a:cubicBezTo>
                  <a:cubicBezTo>
                    <a:pt x="0" y="64"/>
                    <a:pt x="8" y="72"/>
                    <a:pt x="18" y="74"/>
                  </a:cubicBezTo>
                  <a:cubicBezTo>
                    <a:pt x="18" y="74"/>
                    <a:pt x="18" y="75"/>
                    <a:pt x="18" y="75"/>
                  </a:cubicBezTo>
                  <a:cubicBezTo>
                    <a:pt x="18" y="92"/>
                    <a:pt x="32" y="106"/>
                    <a:pt x="49" y="106"/>
                  </a:cubicBezTo>
                  <a:cubicBezTo>
                    <a:pt x="60" y="106"/>
                    <a:pt x="69" y="101"/>
                    <a:pt x="75" y="92"/>
                  </a:cubicBezTo>
                  <a:cubicBezTo>
                    <a:pt x="77" y="94"/>
                    <a:pt x="80" y="95"/>
                    <a:pt x="83" y="95"/>
                  </a:cubicBezTo>
                  <a:cubicBezTo>
                    <a:pt x="87" y="95"/>
                    <a:pt x="90" y="94"/>
                    <a:pt x="93" y="92"/>
                  </a:cubicBezTo>
                  <a:cubicBezTo>
                    <a:pt x="94" y="91"/>
                    <a:pt x="94" y="91"/>
                    <a:pt x="95" y="91"/>
                  </a:cubicBezTo>
                  <a:cubicBezTo>
                    <a:pt x="96" y="91"/>
                    <a:pt x="97" y="91"/>
                    <a:pt x="98" y="91"/>
                  </a:cubicBezTo>
                  <a:cubicBezTo>
                    <a:pt x="106" y="91"/>
                    <a:pt x="112" y="87"/>
                    <a:pt x="116" y="81"/>
                  </a:cubicBezTo>
                  <a:cubicBezTo>
                    <a:pt x="118" y="82"/>
                    <a:pt x="120" y="83"/>
                    <a:pt x="122" y="83"/>
                  </a:cubicBezTo>
                  <a:cubicBezTo>
                    <a:pt x="125" y="83"/>
                    <a:pt x="128" y="82"/>
                    <a:pt x="130" y="81"/>
                  </a:cubicBezTo>
                  <a:cubicBezTo>
                    <a:pt x="133" y="78"/>
                    <a:pt x="135" y="75"/>
                    <a:pt x="135" y="70"/>
                  </a:cubicBezTo>
                  <a:cubicBezTo>
                    <a:pt x="140" y="67"/>
                    <a:pt x="143" y="62"/>
                    <a:pt x="143" y="56"/>
                  </a:cubicBezTo>
                  <a:cubicBezTo>
                    <a:pt x="143" y="55"/>
                    <a:pt x="143" y="55"/>
                    <a:pt x="143" y="54"/>
                  </a:cubicBezTo>
                  <a:cubicBezTo>
                    <a:pt x="143" y="54"/>
                    <a:pt x="143" y="54"/>
                    <a:pt x="143" y="53"/>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7" name="Freeform 116"/>
            <p:cNvSpPr>
              <a:spLocks/>
            </p:cNvSpPr>
            <p:nvPr/>
          </p:nvSpPr>
          <p:spPr bwMode="auto">
            <a:xfrm>
              <a:off x="8285582" y="4176750"/>
              <a:ext cx="177800" cy="23813"/>
            </a:xfrm>
            <a:custGeom>
              <a:avLst/>
              <a:gdLst>
                <a:gd name="T0" fmla="*/ 105 w 112"/>
                <a:gd name="T1" fmla="*/ 15 h 15"/>
                <a:gd name="T2" fmla="*/ 7 w 112"/>
                <a:gd name="T3" fmla="*/ 15 h 15"/>
                <a:gd name="T4" fmla="*/ 7 w 112"/>
                <a:gd name="T5" fmla="*/ 15 h 15"/>
                <a:gd name="T6" fmla="*/ 5 w 112"/>
                <a:gd name="T7" fmla="*/ 15 h 15"/>
                <a:gd name="T8" fmla="*/ 4 w 112"/>
                <a:gd name="T9" fmla="*/ 14 h 15"/>
                <a:gd name="T10" fmla="*/ 0 w 112"/>
                <a:gd name="T11" fmla="*/ 8 h 15"/>
                <a:gd name="T12" fmla="*/ 0 w 112"/>
                <a:gd name="T13" fmla="*/ 8 h 15"/>
                <a:gd name="T14" fmla="*/ 4 w 112"/>
                <a:gd name="T15" fmla="*/ 4 h 15"/>
                <a:gd name="T16" fmla="*/ 5 w 112"/>
                <a:gd name="T17" fmla="*/ 2 h 15"/>
                <a:gd name="T18" fmla="*/ 7 w 112"/>
                <a:gd name="T19" fmla="*/ 0 h 15"/>
                <a:gd name="T20" fmla="*/ 105 w 112"/>
                <a:gd name="T21" fmla="*/ 0 h 15"/>
                <a:gd name="T22" fmla="*/ 105 w 112"/>
                <a:gd name="T23" fmla="*/ 0 h 15"/>
                <a:gd name="T24" fmla="*/ 109 w 112"/>
                <a:gd name="T25" fmla="*/ 2 h 15"/>
                <a:gd name="T26" fmla="*/ 110 w 112"/>
                <a:gd name="T27" fmla="*/ 4 h 15"/>
                <a:gd name="T28" fmla="*/ 112 w 112"/>
                <a:gd name="T29" fmla="*/ 8 h 15"/>
                <a:gd name="T30" fmla="*/ 112 w 112"/>
                <a:gd name="T31" fmla="*/ 8 h 15"/>
                <a:gd name="T32" fmla="*/ 112 w 112"/>
                <a:gd name="T33" fmla="*/ 11 h 15"/>
                <a:gd name="T34" fmla="*/ 110 w 112"/>
                <a:gd name="T35" fmla="*/ 14 h 15"/>
                <a:gd name="T36" fmla="*/ 109 w 112"/>
                <a:gd name="T37" fmla="*/ 15 h 15"/>
                <a:gd name="T38" fmla="*/ 105 w 112"/>
                <a:gd name="T39" fmla="*/ 15 h 15"/>
                <a:gd name="T40" fmla="*/ 105 w 112"/>
                <a:gd name="T41" fmla="*/ 15 h 15"/>
                <a:gd name="T42" fmla="*/ 105 w 112"/>
                <a:gd name="T43" fmla="*/ 15 h 15"/>
                <a:gd name="T44" fmla="*/ 105 w 112"/>
                <a:gd name="T45" fmla="*/ 1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12" h="15">
                  <a:moveTo>
                    <a:pt x="105" y="15"/>
                  </a:moveTo>
                  <a:lnTo>
                    <a:pt x="7" y="15"/>
                  </a:lnTo>
                  <a:lnTo>
                    <a:pt x="7" y="15"/>
                  </a:lnTo>
                  <a:lnTo>
                    <a:pt x="5" y="15"/>
                  </a:lnTo>
                  <a:lnTo>
                    <a:pt x="4" y="14"/>
                  </a:lnTo>
                  <a:lnTo>
                    <a:pt x="0" y="8"/>
                  </a:lnTo>
                  <a:lnTo>
                    <a:pt x="0" y="8"/>
                  </a:lnTo>
                  <a:lnTo>
                    <a:pt x="4" y="4"/>
                  </a:lnTo>
                  <a:lnTo>
                    <a:pt x="5" y="2"/>
                  </a:lnTo>
                  <a:lnTo>
                    <a:pt x="7" y="0"/>
                  </a:lnTo>
                  <a:lnTo>
                    <a:pt x="105" y="0"/>
                  </a:lnTo>
                  <a:lnTo>
                    <a:pt x="105" y="0"/>
                  </a:lnTo>
                  <a:lnTo>
                    <a:pt x="109" y="2"/>
                  </a:lnTo>
                  <a:lnTo>
                    <a:pt x="110" y="4"/>
                  </a:lnTo>
                  <a:lnTo>
                    <a:pt x="112" y="8"/>
                  </a:lnTo>
                  <a:lnTo>
                    <a:pt x="112" y="8"/>
                  </a:lnTo>
                  <a:lnTo>
                    <a:pt x="112" y="11"/>
                  </a:lnTo>
                  <a:lnTo>
                    <a:pt x="110" y="14"/>
                  </a:lnTo>
                  <a:lnTo>
                    <a:pt x="109" y="15"/>
                  </a:lnTo>
                  <a:lnTo>
                    <a:pt x="105" y="15"/>
                  </a:lnTo>
                  <a:lnTo>
                    <a:pt x="105" y="15"/>
                  </a:lnTo>
                  <a:lnTo>
                    <a:pt x="105" y="15"/>
                  </a:lnTo>
                  <a:lnTo>
                    <a:pt x="105" y="15"/>
                  </a:lnTo>
                  <a:close/>
                </a:path>
              </a:pathLst>
            </a:custGeom>
            <a:solidFill>
              <a:schemeClr val="accent3">
                <a:lumMod val="75000"/>
              </a:schemeClr>
            </a:solidFill>
            <a:ln>
              <a:noFill/>
            </a:ln>
            <a:extLst/>
          </p:spPr>
          <p:txBody>
            <a:bodyPr vert="horz" wrap="square" lIns="91440" tIns="45720" rIns="91440" bIns="45720" numCol="1" anchor="t" anchorCtr="0" compatLnSpc="1">
              <a:prstTxWarp prst="textNoShape">
                <a:avLst/>
              </a:prstTxWarp>
            </a:bodyPr>
            <a:lstStyle/>
            <a:p>
              <a:endParaRPr lang="en-US" dirty="0"/>
            </a:p>
          </p:txBody>
        </p:sp>
        <p:sp>
          <p:nvSpPr>
            <p:cNvPr id="88" name="Freeform 117"/>
            <p:cNvSpPr>
              <a:spLocks/>
            </p:cNvSpPr>
            <p:nvPr/>
          </p:nvSpPr>
          <p:spPr bwMode="auto">
            <a:xfrm>
              <a:off x="8355432" y="4129125"/>
              <a:ext cx="107950" cy="25400"/>
            </a:xfrm>
            <a:custGeom>
              <a:avLst/>
              <a:gdLst>
                <a:gd name="T0" fmla="*/ 61 w 68"/>
                <a:gd name="T1" fmla="*/ 16 h 16"/>
                <a:gd name="T2" fmla="*/ 7 w 68"/>
                <a:gd name="T3" fmla="*/ 16 h 16"/>
                <a:gd name="T4" fmla="*/ 7 w 68"/>
                <a:gd name="T5" fmla="*/ 16 h 16"/>
                <a:gd name="T6" fmla="*/ 5 w 68"/>
                <a:gd name="T7" fmla="*/ 13 h 16"/>
                <a:gd name="T8" fmla="*/ 3 w 68"/>
                <a:gd name="T9" fmla="*/ 13 h 16"/>
                <a:gd name="T10" fmla="*/ 0 w 68"/>
                <a:gd name="T11" fmla="*/ 10 h 16"/>
                <a:gd name="T12" fmla="*/ 0 w 68"/>
                <a:gd name="T13" fmla="*/ 7 h 16"/>
                <a:gd name="T14" fmla="*/ 0 w 68"/>
                <a:gd name="T15" fmla="*/ 7 h 16"/>
                <a:gd name="T16" fmla="*/ 0 w 68"/>
                <a:gd name="T17" fmla="*/ 3 h 16"/>
                <a:gd name="T18" fmla="*/ 3 w 68"/>
                <a:gd name="T19" fmla="*/ 2 h 16"/>
                <a:gd name="T20" fmla="*/ 7 w 68"/>
                <a:gd name="T21" fmla="*/ 0 h 16"/>
                <a:gd name="T22" fmla="*/ 61 w 68"/>
                <a:gd name="T23" fmla="*/ 0 h 16"/>
                <a:gd name="T24" fmla="*/ 61 w 68"/>
                <a:gd name="T25" fmla="*/ 0 h 16"/>
                <a:gd name="T26" fmla="*/ 65 w 68"/>
                <a:gd name="T27" fmla="*/ 0 h 16"/>
                <a:gd name="T28" fmla="*/ 66 w 68"/>
                <a:gd name="T29" fmla="*/ 2 h 16"/>
                <a:gd name="T30" fmla="*/ 68 w 68"/>
                <a:gd name="T31" fmla="*/ 3 h 16"/>
                <a:gd name="T32" fmla="*/ 68 w 68"/>
                <a:gd name="T33" fmla="*/ 7 h 16"/>
                <a:gd name="T34" fmla="*/ 68 w 68"/>
                <a:gd name="T35" fmla="*/ 7 h 16"/>
                <a:gd name="T36" fmla="*/ 68 w 68"/>
                <a:gd name="T37" fmla="*/ 10 h 16"/>
                <a:gd name="T38" fmla="*/ 66 w 68"/>
                <a:gd name="T39" fmla="*/ 13 h 16"/>
                <a:gd name="T40" fmla="*/ 65 w 68"/>
                <a:gd name="T41" fmla="*/ 13 h 16"/>
                <a:gd name="T42" fmla="*/ 61 w 68"/>
                <a:gd name="T43" fmla="*/ 16 h 16"/>
                <a:gd name="T44" fmla="*/ 61 w 68"/>
                <a:gd name="T45" fmla="*/ 16 h 16"/>
                <a:gd name="T46" fmla="*/ 61 w 68"/>
                <a:gd name="T47" fmla="*/ 16 h 16"/>
                <a:gd name="T48" fmla="*/ 61 w 68"/>
                <a:gd name="T49" fmla="*/ 1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8" h="16">
                  <a:moveTo>
                    <a:pt x="61" y="16"/>
                  </a:moveTo>
                  <a:lnTo>
                    <a:pt x="7" y="16"/>
                  </a:lnTo>
                  <a:lnTo>
                    <a:pt x="7" y="16"/>
                  </a:lnTo>
                  <a:lnTo>
                    <a:pt x="5" y="13"/>
                  </a:lnTo>
                  <a:lnTo>
                    <a:pt x="3" y="13"/>
                  </a:lnTo>
                  <a:lnTo>
                    <a:pt x="0" y="10"/>
                  </a:lnTo>
                  <a:lnTo>
                    <a:pt x="0" y="7"/>
                  </a:lnTo>
                  <a:lnTo>
                    <a:pt x="0" y="7"/>
                  </a:lnTo>
                  <a:lnTo>
                    <a:pt x="0" y="3"/>
                  </a:lnTo>
                  <a:lnTo>
                    <a:pt x="3" y="2"/>
                  </a:lnTo>
                  <a:lnTo>
                    <a:pt x="7" y="0"/>
                  </a:lnTo>
                  <a:lnTo>
                    <a:pt x="61" y="0"/>
                  </a:lnTo>
                  <a:lnTo>
                    <a:pt x="61" y="0"/>
                  </a:lnTo>
                  <a:lnTo>
                    <a:pt x="65" y="0"/>
                  </a:lnTo>
                  <a:lnTo>
                    <a:pt x="66" y="2"/>
                  </a:lnTo>
                  <a:lnTo>
                    <a:pt x="68" y="3"/>
                  </a:lnTo>
                  <a:lnTo>
                    <a:pt x="68" y="7"/>
                  </a:lnTo>
                  <a:lnTo>
                    <a:pt x="68" y="7"/>
                  </a:lnTo>
                  <a:lnTo>
                    <a:pt x="68" y="10"/>
                  </a:lnTo>
                  <a:lnTo>
                    <a:pt x="66" y="13"/>
                  </a:lnTo>
                  <a:lnTo>
                    <a:pt x="65" y="13"/>
                  </a:lnTo>
                  <a:lnTo>
                    <a:pt x="61" y="16"/>
                  </a:lnTo>
                  <a:lnTo>
                    <a:pt x="61" y="16"/>
                  </a:lnTo>
                  <a:lnTo>
                    <a:pt x="61" y="16"/>
                  </a:lnTo>
                  <a:lnTo>
                    <a:pt x="61" y="16"/>
                  </a:lnTo>
                  <a:close/>
                </a:path>
              </a:pathLst>
            </a:custGeom>
            <a:solidFill>
              <a:schemeClr val="accent3">
                <a:lumMod val="75000"/>
              </a:schemeClr>
            </a:solidFill>
            <a:ln>
              <a:noFill/>
            </a:ln>
            <a:extLst/>
          </p:spPr>
          <p:txBody>
            <a:bodyPr vert="horz" wrap="square" lIns="91440" tIns="45720" rIns="91440" bIns="45720" numCol="1" anchor="t" anchorCtr="0" compatLnSpc="1">
              <a:prstTxWarp prst="textNoShape">
                <a:avLst/>
              </a:prstTxWarp>
            </a:bodyPr>
            <a:lstStyle/>
            <a:p>
              <a:endParaRPr lang="en-US" dirty="0"/>
            </a:p>
          </p:txBody>
        </p:sp>
        <p:sp>
          <p:nvSpPr>
            <p:cNvPr id="89" name="Freeform 118"/>
            <p:cNvSpPr>
              <a:spLocks/>
            </p:cNvSpPr>
            <p:nvPr/>
          </p:nvSpPr>
          <p:spPr bwMode="auto">
            <a:xfrm>
              <a:off x="8285582" y="4227550"/>
              <a:ext cx="177800" cy="23813"/>
            </a:xfrm>
            <a:custGeom>
              <a:avLst/>
              <a:gdLst>
                <a:gd name="T0" fmla="*/ 105 w 112"/>
                <a:gd name="T1" fmla="*/ 15 h 15"/>
                <a:gd name="T2" fmla="*/ 7 w 112"/>
                <a:gd name="T3" fmla="*/ 15 h 15"/>
                <a:gd name="T4" fmla="*/ 7 w 112"/>
                <a:gd name="T5" fmla="*/ 15 h 15"/>
                <a:gd name="T6" fmla="*/ 5 w 112"/>
                <a:gd name="T7" fmla="*/ 14 h 15"/>
                <a:gd name="T8" fmla="*/ 4 w 112"/>
                <a:gd name="T9" fmla="*/ 11 h 15"/>
                <a:gd name="T10" fmla="*/ 0 w 112"/>
                <a:gd name="T11" fmla="*/ 8 h 15"/>
                <a:gd name="T12" fmla="*/ 0 w 112"/>
                <a:gd name="T13" fmla="*/ 8 h 15"/>
                <a:gd name="T14" fmla="*/ 4 w 112"/>
                <a:gd name="T15" fmla="*/ 3 h 15"/>
                <a:gd name="T16" fmla="*/ 5 w 112"/>
                <a:gd name="T17" fmla="*/ 0 h 15"/>
                <a:gd name="T18" fmla="*/ 7 w 112"/>
                <a:gd name="T19" fmla="*/ 0 h 15"/>
                <a:gd name="T20" fmla="*/ 105 w 112"/>
                <a:gd name="T21" fmla="*/ 0 h 15"/>
                <a:gd name="T22" fmla="*/ 105 w 112"/>
                <a:gd name="T23" fmla="*/ 0 h 15"/>
                <a:gd name="T24" fmla="*/ 109 w 112"/>
                <a:gd name="T25" fmla="*/ 0 h 15"/>
                <a:gd name="T26" fmla="*/ 110 w 112"/>
                <a:gd name="T27" fmla="*/ 3 h 15"/>
                <a:gd name="T28" fmla="*/ 112 w 112"/>
                <a:gd name="T29" fmla="*/ 4 h 15"/>
                <a:gd name="T30" fmla="*/ 112 w 112"/>
                <a:gd name="T31" fmla="*/ 8 h 15"/>
                <a:gd name="T32" fmla="*/ 112 w 112"/>
                <a:gd name="T33" fmla="*/ 8 h 15"/>
                <a:gd name="T34" fmla="*/ 110 w 112"/>
                <a:gd name="T35" fmla="*/ 11 h 15"/>
                <a:gd name="T36" fmla="*/ 109 w 112"/>
                <a:gd name="T37" fmla="*/ 14 h 15"/>
                <a:gd name="T38" fmla="*/ 105 w 112"/>
                <a:gd name="T39" fmla="*/ 15 h 15"/>
                <a:gd name="T40" fmla="*/ 105 w 112"/>
                <a:gd name="T41" fmla="*/ 15 h 15"/>
                <a:gd name="T42" fmla="*/ 105 w 112"/>
                <a:gd name="T43" fmla="*/ 15 h 15"/>
                <a:gd name="T44" fmla="*/ 105 w 112"/>
                <a:gd name="T45" fmla="*/ 1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12" h="15">
                  <a:moveTo>
                    <a:pt x="105" y="15"/>
                  </a:moveTo>
                  <a:lnTo>
                    <a:pt x="7" y="15"/>
                  </a:lnTo>
                  <a:lnTo>
                    <a:pt x="7" y="15"/>
                  </a:lnTo>
                  <a:lnTo>
                    <a:pt x="5" y="14"/>
                  </a:lnTo>
                  <a:lnTo>
                    <a:pt x="4" y="11"/>
                  </a:lnTo>
                  <a:lnTo>
                    <a:pt x="0" y="8"/>
                  </a:lnTo>
                  <a:lnTo>
                    <a:pt x="0" y="8"/>
                  </a:lnTo>
                  <a:lnTo>
                    <a:pt x="4" y="3"/>
                  </a:lnTo>
                  <a:lnTo>
                    <a:pt x="5" y="0"/>
                  </a:lnTo>
                  <a:lnTo>
                    <a:pt x="7" y="0"/>
                  </a:lnTo>
                  <a:lnTo>
                    <a:pt x="105" y="0"/>
                  </a:lnTo>
                  <a:lnTo>
                    <a:pt x="105" y="0"/>
                  </a:lnTo>
                  <a:lnTo>
                    <a:pt x="109" y="0"/>
                  </a:lnTo>
                  <a:lnTo>
                    <a:pt x="110" y="3"/>
                  </a:lnTo>
                  <a:lnTo>
                    <a:pt x="112" y="4"/>
                  </a:lnTo>
                  <a:lnTo>
                    <a:pt x="112" y="8"/>
                  </a:lnTo>
                  <a:lnTo>
                    <a:pt x="112" y="8"/>
                  </a:lnTo>
                  <a:lnTo>
                    <a:pt x="110" y="11"/>
                  </a:lnTo>
                  <a:lnTo>
                    <a:pt x="109" y="14"/>
                  </a:lnTo>
                  <a:lnTo>
                    <a:pt x="105" y="15"/>
                  </a:lnTo>
                  <a:lnTo>
                    <a:pt x="105" y="15"/>
                  </a:lnTo>
                  <a:lnTo>
                    <a:pt x="105" y="15"/>
                  </a:lnTo>
                  <a:lnTo>
                    <a:pt x="105" y="15"/>
                  </a:lnTo>
                  <a:close/>
                </a:path>
              </a:pathLst>
            </a:custGeom>
            <a:solidFill>
              <a:schemeClr val="accent3">
                <a:lumMod val="75000"/>
              </a:schemeClr>
            </a:solidFill>
            <a:ln>
              <a:noFill/>
            </a:ln>
            <a:extLst/>
          </p:spPr>
          <p:txBody>
            <a:bodyPr vert="horz" wrap="square" lIns="91440" tIns="45720" rIns="91440" bIns="45720" numCol="1" anchor="t" anchorCtr="0" compatLnSpc="1">
              <a:prstTxWarp prst="textNoShape">
                <a:avLst/>
              </a:prstTxWarp>
            </a:bodyPr>
            <a:lstStyle/>
            <a:p>
              <a:endParaRPr lang="en-US" dirty="0"/>
            </a:p>
          </p:txBody>
        </p:sp>
        <p:sp>
          <p:nvSpPr>
            <p:cNvPr id="90" name="Freeform 119"/>
            <p:cNvSpPr>
              <a:spLocks/>
            </p:cNvSpPr>
            <p:nvPr/>
          </p:nvSpPr>
          <p:spPr bwMode="auto">
            <a:xfrm>
              <a:off x="8285582" y="4276763"/>
              <a:ext cx="177800" cy="23813"/>
            </a:xfrm>
            <a:custGeom>
              <a:avLst/>
              <a:gdLst>
                <a:gd name="T0" fmla="*/ 105 w 112"/>
                <a:gd name="T1" fmla="*/ 15 h 15"/>
                <a:gd name="T2" fmla="*/ 7 w 112"/>
                <a:gd name="T3" fmla="*/ 15 h 15"/>
                <a:gd name="T4" fmla="*/ 7 w 112"/>
                <a:gd name="T5" fmla="*/ 15 h 15"/>
                <a:gd name="T6" fmla="*/ 5 w 112"/>
                <a:gd name="T7" fmla="*/ 15 h 15"/>
                <a:gd name="T8" fmla="*/ 4 w 112"/>
                <a:gd name="T9" fmla="*/ 12 h 15"/>
                <a:gd name="T10" fmla="*/ 1 w 112"/>
                <a:gd name="T11" fmla="*/ 11 h 15"/>
                <a:gd name="T12" fmla="*/ 0 w 112"/>
                <a:gd name="T13" fmla="*/ 8 h 15"/>
                <a:gd name="T14" fmla="*/ 0 w 112"/>
                <a:gd name="T15" fmla="*/ 8 h 15"/>
                <a:gd name="T16" fmla="*/ 4 w 112"/>
                <a:gd name="T17" fmla="*/ 1 h 15"/>
                <a:gd name="T18" fmla="*/ 5 w 112"/>
                <a:gd name="T19" fmla="*/ 1 h 15"/>
                <a:gd name="T20" fmla="*/ 7 w 112"/>
                <a:gd name="T21" fmla="*/ 0 h 15"/>
                <a:gd name="T22" fmla="*/ 105 w 112"/>
                <a:gd name="T23" fmla="*/ 0 h 15"/>
                <a:gd name="T24" fmla="*/ 105 w 112"/>
                <a:gd name="T25" fmla="*/ 0 h 15"/>
                <a:gd name="T26" fmla="*/ 109 w 112"/>
                <a:gd name="T27" fmla="*/ 1 h 15"/>
                <a:gd name="T28" fmla="*/ 110 w 112"/>
                <a:gd name="T29" fmla="*/ 1 h 15"/>
                <a:gd name="T30" fmla="*/ 112 w 112"/>
                <a:gd name="T31" fmla="*/ 5 h 15"/>
                <a:gd name="T32" fmla="*/ 112 w 112"/>
                <a:gd name="T33" fmla="*/ 8 h 15"/>
                <a:gd name="T34" fmla="*/ 112 w 112"/>
                <a:gd name="T35" fmla="*/ 8 h 15"/>
                <a:gd name="T36" fmla="*/ 112 w 112"/>
                <a:gd name="T37" fmla="*/ 11 h 15"/>
                <a:gd name="T38" fmla="*/ 110 w 112"/>
                <a:gd name="T39" fmla="*/ 12 h 15"/>
                <a:gd name="T40" fmla="*/ 109 w 112"/>
                <a:gd name="T41" fmla="*/ 15 h 15"/>
                <a:gd name="T42" fmla="*/ 105 w 112"/>
                <a:gd name="T43" fmla="*/ 15 h 15"/>
                <a:gd name="T44" fmla="*/ 105 w 112"/>
                <a:gd name="T45" fmla="*/ 15 h 15"/>
                <a:gd name="T46" fmla="*/ 105 w 112"/>
                <a:gd name="T47" fmla="*/ 15 h 15"/>
                <a:gd name="T48" fmla="*/ 105 w 112"/>
                <a:gd name="T49" fmla="*/ 1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12" h="15">
                  <a:moveTo>
                    <a:pt x="105" y="15"/>
                  </a:moveTo>
                  <a:lnTo>
                    <a:pt x="7" y="15"/>
                  </a:lnTo>
                  <a:lnTo>
                    <a:pt x="7" y="15"/>
                  </a:lnTo>
                  <a:lnTo>
                    <a:pt x="5" y="15"/>
                  </a:lnTo>
                  <a:lnTo>
                    <a:pt x="4" y="12"/>
                  </a:lnTo>
                  <a:lnTo>
                    <a:pt x="1" y="11"/>
                  </a:lnTo>
                  <a:lnTo>
                    <a:pt x="0" y="8"/>
                  </a:lnTo>
                  <a:lnTo>
                    <a:pt x="0" y="8"/>
                  </a:lnTo>
                  <a:lnTo>
                    <a:pt x="4" y="1"/>
                  </a:lnTo>
                  <a:lnTo>
                    <a:pt x="5" y="1"/>
                  </a:lnTo>
                  <a:lnTo>
                    <a:pt x="7" y="0"/>
                  </a:lnTo>
                  <a:lnTo>
                    <a:pt x="105" y="0"/>
                  </a:lnTo>
                  <a:lnTo>
                    <a:pt x="105" y="0"/>
                  </a:lnTo>
                  <a:lnTo>
                    <a:pt x="109" y="1"/>
                  </a:lnTo>
                  <a:lnTo>
                    <a:pt x="110" y="1"/>
                  </a:lnTo>
                  <a:lnTo>
                    <a:pt x="112" y="5"/>
                  </a:lnTo>
                  <a:lnTo>
                    <a:pt x="112" y="8"/>
                  </a:lnTo>
                  <a:lnTo>
                    <a:pt x="112" y="8"/>
                  </a:lnTo>
                  <a:lnTo>
                    <a:pt x="112" y="11"/>
                  </a:lnTo>
                  <a:lnTo>
                    <a:pt x="110" y="12"/>
                  </a:lnTo>
                  <a:lnTo>
                    <a:pt x="109" y="15"/>
                  </a:lnTo>
                  <a:lnTo>
                    <a:pt x="105" y="15"/>
                  </a:lnTo>
                  <a:lnTo>
                    <a:pt x="105" y="15"/>
                  </a:lnTo>
                  <a:lnTo>
                    <a:pt x="105" y="15"/>
                  </a:lnTo>
                  <a:lnTo>
                    <a:pt x="105" y="15"/>
                  </a:lnTo>
                  <a:close/>
                </a:path>
              </a:pathLst>
            </a:custGeom>
            <a:solidFill>
              <a:schemeClr val="accent3">
                <a:lumMod val="75000"/>
              </a:schemeClr>
            </a:solidFill>
            <a:ln>
              <a:noFill/>
            </a:ln>
            <a:extLst/>
          </p:spPr>
          <p:txBody>
            <a:bodyPr vert="horz" wrap="square" lIns="91440" tIns="45720" rIns="91440" bIns="45720" numCol="1" anchor="t" anchorCtr="0" compatLnSpc="1">
              <a:prstTxWarp prst="textNoShape">
                <a:avLst/>
              </a:prstTxWarp>
            </a:bodyPr>
            <a:lstStyle/>
            <a:p>
              <a:endParaRPr lang="en-US" dirty="0"/>
            </a:p>
          </p:txBody>
        </p:sp>
        <p:sp>
          <p:nvSpPr>
            <p:cNvPr id="91" name="Freeform 120"/>
            <p:cNvSpPr>
              <a:spLocks noEditPoints="1"/>
            </p:cNvSpPr>
            <p:nvPr/>
          </p:nvSpPr>
          <p:spPr bwMode="auto">
            <a:xfrm>
              <a:off x="8231607" y="4033875"/>
              <a:ext cx="287338" cy="349250"/>
            </a:xfrm>
            <a:custGeom>
              <a:avLst/>
              <a:gdLst>
                <a:gd name="T0" fmla="*/ 162 w 181"/>
                <a:gd name="T1" fmla="*/ 0 h 220"/>
                <a:gd name="T2" fmla="*/ 59 w 181"/>
                <a:gd name="T3" fmla="*/ 0 h 220"/>
                <a:gd name="T4" fmla="*/ 0 w 181"/>
                <a:gd name="T5" fmla="*/ 55 h 220"/>
                <a:gd name="T6" fmla="*/ 0 w 181"/>
                <a:gd name="T7" fmla="*/ 202 h 220"/>
                <a:gd name="T8" fmla="*/ 0 w 181"/>
                <a:gd name="T9" fmla="*/ 202 h 220"/>
                <a:gd name="T10" fmla="*/ 3 w 181"/>
                <a:gd name="T11" fmla="*/ 209 h 220"/>
                <a:gd name="T12" fmla="*/ 6 w 181"/>
                <a:gd name="T13" fmla="*/ 214 h 220"/>
                <a:gd name="T14" fmla="*/ 11 w 181"/>
                <a:gd name="T15" fmla="*/ 218 h 220"/>
                <a:gd name="T16" fmla="*/ 18 w 181"/>
                <a:gd name="T17" fmla="*/ 220 h 220"/>
                <a:gd name="T18" fmla="*/ 181 w 181"/>
                <a:gd name="T19" fmla="*/ 220 h 220"/>
                <a:gd name="T20" fmla="*/ 181 w 181"/>
                <a:gd name="T21" fmla="*/ 18 h 220"/>
                <a:gd name="T22" fmla="*/ 181 w 181"/>
                <a:gd name="T23" fmla="*/ 18 h 220"/>
                <a:gd name="T24" fmla="*/ 179 w 181"/>
                <a:gd name="T25" fmla="*/ 11 h 220"/>
                <a:gd name="T26" fmla="*/ 175 w 181"/>
                <a:gd name="T27" fmla="*/ 6 h 220"/>
                <a:gd name="T28" fmla="*/ 169 w 181"/>
                <a:gd name="T29" fmla="*/ 1 h 220"/>
                <a:gd name="T30" fmla="*/ 162 w 181"/>
                <a:gd name="T31" fmla="*/ 0 h 220"/>
                <a:gd name="T32" fmla="*/ 162 w 181"/>
                <a:gd name="T33" fmla="*/ 0 h 220"/>
                <a:gd name="T34" fmla="*/ 162 w 181"/>
                <a:gd name="T35" fmla="*/ 0 h 220"/>
                <a:gd name="T36" fmla="*/ 162 w 181"/>
                <a:gd name="T37" fmla="*/ 0 h 220"/>
                <a:gd name="T38" fmla="*/ 167 w 181"/>
                <a:gd name="T39" fmla="*/ 204 h 220"/>
                <a:gd name="T40" fmla="*/ 25 w 181"/>
                <a:gd name="T41" fmla="*/ 204 h 220"/>
                <a:gd name="T42" fmla="*/ 25 w 181"/>
                <a:gd name="T43" fmla="*/ 204 h 220"/>
                <a:gd name="T44" fmla="*/ 21 w 181"/>
                <a:gd name="T45" fmla="*/ 204 h 220"/>
                <a:gd name="T46" fmla="*/ 18 w 181"/>
                <a:gd name="T47" fmla="*/ 203 h 220"/>
                <a:gd name="T48" fmla="*/ 15 w 181"/>
                <a:gd name="T49" fmla="*/ 197 h 220"/>
                <a:gd name="T50" fmla="*/ 15 w 181"/>
                <a:gd name="T51" fmla="*/ 193 h 220"/>
                <a:gd name="T52" fmla="*/ 15 w 181"/>
                <a:gd name="T53" fmla="*/ 63 h 220"/>
                <a:gd name="T54" fmla="*/ 49 w 181"/>
                <a:gd name="T55" fmla="*/ 63 h 220"/>
                <a:gd name="T56" fmla="*/ 49 w 181"/>
                <a:gd name="T57" fmla="*/ 63 h 220"/>
                <a:gd name="T58" fmla="*/ 55 w 181"/>
                <a:gd name="T59" fmla="*/ 63 h 220"/>
                <a:gd name="T60" fmla="*/ 60 w 181"/>
                <a:gd name="T61" fmla="*/ 60 h 220"/>
                <a:gd name="T62" fmla="*/ 63 w 181"/>
                <a:gd name="T63" fmla="*/ 55 h 220"/>
                <a:gd name="T64" fmla="*/ 66 w 181"/>
                <a:gd name="T65" fmla="*/ 46 h 220"/>
                <a:gd name="T66" fmla="*/ 66 w 181"/>
                <a:gd name="T67" fmla="*/ 14 h 220"/>
                <a:gd name="T68" fmla="*/ 157 w 181"/>
                <a:gd name="T69" fmla="*/ 14 h 220"/>
                <a:gd name="T70" fmla="*/ 157 w 181"/>
                <a:gd name="T71" fmla="*/ 14 h 220"/>
                <a:gd name="T72" fmla="*/ 160 w 181"/>
                <a:gd name="T73" fmla="*/ 14 h 220"/>
                <a:gd name="T74" fmla="*/ 162 w 181"/>
                <a:gd name="T75" fmla="*/ 17 h 220"/>
                <a:gd name="T76" fmla="*/ 167 w 181"/>
                <a:gd name="T77" fmla="*/ 21 h 220"/>
                <a:gd name="T78" fmla="*/ 167 w 181"/>
                <a:gd name="T79" fmla="*/ 27 h 220"/>
                <a:gd name="T80" fmla="*/ 167 w 181"/>
                <a:gd name="T81" fmla="*/ 204 h 220"/>
                <a:gd name="T82" fmla="*/ 167 w 181"/>
                <a:gd name="T83" fmla="*/ 204 h 220"/>
                <a:gd name="T84" fmla="*/ 167 w 181"/>
                <a:gd name="T85" fmla="*/ 204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81" h="220">
                  <a:moveTo>
                    <a:pt x="162" y="0"/>
                  </a:moveTo>
                  <a:lnTo>
                    <a:pt x="59" y="0"/>
                  </a:lnTo>
                  <a:lnTo>
                    <a:pt x="0" y="55"/>
                  </a:lnTo>
                  <a:lnTo>
                    <a:pt x="0" y="202"/>
                  </a:lnTo>
                  <a:lnTo>
                    <a:pt x="0" y="202"/>
                  </a:lnTo>
                  <a:lnTo>
                    <a:pt x="3" y="209"/>
                  </a:lnTo>
                  <a:lnTo>
                    <a:pt x="6" y="214"/>
                  </a:lnTo>
                  <a:lnTo>
                    <a:pt x="11" y="218"/>
                  </a:lnTo>
                  <a:lnTo>
                    <a:pt x="18" y="220"/>
                  </a:lnTo>
                  <a:lnTo>
                    <a:pt x="181" y="220"/>
                  </a:lnTo>
                  <a:lnTo>
                    <a:pt x="181" y="18"/>
                  </a:lnTo>
                  <a:lnTo>
                    <a:pt x="181" y="18"/>
                  </a:lnTo>
                  <a:lnTo>
                    <a:pt x="179" y="11"/>
                  </a:lnTo>
                  <a:lnTo>
                    <a:pt x="175" y="6"/>
                  </a:lnTo>
                  <a:lnTo>
                    <a:pt x="169" y="1"/>
                  </a:lnTo>
                  <a:lnTo>
                    <a:pt x="162" y="0"/>
                  </a:lnTo>
                  <a:lnTo>
                    <a:pt x="162" y="0"/>
                  </a:lnTo>
                  <a:lnTo>
                    <a:pt x="162" y="0"/>
                  </a:lnTo>
                  <a:lnTo>
                    <a:pt x="162" y="0"/>
                  </a:lnTo>
                  <a:close/>
                  <a:moveTo>
                    <a:pt x="167" y="204"/>
                  </a:moveTo>
                  <a:lnTo>
                    <a:pt x="25" y="204"/>
                  </a:lnTo>
                  <a:lnTo>
                    <a:pt x="25" y="204"/>
                  </a:lnTo>
                  <a:lnTo>
                    <a:pt x="21" y="204"/>
                  </a:lnTo>
                  <a:lnTo>
                    <a:pt x="18" y="203"/>
                  </a:lnTo>
                  <a:lnTo>
                    <a:pt x="15" y="197"/>
                  </a:lnTo>
                  <a:lnTo>
                    <a:pt x="15" y="193"/>
                  </a:lnTo>
                  <a:lnTo>
                    <a:pt x="15" y="63"/>
                  </a:lnTo>
                  <a:lnTo>
                    <a:pt x="49" y="63"/>
                  </a:lnTo>
                  <a:lnTo>
                    <a:pt x="49" y="63"/>
                  </a:lnTo>
                  <a:lnTo>
                    <a:pt x="55" y="63"/>
                  </a:lnTo>
                  <a:lnTo>
                    <a:pt x="60" y="60"/>
                  </a:lnTo>
                  <a:lnTo>
                    <a:pt x="63" y="55"/>
                  </a:lnTo>
                  <a:lnTo>
                    <a:pt x="66" y="46"/>
                  </a:lnTo>
                  <a:lnTo>
                    <a:pt x="66" y="14"/>
                  </a:lnTo>
                  <a:lnTo>
                    <a:pt x="157" y="14"/>
                  </a:lnTo>
                  <a:lnTo>
                    <a:pt x="157" y="14"/>
                  </a:lnTo>
                  <a:lnTo>
                    <a:pt x="160" y="14"/>
                  </a:lnTo>
                  <a:lnTo>
                    <a:pt x="162" y="17"/>
                  </a:lnTo>
                  <a:lnTo>
                    <a:pt x="167" y="21"/>
                  </a:lnTo>
                  <a:lnTo>
                    <a:pt x="167" y="27"/>
                  </a:lnTo>
                  <a:lnTo>
                    <a:pt x="167" y="204"/>
                  </a:lnTo>
                  <a:lnTo>
                    <a:pt x="167" y="204"/>
                  </a:lnTo>
                  <a:lnTo>
                    <a:pt x="167" y="204"/>
                  </a:lnTo>
                  <a:close/>
                </a:path>
              </a:pathLst>
            </a:custGeom>
            <a:solidFill>
              <a:schemeClr val="accent3">
                <a:lumMod val="75000"/>
              </a:schemeClr>
            </a:solidFill>
            <a:ln>
              <a:noFill/>
            </a:ln>
            <a:extLst/>
          </p:spPr>
          <p:txBody>
            <a:bodyPr vert="horz" wrap="square" lIns="91440" tIns="45720" rIns="91440" bIns="45720" numCol="1" anchor="t" anchorCtr="0" compatLnSpc="1">
              <a:prstTxWarp prst="textNoShape">
                <a:avLst/>
              </a:prstTxWarp>
            </a:bodyPr>
            <a:lstStyle/>
            <a:p>
              <a:endParaRPr lang="en-US" dirty="0"/>
            </a:p>
          </p:txBody>
        </p:sp>
        <p:grpSp>
          <p:nvGrpSpPr>
            <p:cNvPr id="92" name="Group 91"/>
            <p:cNvGrpSpPr/>
            <p:nvPr/>
          </p:nvGrpSpPr>
          <p:grpSpPr>
            <a:xfrm>
              <a:off x="8752622" y="1848943"/>
              <a:ext cx="317500" cy="1112837"/>
              <a:chOff x="9542463" y="3455988"/>
              <a:chExt cx="317500" cy="1112837"/>
            </a:xfrm>
          </p:grpSpPr>
          <p:sp>
            <p:nvSpPr>
              <p:cNvPr id="93" name="Rectangle 133"/>
              <p:cNvSpPr>
                <a:spLocks noChangeArrowheads="1"/>
              </p:cNvSpPr>
              <p:nvPr/>
            </p:nvSpPr>
            <p:spPr bwMode="auto">
              <a:xfrm>
                <a:off x="9609138" y="3890963"/>
                <a:ext cx="182563" cy="114300"/>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4" name="Freeform 134"/>
              <p:cNvSpPr>
                <a:spLocks/>
              </p:cNvSpPr>
              <p:nvPr/>
            </p:nvSpPr>
            <p:spPr bwMode="auto">
              <a:xfrm>
                <a:off x="9609138" y="3746500"/>
                <a:ext cx="182563" cy="144463"/>
              </a:xfrm>
              <a:custGeom>
                <a:avLst/>
                <a:gdLst>
                  <a:gd name="T0" fmla="*/ 27 w 82"/>
                  <a:gd name="T1" fmla="*/ 65 h 65"/>
                  <a:gd name="T2" fmla="*/ 0 w 82"/>
                  <a:gd name="T3" fmla="*/ 65 h 65"/>
                  <a:gd name="T4" fmla="*/ 0 w 82"/>
                  <a:gd name="T5" fmla="*/ 46 h 65"/>
                  <a:gd name="T6" fmla="*/ 1 w 82"/>
                  <a:gd name="T7" fmla="*/ 46 h 65"/>
                  <a:gd name="T8" fmla="*/ 31 w 82"/>
                  <a:gd name="T9" fmla="*/ 0 h 65"/>
                  <a:gd name="T10" fmla="*/ 51 w 82"/>
                  <a:gd name="T11" fmla="*/ 0 h 65"/>
                  <a:gd name="T12" fmla="*/ 82 w 82"/>
                  <a:gd name="T13" fmla="*/ 46 h 65"/>
                  <a:gd name="T14" fmla="*/ 82 w 82"/>
                  <a:gd name="T15" fmla="*/ 46 h 65"/>
                  <a:gd name="T16" fmla="*/ 82 w 82"/>
                  <a:gd name="T17" fmla="*/ 46 h 65"/>
                  <a:gd name="T18" fmla="*/ 82 w 82"/>
                  <a:gd name="T19" fmla="*/ 65 h 65"/>
                  <a:gd name="T20" fmla="*/ 27 w 82"/>
                  <a:gd name="T21" fmla="*/ 65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2" h="65">
                    <a:moveTo>
                      <a:pt x="27" y="65"/>
                    </a:moveTo>
                    <a:cubicBezTo>
                      <a:pt x="0" y="65"/>
                      <a:pt x="0" y="65"/>
                      <a:pt x="0" y="65"/>
                    </a:cubicBezTo>
                    <a:cubicBezTo>
                      <a:pt x="0" y="46"/>
                      <a:pt x="0" y="46"/>
                      <a:pt x="0" y="46"/>
                    </a:cubicBezTo>
                    <a:cubicBezTo>
                      <a:pt x="1" y="46"/>
                      <a:pt x="1" y="46"/>
                      <a:pt x="1" y="46"/>
                    </a:cubicBezTo>
                    <a:cubicBezTo>
                      <a:pt x="31" y="0"/>
                      <a:pt x="31" y="0"/>
                      <a:pt x="31" y="0"/>
                    </a:cubicBezTo>
                    <a:cubicBezTo>
                      <a:pt x="51" y="0"/>
                      <a:pt x="51" y="0"/>
                      <a:pt x="51" y="0"/>
                    </a:cubicBezTo>
                    <a:cubicBezTo>
                      <a:pt x="82" y="46"/>
                      <a:pt x="82" y="46"/>
                      <a:pt x="82" y="46"/>
                    </a:cubicBezTo>
                    <a:cubicBezTo>
                      <a:pt x="82" y="46"/>
                      <a:pt x="82" y="46"/>
                      <a:pt x="82" y="46"/>
                    </a:cubicBezTo>
                    <a:cubicBezTo>
                      <a:pt x="82" y="46"/>
                      <a:pt x="82" y="46"/>
                      <a:pt x="82" y="46"/>
                    </a:cubicBezTo>
                    <a:cubicBezTo>
                      <a:pt x="82" y="65"/>
                      <a:pt x="82" y="65"/>
                      <a:pt x="82" y="65"/>
                    </a:cubicBezTo>
                    <a:lnTo>
                      <a:pt x="27" y="65"/>
                    </a:lnTo>
                    <a:close/>
                  </a:path>
                </a:pathLst>
              </a:custGeom>
              <a:solidFill>
                <a:srgbClr val="B4B4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5" name="Freeform 135"/>
              <p:cNvSpPr>
                <a:spLocks/>
              </p:cNvSpPr>
              <p:nvPr/>
            </p:nvSpPr>
            <p:spPr bwMode="auto">
              <a:xfrm>
                <a:off x="9623425" y="3849688"/>
                <a:ext cx="44450" cy="41275"/>
              </a:xfrm>
              <a:custGeom>
                <a:avLst/>
                <a:gdLst>
                  <a:gd name="T0" fmla="*/ 28 w 28"/>
                  <a:gd name="T1" fmla="*/ 26 h 26"/>
                  <a:gd name="T2" fmla="*/ 26 w 28"/>
                  <a:gd name="T3" fmla="*/ 26 h 26"/>
                  <a:gd name="T4" fmla="*/ 0 w 28"/>
                  <a:gd name="T5" fmla="*/ 26 h 26"/>
                  <a:gd name="T6" fmla="*/ 0 w 28"/>
                  <a:gd name="T7" fmla="*/ 0 h 26"/>
                  <a:gd name="T8" fmla="*/ 28 w 28"/>
                  <a:gd name="T9" fmla="*/ 0 h 26"/>
                  <a:gd name="T10" fmla="*/ 28 w 28"/>
                  <a:gd name="T11" fmla="*/ 26 h 26"/>
                </a:gdLst>
                <a:ahLst/>
                <a:cxnLst>
                  <a:cxn ang="0">
                    <a:pos x="T0" y="T1"/>
                  </a:cxn>
                  <a:cxn ang="0">
                    <a:pos x="T2" y="T3"/>
                  </a:cxn>
                  <a:cxn ang="0">
                    <a:pos x="T4" y="T5"/>
                  </a:cxn>
                  <a:cxn ang="0">
                    <a:pos x="T6" y="T7"/>
                  </a:cxn>
                  <a:cxn ang="0">
                    <a:pos x="T8" y="T9"/>
                  </a:cxn>
                  <a:cxn ang="0">
                    <a:pos x="T10" y="T11"/>
                  </a:cxn>
                </a:cxnLst>
                <a:rect l="0" t="0" r="r" b="b"/>
                <a:pathLst>
                  <a:path w="28" h="26">
                    <a:moveTo>
                      <a:pt x="28" y="26"/>
                    </a:moveTo>
                    <a:lnTo>
                      <a:pt x="26" y="26"/>
                    </a:lnTo>
                    <a:lnTo>
                      <a:pt x="0" y="26"/>
                    </a:lnTo>
                    <a:lnTo>
                      <a:pt x="0" y="0"/>
                    </a:lnTo>
                    <a:lnTo>
                      <a:pt x="28" y="0"/>
                    </a:lnTo>
                    <a:lnTo>
                      <a:pt x="28" y="26"/>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6" name="Freeform 136"/>
              <p:cNvSpPr>
                <a:spLocks/>
              </p:cNvSpPr>
              <p:nvPr/>
            </p:nvSpPr>
            <p:spPr bwMode="auto">
              <a:xfrm>
                <a:off x="9623425" y="3746500"/>
                <a:ext cx="80963" cy="103188"/>
              </a:xfrm>
              <a:custGeom>
                <a:avLst/>
                <a:gdLst>
                  <a:gd name="T0" fmla="*/ 51 w 51"/>
                  <a:gd name="T1" fmla="*/ 0 h 65"/>
                  <a:gd name="T2" fmla="*/ 42 w 51"/>
                  <a:gd name="T3" fmla="*/ 0 h 65"/>
                  <a:gd name="T4" fmla="*/ 0 w 51"/>
                  <a:gd name="T5" fmla="*/ 65 h 65"/>
                  <a:gd name="T6" fmla="*/ 28 w 51"/>
                  <a:gd name="T7" fmla="*/ 65 h 65"/>
                  <a:gd name="T8" fmla="*/ 51 w 51"/>
                  <a:gd name="T9" fmla="*/ 0 h 65"/>
                </a:gdLst>
                <a:ahLst/>
                <a:cxnLst>
                  <a:cxn ang="0">
                    <a:pos x="T0" y="T1"/>
                  </a:cxn>
                  <a:cxn ang="0">
                    <a:pos x="T2" y="T3"/>
                  </a:cxn>
                  <a:cxn ang="0">
                    <a:pos x="T4" y="T5"/>
                  </a:cxn>
                  <a:cxn ang="0">
                    <a:pos x="T6" y="T7"/>
                  </a:cxn>
                  <a:cxn ang="0">
                    <a:pos x="T8" y="T9"/>
                  </a:cxn>
                </a:cxnLst>
                <a:rect l="0" t="0" r="r" b="b"/>
                <a:pathLst>
                  <a:path w="51" h="65">
                    <a:moveTo>
                      <a:pt x="51" y="0"/>
                    </a:moveTo>
                    <a:lnTo>
                      <a:pt x="42" y="0"/>
                    </a:lnTo>
                    <a:lnTo>
                      <a:pt x="0" y="65"/>
                    </a:lnTo>
                    <a:lnTo>
                      <a:pt x="28" y="65"/>
                    </a:lnTo>
                    <a:lnTo>
                      <a:pt x="51" y="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7" name="Freeform 137"/>
              <p:cNvSpPr>
                <a:spLocks noEditPoints="1"/>
              </p:cNvSpPr>
              <p:nvPr/>
            </p:nvSpPr>
            <p:spPr bwMode="auto">
              <a:xfrm>
                <a:off x="9558338" y="3455988"/>
                <a:ext cx="284163" cy="338138"/>
              </a:xfrm>
              <a:custGeom>
                <a:avLst/>
                <a:gdLst>
                  <a:gd name="T0" fmla="*/ 64 w 128"/>
                  <a:gd name="T1" fmla="*/ 8 h 152"/>
                  <a:gd name="T2" fmla="*/ 117 w 128"/>
                  <a:gd name="T3" fmla="*/ 23 h 152"/>
                  <a:gd name="T4" fmla="*/ 64 w 128"/>
                  <a:gd name="T5" fmla="*/ 38 h 152"/>
                  <a:gd name="T6" fmla="*/ 11 w 128"/>
                  <a:gd name="T7" fmla="*/ 23 h 152"/>
                  <a:gd name="T8" fmla="*/ 64 w 128"/>
                  <a:gd name="T9" fmla="*/ 8 h 152"/>
                  <a:gd name="T10" fmla="*/ 64 w 128"/>
                  <a:gd name="T11" fmla="*/ 0 h 152"/>
                  <a:gd name="T12" fmla="*/ 39 w 128"/>
                  <a:gd name="T13" fmla="*/ 2 h 152"/>
                  <a:gd name="T14" fmla="*/ 19 w 128"/>
                  <a:gd name="T15" fmla="*/ 7 h 152"/>
                  <a:gd name="T16" fmla="*/ 5 w 128"/>
                  <a:gd name="T17" fmla="*/ 15 h 152"/>
                  <a:gd name="T18" fmla="*/ 1 w 128"/>
                  <a:gd name="T19" fmla="*/ 20 h 152"/>
                  <a:gd name="T20" fmla="*/ 0 w 128"/>
                  <a:gd name="T21" fmla="*/ 25 h 152"/>
                  <a:gd name="T22" fmla="*/ 0 w 128"/>
                  <a:gd name="T23" fmla="*/ 126 h 152"/>
                  <a:gd name="T24" fmla="*/ 1 w 128"/>
                  <a:gd name="T25" fmla="*/ 132 h 152"/>
                  <a:gd name="T26" fmla="*/ 5 w 128"/>
                  <a:gd name="T27" fmla="*/ 136 h 152"/>
                  <a:gd name="T28" fmla="*/ 19 w 128"/>
                  <a:gd name="T29" fmla="*/ 144 h 152"/>
                  <a:gd name="T30" fmla="*/ 39 w 128"/>
                  <a:gd name="T31" fmla="*/ 150 h 152"/>
                  <a:gd name="T32" fmla="*/ 64 w 128"/>
                  <a:gd name="T33" fmla="*/ 152 h 152"/>
                  <a:gd name="T34" fmla="*/ 110 w 128"/>
                  <a:gd name="T35" fmla="*/ 144 h 152"/>
                  <a:gd name="T36" fmla="*/ 123 w 128"/>
                  <a:gd name="T37" fmla="*/ 136 h 152"/>
                  <a:gd name="T38" fmla="*/ 127 w 128"/>
                  <a:gd name="T39" fmla="*/ 132 h 152"/>
                  <a:gd name="T40" fmla="*/ 128 w 128"/>
                  <a:gd name="T41" fmla="*/ 126 h 152"/>
                  <a:gd name="T42" fmla="*/ 128 w 128"/>
                  <a:gd name="T43" fmla="*/ 25 h 152"/>
                  <a:gd name="T44" fmla="*/ 123 w 128"/>
                  <a:gd name="T45" fmla="*/ 15 h 152"/>
                  <a:gd name="T46" fmla="*/ 110 w 128"/>
                  <a:gd name="T47" fmla="*/ 7 h 152"/>
                  <a:gd name="T48" fmla="*/ 89 w 128"/>
                  <a:gd name="T49" fmla="*/ 2 h 152"/>
                  <a:gd name="T50" fmla="*/ 64 w 128"/>
                  <a:gd name="T51" fmla="*/ 0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8" h="152">
                    <a:moveTo>
                      <a:pt x="64" y="8"/>
                    </a:moveTo>
                    <a:cubicBezTo>
                      <a:pt x="93" y="8"/>
                      <a:pt x="117" y="14"/>
                      <a:pt x="117" y="23"/>
                    </a:cubicBezTo>
                    <a:cubicBezTo>
                      <a:pt x="117" y="31"/>
                      <a:pt x="93" y="38"/>
                      <a:pt x="64" y="38"/>
                    </a:cubicBezTo>
                    <a:cubicBezTo>
                      <a:pt x="34" y="38"/>
                      <a:pt x="11" y="31"/>
                      <a:pt x="11" y="23"/>
                    </a:cubicBezTo>
                    <a:cubicBezTo>
                      <a:pt x="11" y="14"/>
                      <a:pt x="34" y="8"/>
                      <a:pt x="64" y="8"/>
                    </a:cubicBezTo>
                    <a:close/>
                    <a:moveTo>
                      <a:pt x="64" y="0"/>
                    </a:moveTo>
                    <a:cubicBezTo>
                      <a:pt x="39" y="2"/>
                      <a:pt x="39" y="2"/>
                      <a:pt x="39" y="2"/>
                    </a:cubicBezTo>
                    <a:cubicBezTo>
                      <a:pt x="19" y="7"/>
                      <a:pt x="19" y="7"/>
                      <a:pt x="19" y="7"/>
                    </a:cubicBezTo>
                    <a:cubicBezTo>
                      <a:pt x="5" y="15"/>
                      <a:pt x="5" y="15"/>
                      <a:pt x="5" y="15"/>
                    </a:cubicBezTo>
                    <a:cubicBezTo>
                      <a:pt x="1" y="20"/>
                      <a:pt x="1" y="20"/>
                      <a:pt x="1" y="20"/>
                    </a:cubicBezTo>
                    <a:cubicBezTo>
                      <a:pt x="0" y="25"/>
                      <a:pt x="0" y="25"/>
                      <a:pt x="0" y="25"/>
                    </a:cubicBezTo>
                    <a:cubicBezTo>
                      <a:pt x="0" y="126"/>
                      <a:pt x="0" y="126"/>
                      <a:pt x="0" y="126"/>
                    </a:cubicBezTo>
                    <a:cubicBezTo>
                      <a:pt x="1" y="132"/>
                      <a:pt x="1" y="132"/>
                      <a:pt x="1" y="132"/>
                    </a:cubicBezTo>
                    <a:cubicBezTo>
                      <a:pt x="5" y="136"/>
                      <a:pt x="5" y="136"/>
                      <a:pt x="5" y="136"/>
                    </a:cubicBezTo>
                    <a:cubicBezTo>
                      <a:pt x="19" y="144"/>
                      <a:pt x="19" y="144"/>
                      <a:pt x="19" y="144"/>
                    </a:cubicBezTo>
                    <a:cubicBezTo>
                      <a:pt x="39" y="150"/>
                      <a:pt x="39" y="150"/>
                      <a:pt x="39" y="150"/>
                    </a:cubicBezTo>
                    <a:cubicBezTo>
                      <a:pt x="47" y="151"/>
                      <a:pt x="55" y="152"/>
                      <a:pt x="64" y="152"/>
                    </a:cubicBezTo>
                    <a:cubicBezTo>
                      <a:pt x="82" y="152"/>
                      <a:pt x="98" y="149"/>
                      <a:pt x="110" y="144"/>
                    </a:cubicBezTo>
                    <a:cubicBezTo>
                      <a:pt x="115" y="142"/>
                      <a:pt x="120" y="139"/>
                      <a:pt x="123" y="136"/>
                    </a:cubicBezTo>
                    <a:cubicBezTo>
                      <a:pt x="125" y="135"/>
                      <a:pt x="126" y="133"/>
                      <a:pt x="127" y="132"/>
                    </a:cubicBezTo>
                    <a:cubicBezTo>
                      <a:pt x="128" y="130"/>
                      <a:pt x="128" y="128"/>
                      <a:pt x="128" y="126"/>
                    </a:cubicBezTo>
                    <a:cubicBezTo>
                      <a:pt x="128" y="25"/>
                      <a:pt x="128" y="25"/>
                      <a:pt x="128" y="25"/>
                    </a:cubicBezTo>
                    <a:cubicBezTo>
                      <a:pt x="128" y="22"/>
                      <a:pt x="127" y="18"/>
                      <a:pt x="123" y="15"/>
                    </a:cubicBezTo>
                    <a:cubicBezTo>
                      <a:pt x="120" y="12"/>
                      <a:pt x="115" y="10"/>
                      <a:pt x="110" y="7"/>
                    </a:cubicBezTo>
                    <a:cubicBezTo>
                      <a:pt x="104" y="5"/>
                      <a:pt x="97" y="3"/>
                      <a:pt x="89" y="2"/>
                    </a:cubicBezTo>
                    <a:cubicBezTo>
                      <a:pt x="82" y="1"/>
                      <a:pt x="73" y="0"/>
                      <a:pt x="64" y="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8" name="Rectangle 138"/>
              <p:cNvSpPr>
                <a:spLocks noChangeArrowheads="1"/>
              </p:cNvSpPr>
              <p:nvPr/>
            </p:nvSpPr>
            <p:spPr bwMode="auto">
              <a:xfrm>
                <a:off x="9623425" y="3890963"/>
                <a:ext cx="44450" cy="114300"/>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9" name="Freeform 139"/>
              <p:cNvSpPr>
                <a:spLocks/>
              </p:cNvSpPr>
              <p:nvPr/>
            </p:nvSpPr>
            <p:spPr bwMode="auto">
              <a:xfrm>
                <a:off x="9542463" y="3949700"/>
                <a:ext cx="317500" cy="234950"/>
              </a:xfrm>
              <a:custGeom>
                <a:avLst/>
                <a:gdLst>
                  <a:gd name="T0" fmla="*/ 143 w 143"/>
                  <a:gd name="T1" fmla="*/ 53 h 106"/>
                  <a:gd name="T2" fmla="*/ 130 w 143"/>
                  <a:gd name="T3" fmla="*/ 38 h 106"/>
                  <a:gd name="T4" fmla="*/ 130 w 143"/>
                  <a:gd name="T5" fmla="*/ 37 h 106"/>
                  <a:gd name="T6" fmla="*/ 108 w 143"/>
                  <a:gd name="T7" fmla="*/ 15 h 106"/>
                  <a:gd name="T8" fmla="*/ 93 w 143"/>
                  <a:gd name="T9" fmla="*/ 21 h 106"/>
                  <a:gd name="T10" fmla="*/ 63 w 143"/>
                  <a:gd name="T11" fmla="*/ 0 h 106"/>
                  <a:gd name="T12" fmla="*/ 37 w 143"/>
                  <a:gd name="T13" fmla="*/ 13 h 106"/>
                  <a:gd name="T14" fmla="*/ 29 w 143"/>
                  <a:gd name="T15" fmla="*/ 11 h 106"/>
                  <a:gd name="T16" fmla="*/ 19 w 143"/>
                  <a:gd name="T17" fmla="*/ 14 h 106"/>
                  <a:gd name="T18" fmla="*/ 11 w 143"/>
                  <a:gd name="T19" fmla="*/ 29 h 106"/>
                  <a:gd name="T20" fmla="*/ 0 w 143"/>
                  <a:gd name="T21" fmla="*/ 49 h 106"/>
                  <a:gd name="T22" fmla="*/ 0 w 143"/>
                  <a:gd name="T23" fmla="*/ 51 h 106"/>
                  <a:gd name="T24" fmla="*/ 0 w 143"/>
                  <a:gd name="T25" fmla="*/ 52 h 106"/>
                  <a:gd name="T26" fmla="*/ 18 w 143"/>
                  <a:gd name="T27" fmla="*/ 73 h 106"/>
                  <a:gd name="T28" fmla="*/ 18 w 143"/>
                  <a:gd name="T29" fmla="*/ 75 h 106"/>
                  <a:gd name="T30" fmla="*/ 49 w 143"/>
                  <a:gd name="T31" fmla="*/ 106 h 106"/>
                  <a:gd name="T32" fmla="*/ 75 w 143"/>
                  <a:gd name="T33" fmla="*/ 92 h 106"/>
                  <a:gd name="T34" fmla="*/ 83 w 143"/>
                  <a:gd name="T35" fmla="*/ 94 h 106"/>
                  <a:gd name="T36" fmla="*/ 93 w 143"/>
                  <a:gd name="T37" fmla="*/ 91 h 106"/>
                  <a:gd name="T38" fmla="*/ 94 w 143"/>
                  <a:gd name="T39" fmla="*/ 90 h 106"/>
                  <a:gd name="T40" fmla="*/ 98 w 143"/>
                  <a:gd name="T41" fmla="*/ 90 h 106"/>
                  <a:gd name="T42" fmla="*/ 116 w 143"/>
                  <a:gd name="T43" fmla="*/ 80 h 106"/>
                  <a:gd name="T44" fmla="*/ 122 w 143"/>
                  <a:gd name="T45" fmla="*/ 82 h 106"/>
                  <a:gd name="T46" fmla="*/ 129 w 143"/>
                  <a:gd name="T47" fmla="*/ 80 h 106"/>
                  <a:gd name="T48" fmla="*/ 135 w 143"/>
                  <a:gd name="T49" fmla="*/ 70 h 106"/>
                  <a:gd name="T50" fmla="*/ 143 w 143"/>
                  <a:gd name="T51" fmla="*/ 55 h 106"/>
                  <a:gd name="T52" fmla="*/ 143 w 143"/>
                  <a:gd name="T53" fmla="*/ 54 h 106"/>
                  <a:gd name="T54" fmla="*/ 143 w 143"/>
                  <a:gd name="T55" fmla="*/ 53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43" h="106">
                    <a:moveTo>
                      <a:pt x="143" y="53"/>
                    </a:moveTo>
                    <a:cubicBezTo>
                      <a:pt x="143" y="45"/>
                      <a:pt x="137" y="39"/>
                      <a:pt x="130" y="38"/>
                    </a:cubicBezTo>
                    <a:cubicBezTo>
                      <a:pt x="130" y="38"/>
                      <a:pt x="130" y="37"/>
                      <a:pt x="130" y="37"/>
                    </a:cubicBezTo>
                    <a:cubicBezTo>
                      <a:pt x="130" y="25"/>
                      <a:pt x="120" y="15"/>
                      <a:pt x="108" y="15"/>
                    </a:cubicBezTo>
                    <a:cubicBezTo>
                      <a:pt x="102" y="15"/>
                      <a:pt x="97" y="17"/>
                      <a:pt x="93" y="21"/>
                    </a:cubicBezTo>
                    <a:cubicBezTo>
                      <a:pt x="89" y="9"/>
                      <a:pt x="77" y="0"/>
                      <a:pt x="63" y="0"/>
                    </a:cubicBezTo>
                    <a:cubicBezTo>
                      <a:pt x="52" y="0"/>
                      <a:pt x="43" y="5"/>
                      <a:pt x="37" y="13"/>
                    </a:cubicBezTo>
                    <a:cubicBezTo>
                      <a:pt x="35" y="12"/>
                      <a:pt x="32" y="11"/>
                      <a:pt x="29" y="11"/>
                    </a:cubicBezTo>
                    <a:cubicBezTo>
                      <a:pt x="25" y="11"/>
                      <a:pt x="22" y="12"/>
                      <a:pt x="19" y="14"/>
                    </a:cubicBezTo>
                    <a:cubicBezTo>
                      <a:pt x="14" y="17"/>
                      <a:pt x="11" y="23"/>
                      <a:pt x="11" y="29"/>
                    </a:cubicBezTo>
                    <a:cubicBezTo>
                      <a:pt x="4" y="33"/>
                      <a:pt x="0" y="41"/>
                      <a:pt x="0" y="49"/>
                    </a:cubicBezTo>
                    <a:cubicBezTo>
                      <a:pt x="0" y="50"/>
                      <a:pt x="0" y="50"/>
                      <a:pt x="0" y="51"/>
                    </a:cubicBezTo>
                    <a:cubicBezTo>
                      <a:pt x="0" y="51"/>
                      <a:pt x="0" y="52"/>
                      <a:pt x="0" y="52"/>
                    </a:cubicBezTo>
                    <a:cubicBezTo>
                      <a:pt x="0" y="63"/>
                      <a:pt x="8" y="72"/>
                      <a:pt x="18" y="73"/>
                    </a:cubicBezTo>
                    <a:cubicBezTo>
                      <a:pt x="18" y="74"/>
                      <a:pt x="18" y="74"/>
                      <a:pt x="18" y="75"/>
                    </a:cubicBezTo>
                    <a:cubicBezTo>
                      <a:pt x="18" y="92"/>
                      <a:pt x="32" y="106"/>
                      <a:pt x="49" y="106"/>
                    </a:cubicBezTo>
                    <a:cubicBezTo>
                      <a:pt x="59" y="106"/>
                      <a:pt x="69" y="100"/>
                      <a:pt x="75" y="92"/>
                    </a:cubicBezTo>
                    <a:cubicBezTo>
                      <a:pt x="77" y="93"/>
                      <a:pt x="80" y="94"/>
                      <a:pt x="83" y="94"/>
                    </a:cubicBezTo>
                    <a:cubicBezTo>
                      <a:pt x="87" y="94"/>
                      <a:pt x="90" y="93"/>
                      <a:pt x="93" y="91"/>
                    </a:cubicBezTo>
                    <a:cubicBezTo>
                      <a:pt x="94" y="91"/>
                      <a:pt x="94" y="90"/>
                      <a:pt x="94" y="90"/>
                    </a:cubicBezTo>
                    <a:cubicBezTo>
                      <a:pt x="96" y="90"/>
                      <a:pt x="97" y="90"/>
                      <a:pt x="98" y="90"/>
                    </a:cubicBezTo>
                    <a:cubicBezTo>
                      <a:pt x="105" y="90"/>
                      <a:pt x="112" y="86"/>
                      <a:pt x="116" y="80"/>
                    </a:cubicBezTo>
                    <a:cubicBezTo>
                      <a:pt x="118" y="81"/>
                      <a:pt x="120" y="82"/>
                      <a:pt x="122" y="82"/>
                    </a:cubicBezTo>
                    <a:cubicBezTo>
                      <a:pt x="125" y="82"/>
                      <a:pt x="127" y="81"/>
                      <a:pt x="129" y="80"/>
                    </a:cubicBezTo>
                    <a:cubicBezTo>
                      <a:pt x="133" y="78"/>
                      <a:pt x="135" y="74"/>
                      <a:pt x="135" y="70"/>
                    </a:cubicBezTo>
                    <a:cubicBezTo>
                      <a:pt x="140" y="66"/>
                      <a:pt x="143" y="61"/>
                      <a:pt x="143" y="55"/>
                    </a:cubicBezTo>
                    <a:cubicBezTo>
                      <a:pt x="143" y="55"/>
                      <a:pt x="143" y="54"/>
                      <a:pt x="143" y="54"/>
                    </a:cubicBezTo>
                    <a:cubicBezTo>
                      <a:pt x="143" y="53"/>
                      <a:pt x="143" y="53"/>
                      <a:pt x="143" y="53"/>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0" name="Freeform 140"/>
              <p:cNvSpPr>
                <a:spLocks/>
              </p:cNvSpPr>
              <p:nvPr/>
            </p:nvSpPr>
            <p:spPr bwMode="auto">
              <a:xfrm>
                <a:off x="9685338" y="4146550"/>
                <a:ext cx="11113" cy="373063"/>
              </a:xfrm>
              <a:custGeom>
                <a:avLst/>
                <a:gdLst>
                  <a:gd name="T0" fmla="*/ 3 w 5"/>
                  <a:gd name="T1" fmla="*/ 168 h 168"/>
                  <a:gd name="T2" fmla="*/ 0 w 5"/>
                  <a:gd name="T3" fmla="*/ 165 h 168"/>
                  <a:gd name="T4" fmla="*/ 0 w 5"/>
                  <a:gd name="T5" fmla="*/ 2 h 168"/>
                  <a:gd name="T6" fmla="*/ 3 w 5"/>
                  <a:gd name="T7" fmla="*/ 0 h 168"/>
                  <a:gd name="T8" fmla="*/ 5 w 5"/>
                  <a:gd name="T9" fmla="*/ 2 h 168"/>
                  <a:gd name="T10" fmla="*/ 5 w 5"/>
                  <a:gd name="T11" fmla="*/ 165 h 168"/>
                  <a:gd name="T12" fmla="*/ 3 w 5"/>
                  <a:gd name="T13" fmla="*/ 168 h 168"/>
                </a:gdLst>
                <a:ahLst/>
                <a:cxnLst>
                  <a:cxn ang="0">
                    <a:pos x="T0" y="T1"/>
                  </a:cxn>
                  <a:cxn ang="0">
                    <a:pos x="T2" y="T3"/>
                  </a:cxn>
                  <a:cxn ang="0">
                    <a:pos x="T4" y="T5"/>
                  </a:cxn>
                  <a:cxn ang="0">
                    <a:pos x="T6" y="T7"/>
                  </a:cxn>
                  <a:cxn ang="0">
                    <a:pos x="T8" y="T9"/>
                  </a:cxn>
                  <a:cxn ang="0">
                    <a:pos x="T10" y="T11"/>
                  </a:cxn>
                  <a:cxn ang="0">
                    <a:pos x="T12" y="T13"/>
                  </a:cxn>
                </a:cxnLst>
                <a:rect l="0" t="0" r="r" b="b"/>
                <a:pathLst>
                  <a:path w="5" h="168">
                    <a:moveTo>
                      <a:pt x="3" y="168"/>
                    </a:moveTo>
                    <a:cubicBezTo>
                      <a:pt x="1" y="168"/>
                      <a:pt x="0" y="167"/>
                      <a:pt x="0" y="165"/>
                    </a:cubicBezTo>
                    <a:cubicBezTo>
                      <a:pt x="0" y="2"/>
                      <a:pt x="0" y="2"/>
                      <a:pt x="0" y="2"/>
                    </a:cubicBezTo>
                    <a:cubicBezTo>
                      <a:pt x="0" y="1"/>
                      <a:pt x="1" y="0"/>
                      <a:pt x="3" y="0"/>
                    </a:cubicBezTo>
                    <a:cubicBezTo>
                      <a:pt x="4" y="0"/>
                      <a:pt x="5" y="1"/>
                      <a:pt x="5" y="2"/>
                    </a:cubicBezTo>
                    <a:cubicBezTo>
                      <a:pt x="5" y="165"/>
                      <a:pt x="5" y="165"/>
                      <a:pt x="5" y="165"/>
                    </a:cubicBezTo>
                    <a:cubicBezTo>
                      <a:pt x="5" y="167"/>
                      <a:pt x="4" y="168"/>
                      <a:pt x="3" y="168"/>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1" name="Freeform 141"/>
              <p:cNvSpPr>
                <a:spLocks/>
              </p:cNvSpPr>
              <p:nvPr/>
            </p:nvSpPr>
            <p:spPr bwMode="auto">
              <a:xfrm>
                <a:off x="9712325" y="4146550"/>
                <a:ext cx="11113" cy="422275"/>
              </a:xfrm>
              <a:custGeom>
                <a:avLst/>
                <a:gdLst>
                  <a:gd name="T0" fmla="*/ 2 w 5"/>
                  <a:gd name="T1" fmla="*/ 190 h 190"/>
                  <a:gd name="T2" fmla="*/ 0 w 5"/>
                  <a:gd name="T3" fmla="*/ 187 h 190"/>
                  <a:gd name="T4" fmla="*/ 0 w 5"/>
                  <a:gd name="T5" fmla="*/ 2 h 190"/>
                  <a:gd name="T6" fmla="*/ 2 w 5"/>
                  <a:gd name="T7" fmla="*/ 0 h 190"/>
                  <a:gd name="T8" fmla="*/ 5 w 5"/>
                  <a:gd name="T9" fmla="*/ 2 h 190"/>
                  <a:gd name="T10" fmla="*/ 5 w 5"/>
                  <a:gd name="T11" fmla="*/ 187 h 190"/>
                  <a:gd name="T12" fmla="*/ 2 w 5"/>
                  <a:gd name="T13" fmla="*/ 190 h 190"/>
                </a:gdLst>
                <a:ahLst/>
                <a:cxnLst>
                  <a:cxn ang="0">
                    <a:pos x="T0" y="T1"/>
                  </a:cxn>
                  <a:cxn ang="0">
                    <a:pos x="T2" y="T3"/>
                  </a:cxn>
                  <a:cxn ang="0">
                    <a:pos x="T4" y="T5"/>
                  </a:cxn>
                  <a:cxn ang="0">
                    <a:pos x="T6" y="T7"/>
                  </a:cxn>
                  <a:cxn ang="0">
                    <a:pos x="T8" y="T9"/>
                  </a:cxn>
                  <a:cxn ang="0">
                    <a:pos x="T10" y="T11"/>
                  </a:cxn>
                  <a:cxn ang="0">
                    <a:pos x="T12" y="T13"/>
                  </a:cxn>
                </a:cxnLst>
                <a:rect l="0" t="0" r="r" b="b"/>
                <a:pathLst>
                  <a:path w="5" h="190">
                    <a:moveTo>
                      <a:pt x="2" y="190"/>
                    </a:moveTo>
                    <a:cubicBezTo>
                      <a:pt x="1" y="190"/>
                      <a:pt x="0" y="189"/>
                      <a:pt x="0" y="187"/>
                    </a:cubicBezTo>
                    <a:cubicBezTo>
                      <a:pt x="0" y="2"/>
                      <a:pt x="0" y="2"/>
                      <a:pt x="0" y="2"/>
                    </a:cubicBezTo>
                    <a:cubicBezTo>
                      <a:pt x="0" y="1"/>
                      <a:pt x="1" y="0"/>
                      <a:pt x="2" y="0"/>
                    </a:cubicBezTo>
                    <a:cubicBezTo>
                      <a:pt x="4" y="0"/>
                      <a:pt x="5" y="1"/>
                      <a:pt x="5" y="2"/>
                    </a:cubicBezTo>
                    <a:cubicBezTo>
                      <a:pt x="5" y="187"/>
                      <a:pt x="5" y="187"/>
                      <a:pt x="5" y="187"/>
                    </a:cubicBezTo>
                    <a:cubicBezTo>
                      <a:pt x="5" y="189"/>
                      <a:pt x="4" y="190"/>
                      <a:pt x="2" y="190"/>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2" name="Freeform 142"/>
              <p:cNvSpPr>
                <a:spLocks/>
              </p:cNvSpPr>
              <p:nvPr/>
            </p:nvSpPr>
            <p:spPr bwMode="auto">
              <a:xfrm>
                <a:off x="9736138" y="4146550"/>
                <a:ext cx="11113" cy="373063"/>
              </a:xfrm>
              <a:custGeom>
                <a:avLst/>
                <a:gdLst>
                  <a:gd name="T0" fmla="*/ 3 w 5"/>
                  <a:gd name="T1" fmla="*/ 168 h 168"/>
                  <a:gd name="T2" fmla="*/ 0 w 5"/>
                  <a:gd name="T3" fmla="*/ 165 h 168"/>
                  <a:gd name="T4" fmla="*/ 0 w 5"/>
                  <a:gd name="T5" fmla="*/ 2 h 168"/>
                  <a:gd name="T6" fmla="*/ 3 w 5"/>
                  <a:gd name="T7" fmla="*/ 0 h 168"/>
                  <a:gd name="T8" fmla="*/ 5 w 5"/>
                  <a:gd name="T9" fmla="*/ 2 h 168"/>
                  <a:gd name="T10" fmla="*/ 5 w 5"/>
                  <a:gd name="T11" fmla="*/ 165 h 168"/>
                  <a:gd name="T12" fmla="*/ 3 w 5"/>
                  <a:gd name="T13" fmla="*/ 168 h 168"/>
                </a:gdLst>
                <a:ahLst/>
                <a:cxnLst>
                  <a:cxn ang="0">
                    <a:pos x="T0" y="T1"/>
                  </a:cxn>
                  <a:cxn ang="0">
                    <a:pos x="T2" y="T3"/>
                  </a:cxn>
                  <a:cxn ang="0">
                    <a:pos x="T4" y="T5"/>
                  </a:cxn>
                  <a:cxn ang="0">
                    <a:pos x="T6" y="T7"/>
                  </a:cxn>
                  <a:cxn ang="0">
                    <a:pos x="T8" y="T9"/>
                  </a:cxn>
                  <a:cxn ang="0">
                    <a:pos x="T10" y="T11"/>
                  </a:cxn>
                  <a:cxn ang="0">
                    <a:pos x="T12" y="T13"/>
                  </a:cxn>
                </a:cxnLst>
                <a:rect l="0" t="0" r="r" b="b"/>
                <a:pathLst>
                  <a:path w="5" h="168">
                    <a:moveTo>
                      <a:pt x="3" y="168"/>
                    </a:moveTo>
                    <a:cubicBezTo>
                      <a:pt x="1" y="168"/>
                      <a:pt x="0" y="167"/>
                      <a:pt x="0" y="165"/>
                    </a:cubicBezTo>
                    <a:cubicBezTo>
                      <a:pt x="0" y="2"/>
                      <a:pt x="0" y="2"/>
                      <a:pt x="0" y="2"/>
                    </a:cubicBezTo>
                    <a:cubicBezTo>
                      <a:pt x="0" y="1"/>
                      <a:pt x="1" y="0"/>
                      <a:pt x="3" y="0"/>
                    </a:cubicBezTo>
                    <a:cubicBezTo>
                      <a:pt x="4" y="0"/>
                      <a:pt x="5" y="1"/>
                      <a:pt x="5" y="2"/>
                    </a:cubicBezTo>
                    <a:cubicBezTo>
                      <a:pt x="5" y="165"/>
                      <a:pt x="5" y="165"/>
                      <a:pt x="5" y="165"/>
                    </a:cubicBezTo>
                    <a:cubicBezTo>
                      <a:pt x="5" y="167"/>
                      <a:pt x="4" y="168"/>
                      <a:pt x="3" y="168"/>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04" name="Freeform 143"/>
            <p:cNvSpPr>
              <a:spLocks/>
            </p:cNvSpPr>
            <p:nvPr/>
          </p:nvSpPr>
          <p:spPr bwMode="auto">
            <a:xfrm>
              <a:off x="10820330" y="610238"/>
              <a:ext cx="11113" cy="142875"/>
            </a:xfrm>
            <a:custGeom>
              <a:avLst/>
              <a:gdLst>
                <a:gd name="T0" fmla="*/ 2 w 5"/>
                <a:gd name="T1" fmla="*/ 0 h 65"/>
                <a:gd name="T2" fmla="*/ 5 w 5"/>
                <a:gd name="T3" fmla="*/ 2 h 65"/>
                <a:gd name="T4" fmla="*/ 5 w 5"/>
                <a:gd name="T5" fmla="*/ 63 h 65"/>
                <a:gd name="T6" fmla="*/ 2 w 5"/>
                <a:gd name="T7" fmla="*/ 65 h 65"/>
                <a:gd name="T8" fmla="*/ 0 w 5"/>
                <a:gd name="T9" fmla="*/ 63 h 65"/>
                <a:gd name="T10" fmla="*/ 0 w 5"/>
                <a:gd name="T11" fmla="*/ 2 h 65"/>
                <a:gd name="T12" fmla="*/ 2 w 5"/>
                <a:gd name="T13" fmla="*/ 0 h 65"/>
              </a:gdLst>
              <a:ahLst/>
              <a:cxnLst>
                <a:cxn ang="0">
                  <a:pos x="T0" y="T1"/>
                </a:cxn>
                <a:cxn ang="0">
                  <a:pos x="T2" y="T3"/>
                </a:cxn>
                <a:cxn ang="0">
                  <a:pos x="T4" y="T5"/>
                </a:cxn>
                <a:cxn ang="0">
                  <a:pos x="T6" y="T7"/>
                </a:cxn>
                <a:cxn ang="0">
                  <a:pos x="T8" y="T9"/>
                </a:cxn>
                <a:cxn ang="0">
                  <a:pos x="T10" y="T11"/>
                </a:cxn>
                <a:cxn ang="0">
                  <a:pos x="T12" y="T13"/>
                </a:cxn>
              </a:cxnLst>
              <a:rect l="0" t="0" r="r" b="b"/>
              <a:pathLst>
                <a:path w="5" h="65">
                  <a:moveTo>
                    <a:pt x="2" y="0"/>
                  </a:moveTo>
                  <a:cubicBezTo>
                    <a:pt x="4" y="0"/>
                    <a:pt x="5" y="1"/>
                    <a:pt x="5" y="2"/>
                  </a:cubicBezTo>
                  <a:cubicBezTo>
                    <a:pt x="5" y="63"/>
                    <a:pt x="5" y="63"/>
                    <a:pt x="5" y="63"/>
                  </a:cubicBezTo>
                  <a:cubicBezTo>
                    <a:pt x="5" y="64"/>
                    <a:pt x="4" y="65"/>
                    <a:pt x="2" y="65"/>
                  </a:cubicBezTo>
                  <a:cubicBezTo>
                    <a:pt x="1" y="65"/>
                    <a:pt x="0" y="64"/>
                    <a:pt x="0" y="63"/>
                  </a:cubicBezTo>
                  <a:cubicBezTo>
                    <a:pt x="0" y="2"/>
                    <a:pt x="0" y="2"/>
                    <a:pt x="0" y="2"/>
                  </a:cubicBezTo>
                  <a:cubicBezTo>
                    <a:pt x="0" y="1"/>
                    <a:pt x="1" y="0"/>
                    <a:pt x="2" y="0"/>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5" name="Freeform 144"/>
            <p:cNvSpPr>
              <a:spLocks/>
            </p:cNvSpPr>
            <p:nvPr/>
          </p:nvSpPr>
          <p:spPr bwMode="auto">
            <a:xfrm>
              <a:off x="10794930" y="561025"/>
              <a:ext cx="12700" cy="192088"/>
            </a:xfrm>
            <a:custGeom>
              <a:avLst/>
              <a:gdLst>
                <a:gd name="T0" fmla="*/ 3 w 6"/>
                <a:gd name="T1" fmla="*/ 0 h 87"/>
                <a:gd name="T2" fmla="*/ 6 w 6"/>
                <a:gd name="T3" fmla="*/ 3 h 87"/>
                <a:gd name="T4" fmla="*/ 6 w 6"/>
                <a:gd name="T5" fmla="*/ 85 h 87"/>
                <a:gd name="T6" fmla="*/ 3 w 6"/>
                <a:gd name="T7" fmla="*/ 87 h 87"/>
                <a:gd name="T8" fmla="*/ 0 w 6"/>
                <a:gd name="T9" fmla="*/ 85 h 87"/>
                <a:gd name="T10" fmla="*/ 0 w 6"/>
                <a:gd name="T11" fmla="*/ 3 h 87"/>
                <a:gd name="T12" fmla="*/ 3 w 6"/>
                <a:gd name="T13" fmla="*/ 0 h 87"/>
              </a:gdLst>
              <a:ahLst/>
              <a:cxnLst>
                <a:cxn ang="0">
                  <a:pos x="T0" y="T1"/>
                </a:cxn>
                <a:cxn ang="0">
                  <a:pos x="T2" y="T3"/>
                </a:cxn>
                <a:cxn ang="0">
                  <a:pos x="T4" y="T5"/>
                </a:cxn>
                <a:cxn ang="0">
                  <a:pos x="T6" y="T7"/>
                </a:cxn>
                <a:cxn ang="0">
                  <a:pos x="T8" y="T9"/>
                </a:cxn>
                <a:cxn ang="0">
                  <a:pos x="T10" y="T11"/>
                </a:cxn>
                <a:cxn ang="0">
                  <a:pos x="T12" y="T13"/>
                </a:cxn>
              </a:cxnLst>
              <a:rect l="0" t="0" r="r" b="b"/>
              <a:pathLst>
                <a:path w="6" h="87">
                  <a:moveTo>
                    <a:pt x="3" y="0"/>
                  </a:moveTo>
                  <a:cubicBezTo>
                    <a:pt x="4" y="0"/>
                    <a:pt x="6" y="1"/>
                    <a:pt x="6" y="3"/>
                  </a:cubicBezTo>
                  <a:cubicBezTo>
                    <a:pt x="6" y="85"/>
                    <a:pt x="6" y="85"/>
                    <a:pt x="6" y="85"/>
                  </a:cubicBezTo>
                  <a:cubicBezTo>
                    <a:pt x="6" y="86"/>
                    <a:pt x="4" y="87"/>
                    <a:pt x="3" y="87"/>
                  </a:cubicBezTo>
                  <a:cubicBezTo>
                    <a:pt x="2" y="87"/>
                    <a:pt x="0" y="86"/>
                    <a:pt x="0" y="85"/>
                  </a:cubicBezTo>
                  <a:cubicBezTo>
                    <a:pt x="0" y="3"/>
                    <a:pt x="0" y="3"/>
                    <a:pt x="0" y="3"/>
                  </a:cubicBezTo>
                  <a:cubicBezTo>
                    <a:pt x="0" y="1"/>
                    <a:pt x="2" y="0"/>
                    <a:pt x="3" y="0"/>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6" name="Freeform 145"/>
            <p:cNvSpPr>
              <a:spLocks/>
            </p:cNvSpPr>
            <p:nvPr/>
          </p:nvSpPr>
          <p:spPr bwMode="auto">
            <a:xfrm>
              <a:off x="10769530" y="610238"/>
              <a:ext cx="11113" cy="142875"/>
            </a:xfrm>
            <a:custGeom>
              <a:avLst/>
              <a:gdLst>
                <a:gd name="T0" fmla="*/ 2 w 5"/>
                <a:gd name="T1" fmla="*/ 0 h 65"/>
                <a:gd name="T2" fmla="*/ 5 w 5"/>
                <a:gd name="T3" fmla="*/ 2 h 65"/>
                <a:gd name="T4" fmla="*/ 5 w 5"/>
                <a:gd name="T5" fmla="*/ 63 h 65"/>
                <a:gd name="T6" fmla="*/ 2 w 5"/>
                <a:gd name="T7" fmla="*/ 65 h 65"/>
                <a:gd name="T8" fmla="*/ 0 w 5"/>
                <a:gd name="T9" fmla="*/ 63 h 65"/>
                <a:gd name="T10" fmla="*/ 0 w 5"/>
                <a:gd name="T11" fmla="*/ 2 h 65"/>
                <a:gd name="T12" fmla="*/ 2 w 5"/>
                <a:gd name="T13" fmla="*/ 0 h 65"/>
              </a:gdLst>
              <a:ahLst/>
              <a:cxnLst>
                <a:cxn ang="0">
                  <a:pos x="T0" y="T1"/>
                </a:cxn>
                <a:cxn ang="0">
                  <a:pos x="T2" y="T3"/>
                </a:cxn>
                <a:cxn ang="0">
                  <a:pos x="T4" y="T5"/>
                </a:cxn>
                <a:cxn ang="0">
                  <a:pos x="T6" y="T7"/>
                </a:cxn>
                <a:cxn ang="0">
                  <a:pos x="T8" y="T9"/>
                </a:cxn>
                <a:cxn ang="0">
                  <a:pos x="T10" y="T11"/>
                </a:cxn>
                <a:cxn ang="0">
                  <a:pos x="T12" y="T13"/>
                </a:cxn>
              </a:cxnLst>
              <a:rect l="0" t="0" r="r" b="b"/>
              <a:pathLst>
                <a:path w="5" h="65">
                  <a:moveTo>
                    <a:pt x="2" y="0"/>
                  </a:moveTo>
                  <a:cubicBezTo>
                    <a:pt x="4" y="0"/>
                    <a:pt x="5" y="1"/>
                    <a:pt x="5" y="2"/>
                  </a:cubicBezTo>
                  <a:cubicBezTo>
                    <a:pt x="5" y="63"/>
                    <a:pt x="5" y="63"/>
                    <a:pt x="5" y="63"/>
                  </a:cubicBezTo>
                  <a:cubicBezTo>
                    <a:pt x="5" y="64"/>
                    <a:pt x="4" y="65"/>
                    <a:pt x="2" y="65"/>
                  </a:cubicBezTo>
                  <a:cubicBezTo>
                    <a:pt x="1" y="65"/>
                    <a:pt x="0" y="64"/>
                    <a:pt x="0" y="63"/>
                  </a:cubicBezTo>
                  <a:cubicBezTo>
                    <a:pt x="0" y="2"/>
                    <a:pt x="0" y="2"/>
                    <a:pt x="0" y="2"/>
                  </a:cubicBezTo>
                  <a:cubicBezTo>
                    <a:pt x="0" y="1"/>
                    <a:pt x="1" y="0"/>
                    <a:pt x="2" y="0"/>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7" name="Freeform 146"/>
            <p:cNvSpPr>
              <a:spLocks/>
            </p:cNvSpPr>
            <p:nvPr/>
          </p:nvSpPr>
          <p:spPr bwMode="auto">
            <a:xfrm>
              <a:off x="10521880" y="969013"/>
              <a:ext cx="285750" cy="300038"/>
            </a:xfrm>
            <a:custGeom>
              <a:avLst/>
              <a:gdLst>
                <a:gd name="T0" fmla="*/ 126 w 129"/>
                <a:gd name="T1" fmla="*/ 135 h 135"/>
                <a:gd name="T2" fmla="*/ 124 w 129"/>
                <a:gd name="T3" fmla="*/ 134 h 135"/>
                <a:gd name="T4" fmla="*/ 1 w 129"/>
                <a:gd name="T5" fmla="*/ 5 h 135"/>
                <a:gd name="T6" fmla="*/ 1 w 129"/>
                <a:gd name="T7" fmla="*/ 1 h 135"/>
                <a:gd name="T8" fmla="*/ 5 w 129"/>
                <a:gd name="T9" fmla="*/ 1 h 135"/>
                <a:gd name="T10" fmla="*/ 128 w 129"/>
                <a:gd name="T11" fmla="*/ 130 h 135"/>
                <a:gd name="T12" fmla="*/ 128 w 129"/>
                <a:gd name="T13" fmla="*/ 134 h 135"/>
                <a:gd name="T14" fmla="*/ 126 w 129"/>
                <a:gd name="T15" fmla="*/ 135 h 13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9" h="135">
                  <a:moveTo>
                    <a:pt x="126" y="135"/>
                  </a:moveTo>
                  <a:cubicBezTo>
                    <a:pt x="125" y="135"/>
                    <a:pt x="124" y="135"/>
                    <a:pt x="124" y="134"/>
                  </a:cubicBezTo>
                  <a:cubicBezTo>
                    <a:pt x="1" y="5"/>
                    <a:pt x="1" y="5"/>
                    <a:pt x="1" y="5"/>
                  </a:cubicBezTo>
                  <a:cubicBezTo>
                    <a:pt x="0" y="4"/>
                    <a:pt x="0" y="2"/>
                    <a:pt x="1" y="1"/>
                  </a:cubicBezTo>
                  <a:cubicBezTo>
                    <a:pt x="3" y="0"/>
                    <a:pt x="4" y="0"/>
                    <a:pt x="5" y="1"/>
                  </a:cubicBezTo>
                  <a:cubicBezTo>
                    <a:pt x="128" y="130"/>
                    <a:pt x="128" y="130"/>
                    <a:pt x="128" y="130"/>
                  </a:cubicBezTo>
                  <a:cubicBezTo>
                    <a:pt x="129" y="131"/>
                    <a:pt x="129" y="133"/>
                    <a:pt x="128" y="134"/>
                  </a:cubicBezTo>
                  <a:cubicBezTo>
                    <a:pt x="127" y="135"/>
                    <a:pt x="127" y="135"/>
                    <a:pt x="126" y="135"/>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8" name="Freeform 147"/>
            <p:cNvSpPr>
              <a:spLocks/>
            </p:cNvSpPr>
            <p:nvPr/>
          </p:nvSpPr>
          <p:spPr bwMode="auto">
            <a:xfrm>
              <a:off x="10633005" y="962663"/>
              <a:ext cx="174625" cy="306388"/>
            </a:xfrm>
            <a:custGeom>
              <a:avLst/>
              <a:gdLst>
                <a:gd name="T0" fmla="*/ 76 w 79"/>
                <a:gd name="T1" fmla="*/ 138 h 138"/>
                <a:gd name="T2" fmla="*/ 73 w 79"/>
                <a:gd name="T3" fmla="*/ 136 h 138"/>
                <a:gd name="T4" fmla="*/ 1 w 79"/>
                <a:gd name="T5" fmla="*/ 5 h 138"/>
                <a:gd name="T6" fmla="*/ 2 w 79"/>
                <a:gd name="T7" fmla="*/ 1 h 138"/>
                <a:gd name="T8" fmla="*/ 6 w 79"/>
                <a:gd name="T9" fmla="*/ 2 h 138"/>
                <a:gd name="T10" fmla="*/ 78 w 79"/>
                <a:gd name="T11" fmla="*/ 134 h 138"/>
                <a:gd name="T12" fmla="*/ 77 w 79"/>
                <a:gd name="T13" fmla="*/ 138 h 138"/>
                <a:gd name="T14" fmla="*/ 76 w 79"/>
                <a:gd name="T15" fmla="*/ 138 h 1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 h="138">
                  <a:moveTo>
                    <a:pt x="76" y="138"/>
                  </a:moveTo>
                  <a:cubicBezTo>
                    <a:pt x="75" y="138"/>
                    <a:pt x="74" y="137"/>
                    <a:pt x="73" y="136"/>
                  </a:cubicBezTo>
                  <a:cubicBezTo>
                    <a:pt x="1" y="5"/>
                    <a:pt x="1" y="5"/>
                    <a:pt x="1" y="5"/>
                  </a:cubicBezTo>
                  <a:cubicBezTo>
                    <a:pt x="0" y="3"/>
                    <a:pt x="1" y="2"/>
                    <a:pt x="2" y="1"/>
                  </a:cubicBezTo>
                  <a:cubicBezTo>
                    <a:pt x="3" y="0"/>
                    <a:pt x="5" y="1"/>
                    <a:pt x="6" y="2"/>
                  </a:cubicBezTo>
                  <a:cubicBezTo>
                    <a:pt x="78" y="134"/>
                    <a:pt x="78" y="134"/>
                    <a:pt x="78" y="134"/>
                  </a:cubicBezTo>
                  <a:cubicBezTo>
                    <a:pt x="79" y="135"/>
                    <a:pt x="79" y="137"/>
                    <a:pt x="77" y="138"/>
                  </a:cubicBezTo>
                  <a:cubicBezTo>
                    <a:pt x="77" y="138"/>
                    <a:pt x="76" y="138"/>
                    <a:pt x="76" y="138"/>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9" name="Freeform 148"/>
            <p:cNvSpPr>
              <a:spLocks/>
            </p:cNvSpPr>
            <p:nvPr/>
          </p:nvSpPr>
          <p:spPr bwMode="auto">
            <a:xfrm>
              <a:off x="10740955" y="962663"/>
              <a:ext cx="66675" cy="306388"/>
            </a:xfrm>
            <a:custGeom>
              <a:avLst/>
              <a:gdLst>
                <a:gd name="T0" fmla="*/ 27 w 30"/>
                <a:gd name="T1" fmla="*/ 138 h 138"/>
                <a:gd name="T2" fmla="*/ 24 w 30"/>
                <a:gd name="T3" fmla="*/ 136 h 138"/>
                <a:gd name="T4" fmla="*/ 0 w 30"/>
                <a:gd name="T5" fmla="*/ 4 h 138"/>
                <a:gd name="T6" fmla="*/ 2 w 30"/>
                <a:gd name="T7" fmla="*/ 1 h 138"/>
                <a:gd name="T8" fmla="*/ 6 w 30"/>
                <a:gd name="T9" fmla="*/ 3 h 138"/>
                <a:gd name="T10" fmla="*/ 30 w 30"/>
                <a:gd name="T11" fmla="*/ 135 h 138"/>
                <a:gd name="T12" fmla="*/ 27 w 30"/>
                <a:gd name="T13" fmla="*/ 138 h 138"/>
                <a:gd name="T14" fmla="*/ 27 w 30"/>
                <a:gd name="T15" fmla="*/ 138 h 1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 h="138">
                  <a:moveTo>
                    <a:pt x="27" y="138"/>
                  </a:moveTo>
                  <a:cubicBezTo>
                    <a:pt x="26" y="138"/>
                    <a:pt x="24" y="137"/>
                    <a:pt x="24" y="136"/>
                  </a:cubicBezTo>
                  <a:cubicBezTo>
                    <a:pt x="0" y="4"/>
                    <a:pt x="0" y="4"/>
                    <a:pt x="0" y="4"/>
                  </a:cubicBezTo>
                  <a:cubicBezTo>
                    <a:pt x="0" y="2"/>
                    <a:pt x="1" y="1"/>
                    <a:pt x="2" y="1"/>
                  </a:cubicBezTo>
                  <a:cubicBezTo>
                    <a:pt x="4" y="0"/>
                    <a:pt x="5" y="1"/>
                    <a:pt x="6" y="3"/>
                  </a:cubicBezTo>
                  <a:cubicBezTo>
                    <a:pt x="30" y="135"/>
                    <a:pt x="30" y="135"/>
                    <a:pt x="30" y="135"/>
                  </a:cubicBezTo>
                  <a:cubicBezTo>
                    <a:pt x="30" y="136"/>
                    <a:pt x="29" y="138"/>
                    <a:pt x="27" y="138"/>
                  </a:cubicBezTo>
                  <a:cubicBezTo>
                    <a:pt x="27" y="138"/>
                    <a:pt x="27" y="138"/>
                    <a:pt x="27" y="138"/>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0" name="Freeform 149"/>
            <p:cNvSpPr>
              <a:spLocks/>
            </p:cNvSpPr>
            <p:nvPr/>
          </p:nvSpPr>
          <p:spPr bwMode="auto">
            <a:xfrm>
              <a:off x="10794930" y="962663"/>
              <a:ext cx="66675" cy="306388"/>
            </a:xfrm>
            <a:custGeom>
              <a:avLst/>
              <a:gdLst>
                <a:gd name="T0" fmla="*/ 3 w 30"/>
                <a:gd name="T1" fmla="*/ 138 h 138"/>
                <a:gd name="T2" fmla="*/ 2 w 30"/>
                <a:gd name="T3" fmla="*/ 138 h 138"/>
                <a:gd name="T4" fmla="*/ 0 w 30"/>
                <a:gd name="T5" fmla="*/ 135 h 138"/>
                <a:gd name="T6" fmla="*/ 24 w 30"/>
                <a:gd name="T7" fmla="*/ 3 h 138"/>
                <a:gd name="T8" fmla="*/ 28 w 30"/>
                <a:gd name="T9" fmla="*/ 1 h 138"/>
                <a:gd name="T10" fmla="*/ 30 w 30"/>
                <a:gd name="T11" fmla="*/ 4 h 138"/>
                <a:gd name="T12" fmla="*/ 6 w 30"/>
                <a:gd name="T13" fmla="*/ 136 h 138"/>
                <a:gd name="T14" fmla="*/ 3 w 30"/>
                <a:gd name="T15" fmla="*/ 138 h 1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 h="138">
                  <a:moveTo>
                    <a:pt x="3" y="138"/>
                  </a:moveTo>
                  <a:cubicBezTo>
                    <a:pt x="3" y="138"/>
                    <a:pt x="3" y="138"/>
                    <a:pt x="2" y="138"/>
                  </a:cubicBezTo>
                  <a:cubicBezTo>
                    <a:pt x="1" y="138"/>
                    <a:pt x="0" y="136"/>
                    <a:pt x="0" y="135"/>
                  </a:cubicBezTo>
                  <a:cubicBezTo>
                    <a:pt x="24" y="3"/>
                    <a:pt x="24" y="3"/>
                    <a:pt x="24" y="3"/>
                  </a:cubicBezTo>
                  <a:cubicBezTo>
                    <a:pt x="25" y="1"/>
                    <a:pt x="26" y="0"/>
                    <a:pt x="28" y="1"/>
                  </a:cubicBezTo>
                  <a:cubicBezTo>
                    <a:pt x="29" y="1"/>
                    <a:pt x="30" y="2"/>
                    <a:pt x="30" y="4"/>
                  </a:cubicBezTo>
                  <a:cubicBezTo>
                    <a:pt x="6" y="136"/>
                    <a:pt x="6" y="136"/>
                    <a:pt x="6" y="136"/>
                  </a:cubicBezTo>
                  <a:cubicBezTo>
                    <a:pt x="5" y="137"/>
                    <a:pt x="4" y="138"/>
                    <a:pt x="3" y="138"/>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1" name="Freeform 150"/>
            <p:cNvSpPr>
              <a:spLocks/>
            </p:cNvSpPr>
            <p:nvPr/>
          </p:nvSpPr>
          <p:spPr bwMode="auto">
            <a:xfrm>
              <a:off x="10794930" y="962663"/>
              <a:ext cx="174625" cy="306388"/>
            </a:xfrm>
            <a:custGeom>
              <a:avLst/>
              <a:gdLst>
                <a:gd name="T0" fmla="*/ 3 w 79"/>
                <a:gd name="T1" fmla="*/ 138 h 138"/>
                <a:gd name="T2" fmla="*/ 2 w 79"/>
                <a:gd name="T3" fmla="*/ 138 h 138"/>
                <a:gd name="T4" fmla="*/ 0 w 79"/>
                <a:gd name="T5" fmla="*/ 134 h 138"/>
                <a:gd name="T6" fmla="*/ 73 w 79"/>
                <a:gd name="T7" fmla="*/ 2 h 138"/>
                <a:gd name="T8" fmla="*/ 77 w 79"/>
                <a:gd name="T9" fmla="*/ 1 h 138"/>
                <a:gd name="T10" fmla="*/ 78 w 79"/>
                <a:gd name="T11" fmla="*/ 5 h 138"/>
                <a:gd name="T12" fmla="*/ 5 w 79"/>
                <a:gd name="T13" fmla="*/ 136 h 138"/>
                <a:gd name="T14" fmla="*/ 3 w 79"/>
                <a:gd name="T15" fmla="*/ 138 h 1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 h="138">
                  <a:moveTo>
                    <a:pt x="3" y="138"/>
                  </a:moveTo>
                  <a:cubicBezTo>
                    <a:pt x="2" y="138"/>
                    <a:pt x="2" y="138"/>
                    <a:pt x="2" y="138"/>
                  </a:cubicBezTo>
                  <a:cubicBezTo>
                    <a:pt x="0" y="137"/>
                    <a:pt x="0" y="135"/>
                    <a:pt x="0" y="134"/>
                  </a:cubicBezTo>
                  <a:cubicBezTo>
                    <a:pt x="73" y="2"/>
                    <a:pt x="73" y="2"/>
                    <a:pt x="73" y="2"/>
                  </a:cubicBezTo>
                  <a:cubicBezTo>
                    <a:pt x="74" y="1"/>
                    <a:pt x="76" y="0"/>
                    <a:pt x="77" y="1"/>
                  </a:cubicBezTo>
                  <a:cubicBezTo>
                    <a:pt x="78" y="2"/>
                    <a:pt x="79" y="3"/>
                    <a:pt x="78" y="5"/>
                  </a:cubicBezTo>
                  <a:cubicBezTo>
                    <a:pt x="5" y="136"/>
                    <a:pt x="5" y="136"/>
                    <a:pt x="5" y="136"/>
                  </a:cubicBezTo>
                  <a:cubicBezTo>
                    <a:pt x="5" y="137"/>
                    <a:pt x="4" y="138"/>
                    <a:pt x="3" y="138"/>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2" name="Freeform 151"/>
            <p:cNvSpPr>
              <a:spLocks/>
            </p:cNvSpPr>
            <p:nvPr/>
          </p:nvSpPr>
          <p:spPr bwMode="auto">
            <a:xfrm>
              <a:off x="10794930" y="969013"/>
              <a:ext cx="285750" cy="300038"/>
            </a:xfrm>
            <a:custGeom>
              <a:avLst/>
              <a:gdLst>
                <a:gd name="T0" fmla="*/ 3 w 129"/>
                <a:gd name="T1" fmla="*/ 135 h 135"/>
                <a:gd name="T2" fmla="*/ 1 w 129"/>
                <a:gd name="T3" fmla="*/ 134 h 135"/>
                <a:gd name="T4" fmla="*/ 1 w 129"/>
                <a:gd name="T5" fmla="*/ 130 h 135"/>
                <a:gd name="T6" fmla="*/ 123 w 129"/>
                <a:gd name="T7" fmla="*/ 1 h 135"/>
                <a:gd name="T8" fmla="*/ 127 w 129"/>
                <a:gd name="T9" fmla="*/ 1 h 135"/>
                <a:gd name="T10" fmla="*/ 128 w 129"/>
                <a:gd name="T11" fmla="*/ 5 h 135"/>
                <a:gd name="T12" fmla="*/ 5 w 129"/>
                <a:gd name="T13" fmla="*/ 134 h 135"/>
                <a:gd name="T14" fmla="*/ 3 w 129"/>
                <a:gd name="T15" fmla="*/ 135 h 13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9" h="135">
                  <a:moveTo>
                    <a:pt x="3" y="135"/>
                  </a:moveTo>
                  <a:cubicBezTo>
                    <a:pt x="2" y="135"/>
                    <a:pt x="2" y="135"/>
                    <a:pt x="1" y="134"/>
                  </a:cubicBezTo>
                  <a:cubicBezTo>
                    <a:pt x="0" y="133"/>
                    <a:pt x="0" y="131"/>
                    <a:pt x="1" y="130"/>
                  </a:cubicBezTo>
                  <a:cubicBezTo>
                    <a:pt x="123" y="1"/>
                    <a:pt x="123" y="1"/>
                    <a:pt x="123" y="1"/>
                  </a:cubicBezTo>
                  <a:cubicBezTo>
                    <a:pt x="125" y="0"/>
                    <a:pt x="126" y="0"/>
                    <a:pt x="127" y="1"/>
                  </a:cubicBezTo>
                  <a:cubicBezTo>
                    <a:pt x="129" y="2"/>
                    <a:pt x="129" y="4"/>
                    <a:pt x="128" y="5"/>
                  </a:cubicBezTo>
                  <a:cubicBezTo>
                    <a:pt x="5" y="134"/>
                    <a:pt x="5" y="134"/>
                    <a:pt x="5" y="134"/>
                  </a:cubicBezTo>
                  <a:cubicBezTo>
                    <a:pt x="4" y="135"/>
                    <a:pt x="4" y="135"/>
                    <a:pt x="3" y="135"/>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3" name="Freeform 152"/>
            <p:cNvSpPr>
              <a:spLocks/>
            </p:cNvSpPr>
            <p:nvPr/>
          </p:nvSpPr>
          <p:spPr bwMode="auto">
            <a:xfrm>
              <a:off x="10528230" y="734063"/>
              <a:ext cx="544513" cy="241300"/>
            </a:xfrm>
            <a:custGeom>
              <a:avLst/>
              <a:gdLst>
                <a:gd name="T0" fmla="*/ 26 w 245"/>
                <a:gd name="T1" fmla="*/ 93 h 109"/>
                <a:gd name="T2" fmla="*/ 50 w 245"/>
                <a:gd name="T3" fmla="*/ 106 h 109"/>
                <a:gd name="T4" fmla="*/ 75 w 245"/>
                <a:gd name="T5" fmla="*/ 93 h 109"/>
                <a:gd name="T6" fmla="*/ 99 w 245"/>
                <a:gd name="T7" fmla="*/ 106 h 109"/>
                <a:gd name="T8" fmla="*/ 123 w 245"/>
                <a:gd name="T9" fmla="*/ 93 h 109"/>
                <a:gd name="T10" fmla="*/ 147 w 245"/>
                <a:gd name="T11" fmla="*/ 106 h 109"/>
                <a:gd name="T12" fmla="*/ 171 w 245"/>
                <a:gd name="T13" fmla="*/ 93 h 109"/>
                <a:gd name="T14" fmla="*/ 196 w 245"/>
                <a:gd name="T15" fmla="*/ 106 h 109"/>
                <a:gd name="T16" fmla="*/ 220 w 245"/>
                <a:gd name="T17" fmla="*/ 93 h 109"/>
                <a:gd name="T18" fmla="*/ 245 w 245"/>
                <a:gd name="T19" fmla="*/ 109 h 109"/>
                <a:gd name="T20" fmla="*/ 123 w 245"/>
                <a:gd name="T21" fmla="*/ 0 h 109"/>
                <a:gd name="T22" fmla="*/ 0 w 245"/>
                <a:gd name="T23" fmla="*/ 109 h 109"/>
                <a:gd name="T24" fmla="*/ 26 w 245"/>
                <a:gd name="T25" fmla="*/ 93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45" h="109">
                  <a:moveTo>
                    <a:pt x="26" y="93"/>
                  </a:moveTo>
                  <a:cubicBezTo>
                    <a:pt x="36" y="93"/>
                    <a:pt x="45" y="98"/>
                    <a:pt x="50" y="106"/>
                  </a:cubicBezTo>
                  <a:cubicBezTo>
                    <a:pt x="55" y="98"/>
                    <a:pt x="64" y="93"/>
                    <a:pt x="75" y="93"/>
                  </a:cubicBezTo>
                  <a:cubicBezTo>
                    <a:pt x="85" y="93"/>
                    <a:pt x="94" y="98"/>
                    <a:pt x="99" y="106"/>
                  </a:cubicBezTo>
                  <a:cubicBezTo>
                    <a:pt x="104" y="98"/>
                    <a:pt x="113" y="93"/>
                    <a:pt x="123" y="93"/>
                  </a:cubicBezTo>
                  <a:cubicBezTo>
                    <a:pt x="133" y="93"/>
                    <a:pt x="142" y="98"/>
                    <a:pt x="147" y="106"/>
                  </a:cubicBezTo>
                  <a:cubicBezTo>
                    <a:pt x="152" y="98"/>
                    <a:pt x="161" y="93"/>
                    <a:pt x="171" y="93"/>
                  </a:cubicBezTo>
                  <a:cubicBezTo>
                    <a:pt x="182" y="93"/>
                    <a:pt x="190" y="98"/>
                    <a:pt x="196" y="106"/>
                  </a:cubicBezTo>
                  <a:cubicBezTo>
                    <a:pt x="201" y="98"/>
                    <a:pt x="210" y="93"/>
                    <a:pt x="220" y="93"/>
                  </a:cubicBezTo>
                  <a:cubicBezTo>
                    <a:pt x="231" y="93"/>
                    <a:pt x="241" y="100"/>
                    <a:pt x="245" y="109"/>
                  </a:cubicBezTo>
                  <a:cubicBezTo>
                    <a:pt x="239" y="48"/>
                    <a:pt x="186" y="0"/>
                    <a:pt x="123" y="0"/>
                  </a:cubicBezTo>
                  <a:cubicBezTo>
                    <a:pt x="60" y="0"/>
                    <a:pt x="7" y="48"/>
                    <a:pt x="0" y="109"/>
                  </a:cubicBezTo>
                  <a:cubicBezTo>
                    <a:pt x="5" y="100"/>
                    <a:pt x="15" y="93"/>
                    <a:pt x="26" y="93"/>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4" name="Freeform 153"/>
            <p:cNvSpPr>
              <a:spLocks/>
            </p:cNvSpPr>
            <p:nvPr/>
          </p:nvSpPr>
          <p:spPr bwMode="auto">
            <a:xfrm>
              <a:off x="10528230" y="734063"/>
              <a:ext cx="288925" cy="241300"/>
            </a:xfrm>
            <a:custGeom>
              <a:avLst/>
              <a:gdLst>
                <a:gd name="T0" fmla="*/ 130 w 130"/>
                <a:gd name="T1" fmla="*/ 0 h 109"/>
                <a:gd name="T2" fmla="*/ 123 w 130"/>
                <a:gd name="T3" fmla="*/ 0 h 109"/>
                <a:gd name="T4" fmla="*/ 0 w 130"/>
                <a:gd name="T5" fmla="*/ 109 h 109"/>
                <a:gd name="T6" fmla="*/ 26 w 130"/>
                <a:gd name="T7" fmla="*/ 93 h 109"/>
                <a:gd name="T8" fmla="*/ 50 w 130"/>
                <a:gd name="T9" fmla="*/ 106 h 109"/>
                <a:gd name="T10" fmla="*/ 130 w 130"/>
                <a:gd name="T11" fmla="*/ 0 h 109"/>
              </a:gdLst>
              <a:ahLst/>
              <a:cxnLst>
                <a:cxn ang="0">
                  <a:pos x="T0" y="T1"/>
                </a:cxn>
                <a:cxn ang="0">
                  <a:pos x="T2" y="T3"/>
                </a:cxn>
                <a:cxn ang="0">
                  <a:pos x="T4" y="T5"/>
                </a:cxn>
                <a:cxn ang="0">
                  <a:pos x="T6" y="T7"/>
                </a:cxn>
                <a:cxn ang="0">
                  <a:pos x="T8" y="T9"/>
                </a:cxn>
                <a:cxn ang="0">
                  <a:pos x="T10" y="T11"/>
                </a:cxn>
              </a:cxnLst>
              <a:rect l="0" t="0" r="r" b="b"/>
              <a:pathLst>
                <a:path w="130" h="109">
                  <a:moveTo>
                    <a:pt x="130" y="0"/>
                  </a:moveTo>
                  <a:cubicBezTo>
                    <a:pt x="128" y="0"/>
                    <a:pt x="125" y="0"/>
                    <a:pt x="123" y="0"/>
                  </a:cubicBezTo>
                  <a:cubicBezTo>
                    <a:pt x="60" y="0"/>
                    <a:pt x="7" y="48"/>
                    <a:pt x="0" y="109"/>
                  </a:cubicBezTo>
                  <a:cubicBezTo>
                    <a:pt x="5" y="100"/>
                    <a:pt x="15" y="93"/>
                    <a:pt x="26" y="93"/>
                  </a:cubicBezTo>
                  <a:cubicBezTo>
                    <a:pt x="36" y="93"/>
                    <a:pt x="45" y="98"/>
                    <a:pt x="50" y="106"/>
                  </a:cubicBezTo>
                  <a:cubicBezTo>
                    <a:pt x="57" y="59"/>
                    <a:pt x="88" y="19"/>
                    <a:pt x="130" y="0"/>
                  </a:cubicBez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120" name="Group 119"/>
            <p:cNvGrpSpPr/>
            <p:nvPr/>
          </p:nvGrpSpPr>
          <p:grpSpPr>
            <a:xfrm>
              <a:off x="10570897" y="2595876"/>
              <a:ext cx="317500" cy="1112837"/>
              <a:chOff x="9542463" y="3455988"/>
              <a:chExt cx="317500" cy="1112837"/>
            </a:xfrm>
          </p:grpSpPr>
          <p:sp>
            <p:nvSpPr>
              <p:cNvPr id="121" name="Rectangle 133"/>
              <p:cNvSpPr>
                <a:spLocks noChangeArrowheads="1"/>
              </p:cNvSpPr>
              <p:nvPr/>
            </p:nvSpPr>
            <p:spPr bwMode="auto">
              <a:xfrm>
                <a:off x="9609138" y="3890963"/>
                <a:ext cx="182563" cy="114300"/>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2" name="Freeform 134"/>
              <p:cNvSpPr>
                <a:spLocks/>
              </p:cNvSpPr>
              <p:nvPr/>
            </p:nvSpPr>
            <p:spPr bwMode="auto">
              <a:xfrm>
                <a:off x="9609138" y="3746500"/>
                <a:ext cx="182563" cy="144463"/>
              </a:xfrm>
              <a:custGeom>
                <a:avLst/>
                <a:gdLst>
                  <a:gd name="T0" fmla="*/ 27 w 82"/>
                  <a:gd name="T1" fmla="*/ 65 h 65"/>
                  <a:gd name="T2" fmla="*/ 0 w 82"/>
                  <a:gd name="T3" fmla="*/ 65 h 65"/>
                  <a:gd name="T4" fmla="*/ 0 w 82"/>
                  <a:gd name="T5" fmla="*/ 46 h 65"/>
                  <a:gd name="T6" fmla="*/ 1 w 82"/>
                  <a:gd name="T7" fmla="*/ 46 h 65"/>
                  <a:gd name="T8" fmla="*/ 31 w 82"/>
                  <a:gd name="T9" fmla="*/ 0 h 65"/>
                  <a:gd name="T10" fmla="*/ 51 w 82"/>
                  <a:gd name="T11" fmla="*/ 0 h 65"/>
                  <a:gd name="T12" fmla="*/ 82 w 82"/>
                  <a:gd name="T13" fmla="*/ 46 h 65"/>
                  <a:gd name="T14" fmla="*/ 82 w 82"/>
                  <a:gd name="T15" fmla="*/ 46 h 65"/>
                  <a:gd name="T16" fmla="*/ 82 w 82"/>
                  <a:gd name="T17" fmla="*/ 46 h 65"/>
                  <a:gd name="T18" fmla="*/ 82 w 82"/>
                  <a:gd name="T19" fmla="*/ 65 h 65"/>
                  <a:gd name="T20" fmla="*/ 27 w 82"/>
                  <a:gd name="T21" fmla="*/ 65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2" h="65">
                    <a:moveTo>
                      <a:pt x="27" y="65"/>
                    </a:moveTo>
                    <a:cubicBezTo>
                      <a:pt x="0" y="65"/>
                      <a:pt x="0" y="65"/>
                      <a:pt x="0" y="65"/>
                    </a:cubicBezTo>
                    <a:cubicBezTo>
                      <a:pt x="0" y="46"/>
                      <a:pt x="0" y="46"/>
                      <a:pt x="0" y="46"/>
                    </a:cubicBezTo>
                    <a:cubicBezTo>
                      <a:pt x="1" y="46"/>
                      <a:pt x="1" y="46"/>
                      <a:pt x="1" y="46"/>
                    </a:cubicBezTo>
                    <a:cubicBezTo>
                      <a:pt x="31" y="0"/>
                      <a:pt x="31" y="0"/>
                      <a:pt x="31" y="0"/>
                    </a:cubicBezTo>
                    <a:cubicBezTo>
                      <a:pt x="51" y="0"/>
                      <a:pt x="51" y="0"/>
                      <a:pt x="51" y="0"/>
                    </a:cubicBezTo>
                    <a:cubicBezTo>
                      <a:pt x="82" y="46"/>
                      <a:pt x="82" y="46"/>
                      <a:pt x="82" y="46"/>
                    </a:cubicBezTo>
                    <a:cubicBezTo>
                      <a:pt x="82" y="46"/>
                      <a:pt x="82" y="46"/>
                      <a:pt x="82" y="46"/>
                    </a:cubicBezTo>
                    <a:cubicBezTo>
                      <a:pt x="82" y="46"/>
                      <a:pt x="82" y="46"/>
                      <a:pt x="82" y="46"/>
                    </a:cubicBezTo>
                    <a:cubicBezTo>
                      <a:pt x="82" y="65"/>
                      <a:pt x="82" y="65"/>
                      <a:pt x="82" y="65"/>
                    </a:cubicBezTo>
                    <a:lnTo>
                      <a:pt x="27" y="65"/>
                    </a:lnTo>
                    <a:close/>
                  </a:path>
                </a:pathLst>
              </a:custGeom>
              <a:solidFill>
                <a:srgbClr val="B4B4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3" name="Freeform 135"/>
              <p:cNvSpPr>
                <a:spLocks/>
              </p:cNvSpPr>
              <p:nvPr/>
            </p:nvSpPr>
            <p:spPr bwMode="auto">
              <a:xfrm>
                <a:off x="9623425" y="3849688"/>
                <a:ext cx="44450" cy="41275"/>
              </a:xfrm>
              <a:custGeom>
                <a:avLst/>
                <a:gdLst>
                  <a:gd name="T0" fmla="*/ 28 w 28"/>
                  <a:gd name="T1" fmla="*/ 26 h 26"/>
                  <a:gd name="T2" fmla="*/ 26 w 28"/>
                  <a:gd name="T3" fmla="*/ 26 h 26"/>
                  <a:gd name="T4" fmla="*/ 0 w 28"/>
                  <a:gd name="T5" fmla="*/ 26 h 26"/>
                  <a:gd name="T6" fmla="*/ 0 w 28"/>
                  <a:gd name="T7" fmla="*/ 0 h 26"/>
                  <a:gd name="T8" fmla="*/ 28 w 28"/>
                  <a:gd name="T9" fmla="*/ 0 h 26"/>
                  <a:gd name="T10" fmla="*/ 28 w 28"/>
                  <a:gd name="T11" fmla="*/ 26 h 26"/>
                </a:gdLst>
                <a:ahLst/>
                <a:cxnLst>
                  <a:cxn ang="0">
                    <a:pos x="T0" y="T1"/>
                  </a:cxn>
                  <a:cxn ang="0">
                    <a:pos x="T2" y="T3"/>
                  </a:cxn>
                  <a:cxn ang="0">
                    <a:pos x="T4" y="T5"/>
                  </a:cxn>
                  <a:cxn ang="0">
                    <a:pos x="T6" y="T7"/>
                  </a:cxn>
                  <a:cxn ang="0">
                    <a:pos x="T8" y="T9"/>
                  </a:cxn>
                  <a:cxn ang="0">
                    <a:pos x="T10" y="T11"/>
                  </a:cxn>
                </a:cxnLst>
                <a:rect l="0" t="0" r="r" b="b"/>
                <a:pathLst>
                  <a:path w="28" h="26">
                    <a:moveTo>
                      <a:pt x="28" y="26"/>
                    </a:moveTo>
                    <a:lnTo>
                      <a:pt x="26" y="26"/>
                    </a:lnTo>
                    <a:lnTo>
                      <a:pt x="0" y="26"/>
                    </a:lnTo>
                    <a:lnTo>
                      <a:pt x="0" y="0"/>
                    </a:lnTo>
                    <a:lnTo>
                      <a:pt x="28" y="0"/>
                    </a:lnTo>
                    <a:lnTo>
                      <a:pt x="28" y="26"/>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4" name="Freeform 136"/>
              <p:cNvSpPr>
                <a:spLocks/>
              </p:cNvSpPr>
              <p:nvPr/>
            </p:nvSpPr>
            <p:spPr bwMode="auto">
              <a:xfrm>
                <a:off x="9623425" y="3746500"/>
                <a:ext cx="80963" cy="103188"/>
              </a:xfrm>
              <a:custGeom>
                <a:avLst/>
                <a:gdLst>
                  <a:gd name="T0" fmla="*/ 51 w 51"/>
                  <a:gd name="T1" fmla="*/ 0 h 65"/>
                  <a:gd name="T2" fmla="*/ 42 w 51"/>
                  <a:gd name="T3" fmla="*/ 0 h 65"/>
                  <a:gd name="T4" fmla="*/ 0 w 51"/>
                  <a:gd name="T5" fmla="*/ 65 h 65"/>
                  <a:gd name="T6" fmla="*/ 28 w 51"/>
                  <a:gd name="T7" fmla="*/ 65 h 65"/>
                  <a:gd name="T8" fmla="*/ 51 w 51"/>
                  <a:gd name="T9" fmla="*/ 0 h 65"/>
                </a:gdLst>
                <a:ahLst/>
                <a:cxnLst>
                  <a:cxn ang="0">
                    <a:pos x="T0" y="T1"/>
                  </a:cxn>
                  <a:cxn ang="0">
                    <a:pos x="T2" y="T3"/>
                  </a:cxn>
                  <a:cxn ang="0">
                    <a:pos x="T4" y="T5"/>
                  </a:cxn>
                  <a:cxn ang="0">
                    <a:pos x="T6" y="T7"/>
                  </a:cxn>
                  <a:cxn ang="0">
                    <a:pos x="T8" y="T9"/>
                  </a:cxn>
                </a:cxnLst>
                <a:rect l="0" t="0" r="r" b="b"/>
                <a:pathLst>
                  <a:path w="51" h="65">
                    <a:moveTo>
                      <a:pt x="51" y="0"/>
                    </a:moveTo>
                    <a:lnTo>
                      <a:pt x="42" y="0"/>
                    </a:lnTo>
                    <a:lnTo>
                      <a:pt x="0" y="65"/>
                    </a:lnTo>
                    <a:lnTo>
                      <a:pt x="28" y="65"/>
                    </a:lnTo>
                    <a:lnTo>
                      <a:pt x="51" y="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5" name="Freeform 137"/>
              <p:cNvSpPr>
                <a:spLocks noEditPoints="1"/>
              </p:cNvSpPr>
              <p:nvPr/>
            </p:nvSpPr>
            <p:spPr bwMode="auto">
              <a:xfrm>
                <a:off x="9558338" y="3455988"/>
                <a:ext cx="284163" cy="338138"/>
              </a:xfrm>
              <a:custGeom>
                <a:avLst/>
                <a:gdLst>
                  <a:gd name="T0" fmla="*/ 64 w 128"/>
                  <a:gd name="T1" fmla="*/ 8 h 152"/>
                  <a:gd name="T2" fmla="*/ 117 w 128"/>
                  <a:gd name="T3" fmla="*/ 23 h 152"/>
                  <a:gd name="T4" fmla="*/ 64 w 128"/>
                  <a:gd name="T5" fmla="*/ 38 h 152"/>
                  <a:gd name="T6" fmla="*/ 11 w 128"/>
                  <a:gd name="T7" fmla="*/ 23 h 152"/>
                  <a:gd name="T8" fmla="*/ 64 w 128"/>
                  <a:gd name="T9" fmla="*/ 8 h 152"/>
                  <a:gd name="T10" fmla="*/ 64 w 128"/>
                  <a:gd name="T11" fmla="*/ 0 h 152"/>
                  <a:gd name="T12" fmla="*/ 39 w 128"/>
                  <a:gd name="T13" fmla="*/ 2 h 152"/>
                  <a:gd name="T14" fmla="*/ 19 w 128"/>
                  <a:gd name="T15" fmla="*/ 7 h 152"/>
                  <a:gd name="T16" fmla="*/ 5 w 128"/>
                  <a:gd name="T17" fmla="*/ 15 h 152"/>
                  <a:gd name="T18" fmla="*/ 1 w 128"/>
                  <a:gd name="T19" fmla="*/ 20 h 152"/>
                  <a:gd name="T20" fmla="*/ 0 w 128"/>
                  <a:gd name="T21" fmla="*/ 25 h 152"/>
                  <a:gd name="T22" fmla="*/ 0 w 128"/>
                  <a:gd name="T23" fmla="*/ 126 h 152"/>
                  <a:gd name="T24" fmla="*/ 1 w 128"/>
                  <a:gd name="T25" fmla="*/ 132 h 152"/>
                  <a:gd name="T26" fmla="*/ 5 w 128"/>
                  <a:gd name="T27" fmla="*/ 136 h 152"/>
                  <a:gd name="T28" fmla="*/ 19 w 128"/>
                  <a:gd name="T29" fmla="*/ 144 h 152"/>
                  <a:gd name="T30" fmla="*/ 39 w 128"/>
                  <a:gd name="T31" fmla="*/ 150 h 152"/>
                  <a:gd name="T32" fmla="*/ 64 w 128"/>
                  <a:gd name="T33" fmla="*/ 152 h 152"/>
                  <a:gd name="T34" fmla="*/ 110 w 128"/>
                  <a:gd name="T35" fmla="*/ 144 h 152"/>
                  <a:gd name="T36" fmla="*/ 123 w 128"/>
                  <a:gd name="T37" fmla="*/ 136 h 152"/>
                  <a:gd name="T38" fmla="*/ 127 w 128"/>
                  <a:gd name="T39" fmla="*/ 132 h 152"/>
                  <a:gd name="T40" fmla="*/ 128 w 128"/>
                  <a:gd name="T41" fmla="*/ 126 h 152"/>
                  <a:gd name="T42" fmla="*/ 128 w 128"/>
                  <a:gd name="T43" fmla="*/ 25 h 152"/>
                  <a:gd name="T44" fmla="*/ 123 w 128"/>
                  <a:gd name="T45" fmla="*/ 15 h 152"/>
                  <a:gd name="T46" fmla="*/ 110 w 128"/>
                  <a:gd name="T47" fmla="*/ 7 h 152"/>
                  <a:gd name="T48" fmla="*/ 89 w 128"/>
                  <a:gd name="T49" fmla="*/ 2 h 152"/>
                  <a:gd name="T50" fmla="*/ 64 w 128"/>
                  <a:gd name="T51" fmla="*/ 0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8" h="152">
                    <a:moveTo>
                      <a:pt x="64" y="8"/>
                    </a:moveTo>
                    <a:cubicBezTo>
                      <a:pt x="93" y="8"/>
                      <a:pt x="117" y="14"/>
                      <a:pt x="117" y="23"/>
                    </a:cubicBezTo>
                    <a:cubicBezTo>
                      <a:pt x="117" y="31"/>
                      <a:pt x="93" y="38"/>
                      <a:pt x="64" y="38"/>
                    </a:cubicBezTo>
                    <a:cubicBezTo>
                      <a:pt x="34" y="38"/>
                      <a:pt x="11" y="31"/>
                      <a:pt x="11" y="23"/>
                    </a:cubicBezTo>
                    <a:cubicBezTo>
                      <a:pt x="11" y="14"/>
                      <a:pt x="34" y="8"/>
                      <a:pt x="64" y="8"/>
                    </a:cubicBezTo>
                    <a:close/>
                    <a:moveTo>
                      <a:pt x="64" y="0"/>
                    </a:moveTo>
                    <a:cubicBezTo>
                      <a:pt x="39" y="2"/>
                      <a:pt x="39" y="2"/>
                      <a:pt x="39" y="2"/>
                    </a:cubicBezTo>
                    <a:cubicBezTo>
                      <a:pt x="19" y="7"/>
                      <a:pt x="19" y="7"/>
                      <a:pt x="19" y="7"/>
                    </a:cubicBezTo>
                    <a:cubicBezTo>
                      <a:pt x="5" y="15"/>
                      <a:pt x="5" y="15"/>
                      <a:pt x="5" y="15"/>
                    </a:cubicBezTo>
                    <a:cubicBezTo>
                      <a:pt x="1" y="20"/>
                      <a:pt x="1" y="20"/>
                      <a:pt x="1" y="20"/>
                    </a:cubicBezTo>
                    <a:cubicBezTo>
                      <a:pt x="0" y="25"/>
                      <a:pt x="0" y="25"/>
                      <a:pt x="0" y="25"/>
                    </a:cubicBezTo>
                    <a:cubicBezTo>
                      <a:pt x="0" y="126"/>
                      <a:pt x="0" y="126"/>
                      <a:pt x="0" y="126"/>
                    </a:cubicBezTo>
                    <a:cubicBezTo>
                      <a:pt x="1" y="132"/>
                      <a:pt x="1" y="132"/>
                      <a:pt x="1" y="132"/>
                    </a:cubicBezTo>
                    <a:cubicBezTo>
                      <a:pt x="5" y="136"/>
                      <a:pt x="5" y="136"/>
                      <a:pt x="5" y="136"/>
                    </a:cubicBezTo>
                    <a:cubicBezTo>
                      <a:pt x="19" y="144"/>
                      <a:pt x="19" y="144"/>
                      <a:pt x="19" y="144"/>
                    </a:cubicBezTo>
                    <a:cubicBezTo>
                      <a:pt x="39" y="150"/>
                      <a:pt x="39" y="150"/>
                      <a:pt x="39" y="150"/>
                    </a:cubicBezTo>
                    <a:cubicBezTo>
                      <a:pt x="47" y="151"/>
                      <a:pt x="55" y="152"/>
                      <a:pt x="64" y="152"/>
                    </a:cubicBezTo>
                    <a:cubicBezTo>
                      <a:pt x="82" y="152"/>
                      <a:pt x="98" y="149"/>
                      <a:pt x="110" y="144"/>
                    </a:cubicBezTo>
                    <a:cubicBezTo>
                      <a:pt x="115" y="142"/>
                      <a:pt x="120" y="139"/>
                      <a:pt x="123" y="136"/>
                    </a:cubicBezTo>
                    <a:cubicBezTo>
                      <a:pt x="125" y="135"/>
                      <a:pt x="126" y="133"/>
                      <a:pt x="127" y="132"/>
                    </a:cubicBezTo>
                    <a:cubicBezTo>
                      <a:pt x="128" y="130"/>
                      <a:pt x="128" y="128"/>
                      <a:pt x="128" y="126"/>
                    </a:cubicBezTo>
                    <a:cubicBezTo>
                      <a:pt x="128" y="25"/>
                      <a:pt x="128" y="25"/>
                      <a:pt x="128" y="25"/>
                    </a:cubicBezTo>
                    <a:cubicBezTo>
                      <a:pt x="128" y="22"/>
                      <a:pt x="127" y="18"/>
                      <a:pt x="123" y="15"/>
                    </a:cubicBezTo>
                    <a:cubicBezTo>
                      <a:pt x="120" y="12"/>
                      <a:pt x="115" y="10"/>
                      <a:pt x="110" y="7"/>
                    </a:cubicBezTo>
                    <a:cubicBezTo>
                      <a:pt x="104" y="5"/>
                      <a:pt x="97" y="3"/>
                      <a:pt x="89" y="2"/>
                    </a:cubicBezTo>
                    <a:cubicBezTo>
                      <a:pt x="82" y="1"/>
                      <a:pt x="73" y="0"/>
                      <a:pt x="64" y="0"/>
                    </a:cubicBezTo>
                    <a:close/>
                  </a:path>
                </a:pathLst>
              </a:custGeom>
              <a:solidFill>
                <a:schemeClr val="accent1">
                  <a:lumMod val="50000"/>
                  <a:lumOff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6" name="Rectangle 138"/>
              <p:cNvSpPr>
                <a:spLocks noChangeArrowheads="1"/>
              </p:cNvSpPr>
              <p:nvPr/>
            </p:nvSpPr>
            <p:spPr bwMode="auto">
              <a:xfrm>
                <a:off x="9623425" y="3890963"/>
                <a:ext cx="44450" cy="114300"/>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7" name="Freeform 139"/>
              <p:cNvSpPr>
                <a:spLocks/>
              </p:cNvSpPr>
              <p:nvPr/>
            </p:nvSpPr>
            <p:spPr bwMode="auto">
              <a:xfrm>
                <a:off x="9542463" y="3949700"/>
                <a:ext cx="317500" cy="234950"/>
              </a:xfrm>
              <a:custGeom>
                <a:avLst/>
                <a:gdLst>
                  <a:gd name="T0" fmla="*/ 143 w 143"/>
                  <a:gd name="T1" fmla="*/ 53 h 106"/>
                  <a:gd name="T2" fmla="*/ 130 w 143"/>
                  <a:gd name="T3" fmla="*/ 38 h 106"/>
                  <a:gd name="T4" fmla="*/ 130 w 143"/>
                  <a:gd name="T5" fmla="*/ 37 h 106"/>
                  <a:gd name="T6" fmla="*/ 108 w 143"/>
                  <a:gd name="T7" fmla="*/ 15 h 106"/>
                  <a:gd name="T8" fmla="*/ 93 w 143"/>
                  <a:gd name="T9" fmla="*/ 21 h 106"/>
                  <a:gd name="T10" fmla="*/ 63 w 143"/>
                  <a:gd name="T11" fmla="*/ 0 h 106"/>
                  <a:gd name="T12" fmla="*/ 37 w 143"/>
                  <a:gd name="T13" fmla="*/ 13 h 106"/>
                  <a:gd name="T14" fmla="*/ 29 w 143"/>
                  <a:gd name="T15" fmla="*/ 11 h 106"/>
                  <a:gd name="T16" fmla="*/ 19 w 143"/>
                  <a:gd name="T17" fmla="*/ 14 h 106"/>
                  <a:gd name="T18" fmla="*/ 11 w 143"/>
                  <a:gd name="T19" fmla="*/ 29 h 106"/>
                  <a:gd name="T20" fmla="*/ 0 w 143"/>
                  <a:gd name="T21" fmla="*/ 49 h 106"/>
                  <a:gd name="T22" fmla="*/ 0 w 143"/>
                  <a:gd name="T23" fmla="*/ 51 h 106"/>
                  <a:gd name="T24" fmla="*/ 0 w 143"/>
                  <a:gd name="T25" fmla="*/ 52 h 106"/>
                  <a:gd name="T26" fmla="*/ 18 w 143"/>
                  <a:gd name="T27" fmla="*/ 73 h 106"/>
                  <a:gd name="T28" fmla="*/ 18 w 143"/>
                  <a:gd name="T29" fmla="*/ 75 h 106"/>
                  <a:gd name="T30" fmla="*/ 49 w 143"/>
                  <a:gd name="T31" fmla="*/ 106 h 106"/>
                  <a:gd name="T32" fmla="*/ 75 w 143"/>
                  <a:gd name="T33" fmla="*/ 92 h 106"/>
                  <a:gd name="T34" fmla="*/ 83 w 143"/>
                  <a:gd name="T35" fmla="*/ 94 h 106"/>
                  <a:gd name="T36" fmla="*/ 93 w 143"/>
                  <a:gd name="T37" fmla="*/ 91 h 106"/>
                  <a:gd name="T38" fmla="*/ 94 w 143"/>
                  <a:gd name="T39" fmla="*/ 90 h 106"/>
                  <a:gd name="T40" fmla="*/ 98 w 143"/>
                  <a:gd name="T41" fmla="*/ 90 h 106"/>
                  <a:gd name="T42" fmla="*/ 116 w 143"/>
                  <a:gd name="T43" fmla="*/ 80 h 106"/>
                  <a:gd name="T44" fmla="*/ 122 w 143"/>
                  <a:gd name="T45" fmla="*/ 82 h 106"/>
                  <a:gd name="T46" fmla="*/ 129 w 143"/>
                  <a:gd name="T47" fmla="*/ 80 h 106"/>
                  <a:gd name="T48" fmla="*/ 135 w 143"/>
                  <a:gd name="T49" fmla="*/ 70 h 106"/>
                  <a:gd name="T50" fmla="*/ 143 w 143"/>
                  <a:gd name="T51" fmla="*/ 55 h 106"/>
                  <a:gd name="T52" fmla="*/ 143 w 143"/>
                  <a:gd name="T53" fmla="*/ 54 h 106"/>
                  <a:gd name="T54" fmla="*/ 143 w 143"/>
                  <a:gd name="T55" fmla="*/ 53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43" h="106">
                    <a:moveTo>
                      <a:pt x="143" y="53"/>
                    </a:moveTo>
                    <a:cubicBezTo>
                      <a:pt x="143" y="45"/>
                      <a:pt x="137" y="39"/>
                      <a:pt x="130" y="38"/>
                    </a:cubicBezTo>
                    <a:cubicBezTo>
                      <a:pt x="130" y="38"/>
                      <a:pt x="130" y="37"/>
                      <a:pt x="130" y="37"/>
                    </a:cubicBezTo>
                    <a:cubicBezTo>
                      <a:pt x="130" y="25"/>
                      <a:pt x="120" y="15"/>
                      <a:pt x="108" y="15"/>
                    </a:cubicBezTo>
                    <a:cubicBezTo>
                      <a:pt x="102" y="15"/>
                      <a:pt x="97" y="17"/>
                      <a:pt x="93" y="21"/>
                    </a:cubicBezTo>
                    <a:cubicBezTo>
                      <a:pt x="89" y="9"/>
                      <a:pt x="77" y="0"/>
                      <a:pt x="63" y="0"/>
                    </a:cubicBezTo>
                    <a:cubicBezTo>
                      <a:pt x="52" y="0"/>
                      <a:pt x="43" y="5"/>
                      <a:pt x="37" y="13"/>
                    </a:cubicBezTo>
                    <a:cubicBezTo>
                      <a:pt x="35" y="12"/>
                      <a:pt x="32" y="11"/>
                      <a:pt x="29" y="11"/>
                    </a:cubicBezTo>
                    <a:cubicBezTo>
                      <a:pt x="25" y="11"/>
                      <a:pt x="22" y="12"/>
                      <a:pt x="19" y="14"/>
                    </a:cubicBezTo>
                    <a:cubicBezTo>
                      <a:pt x="14" y="17"/>
                      <a:pt x="11" y="23"/>
                      <a:pt x="11" y="29"/>
                    </a:cubicBezTo>
                    <a:cubicBezTo>
                      <a:pt x="4" y="33"/>
                      <a:pt x="0" y="41"/>
                      <a:pt x="0" y="49"/>
                    </a:cubicBezTo>
                    <a:cubicBezTo>
                      <a:pt x="0" y="50"/>
                      <a:pt x="0" y="50"/>
                      <a:pt x="0" y="51"/>
                    </a:cubicBezTo>
                    <a:cubicBezTo>
                      <a:pt x="0" y="51"/>
                      <a:pt x="0" y="52"/>
                      <a:pt x="0" y="52"/>
                    </a:cubicBezTo>
                    <a:cubicBezTo>
                      <a:pt x="0" y="63"/>
                      <a:pt x="8" y="72"/>
                      <a:pt x="18" y="73"/>
                    </a:cubicBezTo>
                    <a:cubicBezTo>
                      <a:pt x="18" y="74"/>
                      <a:pt x="18" y="74"/>
                      <a:pt x="18" y="75"/>
                    </a:cubicBezTo>
                    <a:cubicBezTo>
                      <a:pt x="18" y="92"/>
                      <a:pt x="32" y="106"/>
                      <a:pt x="49" y="106"/>
                    </a:cubicBezTo>
                    <a:cubicBezTo>
                      <a:pt x="59" y="106"/>
                      <a:pt x="69" y="100"/>
                      <a:pt x="75" y="92"/>
                    </a:cubicBezTo>
                    <a:cubicBezTo>
                      <a:pt x="77" y="93"/>
                      <a:pt x="80" y="94"/>
                      <a:pt x="83" y="94"/>
                    </a:cubicBezTo>
                    <a:cubicBezTo>
                      <a:pt x="87" y="94"/>
                      <a:pt x="90" y="93"/>
                      <a:pt x="93" y="91"/>
                    </a:cubicBezTo>
                    <a:cubicBezTo>
                      <a:pt x="94" y="91"/>
                      <a:pt x="94" y="90"/>
                      <a:pt x="94" y="90"/>
                    </a:cubicBezTo>
                    <a:cubicBezTo>
                      <a:pt x="96" y="90"/>
                      <a:pt x="97" y="90"/>
                      <a:pt x="98" y="90"/>
                    </a:cubicBezTo>
                    <a:cubicBezTo>
                      <a:pt x="105" y="90"/>
                      <a:pt x="112" y="86"/>
                      <a:pt x="116" y="80"/>
                    </a:cubicBezTo>
                    <a:cubicBezTo>
                      <a:pt x="118" y="81"/>
                      <a:pt x="120" y="82"/>
                      <a:pt x="122" y="82"/>
                    </a:cubicBezTo>
                    <a:cubicBezTo>
                      <a:pt x="125" y="82"/>
                      <a:pt x="127" y="81"/>
                      <a:pt x="129" y="80"/>
                    </a:cubicBezTo>
                    <a:cubicBezTo>
                      <a:pt x="133" y="78"/>
                      <a:pt x="135" y="74"/>
                      <a:pt x="135" y="70"/>
                    </a:cubicBezTo>
                    <a:cubicBezTo>
                      <a:pt x="140" y="66"/>
                      <a:pt x="143" y="61"/>
                      <a:pt x="143" y="55"/>
                    </a:cubicBezTo>
                    <a:cubicBezTo>
                      <a:pt x="143" y="55"/>
                      <a:pt x="143" y="54"/>
                      <a:pt x="143" y="54"/>
                    </a:cubicBezTo>
                    <a:cubicBezTo>
                      <a:pt x="143" y="53"/>
                      <a:pt x="143" y="53"/>
                      <a:pt x="143" y="53"/>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8" name="Freeform 140"/>
              <p:cNvSpPr>
                <a:spLocks/>
              </p:cNvSpPr>
              <p:nvPr/>
            </p:nvSpPr>
            <p:spPr bwMode="auto">
              <a:xfrm>
                <a:off x="9685338" y="4146550"/>
                <a:ext cx="11113" cy="373063"/>
              </a:xfrm>
              <a:custGeom>
                <a:avLst/>
                <a:gdLst>
                  <a:gd name="T0" fmla="*/ 3 w 5"/>
                  <a:gd name="T1" fmla="*/ 168 h 168"/>
                  <a:gd name="T2" fmla="*/ 0 w 5"/>
                  <a:gd name="T3" fmla="*/ 165 h 168"/>
                  <a:gd name="T4" fmla="*/ 0 w 5"/>
                  <a:gd name="T5" fmla="*/ 2 h 168"/>
                  <a:gd name="T6" fmla="*/ 3 w 5"/>
                  <a:gd name="T7" fmla="*/ 0 h 168"/>
                  <a:gd name="T8" fmla="*/ 5 w 5"/>
                  <a:gd name="T9" fmla="*/ 2 h 168"/>
                  <a:gd name="T10" fmla="*/ 5 w 5"/>
                  <a:gd name="T11" fmla="*/ 165 h 168"/>
                  <a:gd name="T12" fmla="*/ 3 w 5"/>
                  <a:gd name="T13" fmla="*/ 168 h 168"/>
                </a:gdLst>
                <a:ahLst/>
                <a:cxnLst>
                  <a:cxn ang="0">
                    <a:pos x="T0" y="T1"/>
                  </a:cxn>
                  <a:cxn ang="0">
                    <a:pos x="T2" y="T3"/>
                  </a:cxn>
                  <a:cxn ang="0">
                    <a:pos x="T4" y="T5"/>
                  </a:cxn>
                  <a:cxn ang="0">
                    <a:pos x="T6" y="T7"/>
                  </a:cxn>
                  <a:cxn ang="0">
                    <a:pos x="T8" y="T9"/>
                  </a:cxn>
                  <a:cxn ang="0">
                    <a:pos x="T10" y="T11"/>
                  </a:cxn>
                  <a:cxn ang="0">
                    <a:pos x="T12" y="T13"/>
                  </a:cxn>
                </a:cxnLst>
                <a:rect l="0" t="0" r="r" b="b"/>
                <a:pathLst>
                  <a:path w="5" h="168">
                    <a:moveTo>
                      <a:pt x="3" y="168"/>
                    </a:moveTo>
                    <a:cubicBezTo>
                      <a:pt x="1" y="168"/>
                      <a:pt x="0" y="167"/>
                      <a:pt x="0" y="165"/>
                    </a:cubicBezTo>
                    <a:cubicBezTo>
                      <a:pt x="0" y="2"/>
                      <a:pt x="0" y="2"/>
                      <a:pt x="0" y="2"/>
                    </a:cubicBezTo>
                    <a:cubicBezTo>
                      <a:pt x="0" y="1"/>
                      <a:pt x="1" y="0"/>
                      <a:pt x="3" y="0"/>
                    </a:cubicBezTo>
                    <a:cubicBezTo>
                      <a:pt x="4" y="0"/>
                      <a:pt x="5" y="1"/>
                      <a:pt x="5" y="2"/>
                    </a:cubicBezTo>
                    <a:cubicBezTo>
                      <a:pt x="5" y="165"/>
                      <a:pt x="5" y="165"/>
                      <a:pt x="5" y="165"/>
                    </a:cubicBezTo>
                    <a:cubicBezTo>
                      <a:pt x="5" y="167"/>
                      <a:pt x="4" y="168"/>
                      <a:pt x="3" y="168"/>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9" name="Freeform 141"/>
              <p:cNvSpPr>
                <a:spLocks/>
              </p:cNvSpPr>
              <p:nvPr/>
            </p:nvSpPr>
            <p:spPr bwMode="auto">
              <a:xfrm>
                <a:off x="9712325" y="4146550"/>
                <a:ext cx="11113" cy="422275"/>
              </a:xfrm>
              <a:custGeom>
                <a:avLst/>
                <a:gdLst>
                  <a:gd name="T0" fmla="*/ 2 w 5"/>
                  <a:gd name="T1" fmla="*/ 190 h 190"/>
                  <a:gd name="T2" fmla="*/ 0 w 5"/>
                  <a:gd name="T3" fmla="*/ 187 h 190"/>
                  <a:gd name="T4" fmla="*/ 0 w 5"/>
                  <a:gd name="T5" fmla="*/ 2 h 190"/>
                  <a:gd name="T6" fmla="*/ 2 w 5"/>
                  <a:gd name="T7" fmla="*/ 0 h 190"/>
                  <a:gd name="T8" fmla="*/ 5 w 5"/>
                  <a:gd name="T9" fmla="*/ 2 h 190"/>
                  <a:gd name="T10" fmla="*/ 5 w 5"/>
                  <a:gd name="T11" fmla="*/ 187 h 190"/>
                  <a:gd name="T12" fmla="*/ 2 w 5"/>
                  <a:gd name="T13" fmla="*/ 190 h 190"/>
                </a:gdLst>
                <a:ahLst/>
                <a:cxnLst>
                  <a:cxn ang="0">
                    <a:pos x="T0" y="T1"/>
                  </a:cxn>
                  <a:cxn ang="0">
                    <a:pos x="T2" y="T3"/>
                  </a:cxn>
                  <a:cxn ang="0">
                    <a:pos x="T4" y="T5"/>
                  </a:cxn>
                  <a:cxn ang="0">
                    <a:pos x="T6" y="T7"/>
                  </a:cxn>
                  <a:cxn ang="0">
                    <a:pos x="T8" y="T9"/>
                  </a:cxn>
                  <a:cxn ang="0">
                    <a:pos x="T10" y="T11"/>
                  </a:cxn>
                  <a:cxn ang="0">
                    <a:pos x="T12" y="T13"/>
                  </a:cxn>
                </a:cxnLst>
                <a:rect l="0" t="0" r="r" b="b"/>
                <a:pathLst>
                  <a:path w="5" h="190">
                    <a:moveTo>
                      <a:pt x="2" y="190"/>
                    </a:moveTo>
                    <a:cubicBezTo>
                      <a:pt x="1" y="190"/>
                      <a:pt x="0" y="189"/>
                      <a:pt x="0" y="187"/>
                    </a:cubicBezTo>
                    <a:cubicBezTo>
                      <a:pt x="0" y="2"/>
                      <a:pt x="0" y="2"/>
                      <a:pt x="0" y="2"/>
                    </a:cubicBezTo>
                    <a:cubicBezTo>
                      <a:pt x="0" y="1"/>
                      <a:pt x="1" y="0"/>
                      <a:pt x="2" y="0"/>
                    </a:cubicBezTo>
                    <a:cubicBezTo>
                      <a:pt x="4" y="0"/>
                      <a:pt x="5" y="1"/>
                      <a:pt x="5" y="2"/>
                    </a:cubicBezTo>
                    <a:cubicBezTo>
                      <a:pt x="5" y="187"/>
                      <a:pt x="5" y="187"/>
                      <a:pt x="5" y="187"/>
                    </a:cubicBezTo>
                    <a:cubicBezTo>
                      <a:pt x="5" y="189"/>
                      <a:pt x="4" y="190"/>
                      <a:pt x="2" y="190"/>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0" name="Freeform 142"/>
              <p:cNvSpPr>
                <a:spLocks/>
              </p:cNvSpPr>
              <p:nvPr/>
            </p:nvSpPr>
            <p:spPr bwMode="auto">
              <a:xfrm>
                <a:off x="9736138" y="4146550"/>
                <a:ext cx="11113" cy="373063"/>
              </a:xfrm>
              <a:custGeom>
                <a:avLst/>
                <a:gdLst>
                  <a:gd name="T0" fmla="*/ 3 w 5"/>
                  <a:gd name="T1" fmla="*/ 168 h 168"/>
                  <a:gd name="T2" fmla="*/ 0 w 5"/>
                  <a:gd name="T3" fmla="*/ 165 h 168"/>
                  <a:gd name="T4" fmla="*/ 0 w 5"/>
                  <a:gd name="T5" fmla="*/ 2 h 168"/>
                  <a:gd name="T6" fmla="*/ 3 w 5"/>
                  <a:gd name="T7" fmla="*/ 0 h 168"/>
                  <a:gd name="T8" fmla="*/ 5 w 5"/>
                  <a:gd name="T9" fmla="*/ 2 h 168"/>
                  <a:gd name="T10" fmla="*/ 5 w 5"/>
                  <a:gd name="T11" fmla="*/ 165 h 168"/>
                  <a:gd name="T12" fmla="*/ 3 w 5"/>
                  <a:gd name="T13" fmla="*/ 168 h 168"/>
                </a:gdLst>
                <a:ahLst/>
                <a:cxnLst>
                  <a:cxn ang="0">
                    <a:pos x="T0" y="T1"/>
                  </a:cxn>
                  <a:cxn ang="0">
                    <a:pos x="T2" y="T3"/>
                  </a:cxn>
                  <a:cxn ang="0">
                    <a:pos x="T4" y="T5"/>
                  </a:cxn>
                  <a:cxn ang="0">
                    <a:pos x="T6" y="T7"/>
                  </a:cxn>
                  <a:cxn ang="0">
                    <a:pos x="T8" y="T9"/>
                  </a:cxn>
                  <a:cxn ang="0">
                    <a:pos x="T10" y="T11"/>
                  </a:cxn>
                  <a:cxn ang="0">
                    <a:pos x="T12" y="T13"/>
                  </a:cxn>
                </a:cxnLst>
                <a:rect l="0" t="0" r="r" b="b"/>
                <a:pathLst>
                  <a:path w="5" h="168">
                    <a:moveTo>
                      <a:pt x="3" y="168"/>
                    </a:moveTo>
                    <a:cubicBezTo>
                      <a:pt x="1" y="168"/>
                      <a:pt x="0" y="167"/>
                      <a:pt x="0" y="165"/>
                    </a:cubicBezTo>
                    <a:cubicBezTo>
                      <a:pt x="0" y="2"/>
                      <a:pt x="0" y="2"/>
                      <a:pt x="0" y="2"/>
                    </a:cubicBezTo>
                    <a:cubicBezTo>
                      <a:pt x="0" y="1"/>
                      <a:pt x="1" y="0"/>
                      <a:pt x="3" y="0"/>
                    </a:cubicBezTo>
                    <a:cubicBezTo>
                      <a:pt x="4" y="0"/>
                      <a:pt x="5" y="1"/>
                      <a:pt x="5" y="2"/>
                    </a:cubicBezTo>
                    <a:cubicBezTo>
                      <a:pt x="5" y="165"/>
                      <a:pt x="5" y="165"/>
                      <a:pt x="5" y="165"/>
                    </a:cubicBezTo>
                    <a:cubicBezTo>
                      <a:pt x="5" y="167"/>
                      <a:pt x="4" y="168"/>
                      <a:pt x="3" y="168"/>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32" name="Freeform 143"/>
            <p:cNvSpPr>
              <a:spLocks/>
            </p:cNvSpPr>
            <p:nvPr/>
          </p:nvSpPr>
          <p:spPr bwMode="auto">
            <a:xfrm>
              <a:off x="11651666" y="3641267"/>
              <a:ext cx="11113" cy="142875"/>
            </a:xfrm>
            <a:custGeom>
              <a:avLst/>
              <a:gdLst>
                <a:gd name="T0" fmla="*/ 2 w 5"/>
                <a:gd name="T1" fmla="*/ 0 h 65"/>
                <a:gd name="T2" fmla="*/ 5 w 5"/>
                <a:gd name="T3" fmla="*/ 2 h 65"/>
                <a:gd name="T4" fmla="*/ 5 w 5"/>
                <a:gd name="T5" fmla="*/ 63 h 65"/>
                <a:gd name="T6" fmla="*/ 2 w 5"/>
                <a:gd name="T7" fmla="*/ 65 h 65"/>
                <a:gd name="T8" fmla="*/ 0 w 5"/>
                <a:gd name="T9" fmla="*/ 63 h 65"/>
                <a:gd name="T10" fmla="*/ 0 w 5"/>
                <a:gd name="T11" fmla="*/ 2 h 65"/>
                <a:gd name="T12" fmla="*/ 2 w 5"/>
                <a:gd name="T13" fmla="*/ 0 h 65"/>
              </a:gdLst>
              <a:ahLst/>
              <a:cxnLst>
                <a:cxn ang="0">
                  <a:pos x="T0" y="T1"/>
                </a:cxn>
                <a:cxn ang="0">
                  <a:pos x="T2" y="T3"/>
                </a:cxn>
                <a:cxn ang="0">
                  <a:pos x="T4" y="T5"/>
                </a:cxn>
                <a:cxn ang="0">
                  <a:pos x="T6" y="T7"/>
                </a:cxn>
                <a:cxn ang="0">
                  <a:pos x="T8" y="T9"/>
                </a:cxn>
                <a:cxn ang="0">
                  <a:pos x="T10" y="T11"/>
                </a:cxn>
                <a:cxn ang="0">
                  <a:pos x="T12" y="T13"/>
                </a:cxn>
              </a:cxnLst>
              <a:rect l="0" t="0" r="r" b="b"/>
              <a:pathLst>
                <a:path w="5" h="65">
                  <a:moveTo>
                    <a:pt x="2" y="0"/>
                  </a:moveTo>
                  <a:cubicBezTo>
                    <a:pt x="4" y="0"/>
                    <a:pt x="5" y="1"/>
                    <a:pt x="5" y="2"/>
                  </a:cubicBezTo>
                  <a:cubicBezTo>
                    <a:pt x="5" y="63"/>
                    <a:pt x="5" y="63"/>
                    <a:pt x="5" y="63"/>
                  </a:cubicBezTo>
                  <a:cubicBezTo>
                    <a:pt x="5" y="64"/>
                    <a:pt x="4" y="65"/>
                    <a:pt x="2" y="65"/>
                  </a:cubicBezTo>
                  <a:cubicBezTo>
                    <a:pt x="1" y="65"/>
                    <a:pt x="0" y="64"/>
                    <a:pt x="0" y="63"/>
                  </a:cubicBezTo>
                  <a:cubicBezTo>
                    <a:pt x="0" y="2"/>
                    <a:pt x="0" y="2"/>
                    <a:pt x="0" y="2"/>
                  </a:cubicBezTo>
                  <a:cubicBezTo>
                    <a:pt x="0" y="1"/>
                    <a:pt x="1" y="0"/>
                    <a:pt x="2" y="0"/>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3" name="Freeform 144"/>
            <p:cNvSpPr>
              <a:spLocks/>
            </p:cNvSpPr>
            <p:nvPr/>
          </p:nvSpPr>
          <p:spPr bwMode="auto">
            <a:xfrm>
              <a:off x="11626266" y="3592054"/>
              <a:ext cx="12700" cy="192088"/>
            </a:xfrm>
            <a:custGeom>
              <a:avLst/>
              <a:gdLst>
                <a:gd name="T0" fmla="*/ 3 w 6"/>
                <a:gd name="T1" fmla="*/ 0 h 87"/>
                <a:gd name="T2" fmla="*/ 6 w 6"/>
                <a:gd name="T3" fmla="*/ 3 h 87"/>
                <a:gd name="T4" fmla="*/ 6 w 6"/>
                <a:gd name="T5" fmla="*/ 85 h 87"/>
                <a:gd name="T6" fmla="*/ 3 w 6"/>
                <a:gd name="T7" fmla="*/ 87 h 87"/>
                <a:gd name="T8" fmla="*/ 0 w 6"/>
                <a:gd name="T9" fmla="*/ 85 h 87"/>
                <a:gd name="T10" fmla="*/ 0 w 6"/>
                <a:gd name="T11" fmla="*/ 3 h 87"/>
                <a:gd name="T12" fmla="*/ 3 w 6"/>
                <a:gd name="T13" fmla="*/ 0 h 87"/>
              </a:gdLst>
              <a:ahLst/>
              <a:cxnLst>
                <a:cxn ang="0">
                  <a:pos x="T0" y="T1"/>
                </a:cxn>
                <a:cxn ang="0">
                  <a:pos x="T2" y="T3"/>
                </a:cxn>
                <a:cxn ang="0">
                  <a:pos x="T4" y="T5"/>
                </a:cxn>
                <a:cxn ang="0">
                  <a:pos x="T6" y="T7"/>
                </a:cxn>
                <a:cxn ang="0">
                  <a:pos x="T8" y="T9"/>
                </a:cxn>
                <a:cxn ang="0">
                  <a:pos x="T10" y="T11"/>
                </a:cxn>
                <a:cxn ang="0">
                  <a:pos x="T12" y="T13"/>
                </a:cxn>
              </a:cxnLst>
              <a:rect l="0" t="0" r="r" b="b"/>
              <a:pathLst>
                <a:path w="6" h="87">
                  <a:moveTo>
                    <a:pt x="3" y="0"/>
                  </a:moveTo>
                  <a:cubicBezTo>
                    <a:pt x="4" y="0"/>
                    <a:pt x="6" y="1"/>
                    <a:pt x="6" y="3"/>
                  </a:cubicBezTo>
                  <a:cubicBezTo>
                    <a:pt x="6" y="85"/>
                    <a:pt x="6" y="85"/>
                    <a:pt x="6" y="85"/>
                  </a:cubicBezTo>
                  <a:cubicBezTo>
                    <a:pt x="6" y="86"/>
                    <a:pt x="4" y="87"/>
                    <a:pt x="3" y="87"/>
                  </a:cubicBezTo>
                  <a:cubicBezTo>
                    <a:pt x="2" y="87"/>
                    <a:pt x="0" y="86"/>
                    <a:pt x="0" y="85"/>
                  </a:cubicBezTo>
                  <a:cubicBezTo>
                    <a:pt x="0" y="3"/>
                    <a:pt x="0" y="3"/>
                    <a:pt x="0" y="3"/>
                  </a:cubicBezTo>
                  <a:cubicBezTo>
                    <a:pt x="0" y="1"/>
                    <a:pt x="2" y="0"/>
                    <a:pt x="3" y="0"/>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4" name="Freeform 145"/>
            <p:cNvSpPr>
              <a:spLocks/>
            </p:cNvSpPr>
            <p:nvPr/>
          </p:nvSpPr>
          <p:spPr bwMode="auto">
            <a:xfrm>
              <a:off x="11600866" y="3641267"/>
              <a:ext cx="11113" cy="142875"/>
            </a:xfrm>
            <a:custGeom>
              <a:avLst/>
              <a:gdLst>
                <a:gd name="T0" fmla="*/ 2 w 5"/>
                <a:gd name="T1" fmla="*/ 0 h 65"/>
                <a:gd name="T2" fmla="*/ 5 w 5"/>
                <a:gd name="T3" fmla="*/ 2 h 65"/>
                <a:gd name="T4" fmla="*/ 5 w 5"/>
                <a:gd name="T5" fmla="*/ 63 h 65"/>
                <a:gd name="T6" fmla="*/ 2 w 5"/>
                <a:gd name="T7" fmla="*/ 65 h 65"/>
                <a:gd name="T8" fmla="*/ 0 w 5"/>
                <a:gd name="T9" fmla="*/ 63 h 65"/>
                <a:gd name="T10" fmla="*/ 0 w 5"/>
                <a:gd name="T11" fmla="*/ 2 h 65"/>
                <a:gd name="T12" fmla="*/ 2 w 5"/>
                <a:gd name="T13" fmla="*/ 0 h 65"/>
              </a:gdLst>
              <a:ahLst/>
              <a:cxnLst>
                <a:cxn ang="0">
                  <a:pos x="T0" y="T1"/>
                </a:cxn>
                <a:cxn ang="0">
                  <a:pos x="T2" y="T3"/>
                </a:cxn>
                <a:cxn ang="0">
                  <a:pos x="T4" y="T5"/>
                </a:cxn>
                <a:cxn ang="0">
                  <a:pos x="T6" y="T7"/>
                </a:cxn>
                <a:cxn ang="0">
                  <a:pos x="T8" y="T9"/>
                </a:cxn>
                <a:cxn ang="0">
                  <a:pos x="T10" y="T11"/>
                </a:cxn>
                <a:cxn ang="0">
                  <a:pos x="T12" y="T13"/>
                </a:cxn>
              </a:cxnLst>
              <a:rect l="0" t="0" r="r" b="b"/>
              <a:pathLst>
                <a:path w="5" h="65">
                  <a:moveTo>
                    <a:pt x="2" y="0"/>
                  </a:moveTo>
                  <a:cubicBezTo>
                    <a:pt x="4" y="0"/>
                    <a:pt x="5" y="1"/>
                    <a:pt x="5" y="2"/>
                  </a:cubicBezTo>
                  <a:cubicBezTo>
                    <a:pt x="5" y="63"/>
                    <a:pt x="5" y="63"/>
                    <a:pt x="5" y="63"/>
                  </a:cubicBezTo>
                  <a:cubicBezTo>
                    <a:pt x="5" y="64"/>
                    <a:pt x="4" y="65"/>
                    <a:pt x="2" y="65"/>
                  </a:cubicBezTo>
                  <a:cubicBezTo>
                    <a:pt x="1" y="65"/>
                    <a:pt x="0" y="64"/>
                    <a:pt x="0" y="63"/>
                  </a:cubicBezTo>
                  <a:cubicBezTo>
                    <a:pt x="0" y="2"/>
                    <a:pt x="0" y="2"/>
                    <a:pt x="0" y="2"/>
                  </a:cubicBezTo>
                  <a:cubicBezTo>
                    <a:pt x="0" y="1"/>
                    <a:pt x="1" y="0"/>
                    <a:pt x="2" y="0"/>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5" name="Freeform 146"/>
            <p:cNvSpPr>
              <a:spLocks/>
            </p:cNvSpPr>
            <p:nvPr/>
          </p:nvSpPr>
          <p:spPr bwMode="auto">
            <a:xfrm>
              <a:off x="11353216" y="4000042"/>
              <a:ext cx="285750" cy="300038"/>
            </a:xfrm>
            <a:custGeom>
              <a:avLst/>
              <a:gdLst>
                <a:gd name="T0" fmla="*/ 126 w 129"/>
                <a:gd name="T1" fmla="*/ 135 h 135"/>
                <a:gd name="T2" fmla="*/ 124 w 129"/>
                <a:gd name="T3" fmla="*/ 134 h 135"/>
                <a:gd name="T4" fmla="*/ 1 w 129"/>
                <a:gd name="T5" fmla="*/ 5 h 135"/>
                <a:gd name="T6" fmla="*/ 1 w 129"/>
                <a:gd name="T7" fmla="*/ 1 h 135"/>
                <a:gd name="T8" fmla="*/ 5 w 129"/>
                <a:gd name="T9" fmla="*/ 1 h 135"/>
                <a:gd name="T10" fmla="*/ 128 w 129"/>
                <a:gd name="T11" fmla="*/ 130 h 135"/>
                <a:gd name="T12" fmla="*/ 128 w 129"/>
                <a:gd name="T13" fmla="*/ 134 h 135"/>
                <a:gd name="T14" fmla="*/ 126 w 129"/>
                <a:gd name="T15" fmla="*/ 135 h 13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9" h="135">
                  <a:moveTo>
                    <a:pt x="126" y="135"/>
                  </a:moveTo>
                  <a:cubicBezTo>
                    <a:pt x="125" y="135"/>
                    <a:pt x="124" y="135"/>
                    <a:pt x="124" y="134"/>
                  </a:cubicBezTo>
                  <a:cubicBezTo>
                    <a:pt x="1" y="5"/>
                    <a:pt x="1" y="5"/>
                    <a:pt x="1" y="5"/>
                  </a:cubicBezTo>
                  <a:cubicBezTo>
                    <a:pt x="0" y="4"/>
                    <a:pt x="0" y="2"/>
                    <a:pt x="1" y="1"/>
                  </a:cubicBezTo>
                  <a:cubicBezTo>
                    <a:pt x="3" y="0"/>
                    <a:pt x="4" y="0"/>
                    <a:pt x="5" y="1"/>
                  </a:cubicBezTo>
                  <a:cubicBezTo>
                    <a:pt x="128" y="130"/>
                    <a:pt x="128" y="130"/>
                    <a:pt x="128" y="130"/>
                  </a:cubicBezTo>
                  <a:cubicBezTo>
                    <a:pt x="129" y="131"/>
                    <a:pt x="129" y="133"/>
                    <a:pt x="128" y="134"/>
                  </a:cubicBezTo>
                  <a:cubicBezTo>
                    <a:pt x="127" y="135"/>
                    <a:pt x="127" y="135"/>
                    <a:pt x="126" y="135"/>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6" name="Freeform 147"/>
            <p:cNvSpPr>
              <a:spLocks/>
            </p:cNvSpPr>
            <p:nvPr/>
          </p:nvSpPr>
          <p:spPr bwMode="auto">
            <a:xfrm>
              <a:off x="11464341" y="3993692"/>
              <a:ext cx="174625" cy="306388"/>
            </a:xfrm>
            <a:custGeom>
              <a:avLst/>
              <a:gdLst>
                <a:gd name="T0" fmla="*/ 76 w 79"/>
                <a:gd name="T1" fmla="*/ 138 h 138"/>
                <a:gd name="T2" fmla="*/ 73 w 79"/>
                <a:gd name="T3" fmla="*/ 136 h 138"/>
                <a:gd name="T4" fmla="*/ 1 w 79"/>
                <a:gd name="T5" fmla="*/ 5 h 138"/>
                <a:gd name="T6" fmla="*/ 2 w 79"/>
                <a:gd name="T7" fmla="*/ 1 h 138"/>
                <a:gd name="T8" fmla="*/ 6 w 79"/>
                <a:gd name="T9" fmla="*/ 2 h 138"/>
                <a:gd name="T10" fmla="*/ 78 w 79"/>
                <a:gd name="T11" fmla="*/ 134 h 138"/>
                <a:gd name="T12" fmla="*/ 77 w 79"/>
                <a:gd name="T13" fmla="*/ 138 h 138"/>
                <a:gd name="T14" fmla="*/ 76 w 79"/>
                <a:gd name="T15" fmla="*/ 138 h 1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 h="138">
                  <a:moveTo>
                    <a:pt x="76" y="138"/>
                  </a:moveTo>
                  <a:cubicBezTo>
                    <a:pt x="75" y="138"/>
                    <a:pt x="74" y="137"/>
                    <a:pt x="73" y="136"/>
                  </a:cubicBezTo>
                  <a:cubicBezTo>
                    <a:pt x="1" y="5"/>
                    <a:pt x="1" y="5"/>
                    <a:pt x="1" y="5"/>
                  </a:cubicBezTo>
                  <a:cubicBezTo>
                    <a:pt x="0" y="3"/>
                    <a:pt x="1" y="2"/>
                    <a:pt x="2" y="1"/>
                  </a:cubicBezTo>
                  <a:cubicBezTo>
                    <a:pt x="3" y="0"/>
                    <a:pt x="5" y="1"/>
                    <a:pt x="6" y="2"/>
                  </a:cubicBezTo>
                  <a:cubicBezTo>
                    <a:pt x="78" y="134"/>
                    <a:pt x="78" y="134"/>
                    <a:pt x="78" y="134"/>
                  </a:cubicBezTo>
                  <a:cubicBezTo>
                    <a:pt x="79" y="135"/>
                    <a:pt x="79" y="137"/>
                    <a:pt x="77" y="138"/>
                  </a:cubicBezTo>
                  <a:cubicBezTo>
                    <a:pt x="77" y="138"/>
                    <a:pt x="76" y="138"/>
                    <a:pt x="76" y="138"/>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7" name="Freeform 148"/>
            <p:cNvSpPr>
              <a:spLocks/>
            </p:cNvSpPr>
            <p:nvPr/>
          </p:nvSpPr>
          <p:spPr bwMode="auto">
            <a:xfrm>
              <a:off x="11572291" y="3993692"/>
              <a:ext cx="66675" cy="306388"/>
            </a:xfrm>
            <a:custGeom>
              <a:avLst/>
              <a:gdLst>
                <a:gd name="T0" fmla="*/ 27 w 30"/>
                <a:gd name="T1" fmla="*/ 138 h 138"/>
                <a:gd name="T2" fmla="*/ 24 w 30"/>
                <a:gd name="T3" fmla="*/ 136 h 138"/>
                <a:gd name="T4" fmla="*/ 0 w 30"/>
                <a:gd name="T5" fmla="*/ 4 h 138"/>
                <a:gd name="T6" fmla="*/ 2 w 30"/>
                <a:gd name="T7" fmla="*/ 1 h 138"/>
                <a:gd name="T8" fmla="*/ 6 w 30"/>
                <a:gd name="T9" fmla="*/ 3 h 138"/>
                <a:gd name="T10" fmla="*/ 30 w 30"/>
                <a:gd name="T11" fmla="*/ 135 h 138"/>
                <a:gd name="T12" fmla="*/ 27 w 30"/>
                <a:gd name="T13" fmla="*/ 138 h 138"/>
                <a:gd name="T14" fmla="*/ 27 w 30"/>
                <a:gd name="T15" fmla="*/ 138 h 1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 h="138">
                  <a:moveTo>
                    <a:pt x="27" y="138"/>
                  </a:moveTo>
                  <a:cubicBezTo>
                    <a:pt x="26" y="138"/>
                    <a:pt x="24" y="137"/>
                    <a:pt x="24" y="136"/>
                  </a:cubicBezTo>
                  <a:cubicBezTo>
                    <a:pt x="0" y="4"/>
                    <a:pt x="0" y="4"/>
                    <a:pt x="0" y="4"/>
                  </a:cubicBezTo>
                  <a:cubicBezTo>
                    <a:pt x="0" y="2"/>
                    <a:pt x="1" y="1"/>
                    <a:pt x="2" y="1"/>
                  </a:cubicBezTo>
                  <a:cubicBezTo>
                    <a:pt x="4" y="0"/>
                    <a:pt x="5" y="1"/>
                    <a:pt x="6" y="3"/>
                  </a:cubicBezTo>
                  <a:cubicBezTo>
                    <a:pt x="30" y="135"/>
                    <a:pt x="30" y="135"/>
                    <a:pt x="30" y="135"/>
                  </a:cubicBezTo>
                  <a:cubicBezTo>
                    <a:pt x="30" y="136"/>
                    <a:pt x="29" y="138"/>
                    <a:pt x="27" y="138"/>
                  </a:cubicBezTo>
                  <a:cubicBezTo>
                    <a:pt x="27" y="138"/>
                    <a:pt x="27" y="138"/>
                    <a:pt x="27" y="138"/>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8" name="Freeform 149"/>
            <p:cNvSpPr>
              <a:spLocks/>
            </p:cNvSpPr>
            <p:nvPr/>
          </p:nvSpPr>
          <p:spPr bwMode="auto">
            <a:xfrm>
              <a:off x="11626266" y="3993692"/>
              <a:ext cx="66675" cy="306388"/>
            </a:xfrm>
            <a:custGeom>
              <a:avLst/>
              <a:gdLst>
                <a:gd name="T0" fmla="*/ 3 w 30"/>
                <a:gd name="T1" fmla="*/ 138 h 138"/>
                <a:gd name="T2" fmla="*/ 2 w 30"/>
                <a:gd name="T3" fmla="*/ 138 h 138"/>
                <a:gd name="T4" fmla="*/ 0 w 30"/>
                <a:gd name="T5" fmla="*/ 135 h 138"/>
                <a:gd name="T6" fmla="*/ 24 w 30"/>
                <a:gd name="T7" fmla="*/ 3 h 138"/>
                <a:gd name="T8" fmla="*/ 28 w 30"/>
                <a:gd name="T9" fmla="*/ 1 h 138"/>
                <a:gd name="T10" fmla="*/ 30 w 30"/>
                <a:gd name="T11" fmla="*/ 4 h 138"/>
                <a:gd name="T12" fmla="*/ 6 w 30"/>
                <a:gd name="T13" fmla="*/ 136 h 138"/>
                <a:gd name="T14" fmla="*/ 3 w 30"/>
                <a:gd name="T15" fmla="*/ 138 h 1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 h="138">
                  <a:moveTo>
                    <a:pt x="3" y="138"/>
                  </a:moveTo>
                  <a:cubicBezTo>
                    <a:pt x="3" y="138"/>
                    <a:pt x="3" y="138"/>
                    <a:pt x="2" y="138"/>
                  </a:cubicBezTo>
                  <a:cubicBezTo>
                    <a:pt x="1" y="138"/>
                    <a:pt x="0" y="136"/>
                    <a:pt x="0" y="135"/>
                  </a:cubicBezTo>
                  <a:cubicBezTo>
                    <a:pt x="24" y="3"/>
                    <a:pt x="24" y="3"/>
                    <a:pt x="24" y="3"/>
                  </a:cubicBezTo>
                  <a:cubicBezTo>
                    <a:pt x="25" y="1"/>
                    <a:pt x="26" y="0"/>
                    <a:pt x="28" y="1"/>
                  </a:cubicBezTo>
                  <a:cubicBezTo>
                    <a:pt x="29" y="1"/>
                    <a:pt x="30" y="2"/>
                    <a:pt x="30" y="4"/>
                  </a:cubicBezTo>
                  <a:cubicBezTo>
                    <a:pt x="6" y="136"/>
                    <a:pt x="6" y="136"/>
                    <a:pt x="6" y="136"/>
                  </a:cubicBezTo>
                  <a:cubicBezTo>
                    <a:pt x="5" y="137"/>
                    <a:pt x="4" y="138"/>
                    <a:pt x="3" y="138"/>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9" name="Freeform 150"/>
            <p:cNvSpPr>
              <a:spLocks/>
            </p:cNvSpPr>
            <p:nvPr/>
          </p:nvSpPr>
          <p:spPr bwMode="auto">
            <a:xfrm>
              <a:off x="11626266" y="3993692"/>
              <a:ext cx="174625" cy="306388"/>
            </a:xfrm>
            <a:custGeom>
              <a:avLst/>
              <a:gdLst>
                <a:gd name="T0" fmla="*/ 3 w 79"/>
                <a:gd name="T1" fmla="*/ 138 h 138"/>
                <a:gd name="T2" fmla="*/ 2 w 79"/>
                <a:gd name="T3" fmla="*/ 138 h 138"/>
                <a:gd name="T4" fmla="*/ 0 w 79"/>
                <a:gd name="T5" fmla="*/ 134 h 138"/>
                <a:gd name="T6" fmla="*/ 73 w 79"/>
                <a:gd name="T7" fmla="*/ 2 h 138"/>
                <a:gd name="T8" fmla="*/ 77 w 79"/>
                <a:gd name="T9" fmla="*/ 1 h 138"/>
                <a:gd name="T10" fmla="*/ 78 w 79"/>
                <a:gd name="T11" fmla="*/ 5 h 138"/>
                <a:gd name="T12" fmla="*/ 5 w 79"/>
                <a:gd name="T13" fmla="*/ 136 h 138"/>
                <a:gd name="T14" fmla="*/ 3 w 79"/>
                <a:gd name="T15" fmla="*/ 138 h 1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 h="138">
                  <a:moveTo>
                    <a:pt x="3" y="138"/>
                  </a:moveTo>
                  <a:cubicBezTo>
                    <a:pt x="2" y="138"/>
                    <a:pt x="2" y="138"/>
                    <a:pt x="2" y="138"/>
                  </a:cubicBezTo>
                  <a:cubicBezTo>
                    <a:pt x="0" y="137"/>
                    <a:pt x="0" y="135"/>
                    <a:pt x="0" y="134"/>
                  </a:cubicBezTo>
                  <a:cubicBezTo>
                    <a:pt x="73" y="2"/>
                    <a:pt x="73" y="2"/>
                    <a:pt x="73" y="2"/>
                  </a:cubicBezTo>
                  <a:cubicBezTo>
                    <a:pt x="74" y="1"/>
                    <a:pt x="76" y="0"/>
                    <a:pt x="77" y="1"/>
                  </a:cubicBezTo>
                  <a:cubicBezTo>
                    <a:pt x="78" y="2"/>
                    <a:pt x="79" y="3"/>
                    <a:pt x="78" y="5"/>
                  </a:cubicBezTo>
                  <a:cubicBezTo>
                    <a:pt x="5" y="136"/>
                    <a:pt x="5" y="136"/>
                    <a:pt x="5" y="136"/>
                  </a:cubicBezTo>
                  <a:cubicBezTo>
                    <a:pt x="5" y="137"/>
                    <a:pt x="4" y="138"/>
                    <a:pt x="3" y="138"/>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0" name="Freeform 151"/>
            <p:cNvSpPr>
              <a:spLocks/>
            </p:cNvSpPr>
            <p:nvPr/>
          </p:nvSpPr>
          <p:spPr bwMode="auto">
            <a:xfrm>
              <a:off x="11626266" y="4000042"/>
              <a:ext cx="285750" cy="300038"/>
            </a:xfrm>
            <a:custGeom>
              <a:avLst/>
              <a:gdLst>
                <a:gd name="T0" fmla="*/ 3 w 129"/>
                <a:gd name="T1" fmla="*/ 135 h 135"/>
                <a:gd name="T2" fmla="*/ 1 w 129"/>
                <a:gd name="T3" fmla="*/ 134 h 135"/>
                <a:gd name="T4" fmla="*/ 1 w 129"/>
                <a:gd name="T5" fmla="*/ 130 h 135"/>
                <a:gd name="T6" fmla="*/ 123 w 129"/>
                <a:gd name="T7" fmla="*/ 1 h 135"/>
                <a:gd name="T8" fmla="*/ 127 w 129"/>
                <a:gd name="T9" fmla="*/ 1 h 135"/>
                <a:gd name="T10" fmla="*/ 128 w 129"/>
                <a:gd name="T11" fmla="*/ 5 h 135"/>
                <a:gd name="T12" fmla="*/ 5 w 129"/>
                <a:gd name="T13" fmla="*/ 134 h 135"/>
                <a:gd name="T14" fmla="*/ 3 w 129"/>
                <a:gd name="T15" fmla="*/ 135 h 13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9" h="135">
                  <a:moveTo>
                    <a:pt x="3" y="135"/>
                  </a:moveTo>
                  <a:cubicBezTo>
                    <a:pt x="2" y="135"/>
                    <a:pt x="2" y="135"/>
                    <a:pt x="1" y="134"/>
                  </a:cubicBezTo>
                  <a:cubicBezTo>
                    <a:pt x="0" y="133"/>
                    <a:pt x="0" y="131"/>
                    <a:pt x="1" y="130"/>
                  </a:cubicBezTo>
                  <a:cubicBezTo>
                    <a:pt x="123" y="1"/>
                    <a:pt x="123" y="1"/>
                    <a:pt x="123" y="1"/>
                  </a:cubicBezTo>
                  <a:cubicBezTo>
                    <a:pt x="125" y="0"/>
                    <a:pt x="126" y="0"/>
                    <a:pt x="127" y="1"/>
                  </a:cubicBezTo>
                  <a:cubicBezTo>
                    <a:pt x="129" y="2"/>
                    <a:pt x="129" y="4"/>
                    <a:pt x="128" y="5"/>
                  </a:cubicBezTo>
                  <a:cubicBezTo>
                    <a:pt x="5" y="134"/>
                    <a:pt x="5" y="134"/>
                    <a:pt x="5" y="134"/>
                  </a:cubicBezTo>
                  <a:cubicBezTo>
                    <a:pt x="4" y="135"/>
                    <a:pt x="4" y="135"/>
                    <a:pt x="3" y="135"/>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1" name="Freeform 152"/>
            <p:cNvSpPr>
              <a:spLocks/>
            </p:cNvSpPr>
            <p:nvPr/>
          </p:nvSpPr>
          <p:spPr bwMode="auto">
            <a:xfrm>
              <a:off x="11359566" y="3765092"/>
              <a:ext cx="544513" cy="241300"/>
            </a:xfrm>
            <a:custGeom>
              <a:avLst/>
              <a:gdLst>
                <a:gd name="T0" fmla="*/ 26 w 245"/>
                <a:gd name="T1" fmla="*/ 93 h 109"/>
                <a:gd name="T2" fmla="*/ 50 w 245"/>
                <a:gd name="T3" fmla="*/ 106 h 109"/>
                <a:gd name="T4" fmla="*/ 75 w 245"/>
                <a:gd name="T5" fmla="*/ 93 h 109"/>
                <a:gd name="T6" fmla="*/ 99 w 245"/>
                <a:gd name="T7" fmla="*/ 106 h 109"/>
                <a:gd name="T8" fmla="*/ 123 w 245"/>
                <a:gd name="T9" fmla="*/ 93 h 109"/>
                <a:gd name="T10" fmla="*/ 147 w 245"/>
                <a:gd name="T11" fmla="*/ 106 h 109"/>
                <a:gd name="T12" fmla="*/ 171 w 245"/>
                <a:gd name="T13" fmla="*/ 93 h 109"/>
                <a:gd name="T14" fmla="*/ 196 w 245"/>
                <a:gd name="T15" fmla="*/ 106 h 109"/>
                <a:gd name="T16" fmla="*/ 220 w 245"/>
                <a:gd name="T17" fmla="*/ 93 h 109"/>
                <a:gd name="T18" fmla="*/ 245 w 245"/>
                <a:gd name="T19" fmla="*/ 109 h 109"/>
                <a:gd name="T20" fmla="*/ 123 w 245"/>
                <a:gd name="T21" fmla="*/ 0 h 109"/>
                <a:gd name="T22" fmla="*/ 0 w 245"/>
                <a:gd name="T23" fmla="*/ 109 h 109"/>
                <a:gd name="T24" fmla="*/ 26 w 245"/>
                <a:gd name="T25" fmla="*/ 93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45" h="109">
                  <a:moveTo>
                    <a:pt x="26" y="93"/>
                  </a:moveTo>
                  <a:cubicBezTo>
                    <a:pt x="36" y="93"/>
                    <a:pt x="45" y="98"/>
                    <a:pt x="50" y="106"/>
                  </a:cubicBezTo>
                  <a:cubicBezTo>
                    <a:pt x="55" y="98"/>
                    <a:pt x="64" y="93"/>
                    <a:pt x="75" y="93"/>
                  </a:cubicBezTo>
                  <a:cubicBezTo>
                    <a:pt x="85" y="93"/>
                    <a:pt x="94" y="98"/>
                    <a:pt x="99" y="106"/>
                  </a:cubicBezTo>
                  <a:cubicBezTo>
                    <a:pt x="104" y="98"/>
                    <a:pt x="113" y="93"/>
                    <a:pt x="123" y="93"/>
                  </a:cubicBezTo>
                  <a:cubicBezTo>
                    <a:pt x="133" y="93"/>
                    <a:pt x="142" y="98"/>
                    <a:pt x="147" y="106"/>
                  </a:cubicBezTo>
                  <a:cubicBezTo>
                    <a:pt x="152" y="98"/>
                    <a:pt x="161" y="93"/>
                    <a:pt x="171" y="93"/>
                  </a:cubicBezTo>
                  <a:cubicBezTo>
                    <a:pt x="182" y="93"/>
                    <a:pt x="190" y="98"/>
                    <a:pt x="196" y="106"/>
                  </a:cubicBezTo>
                  <a:cubicBezTo>
                    <a:pt x="201" y="98"/>
                    <a:pt x="210" y="93"/>
                    <a:pt x="220" y="93"/>
                  </a:cubicBezTo>
                  <a:cubicBezTo>
                    <a:pt x="231" y="93"/>
                    <a:pt x="241" y="100"/>
                    <a:pt x="245" y="109"/>
                  </a:cubicBezTo>
                  <a:cubicBezTo>
                    <a:pt x="239" y="48"/>
                    <a:pt x="186" y="0"/>
                    <a:pt x="123" y="0"/>
                  </a:cubicBezTo>
                  <a:cubicBezTo>
                    <a:pt x="60" y="0"/>
                    <a:pt x="7" y="48"/>
                    <a:pt x="0" y="109"/>
                  </a:cubicBezTo>
                  <a:cubicBezTo>
                    <a:pt x="5" y="100"/>
                    <a:pt x="15" y="93"/>
                    <a:pt x="26" y="93"/>
                  </a:cubicBezTo>
                  <a:close/>
                </a:path>
              </a:pathLst>
            </a:custGeom>
            <a:solidFill>
              <a:schemeClr val="accent6"/>
            </a:solidFill>
            <a:ln>
              <a:noFill/>
            </a:ln>
            <a:extLst/>
          </p:spPr>
          <p:txBody>
            <a:bodyPr vert="horz" wrap="square" lIns="91440" tIns="45720" rIns="91440" bIns="45720" numCol="1" anchor="t" anchorCtr="0" compatLnSpc="1">
              <a:prstTxWarp prst="textNoShape">
                <a:avLst/>
              </a:prstTxWarp>
            </a:bodyPr>
            <a:lstStyle/>
            <a:p>
              <a:endParaRPr lang="en-US" dirty="0"/>
            </a:p>
          </p:txBody>
        </p:sp>
        <p:sp>
          <p:nvSpPr>
            <p:cNvPr id="142" name="Freeform 153"/>
            <p:cNvSpPr>
              <a:spLocks/>
            </p:cNvSpPr>
            <p:nvPr/>
          </p:nvSpPr>
          <p:spPr bwMode="auto">
            <a:xfrm>
              <a:off x="11359566" y="3765092"/>
              <a:ext cx="288925" cy="241300"/>
            </a:xfrm>
            <a:custGeom>
              <a:avLst/>
              <a:gdLst>
                <a:gd name="T0" fmla="*/ 130 w 130"/>
                <a:gd name="T1" fmla="*/ 0 h 109"/>
                <a:gd name="T2" fmla="*/ 123 w 130"/>
                <a:gd name="T3" fmla="*/ 0 h 109"/>
                <a:gd name="T4" fmla="*/ 0 w 130"/>
                <a:gd name="T5" fmla="*/ 109 h 109"/>
                <a:gd name="T6" fmla="*/ 26 w 130"/>
                <a:gd name="T7" fmla="*/ 93 h 109"/>
                <a:gd name="T8" fmla="*/ 50 w 130"/>
                <a:gd name="T9" fmla="*/ 106 h 109"/>
                <a:gd name="T10" fmla="*/ 130 w 130"/>
                <a:gd name="T11" fmla="*/ 0 h 109"/>
              </a:gdLst>
              <a:ahLst/>
              <a:cxnLst>
                <a:cxn ang="0">
                  <a:pos x="T0" y="T1"/>
                </a:cxn>
                <a:cxn ang="0">
                  <a:pos x="T2" y="T3"/>
                </a:cxn>
                <a:cxn ang="0">
                  <a:pos x="T4" y="T5"/>
                </a:cxn>
                <a:cxn ang="0">
                  <a:pos x="T6" y="T7"/>
                </a:cxn>
                <a:cxn ang="0">
                  <a:pos x="T8" y="T9"/>
                </a:cxn>
                <a:cxn ang="0">
                  <a:pos x="T10" y="T11"/>
                </a:cxn>
              </a:cxnLst>
              <a:rect l="0" t="0" r="r" b="b"/>
              <a:pathLst>
                <a:path w="130" h="109">
                  <a:moveTo>
                    <a:pt x="130" y="0"/>
                  </a:moveTo>
                  <a:cubicBezTo>
                    <a:pt x="128" y="0"/>
                    <a:pt x="125" y="0"/>
                    <a:pt x="123" y="0"/>
                  </a:cubicBezTo>
                  <a:cubicBezTo>
                    <a:pt x="60" y="0"/>
                    <a:pt x="7" y="48"/>
                    <a:pt x="0" y="109"/>
                  </a:cubicBezTo>
                  <a:cubicBezTo>
                    <a:pt x="5" y="100"/>
                    <a:pt x="15" y="93"/>
                    <a:pt x="26" y="93"/>
                  </a:cubicBezTo>
                  <a:cubicBezTo>
                    <a:pt x="36" y="93"/>
                    <a:pt x="45" y="98"/>
                    <a:pt x="50" y="106"/>
                  </a:cubicBezTo>
                  <a:cubicBezTo>
                    <a:pt x="57" y="59"/>
                    <a:pt x="88" y="19"/>
                    <a:pt x="130" y="0"/>
                  </a:cubicBezTo>
                  <a:close/>
                </a:path>
              </a:pathLst>
            </a:custGeom>
            <a:solidFill>
              <a:schemeClr val="accent6">
                <a:lumMod val="75000"/>
              </a:schemeClr>
            </a:solidFill>
            <a:ln>
              <a:noFill/>
            </a:ln>
            <a:extLst/>
          </p:spPr>
          <p:txBody>
            <a:bodyPr vert="horz" wrap="square" lIns="91440" tIns="45720" rIns="91440" bIns="45720" numCol="1" anchor="t" anchorCtr="0" compatLnSpc="1">
              <a:prstTxWarp prst="textNoShape">
                <a:avLst/>
              </a:prstTxWarp>
            </a:bodyPr>
            <a:lstStyle/>
            <a:p>
              <a:endParaRPr lang="en-US" dirty="0"/>
            </a:p>
          </p:txBody>
        </p:sp>
        <p:sp>
          <p:nvSpPr>
            <p:cNvPr id="149" name="Rectangle 148"/>
            <p:cNvSpPr/>
            <p:nvPr/>
          </p:nvSpPr>
          <p:spPr bwMode="auto">
            <a:xfrm>
              <a:off x="10724623" y="1213657"/>
              <a:ext cx="160300" cy="38779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ctr" defTabSz="932472" fontAlgn="base">
                <a:lnSpc>
                  <a:spcPct val="90000"/>
                </a:lnSpc>
                <a:spcBef>
                  <a:spcPct val="0"/>
                </a:spcBef>
                <a:spcAft>
                  <a:spcPct val="0"/>
                </a:spcAft>
              </a:pPr>
              <a:r>
                <a:rPr lang="en-US" sz="2800" dirty="0">
                  <a:solidFill>
                    <a:schemeClr val="bg1"/>
                  </a:solidFill>
                  <a:ea typeface="Segoe UI" pitchFamily="34" charset="0"/>
                  <a:cs typeface="Segoe UI" pitchFamily="34" charset="0"/>
                </a:rPr>
                <a:t>?</a:t>
              </a:r>
            </a:p>
          </p:txBody>
        </p:sp>
        <p:sp>
          <p:nvSpPr>
            <p:cNvPr id="150" name="Rectangle 149"/>
            <p:cNvSpPr/>
            <p:nvPr/>
          </p:nvSpPr>
          <p:spPr bwMode="auto">
            <a:xfrm>
              <a:off x="11560561" y="4221200"/>
              <a:ext cx="160300" cy="38779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ctr" defTabSz="932472" fontAlgn="base">
                <a:lnSpc>
                  <a:spcPct val="90000"/>
                </a:lnSpc>
                <a:spcBef>
                  <a:spcPct val="0"/>
                </a:spcBef>
                <a:spcAft>
                  <a:spcPct val="0"/>
                </a:spcAft>
              </a:pPr>
              <a:r>
                <a:rPr lang="en-US" sz="2800" dirty="0">
                  <a:solidFill>
                    <a:schemeClr val="bg1"/>
                  </a:solidFill>
                  <a:ea typeface="Segoe UI" pitchFamily="34" charset="0"/>
                  <a:cs typeface="Segoe UI" pitchFamily="34" charset="0"/>
                </a:rPr>
                <a:t>?</a:t>
              </a:r>
            </a:p>
          </p:txBody>
        </p:sp>
        <p:sp>
          <p:nvSpPr>
            <p:cNvPr id="151" name="Rectangle 150"/>
            <p:cNvSpPr/>
            <p:nvPr/>
          </p:nvSpPr>
          <p:spPr bwMode="auto">
            <a:xfrm>
              <a:off x="10654410" y="2702223"/>
              <a:ext cx="160300" cy="22159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ctr" defTabSz="932472" fontAlgn="base">
                <a:lnSpc>
                  <a:spcPct val="90000"/>
                </a:lnSpc>
                <a:spcBef>
                  <a:spcPct val="0"/>
                </a:spcBef>
                <a:spcAft>
                  <a:spcPct val="0"/>
                </a:spcAft>
              </a:pPr>
              <a:r>
                <a:rPr lang="en-US" sz="1600" dirty="0">
                  <a:solidFill>
                    <a:schemeClr val="bg1"/>
                  </a:solidFill>
                  <a:ea typeface="Segoe UI" pitchFamily="34" charset="0"/>
                  <a:cs typeface="Segoe UI" pitchFamily="34" charset="0"/>
                </a:rPr>
                <a:t>?</a:t>
              </a:r>
            </a:p>
          </p:txBody>
        </p:sp>
        <p:sp>
          <p:nvSpPr>
            <p:cNvPr id="152" name="Rectangle 151"/>
            <p:cNvSpPr/>
            <p:nvPr/>
          </p:nvSpPr>
          <p:spPr bwMode="auto">
            <a:xfrm>
              <a:off x="8833584" y="1967158"/>
              <a:ext cx="160300" cy="22159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ctr" defTabSz="932472" fontAlgn="base">
                <a:lnSpc>
                  <a:spcPct val="90000"/>
                </a:lnSpc>
                <a:spcBef>
                  <a:spcPct val="0"/>
                </a:spcBef>
                <a:spcAft>
                  <a:spcPct val="0"/>
                </a:spcAft>
              </a:pPr>
              <a:r>
                <a:rPr lang="en-US" sz="1600" dirty="0">
                  <a:solidFill>
                    <a:schemeClr val="tx2"/>
                  </a:solidFill>
                  <a:ea typeface="Segoe UI" pitchFamily="34" charset="0"/>
                  <a:cs typeface="Segoe UI" pitchFamily="34" charset="0"/>
                </a:rPr>
                <a:t>?</a:t>
              </a:r>
            </a:p>
          </p:txBody>
        </p:sp>
      </p:grpSp>
      <p:sp>
        <p:nvSpPr>
          <p:cNvPr id="2" name="Title 1"/>
          <p:cNvSpPr>
            <a:spLocks noGrp="1"/>
          </p:cNvSpPr>
          <p:nvPr>
            <p:ph type="title"/>
          </p:nvPr>
        </p:nvSpPr>
        <p:spPr/>
        <p:txBody>
          <a:bodyPr/>
          <a:lstStyle/>
          <a:p>
            <a:r>
              <a:rPr lang="en-US" dirty="0"/>
              <a:t>Why data lakes?</a:t>
            </a:r>
          </a:p>
        </p:txBody>
      </p:sp>
    </p:spTree>
    <p:extLst>
      <p:ext uri="{BB962C8B-B14F-4D97-AF65-F5344CB8AC3E}">
        <p14:creationId xmlns:p14="http://schemas.microsoft.com/office/powerpoint/2010/main" val="420503488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7388" name="think-cell Slide" r:id="rId5" imgW="377" imgH="377" progId="TCLayout.ActiveDocument.1">
                  <p:embed/>
                </p:oleObj>
              </mc:Choice>
              <mc:Fallback>
                <p:oleObj name="think-cell Slide" r:id="rId5" imgW="377" imgH="377"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6" name="Rectangle 5"/>
          <p:cNvSpPr/>
          <p:nvPr/>
        </p:nvSpPr>
        <p:spPr bwMode="auto">
          <a:xfrm>
            <a:off x="4444999" y="0"/>
            <a:ext cx="7747001" cy="6857999"/>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a:solidFill>
                <a:schemeClr val="bg1"/>
              </a:solidFill>
              <a:latin typeface="+mj-lt"/>
              <a:ea typeface="Segoe UI" pitchFamily="34" charset="0"/>
              <a:cs typeface="Segoe UI" pitchFamily="34" charset="0"/>
            </a:endParaRPr>
          </a:p>
        </p:txBody>
      </p:sp>
      <p:sp>
        <p:nvSpPr>
          <p:cNvPr id="5" name="Title 4"/>
          <p:cNvSpPr>
            <a:spLocks noGrp="1"/>
          </p:cNvSpPr>
          <p:nvPr>
            <p:ph type="title"/>
          </p:nvPr>
        </p:nvSpPr>
        <p:spPr>
          <a:xfrm>
            <a:off x="434976" y="286381"/>
            <a:ext cx="4010024" cy="927940"/>
          </a:xfrm>
        </p:spPr>
        <p:txBody>
          <a:bodyPr/>
          <a:lstStyle/>
          <a:p>
            <a:r>
              <a:rPr lang="en-US" dirty="0"/>
              <a:t>Viewing Users and their Roles &amp; Privileges</a:t>
            </a:r>
            <a:endParaRPr lang="en-GB" dirty="0"/>
          </a:p>
        </p:txBody>
      </p:sp>
      <p:pic>
        <p:nvPicPr>
          <p:cNvPr id="31" name="Picture 30"/>
          <p:cNvPicPr>
            <a:picLocks noChangeAspect="1"/>
          </p:cNvPicPr>
          <p:nvPr/>
        </p:nvPicPr>
        <p:blipFill>
          <a:blip r:embed="rId7"/>
          <a:stretch>
            <a:fillRect/>
          </a:stretch>
        </p:blipFill>
        <p:spPr>
          <a:xfrm>
            <a:off x="4572792" y="479425"/>
            <a:ext cx="4981575" cy="2828925"/>
          </a:xfrm>
          <a:prstGeom prst="rect">
            <a:avLst/>
          </a:prstGeom>
          <a:noFill/>
          <a:ln w="3175">
            <a:solidFill>
              <a:schemeClr val="bg1">
                <a:lumMod val="75000"/>
              </a:schemeClr>
            </a:solidFill>
          </a:ln>
        </p:spPr>
      </p:pic>
      <p:pic>
        <p:nvPicPr>
          <p:cNvPr id="4" name="Picture 3"/>
          <p:cNvPicPr>
            <a:picLocks noChangeAspect="1"/>
          </p:cNvPicPr>
          <p:nvPr/>
        </p:nvPicPr>
        <p:blipFill>
          <a:blip r:embed="rId8"/>
          <a:stretch>
            <a:fillRect/>
          </a:stretch>
        </p:blipFill>
        <p:spPr>
          <a:xfrm>
            <a:off x="5672877" y="1914544"/>
            <a:ext cx="4499238" cy="3475021"/>
          </a:xfrm>
          <a:prstGeom prst="rect">
            <a:avLst/>
          </a:prstGeom>
        </p:spPr>
      </p:pic>
      <p:pic>
        <p:nvPicPr>
          <p:cNvPr id="33" name="Picture 32"/>
          <p:cNvPicPr>
            <a:picLocks noChangeAspect="1"/>
          </p:cNvPicPr>
          <p:nvPr/>
        </p:nvPicPr>
        <p:blipFill>
          <a:blip r:embed="rId9"/>
          <a:stretch>
            <a:fillRect/>
          </a:stretch>
        </p:blipFill>
        <p:spPr>
          <a:xfrm>
            <a:off x="6794500" y="3617212"/>
            <a:ext cx="4962525" cy="2847975"/>
          </a:xfrm>
          <a:prstGeom prst="rect">
            <a:avLst/>
          </a:prstGeom>
          <a:noFill/>
          <a:ln w="3175">
            <a:solidFill>
              <a:schemeClr val="bg1">
                <a:lumMod val="75000"/>
              </a:schemeClr>
            </a:solidFill>
          </a:ln>
        </p:spPr>
      </p:pic>
      <p:sp>
        <p:nvSpPr>
          <p:cNvPr id="34" name="Rectangle 33"/>
          <p:cNvSpPr/>
          <p:nvPr/>
        </p:nvSpPr>
        <p:spPr bwMode="auto">
          <a:xfrm>
            <a:off x="8662887" y="1572874"/>
            <a:ext cx="452538" cy="351175"/>
          </a:xfrm>
          <a:prstGeom prst="rect">
            <a:avLst/>
          </a:prstGeom>
          <a:noFill/>
          <a:ln w="38100">
            <a:solidFill>
              <a:srgbClr val="C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a:solidFill>
                <a:schemeClr val="bg1"/>
              </a:solidFill>
              <a:latin typeface="+mj-lt"/>
              <a:ea typeface="Segoe UI" pitchFamily="34" charset="0"/>
              <a:cs typeface="Segoe UI" pitchFamily="34" charset="0"/>
            </a:endParaRPr>
          </a:p>
        </p:txBody>
      </p:sp>
      <p:grpSp>
        <p:nvGrpSpPr>
          <p:cNvPr id="237" name="Group 236"/>
          <p:cNvGrpSpPr/>
          <p:nvPr/>
        </p:nvGrpSpPr>
        <p:grpSpPr>
          <a:xfrm>
            <a:off x="1011403" y="2689303"/>
            <a:ext cx="3405020" cy="4170479"/>
            <a:chOff x="7972783" y="2463868"/>
            <a:chExt cx="3700671" cy="4532594"/>
          </a:xfrm>
        </p:grpSpPr>
        <p:sp>
          <p:nvSpPr>
            <p:cNvPr id="238" name="Rounded Rectangle 237"/>
            <p:cNvSpPr/>
            <p:nvPr/>
          </p:nvSpPr>
          <p:spPr>
            <a:xfrm>
              <a:off x="9998253" y="4044835"/>
              <a:ext cx="255065" cy="2822756"/>
            </a:xfrm>
            <a:prstGeom prst="roundRect">
              <a:avLst/>
            </a:prstGeom>
            <a:solidFill>
              <a:schemeClr val="bg1">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239" name="Rectangle 238"/>
            <p:cNvSpPr/>
            <p:nvPr/>
          </p:nvSpPr>
          <p:spPr>
            <a:xfrm>
              <a:off x="8691558" y="2463868"/>
              <a:ext cx="2868455" cy="1932566"/>
            </a:xfrm>
            <a:prstGeom prst="rect">
              <a:avLst/>
            </a:prstGeom>
            <a:solidFill>
              <a:schemeClr val="bg1"/>
            </a:solidFill>
            <a:ln w="57150">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grpSp>
          <p:nvGrpSpPr>
            <p:cNvPr id="240" name="Group 239"/>
            <p:cNvGrpSpPr/>
            <p:nvPr/>
          </p:nvGrpSpPr>
          <p:grpSpPr>
            <a:xfrm>
              <a:off x="8942480" y="3149217"/>
              <a:ext cx="2470704" cy="1074886"/>
              <a:chOff x="9984815" y="2248094"/>
              <a:chExt cx="732291" cy="318585"/>
            </a:xfrm>
          </p:grpSpPr>
          <p:sp>
            <p:nvSpPr>
              <p:cNvPr id="404" name="Freeform 32"/>
              <p:cNvSpPr>
                <a:spLocks/>
              </p:cNvSpPr>
              <p:nvPr/>
            </p:nvSpPr>
            <p:spPr bwMode="auto">
              <a:xfrm>
                <a:off x="9984815" y="2322078"/>
                <a:ext cx="314810" cy="244601"/>
              </a:xfrm>
              <a:custGeom>
                <a:avLst/>
                <a:gdLst>
                  <a:gd name="T0" fmla="*/ 11 w 141"/>
                  <a:gd name="T1" fmla="*/ 0 h 109"/>
                  <a:gd name="T2" fmla="*/ 0 w 141"/>
                  <a:gd name="T3" fmla="*/ 38 h 109"/>
                  <a:gd name="T4" fmla="*/ 70 w 141"/>
                  <a:gd name="T5" fmla="*/ 109 h 109"/>
                  <a:gd name="T6" fmla="*/ 141 w 141"/>
                  <a:gd name="T7" fmla="*/ 38 h 109"/>
                  <a:gd name="T8" fmla="*/ 70 w 141"/>
                  <a:gd name="T9" fmla="*/ 38 h 109"/>
                  <a:gd name="T10" fmla="*/ 11 w 141"/>
                  <a:gd name="T11" fmla="*/ 0 h 109"/>
                </a:gdLst>
                <a:ahLst/>
                <a:cxnLst>
                  <a:cxn ang="0">
                    <a:pos x="T0" y="T1"/>
                  </a:cxn>
                  <a:cxn ang="0">
                    <a:pos x="T2" y="T3"/>
                  </a:cxn>
                  <a:cxn ang="0">
                    <a:pos x="T4" y="T5"/>
                  </a:cxn>
                  <a:cxn ang="0">
                    <a:pos x="T6" y="T7"/>
                  </a:cxn>
                  <a:cxn ang="0">
                    <a:pos x="T8" y="T9"/>
                  </a:cxn>
                  <a:cxn ang="0">
                    <a:pos x="T10" y="T11"/>
                  </a:cxn>
                </a:cxnLst>
                <a:rect l="0" t="0" r="r" b="b"/>
                <a:pathLst>
                  <a:path w="141" h="109">
                    <a:moveTo>
                      <a:pt x="11" y="0"/>
                    </a:moveTo>
                    <a:cubicBezTo>
                      <a:pt x="4" y="11"/>
                      <a:pt x="0" y="24"/>
                      <a:pt x="0" y="38"/>
                    </a:cubicBezTo>
                    <a:cubicBezTo>
                      <a:pt x="0" y="77"/>
                      <a:pt x="31" y="109"/>
                      <a:pt x="70" y="109"/>
                    </a:cubicBezTo>
                    <a:cubicBezTo>
                      <a:pt x="110" y="109"/>
                      <a:pt x="141" y="77"/>
                      <a:pt x="141" y="38"/>
                    </a:cubicBezTo>
                    <a:cubicBezTo>
                      <a:pt x="70" y="38"/>
                      <a:pt x="70" y="38"/>
                      <a:pt x="70" y="38"/>
                    </a:cubicBezTo>
                    <a:lnTo>
                      <a:pt x="11" y="0"/>
                    </a:ln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09325"/>
                <a:endParaRPr lang="en-US" sz="2400" dirty="0">
                  <a:solidFill>
                    <a:srgbClr val="FFFFFF"/>
                  </a:solidFill>
                </a:endParaRPr>
              </a:p>
            </p:txBody>
          </p:sp>
          <p:sp>
            <p:nvSpPr>
              <p:cNvPr id="405" name="Freeform 33"/>
              <p:cNvSpPr>
                <a:spLocks/>
              </p:cNvSpPr>
              <p:nvPr/>
            </p:nvSpPr>
            <p:spPr bwMode="auto">
              <a:xfrm>
                <a:off x="10141087" y="2248094"/>
                <a:ext cx="158537" cy="159293"/>
              </a:xfrm>
              <a:custGeom>
                <a:avLst/>
                <a:gdLst>
                  <a:gd name="T0" fmla="*/ 0 w 71"/>
                  <a:gd name="T1" fmla="*/ 0 h 71"/>
                  <a:gd name="T2" fmla="*/ 0 w 71"/>
                  <a:gd name="T3" fmla="*/ 71 h 71"/>
                  <a:gd name="T4" fmla="*/ 71 w 71"/>
                  <a:gd name="T5" fmla="*/ 71 h 71"/>
                  <a:gd name="T6" fmla="*/ 0 w 71"/>
                  <a:gd name="T7" fmla="*/ 0 h 71"/>
                </a:gdLst>
                <a:ahLst/>
                <a:cxnLst>
                  <a:cxn ang="0">
                    <a:pos x="T0" y="T1"/>
                  </a:cxn>
                  <a:cxn ang="0">
                    <a:pos x="T2" y="T3"/>
                  </a:cxn>
                  <a:cxn ang="0">
                    <a:pos x="T4" y="T5"/>
                  </a:cxn>
                  <a:cxn ang="0">
                    <a:pos x="T6" y="T7"/>
                  </a:cxn>
                </a:cxnLst>
                <a:rect l="0" t="0" r="r" b="b"/>
                <a:pathLst>
                  <a:path w="71" h="71">
                    <a:moveTo>
                      <a:pt x="0" y="0"/>
                    </a:moveTo>
                    <a:cubicBezTo>
                      <a:pt x="0" y="71"/>
                      <a:pt x="0" y="71"/>
                      <a:pt x="0" y="71"/>
                    </a:cubicBezTo>
                    <a:cubicBezTo>
                      <a:pt x="71" y="71"/>
                      <a:pt x="71" y="71"/>
                      <a:pt x="71" y="71"/>
                    </a:cubicBezTo>
                    <a:cubicBezTo>
                      <a:pt x="71" y="32"/>
                      <a:pt x="40" y="0"/>
                      <a:pt x="0" y="0"/>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09325"/>
                <a:endParaRPr lang="en-US" sz="2400" dirty="0">
                  <a:solidFill>
                    <a:srgbClr val="FFFFFF"/>
                  </a:solidFill>
                </a:endParaRPr>
              </a:p>
            </p:txBody>
          </p:sp>
          <p:sp>
            <p:nvSpPr>
              <p:cNvPr id="406" name="Freeform 34"/>
              <p:cNvSpPr>
                <a:spLocks/>
              </p:cNvSpPr>
              <p:nvPr/>
            </p:nvSpPr>
            <p:spPr bwMode="auto">
              <a:xfrm>
                <a:off x="10029356" y="2248094"/>
                <a:ext cx="111731" cy="159293"/>
              </a:xfrm>
              <a:custGeom>
                <a:avLst/>
                <a:gdLst>
                  <a:gd name="T0" fmla="*/ 50 w 50"/>
                  <a:gd name="T1" fmla="*/ 71 h 71"/>
                  <a:gd name="T2" fmla="*/ 50 w 50"/>
                  <a:gd name="T3" fmla="*/ 0 h 71"/>
                  <a:gd name="T4" fmla="*/ 0 w 50"/>
                  <a:gd name="T5" fmla="*/ 21 h 71"/>
                  <a:gd name="T6" fmla="*/ 50 w 50"/>
                  <a:gd name="T7" fmla="*/ 71 h 71"/>
                </a:gdLst>
                <a:ahLst/>
                <a:cxnLst>
                  <a:cxn ang="0">
                    <a:pos x="T0" y="T1"/>
                  </a:cxn>
                  <a:cxn ang="0">
                    <a:pos x="T2" y="T3"/>
                  </a:cxn>
                  <a:cxn ang="0">
                    <a:pos x="T4" y="T5"/>
                  </a:cxn>
                  <a:cxn ang="0">
                    <a:pos x="T6" y="T7"/>
                  </a:cxn>
                </a:cxnLst>
                <a:rect l="0" t="0" r="r" b="b"/>
                <a:pathLst>
                  <a:path w="50" h="71">
                    <a:moveTo>
                      <a:pt x="50" y="71"/>
                    </a:moveTo>
                    <a:cubicBezTo>
                      <a:pt x="50" y="0"/>
                      <a:pt x="50" y="0"/>
                      <a:pt x="50" y="0"/>
                    </a:cubicBezTo>
                    <a:cubicBezTo>
                      <a:pt x="31" y="0"/>
                      <a:pt x="13" y="8"/>
                      <a:pt x="0" y="21"/>
                    </a:cubicBezTo>
                    <a:lnTo>
                      <a:pt x="50" y="71"/>
                    </a:lnTo>
                    <a:close/>
                  </a:path>
                </a:pathLst>
              </a:custGeom>
              <a:solidFill>
                <a:srgbClr val="DD5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09325"/>
                <a:endParaRPr lang="en-US" sz="2400" dirty="0">
                  <a:solidFill>
                    <a:srgbClr val="FFFFFF"/>
                  </a:solidFill>
                </a:endParaRPr>
              </a:p>
            </p:txBody>
          </p:sp>
          <p:sp>
            <p:nvSpPr>
              <p:cNvPr id="407" name="Rectangle 35"/>
              <p:cNvSpPr>
                <a:spLocks noChangeArrowheads="1"/>
              </p:cNvSpPr>
              <p:nvPr/>
            </p:nvSpPr>
            <p:spPr bwMode="auto">
              <a:xfrm>
                <a:off x="10384177" y="2465517"/>
                <a:ext cx="319339" cy="101162"/>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609325"/>
                <a:endParaRPr lang="en-US" sz="2400" dirty="0">
                  <a:solidFill>
                    <a:srgbClr val="FFFFFF"/>
                  </a:solidFill>
                </a:endParaRPr>
              </a:p>
            </p:txBody>
          </p:sp>
          <p:sp>
            <p:nvSpPr>
              <p:cNvPr id="408" name="Freeform 36"/>
              <p:cNvSpPr>
                <a:spLocks/>
              </p:cNvSpPr>
              <p:nvPr/>
            </p:nvSpPr>
            <p:spPr bwMode="auto">
              <a:xfrm>
                <a:off x="10369079" y="2485900"/>
                <a:ext cx="348027" cy="64925"/>
              </a:xfrm>
              <a:custGeom>
                <a:avLst/>
                <a:gdLst>
                  <a:gd name="T0" fmla="*/ 0 w 461"/>
                  <a:gd name="T1" fmla="*/ 86 h 86"/>
                  <a:gd name="T2" fmla="*/ 71 w 461"/>
                  <a:gd name="T3" fmla="*/ 39 h 86"/>
                  <a:gd name="T4" fmla="*/ 94 w 461"/>
                  <a:gd name="T5" fmla="*/ 71 h 86"/>
                  <a:gd name="T6" fmla="*/ 154 w 461"/>
                  <a:gd name="T7" fmla="*/ 39 h 86"/>
                  <a:gd name="T8" fmla="*/ 186 w 461"/>
                  <a:gd name="T9" fmla="*/ 71 h 86"/>
                  <a:gd name="T10" fmla="*/ 225 w 461"/>
                  <a:gd name="T11" fmla="*/ 33 h 86"/>
                  <a:gd name="T12" fmla="*/ 284 w 461"/>
                  <a:gd name="T13" fmla="*/ 0 h 86"/>
                  <a:gd name="T14" fmla="*/ 307 w 461"/>
                  <a:gd name="T15" fmla="*/ 24 h 86"/>
                  <a:gd name="T16" fmla="*/ 319 w 461"/>
                  <a:gd name="T17" fmla="*/ 42 h 86"/>
                  <a:gd name="T18" fmla="*/ 364 w 461"/>
                  <a:gd name="T19" fmla="*/ 21 h 86"/>
                  <a:gd name="T20" fmla="*/ 393 w 461"/>
                  <a:gd name="T21" fmla="*/ 53 h 86"/>
                  <a:gd name="T22" fmla="*/ 408 w 461"/>
                  <a:gd name="T23" fmla="*/ 39 h 86"/>
                  <a:gd name="T24" fmla="*/ 461 w 461"/>
                  <a:gd name="T25" fmla="*/ 71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1" h="86">
                    <a:moveTo>
                      <a:pt x="0" y="86"/>
                    </a:moveTo>
                    <a:lnTo>
                      <a:pt x="71" y="39"/>
                    </a:lnTo>
                    <a:lnTo>
                      <a:pt x="94" y="71"/>
                    </a:lnTo>
                    <a:lnTo>
                      <a:pt x="154" y="39"/>
                    </a:lnTo>
                    <a:lnTo>
                      <a:pt x="186" y="71"/>
                    </a:lnTo>
                    <a:lnTo>
                      <a:pt x="225" y="33"/>
                    </a:lnTo>
                    <a:lnTo>
                      <a:pt x="284" y="0"/>
                    </a:lnTo>
                    <a:lnTo>
                      <a:pt x="307" y="24"/>
                    </a:lnTo>
                    <a:lnTo>
                      <a:pt x="319" y="42"/>
                    </a:lnTo>
                    <a:lnTo>
                      <a:pt x="364" y="21"/>
                    </a:lnTo>
                    <a:lnTo>
                      <a:pt x="393" y="53"/>
                    </a:lnTo>
                    <a:lnTo>
                      <a:pt x="408" y="39"/>
                    </a:lnTo>
                    <a:lnTo>
                      <a:pt x="461" y="71"/>
                    </a:lnTo>
                  </a:path>
                </a:pathLst>
              </a:custGeom>
              <a:noFill/>
              <a:ln w="14288" cap="flat">
                <a:solidFill>
                  <a:srgbClr val="FFA83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609325"/>
                <a:endParaRPr lang="en-US" sz="2400" dirty="0">
                  <a:solidFill>
                    <a:srgbClr val="FFFFFF"/>
                  </a:solidFill>
                </a:endParaRPr>
              </a:p>
            </p:txBody>
          </p:sp>
          <p:sp>
            <p:nvSpPr>
              <p:cNvPr id="409" name="Rectangle 37"/>
              <p:cNvSpPr>
                <a:spLocks noChangeArrowheads="1"/>
              </p:cNvSpPr>
              <p:nvPr/>
            </p:nvSpPr>
            <p:spPr bwMode="auto">
              <a:xfrm>
                <a:off x="10384177" y="2275272"/>
                <a:ext cx="43032" cy="138909"/>
              </a:xfrm>
              <a:prstGeom prst="rect">
                <a:avLst/>
              </a:prstGeom>
              <a:solidFill>
                <a:schemeClr val="accent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609325"/>
                <a:endParaRPr lang="en-US" sz="2400" dirty="0">
                  <a:solidFill>
                    <a:srgbClr val="FFFFFF"/>
                  </a:solidFill>
                </a:endParaRPr>
              </a:p>
            </p:txBody>
          </p:sp>
          <p:sp>
            <p:nvSpPr>
              <p:cNvPr id="410" name="Rectangle 38"/>
              <p:cNvSpPr>
                <a:spLocks noChangeArrowheads="1"/>
              </p:cNvSpPr>
              <p:nvPr/>
            </p:nvSpPr>
            <p:spPr bwMode="auto">
              <a:xfrm>
                <a:off x="10453632" y="2326608"/>
                <a:ext cx="42277" cy="87573"/>
              </a:xfrm>
              <a:prstGeom prst="rect">
                <a:avLst/>
              </a:prstGeom>
              <a:solidFill>
                <a:srgbClr val="DD5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609325"/>
                <a:endParaRPr lang="en-US" sz="2400" dirty="0">
                  <a:solidFill>
                    <a:srgbClr val="FFFFFF"/>
                  </a:solidFill>
                </a:endParaRPr>
              </a:p>
            </p:txBody>
          </p:sp>
          <p:sp>
            <p:nvSpPr>
              <p:cNvPr id="411" name="Rectangle 39"/>
              <p:cNvSpPr>
                <a:spLocks noChangeArrowheads="1"/>
              </p:cNvSpPr>
              <p:nvPr/>
            </p:nvSpPr>
            <p:spPr bwMode="auto">
              <a:xfrm>
                <a:off x="10523086" y="2377944"/>
                <a:ext cx="42277" cy="36237"/>
              </a:xfrm>
              <a:prstGeom prst="rect">
                <a:avLst/>
              </a:prstGeom>
              <a:solidFill>
                <a:schemeClr val="bg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609325"/>
                <a:endParaRPr lang="en-US" sz="2400" dirty="0">
                  <a:solidFill>
                    <a:srgbClr val="FFFFFF"/>
                  </a:solidFill>
                </a:endParaRPr>
              </a:p>
            </p:txBody>
          </p:sp>
          <p:sp>
            <p:nvSpPr>
              <p:cNvPr id="412" name="Rectangle 40"/>
              <p:cNvSpPr>
                <a:spLocks noChangeArrowheads="1"/>
              </p:cNvSpPr>
              <p:nvPr/>
            </p:nvSpPr>
            <p:spPr bwMode="auto">
              <a:xfrm>
                <a:off x="10592541" y="2310754"/>
                <a:ext cx="42277" cy="103427"/>
              </a:xfrm>
              <a:prstGeom prst="rect">
                <a:avLst/>
              </a:prstGeom>
              <a:solidFill>
                <a:srgbClr val="DD5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609325"/>
                <a:endParaRPr lang="en-US" sz="2400" dirty="0">
                  <a:solidFill>
                    <a:srgbClr val="FFFFFF"/>
                  </a:solidFill>
                </a:endParaRPr>
              </a:p>
            </p:txBody>
          </p:sp>
          <p:sp>
            <p:nvSpPr>
              <p:cNvPr id="413" name="Rectangle 41"/>
              <p:cNvSpPr>
                <a:spLocks noChangeArrowheads="1"/>
              </p:cNvSpPr>
              <p:nvPr/>
            </p:nvSpPr>
            <p:spPr bwMode="auto">
              <a:xfrm>
                <a:off x="10661240" y="2248094"/>
                <a:ext cx="42277" cy="166087"/>
              </a:xfrm>
              <a:prstGeom prst="rect">
                <a:avLst/>
              </a:prstGeom>
              <a:solidFill>
                <a:schemeClr val="bg1">
                  <a:lumMod val="65000"/>
                  <a:lumOff val="3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609325"/>
                <a:endParaRPr lang="en-US" sz="2400" dirty="0">
                  <a:solidFill>
                    <a:srgbClr val="FFFFFF"/>
                  </a:solidFill>
                </a:endParaRPr>
              </a:p>
            </p:txBody>
          </p:sp>
        </p:grpSp>
        <p:grpSp>
          <p:nvGrpSpPr>
            <p:cNvPr id="241" name="Group 240"/>
            <p:cNvGrpSpPr/>
            <p:nvPr/>
          </p:nvGrpSpPr>
          <p:grpSpPr>
            <a:xfrm>
              <a:off x="10673903" y="3618428"/>
              <a:ext cx="999551" cy="3376097"/>
              <a:chOff x="10896230" y="3883071"/>
              <a:chExt cx="921199" cy="3111454"/>
            </a:xfrm>
          </p:grpSpPr>
          <p:grpSp>
            <p:nvGrpSpPr>
              <p:cNvPr id="380" name="Group 379"/>
              <p:cNvGrpSpPr/>
              <p:nvPr/>
            </p:nvGrpSpPr>
            <p:grpSpPr>
              <a:xfrm>
                <a:off x="11540321" y="4540498"/>
                <a:ext cx="277108" cy="1128553"/>
                <a:chOff x="8840343" y="2375496"/>
                <a:chExt cx="119027" cy="484750"/>
              </a:xfrm>
              <a:solidFill>
                <a:schemeClr val="accent4">
                  <a:lumMod val="50000"/>
                </a:schemeClr>
              </a:solidFill>
            </p:grpSpPr>
            <p:sp>
              <p:nvSpPr>
                <p:cNvPr id="402" name="Freeform 401"/>
                <p:cNvSpPr>
                  <a:spLocks/>
                </p:cNvSpPr>
                <p:nvPr/>
              </p:nvSpPr>
              <p:spPr bwMode="auto">
                <a:xfrm rot="12997974" flipH="1">
                  <a:off x="8902538" y="2804486"/>
                  <a:ext cx="53615" cy="55760"/>
                </a:xfrm>
                <a:custGeom>
                  <a:avLst/>
                  <a:gdLst>
                    <a:gd name="T0" fmla="*/ 57 w 57"/>
                    <a:gd name="T1" fmla="*/ 32 h 59"/>
                    <a:gd name="T2" fmla="*/ 25 w 57"/>
                    <a:gd name="T3" fmla="*/ 0 h 59"/>
                    <a:gd name="T4" fmla="*/ 9 w 57"/>
                    <a:gd name="T5" fmla="*/ 4 h 59"/>
                    <a:gd name="T6" fmla="*/ 12 w 57"/>
                    <a:gd name="T7" fmla="*/ 46 h 59"/>
                    <a:gd name="T8" fmla="*/ 57 w 57"/>
                    <a:gd name="T9" fmla="*/ 46 h 59"/>
                    <a:gd name="T10" fmla="*/ 57 w 57"/>
                    <a:gd name="T11" fmla="*/ 33 h 59"/>
                    <a:gd name="T12" fmla="*/ 57 w 57"/>
                    <a:gd name="T13" fmla="*/ 33 h 59"/>
                    <a:gd name="T14" fmla="*/ 57 w 57"/>
                    <a:gd name="T15" fmla="*/ 32 h 5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7" h="59">
                      <a:moveTo>
                        <a:pt x="57" y="32"/>
                      </a:moveTo>
                      <a:cubicBezTo>
                        <a:pt x="57" y="14"/>
                        <a:pt x="43" y="0"/>
                        <a:pt x="25" y="0"/>
                      </a:cubicBezTo>
                      <a:cubicBezTo>
                        <a:pt x="19" y="0"/>
                        <a:pt x="14" y="1"/>
                        <a:pt x="9" y="4"/>
                      </a:cubicBezTo>
                      <a:cubicBezTo>
                        <a:pt x="0" y="17"/>
                        <a:pt x="1" y="34"/>
                        <a:pt x="12" y="46"/>
                      </a:cubicBezTo>
                      <a:cubicBezTo>
                        <a:pt x="24" y="58"/>
                        <a:pt x="45" y="59"/>
                        <a:pt x="57" y="46"/>
                      </a:cubicBezTo>
                      <a:cubicBezTo>
                        <a:pt x="57" y="33"/>
                        <a:pt x="57" y="33"/>
                        <a:pt x="57" y="33"/>
                      </a:cubicBezTo>
                      <a:cubicBezTo>
                        <a:pt x="57" y="33"/>
                        <a:pt x="57" y="33"/>
                        <a:pt x="57" y="33"/>
                      </a:cubicBezTo>
                      <a:cubicBezTo>
                        <a:pt x="57" y="33"/>
                        <a:pt x="57" y="32"/>
                        <a:pt x="57" y="3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IN" dirty="0"/>
                </a:p>
              </p:txBody>
            </p:sp>
            <p:sp>
              <p:nvSpPr>
                <p:cNvPr id="403" name="Freeform 402"/>
                <p:cNvSpPr>
                  <a:spLocks/>
                </p:cNvSpPr>
                <p:nvPr/>
              </p:nvSpPr>
              <p:spPr bwMode="auto">
                <a:xfrm flipH="1">
                  <a:off x="8840343" y="2375496"/>
                  <a:ext cx="119027" cy="458950"/>
                </a:xfrm>
                <a:custGeom>
                  <a:avLst/>
                  <a:gdLst>
                    <a:gd name="T0" fmla="*/ 0 w 126"/>
                    <a:gd name="T1" fmla="*/ 485 h 485"/>
                    <a:gd name="T2" fmla="*/ 68 w 126"/>
                    <a:gd name="T3" fmla="*/ 0 h 485"/>
                    <a:gd name="T4" fmla="*/ 68 w 126"/>
                    <a:gd name="T5" fmla="*/ 0 h 485"/>
                    <a:gd name="T6" fmla="*/ 126 w 126"/>
                    <a:gd name="T7" fmla="*/ 21 h 485"/>
                    <a:gd name="T8" fmla="*/ 116 w 126"/>
                    <a:gd name="T9" fmla="*/ 53 h 485"/>
                    <a:gd name="T10" fmla="*/ 94 w 126"/>
                    <a:gd name="T11" fmla="*/ 146 h 485"/>
                    <a:gd name="T12" fmla="*/ 62 w 126"/>
                    <a:gd name="T13" fmla="*/ 485 h 485"/>
                    <a:gd name="T14" fmla="*/ 0 w 126"/>
                    <a:gd name="T15" fmla="*/ 485 h 4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6" h="485">
                      <a:moveTo>
                        <a:pt x="0" y="485"/>
                      </a:moveTo>
                      <a:cubicBezTo>
                        <a:pt x="0" y="193"/>
                        <a:pt x="67" y="2"/>
                        <a:pt x="68" y="0"/>
                      </a:cubicBezTo>
                      <a:cubicBezTo>
                        <a:pt x="68" y="0"/>
                        <a:pt x="68" y="0"/>
                        <a:pt x="68" y="0"/>
                      </a:cubicBezTo>
                      <a:cubicBezTo>
                        <a:pt x="126" y="21"/>
                        <a:pt x="126" y="21"/>
                        <a:pt x="126" y="21"/>
                      </a:cubicBezTo>
                      <a:cubicBezTo>
                        <a:pt x="126" y="21"/>
                        <a:pt x="122" y="31"/>
                        <a:pt x="116" y="53"/>
                      </a:cubicBezTo>
                      <a:cubicBezTo>
                        <a:pt x="110" y="74"/>
                        <a:pt x="102" y="106"/>
                        <a:pt x="94" y="146"/>
                      </a:cubicBezTo>
                      <a:cubicBezTo>
                        <a:pt x="78" y="227"/>
                        <a:pt x="62" y="344"/>
                        <a:pt x="62" y="485"/>
                      </a:cubicBezTo>
                      <a:cubicBezTo>
                        <a:pt x="0" y="485"/>
                        <a:pt x="0" y="485"/>
                        <a:pt x="0" y="48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IN" dirty="0"/>
                </a:p>
              </p:txBody>
            </p:sp>
          </p:grpSp>
          <p:grpSp>
            <p:nvGrpSpPr>
              <p:cNvPr id="381" name="Group 380"/>
              <p:cNvGrpSpPr/>
              <p:nvPr/>
            </p:nvGrpSpPr>
            <p:grpSpPr>
              <a:xfrm flipH="1">
                <a:off x="10896230" y="4544241"/>
                <a:ext cx="277108" cy="1121739"/>
                <a:chOff x="8840343" y="2375496"/>
                <a:chExt cx="119027" cy="481823"/>
              </a:xfrm>
              <a:solidFill>
                <a:schemeClr val="accent4">
                  <a:lumMod val="50000"/>
                </a:schemeClr>
              </a:solidFill>
            </p:grpSpPr>
            <p:sp>
              <p:nvSpPr>
                <p:cNvPr id="400" name="Freeform 399"/>
                <p:cNvSpPr>
                  <a:spLocks/>
                </p:cNvSpPr>
                <p:nvPr/>
              </p:nvSpPr>
              <p:spPr bwMode="auto">
                <a:xfrm rot="12871490" flipH="1">
                  <a:off x="8901455" y="2801559"/>
                  <a:ext cx="53615" cy="55760"/>
                </a:xfrm>
                <a:custGeom>
                  <a:avLst/>
                  <a:gdLst>
                    <a:gd name="T0" fmla="*/ 57 w 57"/>
                    <a:gd name="T1" fmla="*/ 32 h 59"/>
                    <a:gd name="T2" fmla="*/ 25 w 57"/>
                    <a:gd name="T3" fmla="*/ 0 h 59"/>
                    <a:gd name="T4" fmla="*/ 9 w 57"/>
                    <a:gd name="T5" fmla="*/ 4 h 59"/>
                    <a:gd name="T6" fmla="*/ 12 w 57"/>
                    <a:gd name="T7" fmla="*/ 46 h 59"/>
                    <a:gd name="T8" fmla="*/ 57 w 57"/>
                    <a:gd name="T9" fmla="*/ 46 h 59"/>
                    <a:gd name="T10" fmla="*/ 57 w 57"/>
                    <a:gd name="T11" fmla="*/ 33 h 59"/>
                    <a:gd name="T12" fmla="*/ 57 w 57"/>
                    <a:gd name="T13" fmla="*/ 33 h 59"/>
                    <a:gd name="T14" fmla="*/ 57 w 57"/>
                    <a:gd name="T15" fmla="*/ 32 h 5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7" h="59">
                      <a:moveTo>
                        <a:pt x="57" y="32"/>
                      </a:moveTo>
                      <a:cubicBezTo>
                        <a:pt x="57" y="14"/>
                        <a:pt x="43" y="0"/>
                        <a:pt x="25" y="0"/>
                      </a:cubicBezTo>
                      <a:cubicBezTo>
                        <a:pt x="19" y="0"/>
                        <a:pt x="14" y="1"/>
                        <a:pt x="9" y="4"/>
                      </a:cubicBezTo>
                      <a:cubicBezTo>
                        <a:pt x="0" y="17"/>
                        <a:pt x="1" y="34"/>
                        <a:pt x="12" y="46"/>
                      </a:cubicBezTo>
                      <a:cubicBezTo>
                        <a:pt x="24" y="58"/>
                        <a:pt x="45" y="59"/>
                        <a:pt x="57" y="46"/>
                      </a:cubicBezTo>
                      <a:cubicBezTo>
                        <a:pt x="57" y="33"/>
                        <a:pt x="57" y="33"/>
                        <a:pt x="57" y="33"/>
                      </a:cubicBezTo>
                      <a:cubicBezTo>
                        <a:pt x="57" y="33"/>
                        <a:pt x="57" y="33"/>
                        <a:pt x="57" y="33"/>
                      </a:cubicBezTo>
                      <a:cubicBezTo>
                        <a:pt x="57" y="33"/>
                        <a:pt x="57" y="32"/>
                        <a:pt x="57" y="3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IN" dirty="0"/>
                </a:p>
              </p:txBody>
            </p:sp>
            <p:sp>
              <p:nvSpPr>
                <p:cNvPr id="401" name="Freeform 400"/>
                <p:cNvSpPr>
                  <a:spLocks/>
                </p:cNvSpPr>
                <p:nvPr/>
              </p:nvSpPr>
              <p:spPr bwMode="auto">
                <a:xfrm flipH="1">
                  <a:off x="8840343" y="2375496"/>
                  <a:ext cx="119027" cy="458950"/>
                </a:xfrm>
                <a:custGeom>
                  <a:avLst/>
                  <a:gdLst>
                    <a:gd name="T0" fmla="*/ 0 w 126"/>
                    <a:gd name="T1" fmla="*/ 485 h 485"/>
                    <a:gd name="T2" fmla="*/ 68 w 126"/>
                    <a:gd name="T3" fmla="*/ 0 h 485"/>
                    <a:gd name="T4" fmla="*/ 68 w 126"/>
                    <a:gd name="T5" fmla="*/ 0 h 485"/>
                    <a:gd name="T6" fmla="*/ 126 w 126"/>
                    <a:gd name="T7" fmla="*/ 21 h 485"/>
                    <a:gd name="T8" fmla="*/ 116 w 126"/>
                    <a:gd name="T9" fmla="*/ 53 h 485"/>
                    <a:gd name="T10" fmla="*/ 94 w 126"/>
                    <a:gd name="T11" fmla="*/ 146 h 485"/>
                    <a:gd name="T12" fmla="*/ 62 w 126"/>
                    <a:gd name="T13" fmla="*/ 485 h 485"/>
                    <a:gd name="T14" fmla="*/ 0 w 126"/>
                    <a:gd name="T15" fmla="*/ 485 h 4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6" h="485">
                      <a:moveTo>
                        <a:pt x="0" y="485"/>
                      </a:moveTo>
                      <a:cubicBezTo>
                        <a:pt x="0" y="193"/>
                        <a:pt x="67" y="2"/>
                        <a:pt x="68" y="0"/>
                      </a:cubicBezTo>
                      <a:cubicBezTo>
                        <a:pt x="68" y="0"/>
                        <a:pt x="68" y="0"/>
                        <a:pt x="68" y="0"/>
                      </a:cubicBezTo>
                      <a:cubicBezTo>
                        <a:pt x="126" y="21"/>
                        <a:pt x="126" y="21"/>
                        <a:pt x="126" y="21"/>
                      </a:cubicBezTo>
                      <a:cubicBezTo>
                        <a:pt x="126" y="21"/>
                        <a:pt x="122" y="31"/>
                        <a:pt x="116" y="53"/>
                      </a:cubicBezTo>
                      <a:cubicBezTo>
                        <a:pt x="110" y="74"/>
                        <a:pt x="102" y="106"/>
                        <a:pt x="94" y="146"/>
                      </a:cubicBezTo>
                      <a:cubicBezTo>
                        <a:pt x="78" y="227"/>
                        <a:pt x="62" y="344"/>
                        <a:pt x="62" y="485"/>
                      </a:cubicBezTo>
                      <a:cubicBezTo>
                        <a:pt x="0" y="485"/>
                        <a:pt x="0" y="485"/>
                        <a:pt x="0" y="48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IN" dirty="0"/>
                </a:p>
              </p:txBody>
            </p:sp>
          </p:grpSp>
          <p:sp>
            <p:nvSpPr>
              <p:cNvPr id="382" name="Freeform 381"/>
              <p:cNvSpPr>
                <a:spLocks/>
              </p:cNvSpPr>
              <p:nvPr/>
            </p:nvSpPr>
            <p:spPr bwMode="auto">
              <a:xfrm flipH="1">
                <a:off x="11021059" y="6827262"/>
                <a:ext cx="299577" cy="167263"/>
              </a:xfrm>
              <a:custGeom>
                <a:avLst/>
                <a:gdLst>
                  <a:gd name="T0" fmla="*/ 120 w 120"/>
                  <a:gd name="T1" fmla="*/ 51 h 67"/>
                  <a:gd name="T2" fmla="*/ 68 w 120"/>
                  <a:gd name="T3" fmla="*/ 0 h 67"/>
                  <a:gd name="T4" fmla="*/ 0 w 120"/>
                  <a:gd name="T5" fmla="*/ 0 h 67"/>
                  <a:gd name="T6" fmla="*/ 0 w 120"/>
                  <a:gd name="T7" fmla="*/ 67 h 67"/>
                  <a:gd name="T8" fmla="*/ 120 w 120"/>
                  <a:gd name="T9" fmla="*/ 67 h 67"/>
                  <a:gd name="T10" fmla="*/ 120 w 120"/>
                  <a:gd name="T11" fmla="*/ 51 h 67"/>
                </a:gdLst>
                <a:ahLst/>
                <a:cxnLst>
                  <a:cxn ang="0">
                    <a:pos x="T0" y="T1"/>
                  </a:cxn>
                  <a:cxn ang="0">
                    <a:pos x="T2" y="T3"/>
                  </a:cxn>
                  <a:cxn ang="0">
                    <a:pos x="T4" y="T5"/>
                  </a:cxn>
                  <a:cxn ang="0">
                    <a:pos x="T6" y="T7"/>
                  </a:cxn>
                  <a:cxn ang="0">
                    <a:pos x="T8" y="T9"/>
                  </a:cxn>
                  <a:cxn ang="0">
                    <a:pos x="T10" y="T11"/>
                  </a:cxn>
                </a:cxnLst>
                <a:rect l="0" t="0" r="r" b="b"/>
                <a:pathLst>
                  <a:path w="120" h="67">
                    <a:moveTo>
                      <a:pt x="120" y="51"/>
                    </a:moveTo>
                    <a:lnTo>
                      <a:pt x="68" y="0"/>
                    </a:lnTo>
                    <a:lnTo>
                      <a:pt x="0" y="0"/>
                    </a:lnTo>
                    <a:lnTo>
                      <a:pt x="0" y="67"/>
                    </a:lnTo>
                    <a:lnTo>
                      <a:pt x="120" y="67"/>
                    </a:lnTo>
                    <a:lnTo>
                      <a:pt x="120" y="51"/>
                    </a:lnTo>
                    <a:close/>
                  </a:path>
                </a:pathLst>
              </a:custGeom>
              <a:solidFill>
                <a:schemeClr val="bg1">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IN" dirty="0"/>
              </a:p>
            </p:txBody>
          </p:sp>
          <p:sp>
            <p:nvSpPr>
              <p:cNvPr id="383" name="Rectangle 382"/>
              <p:cNvSpPr>
                <a:spLocks noChangeArrowheads="1"/>
              </p:cNvSpPr>
              <p:nvPr/>
            </p:nvSpPr>
            <p:spPr bwMode="auto">
              <a:xfrm flipH="1">
                <a:off x="11153370" y="5736303"/>
                <a:ext cx="167263" cy="1090956"/>
              </a:xfrm>
              <a:prstGeom prst="rect">
                <a:avLst/>
              </a:prstGeom>
              <a:solidFill>
                <a:schemeClr val="accent3"/>
              </a:solidFill>
              <a:ln>
                <a:noFill/>
              </a:ln>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IN" dirty="0"/>
              </a:p>
            </p:txBody>
          </p:sp>
          <p:sp>
            <p:nvSpPr>
              <p:cNvPr id="384" name="Rectangle 383"/>
              <p:cNvSpPr>
                <a:spLocks noChangeArrowheads="1"/>
              </p:cNvSpPr>
              <p:nvPr/>
            </p:nvSpPr>
            <p:spPr bwMode="auto">
              <a:xfrm flipH="1">
                <a:off x="11413003" y="5736303"/>
                <a:ext cx="167263" cy="1090956"/>
              </a:xfrm>
              <a:prstGeom prst="rect">
                <a:avLst/>
              </a:prstGeom>
              <a:solidFill>
                <a:schemeClr val="accent3"/>
              </a:solidFill>
              <a:ln>
                <a:noFill/>
              </a:ln>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IN" dirty="0"/>
              </a:p>
            </p:txBody>
          </p:sp>
          <p:sp>
            <p:nvSpPr>
              <p:cNvPr id="385" name="Freeform 384"/>
              <p:cNvSpPr>
                <a:spLocks/>
              </p:cNvSpPr>
              <p:nvPr/>
            </p:nvSpPr>
            <p:spPr bwMode="auto">
              <a:xfrm flipH="1">
                <a:off x="11283185" y="6827262"/>
                <a:ext cx="297081" cy="167263"/>
              </a:xfrm>
              <a:custGeom>
                <a:avLst/>
                <a:gdLst>
                  <a:gd name="T0" fmla="*/ 119 w 119"/>
                  <a:gd name="T1" fmla="*/ 51 h 67"/>
                  <a:gd name="T2" fmla="*/ 68 w 119"/>
                  <a:gd name="T3" fmla="*/ 0 h 67"/>
                  <a:gd name="T4" fmla="*/ 0 w 119"/>
                  <a:gd name="T5" fmla="*/ 0 h 67"/>
                  <a:gd name="T6" fmla="*/ 0 w 119"/>
                  <a:gd name="T7" fmla="*/ 67 h 67"/>
                  <a:gd name="T8" fmla="*/ 119 w 119"/>
                  <a:gd name="T9" fmla="*/ 67 h 67"/>
                  <a:gd name="T10" fmla="*/ 119 w 119"/>
                  <a:gd name="T11" fmla="*/ 51 h 67"/>
                </a:gdLst>
                <a:ahLst/>
                <a:cxnLst>
                  <a:cxn ang="0">
                    <a:pos x="T0" y="T1"/>
                  </a:cxn>
                  <a:cxn ang="0">
                    <a:pos x="T2" y="T3"/>
                  </a:cxn>
                  <a:cxn ang="0">
                    <a:pos x="T4" y="T5"/>
                  </a:cxn>
                  <a:cxn ang="0">
                    <a:pos x="T6" y="T7"/>
                  </a:cxn>
                  <a:cxn ang="0">
                    <a:pos x="T8" y="T9"/>
                  </a:cxn>
                  <a:cxn ang="0">
                    <a:pos x="T10" y="T11"/>
                  </a:cxn>
                </a:cxnLst>
                <a:rect l="0" t="0" r="r" b="b"/>
                <a:pathLst>
                  <a:path w="119" h="67">
                    <a:moveTo>
                      <a:pt x="119" y="51"/>
                    </a:moveTo>
                    <a:lnTo>
                      <a:pt x="68" y="0"/>
                    </a:lnTo>
                    <a:lnTo>
                      <a:pt x="0" y="0"/>
                    </a:lnTo>
                    <a:lnTo>
                      <a:pt x="0" y="67"/>
                    </a:lnTo>
                    <a:lnTo>
                      <a:pt x="119" y="67"/>
                    </a:lnTo>
                    <a:lnTo>
                      <a:pt x="119" y="51"/>
                    </a:lnTo>
                    <a:close/>
                  </a:path>
                </a:pathLst>
              </a:custGeom>
              <a:solidFill>
                <a:schemeClr val="bg1">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IN" dirty="0"/>
              </a:p>
            </p:txBody>
          </p:sp>
          <p:sp>
            <p:nvSpPr>
              <p:cNvPr id="386" name="Rectangle 385"/>
              <p:cNvSpPr>
                <a:spLocks noChangeArrowheads="1"/>
              </p:cNvSpPr>
              <p:nvPr/>
            </p:nvSpPr>
            <p:spPr bwMode="auto">
              <a:xfrm flipH="1">
                <a:off x="11056008" y="4538000"/>
                <a:ext cx="611635" cy="1245736"/>
              </a:xfrm>
              <a:prstGeom prst="rect">
                <a:avLst/>
              </a:prstGeom>
              <a:solidFill>
                <a:schemeClr val="accent4">
                  <a:lumMod val="75000"/>
                </a:schemeClr>
              </a:solidFill>
              <a:ln>
                <a:noFill/>
              </a:ln>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IN" dirty="0"/>
              </a:p>
            </p:txBody>
          </p:sp>
          <p:sp>
            <p:nvSpPr>
              <p:cNvPr id="387" name="Rectangle 386"/>
              <p:cNvSpPr>
                <a:spLocks noChangeArrowheads="1"/>
              </p:cNvSpPr>
              <p:nvPr/>
            </p:nvSpPr>
            <p:spPr bwMode="auto">
              <a:xfrm flipH="1">
                <a:off x="11056008" y="4538000"/>
                <a:ext cx="611635" cy="12457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IN" dirty="0"/>
              </a:p>
            </p:txBody>
          </p:sp>
          <p:grpSp>
            <p:nvGrpSpPr>
              <p:cNvPr id="388" name="Group 387"/>
              <p:cNvGrpSpPr/>
              <p:nvPr/>
            </p:nvGrpSpPr>
            <p:grpSpPr>
              <a:xfrm rot="19962258">
                <a:off x="11035020" y="3883071"/>
                <a:ext cx="541733" cy="531748"/>
                <a:chOff x="8635531" y="2114924"/>
                <a:chExt cx="232692" cy="228403"/>
              </a:xfrm>
            </p:grpSpPr>
            <p:sp>
              <p:nvSpPr>
                <p:cNvPr id="391" name="Freeform 390"/>
                <p:cNvSpPr>
                  <a:spLocks/>
                </p:cNvSpPr>
                <p:nvPr/>
              </p:nvSpPr>
              <p:spPr bwMode="auto">
                <a:xfrm flipH="1">
                  <a:off x="8641965" y="2194275"/>
                  <a:ext cx="49326" cy="71845"/>
                </a:xfrm>
                <a:custGeom>
                  <a:avLst/>
                  <a:gdLst>
                    <a:gd name="T0" fmla="*/ 0 w 46"/>
                    <a:gd name="T1" fmla="*/ 0 h 67"/>
                    <a:gd name="T2" fmla="*/ 46 w 46"/>
                    <a:gd name="T3" fmla="*/ 51 h 67"/>
                    <a:gd name="T4" fmla="*/ 13 w 46"/>
                    <a:gd name="T5" fmla="*/ 67 h 67"/>
                    <a:gd name="T6" fmla="*/ 0 w 46"/>
                    <a:gd name="T7" fmla="*/ 0 h 67"/>
                  </a:gdLst>
                  <a:ahLst/>
                  <a:cxnLst>
                    <a:cxn ang="0">
                      <a:pos x="T0" y="T1"/>
                    </a:cxn>
                    <a:cxn ang="0">
                      <a:pos x="T2" y="T3"/>
                    </a:cxn>
                    <a:cxn ang="0">
                      <a:pos x="T4" y="T5"/>
                    </a:cxn>
                    <a:cxn ang="0">
                      <a:pos x="T6" y="T7"/>
                    </a:cxn>
                  </a:cxnLst>
                  <a:rect l="0" t="0" r="r" b="b"/>
                  <a:pathLst>
                    <a:path w="46" h="67">
                      <a:moveTo>
                        <a:pt x="0" y="0"/>
                      </a:moveTo>
                      <a:lnTo>
                        <a:pt x="46" y="51"/>
                      </a:lnTo>
                      <a:lnTo>
                        <a:pt x="13" y="67"/>
                      </a:lnTo>
                      <a:lnTo>
                        <a:pt x="0" y="0"/>
                      </a:lnTo>
                      <a:close/>
                    </a:path>
                  </a:pathLst>
                </a:custGeom>
                <a:solidFill>
                  <a:srgbClr val="9A8D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IN" dirty="0"/>
                </a:p>
              </p:txBody>
            </p:sp>
            <p:sp>
              <p:nvSpPr>
                <p:cNvPr id="392" name="Freeform 391"/>
                <p:cNvSpPr>
                  <a:spLocks/>
                </p:cNvSpPr>
                <p:nvPr/>
              </p:nvSpPr>
              <p:spPr bwMode="auto">
                <a:xfrm flipH="1">
                  <a:off x="8707376" y="2218939"/>
                  <a:ext cx="11796" cy="11796"/>
                </a:xfrm>
                <a:custGeom>
                  <a:avLst/>
                  <a:gdLst>
                    <a:gd name="T0" fmla="*/ 11 w 12"/>
                    <a:gd name="T1" fmla="*/ 3 h 12"/>
                    <a:gd name="T2" fmla="*/ 9 w 12"/>
                    <a:gd name="T3" fmla="*/ 10 h 12"/>
                    <a:gd name="T4" fmla="*/ 2 w 12"/>
                    <a:gd name="T5" fmla="*/ 8 h 12"/>
                    <a:gd name="T6" fmla="*/ 4 w 12"/>
                    <a:gd name="T7" fmla="*/ 1 h 12"/>
                    <a:gd name="T8" fmla="*/ 11 w 12"/>
                    <a:gd name="T9" fmla="*/ 3 h 12"/>
                  </a:gdLst>
                  <a:ahLst/>
                  <a:cxnLst>
                    <a:cxn ang="0">
                      <a:pos x="T0" y="T1"/>
                    </a:cxn>
                    <a:cxn ang="0">
                      <a:pos x="T2" y="T3"/>
                    </a:cxn>
                    <a:cxn ang="0">
                      <a:pos x="T4" y="T5"/>
                    </a:cxn>
                    <a:cxn ang="0">
                      <a:pos x="T6" y="T7"/>
                    </a:cxn>
                    <a:cxn ang="0">
                      <a:pos x="T8" y="T9"/>
                    </a:cxn>
                  </a:cxnLst>
                  <a:rect l="0" t="0" r="r" b="b"/>
                  <a:pathLst>
                    <a:path w="12" h="12">
                      <a:moveTo>
                        <a:pt x="11" y="3"/>
                      </a:moveTo>
                      <a:cubicBezTo>
                        <a:pt x="12" y="6"/>
                        <a:pt x="11" y="9"/>
                        <a:pt x="9" y="10"/>
                      </a:cubicBezTo>
                      <a:cubicBezTo>
                        <a:pt x="6" y="12"/>
                        <a:pt x="3" y="11"/>
                        <a:pt x="2" y="8"/>
                      </a:cubicBezTo>
                      <a:cubicBezTo>
                        <a:pt x="0" y="5"/>
                        <a:pt x="1" y="2"/>
                        <a:pt x="4" y="1"/>
                      </a:cubicBezTo>
                      <a:cubicBezTo>
                        <a:pt x="7" y="0"/>
                        <a:pt x="10" y="1"/>
                        <a:pt x="11" y="3"/>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IN" dirty="0"/>
                </a:p>
              </p:txBody>
            </p:sp>
            <p:sp>
              <p:nvSpPr>
                <p:cNvPr id="393" name="Freeform 392"/>
                <p:cNvSpPr>
                  <a:spLocks/>
                </p:cNvSpPr>
                <p:nvPr/>
              </p:nvSpPr>
              <p:spPr bwMode="auto">
                <a:xfrm flipH="1">
                  <a:off x="8641965" y="2194275"/>
                  <a:ext cx="49326" cy="71845"/>
                </a:xfrm>
                <a:custGeom>
                  <a:avLst/>
                  <a:gdLst>
                    <a:gd name="T0" fmla="*/ 0 w 46"/>
                    <a:gd name="T1" fmla="*/ 0 h 67"/>
                    <a:gd name="T2" fmla="*/ 46 w 46"/>
                    <a:gd name="T3" fmla="*/ 51 h 67"/>
                    <a:gd name="T4" fmla="*/ 13 w 46"/>
                    <a:gd name="T5" fmla="*/ 67 h 67"/>
                    <a:gd name="T6" fmla="*/ 0 w 46"/>
                    <a:gd name="T7" fmla="*/ 0 h 67"/>
                  </a:gdLst>
                  <a:ahLst/>
                  <a:cxnLst>
                    <a:cxn ang="0">
                      <a:pos x="T0" y="T1"/>
                    </a:cxn>
                    <a:cxn ang="0">
                      <a:pos x="T2" y="T3"/>
                    </a:cxn>
                    <a:cxn ang="0">
                      <a:pos x="T4" y="T5"/>
                    </a:cxn>
                    <a:cxn ang="0">
                      <a:pos x="T6" y="T7"/>
                    </a:cxn>
                  </a:cxnLst>
                  <a:rect l="0" t="0" r="r" b="b"/>
                  <a:pathLst>
                    <a:path w="46" h="67">
                      <a:moveTo>
                        <a:pt x="0" y="0"/>
                      </a:moveTo>
                      <a:lnTo>
                        <a:pt x="46" y="51"/>
                      </a:lnTo>
                      <a:lnTo>
                        <a:pt x="13" y="67"/>
                      </a:lnTo>
                      <a:lnTo>
                        <a:pt x="0" y="0"/>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IN" dirty="0"/>
                </a:p>
              </p:txBody>
            </p:sp>
            <p:sp>
              <p:nvSpPr>
                <p:cNvPr id="394" name="Freeform 393"/>
                <p:cNvSpPr>
                  <a:spLocks/>
                </p:cNvSpPr>
                <p:nvPr/>
              </p:nvSpPr>
              <p:spPr bwMode="auto">
                <a:xfrm flipH="1">
                  <a:off x="8635531" y="2150311"/>
                  <a:ext cx="188727" cy="193016"/>
                </a:xfrm>
                <a:custGeom>
                  <a:avLst/>
                  <a:gdLst>
                    <a:gd name="T0" fmla="*/ 0 w 199"/>
                    <a:gd name="T1" fmla="*/ 57 h 204"/>
                    <a:gd name="T2" fmla="*/ 40 w 199"/>
                    <a:gd name="T3" fmla="*/ 142 h 204"/>
                    <a:gd name="T4" fmla="*/ 40 w 199"/>
                    <a:gd name="T5" fmla="*/ 142 h 204"/>
                    <a:gd name="T6" fmla="*/ 199 w 199"/>
                    <a:gd name="T7" fmla="*/ 167 h 204"/>
                    <a:gd name="T8" fmla="*/ 196 w 199"/>
                    <a:gd name="T9" fmla="*/ 161 h 204"/>
                    <a:gd name="T10" fmla="*/ 173 w 199"/>
                    <a:gd name="T11" fmla="*/ 113 h 204"/>
                    <a:gd name="T12" fmla="*/ 144 w 199"/>
                    <a:gd name="T13" fmla="*/ 53 h 204"/>
                    <a:gd name="T14" fmla="*/ 119 w 199"/>
                    <a:gd name="T15" fmla="*/ 0 h 204"/>
                    <a:gd name="T16" fmla="*/ 0 w 199"/>
                    <a:gd name="T17" fmla="*/ 57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9" h="204">
                      <a:moveTo>
                        <a:pt x="0" y="57"/>
                      </a:moveTo>
                      <a:cubicBezTo>
                        <a:pt x="40" y="142"/>
                        <a:pt x="40" y="142"/>
                        <a:pt x="40" y="142"/>
                      </a:cubicBezTo>
                      <a:cubicBezTo>
                        <a:pt x="40" y="142"/>
                        <a:pt x="40" y="142"/>
                        <a:pt x="40" y="142"/>
                      </a:cubicBezTo>
                      <a:cubicBezTo>
                        <a:pt x="74" y="204"/>
                        <a:pt x="135" y="198"/>
                        <a:pt x="199" y="167"/>
                      </a:cubicBezTo>
                      <a:cubicBezTo>
                        <a:pt x="196" y="161"/>
                        <a:pt x="196" y="161"/>
                        <a:pt x="196" y="161"/>
                      </a:cubicBezTo>
                      <a:cubicBezTo>
                        <a:pt x="173" y="113"/>
                        <a:pt x="173" y="113"/>
                        <a:pt x="173" y="113"/>
                      </a:cubicBezTo>
                      <a:cubicBezTo>
                        <a:pt x="144" y="53"/>
                        <a:pt x="144" y="53"/>
                        <a:pt x="144" y="53"/>
                      </a:cubicBezTo>
                      <a:cubicBezTo>
                        <a:pt x="119" y="0"/>
                        <a:pt x="119" y="0"/>
                        <a:pt x="119" y="0"/>
                      </a:cubicBezTo>
                      <a:cubicBezTo>
                        <a:pt x="0" y="57"/>
                        <a:pt x="0" y="57"/>
                        <a:pt x="0" y="57"/>
                      </a:cubicBezTo>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IN" dirty="0"/>
                </a:p>
              </p:txBody>
            </p:sp>
            <p:sp>
              <p:nvSpPr>
                <p:cNvPr id="395" name="Freeform 394"/>
                <p:cNvSpPr>
                  <a:spLocks/>
                </p:cNvSpPr>
                <p:nvPr/>
              </p:nvSpPr>
              <p:spPr bwMode="auto">
                <a:xfrm flipH="1">
                  <a:off x="8707376" y="2218939"/>
                  <a:ext cx="11796" cy="11796"/>
                </a:xfrm>
                <a:custGeom>
                  <a:avLst/>
                  <a:gdLst>
                    <a:gd name="T0" fmla="*/ 11 w 12"/>
                    <a:gd name="T1" fmla="*/ 3 h 12"/>
                    <a:gd name="T2" fmla="*/ 9 w 12"/>
                    <a:gd name="T3" fmla="*/ 10 h 12"/>
                    <a:gd name="T4" fmla="*/ 2 w 12"/>
                    <a:gd name="T5" fmla="*/ 8 h 12"/>
                    <a:gd name="T6" fmla="*/ 4 w 12"/>
                    <a:gd name="T7" fmla="*/ 1 h 12"/>
                    <a:gd name="T8" fmla="*/ 11 w 12"/>
                    <a:gd name="T9" fmla="*/ 3 h 12"/>
                  </a:gdLst>
                  <a:ahLst/>
                  <a:cxnLst>
                    <a:cxn ang="0">
                      <a:pos x="T0" y="T1"/>
                    </a:cxn>
                    <a:cxn ang="0">
                      <a:pos x="T2" y="T3"/>
                    </a:cxn>
                    <a:cxn ang="0">
                      <a:pos x="T4" y="T5"/>
                    </a:cxn>
                    <a:cxn ang="0">
                      <a:pos x="T6" y="T7"/>
                    </a:cxn>
                    <a:cxn ang="0">
                      <a:pos x="T8" y="T9"/>
                    </a:cxn>
                  </a:cxnLst>
                  <a:rect l="0" t="0" r="r" b="b"/>
                  <a:pathLst>
                    <a:path w="12" h="12">
                      <a:moveTo>
                        <a:pt x="11" y="3"/>
                      </a:moveTo>
                      <a:cubicBezTo>
                        <a:pt x="12" y="6"/>
                        <a:pt x="11" y="9"/>
                        <a:pt x="9" y="10"/>
                      </a:cubicBezTo>
                      <a:cubicBezTo>
                        <a:pt x="6" y="12"/>
                        <a:pt x="3" y="11"/>
                        <a:pt x="2" y="8"/>
                      </a:cubicBezTo>
                      <a:cubicBezTo>
                        <a:pt x="0" y="5"/>
                        <a:pt x="1" y="2"/>
                        <a:pt x="4" y="1"/>
                      </a:cubicBezTo>
                      <a:cubicBezTo>
                        <a:pt x="7" y="0"/>
                        <a:pt x="10" y="1"/>
                        <a:pt x="11" y="3"/>
                      </a:cubicBezTo>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IN" dirty="0"/>
                </a:p>
              </p:txBody>
            </p:sp>
            <p:sp>
              <p:nvSpPr>
                <p:cNvPr id="396" name="Freeform 395"/>
                <p:cNvSpPr>
                  <a:spLocks/>
                </p:cNvSpPr>
                <p:nvPr/>
              </p:nvSpPr>
              <p:spPr bwMode="auto">
                <a:xfrm flipH="1">
                  <a:off x="8708448" y="2114924"/>
                  <a:ext cx="159775" cy="191945"/>
                </a:xfrm>
                <a:custGeom>
                  <a:avLst/>
                  <a:gdLst>
                    <a:gd name="T0" fmla="*/ 166 w 169"/>
                    <a:gd name="T1" fmla="*/ 37 h 203"/>
                    <a:gd name="T2" fmla="*/ 165 w 169"/>
                    <a:gd name="T3" fmla="*/ 37 h 203"/>
                    <a:gd name="T4" fmla="*/ 166 w 169"/>
                    <a:gd name="T5" fmla="*/ 37 h 203"/>
                    <a:gd name="T6" fmla="*/ 81 w 169"/>
                    <a:gd name="T7" fmla="*/ 28 h 203"/>
                    <a:gd name="T8" fmla="*/ 61 w 169"/>
                    <a:gd name="T9" fmla="*/ 45 h 203"/>
                    <a:gd name="T10" fmla="*/ 43 w 169"/>
                    <a:gd name="T11" fmla="*/ 59 h 203"/>
                    <a:gd name="T12" fmla="*/ 43 w 169"/>
                    <a:gd name="T13" fmla="*/ 85 h 203"/>
                    <a:gd name="T14" fmla="*/ 104 w 169"/>
                    <a:gd name="T15" fmla="*/ 203 h 203"/>
                    <a:gd name="T16" fmla="*/ 101 w 169"/>
                    <a:gd name="T17" fmla="*/ 118 h 203"/>
                    <a:gd name="T18" fmla="*/ 103 w 169"/>
                    <a:gd name="T19" fmla="*/ 114 h 203"/>
                    <a:gd name="T20" fmla="*/ 131 w 169"/>
                    <a:gd name="T21" fmla="*/ 91 h 203"/>
                    <a:gd name="T22" fmla="*/ 166 w 169"/>
                    <a:gd name="T23" fmla="*/ 37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9" h="203">
                      <a:moveTo>
                        <a:pt x="166" y="37"/>
                      </a:moveTo>
                      <a:cubicBezTo>
                        <a:pt x="165" y="37"/>
                        <a:pt x="165" y="37"/>
                        <a:pt x="165" y="37"/>
                      </a:cubicBezTo>
                      <a:cubicBezTo>
                        <a:pt x="166" y="37"/>
                        <a:pt x="166" y="37"/>
                        <a:pt x="166" y="37"/>
                      </a:cubicBezTo>
                      <a:cubicBezTo>
                        <a:pt x="152" y="4"/>
                        <a:pt x="99" y="0"/>
                        <a:pt x="81" y="28"/>
                      </a:cubicBezTo>
                      <a:cubicBezTo>
                        <a:pt x="75" y="36"/>
                        <a:pt x="70" y="40"/>
                        <a:pt x="61" y="45"/>
                      </a:cubicBezTo>
                      <a:cubicBezTo>
                        <a:pt x="53" y="49"/>
                        <a:pt x="48" y="52"/>
                        <a:pt x="43" y="59"/>
                      </a:cubicBezTo>
                      <a:cubicBezTo>
                        <a:pt x="39" y="65"/>
                        <a:pt x="40" y="76"/>
                        <a:pt x="43" y="85"/>
                      </a:cubicBezTo>
                      <a:cubicBezTo>
                        <a:pt x="0" y="111"/>
                        <a:pt x="104" y="203"/>
                        <a:pt x="104" y="203"/>
                      </a:cubicBezTo>
                      <a:cubicBezTo>
                        <a:pt x="126" y="167"/>
                        <a:pt x="101" y="118"/>
                        <a:pt x="101" y="118"/>
                      </a:cubicBezTo>
                      <a:cubicBezTo>
                        <a:pt x="102" y="117"/>
                        <a:pt x="103" y="115"/>
                        <a:pt x="103" y="114"/>
                      </a:cubicBezTo>
                      <a:cubicBezTo>
                        <a:pt x="109" y="99"/>
                        <a:pt x="117" y="98"/>
                        <a:pt x="131" y="91"/>
                      </a:cubicBezTo>
                      <a:cubicBezTo>
                        <a:pt x="147" y="82"/>
                        <a:pt x="169" y="57"/>
                        <a:pt x="166" y="37"/>
                      </a:cubicBezTo>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IN" dirty="0"/>
                </a:p>
              </p:txBody>
            </p:sp>
            <p:sp>
              <p:nvSpPr>
                <p:cNvPr id="397" name="Freeform 396"/>
                <p:cNvSpPr>
                  <a:spLocks/>
                </p:cNvSpPr>
                <p:nvPr/>
              </p:nvSpPr>
              <p:spPr bwMode="auto">
                <a:xfrm flipH="1">
                  <a:off x="8748124" y="2226444"/>
                  <a:ext cx="43965" cy="57905"/>
                </a:xfrm>
                <a:custGeom>
                  <a:avLst/>
                  <a:gdLst>
                    <a:gd name="T0" fmla="*/ 21 w 46"/>
                    <a:gd name="T1" fmla="*/ 0 h 61"/>
                    <a:gd name="T2" fmla="*/ 7 w 46"/>
                    <a:gd name="T3" fmla="*/ 40 h 61"/>
                    <a:gd name="T4" fmla="*/ 46 w 46"/>
                    <a:gd name="T5" fmla="*/ 53 h 61"/>
                    <a:gd name="T6" fmla="*/ 21 w 46"/>
                    <a:gd name="T7" fmla="*/ 0 h 61"/>
                  </a:gdLst>
                  <a:ahLst/>
                  <a:cxnLst>
                    <a:cxn ang="0">
                      <a:pos x="T0" y="T1"/>
                    </a:cxn>
                    <a:cxn ang="0">
                      <a:pos x="T2" y="T3"/>
                    </a:cxn>
                    <a:cxn ang="0">
                      <a:pos x="T4" y="T5"/>
                    </a:cxn>
                    <a:cxn ang="0">
                      <a:pos x="T6" y="T7"/>
                    </a:cxn>
                  </a:cxnLst>
                  <a:rect l="0" t="0" r="r" b="b"/>
                  <a:pathLst>
                    <a:path w="46" h="61">
                      <a:moveTo>
                        <a:pt x="21" y="0"/>
                      </a:moveTo>
                      <a:cubicBezTo>
                        <a:pt x="6" y="7"/>
                        <a:pt x="0" y="25"/>
                        <a:pt x="7" y="40"/>
                      </a:cubicBezTo>
                      <a:cubicBezTo>
                        <a:pt x="14" y="54"/>
                        <a:pt x="32" y="61"/>
                        <a:pt x="46" y="53"/>
                      </a:cubicBezTo>
                      <a:cubicBezTo>
                        <a:pt x="21" y="0"/>
                        <a:pt x="21" y="0"/>
                        <a:pt x="21" y="0"/>
                      </a:cubicBezTo>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IN" dirty="0"/>
                </a:p>
              </p:txBody>
            </p:sp>
            <p:sp>
              <p:nvSpPr>
                <p:cNvPr id="398" name="Freeform 397"/>
                <p:cNvSpPr>
                  <a:spLocks/>
                </p:cNvSpPr>
                <p:nvPr/>
              </p:nvSpPr>
              <p:spPr bwMode="auto">
                <a:xfrm flipH="1">
                  <a:off x="8754558" y="2239312"/>
                  <a:ext cx="11796" cy="25735"/>
                </a:xfrm>
                <a:custGeom>
                  <a:avLst/>
                  <a:gdLst>
                    <a:gd name="T0" fmla="*/ 0 w 13"/>
                    <a:gd name="T1" fmla="*/ 0 h 27"/>
                    <a:gd name="T2" fmla="*/ 0 w 13"/>
                    <a:gd name="T3" fmla="*/ 0 h 27"/>
                    <a:gd name="T4" fmla="*/ 13 w 13"/>
                    <a:gd name="T5" fmla="*/ 27 h 27"/>
                    <a:gd name="T6" fmla="*/ 13 w 13"/>
                    <a:gd name="T7" fmla="*/ 27 h 27"/>
                    <a:gd name="T8" fmla="*/ 0 w 13"/>
                    <a:gd name="T9" fmla="*/ 0 h 27"/>
                  </a:gdLst>
                  <a:ahLst/>
                  <a:cxnLst>
                    <a:cxn ang="0">
                      <a:pos x="T0" y="T1"/>
                    </a:cxn>
                    <a:cxn ang="0">
                      <a:pos x="T2" y="T3"/>
                    </a:cxn>
                    <a:cxn ang="0">
                      <a:pos x="T4" y="T5"/>
                    </a:cxn>
                    <a:cxn ang="0">
                      <a:pos x="T6" y="T7"/>
                    </a:cxn>
                    <a:cxn ang="0">
                      <a:pos x="T8" y="T9"/>
                    </a:cxn>
                  </a:cxnLst>
                  <a:rect l="0" t="0" r="r" b="b"/>
                  <a:pathLst>
                    <a:path w="13" h="27">
                      <a:moveTo>
                        <a:pt x="0" y="0"/>
                      </a:moveTo>
                      <a:cubicBezTo>
                        <a:pt x="0" y="0"/>
                        <a:pt x="0" y="0"/>
                        <a:pt x="0" y="0"/>
                      </a:cubicBezTo>
                      <a:cubicBezTo>
                        <a:pt x="13" y="27"/>
                        <a:pt x="13" y="27"/>
                        <a:pt x="13" y="27"/>
                      </a:cubicBezTo>
                      <a:cubicBezTo>
                        <a:pt x="13" y="27"/>
                        <a:pt x="13" y="27"/>
                        <a:pt x="13" y="27"/>
                      </a:cubicBezTo>
                      <a:cubicBezTo>
                        <a:pt x="0" y="0"/>
                        <a:pt x="0" y="0"/>
                        <a:pt x="0" y="0"/>
                      </a:cubicBezTo>
                    </a:path>
                  </a:pathLst>
                </a:custGeom>
                <a:solidFill>
                  <a:srgbClr val="D977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IN" dirty="0"/>
                </a:p>
              </p:txBody>
            </p:sp>
            <p:sp>
              <p:nvSpPr>
                <p:cNvPr id="399" name="Freeform 398"/>
                <p:cNvSpPr>
                  <a:spLocks/>
                </p:cNvSpPr>
                <p:nvPr/>
              </p:nvSpPr>
              <p:spPr bwMode="auto">
                <a:xfrm flipH="1">
                  <a:off x="8754558" y="2239312"/>
                  <a:ext cx="21446" cy="26808"/>
                </a:xfrm>
                <a:custGeom>
                  <a:avLst/>
                  <a:gdLst>
                    <a:gd name="T0" fmla="*/ 10 w 23"/>
                    <a:gd name="T1" fmla="*/ 0 h 28"/>
                    <a:gd name="T2" fmla="*/ 3 w 23"/>
                    <a:gd name="T3" fmla="*/ 20 h 28"/>
                    <a:gd name="T4" fmla="*/ 17 w 23"/>
                    <a:gd name="T5" fmla="*/ 28 h 28"/>
                    <a:gd name="T6" fmla="*/ 23 w 23"/>
                    <a:gd name="T7" fmla="*/ 27 h 28"/>
                    <a:gd name="T8" fmla="*/ 10 w 23"/>
                    <a:gd name="T9" fmla="*/ 0 h 28"/>
                  </a:gdLst>
                  <a:ahLst/>
                  <a:cxnLst>
                    <a:cxn ang="0">
                      <a:pos x="T0" y="T1"/>
                    </a:cxn>
                    <a:cxn ang="0">
                      <a:pos x="T2" y="T3"/>
                    </a:cxn>
                    <a:cxn ang="0">
                      <a:pos x="T4" y="T5"/>
                    </a:cxn>
                    <a:cxn ang="0">
                      <a:pos x="T6" y="T7"/>
                    </a:cxn>
                    <a:cxn ang="0">
                      <a:pos x="T8" y="T9"/>
                    </a:cxn>
                  </a:cxnLst>
                  <a:rect l="0" t="0" r="r" b="b"/>
                  <a:pathLst>
                    <a:path w="23" h="28">
                      <a:moveTo>
                        <a:pt x="10" y="0"/>
                      </a:moveTo>
                      <a:cubicBezTo>
                        <a:pt x="3" y="4"/>
                        <a:pt x="0" y="13"/>
                        <a:pt x="3" y="20"/>
                      </a:cubicBezTo>
                      <a:cubicBezTo>
                        <a:pt x="6" y="25"/>
                        <a:pt x="11" y="28"/>
                        <a:pt x="17" y="28"/>
                      </a:cubicBezTo>
                      <a:cubicBezTo>
                        <a:pt x="19" y="28"/>
                        <a:pt x="21" y="28"/>
                        <a:pt x="23" y="27"/>
                      </a:cubicBezTo>
                      <a:cubicBezTo>
                        <a:pt x="10" y="0"/>
                        <a:pt x="10" y="0"/>
                        <a:pt x="10" y="0"/>
                      </a:cubicBezTo>
                    </a:path>
                  </a:pathLst>
                </a:custGeom>
                <a:solidFill>
                  <a:srgbClr val="D977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IN" dirty="0"/>
                </a:p>
              </p:txBody>
            </p:sp>
          </p:grpSp>
          <p:sp>
            <p:nvSpPr>
              <p:cNvPr id="389" name="Freeform 388"/>
              <p:cNvSpPr>
                <a:spLocks/>
              </p:cNvSpPr>
              <p:nvPr/>
            </p:nvSpPr>
            <p:spPr bwMode="auto">
              <a:xfrm flipH="1">
                <a:off x="11213284" y="4343276"/>
                <a:ext cx="159774" cy="194723"/>
              </a:xfrm>
              <a:custGeom>
                <a:avLst/>
                <a:gdLst>
                  <a:gd name="T0" fmla="*/ 73 w 73"/>
                  <a:gd name="T1" fmla="*/ 8 h 88"/>
                  <a:gd name="T2" fmla="*/ 49 w 73"/>
                  <a:gd name="T3" fmla="*/ 0 h 88"/>
                  <a:gd name="T4" fmla="*/ 42 w 73"/>
                  <a:gd name="T5" fmla="*/ 19 h 88"/>
                  <a:gd name="T6" fmla="*/ 0 w 73"/>
                  <a:gd name="T7" fmla="*/ 8 h 88"/>
                  <a:gd name="T8" fmla="*/ 0 w 73"/>
                  <a:gd name="T9" fmla="*/ 88 h 88"/>
                  <a:gd name="T10" fmla="*/ 50 w 73"/>
                  <a:gd name="T11" fmla="*/ 88 h 88"/>
                  <a:gd name="T12" fmla="*/ 50 w 73"/>
                  <a:gd name="T13" fmla="*/ 49 h 88"/>
                  <a:gd name="T14" fmla="*/ 73 w 73"/>
                  <a:gd name="T15" fmla="*/ 8 h 8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3" h="88">
                    <a:moveTo>
                      <a:pt x="73" y="8"/>
                    </a:moveTo>
                    <a:cubicBezTo>
                      <a:pt x="49" y="0"/>
                      <a:pt x="49" y="0"/>
                      <a:pt x="49" y="0"/>
                    </a:cubicBezTo>
                    <a:cubicBezTo>
                      <a:pt x="42" y="19"/>
                      <a:pt x="42" y="19"/>
                      <a:pt x="42" y="19"/>
                    </a:cubicBezTo>
                    <a:cubicBezTo>
                      <a:pt x="0" y="8"/>
                      <a:pt x="0" y="8"/>
                      <a:pt x="0" y="8"/>
                    </a:cubicBezTo>
                    <a:cubicBezTo>
                      <a:pt x="0" y="88"/>
                      <a:pt x="0" y="88"/>
                      <a:pt x="0" y="88"/>
                    </a:cubicBezTo>
                    <a:cubicBezTo>
                      <a:pt x="50" y="88"/>
                      <a:pt x="50" y="88"/>
                      <a:pt x="50" y="88"/>
                    </a:cubicBezTo>
                    <a:cubicBezTo>
                      <a:pt x="50" y="49"/>
                      <a:pt x="50" y="49"/>
                      <a:pt x="50" y="49"/>
                    </a:cubicBezTo>
                    <a:cubicBezTo>
                      <a:pt x="51" y="36"/>
                      <a:pt x="55" y="14"/>
                      <a:pt x="73" y="8"/>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IN" dirty="0"/>
              </a:p>
            </p:txBody>
          </p:sp>
          <p:sp>
            <p:nvSpPr>
              <p:cNvPr id="390" name="Isosceles Triangle 389"/>
              <p:cNvSpPr/>
              <p:nvPr/>
            </p:nvSpPr>
            <p:spPr bwMode="auto">
              <a:xfrm flipV="1">
                <a:off x="11254730" y="4533711"/>
                <a:ext cx="123920" cy="45719"/>
              </a:xfrm>
              <a:prstGeom prst="triangle">
                <a:avLst/>
              </a:prstGeom>
              <a:solidFill>
                <a:srgbClr val="FF8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242" name="Group 241"/>
            <p:cNvGrpSpPr/>
            <p:nvPr/>
          </p:nvGrpSpPr>
          <p:grpSpPr>
            <a:xfrm>
              <a:off x="7972783" y="3308131"/>
              <a:ext cx="1481716" cy="3688331"/>
              <a:chOff x="7731120" y="3597098"/>
              <a:chExt cx="1365568" cy="3399213"/>
            </a:xfrm>
          </p:grpSpPr>
          <p:sp>
            <p:nvSpPr>
              <p:cNvPr id="344" name="Freeform 343"/>
              <p:cNvSpPr>
                <a:spLocks/>
              </p:cNvSpPr>
              <p:nvPr/>
            </p:nvSpPr>
            <p:spPr bwMode="auto">
              <a:xfrm>
                <a:off x="7731120" y="4477697"/>
                <a:ext cx="283324" cy="1092453"/>
              </a:xfrm>
              <a:custGeom>
                <a:avLst/>
                <a:gdLst>
                  <a:gd name="T0" fmla="*/ 0 w 126"/>
                  <a:gd name="T1" fmla="*/ 485 h 485"/>
                  <a:gd name="T2" fmla="*/ 68 w 126"/>
                  <a:gd name="T3" fmla="*/ 0 h 485"/>
                  <a:gd name="T4" fmla="*/ 68 w 126"/>
                  <a:gd name="T5" fmla="*/ 0 h 485"/>
                  <a:gd name="T6" fmla="*/ 126 w 126"/>
                  <a:gd name="T7" fmla="*/ 21 h 485"/>
                  <a:gd name="T8" fmla="*/ 116 w 126"/>
                  <a:gd name="T9" fmla="*/ 53 h 485"/>
                  <a:gd name="T10" fmla="*/ 94 w 126"/>
                  <a:gd name="T11" fmla="*/ 146 h 485"/>
                  <a:gd name="T12" fmla="*/ 62 w 126"/>
                  <a:gd name="T13" fmla="*/ 485 h 485"/>
                  <a:gd name="T14" fmla="*/ 0 w 126"/>
                  <a:gd name="T15" fmla="*/ 485 h 4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6" h="485">
                    <a:moveTo>
                      <a:pt x="0" y="485"/>
                    </a:moveTo>
                    <a:cubicBezTo>
                      <a:pt x="0" y="193"/>
                      <a:pt x="67" y="2"/>
                      <a:pt x="68" y="0"/>
                    </a:cubicBezTo>
                    <a:cubicBezTo>
                      <a:pt x="68" y="0"/>
                      <a:pt x="68" y="0"/>
                      <a:pt x="68" y="0"/>
                    </a:cubicBezTo>
                    <a:cubicBezTo>
                      <a:pt x="126" y="21"/>
                      <a:pt x="126" y="21"/>
                      <a:pt x="126" y="21"/>
                    </a:cubicBezTo>
                    <a:cubicBezTo>
                      <a:pt x="126" y="21"/>
                      <a:pt x="122" y="31"/>
                      <a:pt x="116" y="53"/>
                    </a:cubicBezTo>
                    <a:cubicBezTo>
                      <a:pt x="110" y="74"/>
                      <a:pt x="102" y="106"/>
                      <a:pt x="94" y="146"/>
                    </a:cubicBezTo>
                    <a:cubicBezTo>
                      <a:pt x="78" y="227"/>
                      <a:pt x="62" y="344"/>
                      <a:pt x="62" y="485"/>
                    </a:cubicBezTo>
                    <a:cubicBezTo>
                      <a:pt x="0" y="485"/>
                      <a:pt x="0" y="485"/>
                      <a:pt x="0" y="485"/>
                    </a:cubicBezTo>
                  </a:path>
                </a:pathLst>
              </a:custGeom>
              <a:solidFill>
                <a:schemeClr val="accent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IN" dirty="0"/>
              </a:p>
            </p:txBody>
          </p:sp>
          <p:sp>
            <p:nvSpPr>
              <p:cNvPr id="345" name="Freeform 344"/>
              <p:cNvSpPr>
                <a:spLocks/>
              </p:cNvSpPr>
              <p:nvPr/>
            </p:nvSpPr>
            <p:spPr bwMode="auto">
              <a:xfrm rot="8728510">
                <a:off x="7736303" y="5510211"/>
                <a:ext cx="127622" cy="132727"/>
              </a:xfrm>
              <a:custGeom>
                <a:avLst/>
                <a:gdLst>
                  <a:gd name="T0" fmla="*/ 57 w 57"/>
                  <a:gd name="T1" fmla="*/ 32 h 59"/>
                  <a:gd name="T2" fmla="*/ 25 w 57"/>
                  <a:gd name="T3" fmla="*/ 0 h 59"/>
                  <a:gd name="T4" fmla="*/ 9 w 57"/>
                  <a:gd name="T5" fmla="*/ 4 h 59"/>
                  <a:gd name="T6" fmla="*/ 12 w 57"/>
                  <a:gd name="T7" fmla="*/ 46 h 59"/>
                  <a:gd name="T8" fmla="*/ 57 w 57"/>
                  <a:gd name="T9" fmla="*/ 46 h 59"/>
                  <a:gd name="T10" fmla="*/ 57 w 57"/>
                  <a:gd name="T11" fmla="*/ 33 h 59"/>
                  <a:gd name="T12" fmla="*/ 57 w 57"/>
                  <a:gd name="T13" fmla="*/ 33 h 59"/>
                  <a:gd name="T14" fmla="*/ 57 w 57"/>
                  <a:gd name="T15" fmla="*/ 32 h 5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7" h="59">
                    <a:moveTo>
                      <a:pt x="57" y="32"/>
                    </a:moveTo>
                    <a:cubicBezTo>
                      <a:pt x="57" y="14"/>
                      <a:pt x="43" y="0"/>
                      <a:pt x="25" y="0"/>
                    </a:cubicBezTo>
                    <a:cubicBezTo>
                      <a:pt x="19" y="0"/>
                      <a:pt x="14" y="1"/>
                      <a:pt x="9" y="4"/>
                    </a:cubicBezTo>
                    <a:cubicBezTo>
                      <a:pt x="0" y="17"/>
                      <a:pt x="1" y="34"/>
                      <a:pt x="12" y="46"/>
                    </a:cubicBezTo>
                    <a:cubicBezTo>
                      <a:pt x="24" y="58"/>
                      <a:pt x="45" y="59"/>
                      <a:pt x="57" y="46"/>
                    </a:cubicBezTo>
                    <a:cubicBezTo>
                      <a:pt x="57" y="33"/>
                      <a:pt x="57" y="33"/>
                      <a:pt x="57" y="33"/>
                    </a:cubicBezTo>
                    <a:cubicBezTo>
                      <a:pt x="57" y="33"/>
                      <a:pt x="57" y="33"/>
                      <a:pt x="57" y="33"/>
                    </a:cubicBezTo>
                    <a:cubicBezTo>
                      <a:pt x="57" y="33"/>
                      <a:pt x="57" y="32"/>
                      <a:pt x="57" y="32"/>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IN" dirty="0"/>
              </a:p>
            </p:txBody>
          </p:sp>
          <p:sp>
            <p:nvSpPr>
              <p:cNvPr id="346" name="Freeform 345"/>
              <p:cNvSpPr>
                <a:spLocks/>
              </p:cNvSpPr>
              <p:nvPr/>
            </p:nvSpPr>
            <p:spPr bwMode="auto">
              <a:xfrm>
                <a:off x="8501964" y="3875316"/>
                <a:ext cx="594724" cy="745318"/>
              </a:xfrm>
              <a:custGeom>
                <a:avLst/>
                <a:gdLst>
                  <a:gd name="T0" fmla="*/ 9 w 265"/>
                  <a:gd name="T1" fmla="*/ 331 h 331"/>
                  <a:gd name="T2" fmla="*/ 0 w 265"/>
                  <a:gd name="T3" fmla="*/ 331 h 331"/>
                  <a:gd name="T4" fmla="*/ 2 w 265"/>
                  <a:gd name="T5" fmla="*/ 266 h 331"/>
                  <a:gd name="T6" fmla="*/ 9 w 265"/>
                  <a:gd name="T7" fmla="*/ 266 h 331"/>
                  <a:gd name="T8" fmla="*/ 115 w 265"/>
                  <a:gd name="T9" fmla="*/ 232 h 331"/>
                  <a:gd name="T10" fmla="*/ 172 w 265"/>
                  <a:gd name="T11" fmla="*/ 151 h 331"/>
                  <a:gd name="T12" fmla="*/ 200 w 265"/>
                  <a:gd name="T13" fmla="*/ 4 h 331"/>
                  <a:gd name="T14" fmla="*/ 200 w 265"/>
                  <a:gd name="T15" fmla="*/ 1 h 331"/>
                  <a:gd name="T16" fmla="*/ 200 w 265"/>
                  <a:gd name="T17" fmla="*/ 1 h 331"/>
                  <a:gd name="T18" fmla="*/ 265 w 265"/>
                  <a:gd name="T19" fmla="*/ 0 h 331"/>
                  <a:gd name="T20" fmla="*/ 265 w 265"/>
                  <a:gd name="T21" fmla="*/ 4 h 331"/>
                  <a:gd name="T22" fmla="*/ 251 w 265"/>
                  <a:gd name="T23" fmla="*/ 120 h 331"/>
                  <a:gd name="T24" fmla="*/ 156 w 265"/>
                  <a:gd name="T25" fmla="*/ 283 h 331"/>
                  <a:gd name="T26" fmla="*/ 9 w 265"/>
                  <a:gd name="T27" fmla="*/ 331 h 331"/>
                  <a:gd name="T28" fmla="*/ 9 w 265"/>
                  <a:gd name="T29" fmla="*/ 331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5" h="331">
                    <a:moveTo>
                      <a:pt x="9" y="331"/>
                    </a:moveTo>
                    <a:cubicBezTo>
                      <a:pt x="6" y="331"/>
                      <a:pt x="3" y="331"/>
                      <a:pt x="0" y="331"/>
                    </a:cubicBezTo>
                    <a:cubicBezTo>
                      <a:pt x="2" y="266"/>
                      <a:pt x="2" y="266"/>
                      <a:pt x="2" y="266"/>
                    </a:cubicBezTo>
                    <a:cubicBezTo>
                      <a:pt x="4" y="266"/>
                      <a:pt x="7" y="266"/>
                      <a:pt x="9" y="266"/>
                    </a:cubicBezTo>
                    <a:cubicBezTo>
                      <a:pt x="56" y="266"/>
                      <a:pt x="89" y="252"/>
                      <a:pt x="115" y="232"/>
                    </a:cubicBezTo>
                    <a:cubicBezTo>
                      <a:pt x="140" y="211"/>
                      <a:pt x="159" y="182"/>
                      <a:pt x="172" y="151"/>
                    </a:cubicBezTo>
                    <a:cubicBezTo>
                      <a:pt x="198" y="89"/>
                      <a:pt x="200" y="18"/>
                      <a:pt x="200" y="4"/>
                    </a:cubicBezTo>
                    <a:cubicBezTo>
                      <a:pt x="200" y="2"/>
                      <a:pt x="200" y="1"/>
                      <a:pt x="200" y="1"/>
                    </a:cubicBezTo>
                    <a:cubicBezTo>
                      <a:pt x="200" y="1"/>
                      <a:pt x="200" y="1"/>
                      <a:pt x="200" y="1"/>
                    </a:cubicBezTo>
                    <a:cubicBezTo>
                      <a:pt x="265" y="0"/>
                      <a:pt x="265" y="0"/>
                      <a:pt x="265" y="0"/>
                    </a:cubicBezTo>
                    <a:cubicBezTo>
                      <a:pt x="265" y="0"/>
                      <a:pt x="265" y="2"/>
                      <a:pt x="265" y="4"/>
                    </a:cubicBezTo>
                    <a:cubicBezTo>
                      <a:pt x="265" y="18"/>
                      <a:pt x="264" y="65"/>
                      <a:pt x="251" y="120"/>
                    </a:cubicBezTo>
                    <a:cubicBezTo>
                      <a:pt x="237" y="174"/>
                      <a:pt x="211" y="238"/>
                      <a:pt x="156" y="283"/>
                    </a:cubicBezTo>
                    <a:cubicBezTo>
                      <a:pt x="119" y="312"/>
                      <a:pt x="70" y="331"/>
                      <a:pt x="9" y="331"/>
                    </a:cubicBezTo>
                    <a:cubicBezTo>
                      <a:pt x="9" y="331"/>
                      <a:pt x="9" y="331"/>
                      <a:pt x="9" y="331"/>
                    </a:cubicBezTo>
                  </a:path>
                </a:pathLst>
              </a:custGeom>
              <a:solidFill>
                <a:srgbClr val="FFF1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IN" dirty="0"/>
              </a:p>
            </p:txBody>
          </p:sp>
          <p:sp>
            <p:nvSpPr>
              <p:cNvPr id="347" name="Freeform 346"/>
              <p:cNvSpPr>
                <a:spLocks/>
              </p:cNvSpPr>
              <p:nvPr/>
            </p:nvSpPr>
            <p:spPr bwMode="auto">
              <a:xfrm>
                <a:off x="8504516" y="3875316"/>
                <a:ext cx="592172" cy="745318"/>
              </a:xfrm>
              <a:custGeom>
                <a:avLst/>
                <a:gdLst>
                  <a:gd name="T0" fmla="*/ 263 w 263"/>
                  <a:gd name="T1" fmla="*/ 0 h 331"/>
                  <a:gd name="T2" fmla="*/ 198 w 263"/>
                  <a:gd name="T3" fmla="*/ 1 h 331"/>
                  <a:gd name="T4" fmla="*/ 198 w 263"/>
                  <a:gd name="T5" fmla="*/ 1 h 331"/>
                  <a:gd name="T6" fmla="*/ 198 w 263"/>
                  <a:gd name="T7" fmla="*/ 4 h 331"/>
                  <a:gd name="T8" fmla="*/ 198 w 263"/>
                  <a:gd name="T9" fmla="*/ 5 h 331"/>
                  <a:gd name="T10" fmla="*/ 170 w 263"/>
                  <a:gd name="T11" fmla="*/ 151 h 331"/>
                  <a:gd name="T12" fmla="*/ 113 w 263"/>
                  <a:gd name="T13" fmla="*/ 232 h 331"/>
                  <a:gd name="T14" fmla="*/ 7 w 263"/>
                  <a:gd name="T15" fmla="*/ 266 h 331"/>
                  <a:gd name="T16" fmla="*/ 0 w 263"/>
                  <a:gd name="T17" fmla="*/ 266 h 331"/>
                  <a:gd name="T18" fmla="*/ 0 w 263"/>
                  <a:gd name="T19" fmla="*/ 266 h 331"/>
                  <a:gd name="T20" fmla="*/ 2 w 263"/>
                  <a:gd name="T21" fmla="*/ 266 h 331"/>
                  <a:gd name="T22" fmla="*/ 2 w 263"/>
                  <a:gd name="T23" fmla="*/ 331 h 331"/>
                  <a:gd name="T24" fmla="*/ 7 w 263"/>
                  <a:gd name="T25" fmla="*/ 331 h 331"/>
                  <a:gd name="T26" fmla="*/ 7 w 263"/>
                  <a:gd name="T27" fmla="*/ 331 h 331"/>
                  <a:gd name="T28" fmla="*/ 154 w 263"/>
                  <a:gd name="T29" fmla="*/ 283 h 331"/>
                  <a:gd name="T30" fmla="*/ 249 w 263"/>
                  <a:gd name="T31" fmla="*/ 120 h 331"/>
                  <a:gd name="T32" fmla="*/ 263 w 263"/>
                  <a:gd name="T33" fmla="*/ 4 h 331"/>
                  <a:gd name="T34" fmla="*/ 263 w 263"/>
                  <a:gd name="T35" fmla="*/ 0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63" h="331">
                    <a:moveTo>
                      <a:pt x="263" y="0"/>
                    </a:moveTo>
                    <a:cubicBezTo>
                      <a:pt x="198" y="1"/>
                      <a:pt x="198" y="1"/>
                      <a:pt x="198" y="1"/>
                    </a:cubicBezTo>
                    <a:cubicBezTo>
                      <a:pt x="198" y="1"/>
                      <a:pt x="198" y="1"/>
                      <a:pt x="198" y="1"/>
                    </a:cubicBezTo>
                    <a:cubicBezTo>
                      <a:pt x="198" y="1"/>
                      <a:pt x="198" y="2"/>
                      <a:pt x="198" y="4"/>
                    </a:cubicBezTo>
                    <a:cubicBezTo>
                      <a:pt x="198" y="4"/>
                      <a:pt x="198" y="5"/>
                      <a:pt x="198" y="5"/>
                    </a:cubicBezTo>
                    <a:cubicBezTo>
                      <a:pt x="198" y="22"/>
                      <a:pt x="195" y="91"/>
                      <a:pt x="170" y="151"/>
                    </a:cubicBezTo>
                    <a:cubicBezTo>
                      <a:pt x="157" y="182"/>
                      <a:pt x="138" y="211"/>
                      <a:pt x="113" y="232"/>
                    </a:cubicBezTo>
                    <a:cubicBezTo>
                      <a:pt x="87" y="252"/>
                      <a:pt x="54" y="266"/>
                      <a:pt x="7" y="266"/>
                    </a:cubicBezTo>
                    <a:cubicBezTo>
                      <a:pt x="5" y="266"/>
                      <a:pt x="2" y="266"/>
                      <a:pt x="0" y="266"/>
                    </a:cubicBezTo>
                    <a:cubicBezTo>
                      <a:pt x="0" y="266"/>
                      <a:pt x="0" y="266"/>
                      <a:pt x="0" y="266"/>
                    </a:cubicBezTo>
                    <a:cubicBezTo>
                      <a:pt x="2" y="266"/>
                      <a:pt x="2" y="266"/>
                      <a:pt x="2" y="266"/>
                    </a:cubicBezTo>
                    <a:cubicBezTo>
                      <a:pt x="2" y="331"/>
                      <a:pt x="2" y="331"/>
                      <a:pt x="2" y="331"/>
                    </a:cubicBezTo>
                    <a:cubicBezTo>
                      <a:pt x="4" y="331"/>
                      <a:pt x="5" y="331"/>
                      <a:pt x="7" y="331"/>
                    </a:cubicBezTo>
                    <a:cubicBezTo>
                      <a:pt x="7" y="331"/>
                      <a:pt x="7" y="331"/>
                      <a:pt x="7" y="331"/>
                    </a:cubicBezTo>
                    <a:cubicBezTo>
                      <a:pt x="68" y="331"/>
                      <a:pt x="117" y="312"/>
                      <a:pt x="154" y="283"/>
                    </a:cubicBezTo>
                    <a:cubicBezTo>
                      <a:pt x="209" y="238"/>
                      <a:pt x="235" y="174"/>
                      <a:pt x="249" y="120"/>
                    </a:cubicBezTo>
                    <a:cubicBezTo>
                      <a:pt x="262" y="65"/>
                      <a:pt x="263" y="18"/>
                      <a:pt x="263" y="4"/>
                    </a:cubicBezTo>
                    <a:cubicBezTo>
                      <a:pt x="263" y="2"/>
                      <a:pt x="263" y="0"/>
                      <a:pt x="263" y="0"/>
                    </a:cubicBezTo>
                  </a:path>
                </a:pathLst>
              </a:custGeom>
              <a:solidFill>
                <a:schemeClr val="accent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IN" dirty="0"/>
              </a:p>
            </p:txBody>
          </p:sp>
          <p:sp>
            <p:nvSpPr>
              <p:cNvPr id="348" name="Freeform 347"/>
              <p:cNvSpPr>
                <a:spLocks/>
              </p:cNvSpPr>
              <p:nvPr/>
            </p:nvSpPr>
            <p:spPr bwMode="auto">
              <a:xfrm>
                <a:off x="8267135" y="6825295"/>
                <a:ext cx="306297" cy="171016"/>
              </a:xfrm>
              <a:custGeom>
                <a:avLst/>
                <a:gdLst>
                  <a:gd name="T0" fmla="*/ 120 w 120"/>
                  <a:gd name="T1" fmla="*/ 51 h 67"/>
                  <a:gd name="T2" fmla="*/ 68 w 120"/>
                  <a:gd name="T3" fmla="*/ 0 h 67"/>
                  <a:gd name="T4" fmla="*/ 0 w 120"/>
                  <a:gd name="T5" fmla="*/ 0 h 67"/>
                  <a:gd name="T6" fmla="*/ 0 w 120"/>
                  <a:gd name="T7" fmla="*/ 67 h 67"/>
                  <a:gd name="T8" fmla="*/ 120 w 120"/>
                  <a:gd name="T9" fmla="*/ 67 h 67"/>
                  <a:gd name="T10" fmla="*/ 120 w 120"/>
                  <a:gd name="T11" fmla="*/ 51 h 67"/>
                </a:gdLst>
                <a:ahLst/>
                <a:cxnLst>
                  <a:cxn ang="0">
                    <a:pos x="T0" y="T1"/>
                  </a:cxn>
                  <a:cxn ang="0">
                    <a:pos x="T2" y="T3"/>
                  </a:cxn>
                  <a:cxn ang="0">
                    <a:pos x="T4" y="T5"/>
                  </a:cxn>
                  <a:cxn ang="0">
                    <a:pos x="T6" y="T7"/>
                  </a:cxn>
                  <a:cxn ang="0">
                    <a:pos x="T8" y="T9"/>
                  </a:cxn>
                  <a:cxn ang="0">
                    <a:pos x="T10" y="T11"/>
                  </a:cxn>
                </a:cxnLst>
                <a:rect l="0" t="0" r="r" b="b"/>
                <a:pathLst>
                  <a:path w="120" h="67">
                    <a:moveTo>
                      <a:pt x="120" y="51"/>
                    </a:moveTo>
                    <a:lnTo>
                      <a:pt x="68" y="0"/>
                    </a:lnTo>
                    <a:lnTo>
                      <a:pt x="0" y="0"/>
                    </a:lnTo>
                    <a:lnTo>
                      <a:pt x="0" y="67"/>
                    </a:lnTo>
                    <a:lnTo>
                      <a:pt x="120" y="67"/>
                    </a:lnTo>
                    <a:lnTo>
                      <a:pt x="120" y="51"/>
                    </a:lnTo>
                    <a:close/>
                  </a:path>
                </a:pathLst>
              </a:custGeom>
              <a:solidFill>
                <a:schemeClr val="bg1">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IN" dirty="0"/>
              </a:p>
            </p:txBody>
          </p:sp>
          <p:sp>
            <p:nvSpPr>
              <p:cNvPr id="349" name="Rectangle 348"/>
              <p:cNvSpPr>
                <a:spLocks noChangeArrowheads="1"/>
              </p:cNvSpPr>
              <p:nvPr/>
            </p:nvSpPr>
            <p:spPr bwMode="auto">
              <a:xfrm>
                <a:off x="8267138" y="5700323"/>
                <a:ext cx="171015" cy="1124971"/>
              </a:xfrm>
              <a:prstGeom prst="rect">
                <a:avLst/>
              </a:prstGeom>
              <a:solidFill>
                <a:srgbClr val="BA141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IN" dirty="0"/>
              </a:p>
            </p:txBody>
          </p:sp>
          <p:sp>
            <p:nvSpPr>
              <p:cNvPr id="350" name="Rectangle 349"/>
              <p:cNvSpPr>
                <a:spLocks noChangeArrowheads="1"/>
              </p:cNvSpPr>
              <p:nvPr/>
            </p:nvSpPr>
            <p:spPr bwMode="auto">
              <a:xfrm>
                <a:off x="8267138" y="5700324"/>
                <a:ext cx="171015" cy="1115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IN" dirty="0"/>
              </a:p>
            </p:txBody>
          </p:sp>
          <p:sp>
            <p:nvSpPr>
              <p:cNvPr id="351" name="Rectangle 350"/>
              <p:cNvSpPr>
                <a:spLocks noChangeArrowheads="1"/>
              </p:cNvSpPr>
              <p:nvPr/>
            </p:nvSpPr>
            <p:spPr bwMode="auto">
              <a:xfrm>
                <a:off x="8001681" y="5700323"/>
                <a:ext cx="171015" cy="1124971"/>
              </a:xfrm>
              <a:prstGeom prst="rect">
                <a:avLst/>
              </a:prstGeom>
              <a:solidFill>
                <a:srgbClr val="BA141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IN" dirty="0"/>
              </a:p>
            </p:txBody>
          </p:sp>
          <p:sp>
            <p:nvSpPr>
              <p:cNvPr id="352" name="Rectangle 351"/>
              <p:cNvSpPr>
                <a:spLocks noChangeArrowheads="1"/>
              </p:cNvSpPr>
              <p:nvPr/>
            </p:nvSpPr>
            <p:spPr bwMode="auto">
              <a:xfrm>
                <a:off x="8001681" y="5700324"/>
                <a:ext cx="171015" cy="1115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IN" dirty="0"/>
              </a:p>
            </p:txBody>
          </p:sp>
          <p:sp>
            <p:nvSpPr>
              <p:cNvPr id="353" name="Freeform 352"/>
              <p:cNvSpPr>
                <a:spLocks/>
              </p:cNvSpPr>
              <p:nvPr/>
            </p:nvSpPr>
            <p:spPr bwMode="auto">
              <a:xfrm>
                <a:off x="8001681" y="6825295"/>
                <a:ext cx="303744" cy="171016"/>
              </a:xfrm>
              <a:custGeom>
                <a:avLst/>
                <a:gdLst>
                  <a:gd name="T0" fmla="*/ 119 w 119"/>
                  <a:gd name="T1" fmla="*/ 51 h 67"/>
                  <a:gd name="T2" fmla="*/ 68 w 119"/>
                  <a:gd name="T3" fmla="*/ 0 h 67"/>
                  <a:gd name="T4" fmla="*/ 0 w 119"/>
                  <a:gd name="T5" fmla="*/ 0 h 67"/>
                  <a:gd name="T6" fmla="*/ 0 w 119"/>
                  <a:gd name="T7" fmla="*/ 67 h 67"/>
                  <a:gd name="T8" fmla="*/ 119 w 119"/>
                  <a:gd name="T9" fmla="*/ 67 h 67"/>
                  <a:gd name="T10" fmla="*/ 119 w 119"/>
                  <a:gd name="T11" fmla="*/ 51 h 67"/>
                </a:gdLst>
                <a:ahLst/>
                <a:cxnLst>
                  <a:cxn ang="0">
                    <a:pos x="T0" y="T1"/>
                  </a:cxn>
                  <a:cxn ang="0">
                    <a:pos x="T2" y="T3"/>
                  </a:cxn>
                  <a:cxn ang="0">
                    <a:pos x="T4" y="T5"/>
                  </a:cxn>
                  <a:cxn ang="0">
                    <a:pos x="T6" y="T7"/>
                  </a:cxn>
                  <a:cxn ang="0">
                    <a:pos x="T8" y="T9"/>
                  </a:cxn>
                  <a:cxn ang="0">
                    <a:pos x="T10" y="T11"/>
                  </a:cxn>
                </a:cxnLst>
                <a:rect l="0" t="0" r="r" b="b"/>
                <a:pathLst>
                  <a:path w="119" h="67">
                    <a:moveTo>
                      <a:pt x="119" y="51"/>
                    </a:moveTo>
                    <a:lnTo>
                      <a:pt x="68" y="0"/>
                    </a:lnTo>
                    <a:lnTo>
                      <a:pt x="0" y="0"/>
                    </a:lnTo>
                    <a:lnTo>
                      <a:pt x="0" y="67"/>
                    </a:lnTo>
                    <a:lnTo>
                      <a:pt x="119" y="67"/>
                    </a:lnTo>
                    <a:lnTo>
                      <a:pt x="119" y="51"/>
                    </a:lnTo>
                    <a:close/>
                  </a:path>
                </a:pathLst>
              </a:custGeom>
              <a:solidFill>
                <a:schemeClr val="bg1">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IN" dirty="0"/>
              </a:p>
            </p:txBody>
          </p:sp>
          <p:sp>
            <p:nvSpPr>
              <p:cNvPr id="354" name="Rectangle 353"/>
              <p:cNvSpPr>
                <a:spLocks noChangeArrowheads="1"/>
              </p:cNvSpPr>
              <p:nvPr/>
            </p:nvSpPr>
            <p:spPr bwMode="auto">
              <a:xfrm>
                <a:off x="7884266" y="4475144"/>
                <a:ext cx="625354" cy="1273678"/>
              </a:xfrm>
              <a:prstGeom prst="rect">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IN" dirty="0"/>
              </a:p>
            </p:txBody>
          </p:sp>
          <p:sp>
            <p:nvSpPr>
              <p:cNvPr id="355" name="Rectangle 354"/>
              <p:cNvSpPr>
                <a:spLocks noChangeArrowheads="1"/>
              </p:cNvSpPr>
              <p:nvPr/>
            </p:nvSpPr>
            <p:spPr bwMode="auto">
              <a:xfrm>
                <a:off x="7884266" y="4475144"/>
                <a:ext cx="625354" cy="12736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IN" dirty="0"/>
              </a:p>
            </p:txBody>
          </p:sp>
          <p:sp>
            <p:nvSpPr>
              <p:cNvPr id="356" name="Freeform 355"/>
              <p:cNvSpPr>
                <a:spLocks/>
              </p:cNvSpPr>
              <p:nvPr/>
            </p:nvSpPr>
            <p:spPr bwMode="auto">
              <a:xfrm>
                <a:off x="8185459" y="4276053"/>
                <a:ext cx="163358" cy="199091"/>
              </a:xfrm>
              <a:custGeom>
                <a:avLst/>
                <a:gdLst>
                  <a:gd name="T0" fmla="*/ 73 w 73"/>
                  <a:gd name="T1" fmla="*/ 8 h 88"/>
                  <a:gd name="T2" fmla="*/ 49 w 73"/>
                  <a:gd name="T3" fmla="*/ 0 h 88"/>
                  <a:gd name="T4" fmla="*/ 42 w 73"/>
                  <a:gd name="T5" fmla="*/ 19 h 88"/>
                  <a:gd name="T6" fmla="*/ 0 w 73"/>
                  <a:gd name="T7" fmla="*/ 8 h 88"/>
                  <a:gd name="T8" fmla="*/ 0 w 73"/>
                  <a:gd name="T9" fmla="*/ 88 h 88"/>
                  <a:gd name="T10" fmla="*/ 50 w 73"/>
                  <a:gd name="T11" fmla="*/ 88 h 88"/>
                  <a:gd name="T12" fmla="*/ 50 w 73"/>
                  <a:gd name="T13" fmla="*/ 49 h 88"/>
                  <a:gd name="T14" fmla="*/ 73 w 73"/>
                  <a:gd name="T15" fmla="*/ 8 h 8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3" h="88">
                    <a:moveTo>
                      <a:pt x="73" y="8"/>
                    </a:moveTo>
                    <a:cubicBezTo>
                      <a:pt x="49" y="0"/>
                      <a:pt x="49" y="0"/>
                      <a:pt x="49" y="0"/>
                    </a:cubicBezTo>
                    <a:cubicBezTo>
                      <a:pt x="42" y="19"/>
                      <a:pt x="42" y="19"/>
                      <a:pt x="42" y="19"/>
                    </a:cubicBezTo>
                    <a:cubicBezTo>
                      <a:pt x="0" y="8"/>
                      <a:pt x="0" y="8"/>
                      <a:pt x="0" y="8"/>
                    </a:cubicBezTo>
                    <a:cubicBezTo>
                      <a:pt x="0" y="88"/>
                      <a:pt x="0" y="88"/>
                      <a:pt x="0" y="88"/>
                    </a:cubicBezTo>
                    <a:cubicBezTo>
                      <a:pt x="50" y="88"/>
                      <a:pt x="50" y="88"/>
                      <a:pt x="50" y="88"/>
                    </a:cubicBezTo>
                    <a:cubicBezTo>
                      <a:pt x="50" y="49"/>
                      <a:pt x="50" y="49"/>
                      <a:pt x="50" y="49"/>
                    </a:cubicBezTo>
                    <a:cubicBezTo>
                      <a:pt x="51" y="36"/>
                      <a:pt x="55" y="14"/>
                      <a:pt x="73" y="8"/>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IN" dirty="0"/>
              </a:p>
            </p:txBody>
          </p:sp>
          <p:sp>
            <p:nvSpPr>
              <p:cNvPr id="357" name="Freeform 356"/>
              <p:cNvSpPr>
                <a:spLocks/>
              </p:cNvSpPr>
              <p:nvPr/>
            </p:nvSpPr>
            <p:spPr bwMode="auto">
              <a:xfrm>
                <a:off x="8369239" y="4046331"/>
                <a:ext cx="117412" cy="171016"/>
              </a:xfrm>
              <a:custGeom>
                <a:avLst/>
                <a:gdLst>
                  <a:gd name="T0" fmla="*/ 0 w 46"/>
                  <a:gd name="T1" fmla="*/ 0 h 67"/>
                  <a:gd name="T2" fmla="*/ 46 w 46"/>
                  <a:gd name="T3" fmla="*/ 51 h 67"/>
                  <a:gd name="T4" fmla="*/ 13 w 46"/>
                  <a:gd name="T5" fmla="*/ 67 h 67"/>
                  <a:gd name="T6" fmla="*/ 0 w 46"/>
                  <a:gd name="T7" fmla="*/ 0 h 67"/>
                </a:gdLst>
                <a:ahLst/>
                <a:cxnLst>
                  <a:cxn ang="0">
                    <a:pos x="T0" y="T1"/>
                  </a:cxn>
                  <a:cxn ang="0">
                    <a:pos x="T2" y="T3"/>
                  </a:cxn>
                  <a:cxn ang="0">
                    <a:pos x="T4" y="T5"/>
                  </a:cxn>
                  <a:cxn ang="0">
                    <a:pos x="T6" y="T7"/>
                  </a:cxn>
                </a:cxnLst>
                <a:rect l="0" t="0" r="r" b="b"/>
                <a:pathLst>
                  <a:path w="46" h="67">
                    <a:moveTo>
                      <a:pt x="0" y="0"/>
                    </a:moveTo>
                    <a:lnTo>
                      <a:pt x="46" y="51"/>
                    </a:lnTo>
                    <a:lnTo>
                      <a:pt x="13" y="67"/>
                    </a:lnTo>
                    <a:lnTo>
                      <a:pt x="0" y="0"/>
                    </a:lnTo>
                    <a:close/>
                  </a:path>
                </a:pathLst>
              </a:custGeom>
              <a:solidFill>
                <a:srgbClr val="9A8D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IN" dirty="0"/>
              </a:p>
            </p:txBody>
          </p:sp>
          <p:sp>
            <p:nvSpPr>
              <p:cNvPr id="358" name="Freeform 357"/>
              <p:cNvSpPr>
                <a:spLocks/>
              </p:cNvSpPr>
              <p:nvPr/>
            </p:nvSpPr>
            <p:spPr bwMode="auto">
              <a:xfrm>
                <a:off x="8302872" y="4105040"/>
                <a:ext cx="28078" cy="28078"/>
              </a:xfrm>
              <a:custGeom>
                <a:avLst/>
                <a:gdLst>
                  <a:gd name="T0" fmla="*/ 11 w 12"/>
                  <a:gd name="T1" fmla="*/ 3 h 12"/>
                  <a:gd name="T2" fmla="*/ 9 w 12"/>
                  <a:gd name="T3" fmla="*/ 10 h 12"/>
                  <a:gd name="T4" fmla="*/ 2 w 12"/>
                  <a:gd name="T5" fmla="*/ 8 h 12"/>
                  <a:gd name="T6" fmla="*/ 4 w 12"/>
                  <a:gd name="T7" fmla="*/ 1 h 12"/>
                  <a:gd name="T8" fmla="*/ 11 w 12"/>
                  <a:gd name="T9" fmla="*/ 3 h 12"/>
                </a:gdLst>
                <a:ahLst/>
                <a:cxnLst>
                  <a:cxn ang="0">
                    <a:pos x="T0" y="T1"/>
                  </a:cxn>
                  <a:cxn ang="0">
                    <a:pos x="T2" y="T3"/>
                  </a:cxn>
                  <a:cxn ang="0">
                    <a:pos x="T4" y="T5"/>
                  </a:cxn>
                  <a:cxn ang="0">
                    <a:pos x="T6" y="T7"/>
                  </a:cxn>
                  <a:cxn ang="0">
                    <a:pos x="T8" y="T9"/>
                  </a:cxn>
                </a:cxnLst>
                <a:rect l="0" t="0" r="r" b="b"/>
                <a:pathLst>
                  <a:path w="12" h="12">
                    <a:moveTo>
                      <a:pt x="11" y="3"/>
                    </a:moveTo>
                    <a:cubicBezTo>
                      <a:pt x="12" y="6"/>
                      <a:pt x="11" y="9"/>
                      <a:pt x="9" y="10"/>
                    </a:cubicBezTo>
                    <a:cubicBezTo>
                      <a:pt x="6" y="12"/>
                      <a:pt x="3" y="11"/>
                      <a:pt x="2" y="8"/>
                    </a:cubicBezTo>
                    <a:cubicBezTo>
                      <a:pt x="0" y="5"/>
                      <a:pt x="1" y="2"/>
                      <a:pt x="4" y="1"/>
                    </a:cubicBezTo>
                    <a:cubicBezTo>
                      <a:pt x="7" y="0"/>
                      <a:pt x="10" y="1"/>
                      <a:pt x="11" y="3"/>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IN" dirty="0"/>
              </a:p>
            </p:txBody>
          </p:sp>
          <p:sp>
            <p:nvSpPr>
              <p:cNvPr id="359" name="Freeform 358"/>
              <p:cNvSpPr>
                <a:spLocks/>
              </p:cNvSpPr>
              <p:nvPr/>
            </p:nvSpPr>
            <p:spPr bwMode="auto">
              <a:xfrm>
                <a:off x="8356475" y="4707419"/>
                <a:ext cx="84233" cy="58709"/>
              </a:xfrm>
              <a:custGeom>
                <a:avLst/>
                <a:gdLst>
                  <a:gd name="T0" fmla="*/ 0 w 33"/>
                  <a:gd name="T1" fmla="*/ 23 h 23"/>
                  <a:gd name="T2" fmla="*/ 17 w 33"/>
                  <a:gd name="T3" fmla="*/ 0 h 23"/>
                  <a:gd name="T4" fmla="*/ 33 w 33"/>
                  <a:gd name="T5" fmla="*/ 23 h 23"/>
                  <a:gd name="T6" fmla="*/ 0 w 33"/>
                  <a:gd name="T7" fmla="*/ 23 h 23"/>
                </a:gdLst>
                <a:ahLst/>
                <a:cxnLst>
                  <a:cxn ang="0">
                    <a:pos x="T0" y="T1"/>
                  </a:cxn>
                  <a:cxn ang="0">
                    <a:pos x="T2" y="T3"/>
                  </a:cxn>
                  <a:cxn ang="0">
                    <a:pos x="T4" y="T5"/>
                  </a:cxn>
                  <a:cxn ang="0">
                    <a:pos x="T6" y="T7"/>
                  </a:cxn>
                </a:cxnLst>
                <a:rect l="0" t="0" r="r" b="b"/>
                <a:pathLst>
                  <a:path w="33" h="23">
                    <a:moveTo>
                      <a:pt x="0" y="23"/>
                    </a:moveTo>
                    <a:lnTo>
                      <a:pt x="17" y="0"/>
                    </a:lnTo>
                    <a:lnTo>
                      <a:pt x="33" y="23"/>
                    </a:lnTo>
                    <a:lnTo>
                      <a:pt x="0" y="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IN" dirty="0"/>
              </a:p>
            </p:txBody>
          </p:sp>
          <p:sp>
            <p:nvSpPr>
              <p:cNvPr id="360" name="Freeform 359"/>
              <p:cNvSpPr>
                <a:spLocks/>
              </p:cNvSpPr>
              <p:nvPr/>
            </p:nvSpPr>
            <p:spPr bwMode="auto">
              <a:xfrm>
                <a:off x="8399866" y="4707419"/>
                <a:ext cx="84233" cy="58709"/>
              </a:xfrm>
              <a:custGeom>
                <a:avLst/>
                <a:gdLst>
                  <a:gd name="T0" fmla="*/ 0 w 33"/>
                  <a:gd name="T1" fmla="*/ 23 h 23"/>
                  <a:gd name="T2" fmla="*/ 17 w 33"/>
                  <a:gd name="T3" fmla="*/ 0 h 23"/>
                  <a:gd name="T4" fmla="*/ 33 w 33"/>
                  <a:gd name="T5" fmla="*/ 23 h 23"/>
                  <a:gd name="T6" fmla="*/ 0 w 33"/>
                  <a:gd name="T7" fmla="*/ 23 h 23"/>
                </a:gdLst>
                <a:ahLst/>
                <a:cxnLst>
                  <a:cxn ang="0">
                    <a:pos x="T0" y="T1"/>
                  </a:cxn>
                  <a:cxn ang="0">
                    <a:pos x="T2" y="T3"/>
                  </a:cxn>
                  <a:cxn ang="0">
                    <a:pos x="T4" y="T5"/>
                  </a:cxn>
                  <a:cxn ang="0">
                    <a:pos x="T6" y="T7"/>
                  </a:cxn>
                </a:cxnLst>
                <a:rect l="0" t="0" r="r" b="b"/>
                <a:pathLst>
                  <a:path w="33" h="23">
                    <a:moveTo>
                      <a:pt x="0" y="23"/>
                    </a:moveTo>
                    <a:lnTo>
                      <a:pt x="17" y="0"/>
                    </a:lnTo>
                    <a:lnTo>
                      <a:pt x="33" y="23"/>
                    </a:lnTo>
                    <a:lnTo>
                      <a:pt x="0" y="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IN" dirty="0"/>
              </a:p>
            </p:txBody>
          </p:sp>
          <p:sp>
            <p:nvSpPr>
              <p:cNvPr id="361" name="Freeform 360"/>
              <p:cNvSpPr>
                <a:spLocks/>
              </p:cNvSpPr>
              <p:nvPr/>
            </p:nvSpPr>
            <p:spPr bwMode="auto">
              <a:xfrm>
                <a:off x="8172695" y="4472592"/>
                <a:ext cx="137833" cy="53603"/>
              </a:xfrm>
              <a:custGeom>
                <a:avLst/>
                <a:gdLst>
                  <a:gd name="T0" fmla="*/ 54 w 54"/>
                  <a:gd name="T1" fmla="*/ 0 h 21"/>
                  <a:gd name="T2" fmla="*/ 26 w 54"/>
                  <a:gd name="T3" fmla="*/ 21 h 21"/>
                  <a:gd name="T4" fmla="*/ 0 w 54"/>
                  <a:gd name="T5" fmla="*/ 0 h 21"/>
                  <a:gd name="T6" fmla="*/ 54 w 54"/>
                  <a:gd name="T7" fmla="*/ 0 h 21"/>
                </a:gdLst>
                <a:ahLst/>
                <a:cxnLst>
                  <a:cxn ang="0">
                    <a:pos x="T0" y="T1"/>
                  </a:cxn>
                  <a:cxn ang="0">
                    <a:pos x="T2" y="T3"/>
                  </a:cxn>
                  <a:cxn ang="0">
                    <a:pos x="T4" y="T5"/>
                  </a:cxn>
                  <a:cxn ang="0">
                    <a:pos x="T6" y="T7"/>
                  </a:cxn>
                </a:cxnLst>
                <a:rect l="0" t="0" r="r" b="b"/>
                <a:pathLst>
                  <a:path w="54" h="21">
                    <a:moveTo>
                      <a:pt x="54" y="0"/>
                    </a:moveTo>
                    <a:lnTo>
                      <a:pt x="26" y="21"/>
                    </a:lnTo>
                    <a:lnTo>
                      <a:pt x="0" y="0"/>
                    </a:lnTo>
                    <a:lnTo>
                      <a:pt x="54" y="0"/>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IN" dirty="0"/>
              </a:p>
            </p:txBody>
          </p:sp>
          <p:sp>
            <p:nvSpPr>
              <p:cNvPr id="362" name="Freeform 361"/>
              <p:cNvSpPr>
                <a:spLocks/>
              </p:cNvSpPr>
              <p:nvPr/>
            </p:nvSpPr>
            <p:spPr bwMode="auto">
              <a:xfrm>
                <a:off x="8172695" y="4472592"/>
                <a:ext cx="137833" cy="53603"/>
              </a:xfrm>
              <a:custGeom>
                <a:avLst/>
                <a:gdLst>
                  <a:gd name="T0" fmla="*/ 54 w 54"/>
                  <a:gd name="T1" fmla="*/ 0 h 21"/>
                  <a:gd name="T2" fmla="*/ 26 w 54"/>
                  <a:gd name="T3" fmla="*/ 21 h 21"/>
                  <a:gd name="T4" fmla="*/ 0 w 54"/>
                  <a:gd name="T5" fmla="*/ 0 h 21"/>
                  <a:gd name="T6" fmla="*/ 54 w 54"/>
                  <a:gd name="T7" fmla="*/ 0 h 21"/>
                </a:gdLst>
                <a:ahLst/>
                <a:cxnLst>
                  <a:cxn ang="0">
                    <a:pos x="T0" y="T1"/>
                  </a:cxn>
                  <a:cxn ang="0">
                    <a:pos x="T2" y="T3"/>
                  </a:cxn>
                  <a:cxn ang="0">
                    <a:pos x="T4" y="T5"/>
                  </a:cxn>
                  <a:cxn ang="0">
                    <a:pos x="T6" y="T7"/>
                  </a:cxn>
                </a:cxnLst>
                <a:rect l="0" t="0" r="r" b="b"/>
                <a:pathLst>
                  <a:path w="54" h="21">
                    <a:moveTo>
                      <a:pt x="54" y="0"/>
                    </a:moveTo>
                    <a:lnTo>
                      <a:pt x="26" y="21"/>
                    </a:lnTo>
                    <a:lnTo>
                      <a:pt x="0" y="0"/>
                    </a:lnTo>
                    <a:lnTo>
                      <a:pt x="5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IN" dirty="0"/>
              </a:p>
            </p:txBody>
          </p:sp>
          <p:sp>
            <p:nvSpPr>
              <p:cNvPr id="363" name="Freeform 362"/>
              <p:cNvSpPr>
                <a:spLocks/>
              </p:cNvSpPr>
              <p:nvPr/>
            </p:nvSpPr>
            <p:spPr bwMode="auto">
              <a:xfrm>
                <a:off x="8172695" y="4526194"/>
                <a:ext cx="137833" cy="510492"/>
              </a:xfrm>
              <a:custGeom>
                <a:avLst/>
                <a:gdLst>
                  <a:gd name="T0" fmla="*/ 54 w 54"/>
                  <a:gd name="T1" fmla="*/ 0 h 200"/>
                  <a:gd name="T2" fmla="*/ 26 w 54"/>
                  <a:gd name="T3" fmla="*/ 0 h 200"/>
                  <a:gd name="T4" fmla="*/ 0 w 54"/>
                  <a:gd name="T5" fmla="*/ 0 h 200"/>
                  <a:gd name="T6" fmla="*/ 28 w 54"/>
                  <a:gd name="T7" fmla="*/ 200 h 200"/>
                  <a:gd name="T8" fmla="*/ 54 w 54"/>
                  <a:gd name="T9" fmla="*/ 0 h 200"/>
                </a:gdLst>
                <a:ahLst/>
                <a:cxnLst>
                  <a:cxn ang="0">
                    <a:pos x="T0" y="T1"/>
                  </a:cxn>
                  <a:cxn ang="0">
                    <a:pos x="T2" y="T3"/>
                  </a:cxn>
                  <a:cxn ang="0">
                    <a:pos x="T4" y="T5"/>
                  </a:cxn>
                  <a:cxn ang="0">
                    <a:pos x="T6" y="T7"/>
                  </a:cxn>
                  <a:cxn ang="0">
                    <a:pos x="T8" y="T9"/>
                  </a:cxn>
                </a:cxnLst>
                <a:rect l="0" t="0" r="r" b="b"/>
                <a:pathLst>
                  <a:path w="54" h="200">
                    <a:moveTo>
                      <a:pt x="54" y="0"/>
                    </a:moveTo>
                    <a:lnTo>
                      <a:pt x="26" y="0"/>
                    </a:lnTo>
                    <a:lnTo>
                      <a:pt x="0" y="0"/>
                    </a:lnTo>
                    <a:lnTo>
                      <a:pt x="28" y="200"/>
                    </a:lnTo>
                    <a:lnTo>
                      <a:pt x="54" y="0"/>
                    </a:lnTo>
                    <a:close/>
                  </a:path>
                </a:pathLst>
              </a:custGeom>
              <a:solidFill>
                <a:schemeClr val="accent2">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IN" dirty="0"/>
              </a:p>
            </p:txBody>
          </p:sp>
          <p:sp>
            <p:nvSpPr>
              <p:cNvPr id="364" name="Freeform 363"/>
              <p:cNvSpPr>
                <a:spLocks/>
              </p:cNvSpPr>
              <p:nvPr/>
            </p:nvSpPr>
            <p:spPr bwMode="auto">
              <a:xfrm>
                <a:off x="8172695" y="4526194"/>
                <a:ext cx="137833" cy="510492"/>
              </a:xfrm>
              <a:custGeom>
                <a:avLst/>
                <a:gdLst>
                  <a:gd name="T0" fmla="*/ 54 w 54"/>
                  <a:gd name="T1" fmla="*/ 0 h 200"/>
                  <a:gd name="T2" fmla="*/ 26 w 54"/>
                  <a:gd name="T3" fmla="*/ 0 h 200"/>
                  <a:gd name="T4" fmla="*/ 0 w 54"/>
                  <a:gd name="T5" fmla="*/ 0 h 200"/>
                  <a:gd name="T6" fmla="*/ 28 w 54"/>
                  <a:gd name="T7" fmla="*/ 200 h 200"/>
                  <a:gd name="T8" fmla="*/ 54 w 54"/>
                  <a:gd name="T9" fmla="*/ 0 h 200"/>
                </a:gdLst>
                <a:ahLst/>
                <a:cxnLst>
                  <a:cxn ang="0">
                    <a:pos x="T0" y="T1"/>
                  </a:cxn>
                  <a:cxn ang="0">
                    <a:pos x="T2" y="T3"/>
                  </a:cxn>
                  <a:cxn ang="0">
                    <a:pos x="T4" y="T5"/>
                  </a:cxn>
                  <a:cxn ang="0">
                    <a:pos x="T6" y="T7"/>
                  </a:cxn>
                  <a:cxn ang="0">
                    <a:pos x="T8" y="T9"/>
                  </a:cxn>
                </a:cxnLst>
                <a:rect l="0" t="0" r="r" b="b"/>
                <a:pathLst>
                  <a:path w="54" h="200">
                    <a:moveTo>
                      <a:pt x="54" y="0"/>
                    </a:moveTo>
                    <a:lnTo>
                      <a:pt x="26" y="0"/>
                    </a:lnTo>
                    <a:lnTo>
                      <a:pt x="0" y="0"/>
                    </a:lnTo>
                    <a:lnTo>
                      <a:pt x="28" y="200"/>
                    </a:lnTo>
                    <a:lnTo>
                      <a:pt x="5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IN" dirty="0"/>
              </a:p>
            </p:txBody>
          </p:sp>
          <p:sp>
            <p:nvSpPr>
              <p:cNvPr id="365" name="Freeform 364"/>
              <p:cNvSpPr>
                <a:spLocks/>
              </p:cNvSpPr>
              <p:nvPr/>
            </p:nvSpPr>
            <p:spPr bwMode="auto">
              <a:xfrm>
                <a:off x="8208431" y="4526194"/>
                <a:ext cx="66364" cy="96994"/>
              </a:xfrm>
              <a:custGeom>
                <a:avLst/>
                <a:gdLst>
                  <a:gd name="T0" fmla="*/ 0 w 26"/>
                  <a:gd name="T1" fmla="*/ 24 h 38"/>
                  <a:gd name="T2" fmla="*/ 3 w 26"/>
                  <a:gd name="T3" fmla="*/ 38 h 38"/>
                  <a:gd name="T4" fmla="*/ 21 w 26"/>
                  <a:gd name="T5" fmla="*/ 38 h 38"/>
                  <a:gd name="T6" fmla="*/ 26 w 26"/>
                  <a:gd name="T7" fmla="*/ 18 h 38"/>
                  <a:gd name="T8" fmla="*/ 12 w 26"/>
                  <a:gd name="T9" fmla="*/ 0 h 38"/>
                  <a:gd name="T10" fmla="*/ 0 w 26"/>
                  <a:gd name="T11" fmla="*/ 24 h 38"/>
                </a:gdLst>
                <a:ahLst/>
                <a:cxnLst>
                  <a:cxn ang="0">
                    <a:pos x="T0" y="T1"/>
                  </a:cxn>
                  <a:cxn ang="0">
                    <a:pos x="T2" y="T3"/>
                  </a:cxn>
                  <a:cxn ang="0">
                    <a:pos x="T4" y="T5"/>
                  </a:cxn>
                  <a:cxn ang="0">
                    <a:pos x="T6" y="T7"/>
                  </a:cxn>
                  <a:cxn ang="0">
                    <a:pos x="T8" y="T9"/>
                  </a:cxn>
                  <a:cxn ang="0">
                    <a:pos x="T10" y="T11"/>
                  </a:cxn>
                </a:cxnLst>
                <a:rect l="0" t="0" r="r" b="b"/>
                <a:pathLst>
                  <a:path w="26" h="38">
                    <a:moveTo>
                      <a:pt x="0" y="24"/>
                    </a:moveTo>
                    <a:lnTo>
                      <a:pt x="3" y="38"/>
                    </a:lnTo>
                    <a:lnTo>
                      <a:pt x="21" y="38"/>
                    </a:lnTo>
                    <a:lnTo>
                      <a:pt x="26" y="18"/>
                    </a:lnTo>
                    <a:lnTo>
                      <a:pt x="12" y="0"/>
                    </a:lnTo>
                    <a:lnTo>
                      <a:pt x="0" y="24"/>
                    </a:lnTo>
                    <a:close/>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IN" dirty="0"/>
              </a:p>
            </p:txBody>
          </p:sp>
          <p:sp>
            <p:nvSpPr>
              <p:cNvPr id="366" name="Freeform 365"/>
              <p:cNvSpPr>
                <a:spLocks/>
              </p:cNvSpPr>
              <p:nvPr/>
            </p:nvSpPr>
            <p:spPr bwMode="auto">
              <a:xfrm>
                <a:off x="8198220" y="4623188"/>
                <a:ext cx="84233" cy="413500"/>
              </a:xfrm>
              <a:custGeom>
                <a:avLst/>
                <a:gdLst>
                  <a:gd name="T0" fmla="*/ 25 w 33"/>
                  <a:gd name="T1" fmla="*/ 0 h 162"/>
                  <a:gd name="T2" fmla="*/ 7 w 33"/>
                  <a:gd name="T3" fmla="*/ 0 h 162"/>
                  <a:gd name="T4" fmla="*/ 0 w 33"/>
                  <a:gd name="T5" fmla="*/ 40 h 162"/>
                  <a:gd name="T6" fmla="*/ 18 w 33"/>
                  <a:gd name="T7" fmla="*/ 162 h 162"/>
                  <a:gd name="T8" fmla="*/ 33 w 33"/>
                  <a:gd name="T9" fmla="*/ 47 h 162"/>
                  <a:gd name="T10" fmla="*/ 25 w 33"/>
                  <a:gd name="T11" fmla="*/ 0 h 162"/>
                </a:gdLst>
                <a:ahLst/>
                <a:cxnLst>
                  <a:cxn ang="0">
                    <a:pos x="T0" y="T1"/>
                  </a:cxn>
                  <a:cxn ang="0">
                    <a:pos x="T2" y="T3"/>
                  </a:cxn>
                  <a:cxn ang="0">
                    <a:pos x="T4" y="T5"/>
                  </a:cxn>
                  <a:cxn ang="0">
                    <a:pos x="T6" y="T7"/>
                  </a:cxn>
                  <a:cxn ang="0">
                    <a:pos x="T8" y="T9"/>
                  </a:cxn>
                  <a:cxn ang="0">
                    <a:pos x="T10" y="T11"/>
                  </a:cxn>
                </a:cxnLst>
                <a:rect l="0" t="0" r="r" b="b"/>
                <a:pathLst>
                  <a:path w="33" h="162">
                    <a:moveTo>
                      <a:pt x="25" y="0"/>
                    </a:moveTo>
                    <a:lnTo>
                      <a:pt x="7" y="0"/>
                    </a:lnTo>
                    <a:lnTo>
                      <a:pt x="0" y="40"/>
                    </a:lnTo>
                    <a:lnTo>
                      <a:pt x="18" y="162"/>
                    </a:lnTo>
                    <a:lnTo>
                      <a:pt x="33" y="47"/>
                    </a:lnTo>
                    <a:lnTo>
                      <a:pt x="25" y="0"/>
                    </a:lnTo>
                    <a:close/>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IN" dirty="0"/>
              </a:p>
            </p:txBody>
          </p:sp>
          <p:sp>
            <p:nvSpPr>
              <p:cNvPr id="367" name="Freeform 366"/>
              <p:cNvSpPr>
                <a:spLocks/>
              </p:cNvSpPr>
              <p:nvPr/>
            </p:nvSpPr>
            <p:spPr bwMode="auto">
              <a:xfrm>
                <a:off x="8172695" y="4472592"/>
                <a:ext cx="68918" cy="132727"/>
              </a:xfrm>
              <a:custGeom>
                <a:avLst/>
                <a:gdLst>
                  <a:gd name="T0" fmla="*/ 27 w 27"/>
                  <a:gd name="T1" fmla="*/ 21 h 52"/>
                  <a:gd name="T2" fmla="*/ 9 w 27"/>
                  <a:gd name="T3" fmla="*/ 52 h 52"/>
                  <a:gd name="T4" fmla="*/ 0 w 27"/>
                  <a:gd name="T5" fmla="*/ 21 h 52"/>
                  <a:gd name="T6" fmla="*/ 0 w 27"/>
                  <a:gd name="T7" fmla="*/ 0 h 52"/>
                  <a:gd name="T8" fmla="*/ 27 w 27"/>
                  <a:gd name="T9" fmla="*/ 21 h 52"/>
                </a:gdLst>
                <a:ahLst/>
                <a:cxnLst>
                  <a:cxn ang="0">
                    <a:pos x="T0" y="T1"/>
                  </a:cxn>
                  <a:cxn ang="0">
                    <a:pos x="T2" y="T3"/>
                  </a:cxn>
                  <a:cxn ang="0">
                    <a:pos x="T4" y="T5"/>
                  </a:cxn>
                  <a:cxn ang="0">
                    <a:pos x="T6" y="T7"/>
                  </a:cxn>
                  <a:cxn ang="0">
                    <a:pos x="T8" y="T9"/>
                  </a:cxn>
                </a:cxnLst>
                <a:rect l="0" t="0" r="r" b="b"/>
                <a:pathLst>
                  <a:path w="27" h="52">
                    <a:moveTo>
                      <a:pt x="27" y="21"/>
                    </a:moveTo>
                    <a:lnTo>
                      <a:pt x="9" y="52"/>
                    </a:lnTo>
                    <a:lnTo>
                      <a:pt x="0" y="21"/>
                    </a:lnTo>
                    <a:lnTo>
                      <a:pt x="0" y="0"/>
                    </a:lnTo>
                    <a:lnTo>
                      <a:pt x="27" y="2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IN" dirty="0"/>
              </a:p>
            </p:txBody>
          </p:sp>
          <p:sp>
            <p:nvSpPr>
              <p:cNvPr id="368" name="Freeform 367"/>
              <p:cNvSpPr>
                <a:spLocks/>
              </p:cNvSpPr>
              <p:nvPr/>
            </p:nvSpPr>
            <p:spPr bwMode="auto">
              <a:xfrm>
                <a:off x="8239058" y="4472592"/>
                <a:ext cx="71470" cy="132727"/>
              </a:xfrm>
              <a:custGeom>
                <a:avLst/>
                <a:gdLst>
                  <a:gd name="T0" fmla="*/ 0 w 28"/>
                  <a:gd name="T1" fmla="*/ 21 h 52"/>
                  <a:gd name="T2" fmla="*/ 20 w 28"/>
                  <a:gd name="T3" fmla="*/ 52 h 52"/>
                  <a:gd name="T4" fmla="*/ 28 w 28"/>
                  <a:gd name="T5" fmla="*/ 21 h 52"/>
                  <a:gd name="T6" fmla="*/ 28 w 28"/>
                  <a:gd name="T7" fmla="*/ 0 h 52"/>
                  <a:gd name="T8" fmla="*/ 0 w 28"/>
                  <a:gd name="T9" fmla="*/ 21 h 52"/>
                </a:gdLst>
                <a:ahLst/>
                <a:cxnLst>
                  <a:cxn ang="0">
                    <a:pos x="T0" y="T1"/>
                  </a:cxn>
                  <a:cxn ang="0">
                    <a:pos x="T2" y="T3"/>
                  </a:cxn>
                  <a:cxn ang="0">
                    <a:pos x="T4" y="T5"/>
                  </a:cxn>
                  <a:cxn ang="0">
                    <a:pos x="T6" y="T7"/>
                  </a:cxn>
                  <a:cxn ang="0">
                    <a:pos x="T8" y="T9"/>
                  </a:cxn>
                </a:cxnLst>
                <a:rect l="0" t="0" r="r" b="b"/>
                <a:pathLst>
                  <a:path w="28" h="52">
                    <a:moveTo>
                      <a:pt x="0" y="21"/>
                    </a:moveTo>
                    <a:lnTo>
                      <a:pt x="20" y="52"/>
                    </a:lnTo>
                    <a:lnTo>
                      <a:pt x="28" y="21"/>
                    </a:lnTo>
                    <a:lnTo>
                      <a:pt x="28" y="0"/>
                    </a:lnTo>
                    <a:lnTo>
                      <a:pt x="0" y="2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IN" dirty="0"/>
              </a:p>
            </p:txBody>
          </p:sp>
          <p:sp>
            <p:nvSpPr>
              <p:cNvPr id="369" name="Freeform 368"/>
              <p:cNvSpPr>
                <a:spLocks/>
              </p:cNvSpPr>
              <p:nvPr/>
            </p:nvSpPr>
            <p:spPr bwMode="auto">
              <a:xfrm>
                <a:off x="8951198" y="3597098"/>
                <a:ext cx="145490" cy="283324"/>
              </a:xfrm>
              <a:custGeom>
                <a:avLst/>
                <a:gdLst>
                  <a:gd name="T0" fmla="*/ 65 w 65"/>
                  <a:gd name="T1" fmla="*/ 91 h 126"/>
                  <a:gd name="T2" fmla="*/ 33 w 65"/>
                  <a:gd name="T3" fmla="*/ 59 h 126"/>
                  <a:gd name="T4" fmla="*/ 21 w 65"/>
                  <a:gd name="T5" fmla="*/ 61 h 126"/>
                  <a:gd name="T6" fmla="*/ 21 w 65"/>
                  <a:gd name="T7" fmla="*/ 11 h 126"/>
                  <a:gd name="T8" fmla="*/ 21 w 65"/>
                  <a:gd name="T9" fmla="*/ 11 h 126"/>
                  <a:gd name="T10" fmla="*/ 21 w 65"/>
                  <a:gd name="T11" fmla="*/ 11 h 126"/>
                  <a:gd name="T12" fmla="*/ 11 w 65"/>
                  <a:gd name="T13" fmla="*/ 0 h 126"/>
                  <a:gd name="T14" fmla="*/ 0 w 65"/>
                  <a:gd name="T15" fmla="*/ 11 h 126"/>
                  <a:gd name="T16" fmla="*/ 0 w 65"/>
                  <a:gd name="T17" fmla="*/ 11 h 126"/>
                  <a:gd name="T18" fmla="*/ 0 w 65"/>
                  <a:gd name="T19" fmla="*/ 11 h 126"/>
                  <a:gd name="T20" fmla="*/ 0 w 65"/>
                  <a:gd name="T21" fmla="*/ 126 h 126"/>
                  <a:gd name="T22" fmla="*/ 65 w 65"/>
                  <a:gd name="T23" fmla="*/ 126 h 126"/>
                  <a:gd name="T24" fmla="*/ 65 w 65"/>
                  <a:gd name="T25" fmla="*/ 92 h 126"/>
                  <a:gd name="T26" fmla="*/ 65 w 65"/>
                  <a:gd name="T27" fmla="*/ 92 h 126"/>
                  <a:gd name="T28" fmla="*/ 65 w 65"/>
                  <a:gd name="T29" fmla="*/ 91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5" h="126">
                    <a:moveTo>
                      <a:pt x="65" y="91"/>
                    </a:moveTo>
                    <a:cubicBezTo>
                      <a:pt x="65" y="73"/>
                      <a:pt x="51" y="59"/>
                      <a:pt x="33" y="59"/>
                    </a:cubicBezTo>
                    <a:cubicBezTo>
                      <a:pt x="29" y="59"/>
                      <a:pt x="25" y="59"/>
                      <a:pt x="21" y="61"/>
                    </a:cubicBezTo>
                    <a:cubicBezTo>
                      <a:pt x="21" y="11"/>
                      <a:pt x="21" y="11"/>
                      <a:pt x="21" y="11"/>
                    </a:cubicBezTo>
                    <a:cubicBezTo>
                      <a:pt x="21" y="11"/>
                      <a:pt x="21" y="11"/>
                      <a:pt x="21" y="11"/>
                    </a:cubicBezTo>
                    <a:cubicBezTo>
                      <a:pt x="21" y="11"/>
                      <a:pt x="21" y="11"/>
                      <a:pt x="21" y="11"/>
                    </a:cubicBezTo>
                    <a:cubicBezTo>
                      <a:pt x="21" y="5"/>
                      <a:pt x="17" y="0"/>
                      <a:pt x="11" y="0"/>
                    </a:cubicBezTo>
                    <a:cubicBezTo>
                      <a:pt x="5" y="0"/>
                      <a:pt x="0" y="5"/>
                      <a:pt x="0" y="11"/>
                    </a:cubicBezTo>
                    <a:cubicBezTo>
                      <a:pt x="0" y="11"/>
                      <a:pt x="0" y="11"/>
                      <a:pt x="0" y="11"/>
                    </a:cubicBezTo>
                    <a:cubicBezTo>
                      <a:pt x="0" y="11"/>
                      <a:pt x="0" y="11"/>
                      <a:pt x="0" y="11"/>
                    </a:cubicBezTo>
                    <a:cubicBezTo>
                      <a:pt x="0" y="126"/>
                      <a:pt x="0" y="126"/>
                      <a:pt x="0" y="126"/>
                    </a:cubicBezTo>
                    <a:cubicBezTo>
                      <a:pt x="65" y="126"/>
                      <a:pt x="65" y="126"/>
                      <a:pt x="65" y="126"/>
                    </a:cubicBezTo>
                    <a:cubicBezTo>
                      <a:pt x="65" y="92"/>
                      <a:pt x="65" y="92"/>
                      <a:pt x="65" y="92"/>
                    </a:cubicBezTo>
                    <a:cubicBezTo>
                      <a:pt x="65" y="92"/>
                      <a:pt x="65" y="92"/>
                      <a:pt x="65" y="92"/>
                    </a:cubicBezTo>
                    <a:cubicBezTo>
                      <a:pt x="65" y="92"/>
                      <a:pt x="65" y="91"/>
                      <a:pt x="65" y="91"/>
                    </a:cubicBezTo>
                    <a:close/>
                  </a:path>
                </a:pathLst>
              </a:custGeom>
              <a:solidFill>
                <a:srgbClr val="FF8C00"/>
              </a:solidFill>
              <a:ln>
                <a:noFill/>
              </a:ln>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IN" dirty="0"/>
              </a:p>
            </p:txBody>
          </p:sp>
          <p:sp>
            <p:nvSpPr>
              <p:cNvPr id="370" name="Freeform 369"/>
              <p:cNvSpPr>
                <a:spLocks/>
              </p:cNvSpPr>
              <p:nvPr/>
            </p:nvSpPr>
            <p:spPr bwMode="auto">
              <a:xfrm>
                <a:off x="8369239" y="4046331"/>
                <a:ext cx="117412" cy="171016"/>
              </a:xfrm>
              <a:custGeom>
                <a:avLst/>
                <a:gdLst>
                  <a:gd name="T0" fmla="*/ 0 w 46"/>
                  <a:gd name="T1" fmla="*/ 0 h 67"/>
                  <a:gd name="T2" fmla="*/ 46 w 46"/>
                  <a:gd name="T3" fmla="*/ 51 h 67"/>
                  <a:gd name="T4" fmla="*/ 13 w 46"/>
                  <a:gd name="T5" fmla="*/ 67 h 67"/>
                  <a:gd name="T6" fmla="*/ 0 w 46"/>
                  <a:gd name="T7" fmla="*/ 0 h 67"/>
                </a:gdLst>
                <a:ahLst/>
                <a:cxnLst>
                  <a:cxn ang="0">
                    <a:pos x="T0" y="T1"/>
                  </a:cxn>
                  <a:cxn ang="0">
                    <a:pos x="T2" y="T3"/>
                  </a:cxn>
                  <a:cxn ang="0">
                    <a:pos x="T4" y="T5"/>
                  </a:cxn>
                  <a:cxn ang="0">
                    <a:pos x="T6" y="T7"/>
                  </a:cxn>
                </a:cxnLst>
                <a:rect l="0" t="0" r="r" b="b"/>
                <a:pathLst>
                  <a:path w="46" h="67">
                    <a:moveTo>
                      <a:pt x="0" y="0"/>
                    </a:moveTo>
                    <a:lnTo>
                      <a:pt x="46" y="51"/>
                    </a:lnTo>
                    <a:lnTo>
                      <a:pt x="13" y="67"/>
                    </a:lnTo>
                    <a:lnTo>
                      <a:pt x="0" y="0"/>
                    </a:lnTo>
                    <a:close/>
                  </a:path>
                </a:pathLst>
              </a:custGeom>
              <a:solidFill>
                <a:srgbClr val="FF8C00"/>
              </a:solidFill>
              <a:ln>
                <a:noFill/>
              </a:ln>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IN" dirty="0"/>
              </a:p>
            </p:txBody>
          </p:sp>
          <p:sp>
            <p:nvSpPr>
              <p:cNvPr id="371" name="Freeform 370"/>
              <p:cNvSpPr>
                <a:spLocks/>
              </p:cNvSpPr>
              <p:nvPr/>
            </p:nvSpPr>
            <p:spPr bwMode="auto">
              <a:xfrm>
                <a:off x="8052732" y="3941682"/>
                <a:ext cx="449233" cy="459443"/>
              </a:xfrm>
              <a:custGeom>
                <a:avLst/>
                <a:gdLst>
                  <a:gd name="T0" fmla="*/ 0 w 199"/>
                  <a:gd name="T1" fmla="*/ 57 h 204"/>
                  <a:gd name="T2" fmla="*/ 40 w 199"/>
                  <a:gd name="T3" fmla="*/ 142 h 204"/>
                  <a:gd name="T4" fmla="*/ 40 w 199"/>
                  <a:gd name="T5" fmla="*/ 142 h 204"/>
                  <a:gd name="T6" fmla="*/ 199 w 199"/>
                  <a:gd name="T7" fmla="*/ 167 h 204"/>
                  <a:gd name="T8" fmla="*/ 196 w 199"/>
                  <a:gd name="T9" fmla="*/ 161 h 204"/>
                  <a:gd name="T10" fmla="*/ 173 w 199"/>
                  <a:gd name="T11" fmla="*/ 113 h 204"/>
                  <a:gd name="T12" fmla="*/ 144 w 199"/>
                  <a:gd name="T13" fmla="*/ 53 h 204"/>
                  <a:gd name="T14" fmla="*/ 119 w 199"/>
                  <a:gd name="T15" fmla="*/ 0 h 204"/>
                  <a:gd name="T16" fmla="*/ 0 w 199"/>
                  <a:gd name="T17" fmla="*/ 57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9" h="204">
                    <a:moveTo>
                      <a:pt x="0" y="57"/>
                    </a:moveTo>
                    <a:cubicBezTo>
                      <a:pt x="40" y="142"/>
                      <a:pt x="40" y="142"/>
                      <a:pt x="40" y="142"/>
                    </a:cubicBezTo>
                    <a:cubicBezTo>
                      <a:pt x="40" y="142"/>
                      <a:pt x="40" y="142"/>
                      <a:pt x="40" y="142"/>
                    </a:cubicBezTo>
                    <a:cubicBezTo>
                      <a:pt x="74" y="204"/>
                      <a:pt x="135" y="198"/>
                      <a:pt x="199" y="167"/>
                    </a:cubicBezTo>
                    <a:cubicBezTo>
                      <a:pt x="196" y="161"/>
                      <a:pt x="196" y="161"/>
                      <a:pt x="196" y="161"/>
                    </a:cubicBezTo>
                    <a:cubicBezTo>
                      <a:pt x="173" y="113"/>
                      <a:pt x="173" y="113"/>
                      <a:pt x="173" y="113"/>
                    </a:cubicBezTo>
                    <a:cubicBezTo>
                      <a:pt x="144" y="53"/>
                      <a:pt x="144" y="53"/>
                      <a:pt x="144" y="53"/>
                    </a:cubicBezTo>
                    <a:cubicBezTo>
                      <a:pt x="119" y="0"/>
                      <a:pt x="119" y="0"/>
                      <a:pt x="119" y="0"/>
                    </a:cubicBezTo>
                    <a:cubicBezTo>
                      <a:pt x="0" y="57"/>
                      <a:pt x="0" y="57"/>
                      <a:pt x="0" y="57"/>
                    </a:cubicBezTo>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IN" dirty="0"/>
              </a:p>
            </p:txBody>
          </p:sp>
          <p:sp>
            <p:nvSpPr>
              <p:cNvPr id="372" name="Freeform 371"/>
              <p:cNvSpPr>
                <a:spLocks/>
              </p:cNvSpPr>
              <p:nvPr/>
            </p:nvSpPr>
            <p:spPr bwMode="auto">
              <a:xfrm>
                <a:off x="8302872" y="4105040"/>
                <a:ext cx="28078" cy="28078"/>
              </a:xfrm>
              <a:custGeom>
                <a:avLst/>
                <a:gdLst>
                  <a:gd name="T0" fmla="*/ 11 w 12"/>
                  <a:gd name="T1" fmla="*/ 3 h 12"/>
                  <a:gd name="T2" fmla="*/ 9 w 12"/>
                  <a:gd name="T3" fmla="*/ 10 h 12"/>
                  <a:gd name="T4" fmla="*/ 2 w 12"/>
                  <a:gd name="T5" fmla="*/ 8 h 12"/>
                  <a:gd name="T6" fmla="*/ 4 w 12"/>
                  <a:gd name="T7" fmla="*/ 1 h 12"/>
                  <a:gd name="T8" fmla="*/ 11 w 12"/>
                  <a:gd name="T9" fmla="*/ 3 h 12"/>
                </a:gdLst>
                <a:ahLst/>
                <a:cxnLst>
                  <a:cxn ang="0">
                    <a:pos x="T0" y="T1"/>
                  </a:cxn>
                  <a:cxn ang="0">
                    <a:pos x="T2" y="T3"/>
                  </a:cxn>
                  <a:cxn ang="0">
                    <a:pos x="T4" y="T5"/>
                  </a:cxn>
                  <a:cxn ang="0">
                    <a:pos x="T6" y="T7"/>
                  </a:cxn>
                  <a:cxn ang="0">
                    <a:pos x="T8" y="T9"/>
                  </a:cxn>
                </a:cxnLst>
                <a:rect l="0" t="0" r="r" b="b"/>
                <a:pathLst>
                  <a:path w="12" h="12">
                    <a:moveTo>
                      <a:pt x="11" y="3"/>
                    </a:moveTo>
                    <a:cubicBezTo>
                      <a:pt x="12" y="6"/>
                      <a:pt x="11" y="9"/>
                      <a:pt x="9" y="10"/>
                    </a:cubicBezTo>
                    <a:cubicBezTo>
                      <a:pt x="6" y="12"/>
                      <a:pt x="3" y="11"/>
                      <a:pt x="2" y="8"/>
                    </a:cubicBezTo>
                    <a:cubicBezTo>
                      <a:pt x="0" y="5"/>
                      <a:pt x="1" y="2"/>
                      <a:pt x="4" y="1"/>
                    </a:cubicBezTo>
                    <a:cubicBezTo>
                      <a:pt x="7" y="0"/>
                      <a:pt x="10" y="1"/>
                      <a:pt x="11" y="3"/>
                    </a:cubicBezTo>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IN" dirty="0"/>
              </a:p>
            </p:txBody>
          </p:sp>
          <p:sp>
            <p:nvSpPr>
              <p:cNvPr id="373" name="Freeform 372"/>
              <p:cNvSpPr>
                <a:spLocks/>
              </p:cNvSpPr>
              <p:nvPr/>
            </p:nvSpPr>
            <p:spPr bwMode="auto">
              <a:xfrm>
                <a:off x="7948081" y="3857451"/>
                <a:ext cx="380317" cy="456893"/>
              </a:xfrm>
              <a:custGeom>
                <a:avLst/>
                <a:gdLst>
                  <a:gd name="T0" fmla="*/ 166 w 169"/>
                  <a:gd name="T1" fmla="*/ 37 h 203"/>
                  <a:gd name="T2" fmla="*/ 165 w 169"/>
                  <a:gd name="T3" fmla="*/ 37 h 203"/>
                  <a:gd name="T4" fmla="*/ 166 w 169"/>
                  <a:gd name="T5" fmla="*/ 37 h 203"/>
                  <a:gd name="T6" fmla="*/ 81 w 169"/>
                  <a:gd name="T7" fmla="*/ 28 h 203"/>
                  <a:gd name="T8" fmla="*/ 61 w 169"/>
                  <a:gd name="T9" fmla="*/ 45 h 203"/>
                  <a:gd name="T10" fmla="*/ 43 w 169"/>
                  <a:gd name="T11" fmla="*/ 59 h 203"/>
                  <a:gd name="T12" fmla="*/ 43 w 169"/>
                  <a:gd name="T13" fmla="*/ 85 h 203"/>
                  <a:gd name="T14" fmla="*/ 104 w 169"/>
                  <a:gd name="T15" fmla="*/ 203 h 203"/>
                  <a:gd name="T16" fmla="*/ 101 w 169"/>
                  <a:gd name="T17" fmla="*/ 118 h 203"/>
                  <a:gd name="T18" fmla="*/ 103 w 169"/>
                  <a:gd name="T19" fmla="*/ 114 h 203"/>
                  <a:gd name="T20" fmla="*/ 131 w 169"/>
                  <a:gd name="T21" fmla="*/ 91 h 203"/>
                  <a:gd name="T22" fmla="*/ 166 w 169"/>
                  <a:gd name="T23" fmla="*/ 37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9" h="203">
                    <a:moveTo>
                      <a:pt x="166" y="37"/>
                    </a:moveTo>
                    <a:cubicBezTo>
                      <a:pt x="165" y="37"/>
                      <a:pt x="165" y="37"/>
                      <a:pt x="165" y="37"/>
                    </a:cubicBezTo>
                    <a:cubicBezTo>
                      <a:pt x="166" y="37"/>
                      <a:pt x="166" y="37"/>
                      <a:pt x="166" y="37"/>
                    </a:cubicBezTo>
                    <a:cubicBezTo>
                      <a:pt x="152" y="4"/>
                      <a:pt x="99" y="0"/>
                      <a:pt x="81" y="28"/>
                    </a:cubicBezTo>
                    <a:cubicBezTo>
                      <a:pt x="75" y="36"/>
                      <a:pt x="70" y="40"/>
                      <a:pt x="61" y="45"/>
                    </a:cubicBezTo>
                    <a:cubicBezTo>
                      <a:pt x="53" y="49"/>
                      <a:pt x="48" y="52"/>
                      <a:pt x="43" y="59"/>
                    </a:cubicBezTo>
                    <a:cubicBezTo>
                      <a:pt x="39" y="65"/>
                      <a:pt x="40" y="76"/>
                      <a:pt x="43" y="85"/>
                    </a:cubicBezTo>
                    <a:cubicBezTo>
                      <a:pt x="0" y="111"/>
                      <a:pt x="104" y="203"/>
                      <a:pt x="104" y="203"/>
                    </a:cubicBezTo>
                    <a:cubicBezTo>
                      <a:pt x="126" y="167"/>
                      <a:pt x="101" y="118"/>
                      <a:pt x="101" y="118"/>
                    </a:cubicBezTo>
                    <a:cubicBezTo>
                      <a:pt x="102" y="117"/>
                      <a:pt x="103" y="115"/>
                      <a:pt x="103" y="114"/>
                    </a:cubicBezTo>
                    <a:cubicBezTo>
                      <a:pt x="109" y="99"/>
                      <a:pt x="117" y="98"/>
                      <a:pt x="131" y="91"/>
                    </a:cubicBezTo>
                    <a:cubicBezTo>
                      <a:pt x="147" y="82"/>
                      <a:pt x="169" y="57"/>
                      <a:pt x="166" y="37"/>
                    </a:cubicBezTo>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IN" dirty="0"/>
              </a:p>
            </p:txBody>
          </p:sp>
          <p:sp>
            <p:nvSpPr>
              <p:cNvPr id="374" name="Freeform 373"/>
              <p:cNvSpPr>
                <a:spLocks/>
              </p:cNvSpPr>
              <p:nvPr/>
            </p:nvSpPr>
            <p:spPr bwMode="auto">
              <a:xfrm>
                <a:off x="8129306" y="4122905"/>
                <a:ext cx="104651" cy="137833"/>
              </a:xfrm>
              <a:custGeom>
                <a:avLst/>
                <a:gdLst>
                  <a:gd name="T0" fmla="*/ 21 w 46"/>
                  <a:gd name="T1" fmla="*/ 0 h 61"/>
                  <a:gd name="T2" fmla="*/ 7 w 46"/>
                  <a:gd name="T3" fmla="*/ 40 h 61"/>
                  <a:gd name="T4" fmla="*/ 46 w 46"/>
                  <a:gd name="T5" fmla="*/ 53 h 61"/>
                  <a:gd name="T6" fmla="*/ 21 w 46"/>
                  <a:gd name="T7" fmla="*/ 0 h 61"/>
                </a:gdLst>
                <a:ahLst/>
                <a:cxnLst>
                  <a:cxn ang="0">
                    <a:pos x="T0" y="T1"/>
                  </a:cxn>
                  <a:cxn ang="0">
                    <a:pos x="T2" y="T3"/>
                  </a:cxn>
                  <a:cxn ang="0">
                    <a:pos x="T4" y="T5"/>
                  </a:cxn>
                  <a:cxn ang="0">
                    <a:pos x="T6" y="T7"/>
                  </a:cxn>
                </a:cxnLst>
                <a:rect l="0" t="0" r="r" b="b"/>
                <a:pathLst>
                  <a:path w="46" h="61">
                    <a:moveTo>
                      <a:pt x="21" y="0"/>
                    </a:moveTo>
                    <a:cubicBezTo>
                      <a:pt x="6" y="7"/>
                      <a:pt x="0" y="25"/>
                      <a:pt x="7" y="40"/>
                    </a:cubicBezTo>
                    <a:cubicBezTo>
                      <a:pt x="14" y="54"/>
                      <a:pt x="32" y="61"/>
                      <a:pt x="46" y="53"/>
                    </a:cubicBezTo>
                    <a:cubicBezTo>
                      <a:pt x="21" y="0"/>
                      <a:pt x="21" y="0"/>
                      <a:pt x="21" y="0"/>
                    </a:cubicBezTo>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IN" dirty="0"/>
              </a:p>
            </p:txBody>
          </p:sp>
          <p:sp>
            <p:nvSpPr>
              <p:cNvPr id="375" name="Freeform 374"/>
              <p:cNvSpPr>
                <a:spLocks/>
              </p:cNvSpPr>
              <p:nvPr/>
            </p:nvSpPr>
            <p:spPr bwMode="auto">
              <a:xfrm>
                <a:off x="8190563" y="4153536"/>
                <a:ext cx="28078" cy="61258"/>
              </a:xfrm>
              <a:custGeom>
                <a:avLst/>
                <a:gdLst>
                  <a:gd name="T0" fmla="*/ 0 w 13"/>
                  <a:gd name="T1" fmla="*/ 0 h 27"/>
                  <a:gd name="T2" fmla="*/ 0 w 13"/>
                  <a:gd name="T3" fmla="*/ 0 h 27"/>
                  <a:gd name="T4" fmla="*/ 13 w 13"/>
                  <a:gd name="T5" fmla="*/ 27 h 27"/>
                  <a:gd name="T6" fmla="*/ 13 w 13"/>
                  <a:gd name="T7" fmla="*/ 27 h 27"/>
                  <a:gd name="T8" fmla="*/ 0 w 13"/>
                  <a:gd name="T9" fmla="*/ 0 h 27"/>
                </a:gdLst>
                <a:ahLst/>
                <a:cxnLst>
                  <a:cxn ang="0">
                    <a:pos x="T0" y="T1"/>
                  </a:cxn>
                  <a:cxn ang="0">
                    <a:pos x="T2" y="T3"/>
                  </a:cxn>
                  <a:cxn ang="0">
                    <a:pos x="T4" y="T5"/>
                  </a:cxn>
                  <a:cxn ang="0">
                    <a:pos x="T6" y="T7"/>
                  </a:cxn>
                  <a:cxn ang="0">
                    <a:pos x="T8" y="T9"/>
                  </a:cxn>
                </a:cxnLst>
                <a:rect l="0" t="0" r="r" b="b"/>
                <a:pathLst>
                  <a:path w="13" h="27">
                    <a:moveTo>
                      <a:pt x="0" y="0"/>
                    </a:moveTo>
                    <a:cubicBezTo>
                      <a:pt x="0" y="0"/>
                      <a:pt x="0" y="0"/>
                      <a:pt x="0" y="0"/>
                    </a:cubicBezTo>
                    <a:cubicBezTo>
                      <a:pt x="13" y="27"/>
                      <a:pt x="13" y="27"/>
                      <a:pt x="13" y="27"/>
                    </a:cubicBezTo>
                    <a:cubicBezTo>
                      <a:pt x="13" y="27"/>
                      <a:pt x="13" y="27"/>
                      <a:pt x="13" y="27"/>
                    </a:cubicBezTo>
                    <a:cubicBezTo>
                      <a:pt x="0" y="0"/>
                      <a:pt x="0" y="0"/>
                      <a:pt x="0" y="0"/>
                    </a:cubicBezTo>
                  </a:path>
                </a:pathLst>
              </a:custGeom>
              <a:solidFill>
                <a:srgbClr val="D977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IN" dirty="0"/>
              </a:p>
            </p:txBody>
          </p:sp>
          <p:sp>
            <p:nvSpPr>
              <p:cNvPr id="376" name="Freeform 375"/>
              <p:cNvSpPr>
                <a:spLocks/>
              </p:cNvSpPr>
              <p:nvPr/>
            </p:nvSpPr>
            <p:spPr bwMode="auto">
              <a:xfrm>
                <a:off x="8167593" y="4153536"/>
                <a:ext cx="51049" cy="63813"/>
              </a:xfrm>
              <a:custGeom>
                <a:avLst/>
                <a:gdLst>
                  <a:gd name="T0" fmla="*/ 10 w 23"/>
                  <a:gd name="T1" fmla="*/ 0 h 28"/>
                  <a:gd name="T2" fmla="*/ 3 w 23"/>
                  <a:gd name="T3" fmla="*/ 20 h 28"/>
                  <a:gd name="T4" fmla="*/ 17 w 23"/>
                  <a:gd name="T5" fmla="*/ 28 h 28"/>
                  <a:gd name="T6" fmla="*/ 23 w 23"/>
                  <a:gd name="T7" fmla="*/ 27 h 28"/>
                  <a:gd name="T8" fmla="*/ 10 w 23"/>
                  <a:gd name="T9" fmla="*/ 0 h 28"/>
                </a:gdLst>
                <a:ahLst/>
                <a:cxnLst>
                  <a:cxn ang="0">
                    <a:pos x="T0" y="T1"/>
                  </a:cxn>
                  <a:cxn ang="0">
                    <a:pos x="T2" y="T3"/>
                  </a:cxn>
                  <a:cxn ang="0">
                    <a:pos x="T4" y="T5"/>
                  </a:cxn>
                  <a:cxn ang="0">
                    <a:pos x="T6" y="T7"/>
                  </a:cxn>
                  <a:cxn ang="0">
                    <a:pos x="T8" y="T9"/>
                  </a:cxn>
                </a:cxnLst>
                <a:rect l="0" t="0" r="r" b="b"/>
                <a:pathLst>
                  <a:path w="23" h="28">
                    <a:moveTo>
                      <a:pt x="10" y="0"/>
                    </a:moveTo>
                    <a:cubicBezTo>
                      <a:pt x="3" y="4"/>
                      <a:pt x="0" y="13"/>
                      <a:pt x="3" y="20"/>
                    </a:cubicBezTo>
                    <a:cubicBezTo>
                      <a:pt x="6" y="25"/>
                      <a:pt x="11" y="28"/>
                      <a:pt x="17" y="28"/>
                    </a:cubicBezTo>
                    <a:cubicBezTo>
                      <a:pt x="19" y="28"/>
                      <a:pt x="21" y="28"/>
                      <a:pt x="23" y="27"/>
                    </a:cubicBezTo>
                    <a:cubicBezTo>
                      <a:pt x="10" y="0"/>
                      <a:pt x="10" y="0"/>
                      <a:pt x="10" y="0"/>
                    </a:cubicBezTo>
                  </a:path>
                </a:pathLst>
              </a:custGeom>
              <a:solidFill>
                <a:srgbClr val="D977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IN" dirty="0"/>
              </a:p>
            </p:txBody>
          </p:sp>
          <p:sp>
            <p:nvSpPr>
              <p:cNvPr id="377" name="Freeform 376"/>
              <p:cNvSpPr>
                <a:spLocks/>
              </p:cNvSpPr>
              <p:nvPr/>
            </p:nvSpPr>
            <p:spPr bwMode="auto">
              <a:xfrm>
                <a:off x="8969066" y="3729826"/>
                <a:ext cx="127622" cy="132727"/>
              </a:xfrm>
              <a:custGeom>
                <a:avLst/>
                <a:gdLst>
                  <a:gd name="T0" fmla="*/ 57 w 57"/>
                  <a:gd name="T1" fmla="*/ 32 h 59"/>
                  <a:gd name="T2" fmla="*/ 25 w 57"/>
                  <a:gd name="T3" fmla="*/ 0 h 59"/>
                  <a:gd name="T4" fmla="*/ 9 w 57"/>
                  <a:gd name="T5" fmla="*/ 4 h 59"/>
                  <a:gd name="T6" fmla="*/ 12 w 57"/>
                  <a:gd name="T7" fmla="*/ 46 h 59"/>
                  <a:gd name="T8" fmla="*/ 57 w 57"/>
                  <a:gd name="T9" fmla="*/ 46 h 59"/>
                  <a:gd name="T10" fmla="*/ 57 w 57"/>
                  <a:gd name="T11" fmla="*/ 33 h 59"/>
                  <a:gd name="T12" fmla="*/ 57 w 57"/>
                  <a:gd name="T13" fmla="*/ 33 h 59"/>
                  <a:gd name="T14" fmla="*/ 57 w 57"/>
                  <a:gd name="T15" fmla="*/ 32 h 5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7" h="59">
                    <a:moveTo>
                      <a:pt x="57" y="32"/>
                    </a:moveTo>
                    <a:cubicBezTo>
                      <a:pt x="57" y="14"/>
                      <a:pt x="43" y="0"/>
                      <a:pt x="25" y="0"/>
                    </a:cubicBezTo>
                    <a:cubicBezTo>
                      <a:pt x="19" y="0"/>
                      <a:pt x="14" y="1"/>
                      <a:pt x="9" y="4"/>
                    </a:cubicBezTo>
                    <a:cubicBezTo>
                      <a:pt x="0" y="17"/>
                      <a:pt x="1" y="34"/>
                      <a:pt x="12" y="46"/>
                    </a:cubicBezTo>
                    <a:cubicBezTo>
                      <a:pt x="24" y="58"/>
                      <a:pt x="45" y="59"/>
                      <a:pt x="57" y="46"/>
                    </a:cubicBezTo>
                    <a:cubicBezTo>
                      <a:pt x="57" y="33"/>
                      <a:pt x="57" y="33"/>
                      <a:pt x="57" y="33"/>
                    </a:cubicBezTo>
                    <a:cubicBezTo>
                      <a:pt x="57" y="33"/>
                      <a:pt x="57" y="33"/>
                      <a:pt x="57" y="33"/>
                    </a:cubicBezTo>
                    <a:cubicBezTo>
                      <a:pt x="57" y="33"/>
                      <a:pt x="57" y="32"/>
                      <a:pt x="57" y="32"/>
                    </a:cubicBezTo>
                    <a:close/>
                  </a:path>
                </a:pathLst>
              </a:custGeom>
              <a:solidFill>
                <a:srgbClr val="FFA83F"/>
              </a:solidFill>
              <a:ln>
                <a:noFill/>
              </a:ln>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IN" dirty="0"/>
              </a:p>
            </p:txBody>
          </p:sp>
          <p:sp>
            <p:nvSpPr>
              <p:cNvPr id="378" name="Freeform 377"/>
              <p:cNvSpPr>
                <a:spLocks/>
              </p:cNvSpPr>
              <p:nvPr/>
            </p:nvSpPr>
            <p:spPr bwMode="auto">
              <a:xfrm>
                <a:off x="8815918" y="5628858"/>
                <a:ext cx="61259" cy="1365567"/>
              </a:xfrm>
              <a:custGeom>
                <a:avLst/>
                <a:gdLst>
                  <a:gd name="T0" fmla="*/ 24 w 24"/>
                  <a:gd name="T1" fmla="*/ 0 h 535"/>
                  <a:gd name="T2" fmla="*/ 0 w 24"/>
                  <a:gd name="T3" fmla="*/ 0 h 535"/>
                  <a:gd name="T4" fmla="*/ 0 w 24"/>
                  <a:gd name="T5" fmla="*/ 535 h 535"/>
                  <a:gd name="T6" fmla="*/ 24 w 24"/>
                  <a:gd name="T7" fmla="*/ 535 h 535"/>
                  <a:gd name="T8" fmla="*/ 24 w 24"/>
                  <a:gd name="T9" fmla="*/ 452 h 535"/>
                  <a:gd name="T10" fmla="*/ 24 w 24"/>
                  <a:gd name="T11" fmla="*/ 158 h 535"/>
                  <a:gd name="T12" fmla="*/ 24 w 24"/>
                  <a:gd name="T13" fmla="*/ 0 h 535"/>
                </a:gdLst>
                <a:ahLst/>
                <a:cxnLst>
                  <a:cxn ang="0">
                    <a:pos x="T0" y="T1"/>
                  </a:cxn>
                  <a:cxn ang="0">
                    <a:pos x="T2" y="T3"/>
                  </a:cxn>
                  <a:cxn ang="0">
                    <a:pos x="T4" y="T5"/>
                  </a:cxn>
                  <a:cxn ang="0">
                    <a:pos x="T6" y="T7"/>
                  </a:cxn>
                  <a:cxn ang="0">
                    <a:pos x="T8" y="T9"/>
                  </a:cxn>
                  <a:cxn ang="0">
                    <a:pos x="T10" y="T11"/>
                  </a:cxn>
                  <a:cxn ang="0">
                    <a:pos x="T12" y="T13"/>
                  </a:cxn>
                </a:cxnLst>
                <a:rect l="0" t="0" r="r" b="b"/>
                <a:pathLst>
                  <a:path w="24" h="535">
                    <a:moveTo>
                      <a:pt x="24" y="0"/>
                    </a:moveTo>
                    <a:lnTo>
                      <a:pt x="0" y="0"/>
                    </a:lnTo>
                    <a:lnTo>
                      <a:pt x="0" y="535"/>
                    </a:lnTo>
                    <a:lnTo>
                      <a:pt x="24" y="535"/>
                    </a:lnTo>
                    <a:lnTo>
                      <a:pt x="24" y="452"/>
                    </a:lnTo>
                    <a:lnTo>
                      <a:pt x="24" y="158"/>
                    </a:lnTo>
                    <a:lnTo>
                      <a:pt x="2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IN" dirty="0"/>
              </a:p>
            </p:txBody>
          </p:sp>
          <p:sp>
            <p:nvSpPr>
              <p:cNvPr id="379" name="Rectangle 425"/>
              <p:cNvSpPr/>
              <p:nvPr/>
            </p:nvSpPr>
            <p:spPr bwMode="auto">
              <a:xfrm>
                <a:off x="7884266" y="5280832"/>
                <a:ext cx="406809" cy="467990"/>
              </a:xfrm>
              <a:custGeom>
                <a:avLst/>
                <a:gdLst>
                  <a:gd name="connsiteX0" fmla="*/ 0 w 406809"/>
                  <a:gd name="connsiteY0" fmla="*/ 0 h 467990"/>
                  <a:gd name="connsiteX1" fmla="*/ 406809 w 406809"/>
                  <a:gd name="connsiteY1" fmla="*/ 0 h 467990"/>
                  <a:gd name="connsiteX2" fmla="*/ 406809 w 406809"/>
                  <a:gd name="connsiteY2" fmla="*/ 467990 h 467990"/>
                  <a:gd name="connsiteX3" fmla="*/ 0 w 406809"/>
                  <a:gd name="connsiteY3" fmla="*/ 467990 h 467990"/>
                  <a:gd name="connsiteX4" fmla="*/ 0 w 406809"/>
                  <a:gd name="connsiteY4" fmla="*/ 0 h 467990"/>
                  <a:gd name="connsiteX0" fmla="*/ 0 w 406809"/>
                  <a:gd name="connsiteY0" fmla="*/ 0 h 467990"/>
                  <a:gd name="connsiteX1" fmla="*/ 406809 w 406809"/>
                  <a:gd name="connsiteY1" fmla="*/ 467990 h 467990"/>
                  <a:gd name="connsiteX2" fmla="*/ 0 w 406809"/>
                  <a:gd name="connsiteY2" fmla="*/ 467990 h 467990"/>
                  <a:gd name="connsiteX3" fmla="*/ 0 w 406809"/>
                  <a:gd name="connsiteY3" fmla="*/ 0 h 467990"/>
                </a:gdLst>
                <a:ahLst/>
                <a:cxnLst>
                  <a:cxn ang="0">
                    <a:pos x="connsiteX0" y="connsiteY0"/>
                  </a:cxn>
                  <a:cxn ang="0">
                    <a:pos x="connsiteX1" y="connsiteY1"/>
                  </a:cxn>
                  <a:cxn ang="0">
                    <a:pos x="connsiteX2" y="connsiteY2"/>
                  </a:cxn>
                  <a:cxn ang="0">
                    <a:pos x="connsiteX3" y="connsiteY3"/>
                  </a:cxn>
                </a:cxnLst>
                <a:rect l="l" t="t" r="r" b="b"/>
                <a:pathLst>
                  <a:path w="406809" h="467990">
                    <a:moveTo>
                      <a:pt x="0" y="0"/>
                    </a:moveTo>
                    <a:lnTo>
                      <a:pt x="406809" y="467990"/>
                    </a:lnTo>
                    <a:lnTo>
                      <a:pt x="0" y="467990"/>
                    </a:lnTo>
                    <a:lnTo>
                      <a:pt x="0" y="0"/>
                    </a:lnTo>
                    <a:close/>
                  </a:path>
                </a:pathLst>
              </a:cu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243" name="Group 242"/>
            <p:cNvGrpSpPr/>
            <p:nvPr/>
          </p:nvGrpSpPr>
          <p:grpSpPr>
            <a:xfrm>
              <a:off x="10225491" y="2592508"/>
              <a:ext cx="1153144" cy="566026"/>
              <a:chOff x="-2217738" y="3678238"/>
              <a:chExt cx="1562100" cy="766763"/>
            </a:xfrm>
            <a:solidFill>
              <a:schemeClr val="accent1"/>
            </a:solidFill>
          </p:grpSpPr>
          <p:sp>
            <p:nvSpPr>
              <p:cNvPr id="320" name="Freeform 6"/>
              <p:cNvSpPr>
                <a:spLocks noEditPoints="1"/>
              </p:cNvSpPr>
              <p:nvPr/>
            </p:nvSpPr>
            <p:spPr bwMode="auto">
              <a:xfrm>
                <a:off x="-2217738" y="3678238"/>
                <a:ext cx="711200" cy="766763"/>
              </a:xfrm>
              <a:custGeom>
                <a:avLst/>
                <a:gdLst>
                  <a:gd name="T0" fmla="*/ 556 w 954"/>
                  <a:gd name="T1" fmla="*/ 1009 h 1027"/>
                  <a:gd name="T2" fmla="*/ 507 w 954"/>
                  <a:gd name="T3" fmla="*/ 919 h 1027"/>
                  <a:gd name="T4" fmla="*/ 400 w 954"/>
                  <a:gd name="T5" fmla="*/ 627 h 1027"/>
                  <a:gd name="T6" fmla="*/ 429 w 954"/>
                  <a:gd name="T7" fmla="*/ 554 h 1027"/>
                  <a:gd name="T8" fmla="*/ 371 w 954"/>
                  <a:gd name="T9" fmla="*/ 504 h 1027"/>
                  <a:gd name="T10" fmla="*/ 311 w 954"/>
                  <a:gd name="T11" fmla="*/ 488 h 1027"/>
                  <a:gd name="T12" fmla="*/ 247 w 954"/>
                  <a:gd name="T13" fmla="*/ 410 h 1027"/>
                  <a:gd name="T14" fmla="*/ 243 w 954"/>
                  <a:gd name="T15" fmla="*/ 428 h 1027"/>
                  <a:gd name="T16" fmla="*/ 181 w 954"/>
                  <a:gd name="T17" fmla="*/ 348 h 1027"/>
                  <a:gd name="T18" fmla="*/ 202 w 954"/>
                  <a:gd name="T19" fmla="*/ 236 h 1027"/>
                  <a:gd name="T20" fmla="*/ 150 w 954"/>
                  <a:gd name="T21" fmla="*/ 164 h 1027"/>
                  <a:gd name="T22" fmla="*/ 71 w 954"/>
                  <a:gd name="T23" fmla="*/ 196 h 1027"/>
                  <a:gd name="T24" fmla="*/ 75 w 954"/>
                  <a:gd name="T25" fmla="*/ 164 h 1027"/>
                  <a:gd name="T26" fmla="*/ 74 w 954"/>
                  <a:gd name="T27" fmla="*/ 142 h 1027"/>
                  <a:gd name="T28" fmla="*/ 100 w 954"/>
                  <a:gd name="T29" fmla="*/ 112 h 1027"/>
                  <a:gd name="T30" fmla="*/ 213 w 954"/>
                  <a:gd name="T31" fmla="*/ 65 h 1027"/>
                  <a:gd name="T32" fmla="*/ 379 w 954"/>
                  <a:gd name="T33" fmla="*/ 79 h 1027"/>
                  <a:gd name="T34" fmla="*/ 502 w 954"/>
                  <a:gd name="T35" fmla="*/ 48 h 1027"/>
                  <a:gd name="T36" fmla="*/ 553 w 954"/>
                  <a:gd name="T37" fmla="*/ 71 h 1027"/>
                  <a:gd name="T38" fmla="*/ 604 w 954"/>
                  <a:gd name="T39" fmla="*/ 27 h 1027"/>
                  <a:gd name="T40" fmla="*/ 664 w 954"/>
                  <a:gd name="T41" fmla="*/ 0 h 1027"/>
                  <a:gd name="T42" fmla="*/ 819 w 954"/>
                  <a:gd name="T43" fmla="*/ 0 h 1027"/>
                  <a:gd name="T44" fmla="*/ 948 w 954"/>
                  <a:gd name="T45" fmla="*/ 13 h 1027"/>
                  <a:gd name="T46" fmla="*/ 892 w 954"/>
                  <a:gd name="T47" fmla="*/ 73 h 1027"/>
                  <a:gd name="T48" fmla="*/ 870 w 954"/>
                  <a:gd name="T49" fmla="*/ 104 h 1027"/>
                  <a:gd name="T50" fmla="*/ 737 w 954"/>
                  <a:gd name="T51" fmla="*/ 155 h 1027"/>
                  <a:gd name="T52" fmla="*/ 730 w 954"/>
                  <a:gd name="T53" fmla="*/ 80 h 1027"/>
                  <a:gd name="T54" fmla="*/ 640 w 954"/>
                  <a:gd name="T55" fmla="*/ 59 h 1027"/>
                  <a:gd name="T56" fmla="*/ 665 w 954"/>
                  <a:gd name="T57" fmla="*/ 121 h 1027"/>
                  <a:gd name="T58" fmla="*/ 612 w 954"/>
                  <a:gd name="T59" fmla="*/ 129 h 1027"/>
                  <a:gd name="T60" fmla="*/ 589 w 954"/>
                  <a:gd name="T61" fmla="*/ 107 h 1027"/>
                  <a:gd name="T62" fmla="*/ 502 w 954"/>
                  <a:gd name="T63" fmla="*/ 137 h 1027"/>
                  <a:gd name="T64" fmla="*/ 517 w 954"/>
                  <a:gd name="T65" fmla="*/ 180 h 1027"/>
                  <a:gd name="T66" fmla="*/ 599 w 954"/>
                  <a:gd name="T67" fmla="*/ 136 h 1027"/>
                  <a:gd name="T68" fmla="*/ 662 w 954"/>
                  <a:gd name="T69" fmla="*/ 202 h 1027"/>
                  <a:gd name="T70" fmla="*/ 602 w 954"/>
                  <a:gd name="T71" fmla="*/ 223 h 1027"/>
                  <a:gd name="T72" fmla="*/ 606 w 954"/>
                  <a:gd name="T73" fmla="*/ 263 h 1027"/>
                  <a:gd name="T74" fmla="*/ 495 w 954"/>
                  <a:gd name="T75" fmla="*/ 333 h 1027"/>
                  <a:gd name="T76" fmla="*/ 442 w 954"/>
                  <a:gd name="T77" fmla="*/ 411 h 1027"/>
                  <a:gd name="T78" fmla="*/ 343 w 954"/>
                  <a:gd name="T79" fmla="*/ 394 h 1027"/>
                  <a:gd name="T80" fmla="*/ 366 w 954"/>
                  <a:gd name="T81" fmla="*/ 433 h 1027"/>
                  <a:gd name="T82" fmla="*/ 388 w 954"/>
                  <a:gd name="T83" fmla="*/ 473 h 1027"/>
                  <a:gd name="T84" fmla="*/ 436 w 954"/>
                  <a:gd name="T85" fmla="*/ 517 h 1027"/>
                  <a:gd name="T86" fmla="*/ 560 w 954"/>
                  <a:gd name="T87" fmla="*/ 502 h 1027"/>
                  <a:gd name="T88" fmla="*/ 723 w 954"/>
                  <a:gd name="T89" fmla="*/ 619 h 1027"/>
                  <a:gd name="T90" fmla="*/ 708 w 954"/>
                  <a:gd name="T91" fmla="*/ 765 h 1027"/>
                  <a:gd name="T92" fmla="*/ 618 w 954"/>
                  <a:gd name="T93" fmla="*/ 1009 h 1027"/>
                  <a:gd name="T94" fmla="*/ 398 w 954"/>
                  <a:gd name="T95" fmla="*/ 514 h 10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954" h="1027">
                    <a:moveTo>
                      <a:pt x="611" y="1027"/>
                    </a:moveTo>
                    <a:cubicBezTo>
                      <a:pt x="610" y="1027"/>
                      <a:pt x="609" y="1027"/>
                      <a:pt x="608" y="1026"/>
                    </a:cubicBezTo>
                    <a:cubicBezTo>
                      <a:pt x="561" y="1012"/>
                      <a:pt x="561" y="1012"/>
                      <a:pt x="561" y="1012"/>
                    </a:cubicBezTo>
                    <a:cubicBezTo>
                      <a:pt x="559" y="1011"/>
                      <a:pt x="557" y="1010"/>
                      <a:pt x="556" y="1009"/>
                    </a:cubicBezTo>
                    <a:cubicBezTo>
                      <a:pt x="528" y="978"/>
                      <a:pt x="528" y="978"/>
                      <a:pt x="528" y="978"/>
                    </a:cubicBezTo>
                    <a:cubicBezTo>
                      <a:pt x="527" y="977"/>
                      <a:pt x="527" y="976"/>
                      <a:pt x="526" y="975"/>
                    </a:cubicBezTo>
                    <a:cubicBezTo>
                      <a:pt x="507" y="922"/>
                      <a:pt x="507" y="922"/>
                      <a:pt x="507" y="922"/>
                    </a:cubicBezTo>
                    <a:cubicBezTo>
                      <a:pt x="507" y="921"/>
                      <a:pt x="507" y="920"/>
                      <a:pt x="507" y="919"/>
                    </a:cubicBezTo>
                    <a:cubicBezTo>
                      <a:pt x="497" y="753"/>
                      <a:pt x="497" y="753"/>
                      <a:pt x="497" y="753"/>
                    </a:cubicBezTo>
                    <a:cubicBezTo>
                      <a:pt x="451" y="720"/>
                      <a:pt x="451" y="720"/>
                      <a:pt x="451" y="720"/>
                    </a:cubicBezTo>
                    <a:cubicBezTo>
                      <a:pt x="449" y="719"/>
                      <a:pt x="448" y="718"/>
                      <a:pt x="448" y="716"/>
                    </a:cubicBezTo>
                    <a:cubicBezTo>
                      <a:pt x="400" y="627"/>
                      <a:pt x="400" y="627"/>
                      <a:pt x="400" y="627"/>
                    </a:cubicBezTo>
                    <a:cubicBezTo>
                      <a:pt x="398" y="624"/>
                      <a:pt x="398" y="620"/>
                      <a:pt x="400" y="617"/>
                    </a:cubicBezTo>
                    <a:cubicBezTo>
                      <a:pt x="431" y="560"/>
                      <a:pt x="431" y="560"/>
                      <a:pt x="431" y="560"/>
                    </a:cubicBezTo>
                    <a:cubicBezTo>
                      <a:pt x="431" y="553"/>
                      <a:pt x="431" y="553"/>
                      <a:pt x="431" y="553"/>
                    </a:cubicBezTo>
                    <a:cubicBezTo>
                      <a:pt x="429" y="554"/>
                      <a:pt x="429" y="554"/>
                      <a:pt x="429" y="554"/>
                    </a:cubicBezTo>
                    <a:cubicBezTo>
                      <a:pt x="427" y="555"/>
                      <a:pt x="424" y="555"/>
                      <a:pt x="421" y="553"/>
                    </a:cubicBezTo>
                    <a:cubicBezTo>
                      <a:pt x="389" y="537"/>
                      <a:pt x="389" y="537"/>
                      <a:pt x="389" y="537"/>
                    </a:cubicBezTo>
                    <a:cubicBezTo>
                      <a:pt x="387" y="536"/>
                      <a:pt x="385" y="534"/>
                      <a:pt x="384" y="532"/>
                    </a:cubicBezTo>
                    <a:cubicBezTo>
                      <a:pt x="371" y="504"/>
                      <a:pt x="371" y="504"/>
                      <a:pt x="371" y="504"/>
                    </a:cubicBezTo>
                    <a:cubicBezTo>
                      <a:pt x="348" y="500"/>
                      <a:pt x="348" y="500"/>
                      <a:pt x="348" y="500"/>
                    </a:cubicBezTo>
                    <a:cubicBezTo>
                      <a:pt x="347" y="500"/>
                      <a:pt x="345" y="499"/>
                      <a:pt x="344" y="498"/>
                    </a:cubicBezTo>
                    <a:cubicBezTo>
                      <a:pt x="323" y="485"/>
                      <a:pt x="323" y="485"/>
                      <a:pt x="323" y="485"/>
                    </a:cubicBezTo>
                    <a:cubicBezTo>
                      <a:pt x="311" y="488"/>
                      <a:pt x="311" y="488"/>
                      <a:pt x="311" y="488"/>
                    </a:cubicBezTo>
                    <a:cubicBezTo>
                      <a:pt x="309" y="489"/>
                      <a:pt x="306" y="488"/>
                      <a:pt x="304" y="487"/>
                    </a:cubicBezTo>
                    <a:cubicBezTo>
                      <a:pt x="254" y="461"/>
                      <a:pt x="254" y="461"/>
                      <a:pt x="254" y="461"/>
                    </a:cubicBezTo>
                    <a:cubicBezTo>
                      <a:pt x="251" y="459"/>
                      <a:pt x="248" y="456"/>
                      <a:pt x="248" y="452"/>
                    </a:cubicBezTo>
                    <a:cubicBezTo>
                      <a:pt x="247" y="410"/>
                      <a:pt x="247" y="410"/>
                      <a:pt x="247" y="410"/>
                    </a:cubicBezTo>
                    <a:cubicBezTo>
                      <a:pt x="230" y="366"/>
                      <a:pt x="230" y="366"/>
                      <a:pt x="230" y="366"/>
                    </a:cubicBezTo>
                    <a:cubicBezTo>
                      <a:pt x="223" y="368"/>
                      <a:pt x="223" y="368"/>
                      <a:pt x="223" y="368"/>
                    </a:cubicBezTo>
                    <a:cubicBezTo>
                      <a:pt x="242" y="424"/>
                      <a:pt x="242" y="424"/>
                      <a:pt x="242" y="424"/>
                    </a:cubicBezTo>
                    <a:cubicBezTo>
                      <a:pt x="242" y="425"/>
                      <a:pt x="243" y="427"/>
                      <a:pt x="243" y="428"/>
                    </a:cubicBezTo>
                    <a:cubicBezTo>
                      <a:pt x="243" y="434"/>
                      <a:pt x="238" y="438"/>
                      <a:pt x="233" y="438"/>
                    </a:cubicBezTo>
                    <a:cubicBezTo>
                      <a:pt x="228" y="439"/>
                      <a:pt x="225" y="436"/>
                      <a:pt x="223" y="432"/>
                    </a:cubicBezTo>
                    <a:cubicBezTo>
                      <a:pt x="204" y="390"/>
                      <a:pt x="204" y="390"/>
                      <a:pt x="204" y="390"/>
                    </a:cubicBezTo>
                    <a:cubicBezTo>
                      <a:pt x="181" y="348"/>
                      <a:pt x="181" y="348"/>
                      <a:pt x="181" y="348"/>
                    </a:cubicBezTo>
                    <a:cubicBezTo>
                      <a:pt x="180" y="347"/>
                      <a:pt x="180" y="346"/>
                      <a:pt x="179" y="345"/>
                    </a:cubicBezTo>
                    <a:cubicBezTo>
                      <a:pt x="172" y="292"/>
                      <a:pt x="172" y="292"/>
                      <a:pt x="172" y="292"/>
                    </a:cubicBezTo>
                    <a:cubicBezTo>
                      <a:pt x="172" y="289"/>
                      <a:pt x="172" y="287"/>
                      <a:pt x="173" y="285"/>
                    </a:cubicBezTo>
                    <a:cubicBezTo>
                      <a:pt x="202" y="236"/>
                      <a:pt x="202" y="236"/>
                      <a:pt x="202" y="236"/>
                    </a:cubicBezTo>
                    <a:cubicBezTo>
                      <a:pt x="216" y="194"/>
                      <a:pt x="216" y="194"/>
                      <a:pt x="216" y="194"/>
                    </a:cubicBezTo>
                    <a:cubicBezTo>
                      <a:pt x="214" y="173"/>
                      <a:pt x="214" y="173"/>
                      <a:pt x="214" y="173"/>
                    </a:cubicBezTo>
                    <a:cubicBezTo>
                      <a:pt x="178" y="159"/>
                      <a:pt x="178" y="159"/>
                      <a:pt x="178" y="159"/>
                    </a:cubicBezTo>
                    <a:cubicBezTo>
                      <a:pt x="150" y="164"/>
                      <a:pt x="150" y="164"/>
                      <a:pt x="150" y="164"/>
                    </a:cubicBezTo>
                    <a:cubicBezTo>
                      <a:pt x="107" y="184"/>
                      <a:pt x="107" y="184"/>
                      <a:pt x="107" y="184"/>
                    </a:cubicBezTo>
                    <a:cubicBezTo>
                      <a:pt x="107" y="184"/>
                      <a:pt x="107" y="184"/>
                      <a:pt x="107" y="184"/>
                    </a:cubicBezTo>
                    <a:cubicBezTo>
                      <a:pt x="74" y="196"/>
                      <a:pt x="74" y="196"/>
                      <a:pt x="74" y="196"/>
                    </a:cubicBezTo>
                    <a:cubicBezTo>
                      <a:pt x="73" y="196"/>
                      <a:pt x="72" y="196"/>
                      <a:pt x="71" y="196"/>
                    </a:cubicBezTo>
                    <a:cubicBezTo>
                      <a:pt x="11" y="198"/>
                      <a:pt x="11" y="198"/>
                      <a:pt x="11" y="198"/>
                    </a:cubicBezTo>
                    <a:cubicBezTo>
                      <a:pt x="6" y="198"/>
                      <a:pt x="1" y="194"/>
                      <a:pt x="0" y="189"/>
                    </a:cubicBezTo>
                    <a:cubicBezTo>
                      <a:pt x="0" y="183"/>
                      <a:pt x="3" y="179"/>
                      <a:pt x="9" y="178"/>
                    </a:cubicBezTo>
                    <a:cubicBezTo>
                      <a:pt x="75" y="164"/>
                      <a:pt x="75" y="164"/>
                      <a:pt x="75" y="164"/>
                    </a:cubicBezTo>
                    <a:cubicBezTo>
                      <a:pt x="78" y="160"/>
                      <a:pt x="78" y="160"/>
                      <a:pt x="78" y="160"/>
                    </a:cubicBezTo>
                    <a:cubicBezTo>
                      <a:pt x="76" y="158"/>
                      <a:pt x="76" y="158"/>
                      <a:pt x="76" y="158"/>
                    </a:cubicBezTo>
                    <a:cubicBezTo>
                      <a:pt x="73" y="157"/>
                      <a:pt x="71" y="154"/>
                      <a:pt x="71" y="151"/>
                    </a:cubicBezTo>
                    <a:cubicBezTo>
                      <a:pt x="71" y="148"/>
                      <a:pt x="71" y="145"/>
                      <a:pt x="74" y="142"/>
                    </a:cubicBezTo>
                    <a:cubicBezTo>
                      <a:pt x="94" y="120"/>
                      <a:pt x="94" y="120"/>
                      <a:pt x="94" y="120"/>
                    </a:cubicBezTo>
                    <a:cubicBezTo>
                      <a:pt x="95" y="119"/>
                      <a:pt x="97" y="118"/>
                      <a:pt x="99" y="118"/>
                    </a:cubicBezTo>
                    <a:cubicBezTo>
                      <a:pt x="101" y="117"/>
                      <a:pt x="101" y="117"/>
                      <a:pt x="101" y="117"/>
                    </a:cubicBezTo>
                    <a:cubicBezTo>
                      <a:pt x="100" y="116"/>
                      <a:pt x="100" y="114"/>
                      <a:pt x="100" y="112"/>
                    </a:cubicBezTo>
                    <a:cubicBezTo>
                      <a:pt x="100" y="109"/>
                      <a:pt x="102" y="106"/>
                      <a:pt x="105" y="104"/>
                    </a:cubicBezTo>
                    <a:cubicBezTo>
                      <a:pt x="137" y="85"/>
                      <a:pt x="137" y="85"/>
                      <a:pt x="137" y="85"/>
                    </a:cubicBezTo>
                    <a:cubicBezTo>
                      <a:pt x="138" y="84"/>
                      <a:pt x="139" y="84"/>
                      <a:pt x="140" y="84"/>
                    </a:cubicBezTo>
                    <a:cubicBezTo>
                      <a:pt x="213" y="65"/>
                      <a:pt x="213" y="65"/>
                      <a:pt x="213" y="65"/>
                    </a:cubicBezTo>
                    <a:cubicBezTo>
                      <a:pt x="215" y="64"/>
                      <a:pt x="216" y="64"/>
                      <a:pt x="217" y="64"/>
                    </a:cubicBezTo>
                    <a:cubicBezTo>
                      <a:pt x="310" y="76"/>
                      <a:pt x="310" y="76"/>
                      <a:pt x="310" y="76"/>
                    </a:cubicBezTo>
                    <a:cubicBezTo>
                      <a:pt x="380" y="82"/>
                      <a:pt x="380" y="82"/>
                      <a:pt x="380" y="82"/>
                    </a:cubicBezTo>
                    <a:cubicBezTo>
                      <a:pt x="379" y="79"/>
                      <a:pt x="379" y="79"/>
                      <a:pt x="379" y="79"/>
                    </a:cubicBezTo>
                    <a:cubicBezTo>
                      <a:pt x="377" y="77"/>
                      <a:pt x="377" y="74"/>
                      <a:pt x="378" y="71"/>
                    </a:cubicBezTo>
                    <a:cubicBezTo>
                      <a:pt x="379" y="69"/>
                      <a:pt x="381" y="66"/>
                      <a:pt x="384" y="65"/>
                    </a:cubicBezTo>
                    <a:cubicBezTo>
                      <a:pt x="393" y="61"/>
                      <a:pt x="423" y="48"/>
                      <a:pt x="436" y="48"/>
                    </a:cubicBezTo>
                    <a:cubicBezTo>
                      <a:pt x="502" y="48"/>
                      <a:pt x="502" y="48"/>
                      <a:pt x="502" y="48"/>
                    </a:cubicBezTo>
                    <a:cubicBezTo>
                      <a:pt x="511" y="48"/>
                      <a:pt x="529" y="53"/>
                      <a:pt x="533" y="54"/>
                    </a:cubicBezTo>
                    <a:cubicBezTo>
                      <a:pt x="536" y="55"/>
                      <a:pt x="538" y="57"/>
                      <a:pt x="539" y="60"/>
                    </a:cubicBezTo>
                    <a:cubicBezTo>
                      <a:pt x="540" y="61"/>
                      <a:pt x="543" y="68"/>
                      <a:pt x="545" y="75"/>
                    </a:cubicBezTo>
                    <a:cubicBezTo>
                      <a:pt x="548" y="74"/>
                      <a:pt x="550" y="72"/>
                      <a:pt x="553" y="71"/>
                    </a:cubicBezTo>
                    <a:cubicBezTo>
                      <a:pt x="580" y="44"/>
                      <a:pt x="580" y="44"/>
                      <a:pt x="580" y="44"/>
                    </a:cubicBezTo>
                    <a:cubicBezTo>
                      <a:pt x="581" y="43"/>
                      <a:pt x="582" y="42"/>
                      <a:pt x="583" y="42"/>
                    </a:cubicBezTo>
                    <a:cubicBezTo>
                      <a:pt x="609" y="31"/>
                      <a:pt x="609" y="31"/>
                      <a:pt x="609" y="31"/>
                    </a:cubicBezTo>
                    <a:cubicBezTo>
                      <a:pt x="604" y="27"/>
                      <a:pt x="604" y="27"/>
                      <a:pt x="604" y="27"/>
                    </a:cubicBezTo>
                    <a:cubicBezTo>
                      <a:pt x="600" y="25"/>
                      <a:pt x="598" y="21"/>
                      <a:pt x="599" y="17"/>
                    </a:cubicBezTo>
                    <a:cubicBezTo>
                      <a:pt x="600" y="13"/>
                      <a:pt x="603" y="9"/>
                      <a:pt x="608" y="9"/>
                    </a:cubicBezTo>
                    <a:cubicBezTo>
                      <a:pt x="662" y="0"/>
                      <a:pt x="662" y="0"/>
                      <a:pt x="662" y="0"/>
                    </a:cubicBezTo>
                    <a:cubicBezTo>
                      <a:pt x="662" y="0"/>
                      <a:pt x="663" y="0"/>
                      <a:pt x="664" y="0"/>
                    </a:cubicBezTo>
                    <a:cubicBezTo>
                      <a:pt x="733" y="0"/>
                      <a:pt x="733" y="0"/>
                      <a:pt x="733" y="0"/>
                    </a:cubicBezTo>
                    <a:cubicBezTo>
                      <a:pt x="737" y="0"/>
                      <a:pt x="741" y="3"/>
                      <a:pt x="742" y="7"/>
                    </a:cubicBezTo>
                    <a:cubicBezTo>
                      <a:pt x="742" y="8"/>
                      <a:pt x="743" y="8"/>
                      <a:pt x="743" y="8"/>
                    </a:cubicBezTo>
                    <a:cubicBezTo>
                      <a:pt x="819" y="0"/>
                      <a:pt x="819" y="0"/>
                      <a:pt x="819" y="0"/>
                    </a:cubicBezTo>
                    <a:cubicBezTo>
                      <a:pt x="820" y="0"/>
                      <a:pt x="820" y="0"/>
                      <a:pt x="821" y="0"/>
                    </a:cubicBezTo>
                    <a:cubicBezTo>
                      <a:pt x="919" y="0"/>
                      <a:pt x="919" y="0"/>
                      <a:pt x="919" y="0"/>
                    </a:cubicBezTo>
                    <a:cubicBezTo>
                      <a:pt x="920" y="0"/>
                      <a:pt x="922" y="0"/>
                      <a:pt x="923" y="1"/>
                    </a:cubicBezTo>
                    <a:cubicBezTo>
                      <a:pt x="948" y="13"/>
                      <a:pt x="948" y="13"/>
                      <a:pt x="948" y="13"/>
                    </a:cubicBezTo>
                    <a:cubicBezTo>
                      <a:pt x="952" y="14"/>
                      <a:pt x="954" y="18"/>
                      <a:pt x="954" y="22"/>
                    </a:cubicBezTo>
                    <a:cubicBezTo>
                      <a:pt x="954" y="27"/>
                      <a:pt x="951" y="30"/>
                      <a:pt x="947" y="32"/>
                    </a:cubicBezTo>
                    <a:cubicBezTo>
                      <a:pt x="934" y="36"/>
                      <a:pt x="918" y="42"/>
                      <a:pt x="914" y="44"/>
                    </a:cubicBezTo>
                    <a:cubicBezTo>
                      <a:pt x="911" y="47"/>
                      <a:pt x="901" y="61"/>
                      <a:pt x="892" y="73"/>
                    </a:cubicBezTo>
                    <a:cubicBezTo>
                      <a:pt x="892" y="82"/>
                      <a:pt x="892" y="82"/>
                      <a:pt x="892" y="82"/>
                    </a:cubicBezTo>
                    <a:cubicBezTo>
                      <a:pt x="892" y="85"/>
                      <a:pt x="891" y="88"/>
                      <a:pt x="889" y="90"/>
                    </a:cubicBezTo>
                    <a:cubicBezTo>
                      <a:pt x="874" y="102"/>
                      <a:pt x="874" y="102"/>
                      <a:pt x="874" y="102"/>
                    </a:cubicBezTo>
                    <a:cubicBezTo>
                      <a:pt x="873" y="103"/>
                      <a:pt x="871" y="103"/>
                      <a:pt x="870" y="104"/>
                    </a:cubicBezTo>
                    <a:cubicBezTo>
                      <a:pt x="797" y="122"/>
                      <a:pt x="797" y="122"/>
                      <a:pt x="797" y="122"/>
                    </a:cubicBezTo>
                    <a:cubicBezTo>
                      <a:pt x="778" y="136"/>
                      <a:pt x="778" y="136"/>
                      <a:pt x="778" y="136"/>
                    </a:cubicBezTo>
                    <a:cubicBezTo>
                      <a:pt x="750" y="156"/>
                      <a:pt x="750" y="156"/>
                      <a:pt x="750" y="156"/>
                    </a:cubicBezTo>
                    <a:cubicBezTo>
                      <a:pt x="746" y="159"/>
                      <a:pt x="741" y="159"/>
                      <a:pt x="737" y="155"/>
                    </a:cubicBezTo>
                    <a:cubicBezTo>
                      <a:pt x="713" y="132"/>
                      <a:pt x="712" y="127"/>
                      <a:pt x="711" y="125"/>
                    </a:cubicBezTo>
                    <a:cubicBezTo>
                      <a:pt x="710" y="123"/>
                      <a:pt x="708" y="117"/>
                      <a:pt x="717" y="92"/>
                    </a:cubicBezTo>
                    <a:cubicBezTo>
                      <a:pt x="718" y="90"/>
                      <a:pt x="719" y="88"/>
                      <a:pt x="720" y="87"/>
                    </a:cubicBezTo>
                    <a:cubicBezTo>
                      <a:pt x="730" y="80"/>
                      <a:pt x="730" y="80"/>
                      <a:pt x="730" y="80"/>
                    </a:cubicBezTo>
                    <a:cubicBezTo>
                      <a:pt x="714" y="61"/>
                      <a:pt x="714" y="61"/>
                      <a:pt x="714" y="61"/>
                    </a:cubicBezTo>
                    <a:cubicBezTo>
                      <a:pt x="683" y="47"/>
                      <a:pt x="683" y="47"/>
                      <a:pt x="683" y="47"/>
                    </a:cubicBezTo>
                    <a:cubicBezTo>
                      <a:pt x="637" y="56"/>
                      <a:pt x="637" y="56"/>
                      <a:pt x="637" y="56"/>
                    </a:cubicBezTo>
                    <a:cubicBezTo>
                      <a:pt x="640" y="59"/>
                      <a:pt x="640" y="59"/>
                      <a:pt x="640" y="59"/>
                    </a:cubicBezTo>
                    <a:cubicBezTo>
                      <a:pt x="666" y="75"/>
                      <a:pt x="666" y="75"/>
                      <a:pt x="666" y="75"/>
                    </a:cubicBezTo>
                    <a:cubicBezTo>
                      <a:pt x="669" y="76"/>
                      <a:pt x="670" y="79"/>
                      <a:pt x="671" y="82"/>
                    </a:cubicBezTo>
                    <a:cubicBezTo>
                      <a:pt x="674" y="110"/>
                      <a:pt x="674" y="110"/>
                      <a:pt x="674" y="110"/>
                    </a:cubicBezTo>
                    <a:cubicBezTo>
                      <a:pt x="674" y="116"/>
                      <a:pt x="670" y="121"/>
                      <a:pt x="665" y="121"/>
                    </a:cubicBezTo>
                    <a:cubicBezTo>
                      <a:pt x="645" y="124"/>
                      <a:pt x="645" y="124"/>
                      <a:pt x="645" y="124"/>
                    </a:cubicBezTo>
                    <a:cubicBezTo>
                      <a:pt x="642" y="128"/>
                      <a:pt x="642" y="128"/>
                      <a:pt x="642" y="128"/>
                    </a:cubicBezTo>
                    <a:cubicBezTo>
                      <a:pt x="639" y="131"/>
                      <a:pt x="636" y="132"/>
                      <a:pt x="632" y="132"/>
                    </a:cubicBezTo>
                    <a:cubicBezTo>
                      <a:pt x="612" y="129"/>
                      <a:pt x="612" y="129"/>
                      <a:pt x="612" y="129"/>
                    </a:cubicBezTo>
                    <a:cubicBezTo>
                      <a:pt x="611" y="129"/>
                      <a:pt x="610" y="128"/>
                      <a:pt x="608" y="128"/>
                    </a:cubicBezTo>
                    <a:cubicBezTo>
                      <a:pt x="603" y="125"/>
                      <a:pt x="603" y="125"/>
                      <a:pt x="603" y="125"/>
                    </a:cubicBezTo>
                    <a:cubicBezTo>
                      <a:pt x="602" y="124"/>
                      <a:pt x="600" y="123"/>
                      <a:pt x="599" y="122"/>
                    </a:cubicBezTo>
                    <a:cubicBezTo>
                      <a:pt x="589" y="107"/>
                      <a:pt x="589" y="107"/>
                      <a:pt x="589" y="107"/>
                    </a:cubicBezTo>
                    <a:cubicBezTo>
                      <a:pt x="558" y="107"/>
                      <a:pt x="558" y="107"/>
                      <a:pt x="558" y="107"/>
                    </a:cubicBezTo>
                    <a:cubicBezTo>
                      <a:pt x="555" y="125"/>
                      <a:pt x="555" y="125"/>
                      <a:pt x="555" y="125"/>
                    </a:cubicBezTo>
                    <a:cubicBezTo>
                      <a:pt x="555" y="130"/>
                      <a:pt x="551" y="133"/>
                      <a:pt x="546" y="134"/>
                    </a:cubicBezTo>
                    <a:cubicBezTo>
                      <a:pt x="502" y="137"/>
                      <a:pt x="502" y="137"/>
                      <a:pt x="502" y="137"/>
                    </a:cubicBezTo>
                    <a:cubicBezTo>
                      <a:pt x="479" y="161"/>
                      <a:pt x="479" y="161"/>
                      <a:pt x="479" y="161"/>
                    </a:cubicBezTo>
                    <a:cubicBezTo>
                      <a:pt x="510" y="172"/>
                      <a:pt x="510" y="172"/>
                      <a:pt x="510" y="172"/>
                    </a:cubicBezTo>
                    <a:cubicBezTo>
                      <a:pt x="513" y="173"/>
                      <a:pt x="515" y="175"/>
                      <a:pt x="516" y="178"/>
                    </a:cubicBezTo>
                    <a:cubicBezTo>
                      <a:pt x="516" y="179"/>
                      <a:pt x="517" y="179"/>
                      <a:pt x="517" y="180"/>
                    </a:cubicBezTo>
                    <a:cubicBezTo>
                      <a:pt x="534" y="177"/>
                      <a:pt x="534" y="177"/>
                      <a:pt x="534" y="177"/>
                    </a:cubicBezTo>
                    <a:cubicBezTo>
                      <a:pt x="545" y="143"/>
                      <a:pt x="545" y="143"/>
                      <a:pt x="545" y="143"/>
                    </a:cubicBezTo>
                    <a:cubicBezTo>
                      <a:pt x="547" y="139"/>
                      <a:pt x="551" y="136"/>
                      <a:pt x="555" y="136"/>
                    </a:cubicBezTo>
                    <a:cubicBezTo>
                      <a:pt x="599" y="136"/>
                      <a:pt x="599" y="136"/>
                      <a:pt x="599" y="136"/>
                    </a:cubicBezTo>
                    <a:cubicBezTo>
                      <a:pt x="602" y="136"/>
                      <a:pt x="605" y="138"/>
                      <a:pt x="607" y="140"/>
                    </a:cubicBezTo>
                    <a:cubicBezTo>
                      <a:pt x="618" y="154"/>
                      <a:pt x="618" y="154"/>
                      <a:pt x="618" y="154"/>
                    </a:cubicBezTo>
                    <a:cubicBezTo>
                      <a:pt x="659" y="193"/>
                      <a:pt x="659" y="193"/>
                      <a:pt x="659" y="193"/>
                    </a:cubicBezTo>
                    <a:cubicBezTo>
                      <a:pt x="661" y="196"/>
                      <a:pt x="662" y="198"/>
                      <a:pt x="662" y="202"/>
                    </a:cubicBezTo>
                    <a:cubicBezTo>
                      <a:pt x="662" y="205"/>
                      <a:pt x="660" y="207"/>
                      <a:pt x="658" y="209"/>
                    </a:cubicBezTo>
                    <a:cubicBezTo>
                      <a:pt x="642" y="221"/>
                      <a:pt x="642" y="221"/>
                      <a:pt x="642" y="221"/>
                    </a:cubicBezTo>
                    <a:cubicBezTo>
                      <a:pt x="640" y="222"/>
                      <a:pt x="638" y="223"/>
                      <a:pt x="636" y="223"/>
                    </a:cubicBezTo>
                    <a:cubicBezTo>
                      <a:pt x="602" y="223"/>
                      <a:pt x="602" y="223"/>
                      <a:pt x="602" y="223"/>
                    </a:cubicBezTo>
                    <a:cubicBezTo>
                      <a:pt x="600" y="225"/>
                      <a:pt x="600" y="225"/>
                      <a:pt x="600" y="225"/>
                    </a:cubicBezTo>
                    <a:cubicBezTo>
                      <a:pt x="608" y="235"/>
                      <a:pt x="608" y="235"/>
                      <a:pt x="608" y="235"/>
                    </a:cubicBezTo>
                    <a:cubicBezTo>
                      <a:pt x="610" y="238"/>
                      <a:pt x="611" y="241"/>
                      <a:pt x="610" y="244"/>
                    </a:cubicBezTo>
                    <a:cubicBezTo>
                      <a:pt x="606" y="263"/>
                      <a:pt x="606" y="263"/>
                      <a:pt x="606" y="263"/>
                    </a:cubicBezTo>
                    <a:cubicBezTo>
                      <a:pt x="605" y="268"/>
                      <a:pt x="601" y="271"/>
                      <a:pt x="596" y="271"/>
                    </a:cubicBezTo>
                    <a:cubicBezTo>
                      <a:pt x="565" y="271"/>
                      <a:pt x="565" y="271"/>
                      <a:pt x="565" y="271"/>
                    </a:cubicBezTo>
                    <a:cubicBezTo>
                      <a:pt x="497" y="314"/>
                      <a:pt x="497" y="314"/>
                      <a:pt x="497" y="314"/>
                    </a:cubicBezTo>
                    <a:cubicBezTo>
                      <a:pt x="495" y="333"/>
                      <a:pt x="495" y="333"/>
                      <a:pt x="495" y="333"/>
                    </a:cubicBezTo>
                    <a:cubicBezTo>
                      <a:pt x="494" y="335"/>
                      <a:pt x="493" y="338"/>
                      <a:pt x="491" y="339"/>
                    </a:cubicBezTo>
                    <a:cubicBezTo>
                      <a:pt x="455" y="369"/>
                      <a:pt x="455" y="369"/>
                      <a:pt x="455" y="369"/>
                    </a:cubicBezTo>
                    <a:cubicBezTo>
                      <a:pt x="451" y="402"/>
                      <a:pt x="451" y="402"/>
                      <a:pt x="451" y="402"/>
                    </a:cubicBezTo>
                    <a:cubicBezTo>
                      <a:pt x="450" y="406"/>
                      <a:pt x="446" y="410"/>
                      <a:pt x="442" y="411"/>
                    </a:cubicBezTo>
                    <a:cubicBezTo>
                      <a:pt x="427" y="412"/>
                      <a:pt x="427" y="412"/>
                      <a:pt x="427" y="412"/>
                    </a:cubicBezTo>
                    <a:cubicBezTo>
                      <a:pt x="422" y="412"/>
                      <a:pt x="418" y="410"/>
                      <a:pt x="417" y="406"/>
                    </a:cubicBezTo>
                    <a:cubicBezTo>
                      <a:pt x="403" y="376"/>
                      <a:pt x="403" y="376"/>
                      <a:pt x="403" y="376"/>
                    </a:cubicBezTo>
                    <a:cubicBezTo>
                      <a:pt x="343" y="394"/>
                      <a:pt x="343" y="394"/>
                      <a:pt x="343" y="394"/>
                    </a:cubicBezTo>
                    <a:cubicBezTo>
                      <a:pt x="331" y="437"/>
                      <a:pt x="331" y="437"/>
                      <a:pt x="331" y="437"/>
                    </a:cubicBezTo>
                    <a:cubicBezTo>
                      <a:pt x="339" y="439"/>
                      <a:pt x="348" y="442"/>
                      <a:pt x="351" y="443"/>
                    </a:cubicBezTo>
                    <a:cubicBezTo>
                      <a:pt x="353" y="441"/>
                      <a:pt x="356" y="438"/>
                      <a:pt x="358" y="436"/>
                    </a:cubicBezTo>
                    <a:cubicBezTo>
                      <a:pt x="360" y="434"/>
                      <a:pt x="363" y="433"/>
                      <a:pt x="366" y="433"/>
                    </a:cubicBezTo>
                    <a:cubicBezTo>
                      <a:pt x="388" y="433"/>
                      <a:pt x="388" y="433"/>
                      <a:pt x="388" y="433"/>
                    </a:cubicBezTo>
                    <a:cubicBezTo>
                      <a:pt x="391" y="433"/>
                      <a:pt x="394" y="434"/>
                      <a:pt x="396" y="437"/>
                    </a:cubicBezTo>
                    <a:cubicBezTo>
                      <a:pt x="398" y="440"/>
                      <a:pt x="399" y="443"/>
                      <a:pt x="397" y="446"/>
                    </a:cubicBezTo>
                    <a:cubicBezTo>
                      <a:pt x="388" y="473"/>
                      <a:pt x="388" y="473"/>
                      <a:pt x="388" y="473"/>
                    </a:cubicBezTo>
                    <a:cubicBezTo>
                      <a:pt x="412" y="480"/>
                      <a:pt x="412" y="480"/>
                      <a:pt x="412" y="480"/>
                    </a:cubicBezTo>
                    <a:cubicBezTo>
                      <a:pt x="416" y="481"/>
                      <a:pt x="419" y="485"/>
                      <a:pt x="419" y="490"/>
                    </a:cubicBezTo>
                    <a:cubicBezTo>
                      <a:pt x="419" y="512"/>
                      <a:pt x="419" y="512"/>
                      <a:pt x="419" y="512"/>
                    </a:cubicBezTo>
                    <a:cubicBezTo>
                      <a:pt x="436" y="517"/>
                      <a:pt x="436" y="517"/>
                      <a:pt x="436" y="517"/>
                    </a:cubicBezTo>
                    <a:cubicBezTo>
                      <a:pt x="462" y="502"/>
                      <a:pt x="462" y="502"/>
                      <a:pt x="462" y="502"/>
                    </a:cubicBezTo>
                    <a:cubicBezTo>
                      <a:pt x="463" y="501"/>
                      <a:pt x="465" y="500"/>
                      <a:pt x="467" y="500"/>
                    </a:cubicBezTo>
                    <a:cubicBezTo>
                      <a:pt x="554" y="500"/>
                      <a:pt x="554" y="500"/>
                      <a:pt x="554" y="500"/>
                    </a:cubicBezTo>
                    <a:cubicBezTo>
                      <a:pt x="556" y="500"/>
                      <a:pt x="558" y="501"/>
                      <a:pt x="560" y="502"/>
                    </a:cubicBezTo>
                    <a:cubicBezTo>
                      <a:pt x="632" y="561"/>
                      <a:pt x="632" y="561"/>
                      <a:pt x="632" y="561"/>
                    </a:cubicBezTo>
                    <a:cubicBezTo>
                      <a:pt x="634" y="563"/>
                      <a:pt x="636" y="566"/>
                      <a:pt x="636" y="569"/>
                    </a:cubicBezTo>
                    <a:cubicBezTo>
                      <a:pt x="636" y="578"/>
                      <a:pt x="635" y="589"/>
                      <a:pt x="634" y="597"/>
                    </a:cubicBezTo>
                    <a:cubicBezTo>
                      <a:pt x="649" y="602"/>
                      <a:pt x="688" y="612"/>
                      <a:pt x="723" y="619"/>
                    </a:cubicBezTo>
                    <a:cubicBezTo>
                      <a:pt x="726" y="620"/>
                      <a:pt x="729" y="622"/>
                      <a:pt x="730" y="625"/>
                    </a:cubicBezTo>
                    <a:cubicBezTo>
                      <a:pt x="745" y="660"/>
                      <a:pt x="745" y="660"/>
                      <a:pt x="745" y="660"/>
                    </a:cubicBezTo>
                    <a:cubicBezTo>
                      <a:pt x="746" y="663"/>
                      <a:pt x="746" y="666"/>
                      <a:pt x="745" y="668"/>
                    </a:cubicBezTo>
                    <a:cubicBezTo>
                      <a:pt x="708" y="765"/>
                      <a:pt x="708" y="765"/>
                      <a:pt x="708" y="765"/>
                    </a:cubicBezTo>
                    <a:cubicBezTo>
                      <a:pt x="708" y="766"/>
                      <a:pt x="707" y="767"/>
                      <a:pt x="707" y="768"/>
                    </a:cubicBezTo>
                    <a:cubicBezTo>
                      <a:pt x="589" y="916"/>
                      <a:pt x="589" y="916"/>
                      <a:pt x="589" y="916"/>
                    </a:cubicBezTo>
                    <a:cubicBezTo>
                      <a:pt x="589" y="980"/>
                      <a:pt x="589" y="980"/>
                      <a:pt x="589" y="980"/>
                    </a:cubicBezTo>
                    <a:cubicBezTo>
                      <a:pt x="618" y="1009"/>
                      <a:pt x="618" y="1009"/>
                      <a:pt x="618" y="1009"/>
                    </a:cubicBezTo>
                    <a:cubicBezTo>
                      <a:pt x="621" y="1013"/>
                      <a:pt x="622" y="1018"/>
                      <a:pt x="620" y="1022"/>
                    </a:cubicBezTo>
                    <a:cubicBezTo>
                      <a:pt x="618" y="1025"/>
                      <a:pt x="614" y="1027"/>
                      <a:pt x="611" y="1027"/>
                    </a:cubicBezTo>
                    <a:close/>
                    <a:moveTo>
                      <a:pt x="389" y="495"/>
                    </a:moveTo>
                    <a:cubicBezTo>
                      <a:pt x="398" y="514"/>
                      <a:pt x="398" y="514"/>
                      <a:pt x="398" y="514"/>
                    </a:cubicBezTo>
                    <a:cubicBezTo>
                      <a:pt x="398" y="497"/>
                      <a:pt x="398" y="497"/>
                      <a:pt x="398" y="497"/>
                    </a:cubicBezTo>
                    <a:lnTo>
                      <a:pt x="389" y="49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21" name="Freeform 7"/>
              <p:cNvSpPr>
                <a:spLocks/>
              </p:cNvSpPr>
              <p:nvPr/>
            </p:nvSpPr>
            <p:spPr bwMode="auto">
              <a:xfrm>
                <a:off x="-1571626" y="3705225"/>
                <a:ext cx="860425" cy="619125"/>
              </a:xfrm>
              <a:custGeom>
                <a:avLst/>
                <a:gdLst>
                  <a:gd name="T0" fmla="*/ 235 w 1153"/>
                  <a:gd name="T1" fmla="*/ 777 h 829"/>
                  <a:gd name="T2" fmla="*/ 208 w 1153"/>
                  <a:gd name="T3" fmla="*/ 607 h 829"/>
                  <a:gd name="T4" fmla="*/ 184 w 1153"/>
                  <a:gd name="T5" fmla="*/ 536 h 829"/>
                  <a:gd name="T6" fmla="*/ 111 w 1153"/>
                  <a:gd name="T7" fmla="*/ 535 h 829"/>
                  <a:gd name="T8" fmla="*/ 3 w 1153"/>
                  <a:gd name="T9" fmla="*/ 457 h 829"/>
                  <a:gd name="T10" fmla="*/ 3 w 1153"/>
                  <a:gd name="T11" fmla="*/ 390 h 829"/>
                  <a:gd name="T12" fmla="*/ 146 w 1153"/>
                  <a:gd name="T13" fmla="*/ 282 h 829"/>
                  <a:gd name="T14" fmla="*/ 212 w 1153"/>
                  <a:gd name="T15" fmla="*/ 307 h 829"/>
                  <a:gd name="T16" fmla="*/ 302 w 1153"/>
                  <a:gd name="T17" fmla="*/ 312 h 829"/>
                  <a:gd name="T18" fmla="*/ 340 w 1153"/>
                  <a:gd name="T19" fmla="*/ 300 h 829"/>
                  <a:gd name="T20" fmla="*/ 297 w 1153"/>
                  <a:gd name="T21" fmla="*/ 284 h 829"/>
                  <a:gd name="T22" fmla="*/ 263 w 1153"/>
                  <a:gd name="T23" fmla="*/ 281 h 829"/>
                  <a:gd name="T24" fmla="*/ 218 w 1153"/>
                  <a:gd name="T25" fmla="*/ 227 h 829"/>
                  <a:gd name="T26" fmla="*/ 228 w 1153"/>
                  <a:gd name="T27" fmla="*/ 291 h 829"/>
                  <a:gd name="T28" fmla="*/ 150 w 1153"/>
                  <a:gd name="T29" fmla="*/ 248 h 829"/>
                  <a:gd name="T30" fmla="*/ 78 w 1153"/>
                  <a:gd name="T31" fmla="*/ 290 h 829"/>
                  <a:gd name="T32" fmla="*/ 83 w 1153"/>
                  <a:gd name="T33" fmla="*/ 225 h 829"/>
                  <a:gd name="T34" fmla="*/ 103 w 1153"/>
                  <a:gd name="T35" fmla="*/ 203 h 829"/>
                  <a:gd name="T36" fmla="*/ 111 w 1153"/>
                  <a:gd name="T37" fmla="*/ 162 h 829"/>
                  <a:gd name="T38" fmla="*/ 114 w 1153"/>
                  <a:gd name="T39" fmla="*/ 122 h 829"/>
                  <a:gd name="T40" fmla="*/ 169 w 1153"/>
                  <a:gd name="T41" fmla="*/ 150 h 829"/>
                  <a:gd name="T42" fmla="*/ 280 w 1153"/>
                  <a:gd name="T43" fmla="*/ 120 h 829"/>
                  <a:gd name="T44" fmla="*/ 233 w 1153"/>
                  <a:gd name="T45" fmla="*/ 132 h 829"/>
                  <a:gd name="T46" fmla="*/ 202 w 1153"/>
                  <a:gd name="T47" fmla="*/ 134 h 829"/>
                  <a:gd name="T48" fmla="*/ 169 w 1153"/>
                  <a:gd name="T49" fmla="*/ 99 h 829"/>
                  <a:gd name="T50" fmla="*/ 279 w 1153"/>
                  <a:gd name="T51" fmla="*/ 30 h 829"/>
                  <a:gd name="T52" fmla="*/ 355 w 1153"/>
                  <a:gd name="T53" fmla="*/ 54 h 829"/>
                  <a:gd name="T54" fmla="*/ 359 w 1153"/>
                  <a:gd name="T55" fmla="*/ 60 h 829"/>
                  <a:gd name="T56" fmla="*/ 449 w 1153"/>
                  <a:gd name="T57" fmla="*/ 43 h 829"/>
                  <a:gd name="T58" fmla="*/ 508 w 1153"/>
                  <a:gd name="T59" fmla="*/ 13 h 829"/>
                  <a:gd name="T60" fmla="*/ 681 w 1153"/>
                  <a:gd name="T61" fmla="*/ 0 h 829"/>
                  <a:gd name="T62" fmla="*/ 854 w 1153"/>
                  <a:gd name="T63" fmla="*/ 24 h 829"/>
                  <a:gd name="T64" fmla="*/ 1152 w 1153"/>
                  <a:gd name="T65" fmla="*/ 75 h 829"/>
                  <a:gd name="T66" fmla="*/ 1115 w 1153"/>
                  <a:gd name="T67" fmla="*/ 102 h 829"/>
                  <a:gd name="T68" fmla="*/ 1091 w 1153"/>
                  <a:gd name="T69" fmla="*/ 161 h 829"/>
                  <a:gd name="T70" fmla="*/ 1033 w 1153"/>
                  <a:gd name="T71" fmla="*/ 139 h 829"/>
                  <a:gd name="T72" fmla="*/ 1001 w 1153"/>
                  <a:gd name="T73" fmla="*/ 128 h 829"/>
                  <a:gd name="T74" fmla="*/ 979 w 1153"/>
                  <a:gd name="T75" fmla="*/ 156 h 829"/>
                  <a:gd name="T76" fmla="*/ 996 w 1153"/>
                  <a:gd name="T77" fmla="*/ 214 h 829"/>
                  <a:gd name="T78" fmla="*/ 996 w 1153"/>
                  <a:gd name="T79" fmla="*/ 274 h 829"/>
                  <a:gd name="T80" fmla="*/ 969 w 1153"/>
                  <a:gd name="T81" fmla="*/ 307 h 829"/>
                  <a:gd name="T82" fmla="*/ 913 w 1153"/>
                  <a:gd name="T83" fmla="*/ 269 h 829"/>
                  <a:gd name="T84" fmla="*/ 936 w 1153"/>
                  <a:gd name="T85" fmla="*/ 288 h 829"/>
                  <a:gd name="T86" fmla="*/ 951 w 1153"/>
                  <a:gd name="T87" fmla="*/ 378 h 829"/>
                  <a:gd name="T88" fmla="*/ 865 w 1153"/>
                  <a:gd name="T89" fmla="*/ 416 h 829"/>
                  <a:gd name="T90" fmla="*/ 891 w 1153"/>
                  <a:gd name="T91" fmla="*/ 469 h 829"/>
                  <a:gd name="T92" fmla="*/ 848 w 1153"/>
                  <a:gd name="T93" fmla="*/ 507 h 829"/>
                  <a:gd name="T94" fmla="*/ 850 w 1153"/>
                  <a:gd name="T95" fmla="*/ 552 h 829"/>
                  <a:gd name="T96" fmla="*/ 805 w 1153"/>
                  <a:gd name="T97" fmla="*/ 486 h 829"/>
                  <a:gd name="T98" fmla="*/ 768 w 1153"/>
                  <a:gd name="T99" fmla="*/ 424 h 829"/>
                  <a:gd name="T100" fmla="*/ 708 w 1153"/>
                  <a:gd name="T101" fmla="*/ 441 h 829"/>
                  <a:gd name="T102" fmla="*/ 700 w 1153"/>
                  <a:gd name="T103" fmla="*/ 462 h 829"/>
                  <a:gd name="T104" fmla="*/ 653 w 1153"/>
                  <a:gd name="T105" fmla="*/ 499 h 829"/>
                  <a:gd name="T106" fmla="*/ 602 w 1153"/>
                  <a:gd name="T107" fmla="*/ 409 h 829"/>
                  <a:gd name="T108" fmla="*/ 469 w 1153"/>
                  <a:gd name="T109" fmla="*/ 346 h 829"/>
                  <a:gd name="T110" fmla="*/ 512 w 1153"/>
                  <a:gd name="T111" fmla="*/ 373 h 829"/>
                  <a:gd name="T112" fmla="*/ 510 w 1153"/>
                  <a:gd name="T113" fmla="*/ 442 h 829"/>
                  <a:gd name="T114" fmla="*/ 379 w 1153"/>
                  <a:gd name="T115" fmla="*/ 362 h 829"/>
                  <a:gd name="T116" fmla="*/ 497 w 1153"/>
                  <a:gd name="T117" fmla="*/ 460 h 829"/>
                  <a:gd name="T118" fmla="*/ 480 w 1153"/>
                  <a:gd name="T119" fmla="*/ 539 h 829"/>
                  <a:gd name="T120" fmla="*/ 420 w 1153"/>
                  <a:gd name="T121" fmla="*/ 631 h 829"/>
                  <a:gd name="T122" fmla="*/ 394 w 1153"/>
                  <a:gd name="T123" fmla="*/ 729 h 8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53" h="829">
                    <a:moveTo>
                      <a:pt x="306" y="829"/>
                    </a:moveTo>
                    <a:cubicBezTo>
                      <a:pt x="266" y="829"/>
                      <a:pt x="266" y="829"/>
                      <a:pt x="266" y="829"/>
                    </a:cubicBezTo>
                    <a:cubicBezTo>
                      <a:pt x="262" y="829"/>
                      <a:pt x="258" y="827"/>
                      <a:pt x="257" y="824"/>
                    </a:cubicBezTo>
                    <a:cubicBezTo>
                      <a:pt x="235" y="777"/>
                      <a:pt x="235" y="777"/>
                      <a:pt x="235" y="777"/>
                    </a:cubicBezTo>
                    <a:cubicBezTo>
                      <a:pt x="235" y="776"/>
                      <a:pt x="235" y="776"/>
                      <a:pt x="235" y="776"/>
                    </a:cubicBezTo>
                    <a:cubicBezTo>
                      <a:pt x="204" y="699"/>
                      <a:pt x="205" y="695"/>
                      <a:pt x="206" y="691"/>
                    </a:cubicBezTo>
                    <a:cubicBezTo>
                      <a:pt x="208" y="687"/>
                      <a:pt x="217" y="661"/>
                      <a:pt x="220" y="652"/>
                    </a:cubicBezTo>
                    <a:cubicBezTo>
                      <a:pt x="208" y="607"/>
                      <a:pt x="208" y="607"/>
                      <a:pt x="208" y="607"/>
                    </a:cubicBezTo>
                    <a:cubicBezTo>
                      <a:pt x="191" y="578"/>
                      <a:pt x="191" y="578"/>
                      <a:pt x="191" y="578"/>
                    </a:cubicBezTo>
                    <a:cubicBezTo>
                      <a:pt x="190" y="576"/>
                      <a:pt x="190" y="574"/>
                      <a:pt x="190" y="573"/>
                    </a:cubicBezTo>
                    <a:cubicBezTo>
                      <a:pt x="190" y="544"/>
                      <a:pt x="190" y="544"/>
                      <a:pt x="190" y="544"/>
                    </a:cubicBezTo>
                    <a:cubicBezTo>
                      <a:pt x="184" y="536"/>
                      <a:pt x="184" y="536"/>
                      <a:pt x="184" y="536"/>
                    </a:cubicBezTo>
                    <a:cubicBezTo>
                      <a:pt x="171" y="536"/>
                      <a:pt x="171" y="536"/>
                      <a:pt x="171" y="536"/>
                    </a:cubicBezTo>
                    <a:cubicBezTo>
                      <a:pt x="168" y="536"/>
                      <a:pt x="165" y="535"/>
                      <a:pt x="163" y="533"/>
                    </a:cubicBezTo>
                    <a:cubicBezTo>
                      <a:pt x="152" y="521"/>
                      <a:pt x="152" y="521"/>
                      <a:pt x="152" y="521"/>
                    </a:cubicBezTo>
                    <a:cubicBezTo>
                      <a:pt x="111" y="535"/>
                      <a:pt x="111" y="535"/>
                      <a:pt x="111" y="535"/>
                    </a:cubicBezTo>
                    <a:cubicBezTo>
                      <a:pt x="110" y="536"/>
                      <a:pt x="109" y="536"/>
                      <a:pt x="108" y="536"/>
                    </a:cubicBezTo>
                    <a:cubicBezTo>
                      <a:pt x="71" y="536"/>
                      <a:pt x="71" y="536"/>
                      <a:pt x="71" y="536"/>
                    </a:cubicBezTo>
                    <a:cubicBezTo>
                      <a:pt x="68" y="536"/>
                      <a:pt x="65" y="535"/>
                      <a:pt x="63" y="532"/>
                    </a:cubicBezTo>
                    <a:cubicBezTo>
                      <a:pt x="3" y="457"/>
                      <a:pt x="3" y="457"/>
                      <a:pt x="3" y="457"/>
                    </a:cubicBezTo>
                    <a:cubicBezTo>
                      <a:pt x="0" y="454"/>
                      <a:pt x="0" y="450"/>
                      <a:pt x="1" y="447"/>
                    </a:cubicBezTo>
                    <a:cubicBezTo>
                      <a:pt x="11" y="424"/>
                      <a:pt x="11" y="424"/>
                      <a:pt x="11" y="424"/>
                    </a:cubicBezTo>
                    <a:cubicBezTo>
                      <a:pt x="1" y="401"/>
                      <a:pt x="1" y="401"/>
                      <a:pt x="1" y="401"/>
                    </a:cubicBezTo>
                    <a:cubicBezTo>
                      <a:pt x="0" y="397"/>
                      <a:pt x="1" y="392"/>
                      <a:pt x="3" y="390"/>
                    </a:cubicBezTo>
                    <a:cubicBezTo>
                      <a:pt x="91" y="297"/>
                      <a:pt x="91" y="297"/>
                      <a:pt x="91" y="297"/>
                    </a:cubicBezTo>
                    <a:cubicBezTo>
                      <a:pt x="93" y="295"/>
                      <a:pt x="96" y="294"/>
                      <a:pt x="99" y="294"/>
                    </a:cubicBezTo>
                    <a:cubicBezTo>
                      <a:pt x="120" y="294"/>
                      <a:pt x="120" y="294"/>
                      <a:pt x="120" y="294"/>
                    </a:cubicBezTo>
                    <a:cubicBezTo>
                      <a:pt x="146" y="282"/>
                      <a:pt x="146" y="282"/>
                      <a:pt x="146" y="282"/>
                    </a:cubicBezTo>
                    <a:cubicBezTo>
                      <a:pt x="147" y="281"/>
                      <a:pt x="149" y="281"/>
                      <a:pt x="150" y="281"/>
                    </a:cubicBezTo>
                    <a:cubicBezTo>
                      <a:pt x="194" y="282"/>
                      <a:pt x="194" y="282"/>
                      <a:pt x="194" y="282"/>
                    </a:cubicBezTo>
                    <a:cubicBezTo>
                      <a:pt x="198" y="282"/>
                      <a:pt x="202" y="285"/>
                      <a:pt x="204" y="288"/>
                    </a:cubicBezTo>
                    <a:cubicBezTo>
                      <a:pt x="212" y="307"/>
                      <a:pt x="212" y="307"/>
                      <a:pt x="212" y="307"/>
                    </a:cubicBezTo>
                    <a:cubicBezTo>
                      <a:pt x="251" y="315"/>
                      <a:pt x="251" y="315"/>
                      <a:pt x="251" y="315"/>
                    </a:cubicBezTo>
                    <a:cubicBezTo>
                      <a:pt x="257" y="315"/>
                      <a:pt x="257" y="315"/>
                      <a:pt x="257" y="315"/>
                    </a:cubicBezTo>
                    <a:cubicBezTo>
                      <a:pt x="258" y="311"/>
                      <a:pt x="262" y="308"/>
                      <a:pt x="267" y="309"/>
                    </a:cubicBezTo>
                    <a:cubicBezTo>
                      <a:pt x="302" y="312"/>
                      <a:pt x="302" y="312"/>
                      <a:pt x="302" y="312"/>
                    </a:cubicBezTo>
                    <a:cubicBezTo>
                      <a:pt x="355" y="317"/>
                      <a:pt x="355" y="317"/>
                      <a:pt x="355" y="317"/>
                    </a:cubicBezTo>
                    <a:cubicBezTo>
                      <a:pt x="359" y="316"/>
                      <a:pt x="359" y="316"/>
                      <a:pt x="359" y="316"/>
                    </a:cubicBezTo>
                    <a:cubicBezTo>
                      <a:pt x="361" y="295"/>
                      <a:pt x="361" y="295"/>
                      <a:pt x="361" y="295"/>
                    </a:cubicBezTo>
                    <a:cubicBezTo>
                      <a:pt x="340" y="300"/>
                      <a:pt x="340" y="300"/>
                      <a:pt x="340" y="300"/>
                    </a:cubicBezTo>
                    <a:cubicBezTo>
                      <a:pt x="336" y="300"/>
                      <a:pt x="333" y="299"/>
                      <a:pt x="330" y="297"/>
                    </a:cubicBezTo>
                    <a:cubicBezTo>
                      <a:pt x="299" y="266"/>
                      <a:pt x="299" y="266"/>
                      <a:pt x="299" y="266"/>
                    </a:cubicBezTo>
                    <a:cubicBezTo>
                      <a:pt x="297" y="266"/>
                      <a:pt x="297" y="266"/>
                      <a:pt x="297" y="266"/>
                    </a:cubicBezTo>
                    <a:cubicBezTo>
                      <a:pt x="297" y="284"/>
                      <a:pt x="297" y="284"/>
                      <a:pt x="297" y="284"/>
                    </a:cubicBezTo>
                    <a:cubicBezTo>
                      <a:pt x="297" y="287"/>
                      <a:pt x="295" y="291"/>
                      <a:pt x="292" y="293"/>
                    </a:cubicBezTo>
                    <a:cubicBezTo>
                      <a:pt x="288" y="294"/>
                      <a:pt x="284" y="294"/>
                      <a:pt x="281" y="292"/>
                    </a:cubicBezTo>
                    <a:cubicBezTo>
                      <a:pt x="267" y="284"/>
                      <a:pt x="267" y="284"/>
                      <a:pt x="267" y="284"/>
                    </a:cubicBezTo>
                    <a:cubicBezTo>
                      <a:pt x="265" y="283"/>
                      <a:pt x="264" y="282"/>
                      <a:pt x="263" y="281"/>
                    </a:cubicBezTo>
                    <a:cubicBezTo>
                      <a:pt x="250" y="262"/>
                      <a:pt x="250" y="262"/>
                      <a:pt x="250" y="262"/>
                    </a:cubicBezTo>
                    <a:cubicBezTo>
                      <a:pt x="250" y="261"/>
                      <a:pt x="250" y="261"/>
                      <a:pt x="250" y="261"/>
                    </a:cubicBezTo>
                    <a:cubicBezTo>
                      <a:pt x="228" y="223"/>
                      <a:pt x="228" y="223"/>
                      <a:pt x="228" y="223"/>
                    </a:cubicBezTo>
                    <a:cubicBezTo>
                      <a:pt x="218" y="227"/>
                      <a:pt x="218" y="227"/>
                      <a:pt x="218" y="227"/>
                    </a:cubicBezTo>
                    <a:cubicBezTo>
                      <a:pt x="248" y="262"/>
                      <a:pt x="248" y="262"/>
                      <a:pt x="248" y="262"/>
                    </a:cubicBezTo>
                    <a:cubicBezTo>
                      <a:pt x="251" y="266"/>
                      <a:pt x="251" y="271"/>
                      <a:pt x="248" y="275"/>
                    </a:cubicBezTo>
                    <a:cubicBezTo>
                      <a:pt x="239" y="287"/>
                      <a:pt x="239" y="287"/>
                      <a:pt x="239" y="287"/>
                    </a:cubicBezTo>
                    <a:cubicBezTo>
                      <a:pt x="237" y="290"/>
                      <a:pt x="232" y="292"/>
                      <a:pt x="228" y="291"/>
                    </a:cubicBezTo>
                    <a:cubicBezTo>
                      <a:pt x="224" y="290"/>
                      <a:pt x="221" y="286"/>
                      <a:pt x="221" y="282"/>
                    </a:cubicBezTo>
                    <a:cubicBezTo>
                      <a:pt x="218" y="267"/>
                      <a:pt x="218" y="267"/>
                      <a:pt x="218" y="267"/>
                    </a:cubicBezTo>
                    <a:cubicBezTo>
                      <a:pt x="194" y="244"/>
                      <a:pt x="194" y="244"/>
                      <a:pt x="194" y="244"/>
                    </a:cubicBezTo>
                    <a:cubicBezTo>
                      <a:pt x="150" y="248"/>
                      <a:pt x="150" y="248"/>
                      <a:pt x="150" y="248"/>
                    </a:cubicBezTo>
                    <a:cubicBezTo>
                      <a:pt x="129" y="279"/>
                      <a:pt x="129" y="279"/>
                      <a:pt x="129" y="279"/>
                    </a:cubicBezTo>
                    <a:cubicBezTo>
                      <a:pt x="128" y="282"/>
                      <a:pt x="125" y="283"/>
                      <a:pt x="123" y="284"/>
                    </a:cubicBezTo>
                    <a:cubicBezTo>
                      <a:pt x="86" y="292"/>
                      <a:pt x="86" y="292"/>
                      <a:pt x="86" y="292"/>
                    </a:cubicBezTo>
                    <a:cubicBezTo>
                      <a:pt x="83" y="293"/>
                      <a:pt x="80" y="292"/>
                      <a:pt x="78" y="290"/>
                    </a:cubicBezTo>
                    <a:cubicBezTo>
                      <a:pt x="75" y="288"/>
                      <a:pt x="74" y="286"/>
                      <a:pt x="74" y="282"/>
                    </a:cubicBezTo>
                    <a:cubicBezTo>
                      <a:pt x="72" y="236"/>
                      <a:pt x="72" y="236"/>
                      <a:pt x="72" y="236"/>
                    </a:cubicBezTo>
                    <a:cubicBezTo>
                      <a:pt x="72" y="233"/>
                      <a:pt x="73" y="230"/>
                      <a:pt x="75" y="228"/>
                    </a:cubicBezTo>
                    <a:cubicBezTo>
                      <a:pt x="77" y="226"/>
                      <a:pt x="80" y="225"/>
                      <a:pt x="83" y="225"/>
                    </a:cubicBezTo>
                    <a:cubicBezTo>
                      <a:pt x="118" y="225"/>
                      <a:pt x="118" y="225"/>
                      <a:pt x="118" y="225"/>
                    </a:cubicBezTo>
                    <a:cubicBezTo>
                      <a:pt x="119" y="217"/>
                      <a:pt x="119" y="217"/>
                      <a:pt x="119" y="217"/>
                    </a:cubicBezTo>
                    <a:cubicBezTo>
                      <a:pt x="109" y="212"/>
                      <a:pt x="109" y="212"/>
                      <a:pt x="109" y="212"/>
                    </a:cubicBezTo>
                    <a:cubicBezTo>
                      <a:pt x="105" y="210"/>
                      <a:pt x="103" y="207"/>
                      <a:pt x="103" y="203"/>
                    </a:cubicBezTo>
                    <a:cubicBezTo>
                      <a:pt x="103" y="200"/>
                      <a:pt x="105" y="196"/>
                      <a:pt x="108" y="194"/>
                    </a:cubicBezTo>
                    <a:cubicBezTo>
                      <a:pt x="129" y="181"/>
                      <a:pt x="129" y="181"/>
                      <a:pt x="129" y="181"/>
                    </a:cubicBezTo>
                    <a:cubicBezTo>
                      <a:pt x="115" y="172"/>
                      <a:pt x="115" y="172"/>
                      <a:pt x="115" y="172"/>
                    </a:cubicBezTo>
                    <a:cubicBezTo>
                      <a:pt x="112" y="170"/>
                      <a:pt x="110" y="166"/>
                      <a:pt x="111" y="162"/>
                    </a:cubicBezTo>
                    <a:cubicBezTo>
                      <a:pt x="112" y="154"/>
                      <a:pt x="112" y="154"/>
                      <a:pt x="112" y="154"/>
                    </a:cubicBezTo>
                    <a:cubicBezTo>
                      <a:pt x="106" y="149"/>
                      <a:pt x="106" y="149"/>
                      <a:pt x="106" y="149"/>
                    </a:cubicBezTo>
                    <a:cubicBezTo>
                      <a:pt x="103" y="145"/>
                      <a:pt x="102" y="140"/>
                      <a:pt x="105" y="136"/>
                    </a:cubicBezTo>
                    <a:cubicBezTo>
                      <a:pt x="114" y="122"/>
                      <a:pt x="114" y="122"/>
                      <a:pt x="114" y="122"/>
                    </a:cubicBezTo>
                    <a:cubicBezTo>
                      <a:pt x="116" y="120"/>
                      <a:pt x="119" y="118"/>
                      <a:pt x="122" y="118"/>
                    </a:cubicBezTo>
                    <a:cubicBezTo>
                      <a:pt x="125" y="118"/>
                      <a:pt x="128" y="119"/>
                      <a:pt x="130" y="122"/>
                    </a:cubicBezTo>
                    <a:cubicBezTo>
                      <a:pt x="160" y="160"/>
                      <a:pt x="160" y="160"/>
                      <a:pt x="160" y="160"/>
                    </a:cubicBezTo>
                    <a:cubicBezTo>
                      <a:pt x="169" y="150"/>
                      <a:pt x="169" y="150"/>
                      <a:pt x="169" y="150"/>
                    </a:cubicBezTo>
                    <a:cubicBezTo>
                      <a:pt x="171" y="148"/>
                      <a:pt x="174" y="147"/>
                      <a:pt x="177" y="147"/>
                    </a:cubicBezTo>
                    <a:cubicBezTo>
                      <a:pt x="199" y="147"/>
                      <a:pt x="199" y="147"/>
                      <a:pt x="199" y="147"/>
                    </a:cubicBezTo>
                    <a:cubicBezTo>
                      <a:pt x="251" y="139"/>
                      <a:pt x="251" y="139"/>
                      <a:pt x="251" y="139"/>
                    </a:cubicBezTo>
                    <a:cubicBezTo>
                      <a:pt x="280" y="120"/>
                      <a:pt x="280" y="120"/>
                      <a:pt x="280" y="120"/>
                    </a:cubicBezTo>
                    <a:cubicBezTo>
                      <a:pt x="262" y="91"/>
                      <a:pt x="262" y="91"/>
                      <a:pt x="262" y="91"/>
                    </a:cubicBezTo>
                    <a:cubicBezTo>
                      <a:pt x="252" y="112"/>
                      <a:pt x="252" y="112"/>
                      <a:pt x="252" y="112"/>
                    </a:cubicBezTo>
                    <a:cubicBezTo>
                      <a:pt x="251" y="113"/>
                      <a:pt x="251" y="114"/>
                      <a:pt x="250" y="115"/>
                    </a:cubicBezTo>
                    <a:cubicBezTo>
                      <a:pt x="233" y="132"/>
                      <a:pt x="233" y="132"/>
                      <a:pt x="233" y="132"/>
                    </a:cubicBezTo>
                    <a:cubicBezTo>
                      <a:pt x="232" y="133"/>
                      <a:pt x="232" y="133"/>
                      <a:pt x="232" y="133"/>
                    </a:cubicBezTo>
                    <a:cubicBezTo>
                      <a:pt x="223" y="140"/>
                      <a:pt x="223" y="140"/>
                      <a:pt x="223" y="140"/>
                    </a:cubicBezTo>
                    <a:cubicBezTo>
                      <a:pt x="220" y="142"/>
                      <a:pt x="215" y="143"/>
                      <a:pt x="212" y="140"/>
                    </a:cubicBezTo>
                    <a:cubicBezTo>
                      <a:pt x="202" y="134"/>
                      <a:pt x="202" y="134"/>
                      <a:pt x="202" y="134"/>
                    </a:cubicBezTo>
                    <a:cubicBezTo>
                      <a:pt x="182" y="137"/>
                      <a:pt x="182" y="137"/>
                      <a:pt x="182" y="137"/>
                    </a:cubicBezTo>
                    <a:cubicBezTo>
                      <a:pt x="177" y="138"/>
                      <a:pt x="172" y="134"/>
                      <a:pt x="171" y="129"/>
                    </a:cubicBezTo>
                    <a:cubicBezTo>
                      <a:pt x="167" y="108"/>
                      <a:pt x="167" y="108"/>
                      <a:pt x="167" y="108"/>
                    </a:cubicBezTo>
                    <a:cubicBezTo>
                      <a:pt x="166" y="105"/>
                      <a:pt x="167" y="101"/>
                      <a:pt x="169" y="99"/>
                    </a:cubicBezTo>
                    <a:cubicBezTo>
                      <a:pt x="221" y="47"/>
                      <a:pt x="221" y="47"/>
                      <a:pt x="221" y="47"/>
                    </a:cubicBezTo>
                    <a:cubicBezTo>
                      <a:pt x="222" y="46"/>
                      <a:pt x="223" y="45"/>
                      <a:pt x="225" y="45"/>
                    </a:cubicBezTo>
                    <a:cubicBezTo>
                      <a:pt x="278" y="30"/>
                      <a:pt x="278" y="30"/>
                      <a:pt x="278" y="30"/>
                    </a:cubicBezTo>
                    <a:cubicBezTo>
                      <a:pt x="278" y="30"/>
                      <a:pt x="279" y="30"/>
                      <a:pt x="279" y="30"/>
                    </a:cubicBezTo>
                    <a:cubicBezTo>
                      <a:pt x="344" y="20"/>
                      <a:pt x="344" y="20"/>
                      <a:pt x="344" y="20"/>
                    </a:cubicBezTo>
                    <a:cubicBezTo>
                      <a:pt x="349" y="19"/>
                      <a:pt x="354" y="22"/>
                      <a:pt x="355" y="27"/>
                    </a:cubicBezTo>
                    <a:cubicBezTo>
                      <a:pt x="360" y="43"/>
                      <a:pt x="360" y="43"/>
                      <a:pt x="360" y="43"/>
                    </a:cubicBezTo>
                    <a:cubicBezTo>
                      <a:pt x="361" y="47"/>
                      <a:pt x="359" y="52"/>
                      <a:pt x="355" y="54"/>
                    </a:cubicBezTo>
                    <a:cubicBezTo>
                      <a:pt x="329" y="72"/>
                      <a:pt x="329" y="72"/>
                      <a:pt x="329" y="72"/>
                    </a:cubicBezTo>
                    <a:cubicBezTo>
                      <a:pt x="331" y="81"/>
                      <a:pt x="331" y="81"/>
                      <a:pt x="331" y="81"/>
                    </a:cubicBezTo>
                    <a:cubicBezTo>
                      <a:pt x="356" y="62"/>
                      <a:pt x="356" y="62"/>
                      <a:pt x="356" y="62"/>
                    </a:cubicBezTo>
                    <a:cubicBezTo>
                      <a:pt x="357" y="61"/>
                      <a:pt x="358" y="61"/>
                      <a:pt x="359" y="60"/>
                    </a:cubicBezTo>
                    <a:cubicBezTo>
                      <a:pt x="390" y="52"/>
                      <a:pt x="390" y="52"/>
                      <a:pt x="390" y="52"/>
                    </a:cubicBezTo>
                    <a:cubicBezTo>
                      <a:pt x="390" y="52"/>
                      <a:pt x="390" y="52"/>
                      <a:pt x="391" y="52"/>
                    </a:cubicBezTo>
                    <a:cubicBezTo>
                      <a:pt x="446" y="43"/>
                      <a:pt x="446" y="43"/>
                      <a:pt x="446" y="43"/>
                    </a:cubicBezTo>
                    <a:cubicBezTo>
                      <a:pt x="447" y="43"/>
                      <a:pt x="448" y="43"/>
                      <a:pt x="449" y="43"/>
                    </a:cubicBezTo>
                    <a:cubicBezTo>
                      <a:pt x="472" y="44"/>
                      <a:pt x="472" y="44"/>
                      <a:pt x="472" y="44"/>
                    </a:cubicBezTo>
                    <a:cubicBezTo>
                      <a:pt x="471" y="41"/>
                      <a:pt x="471" y="36"/>
                      <a:pt x="474" y="33"/>
                    </a:cubicBezTo>
                    <a:cubicBezTo>
                      <a:pt x="494" y="14"/>
                      <a:pt x="494" y="14"/>
                      <a:pt x="494" y="14"/>
                    </a:cubicBezTo>
                    <a:cubicBezTo>
                      <a:pt x="497" y="10"/>
                      <a:pt x="504" y="10"/>
                      <a:pt x="508" y="13"/>
                    </a:cubicBezTo>
                    <a:cubicBezTo>
                      <a:pt x="523" y="28"/>
                      <a:pt x="523" y="28"/>
                      <a:pt x="523" y="28"/>
                    </a:cubicBezTo>
                    <a:cubicBezTo>
                      <a:pt x="580" y="1"/>
                      <a:pt x="580" y="1"/>
                      <a:pt x="580" y="1"/>
                    </a:cubicBezTo>
                    <a:cubicBezTo>
                      <a:pt x="581" y="1"/>
                      <a:pt x="583" y="0"/>
                      <a:pt x="584" y="0"/>
                    </a:cubicBezTo>
                    <a:cubicBezTo>
                      <a:pt x="681" y="0"/>
                      <a:pt x="681" y="0"/>
                      <a:pt x="681" y="0"/>
                    </a:cubicBezTo>
                    <a:cubicBezTo>
                      <a:pt x="687" y="0"/>
                      <a:pt x="692" y="5"/>
                      <a:pt x="692" y="11"/>
                    </a:cubicBezTo>
                    <a:cubicBezTo>
                      <a:pt x="692" y="21"/>
                      <a:pt x="692" y="21"/>
                      <a:pt x="692" y="21"/>
                    </a:cubicBezTo>
                    <a:cubicBezTo>
                      <a:pt x="814" y="33"/>
                      <a:pt x="814" y="33"/>
                      <a:pt x="814" y="33"/>
                    </a:cubicBezTo>
                    <a:cubicBezTo>
                      <a:pt x="854" y="24"/>
                      <a:pt x="854" y="24"/>
                      <a:pt x="854" y="24"/>
                    </a:cubicBezTo>
                    <a:cubicBezTo>
                      <a:pt x="855" y="24"/>
                      <a:pt x="856" y="24"/>
                      <a:pt x="857" y="24"/>
                    </a:cubicBezTo>
                    <a:cubicBezTo>
                      <a:pt x="954" y="35"/>
                      <a:pt x="1100" y="51"/>
                      <a:pt x="1108" y="52"/>
                    </a:cubicBezTo>
                    <a:cubicBezTo>
                      <a:pt x="1110" y="52"/>
                      <a:pt x="1116" y="52"/>
                      <a:pt x="1146" y="64"/>
                    </a:cubicBezTo>
                    <a:cubicBezTo>
                      <a:pt x="1150" y="66"/>
                      <a:pt x="1153" y="71"/>
                      <a:pt x="1152" y="75"/>
                    </a:cubicBezTo>
                    <a:cubicBezTo>
                      <a:pt x="1151" y="80"/>
                      <a:pt x="1147" y="84"/>
                      <a:pt x="1143" y="84"/>
                    </a:cubicBezTo>
                    <a:cubicBezTo>
                      <a:pt x="1110" y="86"/>
                      <a:pt x="1110" y="86"/>
                      <a:pt x="1110" y="86"/>
                    </a:cubicBezTo>
                    <a:cubicBezTo>
                      <a:pt x="1114" y="93"/>
                      <a:pt x="1114" y="93"/>
                      <a:pt x="1114" y="93"/>
                    </a:cubicBezTo>
                    <a:cubicBezTo>
                      <a:pt x="1116" y="96"/>
                      <a:pt x="1116" y="99"/>
                      <a:pt x="1115" y="102"/>
                    </a:cubicBezTo>
                    <a:cubicBezTo>
                      <a:pt x="1114" y="105"/>
                      <a:pt x="1112" y="107"/>
                      <a:pt x="1110" y="108"/>
                    </a:cubicBezTo>
                    <a:cubicBezTo>
                      <a:pt x="1076" y="124"/>
                      <a:pt x="1076" y="124"/>
                      <a:pt x="1076" y="124"/>
                    </a:cubicBezTo>
                    <a:cubicBezTo>
                      <a:pt x="1092" y="149"/>
                      <a:pt x="1092" y="149"/>
                      <a:pt x="1092" y="149"/>
                    </a:cubicBezTo>
                    <a:cubicBezTo>
                      <a:pt x="1094" y="153"/>
                      <a:pt x="1094" y="158"/>
                      <a:pt x="1091" y="161"/>
                    </a:cubicBezTo>
                    <a:cubicBezTo>
                      <a:pt x="1085" y="168"/>
                      <a:pt x="1085" y="168"/>
                      <a:pt x="1085" y="168"/>
                    </a:cubicBezTo>
                    <a:cubicBezTo>
                      <a:pt x="1082" y="172"/>
                      <a:pt x="1076" y="173"/>
                      <a:pt x="1072" y="170"/>
                    </a:cubicBezTo>
                    <a:cubicBezTo>
                      <a:pt x="1038" y="148"/>
                      <a:pt x="1038" y="148"/>
                      <a:pt x="1038" y="148"/>
                    </a:cubicBezTo>
                    <a:cubicBezTo>
                      <a:pt x="1035" y="146"/>
                      <a:pt x="1033" y="143"/>
                      <a:pt x="1033" y="139"/>
                    </a:cubicBezTo>
                    <a:cubicBezTo>
                      <a:pt x="1035" y="113"/>
                      <a:pt x="1035" y="113"/>
                      <a:pt x="1035" y="113"/>
                    </a:cubicBezTo>
                    <a:cubicBezTo>
                      <a:pt x="1010" y="113"/>
                      <a:pt x="1010" y="113"/>
                      <a:pt x="1010" y="113"/>
                    </a:cubicBezTo>
                    <a:cubicBezTo>
                      <a:pt x="1012" y="116"/>
                      <a:pt x="1012" y="120"/>
                      <a:pt x="1010" y="123"/>
                    </a:cubicBezTo>
                    <a:cubicBezTo>
                      <a:pt x="1008" y="126"/>
                      <a:pt x="1005" y="128"/>
                      <a:pt x="1001" y="128"/>
                    </a:cubicBezTo>
                    <a:cubicBezTo>
                      <a:pt x="951" y="128"/>
                      <a:pt x="951" y="128"/>
                      <a:pt x="951" y="128"/>
                    </a:cubicBezTo>
                    <a:cubicBezTo>
                      <a:pt x="940" y="145"/>
                      <a:pt x="940" y="145"/>
                      <a:pt x="940" y="145"/>
                    </a:cubicBezTo>
                    <a:cubicBezTo>
                      <a:pt x="974" y="153"/>
                      <a:pt x="974" y="153"/>
                      <a:pt x="974" y="153"/>
                    </a:cubicBezTo>
                    <a:cubicBezTo>
                      <a:pt x="976" y="154"/>
                      <a:pt x="977" y="155"/>
                      <a:pt x="979" y="156"/>
                    </a:cubicBezTo>
                    <a:cubicBezTo>
                      <a:pt x="1026" y="198"/>
                      <a:pt x="1026" y="198"/>
                      <a:pt x="1026" y="198"/>
                    </a:cubicBezTo>
                    <a:cubicBezTo>
                      <a:pt x="1029" y="201"/>
                      <a:pt x="1030" y="206"/>
                      <a:pt x="1029" y="210"/>
                    </a:cubicBezTo>
                    <a:cubicBezTo>
                      <a:pt x="1027" y="214"/>
                      <a:pt x="1023" y="217"/>
                      <a:pt x="1018" y="216"/>
                    </a:cubicBezTo>
                    <a:cubicBezTo>
                      <a:pt x="996" y="214"/>
                      <a:pt x="996" y="214"/>
                      <a:pt x="996" y="214"/>
                    </a:cubicBezTo>
                    <a:cubicBezTo>
                      <a:pt x="989" y="238"/>
                      <a:pt x="989" y="238"/>
                      <a:pt x="989" y="238"/>
                    </a:cubicBezTo>
                    <a:cubicBezTo>
                      <a:pt x="989" y="238"/>
                      <a:pt x="989" y="239"/>
                      <a:pt x="988" y="240"/>
                    </a:cubicBezTo>
                    <a:cubicBezTo>
                      <a:pt x="979" y="261"/>
                      <a:pt x="979" y="261"/>
                      <a:pt x="979" y="261"/>
                    </a:cubicBezTo>
                    <a:cubicBezTo>
                      <a:pt x="996" y="274"/>
                      <a:pt x="996" y="274"/>
                      <a:pt x="996" y="274"/>
                    </a:cubicBezTo>
                    <a:cubicBezTo>
                      <a:pt x="1000" y="278"/>
                      <a:pt x="1001" y="284"/>
                      <a:pt x="998" y="288"/>
                    </a:cubicBezTo>
                    <a:cubicBezTo>
                      <a:pt x="984" y="306"/>
                      <a:pt x="984" y="306"/>
                      <a:pt x="984" y="306"/>
                    </a:cubicBezTo>
                    <a:cubicBezTo>
                      <a:pt x="983" y="308"/>
                      <a:pt x="980" y="310"/>
                      <a:pt x="977" y="310"/>
                    </a:cubicBezTo>
                    <a:cubicBezTo>
                      <a:pt x="974" y="310"/>
                      <a:pt x="971" y="309"/>
                      <a:pt x="969" y="307"/>
                    </a:cubicBezTo>
                    <a:cubicBezTo>
                      <a:pt x="942" y="281"/>
                      <a:pt x="942" y="281"/>
                      <a:pt x="942" y="281"/>
                    </a:cubicBezTo>
                    <a:cubicBezTo>
                      <a:pt x="942" y="280"/>
                      <a:pt x="942" y="280"/>
                      <a:pt x="942" y="280"/>
                    </a:cubicBezTo>
                    <a:cubicBezTo>
                      <a:pt x="934" y="270"/>
                      <a:pt x="934" y="270"/>
                      <a:pt x="934" y="270"/>
                    </a:cubicBezTo>
                    <a:cubicBezTo>
                      <a:pt x="913" y="269"/>
                      <a:pt x="913" y="269"/>
                      <a:pt x="913" y="269"/>
                    </a:cubicBezTo>
                    <a:cubicBezTo>
                      <a:pt x="911" y="271"/>
                      <a:pt x="911" y="271"/>
                      <a:pt x="911" y="271"/>
                    </a:cubicBezTo>
                    <a:cubicBezTo>
                      <a:pt x="929" y="275"/>
                      <a:pt x="929" y="275"/>
                      <a:pt x="929" y="275"/>
                    </a:cubicBezTo>
                    <a:cubicBezTo>
                      <a:pt x="931" y="276"/>
                      <a:pt x="934" y="278"/>
                      <a:pt x="935" y="280"/>
                    </a:cubicBezTo>
                    <a:cubicBezTo>
                      <a:pt x="937" y="282"/>
                      <a:pt x="937" y="285"/>
                      <a:pt x="936" y="288"/>
                    </a:cubicBezTo>
                    <a:cubicBezTo>
                      <a:pt x="933" y="299"/>
                      <a:pt x="933" y="299"/>
                      <a:pt x="933" y="299"/>
                    </a:cubicBezTo>
                    <a:cubicBezTo>
                      <a:pt x="956" y="327"/>
                      <a:pt x="956" y="327"/>
                      <a:pt x="956" y="327"/>
                    </a:cubicBezTo>
                    <a:cubicBezTo>
                      <a:pt x="958" y="329"/>
                      <a:pt x="959" y="332"/>
                      <a:pt x="958" y="335"/>
                    </a:cubicBezTo>
                    <a:cubicBezTo>
                      <a:pt x="951" y="378"/>
                      <a:pt x="951" y="378"/>
                      <a:pt x="951" y="378"/>
                    </a:cubicBezTo>
                    <a:cubicBezTo>
                      <a:pt x="951" y="381"/>
                      <a:pt x="948" y="384"/>
                      <a:pt x="945" y="385"/>
                    </a:cubicBezTo>
                    <a:cubicBezTo>
                      <a:pt x="887" y="413"/>
                      <a:pt x="887" y="413"/>
                      <a:pt x="887" y="413"/>
                    </a:cubicBezTo>
                    <a:cubicBezTo>
                      <a:pt x="886" y="414"/>
                      <a:pt x="884" y="414"/>
                      <a:pt x="883" y="414"/>
                    </a:cubicBezTo>
                    <a:cubicBezTo>
                      <a:pt x="865" y="416"/>
                      <a:pt x="865" y="416"/>
                      <a:pt x="865" y="416"/>
                    </a:cubicBezTo>
                    <a:cubicBezTo>
                      <a:pt x="865" y="423"/>
                      <a:pt x="865" y="423"/>
                      <a:pt x="865" y="423"/>
                    </a:cubicBezTo>
                    <a:cubicBezTo>
                      <a:pt x="882" y="433"/>
                      <a:pt x="882" y="433"/>
                      <a:pt x="882" y="433"/>
                    </a:cubicBezTo>
                    <a:cubicBezTo>
                      <a:pt x="884" y="435"/>
                      <a:pt x="886" y="437"/>
                      <a:pt x="886" y="440"/>
                    </a:cubicBezTo>
                    <a:cubicBezTo>
                      <a:pt x="887" y="443"/>
                      <a:pt x="891" y="460"/>
                      <a:pt x="891" y="469"/>
                    </a:cubicBezTo>
                    <a:cubicBezTo>
                      <a:pt x="891" y="481"/>
                      <a:pt x="876" y="489"/>
                      <a:pt x="867" y="493"/>
                    </a:cubicBezTo>
                    <a:cubicBezTo>
                      <a:pt x="864" y="494"/>
                      <a:pt x="860" y="494"/>
                      <a:pt x="857" y="492"/>
                    </a:cubicBezTo>
                    <a:cubicBezTo>
                      <a:pt x="843" y="481"/>
                      <a:pt x="843" y="481"/>
                      <a:pt x="843" y="481"/>
                    </a:cubicBezTo>
                    <a:cubicBezTo>
                      <a:pt x="848" y="507"/>
                      <a:pt x="848" y="507"/>
                      <a:pt x="848" y="507"/>
                    </a:cubicBezTo>
                    <a:cubicBezTo>
                      <a:pt x="859" y="537"/>
                      <a:pt x="859" y="537"/>
                      <a:pt x="859" y="537"/>
                    </a:cubicBezTo>
                    <a:cubicBezTo>
                      <a:pt x="859" y="539"/>
                      <a:pt x="860" y="540"/>
                      <a:pt x="860" y="542"/>
                    </a:cubicBezTo>
                    <a:cubicBezTo>
                      <a:pt x="860" y="548"/>
                      <a:pt x="855" y="552"/>
                      <a:pt x="850" y="552"/>
                    </a:cubicBezTo>
                    <a:cubicBezTo>
                      <a:pt x="850" y="552"/>
                      <a:pt x="850" y="552"/>
                      <a:pt x="850" y="552"/>
                    </a:cubicBezTo>
                    <a:cubicBezTo>
                      <a:pt x="847" y="552"/>
                      <a:pt x="844" y="551"/>
                      <a:pt x="842" y="549"/>
                    </a:cubicBezTo>
                    <a:cubicBezTo>
                      <a:pt x="813" y="519"/>
                      <a:pt x="813" y="519"/>
                      <a:pt x="813" y="519"/>
                    </a:cubicBezTo>
                    <a:cubicBezTo>
                      <a:pt x="812" y="518"/>
                      <a:pt x="811" y="516"/>
                      <a:pt x="811" y="514"/>
                    </a:cubicBezTo>
                    <a:cubicBezTo>
                      <a:pt x="805" y="486"/>
                      <a:pt x="805" y="486"/>
                      <a:pt x="805" y="486"/>
                    </a:cubicBezTo>
                    <a:cubicBezTo>
                      <a:pt x="792" y="446"/>
                      <a:pt x="792" y="446"/>
                      <a:pt x="792" y="446"/>
                    </a:cubicBezTo>
                    <a:cubicBezTo>
                      <a:pt x="789" y="446"/>
                      <a:pt x="789" y="446"/>
                      <a:pt x="789" y="446"/>
                    </a:cubicBezTo>
                    <a:cubicBezTo>
                      <a:pt x="785" y="447"/>
                      <a:pt x="780" y="445"/>
                      <a:pt x="778" y="441"/>
                    </a:cubicBezTo>
                    <a:cubicBezTo>
                      <a:pt x="768" y="424"/>
                      <a:pt x="768" y="424"/>
                      <a:pt x="768" y="424"/>
                    </a:cubicBezTo>
                    <a:cubicBezTo>
                      <a:pt x="768" y="424"/>
                      <a:pt x="768" y="423"/>
                      <a:pt x="767" y="423"/>
                    </a:cubicBezTo>
                    <a:cubicBezTo>
                      <a:pt x="759" y="405"/>
                      <a:pt x="759" y="405"/>
                      <a:pt x="759" y="405"/>
                    </a:cubicBezTo>
                    <a:cubicBezTo>
                      <a:pt x="736" y="405"/>
                      <a:pt x="736" y="405"/>
                      <a:pt x="736" y="405"/>
                    </a:cubicBezTo>
                    <a:cubicBezTo>
                      <a:pt x="708" y="441"/>
                      <a:pt x="708" y="441"/>
                      <a:pt x="708" y="441"/>
                    </a:cubicBezTo>
                    <a:cubicBezTo>
                      <a:pt x="708" y="442"/>
                      <a:pt x="707" y="443"/>
                      <a:pt x="706" y="444"/>
                    </a:cubicBezTo>
                    <a:cubicBezTo>
                      <a:pt x="697" y="449"/>
                      <a:pt x="697" y="449"/>
                      <a:pt x="697" y="449"/>
                    </a:cubicBezTo>
                    <a:cubicBezTo>
                      <a:pt x="699" y="453"/>
                      <a:pt x="699" y="453"/>
                      <a:pt x="699" y="453"/>
                    </a:cubicBezTo>
                    <a:cubicBezTo>
                      <a:pt x="700" y="456"/>
                      <a:pt x="701" y="459"/>
                      <a:pt x="700" y="462"/>
                    </a:cubicBezTo>
                    <a:cubicBezTo>
                      <a:pt x="685" y="504"/>
                      <a:pt x="685" y="504"/>
                      <a:pt x="685" y="504"/>
                    </a:cubicBezTo>
                    <a:cubicBezTo>
                      <a:pt x="684" y="507"/>
                      <a:pt x="682" y="509"/>
                      <a:pt x="679" y="510"/>
                    </a:cubicBezTo>
                    <a:cubicBezTo>
                      <a:pt x="676" y="511"/>
                      <a:pt x="673" y="511"/>
                      <a:pt x="670" y="510"/>
                    </a:cubicBezTo>
                    <a:cubicBezTo>
                      <a:pt x="653" y="499"/>
                      <a:pt x="653" y="499"/>
                      <a:pt x="653" y="499"/>
                    </a:cubicBezTo>
                    <a:cubicBezTo>
                      <a:pt x="650" y="498"/>
                      <a:pt x="649" y="496"/>
                      <a:pt x="648" y="494"/>
                    </a:cubicBezTo>
                    <a:cubicBezTo>
                      <a:pt x="635" y="451"/>
                      <a:pt x="635" y="451"/>
                      <a:pt x="635" y="451"/>
                    </a:cubicBezTo>
                    <a:cubicBezTo>
                      <a:pt x="623" y="428"/>
                      <a:pt x="623" y="428"/>
                      <a:pt x="623" y="428"/>
                    </a:cubicBezTo>
                    <a:cubicBezTo>
                      <a:pt x="602" y="409"/>
                      <a:pt x="602" y="409"/>
                      <a:pt x="602" y="409"/>
                    </a:cubicBezTo>
                    <a:cubicBezTo>
                      <a:pt x="602" y="408"/>
                      <a:pt x="602" y="408"/>
                      <a:pt x="601" y="407"/>
                    </a:cubicBezTo>
                    <a:cubicBezTo>
                      <a:pt x="584" y="384"/>
                      <a:pt x="584" y="384"/>
                      <a:pt x="584" y="384"/>
                    </a:cubicBezTo>
                    <a:cubicBezTo>
                      <a:pt x="534" y="359"/>
                      <a:pt x="534" y="359"/>
                      <a:pt x="534" y="359"/>
                    </a:cubicBezTo>
                    <a:cubicBezTo>
                      <a:pt x="469" y="346"/>
                      <a:pt x="469" y="346"/>
                      <a:pt x="469" y="346"/>
                    </a:cubicBezTo>
                    <a:cubicBezTo>
                      <a:pt x="464" y="350"/>
                      <a:pt x="464" y="350"/>
                      <a:pt x="464" y="350"/>
                    </a:cubicBezTo>
                    <a:cubicBezTo>
                      <a:pt x="484" y="372"/>
                      <a:pt x="484" y="372"/>
                      <a:pt x="484" y="372"/>
                    </a:cubicBezTo>
                    <a:cubicBezTo>
                      <a:pt x="508" y="372"/>
                      <a:pt x="508" y="372"/>
                      <a:pt x="508" y="372"/>
                    </a:cubicBezTo>
                    <a:cubicBezTo>
                      <a:pt x="509" y="372"/>
                      <a:pt x="511" y="372"/>
                      <a:pt x="512" y="373"/>
                    </a:cubicBezTo>
                    <a:cubicBezTo>
                      <a:pt x="542" y="386"/>
                      <a:pt x="542" y="386"/>
                      <a:pt x="542" y="386"/>
                    </a:cubicBezTo>
                    <a:cubicBezTo>
                      <a:pt x="545" y="387"/>
                      <a:pt x="547" y="390"/>
                      <a:pt x="548" y="393"/>
                    </a:cubicBezTo>
                    <a:cubicBezTo>
                      <a:pt x="548" y="396"/>
                      <a:pt x="547" y="400"/>
                      <a:pt x="545" y="402"/>
                    </a:cubicBezTo>
                    <a:cubicBezTo>
                      <a:pt x="510" y="442"/>
                      <a:pt x="510" y="442"/>
                      <a:pt x="510" y="442"/>
                    </a:cubicBezTo>
                    <a:cubicBezTo>
                      <a:pt x="509" y="443"/>
                      <a:pt x="507" y="444"/>
                      <a:pt x="505" y="445"/>
                    </a:cubicBezTo>
                    <a:cubicBezTo>
                      <a:pt x="440" y="461"/>
                      <a:pt x="440" y="461"/>
                      <a:pt x="440" y="461"/>
                    </a:cubicBezTo>
                    <a:cubicBezTo>
                      <a:pt x="436" y="462"/>
                      <a:pt x="431" y="460"/>
                      <a:pt x="429" y="456"/>
                    </a:cubicBezTo>
                    <a:cubicBezTo>
                      <a:pt x="379" y="362"/>
                      <a:pt x="379" y="362"/>
                      <a:pt x="379" y="362"/>
                    </a:cubicBezTo>
                    <a:cubicBezTo>
                      <a:pt x="366" y="370"/>
                      <a:pt x="366" y="370"/>
                      <a:pt x="366" y="370"/>
                    </a:cubicBezTo>
                    <a:cubicBezTo>
                      <a:pt x="433" y="476"/>
                      <a:pt x="433" y="476"/>
                      <a:pt x="433" y="476"/>
                    </a:cubicBezTo>
                    <a:cubicBezTo>
                      <a:pt x="487" y="459"/>
                      <a:pt x="487" y="459"/>
                      <a:pt x="487" y="459"/>
                    </a:cubicBezTo>
                    <a:cubicBezTo>
                      <a:pt x="491" y="458"/>
                      <a:pt x="494" y="458"/>
                      <a:pt x="497" y="460"/>
                    </a:cubicBezTo>
                    <a:cubicBezTo>
                      <a:pt x="499" y="462"/>
                      <a:pt x="501" y="465"/>
                      <a:pt x="501" y="469"/>
                    </a:cubicBezTo>
                    <a:cubicBezTo>
                      <a:pt x="501" y="477"/>
                      <a:pt x="501" y="477"/>
                      <a:pt x="501" y="477"/>
                    </a:cubicBezTo>
                    <a:cubicBezTo>
                      <a:pt x="501" y="478"/>
                      <a:pt x="501" y="480"/>
                      <a:pt x="500" y="481"/>
                    </a:cubicBezTo>
                    <a:cubicBezTo>
                      <a:pt x="480" y="539"/>
                      <a:pt x="480" y="539"/>
                      <a:pt x="480" y="539"/>
                    </a:cubicBezTo>
                    <a:cubicBezTo>
                      <a:pt x="479" y="542"/>
                      <a:pt x="477" y="544"/>
                      <a:pt x="475" y="545"/>
                    </a:cubicBezTo>
                    <a:cubicBezTo>
                      <a:pt x="443" y="563"/>
                      <a:pt x="443" y="563"/>
                      <a:pt x="443" y="563"/>
                    </a:cubicBezTo>
                    <a:cubicBezTo>
                      <a:pt x="417" y="610"/>
                      <a:pt x="417" y="610"/>
                      <a:pt x="417" y="610"/>
                    </a:cubicBezTo>
                    <a:cubicBezTo>
                      <a:pt x="420" y="631"/>
                      <a:pt x="420" y="631"/>
                      <a:pt x="420" y="631"/>
                    </a:cubicBezTo>
                    <a:cubicBezTo>
                      <a:pt x="429" y="676"/>
                      <a:pt x="429" y="676"/>
                      <a:pt x="429" y="676"/>
                    </a:cubicBezTo>
                    <a:cubicBezTo>
                      <a:pt x="429" y="680"/>
                      <a:pt x="428" y="683"/>
                      <a:pt x="426" y="686"/>
                    </a:cubicBezTo>
                    <a:cubicBezTo>
                      <a:pt x="389" y="720"/>
                      <a:pt x="389" y="720"/>
                      <a:pt x="389" y="720"/>
                    </a:cubicBezTo>
                    <a:cubicBezTo>
                      <a:pt x="394" y="729"/>
                      <a:pt x="394" y="729"/>
                      <a:pt x="394" y="729"/>
                    </a:cubicBezTo>
                    <a:cubicBezTo>
                      <a:pt x="396" y="733"/>
                      <a:pt x="395" y="738"/>
                      <a:pt x="392" y="741"/>
                    </a:cubicBezTo>
                    <a:cubicBezTo>
                      <a:pt x="313" y="826"/>
                      <a:pt x="313" y="826"/>
                      <a:pt x="313" y="826"/>
                    </a:cubicBezTo>
                    <a:cubicBezTo>
                      <a:pt x="311" y="828"/>
                      <a:pt x="309" y="829"/>
                      <a:pt x="306" y="8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22" name="Freeform 8"/>
              <p:cNvSpPr>
                <a:spLocks/>
              </p:cNvSpPr>
              <p:nvPr/>
            </p:nvSpPr>
            <p:spPr bwMode="auto">
              <a:xfrm>
                <a:off x="-811213" y="3870325"/>
                <a:ext cx="39688" cy="33338"/>
              </a:xfrm>
              <a:custGeom>
                <a:avLst/>
                <a:gdLst>
                  <a:gd name="T0" fmla="*/ 18 w 53"/>
                  <a:gd name="T1" fmla="*/ 43 h 43"/>
                  <a:gd name="T2" fmla="*/ 14 w 53"/>
                  <a:gd name="T3" fmla="*/ 42 h 43"/>
                  <a:gd name="T4" fmla="*/ 8 w 53"/>
                  <a:gd name="T5" fmla="*/ 35 h 43"/>
                  <a:gd name="T6" fmla="*/ 1 w 53"/>
                  <a:gd name="T7" fmla="*/ 14 h 43"/>
                  <a:gd name="T8" fmla="*/ 4 w 53"/>
                  <a:gd name="T9" fmla="*/ 4 h 43"/>
                  <a:gd name="T10" fmla="*/ 14 w 53"/>
                  <a:gd name="T11" fmla="*/ 2 h 43"/>
                  <a:gd name="T12" fmla="*/ 46 w 53"/>
                  <a:gd name="T13" fmla="*/ 12 h 43"/>
                  <a:gd name="T14" fmla="*/ 53 w 53"/>
                  <a:gd name="T15" fmla="*/ 21 h 43"/>
                  <a:gd name="T16" fmla="*/ 47 w 53"/>
                  <a:gd name="T17" fmla="*/ 31 h 43"/>
                  <a:gd name="T18" fmla="*/ 22 w 53"/>
                  <a:gd name="T19" fmla="*/ 42 h 43"/>
                  <a:gd name="T20" fmla="*/ 18 w 53"/>
                  <a:gd name="T21" fmla="*/ 4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3" h="43">
                    <a:moveTo>
                      <a:pt x="18" y="43"/>
                    </a:moveTo>
                    <a:cubicBezTo>
                      <a:pt x="17" y="43"/>
                      <a:pt x="15" y="42"/>
                      <a:pt x="14" y="42"/>
                    </a:cubicBezTo>
                    <a:cubicBezTo>
                      <a:pt x="11" y="40"/>
                      <a:pt x="9" y="38"/>
                      <a:pt x="8" y="35"/>
                    </a:cubicBezTo>
                    <a:cubicBezTo>
                      <a:pt x="1" y="14"/>
                      <a:pt x="1" y="14"/>
                      <a:pt x="1" y="14"/>
                    </a:cubicBezTo>
                    <a:cubicBezTo>
                      <a:pt x="0" y="11"/>
                      <a:pt x="1" y="7"/>
                      <a:pt x="4" y="4"/>
                    </a:cubicBezTo>
                    <a:cubicBezTo>
                      <a:pt x="7" y="1"/>
                      <a:pt x="11" y="0"/>
                      <a:pt x="14" y="2"/>
                    </a:cubicBezTo>
                    <a:cubicBezTo>
                      <a:pt x="46" y="12"/>
                      <a:pt x="46" y="12"/>
                      <a:pt x="46" y="12"/>
                    </a:cubicBezTo>
                    <a:cubicBezTo>
                      <a:pt x="50" y="13"/>
                      <a:pt x="53" y="17"/>
                      <a:pt x="53" y="21"/>
                    </a:cubicBezTo>
                    <a:cubicBezTo>
                      <a:pt x="53" y="26"/>
                      <a:pt x="50" y="30"/>
                      <a:pt x="47" y="31"/>
                    </a:cubicBezTo>
                    <a:cubicBezTo>
                      <a:pt x="22" y="42"/>
                      <a:pt x="22" y="42"/>
                      <a:pt x="22" y="42"/>
                    </a:cubicBezTo>
                    <a:cubicBezTo>
                      <a:pt x="21" y="42"/>
                      <a:pt x="19" y="43"/>
                      <a:pt x="18" y="4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23" name="Freeform 9"/>
              <p:cNvSpPr>
                <a:spLocks/>
              </p:cNvSpPr>
              <p:nvPr/>
            </p:nvSpPr>
            <p:spPr bwMode="auto">
              <a:xfrm>
                <a:off x="-823913" y="3903663"/>
                <a:ext cx="53975" cy="57150"/>
              </a:xfrm>
              <a:custGeom>
                <a:avLst/>
                <a:gdLst>
                  <a:gd name="T0" fmla="*/ 11 w 72"/>
                  <a:gd name="T1" fmla="*/ 77 h 77"/>
                  <a:gd name="T2" fmla="*/ 3 w 72"/>
                  <a:gd name="T3" fmla="*/ 73 h 77"/>
                  <a:gd name="T4" fmla="*/ 3 w 72"/>
                  <a:gd name="T5" fmla="*/ 61 h 77"/>
                  <a:gd name="T6" fmla="*/ 22 w 72"/>
                  <a:gd name="T7" fmla="*/ 38 h 77"/>
                  <a:gd name="T8" fmla="*/ 41 w 72"/>
                  <a:gd name="T9" fmla="*/ 5 h 77"/>
                  <a:gd name="T10" fmla="*/ 51 w 72"/>
                  <a:gd name="T11" fmla="*/ 0 h 77"/>
                  <a:gd name="T12" fmla="*/ 59 w 72"/>
                  <a:gd name="T13" fmla="*/ 6 h 77"/>
                  <a:gd name="T14" fmla="*/ 71 w 72"/>
                  <a:gd name="T15" fmla="*/ 28 h 77"/>
                  <a:gd name="T16" fmla="*/ 72 w 72"/>
                  <a:gd name="T17" fmla="*/ 32 h 77"/>
                  <a:gd name="T18" fmla="*/ 54 w 72"/>
                  <a:gd name="T19" fmla="*/ 63 h 77"/>
                  <a:gd name="T20" fmla="*/ 14 w 72"/>
                  <a:gd name="T21" fmla="*/ 77 h 77"/>
                  <a:gd name="T22" fmla="*/ 11 w 72"/>
                  <a:gd name="T23" fmla="*/ 77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2" h="77">
                    <a:moveTo>
                      <a:pt x="11" y="77"/>
                    </a:moveTo>
                    <a:cubicBezTo>
                      <a:pt x="8" y="77"/>
                      <a:pt x="5" y="76"/>
                      <a:pt x="3" y="73"/>
                    </a:cubicBezTo>
                    <a:cubicBezTo>
                      <a:pt x="0" y="69"/>
                      <a:pt x="0" y="64"/>
                      <a:pt x="3" y="61"/>
                    </a:cubicBezTo>
                    <a:cubicBezTo>
                      <a:pt x="22" y="38"/>
                      <a:pt x="22" y="38"/>
                      <a:pt x="22" y="38"/>
                    </a:cubicBezTo>
                    <a:cubicBezTo>
                      <a:pt x="41" y="5"/>
                      <a:pt x="41" y="5"/>
                      <a:pt x="41" y="5"/>
                    </a:cubicBezTo>
                    <a:cubicBezTo>
                      <a:pt x="43" y="2"/>
                      <a:pt x="47" y="0"/>
                      <a:pt x="51" y="0"/>
                    </a:cubicBezTo>
                    <a:cubicBezTo>
                      <a:pt x="54" y="0"/>
                      <a:pt x="58" y="2"/>
                      <a:pt x="59" y="6"/>
                    </a:cubicBezTo>
                    <a:cubicBezTo>
                      <a:pt x="71" y="28"/>
                      <a:pt x="71" y="28"/>
                      <a:pt x="71" y="28"/>
                    </a:cubicBezTo>
                    <a:cubicBezTo>
                      <a:pt x="71" y="29"/>
                      <a:pt x="72" y="31"/>
                      <a:pt x="72" y="32"/>
                    </a:cubicBezTo>
                    <a:cubicBezTo>
                      <a:pt x="72" y="35"/>
                      <a:pt x="71" y="56"/>
                      <a:pt x="54" y="63"/>
                    </a:cubicBezTo>
                    <a:cubicBezTo>
                      <a:pt x="43" y="68"/>
                      <a:pt x="15" y="77"/>
                      <a:pt x="14" y="77"/>
                    </a:cubicBezTo>
                    <a:cubicBezTo>
                      <a:pt x="13" y="77"/>
                      <a:pt x="12" y="77"/>
                      <a:pt x="11" y="7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24" name="Freeform 10"/>
              <p:cNvSpPr>
                <a:spLocks/>
              </p:cNvSpPr>
              <p:nvPr/>
            </p:nvSpPr>
            <p:spPr bwMode="auto">
              <a:xfrm>
                <a:off x="-914401" y="4079875"/>
                <a:ext cx="65088" cy="69850"/>
              </a:xfrm>
              <a:custGeom>
                <a:avLst/>
                <a:gdLst>
                  <a:gd name="T0" fmla="*/ 58 w 87"/>
                  <a:gd name="T1" fmla="*/ 94 h 94"/>
                  <a:gd name="T2" fmla="*/ 55 w 87"/>
                  <a:gd name="T3" fmla="*/ 94 h 94"/>
                  <a:gd name="T4" fmla="*/ 16 w 87"/>
                  <a:gd name="T5" fmla="*/ 84 h 94"/>
                  <a:gd name="T6" fmla="*/ 9 w 87"/>
                  <a:gd name="T7" fmla="*/ 77 h 94"/>
                  <a:gd name="T8" fmla="*/ 1 w 87"/>
                  <a:gd name="T9" fmla="*/ 56 h 94"/>
                  <a:gd name="T10" fmla="*/ 1 w 87"/>
                  <a:gd name="T11" fmla="*/ 48 h 94"/>
                  <a:gd name="T12" fmla="*/ 7 w 87"/>
                  <a:gd name="T13" fmla="*/ 42 h 94"/>
                  <a:gd name="T14" fmla="*/ 23 w 87"/>
                  <a:gd name="T15" fmla="*/ 36 h 94"/>
                  <a:gd name="T16" fmla="*/ 37 w 87"/>
                  <a:gd name="T17" fmla="*/ 20 h 94"/>
                  <a:gd name="T18" fmla="*/ 61 w 87"/>
                  <a:gd name="T19" fmla="*/ 0 h 94"/>
                  <a:gd name="T20" fmla="*/ 84 w 87"/>
                  <a:gd name="T21" fmla="*/ 22 h 94"/>
                  <a:gd name="T22" fmla="*/ 86 w 87"/>
                  <a:gd name="T23" fmla="*/ 31 h 94"/>
                  <a:gd name="T24" fmla="*/ 67 w 87"/>
                  <a:gd name="T25" fmla="*/ 87 h 94"/>
                  <a:gd name="T26" fmla="*/ 58 w 87"/>
                  <a:gd name="T27" fmla="*/ 94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7" h="94">
                    <a:moveTo>
                      <a:pt x="58" y="94"/>
                    </a:moveTo>
                    <a:cubicBezTo>
                      <a:pt x="57" y="94"/>
                      <a:pt x="56" y="94"/>
                      <a:pt x="55" y="94"/>
                    </a:cubicBezTo>
                    <a:cubicBezTo>
                      <a:pt x="16" y="84"/>
                      <a:pt x="16" y="84"/>
                      <a:pt x="16" y="84"/>
                    </a:cubicBezTo>
                    <a:cubicBezTo>
                      <a:pt x="13" y="83"/>
                      <a:pt x="10" y="80"/>
                      <a:pt x="9" y="77"/>
                    </a:cubicBezTo>
                    <a:cubicBezTo>
                      <a:pt x="1" y="56"/>
                      <a:pt x="1" y="56"/>
                      <a:pt x="1" y="56"/>
                    </a:cubicBezTo>
                    <a:cubicBezTo>
                      <a:pt x="0" y="53"/>
                      <a:pt x="0" y="50"/>
                      <a:pt x="1" y="48"/>
                    </a:cubicBezTo>
                    <a:cubicBezTo>
                      <a:pt x="2" y="45"/>
                      <a:pt x="5" y="43"/>
                      <a:pt x="7" y="42"/>
                    </a:cubicBezTo>
                    <a:cubicBezTo>
                      <a:pt x="13" y="40"/>
                      <a:pt x="20" y="38"/>
                      <a:pt x="23" y="36"/>
                    </a:cubicBezTo>
                    <a:cubicBezTo>
                      <a:pt x="26" y="32"/>
                      <a:pt x="33" y="24"/>
                      <a:pt x="37" y="20"/>
                    </a:cubicBezTo>
                    <a:cubicBezTo>
                      <a:pt x="53" y="1"/>
                      <a:pt x="56" y="0"/>
                      <a:pt x="61" y="0"/>
                    </a:cubicBezTo>
                    <a:cubicBezTo>
                      <a:pt x="66" y="0"/>
                      <a:pt x="69" y="1"/>
                      <a:pt x="84" y="22"/>
                    </a:cubicBezTo>
                    <a:cubicBezTo>
                      <a:pt x="86" y="24"/>
                      <a:pt x="87" y="28"/>
                      <a:pt x="86" y="31"/>
                    </a:cubicBezTo>
                    <a:cubicBezTo>
                      <a:pt x="67" y="87"/>
                      <a:pt x="67" y="87"/>
                      <a:pt x="67" y="87"/>
                    </a:cubicBezTo>
                    <a:cubicBezTo>
                      <a:pt x="66" y="91"/>
                      <a:pt x="62" y="94"/>
                      <a:pt x="5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25" name="Freeform 11"/>
              <p:cNvSpPr>
                <a:spLocks/>
              </p:cNvSpPr>
              <p:nvPr/>
            </p:nvSpPr>
            <p:spPr bwMode="auto">
              <a:xfrm>
                <a:off x="-927101" y="4154488"/>
                <a:ext cx="47625" cy="23813"/>
              </a:xfrm>
              <a:custGeom>
                <a:avLst/>
                <a:gdLst>
                  <a:gd name="T0" fmla="*/ 54 w 65"/>
                  <a:gd name="T1" fmla="*/ 32 h 32"/>
                  <a:gd name="T2" fmla="*/ 52 w 65"/>
                  <a:gd name="T3" fmla="*/ 32 h 32"/>
                  <a:gd name="T4" fmla="*/ 9 w 65"/>
                  <a:gd name="T5" fmla="*/ 22 h 32"/>
                  <a:gd name="T6" fmla="*/ 1 w 65"/>
                  <a:gd name="T7" fmla="*/ 9 h 32"/>
                  <a:gd name="T8" fmla="*/ 14 w 65"/>
                  <a:gd name="T9" fmla="*/ 2 h 32"/>
                  <a:gd name="T10" fmla="*/ 56 w 65"/>
                  <a:gd name="T11" fmla="*/ 12 h 32"/>
                  <a:gd name="T12" fmla="*/ 64 w 65"/>
                  <a:gd name="T13" fmla="*/ 24 h 32"/>
                  <a:gd name="T14" fmla="*/ 54 w 65"/>
                  <a:gd name="T15" fmla="*/ 32 h 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5" h="32">
                    <a:moveTo>
                      <a:pt x="54" y="32"/>
                    </a:moveTo>
                    <a:cubicBezTo>
                      <a:pt x="53" y="32"/>
                      <a:pt x="52" y="32"/>
                      <a:pt x="52" y="32"/>
                    </a:cubicBezTo>
                    <a:cubicBezTo>
                      <a:pt x="9" y="22"/>
                      <a:pt x="9" y="22"/>
                      <a:pt x="9" y="22"/>
                    </a:cubicBezTo>
                    <a:cubicBezTo>
                      <a:pt x="4" y="20"/>
                      <a:pt x="0" y="15"/>
                      <a:pt x="1" y="9"/>
                    </a:cubicBezTo>
                    <a:cubicBezTo>
                      <a:pt x="3" y="4"/>
                      <a:pt x="8" y="0"/>
                      <a:pt x="14" y="2"/>
                    </a:cubicBezTo>
                    <a:cubicBezTo>
                      <a:pt x="56" y="12"/>
                      <a:pt x="56" y="12"/>
                      <a:pt x="56" y="12"/>
                    </a:cubicBezTo>
                    <a:cubicBezTo>
                      <a:pt x="62" y="13"/>
                      <a:pt x="65" y="19"/>
                      <a:pt x="64" y="24"/>
                    </a:cubicBezTo>
                    <a:cubicBezTo>
                      <a:pt x="63" y="29"/>
                      <a:pt x="59" y="32"/>
                      <a:pt x="54" y="3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26" name="Freeform 12"/>
              <p:cNvSpPr>
                <a:spLocks/>
              </p:cNvSpPr>
              <p:nvPr/>
            </p:nvSpPr>
            <p:spPr bwMode="auto">
              <a:xfrm>
                <a:off x="-879476" y="4165600"/>
                <a:ext cx="26988" cy="17463"/>
              </a:xfrm>
              <a:custGeom>
                <a:avLst/>
                <a:gdLst>
                  <a:gd name="T0" fmla="*/ 25 w 36"/>
                  <a:gd name="T1" fmla="*/ 23 h 23"/>
                  <a:gd name="T2" fmla="*/ 24 w 36"/>
                  <a:gd name="T3" fmla="*/ 23 h 23"/>
                  <a:gd name="T4" fmla="*/ 9 w 36"/>
                  <a:gd name="T5" fmla="*/ 21 h 23"/>
                  <a:gd name="T6" fmla="*/ 0 w 36"/>
                  <a:gd name="T7" fmla="*/ 10 h 23"/>
                  <a:gd name="T8" fmla="*/ 12 w 36"/>
                  <a:gd name="T9" fmla="*/ 1 h 23"/>
                  <a:gd name="T10" fmla="*/ 27 w 36"/>
                  <a:gd name="T11" fmla="*/ 3 h 23"/>
                  <a:gd name="T12" fmla="*/ 35 w 36"/>
                  <a:gd name="T13" fmla="*/ 14 h 23"/>
                  <a:gd name="T14" fmla="*/ 25 w 36"/>
                  <a:gd name="T15" fmla="*/ 23 h 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 h="23">
                    <a:moveTo>
                      <a:pt x="25" y="23"/>
                    </a:moveTo>
                    <a:cubicBezTo>
                      <a:pt x="25" y="23"/>
                      <a:pt x="24" y="23"/>
                      <a:pt x="24" y="23"/>
                    </a:cubicBezTo>
                    <a:cubicBezTo>
                      <a:pt x="9" y="21"/>
                      <a:pt x="9" y="21"/>
                      <a:pt x="9" y="21"/>
                    </a:cubicBezTo>
                    <a:cubicBezTo>
                      <a:pt x="4" y="20"/>
                      <a:pt x="0" y="15"/>
                      <a:pt x="0" y="10"/>
                    </a:cubicBezTo>
                    <a:cubicBezTo>
                      <a:pt x="1" y="4"/>
                      <a:pt x="6" y="0"/>
                      <a:pt x="12" y="1"/>
                    </a:cubicBezTo>
                    <a:cubicBezTo>
                      <a:pt x="27" y="3"/>
                      <a:pt x="27" y="3"/>
                      <a:pt x="27" y="3"/>
                    </a:cubicBezTo>
                    <a:cubicBezTo>
                      <a:pt x="32" y="3"/>
                      <a:pt x="36" y="9"/>
                      <a:pt x="35" y="14"/>
                    </a:cubicBezTo>
                    <a:cubicBezTo>
                      <a:pt x="35" y="19"/>
                      <a:pt x="30" y="23"/>
                      <a:pt x="25"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27" name="Freeform 13"/>
              <p:cNvSpPr>
                <a:spLocks/>
              </p:cNvSpPr>
              <p:nvPr/>
            </p:nvSpPr>
            <p:spPr bwMode="auto">
              <a:xfrm>
                <a:off x="-782638" y="4070350"/>
                <a:ext cx="14288" cy="19050"/>
              </a:xfrm>
              <a:custGeom>
                <a:avLst/>
                <a:gdLst>
                  <a:gd name="T0" fmla="*/ 11 w 21"/>
                  <a:gd name="T1" fmla="*/ 26 h 26"/>
                  <a:gd name="T2" fmla="*/ 0 w 21"/>
                  <a:gd name="T3" fmla="*/ 16 h 26"/>
                  <a:gd name="T4" fmla="*/ 0 w 21"/>
                  <a:gd name="T5" fmla="*/ 10 h 26"/>
                  <a:gd name="T6" fmla="*/ 11 w 21"/>
                  <a:gd name="T7" fmla="*/ 0 h 26"/>
                  <a:gd name="T8" fmla="*/ 21 w 21"/>
                  <a:gd name="T9" fmla="*/ 10 h 26"/>
                  <a:gd name="T10" fmla="*/ 21 w 21"/>
                  <a:gd name="T11" fmla="*/ 16 h 26"/>
                  <a:gd name="T12" fmla="*/ 11 w 21"/>
                  <a:gd name="T13" fmla="*/ 26 h 26"/>
                </a:gdLst>
                <a:ahLst/>
                <a:cxnLst>
                  <a:cxn ang="0">
                    <a:pos x="T0" y="T1"/>
                  </a:cxn>
                  <a:cxn ang="0">
                    <a:pos x="T2" y="T3"/>
                  </a:cxn>
                  <a:cxn ang="0">
                    <a:pos x="T4" y="T5"/>
                  </a:cxn>
                  <a:cxn ang="0">
                    <a:pos x="T6" y="T7"/>
                  </a:cxn>
                  <a:cxn ang="0">
                    <a:pos x="T8" y="T9"/>
                  </a:cxn>
                  <a:cxn ang="0">
                    <a:pos x="T10" y="T11"/>
                  </a:cxn>
                  <a:cxn ang="0">
                    <a:pos x="T12" y="T13"/>
                  </a:cxn>
                </a:cxnLst>
                <a:rect l="0" t="0" r="r" b="b"/>
                <a:pathLst>
                  <a:path w="21" h="26">
                    <a:moveTo>
                      <a:pt x="11" y="26"/>
                    </a:moveTo>
                    <a:cubicBezTo>
                      <a:pt x="5" y="26"/>
                      <a:pt x="0" y="22"/>
                      <a:pt x="0" y="16"/>
                    </a:cubicBezTo>
                    <a:cubicBezTo>
                      <a:pt x="0" y="10"/>
                      <a:pt x="0" y="10"/>
                      <a:pt x="0" y="10"/>
                    </a:cubicBezTo>
                    <a:cubicBezTo>
                      <a:pt x="0" y="5"/>
                      <a:pt x="5" y="0"/>
                      <a:pt x="11" y="0"/>
                    </a:cubicBezTo>
                    <a:cubicBezTo>
                      <a:pt x="16" y="0"/>
                      <a:pt x="21" y="5"/>
                      <a:pt x="21" y="10"/>
                    </a:cubicBezTo>
                    <a:cubicBezTo>
                      <a:pt x="21" y="16"/>
                      <a:pt x="21" y="16"/>
                      <a:pt x="21" y="16"/>
                    </a:cubicBezTo>
                    <a:cubicBezTo>
                      <a:pt x="21" y="22"/>
                      <a:pt x="16" y="26"/>
                      <a:pt x="11" y="2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28" name="Freeform 14"/>
              <p:cNvSpPr>
                <a:spLocks/>
              </p:cNvSpPr>
              <p:nvPr/>
            </p:nvSpPr>
            <p:spPr bwMode="auto">
              <a:xfrm>
                <a:off x="-846138" y="4064000"/>
                <a:ext cx="33338" cy="38100"/>
              </a:xfrm>
              <a:custGeom>
                <a:avLst/>
                <a:gdLst>
                  <a:gd name="T0" fmla="*/ 24 w 44"/>
                  <a:gd name="T1" fmla="*/ 51 h 51"/>
                  <a:gd name="T2" fmla="*/ 17 w 44"/>
                  <a:gd name="T3" fmla="*/ 48 h 51"/>
                  <a:gd name="T4" fmla="*/ 3 w 44"/>
                  <a:gd name="T5" fmla="*/ 33 h 51"/>
                  <a:gd name="T6" fmla="*/ 0 w 44"/>
                  <a:gd name="T7" fmla="*/ 25 h 51"/>
                  <a:gd name="T8" fmla="*/ 5 w 44"/>
                  <a:gd name="T9" fmla="*/ 17 h 51"/>
                  <a:gd name="T10" fmla="*/ 27 w 44"/>
                  <a:gd name="T11" fmla="*/ 2 h 51"/>
                  <a:gd name="T12" fmla="*/ 39 w 44"/>
                  <a:gd name="T13" fmla="*/ 3 h 51"/>
                  <a:gd name="T14" fmla="*/ 43 w 44"/>
                  <a:gd name="T15" fmla="*/ 14 h 51"/>
                  <a:gd name="T16" fmla="*/ 34 w 44"/>
                  <a:gd name="T17" fmla="*/ 44 h 51"/>
                  <a:gd name="T18" fmla="*/ 27 w 44"/>
                  <a:gd name="T19" fmla="*/ 51 h 51"/>
                  <a:gd name="T20" fmla="*/ 24 w 44"/>
                  <a:gd name="T21"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4" h="51">
                    <a:moveTo>
                      <a:pt x="24" y="51"/>
                    </a:moveTo>
                    <a:cubicBezTo>
                      <a:pt x="21" y="51"/>
                      <a:pt x="19" y="50"/>
                      <a:pt x="17" y="48"/>
                    </a:cubicBezTo>
                    <a:cubicBezTo>
                      <a:pt x="3" y="33"/>
                      <a:pt x="3" y="33"/>
                      <a:pt x="3" y="33"/>
                    </a:cubicBezTo>
                    <a:cubicBezTo>
                      <a:pt x="1" y="31"/>
                      <a:pt x="0" y="28"/>
                      <a:pt x="0" y="25"/>
                    </a:cubicBezTo>
                    <a:cubicBezTo>
                      <a:pt x="1" y="22"/>
                      <a:pt x="2" y="19"/>
                      <a:pt x="5" y="17"/>
                    </a:cubicBezTo>
                    <a:cubicBezTo>
                      <a:pt x="27" y="2"/>
                      <a:pt x="27" y="2"/>
                      <a:pt x="27" y="2"/>
                    </a:cubicBezTo>
                    <a:cubicBezTo>
                      <a:pt x="31" y="0"/>
                      <a:pt x="36" y="0"/>
                      <a:pt x="39" y="3"/>
                    </a:cubicBezTo>
                    <a:cubicBezTo>
                      <a:pt x="43" y="5"/>
                      <a:pt x="44" y="10"/>
                      <a:pt x="43" y="14"/>
                    </a:cubicBezTo>
                    <a:cubicBezTo>
                      <a:pt x="34" y="44"/>
                      <a:pt x="34" y="44"/>
                      <a:pt x="34" y="44"/>
                    </a:cubicBezTo>
                    <a:cubicBezTo>
                      <a:pt x="33" y="47"/>
                      <a:pt x="30" y="50"/>
                      <a:pt x="27" y="51"/>
                    </a:cubicBezTo>
                    <a:cubicBezTo>
                      <a:pt x="26" y="51"/>
                      <a:pt x="25" y="51"/>
                      <a:pt x="24" y="5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29" name="Freeform 15"/>
              <p:cNvSpPr>
                <a:spLocks/>
              </p:cNvSpPr>
              <p:nvPr/>
            </p:nvSpPr>
            <p:spPr bwMode="auto">
              <a:xfrm>
                <a:off x="-865188" y="4057650"/>
                <a:ext cx="22225" cy="23813"/>
              </a:xfrm>
              <a:custGeom>
                <a:avLst/>
                <a:gdLst>
                  <a:gd name="T0" fmla="*/ 11 w 31"/>
                  <a:gd name="T1" fmla="*/ 32 h 32"/>
                  <a:gd name="T2" fmla="*/ 5 w 31"/>
                  <a:gd name="T3" fmla="*/ 29 h 32"/>
                  <a:gd name="T4" fmla="*/ 3 w 31"/>
                  <a:gd name="T5" fmla="*/ 15 h 32"/>
                  <a:gd name="T6" fmla="*/ 11 w 31"/>
                  <a:gd name="T7" fmla="*/ 5 h 32"/>
                  <a:gd name="T8" fmla="*/ 26 w 31"/>
                  <a:gd name="T9" fmla="*/ 3 h 32"/>
                  <a:gd name="T10" fmla="*/ 27 w 31"/>
                  <a:gd name="T11" fmla="*/ 18 h 32"/>
                  <a:gd name="T12" fmla="*/ 19 w 31"/>
                  <a:gd name="T13" fmla="*/ 28 h 32"/>
                  <a:gd name="T14" fmla="*/ 11 w 31"/>
                  <a:gd name="T15" fmla="*/ 32 h 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1" h="32">
                    <a:moveTo>
                      <a:pt x="11" y="32"/>
                    </a:moveTo>
                    <a:cubicBezTo>
                      <a:pt x="9" y="32"/>
                      <a:pt x="7" y="31"/>
                      <a:pt x="5" y="29"/>
                    </a:cubicBezTo>
                    <a:cubicBezTo>
                      <a:pt x="0" y="26"/>
                      <a:pt x="0" y="19"/>
                      <a:pt x="3" y="15"/>
                    </a:cubicBezTo>
                    <a:cubicBezTo>
                      <a:pt x="11" y="5"/>
                      <a:pt x="11" y="5"/>
                      <a:pt x="11" y="5"/>
                    </a:cubicBezTo>
                    <a:cubicBezTo>
                      <a:pt x="15" y="0"/>
                      <a:pt x="21" y="0"/>
                      <a:pt x="26" y="3"/>
                    </a:cubicBezTo>
                    <a:cubicBezTo>
                      <a:pt x="30" y="7"/>
                      <a:pt x="31" y="13"/>
                      <a:pt x="27" y="18"/>
                    </a:cubicBezTo>
                    <a:cubicBezTo>
                      <a:pt x="19" y="28"/>
                      <a:pt x="19" y="28"/>
                      <a:pt x="19" y="28"/>
                    </a:cubicBezTo>
                    <a:cubicBezTo>
                      <a:pt x="17" y="30"/>
                      <a:pt x="14" y="32"/>
                      <a:pt x="11" y="3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30" name="Freeform 16"/>
              <p:cNvSpPr>
                <a:spLocks noEditPoints="1"/>
              </p:cNvSpPr>
              <p:nvPr/>
            </p:nvSpPr>
            <p:spPr bwMode="auto">
              <a:xfrm>
                <a:off x="-858838" y="4006850"/>
                <a:ext cx="39688" cy="49213"/>
              </a:xfrm>
              <a:custGeom>
                <a:avLst/>
                <a:gdLst>
                  <a:gd name="T0" fmla="*/ 43 w 53"/>
                  <a:gd name="T1" fmla="*/ 66 h 66"/>
                  <a:gd name="T2" fmla="*/ 42 w 53"/>
                  <a:gd name="T3" fmla="*/ 66 h 66"/>
                  <a:gd name="T4" fmla="*/ 10 w 53"/>
                  <a:gd name="T5" fmla="*/ 64 h 66"/>
                  <a:gd name="T6" fmla="*/ 3 w 53"/>
                  <a:gd name="T7" fmla="*/ 60 h 66"/>
                  <a:gd name="T8" fmla="*/ 0 w 53"/>
                  <a:gd name="T9" fmla="*/ 53 h 66"/>
                  <a:gd name="T10" fmla="*/ 4 w 53"/>
                  <a:gd name="T11" fmla="*/ 10 h 66"/>
                  <a:gd name="T12" fmla="*/ 12 w 53"/>
                  <a:gd name="T13" fmla="*/ 1 h 66"/>
                  <a:gd name="T14" fmla="*/ 23 w 53"/>
                  <a:gd name="T15" fmla="*/ 5 h 66"/>
                  <a:gd name="T16" fmla="*/ 51 w 53"/>
                  <a:gd name="T17" fmla="*/ 50 h 66"/>
                  <a:gd name="T18" fmla="*/ 53 w 53"/>
                  <a:gd name="T19" fmla="*/ 56 h 66"/>
                  <a:gd name="T20" fmla="*/ 43 w 53"/>
                  <a:gd name="T21" fmla="*/ 66 h 66"/>
                  <a:gd name="T22" fmla="*/ 43 w 53"/>
                  <a:gd name="T23" fmla="*/ 66 h 66"/>
                  <a:gd name="T24" fmla="*/ 22 w 53"/>
                  <a:gd name="T25" fmla="*/ 44 h 66"/>
                  <a:gd name="T26" fmla="*/ 23 w 53"/>
                  <a:gd name="T27" fmla="*/ 44 h 66"/>
                  <a:gd name="T28" fmla="*/ 22 w 53"/>
                  <a:gd name="T29" fmla="*/ 42 h 66"/>
                  <a:gd name="T30" fmla="*/ 22 w 53"/>
                  <a:gd name="T31" fmla="*/ 4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3" h="66">
                    <a:moveTo>
                      <a:pt x="43" y="66"/>
                    </a:moveTo>
                    <a:cubicBezTo>
                      <a:pt x="42" y="66"/>
                      <a:pt x="42" y="66"/>
                      <a:pt x="42" y="66"/>
                    </a:cubicBezTo>
                    <a:cubicBezTo>
                      <a:pt x="10" y="64"/>
                      <a:pt x="10" y="64"/>
                      <a:pt x="10" y="64"/>
                    </a:cubicBezTo>
                    <a:cubicBezTo>
                      <a:pt x="7" y="64"/>
                      <a:pt x="4" y="62"/>
                      <a:pt x="3" y="60"/>
                    </a:cubicBezTo>
                    <a:cubicBezTo>
                      <a:pt x="1" y="58"/>
                      <a:pt x="0" y="56"/>
                      <a:pt x="0" y="53"/>
                    </a:cubicBezTo>
                    <a:cubicBezTo>
                      <a:pt x="4" y="10"/>
                      <a:pt x="4" y="10"/>
                      <a:pt x="4" y="10"/>
                    </a:cubicBezTo>
                    <a:cubicBezTo>
                      <a:pt x="4" y="6"/>
                      <a:pt x="8" y="2"/>
                      <a:pt x="12" y="1"/>
                    </a:cubicBezTo>
                    <a:cubicBezTo>
                      <a:pt x="16" y="0"/>
                      <a:pt x="21" y="2"/>
                      <a:pt x="23" y="5"/>
                    </a:cubicBezTo>
                    <a:cubicBezTo>
                      <a:pt x="51" y="50"/>
                      <a:pt x="51" y="50"/>
                      <a:pt x="51" y="50"/>
                    </a:cubicBezTo>
                    <a:cubicBezTo>
                      <a:pt x="52" y="52"/>
                      <a:pt x="53" y="54"/>
                      <a:pt x="53" y="56"/>
                    </a:cubicBezTo>
                    <a:cubicBezTo>
                      <a:pt x="53" y="62"/>
                      <a:pt x="48" y="66"/>
                      <a:pt x="43" y="66"/>
                    </a:cubicBezTo>
                    <a:cubicBezTo>
                      <a:pt x="43" y="66"/>
                      <a:pt x="43" y="66"/>
                      <a:pt x="43" y="66"/>
                    </a:cubicBezTo>
                    <a:close/>
                    <a:moveTo>
                      <a:pt x="22" y="44"/>
                    </a:moveTo>
                    <a:cubicBezTo>
                      <a:pt x="23" y="44"/>
                      <a:pt x="23" y="44"/>
                      <a:pt x="23" y="44"/>
                    </a:cubicBezTo>
                    <a:cubicBezTo>
                      <a:pt x="22" y="42"/>
                      <a:pt x="22" y="42"/>
                      <a:pt x="22" y="42"/>
                    </a:cubicBezTo>
                    <a:lnTo>
                      <a:pt x="22" y="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31" name="Freeform 17"/>
              <p:cNvSpPr>
                <a:spLocks/>
              </p:cNvSpPr>
              <p:nvPr/>
            </p:nvSpPr>
            <p:spPr bwMode="auto">
              <a:xfrm>
                <a:off x="-858838" y="4116388"/>
                <a:ext cx="38100" cy="39688"/>
              </a:xfrm>
              <a:custGeom>
                <a:avLst/>
                <a:gdLst>
                  <a:gd name="T0" fmla="*/ 11 w 51"/>
                  <a:gd name="T1" fmla="*/ 54 h 54"/>
                  <a:gd name="T2" fmla="*/ 7 w 51"/>
                  <a:gd name="T3" fmla="*/ 53 h 54"/>
                  <a:gd name="T4" fmla="*/ 2 w 51"/>
                  <a:gd name="T5" fmla="*/ 40 h 54"/>
                  <a:gd name="T6" fmla="*/ 16 w 51"/>
                  <a:gd name="T7" fmla="*/ 7 h 54"/>
                  <a:gd name="T8" fmla="*/ 25 w 51"/>
                  <a:gd name="T9" fmla="*/ 0 h 54"/>
                  <a:gd name="T10" fmla="*/ 41 w 51"/>
                  <a:gd name="T11" fmla="*/ 0 h 54"/>
                  <a:gd name="T12" fmla="*/ 51 w 51"/>
                  <a:gd name="T13" fmla="*/ 10 h 54"/>
                  <a:gd name="T14" fmla="*/ 41 w 51"/>
                  <a:gd name="T15" fmla="*/ 21 h 54"/>
                  <a:gd name="T16" fmla="*/ 32 w 51"/>
                  <a:gd name="T17" fmla="*/ 21 h 54"/>
                  <a:gd name="T18" fmla="*/ 21 w 51"/>
                  <a:gd name="T19" fmla="*/ 48 h 54"/>
                  <a:gd name="T20" fmla="*/ 11 w 51"/>
                  <a:gd name="T21"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1" h="54">
                    <a:moveTo>
                      <a:pt x="11" y="54"/>
                    </a:moveTo>
                    <a:cubicBezTo>
                      <a:pt x="10" y="54"/>
                      <a:pt x="9" y="54"/>
                      <a:pt x="7" y="53"/>
                    </a:cubicBezTo>
                    <a:cubicBezTo>
                      <a:pt x="2" y="51"/>
                      <a:pt x="0" y="45"/>
                      <a:pt x="2" y="40"/>
                    </a:cubicBezTo>
                    <a:cubicBezTo>
                      <a:pt x="16" y="7"/>
                      <a:pt x="16" y="7"/>
                      <a:pt x="16" y="7"/>
                    </a:cubicBezTo>
                    <a:cubicBezTo>
                      <a:pt x="17" y="3"/>
                      <a:pt x="21" y="0"/>
                      <a:pt x="25" y="0"/>
                    </a:cubicBezTo>
                    <a:cubicBezTo>
                      <a:pt x="41" y="0"/>
                      <a:pt x="41" y="0"/>
                      <a:pt x="41" y="0"/>
                    </a:cubicBezTo>
                    <a:cubicBezTo>
                      <a:pt x="46" y="0"/>
                      <a:pt x="51" y="5"/>
                      <a:pt x="51" y="10"/>
                    </a:cubicBezTo>
                    <a:cubicBezTo>
                      <a:pt x="51" y="16"/>
                      <a:pt x="46" y="21"/>
                      <a:pt x="41" y="21"/>
                    </a:cubicBezTo>
                    <a:cubicBezTo>
                      <a:pt x="32" y="21"/>
                      <a:pt x="32" y="21"/>
                      <a:pt x="32" y="21"/>
                    </a:cubicBezTo>
                    <a:cubicBezTo>
                      <a:pt x="21" y="48"/>
                      <a:pt x="21" y="48"/>
                      <a:pt x="21" y="48"/>
                    </a:cubicBezTo>
                    <a:cubicBezTo>
                      <a:pt x="19" y="52"/>
                      <a:pt x="15" y="54"/>
                      <a:pt x="11"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32" name="Freeform 18"/>
              <p:cNvSpPr>
                <a:spLocks/>
              </p:cNvSpPr>
              <p:nvPr/>
            </p:nvSpPr>
            <p:spPr bwMode="auto">
              <a:xfrm>
                <a:off x="-809626" y="4122738"/>
                <a:ext cx="107950" cy="73025"/>
              </a:xfrm>
              <a:custGeom>
                <a:avLst/>
                <a:gdLst>
                  <a:gd name="T0" fmla="*/ 133 w 144"/>
                  <a:gd name="T1" fmla="*/ 98 h 98"/>
                  <a:gd name="T2" fmla="*/ 127 w 144"/>
                  <a:gd name="T3" fmla="*/ 96 h 98"/>
                  <a:gd name="T4" fmla="*/ 89 w 144"/>
                  <a:gd name="T5" fmla="*/ 71 h 98"/>
                  <a:gd name="T6" fmla="*/ 81 w 144"/>
                  <a:gd name="T7" fmla="*/ 79 h 98"/>
                  <a:gd name="T8" fmla="*/ 69 w 144"/>
                  <a:gd name="T9" fmla="*/ 81 h 98"/>
                  <a:gd name="T10" fmla="*/ 41 w 144"/>
                  <a:gd name="T11" fmla="*/ 67 h 98"/>
                  <a:gd name="T12" fmla="*/ 35 w 144"/>
                  <a:gd name="T13" fmla="*/ 56 h 98"/>
                  <a:gd name="T14" fmla="*/ 36 w 144"/>
                  <a:gd name="T15" fmla="*/ 53 h 98"/>
                  <a:gd name="T16" fmla="*/ 7 w 144"/>
                  <a:gd name="T17" fmla="*/ 41 h 98"/>
                  <a:gd name="T18" fmla="*/ 1 w 144"/>
                  <a:gd name="T19" fmla="*/ 29 h 98"/>
                  <a:gd name="T20" fmla="*/ 5 w 144"/>
                  <a:gd name="T21" fmla="*/ 9 h 98"/>
                  <a:gd name="T22" fmla="*/ 13 w 144"/>
                  <a:gd name="T23" fmla="*/ 1 h 98"/>
                  <a:gd name="T24" fmla="*/ 23 w 144"/>
                  <a:gd name="T25" fmla="*/ 4 h 98"/>
                  <a:gd name="T26" fmla="*/ 31 w 144"/>
                  <a:gd name="T27" fmla="*/ 15 h 98"/>
                  <a:gd name="T28" fmla="*/ 42 w 144"/>
                  <a:gd name="T29" fmla="*/ 10 h 98"/>
                  <a:gd name="T30" fmla="*/ 51 w 144"/>
                  <a:gd name="T31" fmla="*/ 10 h 98"/>
                  <a:gd name="T32" fmla="*/ 107 w 144"/>
                  <a:gd name="T33" fmla="*/ 39 h 98"/>
                  <a:gd name="T34" fmla="*/ 110 w 144"/>
                  <a:gd name="T35" fmla="*/ 42 h 98"/>
                  <a:gd name="T36" fmla="*/ 141 w 144"/>
                  <a:gd name="T37" fmla="*/ 82 h 98"/>
                  <a:gd name="T38" fmla="*/ 140 w 144"/>
                  <a:gd name="T39" fmla="*/ 95 h 98"/>
                  <a:gd name="T40" fmla="*/ 133 w 144"/>
                  <a:gd name="T41" fmla="*/ 98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44" h="98">
                    <a:moveTo>
                      <a:pt x="133" y="98"/>
                    </a:moveTo>
                    <a:cubicBezTo>
                      <a:pt x="131" y="98"/>
                      <a:pt x="129" y="98"/>
                      <a:pt x="127" y="96"/>
                    </a:cubicBezTo>
                    <a:cubicBezTo>
                      <a:pt x="89" y="71"/>
                      <a:pt x="89" y="71"/>
                      <a:pt x="89" y="71"/>
                    </a:cubicBezTo>
                    <a:cubicBezTo>
                      <a:pt x="81" y="79"/>
                      <a:pt x="81" y="79"/>
                      <a:pt x="81" y="79"/>
                    </a:cubicBezTo>
                    <a:cubicBezTo>
                      <a:pt x="78" y="82"/>
                      <a:pt x="73" y="83"/>
                      <a:pt x="69" y="81"/>
                    </a:cubicBezTo>
                    <a:cubicBezTo>
                      <a:pt x="41" y="67"/>
                      <a:pt x="41" y="67"/>
                      <a:pt x="41" y="67"/>
                    </a:cubicBezTo>
                    <a:cubicBezTo>
                      <a:pt x="37" y="65"/>
                      <a:pt x="34" y="60"/>
                      <a:pt x="35" y="56"/>
                    </a:cubicBezTo>
                    <a:cubicBezTo>
                      <a:pt x="36" y="53"/>
                      <a:pt x="36" y="53"/>
                      <a:pt x="36" y="53"/>
                    </a:cubicBezTo>
                    <a:cubicBezTo>
                      <a:pt x="7" y="41"/>
                      <a:pt x="7" y="41"/>
                      <a:pt x="7" y="41"/>
                    </a:cubicBezTo>
                    <a:cubicBezTo>
                      <a:pt x="2" y="39"/>
                      <a:pt x="0" y="34"/>
                      <a:pt x="1" y="29"/>
                    </a:cubicBezTo>
                    <a:cubicBezTo>
                      <a:pt x="5" y="9"/>
                      <a:pt x="5" y="9"/>
                      <a:pt x="5" y="9"/>
                    </a:cubicBezTo>
                    <a:cubicBezTo>
                      <a:pt x="6" y="5"/>
                      <a:pt x="9" y="2"/>
                      <a:pt x="13" y="1"/>
                    </a:cubicBezTo>
                    <a:cubicBezTo>
                      <a:pt x="17" y="0"/>
                      <a:pt x="21" y="1"/>
                      <a:pt x="23" y="4"/>
                    </a:cubicBezTo>
                    <a:cubicBezTo>
                      <a:pt x="31" y="15"/>
                      <a:pt x="31" y="15"/>
                      <a:pt x="31" y="15"/>
                    </a:cubicBezTo>
                    <a:cubicBezTo>
                      <a:pt x="42" y="10"/>
                      <a:pt x="42" y="10"/>
                      <a:pt x="42" y="10"/>
                    </a:cubicBezTo>
                    <a:cubicBezTo>
                      <a:pt x="45" y="9"/>
                      <a:pt x="48" y="9"/>
                      <a:pt x="51" y="10"/>
                    </a:cubicBezTo>
                    <a:cubicBezTo>
                      <a:pt x="107" y="39"/>
                      <a:pt x="107" y="39"/>
                      <a:pt x="107" y="39"/>
                    </a:cubicBezTo>
                    <a:cubicBezTo>
                      <a:pt x="108" y="39"/>
                      <a:pt x="110" y="40"/>
                      <a:pt x="110" y="42"/>
                    </a:cubicBezTo>
                    <a:cubicBezTo>
                      <a:pt x="141" y="82"/>
                      <a:pt x="141" y="82"/>
                      <a:pt x="141" y="82"/>
                    </a:cubicBezTo>
                    <a:cubicBezTo>
                      <a:pt x="144" y="86"/>
                      <a:pt x="143" y="91"/>
                      <a:pt x="140" y="95"/>
                    </a:cubicBezTo>
                    <a:cubicBezTo>
                      <a:pt x="138" y="97"/>
                      <a:pt x="135" y="98"/>
                      <a:pt x="133" y="9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33" name="Freeform 19"/>
              <p:cNvSpPr>
                <a:spLocks/>
              </p:cNvSpPr>
              <p:nvPr/>
            </p:nvSpPr>
            <p:spPr bwMode="auto">
              <a:xfrm>
                <a:off x="-719138" y="4132263"/>
                <a:ext cx="25400" cy="33338"/>
              </a:xfrm>
              <a:custGeom>
                <a:avLst/>
                <a:gdLst>
                  <a:gd name="T0" fmla="*/ 16 w 34"/>
                  <a:gd name="T1" fmla="*/ 43 h 43"/>
                  <a:gd name="T2" fmla="*/ 11 w 34"/>
                  <a:gd name="T3" fmla="*/ 41 h 43"/>
                  <a:gd name="T4" fmla="*/ 7 w 34"/>
                  <a:gd name="T5" fmla="*/ 28 h 43"/>
                  <a:gd name="T6" fmla="*/ 9 w 34"/>
                  <a:gd name="T7" fmla="*/ 23 h 43"/>
                  <a:gd name="T8" fmla="*/ 5 w 34"/>
                  <a:gd name="T9" fmla="*/ 19 h 43"/>
                  <a:gd name="T10" fmla="*/ 4 w 34"/>
                  <a:gd name="T11" fmla="*/ 5 h 43"/>
                  <a:gd name="T12" fmla="*/ 18 w 34"/>
                  <a:gd name="T13" fmla="*/ 4 h 43"/>
                  <a:gd name="T14" fmla="*/ 29 w 34"/>
                  <a:gd name="T15" fmla="*/ 13 h 43"/>
                  <a:gd name="T16" fmla="*/ 31 w 34"/>
                  <a:gd name="T17" fmla="*/ 26 h 43"/>
                  <a:gd name="T18" fmla="*/ 25 w 34"/>
                  <a:gd name="T19" fmla="*/ 37 h 43"/>
                  <a:gd name="T20" fmla="*/ 16 w 34"/>
                  <a:gd name="T21" fmla="*/ 4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4" h="43">
                    <a:moveTo>
                      <a:pt x="16" y="43"/>
                    </a:moveTo>
                    <a:cubicBezTo>
                      <a:pt x="14" y="43"/>
                      <a:pt x="13" y="42"/>
                      <a:pt x="11" y="41"/>
                    </a:cubicBezTo>
                    <a:cubicBezTo>
                      <a:pt x="6" y="39"/>
                      <a:pt x="4" y="33"/>
                      <a:pt x="7" y="28"/>
                    </a:cubicBezTo>
                    <a:cubicBezTo>
                      <a:pt x="9" y="23"/>
                      <a:pt x="9" y="23"/>
                      <a:pt x="9" y="23"/>
                    </a:cubicBezTo>
                    <a:cubicBezTo>
                      <a:pt x="5" y="19"/>
                      <a:pt x="5" y="19"/>
                      <a:pt x="5" y="19"/>
                    </a:cubicBezTo>
                    <a:cubicBezTo>
                      <a:pt x="1" y="15"/>
                      <a:pt x="0" y="9"/>
                      <a:pt x="4" y="5"/>
                    </a:cubicBezTo>
                    <a:cubicBezTo>
                      <a:pt x="7" y="0"/>
                      <a:pt x="14" y="0"/>
                      <a:pt x="18" y="4"/>
                    </a:cubicBezTo>
                    <a:cubicBezTo>
                      <a:pt x="29" y="13"/>
                      <a:pt x="29" y="13"/>
                      <a:pt x="29" y="13"/>
                    </a:cubicBezTo>
                    <a:cubicBezTo>
                      <a:pt x="33" y="16"/>
                      <a:pt x="34" y="21"/>
                      <a:pt x="31" y="26"/>
                    </a:cubicBezTo>
                    <a:cubicBezTo>
                      <a:pt x="25" y="37"/>
                      <a:pt x="25" y="37"/>
                      <a:pt x="25" y="37"/>
                    </a:cubicBezTo>
                    <a:cubicBezTo>
                      <a:pt x="23" y="41"/>
                      <a:pt x="20" y="43"/>
                      <a:pt x="16" y="4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34" name="Freeform 20"/>
              <p:cNvSpPr>
                <a:spLocks/>
              </p:cNvSpPr>
              <p:nvPr/>
            </p:nvSpPr>
            <p:spPr bwMode="auto">
              <a:xfrm>
                <a:off x="-698501" y="4151313"/>
                <a:ext cx="42863" cy="36513"/>
              </a:xfrm>
              <a:custGeom>
                <a:avLst/>
                <a:gdLst>
                  <a:gd name="T0" fmla="*/ 46 w 58"/>
                  <a:gd name="T1" fmla="*/ 49 h 49"/>
                  <a:gd name="T2" fmla="*/ 40 w 58"/>
                  <a:gd name="T3" fmla="*/ 47 h 49"/>
                  <a:gd name="T4" fmla="*/ 5 w 58"/>
                  <a:gd name="T5" fmla="*/ 19 h 49"/>
                  <a:gd name="T6" fmla="*/ 3 w 58"/>
                  <a:gd name="T7" fmla="*/ 5 h 49"/>
                  <a:gd name="T8" fmla="*/ 18 w 58"/>
                  <a:gd name="T9" fmla="*/ 3 h 49"/>
                  <a:gd name="T10" fmla="*/ 53 w 58"/>
                  <a:gd name="T11" fmla="*/ 31 h 49"/>
                  <a:gd name="T12" fmla="*/ 54 w 58"/>
                  <a:gd name="T13" fmla="*/ 45 h 49"/>
                  <a:gd name="T14" fmla="*/ 46 w 58"/>
                  <a:gd name="T15" fmla="*/ 49 h 4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 h="49">
                    <a:moveTo>
                      <a:pt x="46" y="49"/>
                    </a:moveTo>
                    <a:cubicBezTo>
                      <a:pt x="44" y="49"/>
                      <a:pt x="42" y="48"/>
                      <a:pt x="40" y="47"/>
                    </a:cubicBezTo>
                    <a:cubicBezTo>
                      <a:pt x="5" y="19"/>
                      <a:pt x="5" y="19"/>
                      <a:pt x="5" y="19"/>
                    </a:cubicBezTo>
                    <a:cubicBezTo>
                      <a:pt x="1" y="16"/>
                      <a:pt x="0" y="9"/>
                      <a:pt x="3" y="5"/>
                    </a:cubicBezTo>
                    <a:cubicBezTo>
                      <a:pt x="7" y="1"/>
                      <a:pt x="13" y="0"/>
                      <a:pt x="18" y="3"/>
                    </a:cubicBezTo>
                    <a:cubicBezTo>
                      <a:pt x="53" y="31"/>
                      <a:pt x="53" y="31"/>
                      <a:pt x="53" y="31"/>
                    </a:cubicBezTo>
                    <a:cubicBezTo>
                      <a:pt x="57" y="34"/>
                      <a:pt x="58" y="41"/>
                      <a:pt x="54" y="45"/>
                    </a:cubicBezTo>
                    <a:cubicBezTo>
                      <a:pt x="52" y="48"/>
                      <a:pt x="49" y="49"/>
                      <a:pt x="46" y="4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35" name="Freeform 21"/>
              <p:cNvSpPr>
                <a:spLocks/>
              </p:cNvSpPr>
              <p:nvPr/>
            </p:nvSpPr>
            <p:spPr bwMode="auto">
              <a:xfrm>
                <a:off x="-977901" y="4095750"/>
                <a:ext cx="47625" cy="69850"/>
              </a:xfrm>
              <a:custGeom>
                <a:avLst/>
                <a:gdLst>
                  <a:gd name="T0" fmla="*/ 49 w 65"/>
                  <a:gd name="T1" fmla="*/ 92 h 92"/>
                  <a:gd name="T2" fmla="*/ 41 w 65"/>
                  <a:gd name="T3" fmla="*/ 89 h 92"/>
                  <a:gd name="T4" fmla="*/ 29 w 65"/>
                  <a:gd name="T5" fmla="*/ 76 h 92"/>
                  <a:gd name="T6" fmla="*/ 27 w 65"/>
                  <a:gd name="T7" fmla="*/ 72 h 92"/>
                  <a:gd name="T8" fmla="*/ 17 w 65"/>
                  <a:gd name="T9" fmla="*/ 40 h 92"/>
                  <a:gd name="T10" fmla="*/ 2 w 65"/>
                  <a:gd name="T11" fmla="*/ 17 h 92"/>
                  <a:gd name="T12" fmla="*/ 5 w 65"/>
                  <a:gd name="T13" fmla="*/ 3 h 92"/>
                  <a:gd name="T14" fmla="*/ 18 w 65"/>
                  <a:gd name="T15" fmla="*/ 4 h 92"/>
                  <a:gd name="T16" fmla="*/ 61 w 65"/>
                  <a:gd name="T17" fmla="*/ 49 h 92"/>
                  <a:gd name="T18" fmla="*/ 64 w 65"/>
                  <a:gd name="T19" fmla="*/ 58 h 92"/>
                  <a:gd name="T20" fmla="*/ 59 w 65"/>
                  <a:gd name="T21" fmla="*/ 84 h 92"/>
                  <a:gd name="T22" fmla="*/ 52 w 65"/>
                  <a:gd name="T23" fmla="*/ 92 h 92"/>
                  <a:gd name="T24" fmla="*/ 49 w 65"/>
                  <a:gd name="T25" fmla="*/ 9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5" h="92">
                    <a:moveTo>
                      <a:pt x="49" y="92"/>
                    </a:moveTo>
                    <a:cubicBezTo>
                      <a:pt x="46" y="92"/>
                      <a:pt x="43" y="91"/>
                      <a:pt x="41" y="89"/>
                    </a:cubicBezTo>
                    <a:cubicBezTo>
                      <a:pt x="29" y="76"/>
                      <a:pt x="29" y="76"/>
                      <a:pt x="29" y="76"/>
                    </a:cubicBezTo>
                    <a:cubicBezTo>
                      <a:pt x="28" y="75"/>
                      <a:pt x="27" y="74"/>
                      <a:pt x="27" y="72"/>
                    </a:cubicBezTo>
                    <a:cubicBezTo>
                      <a:pt x="23" y="61"/>
                      <a:pt x="18" y="44"/>
                      <a:pt x="17" y="40"/>
                    </a:cubicBezTo>
                    <a:cubicBezTo>
                      <a:pt x="15" y="37"/>
                      <a:pt x="9" y="26"/>
                      <a:pt x="2" y="17"/>
                    </a:cubicBezTo>
                    <a:cubicBezTo>
                      <a:pt x="0" y="13"/>
                      <a:pt x="0" y="7"/>
                      <a:pt x="5" y="3"/>
                    </a:cubicBezTo>
                    <a:cubicBezTo>
                      <a:pt x="9" y="0"/>
                      <a:pt x="15" y="1"/>
                      <a:pt x="18" y="4"/>
                    </a:cubicBezTo>
                    <a:cubicBezTo>
                      <a:pt x="61" y="49"/>
                      <a:pt x="61" y="49"/>
                      <a:pt x="61" y="49"/>
                    </a:cubicBezTo>
                    <a:cubicBezTo>
                      <a:pt x="64" y="52"/>
                      <a:pt x="65" y="55"/>
                      <a:pt x="64" y="58"/>
                    </a:cubicBezTo>
                    <a:cubicBezTo>
                      <a:pt x="59" y="84"/>
                      <a:pt x="59" y="84"/>
                      <a:pt x="59" y="84"/>
                    </a:cubicBezTo>
                    <a:cubicBezTo>
                      <a:pt x="58" y="88"/>
                      <a:pt x="55" y="91"/>
                      <a:pt x="52" y="92"/>
                    </a:cubicBezTo>
                    <a:cubicBezTo>
                      <a:pt x="51" y="92"/>
                      <a:pt x="50" y="92"/>
                      <a:pt x="49" y="9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36" name="Freeform 22"/>
              <p:cNvSpPr>
                <a:spLocks/>
              </p:cNvSpPr>
              <p:nvPr/>
            </p:nvSpPr>
            <p:spPr bwMode="auto">
              <a:xfrm>
                <a:off x="-949326" y="4197350"/>
                <a:ext cx="220663" cy="163513"/>
              </a:xfrm>
              <a:custGeom>
                <a:avLst/>
                <a:gdLst>
                  <a:gd name="T0" fmla="*/ 186 w 297"/>
                  <a:gd name="T1" fmla="*/ 217 h 217"/>
                  <a:gd name="T2" fmla="*/ 182 w 297"/>
                  <a:gd name="T3" fmla="*/ 216 h 217"/>
                  <a:gd name="T4" fmla="*/ 153 w 297"/>
                  <a:gd name="T5" fmla="*/ 196 h 217"/>
                  <a:gd name="T6" fmla="*/ 141 w 297"/>
                  <a:gd name="T7" fmla="*/ 176 h 217"/>
                  <a:gd name="T8" fmla="*/ 116 w 297"/>
                  <a:gd name="T9" fmla="*/ 156 h 217"/>
                  <a:gd name="T10" fmla="*/ 66 w 297"/>
                  <a:gd name="T11" fmla="*/ 182 h 217"/>
                  <a:gd name="T12" fmla="*/ 61 w 297"/>
                  <a:gd name="T13" fmla="*/ 183 h 217"/>
                  <a:gd name="T14" fmla="*/ 11 w 297"/>
                  <a:gd name="T15" fmla="*/ 186 h 217"/>
                  <a:gd name="T16" fmla="*/ 2 w 297"/>
                  <a:gd name="T17" fmla="*/ 181 h 217"/>
                  <a:gd name="T18" fmla="*/ 1 w 297"/>
                  <a:gd name="T19" fmla="*/ 171 h 217"/>
                  <a:gd name="T20" fmla="*/ 8 w 297"/>
                  <a:gd name="T21" fmla="*/ 158 h 217"/>
                  <a:gd name="T22" fmla="*/ 13 w 297"/>
                  <a:gd name="T23" fmla="*/ 81 h 217"/>
                  <a:gd name="T24" fmla="*/ 21 w 297"/>
                  <a:gd name="T25" fmla="*/ 72 h 217"/>
                  <a:gd name="T26" fmla="*/ 63 w 297"/>
                  <a:gd name="T27" fmla="*/ 61 h 217"/>
                  <a:gd name="T28" fmla="*/ 75 w 297"/>
                  <a:gd name="T29" fmla="*/ 47 h 217"/>
                  <a:gd name="T30" fmla="*/ 76 w 297"/>
                  <a:gd name="T31" fmla="*/ 46 h 217"/>
                  <a:gd name="T32" fmla="*/ 115 w 297"/>
                  <a:gd name="T33" fmla="*/ 17 h 217"/>
                  <a:gd name="T34" fmla="*/ 126 w 297"/>
                  <a:gd name="T35" fmla="*/ 16 h 217"/>
                  <a:gd name="T36" fmla="*/ 135 w 297"/>
                  <a:gd name="T37" fmla="*/ 21 h 217"/>
                  <a:gd name="T38" fmla="*/ 141 w 297"/>
                  <a:gd name="T39" fmla="*/ 6 h 217"/>
                  <a:gd name="T40" fmla="*/ 152 w 297"/>
                  <a:gd name="T41" fmla="*/ 0 h 217"/>
                  <a:gd name="T42" fmla="*/ 190 w 297"/>
                  <a:gd name="T43" fmla="*/ 3 h 217"/>
                  <a:gd name="T44" fmla="*/ 198 w 297"/>
                  <a:gd name="T45" fmla="*/ 8 h 217"/>
                  <a:gd name="T46" fmla="*/ 199 w 297"/>
                  <a:gd name="T47" fmla="*/ 17 h 217"/>
                  <a:gd name="T48" fmla="*/ 196 w 297"/>
                  <a:gd name="T49" fmla="*/ 24 h 217"/>
                  <a:gd name="T50" fmla="*/ 210 w 297"/>
                  <a:gd name="T51" fmla="*/ 29 h 217"/>
                  <a:gd name="T52" fmla="*/ 224 w 297"/>
                  <a:gd name="T53" fmla="*/ 5 h 217"/>
                  <a:gd name="T54" fmla="*/ 231 w 297"/>
                  <a:gd name="T55" fmla="*/ 0 h 217"/>
                  <a:gd name="T56" fmla="*/ 239 w 297"/>
                  <a:gd name="T57" fmla="*/ 3 h 217"/>
                  <a:gd name="T58" fmla="*/ 256 w 297"/>
                  <a:gd name="T59" fmla="*/ 18 h 217"/>
                  <a:gd name="T60" fmla="*/ 260 w 297"/>
                  <a:gd name="T61" fmla="*/ 24 h 217"/>
                  <a:gd name="T62" fmla="*/ 267 w 297"/>
                  <a:gd name="T63" fmla="*/ 60 h 217"/>
                  <a:gd name="T64" fmla="*/ 294 w 297"/>
                  <a:gd name="T65" fmla="*/ 102 h 217"/>
                  <a:gd name="T66" fmla="*/ 295 w 297"/>
                  <a:gd name="T67" fmla="*/ 113 h 217"/>
                  <a:gd name="T68" fmla="*/ 266 w 297"/>
                  <a:gd name="T69" fmla="*/ 170 h 217"/>
                  <a:gd name="T70" fmla="*/ 264 w 297"/>
                  <a:gd name="T71" fmla="*/ 173 h 217"/>
                  <a:gd name="T72" fmla="*/ 227 w 297"/>
                  <a:gd name="T73" fmla="*/ 204 h 217"/>
                  <a:gd name="T74" fmla="*/ 223 w 297"/>
                  <a:gd name="T75" fmla="*/ 206 h 217"/>
                  <a:gd name="T76" fmla="*/ 189 w 297"/>
                  <a:gd name="T77" fmla="*/ 217 h 217"/>
                  <a:gd name="T78" fmla="*/ 186 w 297"/>
                  <a:gd name="T79" fmla="*/ 217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97" h="217">
                    <a:moveTo>
                      <a:pt x="186" y="217"/>
                    </a:moveTo>
                    <a:cubicBezTo>
                      <a:pt x="185" y="217"/>
                      <a:pt x="183" y="217"/>
                      <a:pt x="182" y="216"/>
                    </a:cubicBezTo>
                    <a:cubicBezTo>
                      <a:pt x="162" y="208"/>
                      <a:pt x="154" y="203"/>
                      <a:pt x="153" y="196"/>
                    </a:cubicBezTo>
                    <a:cubicBezTo>
                      <a:pt x="151" y="193"/>
                      <a:pt x="146" y="184"/>
                      <a:pt x="141" y="176"/>
                    </a:cubicBezTo>
                    <a:cubicBezTo>
                      <a:pt x="116" y="156"/>
                      <a:pt x="116" y="156"/>
                      <a:pt x="116" y="156"/>
                    </a:cubicBezTo>
                    <a:cubicBezTo>
                      <a:pt x="66" y="182"/>
                      <a:pt x="66" y="182"/>
                      <a:pt x="66" y="182"/>
                    </a:cubicBezTo>
                    <a:cubicBezTo>
                      <a:pt x="64" y="183"/>
                      <a:pt x="63" y="183"/>
                      <a:pt x="61" y="183"/>
                    </a:cubicBezTo>
                    <a:cubicBezTo>
                      <a:pt x="11" y="186"/>
                      <a:pt x="11" y="186"/>
                      <a:pt x="11" y="186"/>
                    </a:cubicBezTo>
                    <a:cubicBezTo>
                      <a:pt x="8" y="186"/>
                      <a:pt x="4" y="184"/>
                      <a:pt x="2" y="181"/>
                    </a:cubicBezTo>
                    <a:cubicBezTo>
                      <a:pt x="0" y="178"/>
                      <a:pt x="0" y="174"/>
                      <a:pt x="1" y="171"/>
                    </a:cubicBezTo>
                    <a:cubicBezTo>
                      <a:pt x="8" y="158"/>
                      <a:pt x="8" y="158"/>
                      <a:pt x="8" y="158"/>
                    </a:cubicBezTo>
                    <a:cubicBezTo>
                      <a:pt x="13" y="81"/>
                      <a:pt x="13" y="81"/>
                      <a:pt x="13" y="81"/>
                    </a:cubicBezTo>
                    <a:cubicBezTo>
                      <a:pt x="13" y="77"/>
                      <a:pt x="16" y="73"/>
                      <a:pt x="21" y="72"/>
                    </a:cubicBezTo>
                    <a:cubicBezTo>
                      <a:pt x="63" y="61"/>
                      <a:pt x="63" y="61"/>
                      <a:pt x="63" y="61"/>
                    </a:cubicBezTo>
                    <a:cubicBezTo>
                      <a:pt x="75" y="47"/>
                      <a:pt x="75" y="47"/>
                      <a:pt x="75" y="47"/>
                    </a:cubicBezTo>
                    <a:cubicBezTo>
                      <a:pt x="75" y="47"/>
                      <a:pt x="76" y="47"/>
                      <a:pt x="76" y="46"/>
                    </a:cubicBezTo>
                    <a:cubicBezTo>
                      <a:pt x="115" y="17"/>
                      <a:pt x="115" y="17"/>
                      <a:pt x="115" y="17"/>
                    </a:cubicBezTo>
                    <a:cubicBezTo>
                      <a:pt x="118" y="14"/>
                      <a:pt x="123" y="14"/>
                      <a:pt x="126" y="16"/>
                    </a:cubicBezTo>
                    <a:cubicBezTo>
                      <a:pt x="135" y="21"/>
                      <a:pt x="135" y="21"/>
                      <a:pt x="135" y="21"/>
                    </a:cubicBezTo>
                    <a:cubicBezTo>
                      <a:pt x="141" y="6"/>
                      <a:pt x="141" y="6"/>
                      <a:pt x="141" y="6"/>
                    </a:cubicBezTo>
                    <a:cubicBezTo>
                      <a:pt x="143" y="2"/>
                      <a:pt x="147" y="0"/>
                      <a:pt x="152" y="0"/>
                    </a:cubicBezTo>
                    <a:cubicBezTo>
                      <a:pt x="190" y="3"/>
                      <a:pt x="190" y="3"/>
                      <a:pt x="190" y="3"/>
                    </a:cubicBezTo>
                    <a:cubicBezTo>
                      <a:pt x="193" y="4"/>
                      <a:pt x="196" y="5"/>
                      <a:pt x="198" y="8"/>
                    </a:cubicBezTo>
                    <a:cubicBezTo>
                      <a:pt x="199" y="11"/>
                      <a:pt x="200" y="14"/>
                      <a:pt x="199" y="17"/>
                    </a:cubicBezTo>
                    <a:cubicBezTo>
                      <a:pt x="196" y="24"/>
                      <a:pt x="196" y="24"/>
                      <a:pt x="196" y="24"/>
                    </a:cubicBezTo>
                    <a:cubicBezTo>
                      <a:pt x="210" y="29"/>
                      <a:pt x="210" y="29"/>
                      <a:pt x="210" y="29"/>
                    </a:cubicBezTo>
                    <a:cubicBezTo>
                      <a:pt x="224" y="5"/>
                      <a:pt x="224" y="5"/>
                      <a:pt x="224" y="5"/>
                    </a:cubicBezTo>
                    <a:cubicBezTo>
                      <a:pt x="225" y="2"/>
                      <a:pt x="228" y="1"/>
                      <a:pt x="231" y="0"/>
                    </a:cubicBezTo>
                    <a:cubicBezTo>
                      <a:pt x="234" y="0"/>
                      <a:pt x="237" y="1"/>
                      <a:pt x="239" y="3"/>
                    </a:cubicBezTo>
                    <a:cubicBezTo>
                      <a:pt x="256" y="18"/>
                      <a:pt x="256" y="18"/>
                      <a:pt x="256" y="18"/>
                    </a:cubicBezTo>
                    <a:cubicBezTo>
                      <a:pt x="258" y="19"/>
                      <a:pt x="259" y="21"/>
                      <a:pt x="260" y="24"/>
                    </a:cubicBezTo>
                    <a:cubicBezTo>
                      <a:pt x="267" y="60"/>
                      <a:pt x="267" y="60"/>
                      <a:pt x="267" y="60"/>
                    </a:cubicBezTo>
                    <a:cubicBezTo>
                      <a:pt x="294" y="102"/>
                      <a:pt x="294" y="102"/>
                      <a:pt x="294" y="102"/>
                    </a:cubicBezTo>
                    <a:cubicBezTo>
                      <a:pt x="296" y="106"/>
                      <a:pt x="297" y="109"/>
                      <a:pt x="295" y="113"/>
                    </a:cubicBezTo>
                    <a:cubicBezTo>
                      <a:pt x="266" y="170"/>
                      <a:pt x="266" y="170"/>
                      <a:pt x="266" y="170"/>
                    </a:cubicBezTo>
                    <a:cubicBezTo>
                      <a:pt x="265" y="171"/>
                      <a:pt x="265" y="172"/>
                      <a:pt x="264" y="173"/>
                    </a:cubicBezTo>
                    <a:cubicBezTo>
                      <a:pt x="227" y="204"/>
                      <a:pt x="227" y="204"/>
                      <a:pt x="227" y="204"/>
                    </a:cubicBezTo>
                    <a:cubicBezTo>
                      <a:pt x="226" y="205"/>
                      <a:pt x="225" y="205"/>
                      <a:pt x="223" y="206"/>
                    </a:cubicBezTo>
                    <a:cubicBezTo>
                      <a:pt x="189" y="217"/>
                      <a:pt x="189" y="217"/>
                      <a:pt x="189" y="217"/>
                    </a:cubicBezTo>
                    <a:cubicBezTo>
                      <a:pt x="188" y="217"/>
                      <a:pt x="187" y="217"/>
                      <a:pt x="186" y="2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37" name="Freeform 23"/>
              <p:cNvSpPr>
                <a:spLocks/>
              </p:cNvSpPr>
              <p:nvPr/>
            </p:nvSpPr>
            <p:spPr bwMode="auto">
              <a:xfrm>
                <a:off x="-823913" y="4365625"/>
                <a:ext cx="28575" cy="30163"/>
              </a:xfrm>
              <a:custGeom>
                <a:avLst/>
                <a:gdLst>
                  <a:gd name="T0" fmla="*/ 14 w 40"/>
                  <a:gd name="T1" fmla="*/ 39 h 39"/>
                  <a:gd name="T2" fmla="*/ 10 w 40"/>
                  <a:gd name="T3" fmla="*/ 38 h 39"/>
                  <a:gd name="T4" fmla="*/ 3 w 40"/>
                  <a:gd name="T5" fmla="*/ 30 h 39"/>
                  <a:gd name="T6" fmla="*/ 1 w 40"/>
                  <a:gd name="T7" fmla="*/ 13 h 39"/>
                  <a:gd name="T8" fmla="*/ 4 w 40"/>
                  <a:gd name="T9" fmla="*/ 3 h 39"/>
                  <a:gd name="T10" fmla="*/ 14 w 40"/>
                  <a:gd name="T11" fmla="*/ 1 h 39"/>
                  <a:gd name="T12" fmla="*/ 30 w 40"/>
                  <a:gd name="T13" fmla="*/ 3 h 39"/>
                  <a:gd name="T14" fmla="*/ 38 w 40"/>
                  <a:gd name="T15" fmla="*/ 10 h 39"/>
                  <a:gd name="T16" fmla="*/ 36 w 40"/>
                  <a:gd name="T17" fmla="*/ 21 h 39"/>
                  <a:gd name="T18" fmla="*/ 21 w 40"/>
                  <a:gd name="T19" fmla="*/ 36 h 39"/>
                  <a:gd name="T20" fmla="*/ 14 w 40"/>
                  <a:gd name="T21"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0" h="39">
                    <a:moveTo>
                      <a:pt x="14" y="39"/>
                    </a:moveTo>
                    <a:cubicBezTo>
                      <a:pt x="13" y="39"/>
                      <a:pt x="12" y="39"/>
                      <a:pt x="10" y="38"/>
                    </a:cubicBezTo>
                    <a:cubicBezTo>
                      <a:pt x="7" y="37"/>
                      <a:pt x="4" y="34"/>
                      <a:pt x="3" y="30"/>
                    </a:cubicBezTo>
                    <a:cubicBezTo>
                      <a:pt x="1" y="13"/>
                      <a:pt x="1" y="13"/>
                      <a:pt x="1" y="13"/>
                    </a:cubicBezTo>
                    <a:cubicBezTo>
                      <a:pt x="0" y="9"/>
                      <a:pt x="1" y="5"/>
                      <a:pt x="4" y="3"/>
                    </a:cubicBezTo>
                    <a:cubicBezTo>
                      <a:pt x="7" y="1"/>
                      <a:pt x="11" y="0"/>
                      <a:pt x="14" y="1"/>
                    </a:cubicBezTo>
                    <a:cubicBezTo>
                      <a:pt x="16" y="2"/>
                      <a:pt x="24" y="3"/>
                      <a:pt x="30" y="3"/>
                    </a:cubicBezTo>
                    <a:cubicBezTo>
                      <a:pt x="34" y="3"/>
                      <a:pt x="37" y="6"/>
                      <a:pt x="38" y="10"/>
                    </a:cubicBezTo>
                    <a:cubicBezTo>
                      <a:pt x="40" y="14"/>
                      <a:pt x="39" y="18"/>
                      <a:pt x="36" y="21"/>
                    </a:cubicBezTo>
                    <a:cubicBezTo>
                      <a:pt x="21" y="36"/>
                      <a:pt x="21" y="36"/>
                      <a:pt x="21" y="36"/>
                    </a:cubicBezTo>
                    <a:cubicBezTo>
                      <a:pt x="19" y="38"/>
                      <a:pt x="16" y="39"/>
                      <a:pt x="14" y="3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38" name="Freeform 24"/>
              <p:cNvSpPr>
                <a:spLocks/>
              </p:cNvSpPr>
              <p:nvPr/>
            </p:nvSpPr>
            <p:spPr bwMode="auto">
              <a:xfrm>
                <a:off x="-700088" y="4329113"/>
                <a:ext cx="41275" cy="46038"/>
              </a:xfrm>
              <a:custGeom>
                <a:avLst/>
                <a:gdLst>
                  <a:gd name="T0" fmla="*/ 11 w 55"/>
                  <a:gd name="T1" fmla="*/ 63 h 63"/>
                  <a:gd name="T2" fmla="*/ 5 w 55"/>
                  <a:gd name="T3" fmla="*/ 61 h 63"/>
                  <a:gd name="T4" fmla="*/ 2 w 55"/>
                  <a:gd name="T5" fmla="*/ 48 h 63"/>
                  <a:gd name="T6" fmla="*/ 23 w 55"/>
                  <a:gd name="T7" fmla="*/ 6 h 63"/>
                  <a:gd name="T8" fmla="*/ 33 w 55"/>
                  <a:gd name="T9" fmla="*/ 1 h 63"/>
                  <a:gd name="T10" fmla="*/ 42 w 55"/>
                  <a:gd name="T11" fmla="*/ 8 h 63"/>
                  <a:gd name="T12" fmla="*/ 45 w 55"/>
                  <a:gd name="T13" fmla="*/ 19 h 63"/>
                  <a:gd name="T14" fmla="*/ 54 w 55"/>
                  <a:gd name="T15" fmla="*/ 26 h 63"/>
                  <a:gd name="T16" fmla="*/ 50 w 55"/>
                  <a:gd name="T17" fmla="*/ 38 h 63"/>
                  <a:gd name="T18" fmla="*/ 17 w 55"/>
                  <a:gd name="T19" fmla="*/ 61 h 63"/>
                  <a:gd name="T20" fmla="*/ 11 w 55"/>
                  <a:gd name="T21"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5" h="63">
                    <a:moveTo>
                      <a:pt x="11" y="63"/>
                    </a:moveTo>
                    <a:cubicBezTo>
                      <a:pt x="9" y="63"/>
                      <a:pt x="7" y="62"/>
                      <a:pt x="5" y="61"/>
                    </a:cubicBezTo>
                    <a:cubicBezTo>
                      <a:pt x="1" y="58"/>
                      <a:pt x="0" y="53"/>
                      <a:pt x="2" y="48"/>
                    </a:cubicBezTo>
                    <a:cubicBezTo>
                      <a:pt x="23" y="6"/>
                      <a:pt x="23" y="6"/>
                      <a:pt x="23" y="6"/>
                    </a:cubicBezTo>
                    <a:cubicBezTo>
                      <a:pt x="25" y="2"/>
                      <a:pt x="29" y="0"/>
                      <a:pt x="33" y="1"/>
                    </a:cubicBezTo>
                    <a:cubicBezTo>
                      <a:pt x="37" y="1"/>
                      <a:pt x="41" y="4"/>
                      <a:pt x="42" y="8"/>
                    </a:cubicBezTo>
                    <a:cubicBezTo>
                      <a:pt x="45" y="19"/>
                      <a:pt x="45" y="19"/>
                      <a:pt x="45" y="19"/>
                    </a:cubicBezTo>
                    <a:cubicBezTo>
                      <a:pt x="49" y="19"/>
                      <a:pt x="53" y="22"/>
                      <a:pt x="54" y="26"/>
                    </a:cubicBezTo>
                    <a:cubicBezTo>
                      <a:pt x="55" y="31"/>
                      <a:pt x="54" y="35"/>
                      <a:pt x="50" y="38"/>
                    </a:cubicBezTo>
                    <a:cubicBezTo>
                      <a:pt x="17" y="61"/>
                      <a:pt x="17" y="61"/>
                      <a:pt x="17" y="61"/>
                    </a:cubicBezTo>
                    <a:cubicBezTo>
                      <a:pt x="16" y="63"/>
                      <a:pt x="13" y="63"/>
                      <a:pt x="11" y="6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39" name="Freeform 25"/>
              <p:cNvSpPr>
                <a:spLocks/>
              </p:cNvSpPr>
              <p:nvPr/>
            </p:nvSpPr>
            <p:spPr bwMode="auto">
              <a:xfrm>
                <a:off x="-771526" y="4362450"/>
                <a:ext cx="68263" cy="47625"/>
              </a:xfrm>
              <a:custGeom>
                <a:avLst/>
                <a:gdLst>
                  <a:gd name="T0" fmla="*/ 12 w 92"/>
                  <a:gd name="T1" fmla="*/ 63 h 63"/>
                  <a:gd name="T2" fmla="*/ 3 w 92"/>
                  <a:gd name="T3" fmla="*/ 58 h 63"/>
                  <a:gd name="T4" fmla="*/ 6 w 92"/>
                  <a:gd name="T5" fmla="*/ 44 h 63"/>
                  <a:gd name="T6" fmla="*/ 72 w 92"/>
                  <a:gd name="T7" fmla="*/ 2 h 63"/>
                  <a:gd name="T8" fmla="*/ 81 w 92"/>
                  <a:gd name="T9" fmla="*/ 1 h 63"/>
                  <a:gd name="T10" fmla="*/ 87 w 92"/>
                  <a:gd name="T11" fmla="*/ 7 h 63"/>
                  <a:gd name="T12" fmla="*/ 91 w 92"/>
                  <a:gd name="T13" fmla="*/ 19 h 63"/>
                  <a:gd name="T14" fmla="*/ 85 w 92"/>
                  <a:gd name="T15" fmla="*/ 31 h 63"/>
                  <a:gd name="T16" fmla="*/ 16 w 92"/>
                  <a:gd name="T17" fmla="*/ 62 h 63"/>
                  <a:gd name="T18" fmla="*/ 12 w 92"/>
                  <a:gd name="T19"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2" h="63">
                    <a:moveTo>
                      <a:pt x="12" y="63"/>
                    </a:moveTo>
                    <a:cubicBezTo>
                      <a:pt x="8" y="63"/>
                      <a:pt x="5" y="61"/>
                      <a:pt x="3" y="58"/>
                    </a:cubicBezTo>
                    <a:cubicBezTo>
                      <a:pt x="0" y="53"/>
                      <a:pt x="2" y="47"/>
                      <a:pt x="6" y="44"/>
                    </a:cubicBezTo>
                    <a:cubicBezTo>
                      <a:pt x="72" y="2"/>
                      <a:pt x="72" y="2"/>
                      <a:pt x="72" y="2"/>
                    </a:cubicBezTo>
                    <a:cubicBezTo>
                      <a:pt x="74" y="0"/>
                      <a:pt x="78" y="0"/>
                      <a:pt x="81" y="1"/>
                    </a:cubicBezTo>
                    <a:cubicBezTo>
                      <a:pt x="84" y="2"/>
                      <a:pt x="86" y="4"/>
                      <a:pt x="87" y="7"/>
                    </a:cubicBezTo>
                    <a:cubicBezTo>
                      <a:pt x="91" y="19"/>
                      <a:pt x="91" y="19"/>
                      <a:pt x="91" y="19"/>
                    </a:cubicBezTo>
                    <a:cubicBezTo>
                      <a:pt x="92" y="24"/>
                      <a:pt x="90" y="29"/>
                      <a:pt x="85" y="31"/>
                    </a:cubicBezTo>
                    <a:cubicBezTo>
                      <a:pt x="16" y="62"/>
                      <a:pt x="16" y="62"/>
                      <a:pt x="16" y="62"/>
                    </a:cubicBezTo>
                    <a:cubicBezTo>
                      <a:pt x="15" y="63"/>
                      <a:pt x="13" y="63"/>
                      <a:pt x="12" y="6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40" name="Freeform 26"/>
              <p:cNvSpPr>
                <a:spLocks/>
              </p:cNvSpPr>
              <p:nvPr/>
            </p:nvSpPr>
            <p:spPr bwMode="auto">
              <a:xfrm>
                <a:off x="-1260476" y="4189413"/>
                <a:ext cx="50800" cy="90488"/>
              </a:xfrm>
              <a:custGeom>
                <a:avLst/>
                <a:gdLst>
                  <a:gd name="T0" fmla="*/ 33 w 69"/>
                  <a:gd name="T1" fmla="*/ 120 h 120"/>
                  <a:gd name="T2" fmla="*/ 28 w 69"/>
                  <a:gd name="T3" fmla="*/ 119 h 120"/>
                  <a:gd name="T4" fmla="*/ 6 w 69"/>
                  <a:gd name="T5" fmla="*/ 106 h 120"/>
                  <a:gd name="T6" fmla="*/ 3 w 69"/>
                  <a:gd name="T7" fmla="*/ 92 h 120"/>
                  <a:gd name="T8" fmla="*/ 8 w 69"/>
                  <a:gd name="T9" fmla="*/ 81 h 120"/>
                  <a:gd name="T10" fmla="*/ 11 w 69"/>
                  <a:gd name="T11" fmla="*/ 52 h 120"/>
                  <a:gd name="T12" fmla="*/ 13 w 69"/>
                  <a:gd name="T13" fmla="*/ 48 h 120"/>
                  <a:gd name="T14" fmla="*/ 23 w 69"/>
                  <a:gd name="T15" fmla="*/ 32 h 120"/>
                  <a:gd name="T16" fmla="*/ 24 w 69"/>
                  <a:gd name="T17" fmla="*/ 31 h 120"/>
                  <a:gd name="T18" fmla="*/ 47 w 69"/>
                  <a:gd name="T19" fmla="*/ 4 h 120"/>
                  <a:gd name="T20" fmla="*/ 58 w 69"/>
                  <a:gd name="T21" fmla="*/ 1 h 120"/>
                  <a:gd name="T22" fmla="*/ 65 w 69"/>
                  <a:gd name="T23" fmla="*/ 9 h 120"/>
                  <a:gd name="T24" fmla="*/ 69 w 69"/>
                  <a:gd name="T25" fmla="*/ 29 h 120"/>
                  <a:gd name="T26" fmla="*/ 69 w 69"/>
                  <a:gd name="T27" fmla="*/ 34 h 120"/>
                  <a:gd name="T28" fmla="*/ 43 w 69"/>
                  <a:gd name="T29" fmla="*/ 113 h 120"/>
                  <a:gd name="T30" fmla="*/ 37 w 69"/>
                  <a:gd name="T31" fmla="*/ 120 h 120"/>
                  <a:gd name="T32" fmla="*/ 33 w 69"/>
                  <a:gd name="T33" fmla="*/ 12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9" h="120">
                    <a:moveTo>
                      <a:pt x="33" y="120"/>
                    </a:moveTo>
                    <a:cubicBezTo>
                      <a:pt x="31" y="120"/>
                      <a:pt x="29" y="120"/>
                      <a:pt x="28" y="119"/>
                    </a:cubicBezTo>
                    <a:cubicBezTo>
                      <a:pt x="6" y="106"/>
                      <a:pt x="6" y="106"/>
                      <a:pt x="6" y="106"/>
                    </a:cubicBezTo>
                    <a:cubicBezTo>
                      <a:pt x="2" y="103"/>
                      <a:pt x="0" y="97"/>
                      <a:pt x="3" y="92"/>
                    </a:cubicBezTo>
                    <a:cubicBezTo>
                      <a:pt x="8" y="81"/>
                      <a:pt x="8" y="81"/>
                      <a:pt x="8" y="81"/>
                    </a:cubicBezTo>
                    <a:cubicBezTo>
                      <a:pt x="11" y="52"/>
                      <a:pt x="11" y="52"/>
                      <a:pt x="11" y="52"/>
                    </a:cubicBezTo>
                    <a:cubicBezTo>
                      <a:pt x="11" y="51"/>
                      <a:pt x="12" y="49"/>
                      <a:pt x="13" y="48"/>
                    </a:cubicBezTo>
                    <a:cubicBezTo>
                      <a:pt x="23" y="32"/>
                      <a:pt x="23" y="32"/>
                      <a:pt x="23" y="32"/>
                    </a:cubicBezTo>
                    <a:cubicBezTo>
                      <a:pt x="23" y="32"/>
                      <a:pt x="24" y="32"/>
                      <a:pt x="24" y="31"/>
                    </a:cubicBezTo>
                    <a:cubicBezTo>
                      <a:pt x="47" y="4"/>
                      <a:pt x="47" y="4"/>
                      <a:pt x="47" y="4"/>
                    </a:cubicBezTo>
                    <a:cubicBezTo>
                      <a:pt x="50" y="1"/>
                      <a:pt x="54" y="0"/>
                      <a:pt x="58" y="1"/>
                    </a:cubicBezTo>
                    <a:cubicBezTo>
                      <a:pt x="62" y="2"/>
                      <a:pt x="65" y="5"/>
                      <a:pt x="65" y="9"/>
                    </a:cubicBezTo>
                    <a:cubicBezTo>
                      <a:pt x="69" y="29"/>
                      <a:pt x="69" y="29"/>
                      <a:pt x="69" y="29"/>
                    </a:cubicBezTo>
                    <a:cubicBezTo>
                      <a:pt x="69" y="31"/>
                      <a:pt x="69" y="32"/>
                      <a:pt x="69" y="34"/>
                    </a:cubicBezTo>
                    <a:cubicBezTo>
                      <a:pt x="43" y="113"/>
                      <a:pt x="43" y="113"/>
                      <a:pt x="43" y="113"/>
                    </a:cubicBezTo>
                    <a:cubicBezTo>
                      <a:pt x="42" y="116"/>
                      <a:pt x="40" y="119"/>
                      <a:pt x="37" y="120"/>
                    </a:cubicBezTo>
                    <a:cubicBezTo>
                      <a:pt x="36" y="120"/>
                      <a:pt x="34" y="120"/>
                      <a:pt x="33" y="1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41" name="Freeform 27"/>
              <p:cNvSpPr>
                <a:spLocks/>
              </p:cNvSpPr>
              <p:nvPr/>
            </p:nvSpPr>
            <p:spPr bwMode="auto">
              <a:xfrm>
                <a:off x="-1900238" y="3997325"/>
                <a:ext cx="66675" cy="31750"/>
              </a:xfrm>
              <a:custGeom>
                <a:avLst/>
                <a:gdLst>
                  <a:gd name="T0" fmla="*/ 38 w 88"/>
                  <a:gd name="T1" fmla="*/ 42 h 42"/>
                  <a:gd name="T2" fmla="*/ 28 w 88"/>
                  <a:gd name="T3" fmla="*/ 32 h 42"/>
                  <a:gd name="T4" fmla="*/ 37 w 88"/>
                  <a:gd name="T5" fmla="*/ 21 h 42"/>
                  <a:gd name="T6" fmla="*/ 39 w 88"/>
                  <a:gd name="T7" fmla="*/ 21 h 42"/>
                  <a:gd name="T8" fmla="*/ 38 w 88"/>
                  <a:gd name="T9" fmla="*/ 20 h 42"/>
                  <a:gd name="T10" fmla="*/ 10 w 88"/>
                  <a:gd name="T11" fmla="*/ 20 h 42"/>
                  <a:gd name="T12" fmla="*/ 0 w 88"/>
                  <a:gd name="T13" fmla="*/ 10 h 42"/>
                  <a:gd name="T14" fmla="*/ 10 w 88"/>
                  <a:gd name="T15" fmla="*/ 0 h 42"/>
                  <a:gd name="T16" fmla="*/ 41 w 88"/>
                  <a:gd name="T17" fmla="*/ 0 h 42"/>
                  <a:gd name="T18" fmla="*/ 46 w 88"/>
                  <a:gd name="T19" fmla="*/ 1 h 42"/>
                  <a:gd name="T20" fmla="*/ 60 w 88"/>
                  <a:gd name="T21" fmla="*/ 9 h 42"/>
                  <a:gd name="T22" fmla="*/ 81 w 88"/>
                  <a:gd name="T23" fmla="*/ 17 h 42"/>
                  <a:gd name="T24" fmla="*/ 87 w 88"/>
                  <a:gd name="T25" fmla="*/ 28 h 42"/>
                  <a:gd name="T26" fmla="*/ 78 w 88"/>
                  <a:gd name="T27" fmla="*/ 37 h 42"/>
                  <a:gd name="T28" fmla="*/ 39 w 88"/>
                  <a:gd name="T29" fmla="*/ 41 h 42"/>
                  <a:gd name="T30" fmla="*/ 38 w 88"/>
                  <a:gd name="T31" fmla="*/ 4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8" h="42">
                    <a:moveTo>
                      <a:pt x="38" y="42"/>
                    </a:moveTo>
                    <a:cubicBezTo>
                      <a:pt x="33" y="42"/>
                      <a:pt x="28" y="38"/>
                      <a:pt x="28" y="32"/>
                    </a:cubicBezTo>
                    <a:cubicBezTo>
                      <a:pt x="27" y="27"/>
                      <a:pt x="31" y="22"/>
                      <a:pt x="37" y="21"/>
                    </a:cubicBezTo>
                    <a:cubicBezTo>
                      <a:pt x="39" y="21"/>
                      <a:pt x="39" y="21"/>
                      <a:pt x="39" y="21"/>
                    </a:cubicBezTo>
                    <a:cubicBezTo>
                      <a:pt x="38" y="20"/>
                      <a:pt x="38" y="20"/>
                      <a:pt x="38" y="20"/>
                    </a:cubicBezTo>
                    <a:cubicBezTo>
                      <a:pt x="10" y="20"/>
                      <a:pt x="10" y="20"/>
                      <a:pt x="10" y="20"/>
                    </a:cubicBezTo>
                    <a:cubicBezTo>
                      <a:pt x="4" y="20"/>
                      <a:pt x="0" y="16"/>
                      <a:pt x="0" y="10"/>
                    </a:cubicBezTo>
                    <a:cubicBezTo>
                      <a:pt x="0" y="4"/>
                      <a:pt x="4" y="0"/>
                      <a:pt x="10" y="0"/>
                    </a:cubicBezTo>
                    <a:cubicBezTo>
                      <a:pt x="41" y="0"/>
                      <a:pt x="41" y="0"/>
                      <a:pt x="41" y="0"/>
                    </a:cubicBezTo>
                    <a:cubicBezTo>
                      <a:pt x="43" y="0"/>
                      <a:pt x="44" y="0"/>
                      <a:pt x="46" y="1"/>
                    </a:cubicBezTo>
                    <a:cubicBezTo>
                      <a:pt x="60" y="9"/>
                      <a:pt x="60" y="9"/>
                      <a:pt x="60" y="9"/>
                    </a:cubicBezTo>
                    <a:cubicBezTo>
                      <a:pt x="81" y="17"/>
                      <a:pt x="81" y="17"/>
                      <a:pt x="81" y="17"/>
                    </a:cubicBezTo>
                    <a:cubicBezTo>
                      <a:pt x="85" y="19"/>
                      <a:pt x="88" y="24"/>
                      <a:pt x="87" y="28"/>
                    </a:cubicBezTo>
                    <a:cubicBezTo>
                      <a:pt x="86" y="33"/>
                      <a:pt x="83" y="37"/>
                      <a:pt x="78" y="37"/>
                    </a:cubicBezTo>
                    <a:cubicBezTo>
                      <a:pt x="39" y="41"/>
                      <a:pt x="39" y="41"/>
                      <a:pt x="39" y="41"/>
                    </a:cubicBezTo>
                    <a:cubicBezTo>
                      <a:pt x="39" y="42"/>
                      <a:pt x="38" y="42"/>
                      <a:pt x="38" y="4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42" name="Freeform 28"/>
              <p:cNvSpPr>
                <a:spLocks/>
              </p:cNvSpPr>
              <p:nvPr/>
            </p:nvSpPr>
            <p:spPr bwMode="auto">
              <a:xfrm>
                <a:off x="-1820863" y="4011613"/>
                <a:ext cx="42863" cy="20638"/>
              </a:xfrm>
              <a:custGeom>
                <a:avLst/>
                <a:gdLst>
                  <a:gd name="T0" fmla="*/ 47 w 58"/>
                  <a:gd name="T1" fmla="*/ 27 h 27"/>
                  <a:gd name="T2" fmla="*/ 46 w 58"/>
                  <a:gd name="T3" fmla="*/ 27 h 27"/>
                  <a:gd name="T4" fmla="*/ 10 w 58"/>
                  <a:gd name="T5" fmla="*/ 21 h 27"/>
                  <a:gd name="T6" fmla="*/ 1 w 58"/>
                  <a:gd name="T7" fmla="*/ 10 h 27"/>
                  <a:gd name="T8" fmla="*/ 13 w 58"/>
                  <a:gd name="T9" fmla="*/ 1 h 27"/>
                  <a:gd name="T10" fmla="*/ 49 w 58"/>
                  <a:gd name="T11" fmla="*/ 6 h 27"/>
                  <a:gd name="T12" fmla="*/ 58 w 58"/>
                  <a:gd name="T13" fmla="*/ 18 h 27"/>
                  <a:gd name="T14" fmla="*/ 47 w 58"/>
                  <a:gd name="T15" fmla="*/ 27 h 2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 h="27">
                    <a:moveTo>
                      <a:pt x="47" y="27"/>
                    </a:moveTo>
                    <a:cubicBezTo>
                      <a:pt x="47" y="27"/>
                      <a:pt x="46" y="27"/>
                      <a:pt x="46" y="27"/>
                    </a:cubicBezTo>
                    <a:cubicBezTo>
                      <a:pt x="10" y="21"/>
                      <a:pt x="10" y="21"/>
                      <a:pt x="10" y="21"/>
                    </a:cubicBezTo>
                    <a:cubicBezTo>
                      <a:pt x="4" y="21"/>
                      <a:pt x="0" y="15"/>
                      <a:pt x="1" y="10"/>
                    </a:cubicBezTo>
                    <a:cubicBezTo>
                      <a:pt x="2" y="4"/>
                      <a:pt x="7" y="0"/>
                      <a:pt x="13" y="1"/>
                    </a:cubicBezTo>
                    <a:cubicBezTo>
                      <a:pt x="49" y="6"/>
                      <a:pt x="49" y="6"/>
                      <a:pt x="49" y="6"/>
                    </a:cubicBezTo>
                    <a:cubicBezTo>
                      <a:pt x="54" y="7"/>
                      <a:pt x="58" y="12"/>
                      <a:pt x="58" y="18"/>
                    </a:cubicBezTo>
                    <a:cubicBezTo>
                      <a:pt x="57" y="23"/>
                      <a:pt x="52" y="27"/>
                      <a:pt x="47" y="2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43" name="Freeform 29"/>
              <p:cNvSpPr>
                <a:spLocks/>
              </p:cNvSpPr>
              <p:nvPr/>
            </p:nvSpPr>
            <p:spPr bwMode="auto">
              <a:xfrm>
                <a:off x="-1782763" y="4030663"/>
                <a:ext cx="20638" cy="25400"/>
              </a:xfrm>
              <a:custGeom>
                <a:avLst/>
                <a:gdLst>
                  <a:gd name="T0" fmla="*/ 16 w 27"/>
                  <a:gd name="T1" fmla="*/ 35 h 35"/>
                  <a:gd name="T2" fmla="*/ 6 w 27"/>
                  <a:gd name="T3" fmla="*/ 28 h 35"/>
                  <a:gd name="T4" fmla="*/ 2 w 27"/>
                  <a:gd name="T5" fmla="*/ 15 h 35"/>
                  <a:gd name="T6" fmla="*/ 8 w 27"/>
                  <a:gd name="T7" fmla="*/ 2 h 35"/>
                  <a:gd name="T8" fmla="*/ 21 w 27"/>
                  <a:gd name="T9" fmla="*/ 9 h 35"/>
                  <a:gd name="T10" fmla="*/ 26 w 27"/>
                  <a:gd name="T11" fmla="*/ 22 h 35"/>
                  <a:gd name="T12" fmla="*/ 19 w 27"/>
                  <a:gd name="T13" fmla="*/ 35 h 35"/>
                  <a:gd name="T14" fmla="*/ 16 w 27"/>
                  <a:gd name="T15" fmla="*/ 35 h 3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7" h="35">
                    <a:moveTo>
                      <a:pt x="16" y="35"/>
                    </a:moveTo>
                    <a:cubicBezTo>
                      <a:pt x="12" y="35"/>
                      <a:pt x="8" y="33"/>
                      <a:pt x="6" y="28"/>
                    </a:cubicBezTo>
                    <a:cubicBezTo>
                      <a:pt x="2" y="15"/>
                      <a:pt x="2" y="15"/>
                      <a:pt x="2" y="15"/>
                    </a:cubicBezTo>
                    <a:cubicBezTo>
                      <a:pt x="0" y="10"/>
                      <a:pt x="3" y="4"/>
                      <a:pt x="8" y="2"/>
                    </a:cubicBezTo>
                    <a:cubicBezTo>
                      <a:pt x="14" y="0"/>
                      <a:pt x="19" y="3"/>
                      <a:pt x="21" y="9"/>
                    </a:cubicBezTo>
                    <a:cubicBezTo>
                      <a:pt x="26" y="22"/>
                      <a:pt x="26" y="22"/>
                      <a:pt x="26" y="22"/>
                    </a:cubicBezTo>
                    <a:cubicBezTo>
                      <a:pt x="27" y="27"/>
                      <a:pt x="25" y="33"/>
                      <a:pt x="19" y="35"/>
                    </a:cubicBezTo>
                    <a:cubicBezTo>
                      <a:pt x="18" y="35"/>
                      <a:pt x="17" y="35"/>
                      <a:pt x="16" y="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244" name="Group 243"/>
            <p:cNvGrpSpPr/>
            <p:nvPr/>
          </p:nvGrpSpPr>
          <p:grpSpPr>
            <a:xfrm>
              <a:off x="9228966" y="2554596"/>
              <a:ext cx="509017" cy="512211"/>
              <a:chOff x="9228966" y="2554596"/>
              <a:chExt cx="509017" cy="512211"/>
            </a:xfrm>
          </p:grpSpPr>
          <p:grpSp>
            <p:nvGrpSpPr>
              <p:cNvPr id="245" name="Group 244"/>
              <p:cNvGrpSpPr/>
              <p:nvPr/>
            </p:nvGrpSpPr>
            <p:grpSpPr>
              <a:xfrm>
                <a:off x="9228966" y="2554596"/>
                <a:ext cx="509017" cy="512211"/>
                <a:chOff x="9228966" y="2554596"/>
                <a:chExt cx="509017" cy="512211"/>
              </a:xfrm>
            </p:grpSpPr>
            <p:sp>
              <p:nvSpPr>
                <p:cNvPr id="247" name="Oval 246"/>
                <p:cNvSpPr/>
                <p:nvPr/>
              </p:nvSpPr>
              <p:spPr bwMode="auto">
                <a:xfrm>
                  <a:off x="9228966" y="2554596"/>
                  <a:ext cx="509017" cy="512211"/>
                </a:xfrm>
                <a:prstGeom prst="ellipse">
                  <a:avLst/>
                </a:prstGeom>
                <a:solidFill>
                  <a:schemeClr val="bg1"/>
                </a:solid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nvGrpSpPr>
                <p:cNvPr id="248" name="Group 247"/>
                <p:cNvGrpSpPr/>
                <p:nvPr/>
              </p:nvGrpSpPr>
              <p:grpSpPr>
                <a:xfrm>
                  <a:off x="9281245" y="2671065"/>
                  <a:ext cx="421055" cy="320937"/>
                  <a:chOff x="-1857265" y="3351518"/>
                  <a:chExt cx="2128810" cy="1622621"/>
                </a:xfrm>
              </p:grpSpPr>
              <p:grpSp>
                <p:nvGrpSpPr>
                  <p:cNvPr id="249" name="Group 248"/>
                  <p:cNvGrpSpPr/>
                  <p:nvPr/>
                </p:nvGrpSpPr>
                <p:grpSpPr>
                  <a:xfrm>
                    <a:off x="-1857265" y="3351518"/>
                    <a:ext cx="1024138" cy="1622621"/>
                    <a:chOff x="-2060772" y="3327115"/>
                    <a:chExt cx="1024138" cy="1622621"/>
                  </a:xfrm>
                </p:grpSpPr>
                <p:sp>
                  <p:nvSpPr>
                    <p:cNvPr id="296" name="Rectangle 295"/>
                    <p:cNvSpPr>
                      <a:spLocks noChangeArrowheads="1"/>
                    </p:cNvSpPr>
                    <p:nvPr/>
                  </p:nvSpPr>
                  <p:spPr bwMode="auto">
                    <a:xfrm>
                      <a:off x="-1638315" y="3829584"/>
                      <a:ext cx="179224" cy="53127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IN" dirty="0"/>
                    </a:p>
                  </p:txBody>
                </p:sp>
                <p:sp>
                  <p:nvSpPr>
                    <p:cNvPr id="297" name="Freeform 296"/>
                    <p:cNvSpPr>
                      <a:spLocks/>
                    </p:cNvSpPr>
                    <p:nvPr/>
                  </p:nvSpPr>
                  <p:spPr bwMode="auto">
                    <a:xfrm>
                      <a:off x="-1705525" y="3371921"/>
                      <a:ext cx="345647" cy="419256"/>
                    </a:xfrm>
                    <a:custGeom>
                      <a:avLst/>
                      <a:gdLst>
                        <a:gd name="T0" fmla="*/ 69 w 77"/>
                        <a:gd name="T1" fmla="*/ 53 h 93"/>
                        <a:gd name="T2" fmla="*/ 27 w 77"/>
                        <a:gd name="T3" fmla="*/ 87 h 93"/>
                        <a:gd name="T4" fmla="*/ 7 w 77"/>
                        <a:gd name="T5" fmla="*/ 36 h 93"/>
                        <a:gd name="T6" fmla="*/ 54 w 77"/>
                        <a:gd name="T7" fmla="*/ 6 h 93"/>
                        <a:gd name="T8" fmla="*/ 69 w 77"/>
                        <a:gd name="T9" fmla="*/ 53 h 93"/>
                      </a:gdLst>
                      <a:ahLst/>
                      <a:cxnLst>
                        <a:cxn ang="0">
                          <a:pos x="T0" y="T1"/>
                        </a:cxn>
                        <a:cxn ang="0">
                          <a:pos x="T2" y="T3"/>
                        </a:cxn>
                        <a:cxn ang="0">
                          <a:pos x="T4" y="T5"/>
                        </a:cxn>
                        <a:cxn ang="0">
                          <a:pos x="T6" y="T7"/>
                        </a:cxn>
                        <a:cxn ang="0">
                          <a:pos x="T8" y="T9"/>
                        </a:cxn>
                      </a:cxnLst>
                      <a:rect l="0" t="0" r="r" b="b"/>
                      <a:pathLst>
                        <a:path w="77" h="93">
                          <a:moveTo>
                            <a:pt x="69" y="53"/>
                          </a:moveTo>
                          <a:cubicBezTo>
                            <a:pt x="62" y="75"/>
                            <a:pt x="45" y="93"/>
                            <a:pt x="27" y="87"/>
                          </a:cubicBezTo>
                          <a:cubicBezTo>
                            <a:pt x="9" y="81"/>
                            <a:pt x="0" y="58"/>
                            <a:pt x="7" y="36"/>
                          </a:cubicBezTo>
                          <a:cubicBezTo>
                            <a:pt x="15" y="14"/>
                            <a:pt x="35" y="0"/>
                            <a:pt x="54" y="6"/>
                          </a:cubicBezTo>
                          <a:cubicBezTo>
                            <a:pt x="72" y="12"/>
                            <a:pt x="77" y="31"/>
                            <a:pt x="69" y="53"/>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IN" dirty="0"/>
                    </a:p>
                  </p:txBody>
                </p:sp>
                <p:sp>
                  <p:nvSpPr>
                    <p:cNvPr id="298" name="Freeform 297"/>
                    <p:cNvSpPr>
                      <a:spLocks/>
                    </p:cNvSpPr>
                    <p:nvPr/>
                  </p:nvSpPr>
                  <p:spPr bwMode="auto">
                    <a:xfrm>
                      <a:off x="-1750331" y="3327115"/>
                      <a:ext cx="339246" cy="390453"/>
                    </a:xfrm>
                    <a:custGeom>
                      <a:avLst/>
                      <a:gdLst>
                        <a:gd name="T0" fmla="*/ 65 w 76"/>
                        <a:gd name="T1" fmla="*/ 28 h 87"/>
                        <a:gd name="T2" fmla="*/ 58 w 76"/>
                        <a:gd name="T3" fmla="*/ 78 h 87"/>
                        <a:gd name="T4" fmla="*/ 11 w 76"/>
                        <a:gd name="T5" fmla="*/ 60 h 87"/>
                        <a:gd name="T6" fmla="*/ 17 w 76"/>
                        <a:gd name="T7" fmla="*/ 9 h 87"/>
                        <a:gd name="T8" fmla="*/ 65 w 76"/>
                        <a:gd name="T9" fmla="*/ 28 h 87"/>
                      </a:gdLst>
                      <a:ahLst/>
                      <a:cxnLst>
                        <a:cxn ang="0">
                          <a:pos x="T0" y="T1"/>
                        </a:cxn>
                        <a:cxn ang="0">
                          <a:pos x="T2" y="T3"/>
                        </a:cxn>
                        <a:cxn ang="0">
                          <a:pos x="T4" y="T5"/>
                        </a:cxn>
                        <a:cxn ang="0">
                          <a:pos x="T6" y="T7"/>
                        </a:cxn>
                        <a:cxn ang="0">
                          <a:pos x="T8" y="T9"/>
                        </a:cxn>
                      </a:cxnLst>
                      <a:rect l="0" t="0" r="r" b="b"/>
                      <a:pathLst>
                        <a:path w="76" h="87">
                          <a:moveTo>
                            <a:pt x="65" y="28"/>
                          </a:moveTo>
                          <a:cubicBezTo>
                            <a:pt x="76" y="47"/>
                            <a:pt x="73" y="69"/>
                            <a:pt x="58" y="78"/>
                          </a:cubicBezTo>
                          <a:cubicBezTo>
                            <a:pt x="43" y="87"/>
                            <a:pt x="22" y="79"/>
                            <a:pt x="11" y="60"/>
                          </a:cubicBezTo>
                          <a:cubicBezTo>
                            <a:pt x="0" y="40"/>
                            <a:pt x="3" y="18"/>
                            <a:pt x="17" y="9"/>
                          </a:cubicBezTo>
                          <a:cubicBezTo>
                            <a:pt x="32" y="0"/>
                            <a:pt x="53" y="9"/>
                            <a:pt x="65" y="28"/>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IN" dirty="0"/>
                    </a:p>
                  </p:txBody>
                </p:sp>
                <p:sp>
                  <p:nvSpPr>
                    <p:cNvPr id="299" name="Freeform 298"/>
                    <p:cNvSpPr>
                      <a:spLocks/>
                    </p:cNvSpPr>
                    <p:nvPr/>
                  </p:nvSpPr>
                  <p:spPr bwMode="auto">
                    <a:xfrm>
                      <a:off x="-1638315" y="3685563"/>
                      <a:ext cx="179224" cy="188825"/>
                    </a:xfrm>
                    <a:custGeom>
                      <a:avLst/>
                      <a:gdLst>
                        <a:gd name="T0" fmla="*/ 56 w 56"/>
                        <a:gd name="T1" fmla="*/ 45 h 59"/>
                        <a:gd name="T2" fmla="*/ 28 w 56"/>
                        <a:gd name="T3" fmla="*/ 59 h 59"/>
                        <a:gd name="T4" fmla="*/ 0 w 56"/>
                        <a:gd name="T5" fmla="*/ 45 h 59"/>
                        <a:gd name="T6" fmla="*/ 0 w 56"/>
                        <a:gd name="T7" fmla="*/ 0 h 59"/>
                        <a:gd name="T8" fmla="*/ 56 w 56"/>
                        <a:gd name="T9" fmla="*/ 0 h 59"/>
                        <a:gd name="T10" fmla="*/ 56 w 56"/>
                        <a:gd name="T11" fmla="*/ 45 h 59"/>
                      </a:gdLst>
                      <a:ahLst/>
                      <a:cxnLst>
                        <a:cxn ang="0">
                          <a:pos x="T0" y="T1"/>
                        </a:cxn>
                        <a:cxn ang="0">
                          <a:pos x="T2" y="T3"/>
                        </a:cxn>
                        <a:cxn ang="0">
                          <a:pos x="T4" y="T5"/>
                        </a:cxn>
                        <a:cxn ang="0">
                          <a:pos x="T6" y="T7"/>
                        </a:cxn>
                        <a:cxn ang="0">
                          <a:pos x="T8" y="T9"/>
                        </a:cxn>
                        <a:cxn ang="0">
                          <a:pos x="T10" y="T11"/>
                        </a:cxn>
                      </a:cxnLst>
                      <a:rect l="0" t="0" r="r" b="b"/>
                      <a:pathLst>
                        <a:path w="56" h="59">
                          <a:moveTo>
                            <a:pt x="56" y="45"/>
                          </a:moveTo>
                          <a:lnTo>
                            <a:pt x="28" y="59"/>
                          </a:lnTo>
                          <a:lnTo>
                            <a:pt x="0" y="45"/>
                          </a:lnTo>
                          <a:lnTo>
                            <a:pt x="0" y="0"/>
                          </a:lnTo>
                          <a:lnTo>
                            <a:pt x="56" y="0"/>
                          </a:lnTo>
                          <a:lnTo>
                            <a:pt x="56" y="45"/>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IN" dirty="0"/>
                    </a:p>
                  </p:txBody>
                </p:sp>
                <p:sp>
                  <p:nvSpPr>
                    <p:cNvPr id="300" name="Freeform 299"/>
                    <p:cNvSpPr>
                      <a:spLocks/>
                    </p:cNvSpPr>
                    <p:nvPr/>
                  </p:nvSpPr>
                  <p:spPr bwMode="auto">
                    <a:xfrm>
                      <a:off x="-1596710" y="3874390"/>
                      <a:ext cx="96013" cy="700894"/>
                    </a:xfrm>
                    <a:custGeom>
                      <a:avLst/>
                      <a:gdLst>
                        <a:gd name="T0" fmla="*/ 23 w 30"/>
                        <a:gd name="T1" fmla="*/ 17 h 219"/>
                        <a:gd name="T2" fmla="*/ 30 w 30"/>
                        <a:gd name="T3" fmla="*/ 13 h 219"/>
                        <a:gd name="T4" fmla="*/ 15 w 30"/>
                        <a:gd name="T5" fmla="*/ 0 h 219"/>
                        <a:gd name="T6" fmla="*/ 0 w 30"/>
                        <a:gd name="T7" fmla="*/ 13 h 219"/>
                        <a:gd name="T8" fmla="*/ 7 w 30"/>
                        <a:gd name="T9" fmla="*/ 17 h 219"/>
                        <a:gd name="T10" fmla="*/ 5 w 30"/>
                        <a:gd name="T11" fmla="*/ 202 h 219"/>
                        <a:gd name="T12" fmla="*/ 15 w 30"/>
                        <a:gd name="T13" fmla="*/ 219 h 219"/>
                        <a:gd name="T14" fmla="*/ 23 w 30"/>
                        <a:gd name="T15" fmla="*/ 202 h 219"/>
                        <a:gd name="T16" fmla="*/ 23 w 30"/>
                        <a:gd name="T17" fmla="*/ 17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 h="219">
                          <a:moveTo>
                            <a:pt x="23" y="17"/>
                          </a:moveTo>
                          <a:lnTo>
                            <a:pt x="30" y="13"/>
                          </a:lnTo>
                          <a:lnTo>
                            <a:pt x="15" y="0"/>
                          </a:lnTo>
                          <a:lnTo>
                            <a:pt x="0" y="13"/>
                          </a:lnTo>
                          <a:lnTo>
                            <a:pt x="7" y="17"/>
                          </a:lnTo>
                          <a:lnTo>
                            <a:pt x="5" y="202"/>
                          </a:lnTo>
                          <a:lnTo>
                            <a:pt x="15" y="219"/>
                          </a:lnTo>
                          <a:lnTo>
                            <a:pt x="23" y="202"/>
                          </a:lnTo>
                          <a:lnTo>
                            <a:pt x="23" y="1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IN" dirty="0"/>
                    </a:p>
                  </p:txBody>
                </p:sp>
                <p:sp>
                  <p:nvSpPr>
                    <p:cNvPr id="301" name="Freeform 300"/>
                    <p:cNvSpPr>
                      <a:spLocks/>
                    </p:cNvSpPr>
                    <p:nvPr/>
                  </p:nvSpPr>
                  <p:spPr bwMode="auto">
                    <a:xfrm>
                      <a:off x="-2060772" y="3883990"/>
                      <a:ext cx="380851" cy="976132"/>
                    </a:xfrm>
                    <a:custGeom>
                      <a:avLst/>
                      <a:gdLst>
                        <a:gd name="T0" fmla="*/ 85 w 85"/>
                        <a:gd name="T1" fmla="*/ 9 h 218"/>
                        <a:gd name="T2" fmla="*/ 51 w 85"/>
                        <a:gd name="T3" fmla="*/ 0 h 218"/>
                        <a:gd name="T4" fmla="*/ 0 w 85"/>
                        <a:gd name="T5" fmla="*/ 218 h 218"/>
                        <a:gd name="T6" fmla="*/ 35 w 85"/>
                        <a:gd name="T7" fmla="*/ 218 h 218"/>
                        <a:gd name="T8" fmla="*/ 85 w 85"/>
                        <a:gd name="T9" fmla="*/ 9 h 218"/>
                      </a:gdLst>
                      <a:ahLst/>
                      <a:cxnLst>
                        <a:cxn ang="0">
                          <a:pos x="T0" y="T1"/>
                        </a:cxn>
                        <a:cxn ang="0">
                          <a:pos x="T2" y="T3"/>
                        </a:cxn>
                        <a:cxn ang="0">
                          <a:pos x="T4" y="T5"/>
                        </a:cxn>
                        <a:cxn ang="0">
                          <a:pos x="T6" y="T7"/>
                        </a:cxn>
                        <a:cxn ang="0">
                          <a:pos x="T8" y="T9"/>
                        </a:cxn>
                      </a:cxnLst>
                      <a:rect l="0" t="0" r="r" b="b"/>
                      <a:pathLst>
                        <a:path w="85" h="218">
                          <a:moveTo>
                            <a:pt x="85" y="9"/>
                          </a:moveTo>
                          <a:cubicBezTo>
                            <a:pt x="74" y="6"/>
                            <a:pt x="62" y="3"/>
                            <a:pt x="51" y="0"/>
                          </a:cubicBezTo>
                          <a:cubicBezTo>
                            <a:pt x="19" y="71"/>
                            <a:pt x="8" y="141"/>
                            <a:pt x="0" y="218"/>
                          </a:cubicBezTo>
                          <a:cubicBezTo>
                            <a:pt x="35" y="218"/>
                            <a:pt x="35" y="218"/>
                            <a:pt x="35" y="218"/>
                          </a:cubicBezTo>
                          <a:cubicBezTo>
                            <a:pt x="43" y="144"/>
                            <a:pt x="53" y="77"/>
                            <a:pt x="85" y="9"/>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IN" dirty="0"/>
                    </a:p>
                  </p:txBody>
                </p:sp>
                <p:sp>
                  <p:nvSpPr>
                    <p:cNvPr id="302" name="Freeform 301"/>
                    <p:cNvSpPr>
                      <a:spLocks/>
                    </p:cNvSpPr>
                    <p:nvPr/>
                  </p:nvSpPr>
                  <p:spPr bwMode="auto">
                    <a:xfrm>
                      <a:off x="-1414285" y="3883990"/>
                      <a:ext cx="377651" cy="976132"/>
                    </a:xfrm>
                    <a:custGeom>
                      <a:avLst/>
                      <a:gdLst>
                        <a:gd name="T0" fmla="*/ 0 w 84"/>
                        <a:gd name="T1" fmla="*/ 9 h 218"/>
                        <a:gd name="T2" fmla="*/ 33 w 84"/>
                        <a:gd name="T3" fmla="*/ 0 h 218"/>
                        <a:gd name="T4" fmla="*/ 84 w 84"/>
                        <a:gd name="T5" fmla="*/ 218 h 218"/>
                        <a:gd name="T6" fmla="*/ 50 w 84"/>
                        <a:gd name="T7" fmla="*/ 218 h 218"/>
                        <a:gd name="T8" fmla="*/ 0 w 84"/>
                        <a:gd name="T9" fmla="*/ 9 h 218"/>
                      </a:gdLst>
                      <a:ahLst/>
                      <a:cxnLst>
                        <a:cxn ang="0">
                          <a:pos x="T0" y="T1"/>
                        </a:cxn>
                        <a:cxn ang="0">
                          <a:pos x="T2" y="T3"/>
                        </a:cxn>
                        <a:cxn ang="0">
                          <a:pos x="T4" y="T5"/>
                        </a:cxn>
                        <a:cxn ang="0">
                          <a:pos x="T6" y="T7"/>
                        </a:cxn>
                        <a:cxn ang="0">
                          <a:pos x="T8" y="T9"/>
                        </a:cxn>
                      </a:cxnLst>
                      <a:rect l="0" t="0" r="r" b="b"/>
                      <a:pathLst>
                        <a:path w="84" h="218">
                          <a:moveTo>
                            <a:pt x="0" y="9"/>
                          </a:moveTo>
                          <a:cubicBezTo>
                            <a:pt x="11" y="6"/>
                            <a:pt x="22" y="3"/>
                            <a:pt x="33" y="0"/>
                          </a:cubicBezTo>
                          <a:cubicBezTo>
                            <a:pt x="66" y="71"/>
                            <a:pt x="77" y="141"/>
                            <a:pt x="84" y="218"/>
                          </a:cubicBezTo>
                          <a:cubicBezTo>
                            <a:pt x="50" y="218"/>
                            <a:pt x="50" y="218"/>
                            <a:pt x="50" y="218"/>
                          </a:cubicBezTo>
                          <a:cubicBezTo>
                            <a:pt x="42" y="144"/>
                            <a:pt x="31" y="77"/>
                            <a:pt x="0" y="9"/>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IN" dirty="0"/>
                    </a:p>
                  </p:txBody>
                </p:sp>
                <p:sp>
                  <p:nvSpPr>
                    <p:cNvPr id="303" name="Freeform 302"/>
                    <p:cNvSpPr>
                      <a:spLocks/>
                    </p:cNvSpPr>
                    <p:nvPr/>
                  </p:nvSpPr>
                  <p:spPr bwMode="auto">
                    <a:xfrm>
                      <a:off x="-1836742" y="3829584"/>
                      <a:ext cx="569677" cy="1120152"/>
                    </a:xfrm>
                    <a:custGeom>
                      <a:avLst/>
                      <a:gdLst>
                        <a:gd name="T0" fmla="*/ 118 w 178"/>
                        <a:gd name="T1" fmla="*/ 0 h 350"/>
                        <a:gd name="T2" fmla="*/ 90 w 178"/>
                        <a:gd name="T3" fmla="*/ 219 h 350"/>
                        <a:gd name="T4" fmla="*/ 62 w 178"/>
                        <a:gd name="T5" fmla="*/ 0 h 350"/>
                        <a:gd name="T6" fmla="*/ 0 w 178"/>
                        <a:gd name="T7" fmla="*/ 17 h 350"/>
                        <a:gd name="T8" fmla="*/ 5 w 178"/>
                        <a:gd name="T9" fmla="*/ 350 h 350"/>
                        <a:gd name="T10" fmla="*/ 176 w 178"/>
                        <a:gd name="T11" fmla="*/ 350 h 350"/>
                        <a:gd name="T12" fmla="*/ 178 w 178"/>
                        <a:gd name="T13" fmla="*/ 17 h 350"/>
                        <a:gd name="T14" fmla="*/ 118 w 178"/>
                        <a:gd name="T15" fmla="*/ 0 h 3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8" h="350">
                          <a:moveTo>
                            <a:pt x="118" y="0"/>
                          </a:moveTo>
                          <a:lnTo>
                            <a:pt x="90" y="219"/>
                          </a:lnTo>
                          <a:lnTo>
                            <a:pt x="62" y="0"/>
                          </a:lnTo>
                          <a:lnTo>
                            <a:pt x="0" y="17"/>
                          </a:lnTo>
                          <a:lnTo>
                            <a:pt x="5" y="350"/>
                          </a:lnTo>
                          <a:lnTo>
                            <a:pt x="176" y="350"/>
                          </a:lnTo>
                          <a:lnTo>
                            <a:pt x="178" y="17"/>
                          </a:lnTo>
                          <a:lnTo>
                            <a:pt x="1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IN" dirty="0"/>
                    </a:p>
                  </p:txBody>
                </p:sp>
                <p:sp>
                  <p:nvSpPr>
                    <p:cNvPr id="304" name="Freeform 303"/>
                    <p:cNvSpPr>
                      <a:spLocks/>
                    </p:cNvSpPr>
                    <p:nvPr/>
                  </p:nvSpPr>
                  <p:spPr bwMode="auto">
                    <a:xfrm>
                      <a:off x="-1404684" y="3512740"/>
                      <a:ext cx="0" cy="3199"/>
                    </a:xfrm>
                    <a:custGeom>
                      <a:avLst/>
                      <a:gdLst>
                        <a:gd name="T0" fmla="*/ 1 h 1"/>
                        <a:gd name="T1" fmla="*/ 0 h 1"/>
                        <a:gd name="T2" fmla="*/ 1 h 1"/>
                      </a:gdLst>
                      <a:ahLst/>
                      <a:cxnLst>
                        <a:cxn ang="0">
                          <a:pos x="0" y="T0"/>
                        </a:cxn>
                        <a:cxn ang="0">
                          <a:pos x="0" y="T1"/>
                        </a:cxn>
                        <a:cxn ang="0">
                          <a:pos x="0" y="T2"/>
                        </a:cxn>
                      </a:cxnLst>
                      <a:rect l="0" t="0" r="r" b="b"/>
                      <a:pathLst>
                        <a:path h="1">
                          <a:moveTo>
                            <a:pt x="0" y="1"/>
                          </a:moveTo>
                          <a:cubicBezTo>
                            <a:pt x="0" y="0"/>
                            <a:pt x="0" y="0"/>
                            <a:pt x="0" y="0"/>
                          </a:cubicBezTo>
                          <a:cubicBezTo>
                            <a:pt x="0" y="0"/>
                            <a:pt x="0" y="0"/>
                            <a:pt x="0" y="1"/>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IN" dirty="0"/>
                    </a:p>
                  </p:txBody>
                </p:sp>
                <p:sp>
                  <p:nvSpPr>
                    <p:cNvPr id="305" name="Freeform 304"/>
                    <p:cNvSpPr>
                      <a:spLocks/>
                    </p:cNvSpPr>
                    <p:nvPr/>
                  </p:nvSpPr>
                  <p:spPr bwMode="auto">
                    <a:xfrm>
                      <a:off x="-1404684" y="3506339"/>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IN" dirty="0"/>
                    </a:p>
                  </p:txBody>
                </p:sp>
                <p:sp>
                  <p:nvSpPr>
                    <p:cNvPr id="306" name="Freeform 305"/>
                    <p:cNvSpPr>
                      <a:spLocks/>
                    </p:cNvSpPr>
                    <p:nvPr/>
                  </p:nvSpPr>
                  <p:spPr bwMode="auto">
                    <a:xfrm>
                      <a:off x="-1414285" y="3493537"/>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IN" dirty="0"/>
                    </a:p>
                  </p:txBody>
                </p:sp>
                <p:sp>
                  <p:nvSpPr>
                    <p:cNvPr id="307" name="Freeform 306"/>
                    <p:cNvSpPr>
                      <a:spLocks/>
                    </p:cNvSpPr>
                    <p:nvPr/>
                  </p:nvSpPr>
                  <p:spPr bwMode="auto">
                    <a:xfrm>
                      <a:off x="-1411085" y="3499938"/>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IN" dirty="0"/>
                    </a:p>
                  </p:txBody>
                </p:sp>
                <p:sp>
                  <p:nvSpPr>
                    <p:cNvPr id="308" name="Freeform 307"/>
                    <p:cNvSpPr>
                      <a:spLocks/>
                    </p:cNvSpPr>
                    <p:nvPr/>
                  </p:nvSpPr>
                  <p:spPr bwMode="auto">
                    <a:xfrm>
                      <a:off x="-1692723" y="3493537"/>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IN" dirty="0"/>
                    </a:p>
                  </p:txBody>
                </p:sp>
                <p:sp>
                  <p:nvSpPr>
                    <p:cNvPr id="309" name="Freeform 308"/>
                    <p:cNvSpPr>
                      <a:spLocks/>
                    </p:cNvSpPr>
                    <p:nvPr/>
                  </p:nvSpPr>
                  <p:spPr bwMode="auto">
                    <a:xfrm>
                      <a:off x="-1404684" y="3515941"/>
                      <a:ext cx="0" cy="6401"/>
                    </a:xfrm>
                    <a:custGeom>
                      <a:avLst/>
                      <a:gdLst>
                        <a:gd name="T0" fmla="*/ 1 h 1"/>
                        <a:gd name="T1" fmla="*/ 0 h 1"/>
                        <a:gd name="T2" fmla="*/ 1 h 1"/>
                      </a:gdLst>
                      <a:ahLst/>
                      <a:cxnLst>
                        <a:cxn ang="0">
                          <a:pos x="0" y="T0"/>
                        </a:cxn>
                        <a:cxn ang="0">
                          <a:pos x="0" y="T1"/>
                        </a:cxn>
                        <a:cxn ang="0">
                          <a:pos x="0" y="T2"/>
                        </a:cxn>
                      </a:cxnLst>
                      <a:rect l="0" t="0" r="r" b="b"/>
                      <a:pathLst>
                        <a:path h="1">
                          <a:moveTo>
                            <a:pt x="0" y="1"/>
                          </a:moveTo>
                          <a:cubicBezTo>
                            <a:pt x="0" y="1"/>
                            <a:pt x="0" y="0"/>
                            <a:pt x="0" y="0"/>
                          </a:cubicBezTo>
                          <a:cubicBezTo>
                            <a:pt x="0" y="0"/>
                            <a:pt x="0" y="1"/>
                            <a:pt x="0" y="1"/>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IN" dirty="0"/>
                    </a:p>
                  </p:txBody>
                </p:sp>
                <p:sp>
                  <p:nvSpPr>
                    <p:cNvPr id="310" name="Freeform 309"/>
                    <p:cNvSpPr>
                      <a:spLocks/>
                    </p:cNvSpPr>
                    <p:nvPr/>
                  </p:nvSpPr>
                  <p:spPr bwMode="auto">
                    <a:xfrm>
                      <a:off x="-1404684" y="3525542"/>
                      <a:ext cx="0" cy="3199"/>
                    </a:xfrm>
                    <a:custGeom>
                      <a:avLst/>
                      <a:gdLst>
                        <a:gd name="T0" fmla="*/ 1 h 1"/>
                        <a:gd name="T1" fmla="*/ 0 h 1"/>
                        <a:gd name="T2" fmla="*/ 1 h 1"/>
                      </a:gdLst>
                      <a:ahLst/>
                      <a:cxnLst>
                        <a:cxn ang="0">
                          <a:pos x="0" y="T0"/>
                        </a:cxn>
                        <a:cxn ang="0">
                          <a:pos x="0" y="T1"/>
                        </a:cxn>
                        <a:cxn ang="0">
                          <a:pos x="0" y="T2"/>
                        </a:cxn>
                      </a:cxnLst>
                      <a:rect l="0" t="0" r="r" b="b"/>
                      <a:pathLst>
                        <a:path h="1">
                          <a:moveTo>
                            <a:pt x="0" y="1"/>
                          </a:moveTo>
                          <a:cubicBezTo>
                            <a:pt x="0" y="1"/>
                            <a:pt x="0" y="0"/>
                            <a:pt x="0" y="0"/>
                          </a:cubicBezTo>
                          <a:cubicBezTo>
                            <a:pt x="0" y="0"/>
                            <a:pt x="0" y="1"/>
                            <a:pt x="0" y="1"/>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IN" dirty="0"/>
                    </a:p>
                  </p:txBody>
                </p:sp>
                <p:sp>
                  <p:nvSpPr>
                    <p:cNvPr id="311" name="Rectangle 310"/>
                    <p:cNvSpPr>
                      <a:spLocks noChangeArrowheads="1"/>
                    </p:cNvSpPr>
                    <p:nvPr/>
                  </p:nvSpPr>
                  <p:spPr bwMode="auto">
                    <a:xfrm>
                      <a:off x="-1417486" y="3490338"/>
                      <a:ext cx="3199" cy="3199"/>
                    </a:xfrm>
                    <a:prstGeom prst="rect">
                      <a:avLst/>
                    </a:prstGeom>
                    <a:solidFill>
                      <a:srgbClr val="FFD60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IN" dirty="0"/>
                    </a:p>
                  </p:txBody>
                </p:sp>
                <p:sp>
                  <p:nvSpPr>
                    <p:cNvPr id="312" name="Freeform 311"/>
                    <p:cNvSpPr>
                      <a:spLocks/>
                    </p:cNvSpPr>
                    <p:nvPr/>
                  </p:nvSpPr>
                  <p:spPr bwMode="auto">
                    <a:xfrm>
                      <a:off x="-1702324" y="3522342"/>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IN" dirty="0"/>
                    </a:p>
                  </p:txBody>
                </p:sp>
                <p:sp>
                  <p:nvSpPr>
                    <p:cNvPr id="313" name="Freeform 312"/>
                    <p:cNvSpPr>
                      <a:spLocks/>
                    </p:cNvSpPr>
                    <p:nvPr/>
                  </p:nvSpPr>
                  <p:spPr bwMode="auto">
                    <a:xfrm>
                      <a:off x="-1695923" y="3506339"/>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IN" dirty="0"/>
                    </a:p>
                  </p:txBody>
                </p:sp>
                <p:sp>
                  <p:nvSpPr>
                    <p:cNvPr id="314" name="Freeform 313"/>
                    <p:cNvSpPr>
                      <a:spLocks/>
                    </p:cNvSpPr>
                    <p:nvPr/>
                  </p:nvSpPr>
                  <p:spPr bwMode="auto">
                    <a:xfrm>
                      <a:off x="-1695923" y="3499938"/>
                      <a:ext cx="0" cy="3199"/>
                    </a:xfrm>
                    <a:custGeom>
                      <a:avLst/>
                      <a:gdLst>
                        <a:gd name="T0" fmla="*/ 0 h 1"/>
                        <a:gd name="T1" fmla="*/ 1 h 1"/>
                        <a:gd name="T2" fmla="*/ 0 h 1"/>
                      </a:gdLst>
                      <a:ahLst/>
                      <a:cxnLst>
                        <a:cxn ang="0">
                          <a:pos x="0" y="T0"/>
                        </a:cxn>
                        <a:cxn ang="0">
                          <a:pos x="0" y="T1"/>
                        </a:cxn>
                        <a:cxn ang="0">
                          <a:pos x="0" y="T2"/>
                        </a:cxn>
                      </a:cxnLst>
                      <a:rect l="0" t="0" r="r" b="b"/>
                      <a:pathLst>
                        <a:path h="1">
                          <a:moveTo>
                            <a:pt x="0" y="0"/>
                          </a:moveTo>
                          <a:cubicBezTo>
                            <a:pt x="0" y="1"/>
                            <a:pt x="0" y="1"/>
                            <a:pt x="0" y="1"/>
                          </a:cubicBezTo>
                          <a:cubicBezTo>
                            <a:pt x="0" y="1"/>
                            <a:pt x="0" y="1"/>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IN" dirty="0"/>
                    </a:p>
                  </p:txBody>
                </p:sp>
                <p:sp>
                  <p:nvSpPr>
                    <p:cNvPr id="315" name="Freeform 314"/>
                    <p:cNvSpPr>
                      <a:spLocks/>
                    </p:cNvSpPr>
                    <p:nvPr/>
                  </p:nvSpPr>
                  <p:spPr bwMode="auto">
                    <a:xfrm>
                      <a:off x="-1702324" y="3512740"/>
                      <a:ext cx="0" cy="3199"/>
                    </a:xfrm>
                    <a:custGeom>
                      <a:avLst/>
                      <a:gdLst>
                        <a:gd name="T0" fmla="*/ 0 h 1"/>
                        <a:gd name="T1" fmla="*/ 1 h 1"/>
                        <a:gd name="T2" fmla="*/ 0 h 1"/>
                      </a:gdLst>
                      <a:ahLst/>
                      <a:cxnLst>
                        <a:cxn ang="0">
                          <a:pos x="0" y="T0"/>
                        </a:cxn>
                        <a:cxn ang="0">
                          <a:pos x="0" y="T1"/>
                        </a:cxn>
                        <a:cxn ang="0">
                          <a:pos x="0" y="T2"/>
                        </a:cxn>
                      </a:cxnLst>
                      <a:rect l="0" t="0" r="r" b="b"/>
                      <a:pathLst>
                        <a:path h="1">
                          <a:moveTo>
                            <a:pt x="0" y="0"/>
                          </a:moveTo>
                          <a:cubicBezTo>
                            <a:pt x="0" y="0"/>
                            <a:pt x="0" y="1"/>
                            <a:pt x="0" y="1"/>
                          </a:cubicBezTo>
                          <a:cubicBezTo>
                            <a:pt x="0" y="1"/>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IN" dirty="0"/>
                    </a:p>
                  </p:txBody>
                </p:sp>
                <p:sp>
                  <p:nvSpPr>
                    <p:cNvPr id="316" name="Freeform 315"/>
                    <p:cNvSpPr>
                      <a:spLocks/>
                    </p:cNvSpPr>
                    <p:nvPr/>
                  </p:nvSpPr>
                  <p:spPr bwMode="auto">
                    <a:xfrm>
                      <a:off x="-1727927" y="3477536"/>
                      <a:ext cx="348846" cy="313643"/>
                    </a:xfrm>
                    <a:custGeom>
                      <a:avLst/>
                      <a:gdLst>
                        <a:gd name="T0" fmla="*/ 74 w 78"/>
                        <a:gd name="T1" fmla="*/ 17 h 70"/>
                        <a:gd name="T2" fmla="*/ 72 w 78"/>
                        <a:gd name="T3" fmla="*/ 17 h 70"/>
                        <a:gd name="T4" fmla="*/ 72 w 78"/>
                        <a:gd name="T5" fmla="*/ 12 h 70"/>
                        <a:gd name="T6" fmla="*/ 72 w 78"/>
                        <a:gd name="T7" fmla="*/ 11 h 70"/>
                        <a:gd name="T8" fmla="*/ 72 w 78"/>
                        <a:gd name="T9" fmla="*/ 10 h 70"/>
                        <a:gd name="T10" fmla="*/ 72 w 78"/>
                        <a:gd name="T11" fmla="*/ 9 h 70"/>
                        <a:gd name="T12" fmla="*/ 72 w 78"/>
                        <a:gd name="T13" fmla="*/ 9 h 70"/>
                        <a:gd name="T14" fmla="*/ 72 w 78"/>
                        <a:gd name="T15" fmla="*/ 8 h 70"/>
                        <a:gd name="T16" fmla="*/ 72 w 78"/>
                        <a:gd name="T17" fmla="*/ 7 h 70"/>
                        <a:gd name="T18" fmla="*/ 72 w 78"/>
                        <a:gd name="T19" fmla="*/ 7 h 70"/>
                        <a:gd name="T20" fmla="*/ 71 w 78"/>
                        <a:gd name="T21" fmla="*/ 5 h 70"/>
                        <a:gd name="T22" fmla="*/ 71 w 78"/>
                        <a:gd name="T23" fmla="*/ 5 h 70"/>
                        <a:gd name="T24" fmla="*/ 70 w 78"/>
                        <a:gd name="T25" fmla="*/ 4 h 70"/>
                        <a:gd name="T26" fmla="*/ 70 w 78"/>
                        <a:gd name="T27" fmla="*/ 4 h 70"/>
                        <a:gd name="T28" fmla="*/ 69 w 78"/>
                        <a:gd name="T29" fmla="*/ 3 h 70"/>
                        <a:gd name="T30" fmla="*/ 69 w 78"/>
                        <a:gd name="T31" fmla="*/ 3 h 70"/>
                        <a:gd name="T32" fmla="*/ 63 w 78"/>
                        <a:gd name="T33" fmla="*/ 3 h 70"/>
                        <a:gd name="T34" fmla="*/ 52 w 78"/>
                        <a:gd name="T35" fmla="*/ 1 h 70"/>
                        <a:gd name="T36" fmla="*/ 32 w 78"/>
                        <a:gd name="T37" fmla="*/ 3 h 70"/>
                        <a:gd name="T38" fmla="*/ 11 w 78"/>
                        <a:gd name="T39" fmla="*/ 0 h 70"/>
                        <a:gd name="T40" fmla="*/ 8 w 78"/>
                        <a:gd name="T41" fmla="*/ 4 h 70"/>
                        <a:gd name="T42" fmla="*/ 8 w 78"/>
                        <a:gd name="T43" fmla="*/ 4 h 70"/>
                        <a:gd name="T44" fmla="*/ 7 w 78"/>
                        <a:gd name="T45" fmla="*/ 5 h 70"/>
                        <a:gd name="T46" fmla="*/ 7 w 78"/>
                        <a:gd name="T47" fmla="*/ 6 h 70"/>
                        <a:gd name="T48" fmla="*/ 7 w 78"/>
                        <a:gd name="T49" fmla="*/ 7 h 70"/>
                        <a:gd name="T50" fmla="*/ 7 w 78"/>
                        <a:gd name="T51" fmla="*/ 7 h 70"/>
                        <a:gd name="T52" fmla="*/ 6 w 78"/>
                        <a:gd name="T53" fmla="*/ 8 h 70"/>
                        <a:gd name="T54" fmla="*/ 6 w 78"/>
                        <a:gd name="T55" fmla="*/ 9 h 70"/>
                        <a:gd name="T56" fmla="*/ 6 w 78"/>
                        <a:gd name="T57" fmla="*/ 10 h 70"/>
                        <a:gd name="T58" fmla="*/ 6 w 78"/>
                        <a:gd name="T59" fmla="*/ 10 h 70"/>
                        <a:gd name="T60" fmla="*/ 6 w 78"/>
                        <a:gd name="T61" fmla="*/ 12 h 70"/>
                        <a:gd name="T62" fmla="*/ 6 w 78"/>
                        <a:gd name="T63" fmla="*/ 17 h 70"/>
                        <a:gd name="T64" fmla="*/ 5 w 78"/>
                        <a:gd name="T65" fmla="*/ 17 h 70"/>
                        <a:gd name="T66" fmla="*/ 0 w 78"/>
                        <a:gd name="T67" fmla="*/ 22 h 70"/>
                        <a:gd name="T68" fmla="*/ 0 w 78"/>
                        <a:gd name="T69" fmla="*/ 35 h 70"/>
                        <a:gd name="T70" fmla="*/ 6 w 78"/>
                        <a:gd name="T71" fmla="*/ 40 h 70"/>
                        <a:gd name="T72" fmla="*/ 24 w 78"/>
                        <a:gd name="T73" fmla="*/ 70 h 70"/>
                        <a:gd name="T74" fmla="*/ 54 w 78"/>
                        <a:gd name="T75" fmla="*/ 70 h 70"/>
                        <a:gd name="T76" fmla="*/ 72 w 78"/>
                        <a:gd name="T77" fmla="*/ 40 h 70"/>
                        <a:gd name="T78" fmla="*/ 78 w 78"/>
                        <a:gd name="T79" fmla="*/ 35 h 70"/>
                        <a:gd name="T80" fmla="*/ 78 w 78"/>
                        <a:gd name="T81" fmla="*/ 22 h 70"/>
                        <a:gd name="T82" fmla="*/ 74 w 78"/>
                        <a:gd name="T83" fmla="*/ 17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78" h="70">
                          <a:moveTo>
                            <a:pt x="74" y="17"/>
                          </a:moveTo>
                          <a:cubicBezTo>
                            <a:pt x="74" y="17"/>
                            <a:pt x="73" y="17"/>
                            <a:pt x="72" y="17"/>
                          </a:cubicBezTo>
                          <a:cubicBezTo>
                            <a:pt x="72" y="12"/>
                            <a:pt x="72" y="12"/>
                            <a:pt x="72" y="12"/>
                          </a:cubicBezTo>
                          <a:cubicBezTo>
                            <a:pt x="72" y="12"/>
                            <a:pt x="72" y="11"/>
                            <a:pt x="72" y="11"/>
                          </a:cubicBezTo>
                          <a:cubicBezTo>
                            <a:pt x="72" y="10"/>
                            <a:pt x="72" y="10"/>
                            <a:pt x="72" y="10"/>
                          </a:cubicBezTo>
                          <a:cubicBezTo>
                            <a:pt x="72" y="10"/>
                            <a:pt x="72" y="9"/>
                            <a:pt x="72" y="9"/>
                          </a:cubicBezTo>
                          <a:cubicBezTo>
                            <a:pt x="72" y="9"/>
                            <a:pt x="72" y="9"/>
                            <a:pt x="72" y="9"/>
                          </a:cubicBezTo>
                          <a:cubicBezTo>
                            <a:pt x="72" y="8"/>
                            <a:pt x="72" y="8"/>
                            <a:pt x="72" y="8"/>
                          </a:cubicBezTo>
                          <a:cubicBezTo>
                            <a:pt x="72" y="8"/>
                            <a:pt x="72" y="7"/>
                            <a:pt x="72" y="7"/>
                          </a:cubicBezTo>
                          <a:cubicBezTo>
                            <a:pt x="72" y="7"/>
                            <a:pt x="72" y="7"/>
                            <a:pt x="72" y="7"/>
                          </a:cubicBezTo>
                          <a:cubicBezTo>
                            <a:pt x="71" y="6"/>
                            <a:pt x="71" y="6"/>
                            <a:pt x="71" y="5"/>
                          </a:cubicBezTo>
                          <a:cubicBezTo>
                            <a:pt x="71" y="5"/>
                            <a:pt x="71" y="5"/>
                            <a:pt x="71" y="5"/>
                          </a:cubicBezTo>
                          <a:cubicBezTo>
                            <a:pt x="71" y="4"/>
                            <a:pt x="70" y="4"/>
                            <a:pt x="70" y="4"/>
                          </a:cubicBezTo>
                          <a:cubicBezTo>
                            <a:pt x="70" y="4"/>
                            <a:pt x="70" y="4"/>
                            <a:pt x="70" y="4"/>
                          </a:cubicBezTo>
                          <a:cubicBezTo>
                            <a:pt x="70" y="3"/>
                            <a:pt x="70" y="3"/>
                            <a:pt x="69" y="3"/>
                          </a:cubicBezTo>
                          <a:cubicBezTo>
                            <a:pt x="69" y="3"/>
                            <a:pt x="69" y="3"/>
                            <a:pt x="69" y="3"/>
                          </a:cubicBezTo>
                          <a:cubicBezTo>
                            <a:pt x="68" y="3"/>
                            <a:pt x="66" y="3"/>
                            <a:pt x="63" y="3"/>
                          </a:cubicBezTo>
                          <a:cubicBezTo>
                            <a:pt x="59" y="3"/>
                            <a:pt x="55" y="2"/>
                            <a:pt x="52" y="1"/>
                          </a:cubicBezTo>
                          <a:cubicBezTo>
                            <a:pt x="47" y="2"/>
                            <a:pt x="40" y="3"/>
                            <a:pt x="32" y="3"/>
                          </a:cubicBezTo>
                          <a:cubicBezTo>
                            <a:pt x="24" y="3"/>
                            <a:pt x="16" y="2"/>
                            <a:pt x="11" y="0"/>
                          </a:cubicBezTo>
                          <a:cubicBezTo>
                            <a:pt x="10" y="1"/>
                            <a:pt x="9" y="3"/>
                            <a:pt x="8" y="4"/>
                          </a:cubicBezTo>
                          <a:cubicBezTo>
                            <a:pt x="8" y="4"/>
                            <a:pt x="8" y="4"/>
                            <a:pt x="8" y="4"/>
                          </a:cubicBezTo>
                          <a:cubicBezTo>
                            <a:pt x="8" y="5"/>
                            <a:pt x="8" y="5"/>
                            <a:pt x="7" y="5"/>
                          </a:cubicBezTo>
                          <a:cubicBezTo>
                            <a:pt x="7" y="6"/>
                            <a:pt x="7" y="6"/>
                            <a:pt x="7" y="6"/>
                          </a:cubicBezTo>
                          <a:cubicBezTo>
                            <a:pt x="7" y="6"/>
                            <a:pt x="7" y="6"/>
                            <a:pt x="7" y="7"/>
                          </a:cubicBezTo>
                          <a:cubicBezTo>
                            <a:pt x="7" y="7"/>
                            <a:pt x="7" y="7"/>
                            <a:pt x="7" y="7"/>
                          </a:cubicBezTo>
                          <a:cubicBezTo>
                            <a:pt x="7" y="8"/>
                            <a:pt x="6" y="8"/>
                            <a:pt x="6" y="8"/>
                          </a:cubicBezTo>
                          <a:cubicBezTo>
                            <a:pt x="6" y="8"/>
                            <a:pt x="6" y="9"/>
                            <a:pt x="6" y="9"/>
                          </a:cubicBezTo>
                          <a:cubicBezTo>
                            <a:pt x="6" y="9"/>
                            <a:pt x="6" y="10"/>
                            <a:pt x="6" y="10"/>
                          </a:cubicBezTo>
                          <a:cubicBezTo>
                            <a:pt x="6" y="10"/>
                            <a:pt x="6" y="10"/>
                            <a:pt x="6" y="10"/>
                          </a:cubicBezTo>
                          <a:cubicBezTo>
                            <a:pt x="6" y="11"/>
                            <a:pt x="6" y="11"/>
                            <a:pt x="6" y="12"/>
                          </a:cubicBezTo>
                          <a:cubicBezTo>
                            <a:pt x="6" y="17"/>
                            <a:pt x="6" y="17"/>
                            <a:pt x="6" y="17"/>
                          </a:cubicBezTo>
                          <a:cubicBezTo>
                            <a:pt x="6" y="17"/>
                            <a:pt x="5" y="17"/>
                            <a:pt x="5" y="17"/>
                          </a:cubicBezTo>
                          <a:cubicBezTo>
                            <a:pt x="2" y="17"/>
                            <a:pt x="0" y="20"/>
                            <a:pt x="0" y="22"/>
                          </a:cubicBezTo>
                          <a:cubicBezTo>
                            <a:pt x="0" y="35"/>
                            <a:pt x="0" y="35"/>
                            <a:pt x="0" y="35"/>
                          </a:cubicBezTo>
                          <a:cubicBezTo>
                            <a:pt x="0" y="38"/>
                            <a:pt x="3" y="40"/>
                            <a:pt x="6" y="40"/>
                          </a:cubicBezTo>
                          <a:cubicBezTo>
                            <a:pt x="6" y="40"/>
                            <a:pt x="16" y="70"/>
                            <a:pt x="24" y="70"/>
                          </a:cubicBezTo>
                          <a:cubicBezTo>
                            <a:pt x="54" y="70"/>
                            <a:pt x="54" y="70"/>
                            <a:pt x="54" y="70"/>
                          </a:cubicBezTo>
                          <a:cubicBezTo>
                            <a:pt x="63" y="70"/>
                            <a:pt x="72" y="40"/>
                            <a:pt x="72" y="40"/>
                          </a:cubicBezTo>
                          <a:cubicBezTo>
                            <a:pt x="76" y="40"/>
                            <a:pt x="78" y="38"/>
                            <a:pt x="78" y="35"/>
                          </a:cubicBezTo>
                          <a:cubicBezTo>
                            <a:pt x="78" y="22"/>
                            <a:pt x="78" y="22"/>
                            <a:pt x="78" y="22"/>
                          </a:cubicBezTo>
                          <a:cubicBezTo>
                            <a:pt x="78" y="20"/>
                            <a:pt x="77" y="18"/>
                            <a:pt x="74" y="17"/>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IN" dirty="0"/>
                    </a:p>
                  </p:txBody>
                </p:sp>
                <p:sp>
                  <p:nvSpPr>
                    <p:cNvPr id="317" name="Freeform 316"/>
                    <p:cNvSpPr>
                      <a:spLocks noEditPoints="1"/>
                    </p:cNvSpPr>
                    <p:nvPr/>
                  </p:nvSpPr>
                  <p:spPr bwMode="auto">
                    <a:xfrm>
                      <a:off x="-1695923" y="3538343"/>
                      <a:ext cx="300841" cy="99212"/>
                    </a:xfrm>
                    <a:custGeom>
                      <a:avLst/>
                      <a:gdLst>
                        <a:gd name="T0" fmla="*/ 66 w 67"/>
                        <a:gd name="T1" fmla="*/ 2 h 22"/>
                        <a:gd name="T2" fmla="*/ 49 w 67"/>
                        <a:gd name="T3" fmla="*/ 1 h 22"/>
                        <a:gd name="T4" fmla="*/ 33 w 67"/>
                        <a:gd name="T5" fmla="*/ 5 h 22"/>
                        <a:gd name="T6" fmla="*/ 17 w 67"/>
                        <a:gd name="T7" fmla="*/ 1 h 22"/>
                        <a:gd name="T8" fmla="*/ 0 w 67"/>
                        <a:gd name="T9" fmla="*/ 2 h 22"/>
                        <a:gd name="T10" fmla="*/ 0 w 67"/>
                        <a:gd name="T11" fmla="*/ 4 h 22"/>
                        <a:gd name="T12" fmla="*/ 2 w 67"/>
                        <a:gd name="T13" fmla="*/ 7 h 22"/>
                        <a:gd name="T14" fmla="*/ 4 w 67"/>
                        <a:gd name="T15" fmla="*/ 12 h 22"/>
                        <a:gd name="T16" fmla="*/ 20 w 67"/>
                        <a:gd name="T17" fmla="*/ 21 h 22"/>
                        <a:gd name="T18" fmla="*/ 31 w 67"/>
                        <a:gd name="T19" fmla="*/ 9 h 22"/>
                        <a:gd name="T20" fmla="*/ 33 w 67"/>
                        <a:gd name="T21" fmla="*/ 8 h 22"/>
                        <a:gd name="T22" fmla="*/ 36 w 67"/>
                        <a:gd name="T23" fmla="*/ 9 h 22"/>
                        <a:gd name="T24" fmla="*/ 47 w 67"/>
                        <a:gd name="T25" fmla="*/ 21 h 22"/>
                        <a:gd name="T26" fmla="*/ 62 w 67"/>
                        <a:gd name="T27" fmla="*/ 12 h 22"/>
                        <a:gd name="T28" fmla="*/ 64 w 67"/>
                        <a:gd name="T29" fmla="*/ 7 h 22"/>
                        <a:gd name="T30" fmla="*/ 66 w 67"/>
                        <a:gd name="T31" fmla="*/ 4 h 22"/>
                        <a:gd name="T32" fmla="*/ 66 w 67"/>
                        <a:gd name="T33" fmla="*/ 2 h 22"/>
                        <a:gd name="T34" fmla="*/ 25 w 67"/>
                        <a:gd name="T35" fmla="*/ 16 h 22"/>
                        <a:gd name="T36" fmla="*/ 13 w 67"/>
                        <a:gd name="T37" fmla="*/ 19 h 22"/>
                        <a:gd name="T38" fmla="*/ 6 w 67"/>
                        <a:gd name="T39" fmla="*/ 8 h 22"/>
                        <a:gd name="T40" fmla="*/ 18 w 67"/>
                        <a:gd name="T41" fmla="*/ 3 h 22"/>
                        <a:gd name="T42" fmla="*/ 26 w 67"/>
                        <a:gd name="T43" fmla="*/ 5 h 22"/>
                        <a:gd name="T44" fmla="*/ 25 w 67"/>
                        <a:gd name="T45" fmla="*/ 16 h 22"/>
                        <a:gd name="T46" fmla="*/ 53 w 67"/>
                        <a:gd name="T47" fmla="*/ 19 h 22"/>
                        <a:gd name="T48" fmla="*/ 41 w 67"/>
                        <a:gd name="T49" fmla="*/ 16 h 22"/>
                        <a:gd name="T50" fmla="*/ 41 w 67"/>
                        <a:gd name="T51" fmla="*/ 5 h 22"/>
                        <a:gd name="T52" fmla="*/ 49 w 67"/>
                        <a:gd name="T53" fmla="*/ 3 h 22"/>
                        <a:gd name="T54" fmla="*/ 61 w 67"/>
                        <a:gd name="T55" fmla="*/ 8 h 22"/>
                        <a:gd name="T56" fmla="*/ 53 w 67"/>
                        <a:gd name="T57" fmla="*/ 19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7" h="22">
                          <a:moveTo>
                            <a:pt x="66" y="2"/>
                          </a:moveTo>
                          <a:cubicBezTo>
                            <a:pt x="66" y="2"/>
                            <a:pt x="56" y="0"/>
                            <a:pt x="49" y="1"/>
                          </a:cubicBezTo>
                          <a:cubicBezTo>
                            <a:pt x="42" y="2"/>
                            <a:pt x="37" y="5"/>
                            <a:pt x="33" y="5"/>
                          </a:cubicBezTo>
                          <a:cubicBezTo>
                            <a:pt x="30" y="5"/>
                            <a:pt x="24" y="2"/>
                            <a:pt x="17" y="1"/>
                          </a:cubicBezTo>
                          <a:cubicBezTo>
                            <a:pt x="10" y="0"/>
                            <a:pt x="0" y="2"/>
                            <a:pt x="0" y="2"/>
                          </a:cubicBezTo>
                          <a:cubicBezTo>
                            <a:pt x="0" y="2"/>
                            <a:pt x="0" y="3"/>
                            <a:pt x="0" y="4"/>
                          </a:cubicBezTo>
                          <a:cubicBezTo>
                            <a:pt x="1" y="5"/>
                            <a:pt x="1" y="6"/>
                            <a:pt x="2" y="7"/>
                          </a:cubicBezTo>
                          <a:cubicBezTo>
                            <a:pt x="4" y="8"/>
                            <a:pt x="4" y="12"/>
                            <a:pt x="4" y="12"/>
                          </a:cubicBezTo>
                          <a:cubicBezTo>
                            <a:pt x="6" y="20"/>
                            <a:pt x="12" y="22"/>
                            <a:pt x="20" y="21"/>
                          </a:cubicBezTo>
                          <a:cubicBezTo>
                            <a:pt x="28" y="19"/>
                            <a:pt x="30" y="11"/>
                            <a:pt x="31" y="9"/>
                          </a:cubicBezTo>
                          <a:cubicBezTo>
                            <a:pt x="32" y="8"/>
                            <a:pt x="33" y="8"/>
                            <a:pt x="33" y="8"/>
                          </a:cubicBezTo>
                          <a:cubicBezTo>
                            <a:pt x="33" y="8"/>
                            <a:pt x="35" y="8"/>
                            <a:pt x="36" y="9"/>
                          </a:cubicBezTo>
                          <a:cubicBezTo>
                            <a:pt x="37" y="11"/>
                            <a:pt x="39" y="19"/>
                            <a:pt x="47" y="21"/>
                          </a:cubicBezTo>
                          <a:cubicBezTo>
                            <a:pt x="55" y="22"/>
                            <a:pt x="61" y="20"/>
                            <a:pt x="62" y="12"/>
                          </a:cubicBezTo>
                          <a:cubicBezTo>
                            <a:pt x="62" y="12"/>
                            <a:pt x="62" y="8"/>
                            <a:pt x="64" y="7"/>
                          </a:cubicBezTo>
                          <a:cubicBezTo>
                            <a:pt x="66" y="6"/>
                            <a:pt x="66" y="5"/>
                            <a:pt x="66" y="4"/>
                          </a:cubicBezTo>
                          <a:cubicBezTo>
                            <a:pt x="66" y="3"/>
                            <a:pt x="67" y="2"/>
                            <a:pt x="66" y="2"/>
                          </a:cubicBezTo>
                          <a:close/>
                          <a:moveTo>
                            <a:pt x="25" y="16"/>
                          </a:moveTo>
                          <a:cubicBezTo>
                            <a:pt x="23" y="19"/>
                            <a:pt x="19" y="20"/>
                            <a:pt x="13" y="19"/>
                          </a:cubicBezTo>
                          <a:cubicBezTo>
                            <a:pt x="8" y="18"/>
                            <a:pt x="6" y="14"/>
                            <a:pt x="6" y="8"/>
                          </a:cubicBezTo>
                          <a:cubicBezTo>
                            <a:pt x="6" y="1"/>
                            <a:pt x="18" y="3"/>
                            <a:pt x="18" y="3"/>
                          </a:cubicBezTo>
                          <a:cubicBezTo>
                            <a:pt x="22" y="4"/>
                            <a:pt x="22" y="4"/>
                            <a:pt x="26" y="5"/>
                          </a:cubicBezTo>
                          <a:cubicBezTo>
                            <a:pt x="30" y="6"/>
                            <a:pt x="27" y="13"/>
                            <a:pt x="25" y="16"/>
                          </a:cubicBezTo>
                          <a:close/>
                          <a:moveTo>
                            <a:pt x="53" y="19"/>
                          </a:moveTo>
                          <a:cubicBezTo>
                            <a:pt x="48" y="20"/>
                            <a:pt x="44" y="19"/>
                            <a:pt x="41" y="16"/>
                          </a:cubicBezTo>
                          <a:cubicBezTo>
                            <a:pt x="39" y="13"/>
                            <a:pt x="37" y="6"/>
                            <a:pt x="41" y="5"/>
                          </a:cubicBezTo>
                          <a:cubicBezTo>
                            <a:pt x="44" y="4"/>
                            <a:pt x="44" y="4"/>
                            <a:pt x="49" y="3"/>
                          </a:cubicBezTo>
                          <a:cubicBezTo>
                            <a:pt x="49" y="3"/>
                            <a:pt x="61" y="1"/>
                            <a:pt x="61" y="8"/>
                          </a:cubicBezTo>
                          <a:cubicBezTo>
                            <a:pt x="61" y="14"/>
                            <a:pt x="59" y="18"/>
                            <a:pt x="53" y="19"/>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IN" dirty="0"/>
                    </a:p>
                  </p:txBody>
                </p:sp>
                <p:sp>
                  <p:nvSpPr>
                    <p:cNvPr id="318" name="Oval 317"/>
                    <p:cNvSpPr>
                      <a:spLocks noChangeArrowheads="1"/>
                    </p:cNvSpPr>
                    <p:nvPr/>
                  </p:nvSpPr>
                  <p:spPr bwMode="auto">
                    <a:xfrm>
                      <a:off x="-1692723" y="3551145"/>
                      <a:ext cx="9600" cy="960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IN" dirty="0"/>
                    </a:p>
                  </p:txBody>
                </p:sp>
                <p:sp>
                  <p:nvSpPr>
                    <p:cNvPr id="319" name="Oval 318"/>
                    <p:cNvSpPr>
                      <a:spLocks noChangeArrowheads="1"/>
                    </p:cNvSpPr>
                    <p:nvPr/>
                  </p:nvSpPr>
                  <p:spPr bwMode="auto">
                    <a:xfrm>
                      <a:off x="-1414285" y="3551145"/>
                      <a:ext cx="9600" cy="960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IN" dirty="0"/>
                    </a:p>
                  </p:txBody>
                </p:sp>
              </p:grpSp>
              <p:grpSp>
                <p:nvGrpSpPr>
                  <p:cNvPr id="250" name="Group 249"/>
                  <p:cNvGrpSpPr/>
                  <p:nvPr/>
                </p:nvGrpSpPr>
                <p:grpSpPr>
                  <a:xfrm>
                    <a:off x="-627776" y="3535106"/>
                    <a:ext cx="899321" cy="1414592"/>
                    <a:chOff x="96320" y="3523188"/>
                    <a:chExt cx="899321" cy="1414592"/>
                  </a:xfrm>
                </p:grpSpPr>
                <p:sp>
                  <p:nvSpPr>
                    <p:cNvPr id="275" name="Freeform 274"/>
                    <p:cNvSpPr>
                      <a:spLocks/>
                    </p:cNvSpPr>
                    <p:nvPr/>
                  </p:nvSpPr>
                  <p:spPr bwMode="auto">
                    <a:xfrm>
                      <a:off x="339553" y="3523188"/>
                      <a:ext cx="432058" cy="502467"/>
                    </a:xfrm>
                    <a:custGeom>
                      <a:avLst/>
                      <a:gdLst>
                        <a:gd name="T0" fmla="*/ 91 w 97"/>
                        <a:gd name="T1" fmla="*/ 88 h 112"/>
                        <a:gd name="T2" fmla="*/ 82 w 97"/>
                        <a:gd name="T3" fmla="*/ 88 h 112"/>
                        <a:gd name="T4" fmla="*/ 85 w 97"/>
                        <a:gd name="T5" fmla="*/ 74 h 112"/>
                        <a:gd name="T6" fmla="*/ 88 w 97"/>
                        <a:gd name="T7" fmla="*/ 69 h 112"/>
                        <a:gd name="T8" fmla="*/ 88 w 97"/>
                        <a:gd name="T9" fmla="*/ 69 h 112"/>
                        <a:gd name="T10" fmla="*/ 88 w 97"/>
                        <a:gd name="T11" fmla="*/ 69 h 112"/>
                        <a:gd name="T12" fmla="*/ 91 w 97"/>
                        <a:gd name="T13" fmla="*/ 53 h 112"/>
                        <a:gd name="T14" fmla="*/ 69 w 97"/>
                        <a:gd name="T15" fmla="*/ 17 h 112"/>
                        <a:gd name="T16" fmla="*/ 40 w 97"/>
                        <a:gd name="T17" fmla="*/ 0 h 112"/>
                        <a:gd name="T18" fmla="*/ 4 w 97"/>
                        <a:gd name="T19" fmla="*/ 46 h 112"/>
                        <a:gd name="T20" fmla="*/ 9 w 97"/>
                        <a:gd name="T21" fmla="*/ 69 h 112"/>
                        <a:gd name="T22" fmla="*/ 9 w 97"/>
                        <a:gd name="T23" fmla="*/ 69 h 112"/>
                        <a:gd name="T24" fmla="*/ 15 w 97"/>
                        <a:gd name="T25" fmla="*/ 88 h 112"/>
                        <a:gd name="T26" fmla="*/ 6 w 97"/>
                        <a:gd name="T27" fmla="*/ 88 h 112"/>
                        <a:gd name="T28" fmla="*/ 0 w 97"/>
                        <a:gd name="T29" fmla="*/ 95 h 112"/>
                        <a:gd name="T30" fmla="*/ 16 w 97"/>
                        <a:gd name="T31" fmla="*/ 110 h 112"/>
                        <a:gd name="T32" fmla="*/ 42 w 97"/>
                        <a:gd name="T33" fmla="*/ 112 h 112"/>
                        <a:gd name="T34" fmla="*/ 44 w 97"/>
                        <a:gd name="T35" fmla="*/ 112 h 112"/>
                        <a:gd name="T36" fmla="*/ 44 w 97"/>
                        <a:gd name="T37" fmla="*/ 112 h 112"/>
                        <a:gd name="T38" fmla="*/ 47 w 97"/>
                        <a:gd name="T39" fmla="*/ 112 h 112"/>
                        <a:gd name="T40" fmla="*/ 48 w 97"/>
                        <a:gd name="T41" fmla="*/ 112 h 112"/>
                        <a:gd name="T42" fmla="*/ 49 w 97"/>
                        <a:gd name="T43" fmla="*/ 112 h 112"/>
                        <a:gd name="T44" fmla="*/ 53 w 97"/>
                        <a:gd name="T45" fmla="*/ 112 h 112"/>
                        <a:gd name="T46" fmla="*/ 53 w 97"/>
                        <a:gd name="T47" fmla="*/ 112 h 112"/>
                        <a:gd name="T48" fmla="*/ 54 w 97"/>
                        <a:gd name="T49" fmla="*/ 112 h 112"/>
                        <a:gd name="T50" fmla="*/ 81 w 97"/>
                        <a:gd name="T51" fmla="*/ 110 h 112"/>
                        <a:gd name="T52" fmla="*/ 96 w 97"/>
                        <a:gd name="T53" fmla="*/ 95 h 112"/>
                        <a:gd name="T54" fmla="*/ 91 w 97"/>
                        <a:gd name="T55" fmla="*/ 88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97" h="112">
                          <a:moveTo>
                            <a:pt x="91" y="88"/>
                          </a:moveTo>
                          <a:cubicBezTo>
                            <a:pt x="89" y="95"/>
                            <a:pt x="83" y="93"/>
                            <a:pt x="82" y="88"/>
                          </a:cubicBezTo>
                          <a:cubicBezTo>
                            <a:pt x="81" y="86"/>
                            <a:pt x="83" y="79"/>
                            <a:pt x="85" y="74"/>
                          </a:cubicBezTo>
                          <a:cubicBezTo>
                            <a:pt x="86" y="73"/>
                            <a:pt x="87" y="71"/>
                            <a:pt x="88" y="69"/>
                          </a:cubicBezTo>
                          <a:cubicBezTo>
                            <a:pt x="88" y="69"/>
                            <a:pt x="88" y="69"/>
                            <a:pt x="88" y="69"/>
                          </a:cubicBezTo>
                          <a:cubicBezTo>
                            <a:pt x="88" y="69"/>
                            <a:pt x="88" y="69"/>
                            <a:pt x="88" y="69"/>
                          </a:cubicBezTo>
                          <a:cubicBezTo>
                            <a:pt x="90" y="64"/>
                            <a:pt x="91" y="59"/>
                            <a:pt x="91" y="53"/>
                          </a:cubicBezTo>
                          <a:cubicBezTo>
                            <a:pt x="91" y="36"/>
                            <a:pt x="82" y="22"/>
                            <a:pt x="69" y="17"/>
                          </a:cubicBezTo>
                          <a:cubicBezTo>
                            <a:pt x="62" y="7"/>
                            <a:pt x="52" y="0"/>
                            <a:pt x="40" y="0"/>
                          </a:cubicBezTo>
                          <a:cubicBezTo>
                            <a:pt x="20" y="0"/>
                            <a:pt x="4" y="20"/>
                            <a:pt x="4" y="46"/>
                          </a:cubicBezTo>
                          <a:cubicBezTo>
                            <a:pt x="4" y="54"/>
                            <a:pt x="6" y="62"/>
                            <a:pt x="9" y="69"/>
                          </a:cubicBezTo>
                          <a:cubicBezTo>
                            <a:pt x="9" y="69"/>
                            <a:pt x="9" y="69"/>
                            <a:pt x="9" y="69"/>
                          </a:cubicBezTo>
                          <a:cubicBezTo>
                            <a:pt x="9" y="69"/>
                            <a:pt x="17" y="84"/>
                            <a:pt x="15" y="88"/>
                          </a:cubicBezTo>
                          <a:cubicBezTo>
                            <a:pt x="13" y="93"/>
                            <a:pt x="8" y="95"/>
                            <a:pt x="6" y="88"/>
                          </a:cubicBezTo>
                          <a:cubicBezTo>
                            <a:pt x="3" y="82"/>
                            <a:pt x="0" y="90"/>
                            <a:pt x="0" y="95"/>
                          </a:cubicBezTo>
                          <a:cubicBezTo>
                            <a:pt x="1" y="101"/>
                            <a:pt x="2" y="108"/>
                            <a:pt x="16" y="110"/>
                          </a:cubicBezTo>
                          <a:cubicBezTo>
                            <a:pt x="27" y="112"/>
                            <a:pt x="33" y="112"/>
                            <a:pt x="42" y="112"/>
                          </a:cubicBezTo>
                          <a:cubicBezTo>
                            <a:pt x="43" y="112"/>
                            <a:pt x="44" y="112"/>
                            <a:pt x="44" y="112"/>
                          </a:cubicBezTo>
                          <a:cubicBezTo>
                            <a:pt x="44" y="112"/>
                            <a:pt x="44" y="112"/>
                            <a:pt x="44" y="112"/>
                          </a:cubicBezTo>
                          <a:cubicBezTo>
                            <a:pt x="45" y="112"/>
                            <a:pt x="46" y="112"/>
                            <a:pt x="47" y="112"/>
                          </a:cubicBezTo>
                          <a:cubicBezTo>
                            <a:pt x="48" y="112"/>
                            <a:pt x="48" y="112"/>
                            <a:pt x="48" y="112"/>
                          </a:cubicBezTo>
                          <a:cubicBezTo>
                            <a:pt x="49" y="112"/>
                            <a:pt x="49" y="112"/>
                            <a:pt x="49" y="112"/>
                          </a:cubicBezTo>
                          <a:cubicBezTo>
                            <a:pt x="50" y="112"/>
                            <a:pt x="51" y="112"/>
                            <a:pt x="53" y="112"/>
                          </a:cubicBezTo>
                          <a:cubicBezTo>
                            <a:pt x="53" y="112"/>
                            <a:pt x="53" y="112"/>
                            <a:pt x="53" y="112"/>
                          </a:cubicBezTo>
                          <a:cubicBezTo>
                            <a:pt x="53" y="112"/>
                            <a:pt x="54" y="112"/>
                            <a:pt x="54" y="112"/>
                          </a:cubicBezTo>
                          <a:cubicBezTo>
                            <a:pt x="63" y="112"/>
                            <a:pt x="69" y="112"/>
                            <a:pt x="81" y="110"/>
                          </a:cubicBezTo>
                          <a:cubicBezTo>
                            <a:pt x="94" y="108"/>
                            <a:pt x="96" y="101"/>
                            <a:pt x="96" y="95"/>
                          </a:cubicBezTo>
                          <a:cubicBezTo>
                            <a:pt x="97" y="90"/>
                            <a:pt x="93" y="82"/>
                            <a:pt x="91" y="88"/>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IN" dirty="0"/>
                    </a:p>
                  </p:txBody>
                </p:sp>
                <p:sp>
                  <p:nvSpPr>
                    <p:cNvPr id="276" name="Freeform 275"/>
                    <p:cNvSpPr>
                      <a:spLocks/>
                    </p:cNvSpPr>
                    <p:nvPr/>
                  </p:nvSpPr>
                  <p:spPr bwMode="auto">
                    <a:xfrm>
                      <a:off x="473971" y="4089666"/>
                      <a:ext cx="150419" cy="761704"/>
                    </a:xfrm>
                    <a:custGeom>
                      <a:avLst/>
                      <a:gdLst>
                        <a:gd name="T0" fmla="*/ 29 w 47"/>
                        <a:gd name="T1" fmla="*/ 25 h 238"/>
                        <a:gd name="T2" fmla="*/ 43 w 47"/>
                        <a:gd name="T3" fmla="*/ 14 h 238"/>
                        <a:gd name="T4" fmla="*/ 23 w 47"/>
                        <a:gd name="T5" fmla="*/ 0 h 238"/>
                        <a:gd name="T6" fmla="*/ 4 w 47"/>
                        <a:gd name="T7" fmla="*/ 14 h 238"/>
                        <a:gd name="T8" fmla="*/ 18 w 47"/>
                        <a:gd name="T9" fmla="*/ 25 h 238"/>
                        <a:gd name="T10" fmla="*/ 0 w 47"/>
                        <a:gd name="T11" fmla="*/ 218 h 238"/>
                        <a:gd name="T12" fmla="*/ 23 w 47"/>
                        <a:gd name="T13" fmla="*/ 238 h 238"/>
                        <a:gd name="T14" fmla="*/ 47 w 47"/>
                        <a:gd name="T15" fmla="*/ 218 h 238"/>
                        <a:gd name="T16" fmla="*/ 29 w 47"/>
                        <a:gd name="T17" fmla="*/ 25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7" h="238">
                          <a:moveTo>
                            <a:pt x="29" y="25"/>
                          </a:moveTo>
                          <a:lnTo>
                            <a:pt x="43" y="14"/>
                          </a:lnTo>
                          <a:lnTo>
                            <a:pt x="23" y="0"/>
                          </a:lnTo>
                          <a:lnTo>
                            <a:pt x="4" y="14"/>
                          </a:lnTo>
                          <a:lnTo>
                            <a:pt x="18" y="25"/>
                          </a:lnTo>
                          <a:lnTo>
                            <a:pt x="0" y="218"/>
                          </a:lnTo>
                          <a:lnTo>
                            <a:pt x="23" y="238"/>
                          </a:lnTo>
                          <a:lnTo>
                            <a:pt x="47" y="218"/>
                          </a:lnTo>
                          <a:lnTo>
                            <a:pt x="29" y="25"/>
                          </a:ln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IN" dirty="0"/>
                    </a:p>
                  </p:txBody>
                </p:sp>
                <p:sp>
                  <p:nvSpPr>
                    <p:cNvPr id="277" name="Freeform 276"/>
                    <p:cNvSpPr>
                      <a:spLocks/>
                    </p:cNvSpPr>
                    <p:nvPr/>
                  </p:nvSpPr>
                  <p:spPr bwMode="auto">
                    <a:xfrm>
                      <a:off x="726805" y="4067262"/>
                      <a:ext cx="268836" cy="694494"/>
                    </a:xfrm>
                    <a:custGeom>
                      <a:avLst/>
                      <a:gdLst>
                        <a:gd name="T0" fmla="*/ 0 w 60"/>
                        <a:gd name="T1" fmla="*/ 7 h 155"/>
                        <a:gd name="T2" fmla="*/ 24 w 60"/>
                        <a:gd name="T3" fmla="*/ 0 h 155"/>
                        <a:gd name="T4" fmla="*/ 60 w 60"/>
                        <a:gd name="T5" fmla="*/ 155 h 155"/>
                        <a:gd name="T6" fmla="*/ 35 w 60"/>
                        <a:gd name="T7" fmla="*/ 155 h 155"/>
                        <a:gd name="T8" fmla="*/ 0 w 60"/>
                        <a:gd name="T9" fmla="*/ 7 h 155"/>
                      </a:gdLst>
                      <a:ahLst/>
                      <a:cxnLst>
                        <a:cxn ang="0">
                          <a:pos x="T0" y="T1"/>
                        </a:cxn>
                        <a:cxn ang="0">
                          <a:pos x="T2" y="T3"/>
                        </a:cxn>
                        <a:cxn ang="0">
                          <a:pos x="T4" y="T5"/>
                        </a:cxn>
                        <a:cxn ang="0">
                          <a:pos x="T6" y="T7"/>
                        </a:cxn>
                        <a:cxn ang="0">
                          <a:pos x="T8" y="T9"/>
                        </a:cxn>
                      </a:cxnLst>
                      <a:rect l="0" t="0" r="r" b="b"/>
                      <a:pathLst>
                        <a:path w="60" h="155">
                          <a:moveTo>
                            <a:pt x="0" y="7"/>
                          </a:moveTo>
                          <a:cubicBezTo>
                            <a:pt x="8" y="5"/>
                            <a:pt x="16" y="3"/>
                            <a:pt x="24" y="0"/>
                          </a:cubicBezTo>
                          <a:cubicBezTo>
                            <a:pt x="47" y="51"/>
                            <a:pt x="54" y="100"/>
                            <a:pt x="60" y="155"/>
                          </a:cubicBezTo>
                          <a:cubicBezTo>
                            <a:pt x="35" y="155"/>
                            <a:pt x="35" y="155"/>
                            <a:pt x="35" y="155"/>
                          </a:cubicBezTo>
                          <a:cubicBezTo>
                            <a:pt x="29" y="102"/>
                            <a:pt x="23" y="55"/>
                            <a:pt x="0" y="7"/>
                          </a:cubicBezTo>
                          <a:close/>
                        </a:path>
                      </a:pathLst>
                    </a:custGeom>
                    <a:solidFill>
                      <a:srgbClr val="5C005C"/>
                    </a:solidFill>
                    <a:ln>
                      <a:noFill/>
                    </a:ln>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IN" dirty="0"/>
                    </a:p>
                  </p:txBody>
                </p:sp>
                <p:sp>
                  <p:nvSpPr>
                    <p:cNvPr id="278" name="Freeform 277"/>
                    <p:cNvSpPr>
                      <a:spLocks/>
                    </p:cNvSpPr>
                    <p:nvPr/>
                  </p:nvSpPr>
                  <p:spPr bwMode="auto">
                    <a:xfrm>
                      <a:off x="96320" y="4067262"/>
                      <a:ext cx="272036" cy="694494"/>
                    </a:xfrm>
                    <a:custGeom>
                      <a:avLst/>
                      <a:gdLst>
                        <a:gd name="T0" fmla="*/ 61 w 61"/>
                        <a:gd name="T1" fmla="*/ 7 h 155"/>
                        <a:gd name="T2" fmla="*/ 36 w 61"/>
                        <a:gd name="T3" fmla="*/ 0 h 155"/>
                        <a:gd name="T4" fmla="*/ 0 w 61"/>
                        <a:gd name="T5" fmla="*/ 155 h 155"/>
                        <a:gd name="T6" fmla="*/ 25 w 61"/>
                        <a:gd name="T7" fmla="*/ 155 h 155"/>
                        <a:gd name="T8" fmla="*/ 61 w 61"/>
                        <a:gd name="T9" fmla="*/ 7 h 155"/>
                      </a:gdLst>
                      <a:ahLst/>
                      <a:cxnLst>
                        <a:cxn ang="0">
                          <a:pos x="T0" y="T1"/>
                        </a:cxn>
                        <a:cxn ang="0">
                          <a:pos x="T2" y="T3"/>
                        </a:cxn>
                        <a:cxn ang="0">
                          <a:pos x="T4" y="T5"/>
                        </a:cxn>
                        <a:cxn ang="0">
                          <a:pos x="T6" y="T7"/>
                        </a:cxn>
                        <a:cxn ang="0">
                          <a:pos x="T8" y="T9"/>
                        </a:cxn>
                      </a:cxnLst>
                      <a:rect l="0" t="0" r="r" b="b"/>
                      <a:pathLst>
                        <a:path w="61" h="155">
                          <a:moveTo>
                            <a:pt x="61" y="7"/>
                          </a:moveTo>
                          <a:cubicBezTo>
                            <a:pt x="53" y="5"/>
                            <a:pt x="44" y="3"/>
                            <a:pt x="36" y="0"/>
                          </a:cubicBezTo>
                          <a:cubicBezTo>
                            <a:pt x="12" y="51"/>
                            <a:pt x="5" y="100"/>
                            <a:pt x="0" y="155"/>
                          </a:cubicBezTo>
                          <a:cubicBezTo>
                            <a:pt x="25" y="155"/>
                            <a:pt x="25" y="155"/>
                            <a:pt x="25" y="155"/>
                          </a:cubicBezTo>
                          <a:cubicBezTo>
                            <a:pt x="31" y="102"/>
                            <a:pt x="38" y="55"/>
                            <a:pt x="61" y="7"/>
                          </a:cubicBezTo>
                          <a:close/>
                        </a:path>
                      </a:pathLst>
                    </a:custGeom>
                    <a:solidFill>
                      <a:srgbClr val="5C005C"/>
                    </a:solidFill>
                    <a:ln>
                      <a:noFill/>
                    </a:ln>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IN" dirty="0"/>
                    </a:p>
                  </p:txBody>
                </p:sp>
                <p:sp>
                  <p:nvSpPr>
                    <p:cNvPr id="279" name="Freeform 278"/>
                    <p:cNvSpPr>
                      <a:spLocks/>
                    </p:cNvSpPr>
                    <p:nvPr/>
                  </p:nvSpPr>
                  <p:spPr bwMode="auto">
                    <a:xfrm>
                      <a:off x="262743" y="4048059"/>
                      <a:ext cx="572877" cy="889721"/>
                    </a:xfrm>
                    <a:custGeom>
                      <a:avLst/>
                      <a:gdLst>
                        <a:gd name="T0" fmla="*/ 115 w 179"/>
                        <a:gd name="T1" fmla="*/ 0 h 278"/>
                        <a:gd name="T2" fmla="*/ 89 w 179"/>
                        <a:gd name="T3" fmla="*/ 202 h 278"/>
                        <a:gd name="T4" fmla="*/ 64 w 179"/>
                        <a:gd name="T5" fmla="*/ 0 h 278"/>
                        <a:gd name="T6" fmla="*/ 0 w 179"/>
                        <a:gd name="T7" fmla="*/ 6 h 278"/>
                        <a:gd name="T8" fmla="*/ 12 w 179"/>
                        <a:gd name="T9" fmla="*/ 278 h 278"/>
                        <a:gd name="T10" fmla="*/ 165 w 179"/>
                        <a:gd name="T11" fmla="*/ 278 h 278"/>
                        <a:gd name="T12" fmla="*/ 179 w 179"/>
                        <a:gd name="T13" fmla="*/ 6 h 278"/>
                        <a:gd name="T14" fmla="*/ 115 w 179"/>
                        <a:gd name="T15" fmla="*/ 0 h 27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9" h="278">
                          <a:moveTo>
                            <a:pt x="115" y="0"/>
                          </a:moveTo>
                          <a:lnTo>
                            <a:pt x="89" y="202"/>
                          </a:lnTo>
                          <a:lnTo>
                            <a:pt x="64" y="0"/>
                          </a:lnTo>
                          <a:lnTo>
                            <a:pt x="0" y="6"/>
                          </a:lnTo>
                          <a:lnTo>
                            <a:pt x="12" y="278"/>
                          </a:lnTo>
                          <a:lnTo>
                            <a:pt x="165" y="278"/>
                          </a:lnTo>
                          <a:lnTo>
                            <a:pt x="179" y="6"/>
                          </a:lnTo>
                          <a:lnTo>
                            <a:pt x="115" y="0"/>
                          </a:lnTo>
                          <a:close/>
                        </a:path>
                      </a:pathLst>
                    </a:custGeom>
                    <a:solidFill>
                      <a:srgbClr val="5C005C"/>
                    </a:solidFill>
                    <a:ln>
                      <a:noFill/>
                    </a:ln>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IN" dirty="0"/>
                    </a:p>
                  </p:txBody>
                </p:sp>
                <p:sp>
                  <p:nvSpPr>
                    <p:cNvPr id="280" name="Freeform 279"/>
                    <p:cNvSpPr>
                      <a:spLocks/>
                    </p:cNvSpPr>
                    <p:nvPr/>
                  </p:nvSpPr>
                  <p:spPr bwMode="auto">
                    <a:xfrm>
                      <a:off x="678799" y="3731217"/>
                      <a:ext cx="3199" cy="0"/>
                    </a:xfrm>
                    <a:custGeom>
                      <a:avLst/>
                      <a:gdLst>
                        <a:gd name="T0" fmla="*/ 1 w 1"/>
                        <a:gd name="T1" fmla="*/ 0 w 1"/>
                        <a:gd name="T2" fmla="*/ 1 w 1"/>
                      </a:gdLst>
                      <a:ahLst/>
                      <a:cxnLst>
                        <a:cxn ang="0">
                          <a:pos x="T0" y="0"/>
                        </a:cxn>
                        <a:cxn ang="0">
                          <a:pos x="T1" y="0"/>
                        </a:cxn>
                        <a:cxn ang="0">
                          <a:pos x="T2" y="0"/>
                        </a:cxn>
                      </a:cxnLst>
                      <a:rect l="0" t="0" r="r" b="b"/>
                      <a:pathLst>
                        <a:path w="1">
                          <a:moveTo>
                            <a:pt x="1" y="0"/>
                          </a:moveTo>
                          <a:cubicBezTo>
                            <a:pt x="1" y="0"/>
                            <a:pt x="0" y="0"/>
                            <a:pt x="0" y="0"/>
                          </a:cubicBezTo>
                          <a:cubicBezTo>
                            <a:pt x="0" y="0"/>
                            <a:pt x="1" y="0"/>
                            <a:pt x="1"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IN" dirty="0"/>
                    </a:p>
                  </p:txBody>
                </p:sp>
                <p:sp>
                  <p:nvSpPr>
                    <p:cNvPr id="281" name="Freeform 280"/>
                    <p:cNvSpPr>
                      <a:spLocks/>
                    </p:cNvSpPr>
                    <p:nvPr/>
                  </p:nvSpPr>
                  <p:spPr bwMode="auto">
                    <a:xfrm>
                      <a:off x="678799" y="3724816"/>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IN" dirty="0"/>
                    </a:p>
                  </p:txBody>
                </p:sp>
                <p:sp>
                  <p:nvSpPr>
                    <p:cNvPr id="282" name="Freeform 281"/>
                    <p:cNvSpPr>
                      <a:spLocks/>
                    </p:cNvSpPr>
                    <p:nvPr/>
                  </p:nvSpPr>
                  <p:spPr bwMode="auto">
                    <a:xfrm>
                      <a:off x="675598" y="3712014"/>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IN" dirty="0"/>
                    </a:p>
                  </p:txBody>
                </p:sp>
                <p:sp>
                  <p:nvSpPr>
                    <p:cNvPr id="283" name="Freeform 282"/>
                    <p:cNvSpPr>
                      <a:spLocks/>
                    </p:cNvSpPr>
                    <p:nvPr/>
                  </p:nvSpPr>
                  <p:spPr bwMode="auto">
                    <a:xfrm>
                      <a:off x="675598" y="3718415"/>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IN" dirty="0"/>
                    </a:p>
                  </p:txBody>
                </p:sp>
                <p:sp>
                  <p:nvSpPr>
                    <p:cNvPr id="284" name="Freeform 283"/>
                    <p:cNvSpPr>
                      <a:spLocks/>
                    </p:cNvSpPr>
                    <p:nvPr/>
                  </p:nvSpPr>
                  <p:spPr bwMode="auto">
                    <a:xfrm>
                      <a:off x="413162" y="3712014"/>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IN" dirty="0"/>
                    </a:p>
                  </p:txBody>
                </p:sp>
                <p:sp>
                  <p:nvSpPr>
                    <p:cNvPr id="285" name="Freeform 284"/>
                    <p:cNvSpPr>
                      <a:spLocks/>
                    </p:cNvSpPr>
                    <p:nvPr/>
                  </p:nvSpPr>
                  <p:spPr bwMode="auto">
                    <a:xfrm>
                      <a:off x="681998" y="3734416"/>
                      <a:ext cx="0" cy="6401"/>
                    </a:xfrm>
                    <a:custGeom>
                      <a:avLst/>
                      <a:gdLst>
                        <a:gd name="T0" fmla="*/ 1 h 1"/>
                        <a:gd name="T1" fmla="*/ 0 h 1"/>
                        <a:gd name="T2" fmla="*/ 1 h 1"/>
                      </a:gdLst>
                      <a:ahLst/>
                      <a:cxnLst>
                        <a:cxn ang="0">
                          <a:pos x="0" y="T0"/>
                        </a:cxn>
                        <a:cxn ang="0">
                          <a:pos x="0" y="T1"/>
                        </a:cxn>
                        <a:cxn ang="0">
                          <a:pos x="0" y="T2"/>
                        </a:cxn>
                      </a:cxnLst>
                      <a:rect l="0" t="0" r="r" b="b"/>
                      <a:pathLst>
                        <a:path h="1">
                          <a:moveTo>
                            <a:pt x="0" y="1"/>
                          </a:moveTo>
                          <a:cubicBezTo>
                            <a:pt x="0" y="1"/>
                            <a:pt x="0" y="0"/>
                            <a:pt x="0" y="0"/>
                          </a:cubicBezTo>
                          <a:cubicBezTo>
                            <a:pt x="0" y="0"/>
                            <a:pt x="0" y="1"/>
                            <a:pt x="0" y="1"/>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IN" dirty="0"/>
                    </a:p>
                  </p:txBody>
                </p:sp>
                <p:sp>
                  <p:nvSpPr>
                    <p:cNvPr id="286" name="Freeform 285"/>
                    <p:cNvSpPr>
                      <a:spLocks/>
                    </p:cNvSpPr>
                    <p:nvPr/>
                  </p:nvSpPr>
                  <p:spPr bwMode="auto">
                    <a:xfrm>
                      <a:off x="681998" y="3740817"/>
                      <a:ext cx="0" cy="6401"/>
                    </a:xfrm>
                    <a:custGeom>
                      <a:avLst/>
                      <a:gdLst>
                        <a:gd name="T0" fmla="*/ 2 h 2"/>
                        <a:gd name="T1" fmla="*/ 0 h 2"/>
                        <a:gd name="T2" fmla="*/ 2 h 2"/>
                      </a:gdLst>
                      <a:ahLst/>
                      <a:cxnLst>
                        <a:cxn ang="0">
                          <a:pos x="0" y="T0"/>
                        </a:cxn>
                        <a:cxn ang="0">
                          <a:pos x="0" y="T1"/>
                        </a:cxn>
                        <a:cxn ang="0">
                          <a:pos x="0" y="T2"/>
                        </a:cxn>
                      </a:cxnLst>
                      <a:rect l="0" t="0" r="r" b="b"/>
                      <a:pathLst>
                        <a:path h="2">
                          <a:moveTo>
                            <a:pt x="0" y="2"/>
                          </a:moveTo>
                          <a:cubicBezTo>
                            <a:pt x="0" y="1"/>
                            <a:pt x="0" y="1"/>
                            <a:pt x="0" y="0"/>
                          </a:cubicBezTo>
                          <a:cubicBezTo>
                            <a:pt x="0" y="1"/>
                            <a:pt x="0" y="1"/>
                            <a:pt x="0" y="2"/>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IN" dirty="0"/>
                    </a:p>
                  </p:txBody>
                </p:sp>
                <p:sp>
                  <p:nvSpPr>
                    <p:cNvPr id="287" name="Freeform 286"/>
                    <p:cNvSpPr>
                      <a:spLocks/>
                    </p:cNvSpPr>
                    <p:nvPr/>
                  </p:nvSpPr>
                  <p:spPr bwMode="auto">
                    <a:xfrm>
                      <a:off x="669197" y="3708813"/>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IN" dirty="0"/>
                    </a:p>
                  </p:txBody>
                </p:sp>
                <p:sp>
                  <p:nvSpPr>
                    <p:cNvPr id="288" name="Freeform 287"/>
                    <p:cNvSpPr>
                      <a:spLocks/>
                    </p:cNvSpPr>
                    <p:nvPr/>
                  </p:nvSpPr>
                  <p:spPr bwMode="auto">
                    <a:xfrm>
                      <a:off x="409963" y="3740817"/>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IN" dirty="0"/>
                    </a:p>
                  </p:txBody>
                </p:sp>
                <p:sp>
                  <p:nvSpPr>
                    <p:cNvPr id="289" name="Freeform 288"/>
                    <p:cNvSpPr>
                      <a:spLocks/>
                    </p:cNvSpPr>
                    <p:nvPr/>
                  </p:nvSpPr>
                  <p:spPr bwMode="auto">
                    <a:xfrm>
                      <a:off x="409963" y="3724816"/>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IN" dirty="0"/>
                    </a:p>
                  </p:txBody>
                </p:sp>
                <p:sp>
                  <p:nvSpPr>
                    <p:cNvPr id="290" name="Freeform 289"/>
                    <p:cNvSpPr>
                      <a:spLocks/>
                    </p:cNvSpPr>
                    <p:nvPr/>
                  </p:nvSpPr>
                  <p:spPr bwMode="auto">
                    <a:xfrm>
                      <a:off x="413162" y="3721615"/>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IN" dirty="0"/>
                    </a:p>
                  </p:txBody>
                </p:sp>
                <p:sp>
                  <p:nvSpPr>
                    <p:cNvPr id="291" name="Freeform 290"/>
                    <p:cNvSpPr>
                      <a:spLocks/>
                    </p:cNvSpPr>
                    <p:nvPr/>
                  </p:nvSpPr>
                  <p:spPr bwMode="auto">
                    <a:xfrm>
                      <a:off x="409963" y="3731217"/>
                      <a:ext cx="0" cy="3199"/>
                    </a:xfrm>
                    <a:custGeom>
                      <a:avLst/>
                      <a:gdLst>
                        <a:gd name="T0" fmla="*/ 0 h 1"/>
                        <a:gd name="T1" fmla="*/ 1 h 1"/>
                        <a:gd name="T2" fmla="*/ 0 h 1"/>
                      </a:gdLst>
                      <a:ahLst/>
                      <a:cxnLst>
                        <a:cxn ang="0">
                          <a:pos x="0" y="T0"/>
                        </a:cxn>
                        <a:cxn ang="0">
                          <a:pos x="0" y="T1"/>
                        </a:cxn>
                        <a:cxn ang="0">
                          <a:pos x="0" y="T2"/>
                        </a:cxn>
                      </a:cxnLst>
                      <a:rect l="0" t="0" r="r" b="b"/>
                      <a:pathLst>
                        <a:path h="1">
                          <a:moveTo>
                            <a:pt x="0" y="0"/>
                          </a:moveTo>
                          <a:cubicBezTo>
                            <a:pt x="0" y="0"/>
                            <a:pt x="0" y="1"/>
                            <a:pt x="0" y="1"/>
                          </a:cubicBezTo>
                          <a:cubicBezTo>
                            <a:pt x="0" y="1"/>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IN" dirty="0"/>
                    </a:p>
                  </p:txBody>
                </p:sp>
                <p:sp>
                  <p:nvSpPr>
                    <p:cNvPr id="292" name="Freeform 291"/>
                    <p:cNvSpPr>
                      <a:spLocks/>
                    </p:cNvSpPr>
                    <p:nvPr/>
                  </p:nvSpPr>
                  <p:spPr bwMode="auto">
                    <a:xfrm>
                      <a:off x="384359" y="3699213"/>
                      <a:ext cx="320043" cy="390453"/>
                    </a:xfrm>
                    <a:custGeom>
                      <a:avLst/>
                      <a:gdLst>
                        <a:gd name="T0" fmla="*/ 69 w 72"/>
                        <a:gd name="T1" fmla="*/ 15 h 87"/>
                        <a:gd name="T2" fmla="*/ 67 w 72"/>
                        <a:gd name="T3" fmla="*/ 15 h 87"/>
                        <a:gd name="T4" fmla="*/ 67 w 72"/>
                        <a:gd name="T5" fmla="*/ 11 h 87"/>
                        <a:gd name="T6" fmla="*/ 67 w 72"/>
                        <a:gd name="T7" fmla="*/ 9 h 87"/>
                        <a:gd name="T8" fmla="*/ 67 w 72"/>
                        <a:gd name="T9" fmla="*/ 9 h 87"/>
                        <a:gd name="T10" fmla="*/ 67 w 72"/>
                        <a:gd name="T11" fmla="*/ 8 h 87"/>
                        <a:gd name="T12" fmla="*/ 67 w 72"/>
                        <a:gd name="T13" fmla="*/ 7 h 87"/>
                        <a:gd name="T14" fmla="*/ 66 w 72"/>
                        <a:gd name="T15" fmla="*/ 7 h 87"/>
                        <a:gd name="T16" fmla="*/ 66 w 72"/>
                        <a:gd name="T17" fmla="*/ 6 h 87"/>
                        <a:gd name="T18" fmla="*/ 66 w 72"/>
                        <a:gd name="T19" fmla="*/ 6 h 87"/>
                        <a:gd name="T20" fmla="*/ 65 w 72"/>
                        <a:gd name="T21" fmla="*/ 4 h 87"/>
                        <a:gd name="T22" fmla="*/ 65 w 72"/>
                        <a:gd name="T23" fmla="*/ 4 h 87"/>
                        <a:gd name="T24" fmla="*/ 65 w 72"/>
                        <a:gd name="T25" fmla="*/ 3 h 87"/>
                        <a:gd name="T26" fmla="*/ 65 w 72"/>
                        <a:gd name="T27" fmla="*/ 3 h 87"/>
                        <a:gd name="T28" fmla="*/ 64 w 72"/>
                        <a:gd name="T29" fmla="*/ 2 h 87"/>
                        <a:gd name="T30" fmla="*/ 64 w 72"/>
                        <a:gd name="T31" fmla="*/ 2 h 87"/>
                        <a:gd name="T32" fmla="*/ 59 w 72"/>
                        <a:gd name="T33" fmla="*/ 3 h 87"/>
                        <a:gd name="T34" fmla="*/ 48 w 72"/>
                        <a:gd name="T35" fmla="*/ 0 h 87"/>
                        <a:gd name="T36" fmla="*/ 30 w 72"/>
                        <a:gd name="T37" fmla="*/ 3 h 87"/>
                        <a:gd name="T38" fmla="*/ 10 w 72"/>
                        <a:gd name="T39" fmla="*/ 0 h 87"/>
                        <a:gd name="T40" fmla="*/ 7 w 72"/>
                        <a:gd name="T41" fmla="*/ 3 h 87"/>
                        <a:gd name="T42" fmla="*/ 7 w 72"/>
                        <a:gd name="T43" fmla="*/ 3 h 87"/>
                        <a:gd name="T44" fmla="*/ 7 w 72"/>
                        <a:gd name="T45" fmla="*/ 5 h 87"/>
                        <a:gd name="T46" fmla="*/ 7 w 72"/>
                        <a:gd name="T47" fmla="*/ 5 h 87"/>
                        <a:gd name="T48" fmla="*/ 6 w 72"/>
                        <a:gd name="T49" fmla="*/ 6 h 87"/>
                        <a:gd name="T50" fmla="*/ 6 w 72"/>
                        <a:gd name="T51" fmla="*/ 6 h 87"/>
                        <a:gd name="T52" fmla="*/ 6 w 72"/>
                        <a:gd name="T53" fmla="*/ 7 h 87"/>
                        <a:gd name="T54" fmla="*/ 6 w 72"/>
                        <a:gd name="T55" fmla="*/ 8 h 87"/>
                        <a:gd name="T56" fmla="*/ 6 w 72"/>
                        <a:gd name="T57" fmla="*/ 9 h 87"/>
                        <a:gd name="T58" fmla="*/ 6 w 72"/>
                        <a:gd name="T59" fmla="*/ 9 h 87"/>
                        <a:gd name="T60" fmla="*/ 6 w 72"/>
                        <a:gd name="T61" fmla="*/ 11 h 87"/>
                        <a:gd name="T62" fmla="*/ 6 w 72"/>
                        <a:gd name="T63" fmla="*/ 15 h 87"/>
                        <a:gd name="T64" fmla="*/ 5 w 72"/>
                        <a:gd name="T65" fmla="*/ 15 h 87"/>
                        <a:gd name="T66" fmla="*/ 0 w 72"/>
                        <a:gd name="T67" fmla="*/ 20 h 87"/>
                        <a:gd name="T68" fmla="*/ 0 w 72"/>
                        <a:gd name="T69" fmla="*/ 32 h 87"/>
                        <a:gd name="T70" fmla="*/ 6 w 72"/>
                        <a:gd name="T71" fmla="*/ 37 h 87"/>
                        <a:gd name="T72" fmla="*/ 10 w 72"/>
                        <a:gd name="T73" fmla="*/ 49 h 87"/>
                        <a:gd name="T74" fmla="*/ 22 w 72"/>
                        <a:gd name="T75" fmla="*/ 64 h 87"/>
                        <a:gd name="T76" fmla="*/ 24 w 72"/>
                        <a:gd name="T77" fmla="*/ 78 h 87"/>
                        <a:gd name="T78" fmla="*/ 37 w 72"/>
                        <a:gd name="T79" fmla="*/ 87 h 87"/>
                        <a:gd name="T80" fmla="*/ 50 w 72"/>
                        <a:gd name="T81" fmla="*/ 78 h 87"/>
                        <a:gd name="T82" fmla="*/ 52 w 72"/>
                        <a:gd name="T83" fmla="*/ 63 h 87"/>
                        <a:gd name="T84" fmla="*/ 62 w 72"/>
                        <a:gd name="T85" fmla="*/ 49 h 87"/>
                        <a:gd name="T86" fmla="*/ 67 w 72"/>
                        <a:gd name="T87" fmla="*/ 37 h 87"/>
                        <a:gd name="T88" fmla="*/ 72 w 72"/>
                        <a:gd name="T89" fmla="*/ 32 h 87"/>
                        <a:gd name="T90" fmla="*/ 72 w 72"/>
                        <a:gd name="T91" fmla="*/ 20 h 87"/>
                        <a:gd name="T92" fmla="*/ 69 w 72"/>
                        <a:gd name="T93" fmla="*/ 15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72" h="87">
                          <a:moveTo>
                            <a:pt x="69" y="15"/>
                          </a:moveTo>
                          <a:cubicBezTo>
                            <a:pt x="68" y="15"/>
                            <a:pt x="68" y="15"/>
                            <a:pt x="67" y="15"/>
                          </a:cubicBezTo>
                          <a:cubicBezTo>
                            <a:pt x="67" y="11"/>
                            <a:pt x="67" y="11"/>
                            <a:pt x="67" y="11"/>
                          </a:cubicBezTo>
                          <a:cubicBezTo>
                            <a:pt x="67" y="10"/>
                            <a:pt x="67" y="10"/>
                            <a:pt x="67" y="9"/>
                          </a:cubicBezTo>
                          <a:cubicBezTo>
                            <a:pt x="67" y="9"/>
                            <a:pt x="67" y="9"/>
                            <a:pt x="67" y="9"/>
                          </a:cubicBezTo>
                          <a:cubicBezTo>
                            <a:pt x="67" y="9"/>
                            <a:pt x="67" y="8"/>
                            <a:pt x="67" y="8"/>
                          </a:cubicBezTo>
                          <a:cubicBezTo>
                            <a:pt x="67" y="8"/>
                            <a:pt x="67" y="8"/>
                            <a:pt x="67" y="7"/>
                          </a:cubicBezTo>
                          <a:cubicBezTo>
                            <a:pt x="67" y="7"/>
                            <a:pt x="66" y="7"/>
                            <a:pt x="66" y="7"/>
                          </a:cubicBezTo>
                          <a:cubicBezTo>
                            <a:pt x="66" y="7"/>
                            <a:pt x="66" y="6"/>
                            <a:pt x="66" y="6"/>
                          </a:cubicBezTo>
                          <a:cubicBezTo>
                            <a:pt x="66" y="6"/>
                            <a:pt x="66" y="6"/>
                            <a:pt x="66" y="6"/>
                          </a:cubicBezTo>
                          <a:cubicBezTo>
                            <a:pt x="66" y="5"/>
                            <a:pt x="66" y="5"/>
                            <a:pt x="65" y="4"/>
                          </a:cubicBezTo>
                          <a:cubicBezTo>
                            <a:pt x="65" y="4"/>
                            <a:pt x="65" y="4"/>
                            <a:pt x="65" y="4"/>
                          </a:cubicBezTo>
                          <a:cubicBezTo>
                            <a:pt x="65" y="4"/>
                            <a:pt x="65" y="3"/>
                            <a:pt x="65" y="3"/>
                          </a:cubicBezTo>
                          <a:cubicBezTo>
                            <a:pt x="65" y="3"/>
                            <a:pt x="65" y="3"/>
                            <a:pt x="65" y="3"/>
                          </a:cubicBezTo>
                          <a:cubicBezTo>
                            <a:pt x="65" y="3"/>
                            <a:pt x="64" y="2"/>
                            <a:pt x="64" y="2"/>
                          </a:cubicBezTo>
                          <a:cubicBezTo>
                            <a:pt x="64" y="2"/>
                            <a:pt x="64" y="2"/>
                            <a:pt x="64" y="2"/>
                          </a:cubicBezTo>
                          <a:cubicBezTo>
                            <a:pt x="62" y="2"/>
                            <a:pt x="61" y="3"/>
                            <a:pt x="59" y="3"/>
                          </a:cubicBezTo>
                          <a:cubicBezTo>
                            <a:pt x="54" y="3"/>
                            <a:pt x="51" y="2"/>
                            <a:pt x="48" y="0"/>
                          </a:cubicBezTo>
                          <a:cubicBezTo>
                            <a:pt x="44" y="2"/>
                            <a:pt x="37" y="3"/>
                            <a:pt x="30" y="3"/>
                          </a:cubicBezTo>
                          <a:cubicBezTo>
                            <a:pt x="22" y="3"/>
                            <a:pt x="15" y="2"/>
                            <a:pt x="10" y="0"/>
                          </a:cubicBezTo>
                          <a:cubicBezTo>
                            <a:pt x="9" y="1"/>
                            <a:pt x="8" y="2"/>
                            <a:pt x="7" y="3"/>
                          </a:cubicBezTo>
                          <a:cubicBezTo>
                            <a:pt x="7" y="3"/>
                            <a:pt x="7" y="3"/>
                            <a:pt x="7" y="3"/>
                          </a:cubicBezTo>
                          <a:cubicBezTo>
                            <a:pt x="7" y="4"/>
                            <a:pt x="7" y="4"/>
                            <a:pt x="7" y="5"/>
                          </a:cubicBezTo>
                          <a:cubicBezTo>
                            <a:pt x="7" y="5"/>
                            <a:pt x="7" y="5"/>
                            <a:pt x="7" y="5"/>
                          </a:cubicBezTo>
                          <a:cubicBezTo>
                            <a:pt x="7" y="5"/>
                            <a:pt x="6" y="6"/>
                            <a:pt x="6" y="6"/>
                          </a:cubicBezTo>
                          <a:cubicBezTo>
                            <a:pt x="6" y="6"/>
                            <a:pt x="6" y="6"/>
                            <a:pt x="6" y="6"/>
                          </a:cubicBezTo>
                          <a:cubicBezTo>
                            <a:pt x="6" y="7"/>
                            <a:pt x="6" y="7"/>
                            <a:pt x="6" y="7"/>
                          </a:cubicBezTo>
                          <a:cubicBezTo>
                            <a:pt x="6" y="7"/>
                            <a:pt x="6" y="8"/>
                            <a:pt x="6" y="8"/>
                          </a:cubicBezTo>
                          <a:cubicBezTo>
                            <a:pt x="6" y="8"/>
                            <a:pt x="6" y="8"/>
                            <a:pt x="6" y="9"/>
                          </a:cubicBezTo>
                          <a:cubicBezTo>
                            <a:pt x="6" y="9"/>
                            <a:pt x="6" y="9"/>
                            <a:pt x="6" y="9"/>
                          </a:cubicBezTo>
                          <a:cubicBezTo>
                            <a:pt x="6" y="10"/>
                            <a:pt x="6" y="10"/>
                            <a:pt x="6" y="11"/>
                          </a:cubicBezTo>
                          <a:cubicBezTo>
                            <a:pt x="6" y="15"/>
                            <a:pt x="6" y="15"/>
                            <a:pt x="6" y="15"/>
                          </a:cubicBezTo>
                          <a:cubicBezTo>
                            <a:pt x="5" y="15"/>
                            <a:pt x="5" y="15"/>
                            <a:pt x="5" y="15"/>
                          </a:cubicBezTo>
                          <a:cubicBezTo>
                            <a:pt x="2" y="16"/>
                            <a:pt x="0" y="18"/>
                            <a:pt x="0" y="20"/>
                          </a:cubicBezTo>
                          <a:cubicBezTo>
                            <a:pt x="0" y="32"/>
                            <a:pt x="0" y="32"/>
                            <a:pt x="0" y="32"/>
                          </a:cubicBezTo>
                          <a:cubicBezTo>
                            <a:pt x="0" y="34"/>
                            <a:pt x="3" y="37"/>
                            <a:pt x="6" y="37"/>
                          </a:cubicBezTo>
                          <a:cubicBezTo>
                            <a:pt x="10" y="49"/>
                            <a:pt x="10" y="49"/>
                            <a:pt x="10" y="49"/>
                          </a:cubicBezTo>
                          <a:cubicBezTo>
                            <a:pt x="13" y="57"/>
                            <a:pt x="16" y="62"/>
                            <a:pt x="22" y="64"/>
                          </a:cubicBezTo>
                          <a:cubicBezTo>
                            <a:pt x="24" y="78"/>
                            <a:pt x="24" y="78"/>
                            <a:pt x="24" y="78"/>
                          </a:cubicBezTo>
                          <a:cubicBezTo>
                            <a:pt x="37" y="87"/>
                            <a:pt x="37" y="87"/>
                            <a:pt x="37" y="87"/>
                          </a:cubicBezTo>
                          <a:cubicBezTo>
                            <a:pt x="50" y="78"/>
                            <a:pt x="50" y="78"/>
                            <a:pt x="50" y="78"/>
                          </a:cubicBezTo>
                          <a:cubicBezTo>
                            <a:pt x="52" y="63"/>
                            <a:pt x="52" y="63"/>
                            <a:pt x="52" y="63"/>
                          </a:cubicBezTo>
                          <a:cubicBezTo>
                            <a:pt x="57" y="62"/>
                            <a:pt x="59" y="57"/>
                            <a:pt x="62" y="49"/>
                          </a:cubicBezTo>
                          <a:cubicBezTo>
                            <a:pt x="67" y="37"/>
                            <a:pt x="67" y="37"/>
                            <a:pt x="67" y="37"/>
                          </a:cubicBezTo>
                          <a:cubicBezTo>
                            <a:pt x="70" y="37"/>
                            <a:pt x="72" y="34"/>
                            <a:pt x="72" y="32"/>
                          </a:cubicBezTo>
                          <a:cubicBezTo>
                            <a:pt x="72" y="20"/>
                            <a:pt x="72" y="20"/>
                            <a:pt x="72" y="20"/>
                          </a:cubicBezTo>
                          <a:cubicBezTo>
                            <a:pt x="72" y="18"/>
                            <a:pt x="71" y="16"/>
                            <a:pt x="69" y="15"/>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IN" dirty="0"/>
                    </a:p>
                  </p:txBody>
                </p:sp>
                <p:sp>
                  <p:nvSpPr>
                    <p:cNvPr id="293" name="Freeform 292"/>
                    <p:cNvSpPr>
                      <a:spLocks noEditPoints="1"/>
                    </p:cNvSpPr>
                    <p:nvPr/>
                  </p:nvSpPr>
                  <p:spPr bwMode="auto">
                    <a:xfrm>
                      <a:off x="397161" y="3756821"/>
                      <a:ext cx="300841" cy="96013"/>
                    </a:xfrm>
                    <a:custGeom>
                      <a:avLst/>
                      <a:gdLst>
                        <a:gd name="T0" fmla="*/ 66 w 67"/>
                        <a:gd name="T1" fmla="*/ 1 h 21"/>
                        <a:gd name="T2" fmla="*/ 50 w 67"/>
                        <a:gd name="T3" fmla="*/ 0 h 21"/>
                        <a:gd name="T4" fmla="*/ 34 w 67"/>
                        <a:gd name="T5" fmla="*/ 4 h 21"/>
                        <a:gd name="T6" fmla="*/ 18 w 67"/>
                        <a:gd name="T7" fmla="*/ 0 h 21"/>
                        <a:gd name="T8" fmla="*/ 1 w 67"/>
                        <a:gd name="T9" fmla="*/ 1 h 21"/>
                        <a:gd name="T10" fmla="*/ 1 w 67"/>
                        <a:gd name="T11" fmla="*/ 3 h 21"/>
                        <a:gd name="T12" fmla="*/ 3 w 67"/>
                        <a:gd name="T13" fmla="*/ 6 h 21"/>
                        <a:gd name="T14" fmla="*/ 5 w 67"/>
                        <a:gd name="T15" fmla="*/ 11 h 21"/>
                        <a:gd name="T16" fmla="*/ 20 w 67"/>
                        <a:gd name="T17" fmla="*/ 20 h 21"/>
                        <a:gd name="T18" fmla="*/ 31 w 67"/>
                        <a:gd name="T19" fmla="*/ 8 h 21"/>
                        <a:gd name="T20" fmla="*/ 34 w 67"/>
                        <a:gd name="T21" fmla="*/ 7 h 21"/>
                        <a:gd name="T22" fmla="*/ 36 w 67"/>
                        <a:gd name="T23" fmla="*/ 8 h 21"/>
                        <a:gd name="T24" fmla="*/ 47 w 67"/>
                        <a:gd name="T25" fmla="*/ 20 h 21"/>
                        <a:gd name="T26" fmla="*/ 62 w 67"/>
                        <a:gd name="T27" fmla="*/ 11 h 21"/>
                        <a:gd name="T28" fmla="*/ 64 w 67"/>
                        <a:gd name="T29" fmla="*/ 6 h 21"/>
                        <a:gd name="T30" fmla="*/ 66 w 67"/>
                        <a:gd name="T31" fmla="*/ 3 h 21"/>
                        <a:gd name="T32" fmla="*/ 66 w 67"/>
                        <a:gd name="T33" fmla="*/ 1 h 21"/>
                        <a:gd name="T34" fmla="*/ 26 w 67"/>
                        <a:gd name="T35" fmla="*/ 15 h 21"/>
                        <a:gd name="T36" fmla="*/ 14 w 67"/>
                        <a:gd name="T37" fmla="*/ 18 h 21"/>
                        <a:gd name="T38" fmla="*/ 6 w 67"/>
                        <a:gd name="T39" fmla="*/ 7 h 21"/>
                        <a:gd name="T40" fmla="*/ 18 w 67"/>
                        <a:gd name="T41" fmla="*/ 2 h 21"/>
                        <a:gd name="T42" fmla="*/ 26 w 67"/>
                        <a:gd name="T43" fmla="*/ 4 h 21"/>
                        <a:gd name="T44" fmla="*/ 26 w 67"/>
                        <a:gd name="T45" fmla="*/ 15 h 21"/>
                        <a:gd name="T46" fmla="*/ 54 w 67"/>
                        <a:gd name="T47" fmla="*/ 18 h 21"/>
                        <a:gd name="T48" fmla="*/ 42 w 67"/>
                        <a:gd name="T49" fmla="*/ 15 h 21"/>
                        <a:gd name="T50" fmla="*/ 41 w 67"/>
                        <a:gd name="T51" fmla="*/ 4 h 21"/>
                        <a:gd name="T52" fmla="*/ 49 w 67"/>
                        <a:gd name="T53" fmla="*/ 2 h 21"/>
                        <a:gd name="T54" fmla="*/ 61 w 67"/>
                        <a:gd name="T55" fmla="*/ 7 h 21"/>
                        <a:gd name="T56" fmla="*/ 54 w 67"/>
                        <a:gd name="T57" fmla="*/ 18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7" h="21">
                          <a:moveTo>
                            <a:pt x="66" y="1"/>
                          </a:moveTo>
                          <a:cubicBezTo>
                            <a:pt x="66" y="1"/>
                            <a:pt x="57" y="0"/>
                            <a:pt x="50" y="0"/>
                          </a:cubicBezTo>
                          <a:cubicBezTo>
                            <a:pt x="43" y="1"/>
                            <a:pt x="37" y="4"/>
                            <a:pt x="34" y="4"/>
                          </a:cubicBezTo>
                          <a:cubicBezTo>
                            <a:pt x="30" y="4"/>
                            <a:pt x="25" y="1"/>
                            <a:pt x="18" y="0"/>
                          </a:cubicBezTo>
                          <a:cubicBezTo>
                            <a:pt x="11" y="0"/>
                            <a:pt x="1" y="1"/>
                            <a:pt x="1" y="1"/>
                          </a:cubicBezTo>
                          <a:cubicBezTo>
                            <a:pt x="0" y="1"/>
                            <a:pt x="0" y="2"/>
                            <a:pt x="1" y="3"/>
                          </a:cubicBezTo>
                          <a:cubicBezTo>
                            <a:pt x="1" y="5"/>
                            <a:pt x="1" y="5"/>
                            <a:pt x="3" y="6"/>
                          </a:cubicBezTo>
                          <a:cubicBezTo>
                            <a:pt x="4" y="7"/>
                            <a:pt x="5" y="11"/>
                            <a:pt x="5" y="11"/>
                          </a:cubicBezTo>
                          <a:cubicBezTo>
                            <a:pt x="6" y="19"/>
                            <a:pt x="12" y="21"/>
                            <a:pt x="20" y="20"/>
                          </a:cubicBezTo>
                          <a:cubicBezTo>
                            <a:pt x="28" y="19"/>
                            <a:pt x="30" y="10"/>
                            <a:pt x="31" y="8"/>
                          </a:cubicBezTo>
                          <a:cubicBezTo>
                            <a:pt x="32" y="7"/>
                            <a:pt x="34" y="7"/>
                            <a:pt x="34" y="7"/>
                          </a:cubicBezTo>
                          <a:cubicBezTo>
                            <a:pt x="34" y="7"/>
                            <a:pt x="35" y="7"/>
                            <a:pt x="36" y="8"/>
                          </a:cubicBezTo>
                          <a:cubicBezTo>
                            <a:pt x="37" y="10"/>
                            <a:pt x="39" y="19"/>
                            <a:pt x="47" y="20"/>
                          </a:cubicBezTo>
                          <a:cubicBezTo>
                            <a:pt x="55" y="21"/>
                            <a:pt x="61" y="19"/>
                            <a:pt x="62" y="11"/>
                          </a:cubicBezTo>
                          <a:cubicBezTo>
                            <a:pt x="62" y="11"/>
                            <a:pt x="63" y="7"/>
                            <a:pt x="64" y="6"/>
                          </a:cubicBezTo>
                          <a:cubicBezTo>
                            <a:pt x="66" y="5"/>
                            <a:pt x="66" y="5"/>
                            <a:pt x="66" y="3"/>
                          </a:cubicBezTo>
                          <a:cubicBezTo>
                            <a:pt x="67" y="2"/>
                            <a:pt x="67" y="1"/>
                            <a:pt x="66" y="1"/>
                          </a:cubicBezTo>
                          <a:close/>
                          <a:moveTo>
                            <a:pt x="26" y="15"/>
                          </a:moveTo>
                          <a:cubicBezTo>
                            <a:pt x="23" y="18"/>
                            <a:pt x="19" y="19"/>
                            <a:pt x="14" y="18"/>
                          </a:cubicBezTo>
                          <a:cubicBezTo>
                            <a:pt x="8" y="18"/>
                            <a:pt x="6" y="14"/>
                            <a:pt x="6" y="7"/>
                          </a:cubicBezTo>
                          <a:cubicBezTo>
                            <a:pt x="6" y="0"/>
                            <a:pt x="18" y="2"/>
                            <a:pt x="18" y="2"/>
                          </a:cubicBezTo>
                          <a:cubicBezTo>
                            <a:pt x="23" y="3"/>
                            <a:pt x="23" y="3"/>
                            <a:pt x="26" y="4"/>
                          </a:cubicBezTo>
                          <a:cubicBezTo>
                            <a:pt x="30" y="5"/>
                            <a:pt x="28" y="12"/>
                            <a:pt x="26" y="15"/>
                          </a:cubicBezTo>
                          <a:close/>
                          <a:moveTo>
                            <a:pt x="54" y="18"/>
                          </a:moveTo>
                          <a:cubicBezTo>
                            <a:pt x="48" y="19"/>
                            <a:pt x="44" y="18"/>
                            <a:pt x="42" y="15"/>
                          </a:cubicBezTo>
                          <a:cubicBezTo>
                            <a:pt x="40" y="12"/>
                            <a:pt x="37" y="5"/>
                            <a:pt x="41" y="4"/>
                          </a:cubicBezTo>
                          <a:cubicBezTo>
                            <a:pt x="45" y="3"/>
                            <a:pt x="45" y="3"/>
                            <a:pt x="49" y="2"/>
                          </a:cubicBezTo>
                          <a:cubicBezTo>
                            <a:pt x="49" y="2"/>
                            <a:pt x="61" y="0"/>
                            <a:pt x="61" y="7"/>
                          </a:cubicBezTo>
                          <a:cubicBezTo>
                            <a:pt x="61" y="14"/>
                            <a:pt x="59" y="18"/>
                            <a:pt x="54" y="18"/>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IN" dirty="0"/>
                    </a:p>
                  </p:txBody>
                </p:sp>
                <p:sp>
                  <p:nvSpPr>
                    <p:cNvPr id="294" name="Oval 293"/>
                    <p:cNvSpPr>
                      <a:spLocks noChangeArrowheads="1"/>
                    </p:cNvSpPr>
                    <p:nvPr/>
                  </p:nvSpPr>
                  <p:spPr bwMode="auto">
                    <a:xfrm>
                      <a:off x="406761" y="3766421"/>
                      <a:ext cx="6401" cy="9600"/>
                    </a:xfrm>
                    <a:prstGeom prst="ellipse">
                      <a:avLst/>
                    </a:pr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IN" dirty="0"/>
                    </a:p>
                  </p:txBody>
                </p:sp>
                <p:sp>
                  <p:nvSpPr>
                    <p:cNvPr id="295" name="Oval 294"/>
                    <p:cNvSpPr>
                      <a:spLocks noChangeArrowheads="1"/>
                    </p:cNvSpPr>
                    <p:nvPr/>
                  </p:nvSpPr>
                  <p:spPr bwMode="auto">
                    <a:xfrm>
                      <a:off x="678799" y="3766421"/>
                      <a:ext cx="9600" cy="9600"/>
                    </a:xfrm>
                    <a:prstGeom prst="ellipse">
                      <a:avLst/>
                    </a:pr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IN" dirty="0"/>
                    </a:p>
                  </p:txBody>
                </p:sp>
              </p:grpSp>
              <p:grpSp>
                <p:nvGrpSpPr>
                  <p:cNvPr id="251" name="Group 250"/>
                  <p:cNvGrpSpPr/>
                  <p:nvPr/>
                </p:nvGrpSpPr>
                <p:grpSpPr>
                  <a:xfrm>
                    <a:off x="-1284783" y="3425413"/>
                    <a:ext cx="1020937" cy="1520206"/>
                    <a:chOff x="-969425" y="3385570"/>
                    <a:chExt cx="1020937" cy="1520206"/>
                  </a:xfrm>
                </p:grpSpPr>
                <p:sp>
                  <p:nvSpPr>
                    <p:cNvPr id="252" name="Freeform 251"/>
                    <p:cNvSpPr>
                      <a:spLocks/>
                    </p:cNvSpPr>
                    <p:nvPr/>
                  </p:nvSpPr>
                  <p:spPr bwMode="auto">
                    <a:xfrm>
                      <a:off x="-572572" y="3875236"/>
                      <a:ext cx="220829" cy="236832"/>
                    </a:xfrm>
                    <a:custGeom>
                      <a:avLst/>
                      <a:gdLst>
                        <a:gd name="T0" fmla="*/ 0 w 69"/>
                        <a:gd name="T1" fmla="*/ 7 h 74"/>
                        <a:gd name="T2" fmla="*/ 7 w 69"/>
                        <a:gd name="T3" fmla="*/ 0 h 74"/>
                        <a:gd name="T4" fmla="*/ 62 w 69"/>
                        <a:gd name="T5" fmla="*/ 0 h 74"/>
                        <a:gd name="T6" fmla="*/ 69 w 69"/>
                        <a:gd name="T7" fmla="*/ 7 h 74"/>
                        <a:gd name="T8" fmla="*/ 51 w 69"/>
                        <a:gd name="T9" fmla="*/ 68 h 74"/>
                        <a:gd name="T10" fmla="*/ 26 w 69"/>
                        <a:gd name="T11" fmla="*/ 74 h 74"/>
                        <a:gd name="T12" fmla="*/ 5 w 69"/>
                        <a:gd name="T13" fmla="*/ 45 h 74"/>
                        <a:gd name="T14" fmla="*/ 0 w 69"/>
                        <a:gd name="T15" fmla="*/ 7 h 7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9" h="74">
                          <a:moveTo>
                            <a:pt x="0" y="7"/>
                          </a:moveTo>
                          <a:lnTo>
                            <a:pt x="7" y="0"/>
                          </a:lnTo>
                          <a:lnTo>
                            <a:pt x="62" y="0"/>
                          </a:lnTo>
                          <a:lnTo>
                            <a:pt x="69" y="7"/>
                          </a:lnTo>
                          <a:lnTo>
                            <a:pt x="51" y="68"/>
                          </a:lnTo>
                          <a:lnTo>
                            <a:pt x="26" y="74"/>
                          </a:lnTo>
                          <a:lnTo>
                            <a:pt x="5" y="45"/>
                          </a:lnTo>
                          <a:lnTo>
                            <a:pt x="0" y="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IN" dirty="0"/>
                    </a:p>
                  </p:txBody>
                </p:sp>
                <p:sp>
                  <p:nvSpPr>
                    <p:cNvPr id="253" name="Freeform 252"/>
                    <p:cNvSpPr>
                      <a:spLocks/>
                    </p:cNvSpPr>
                    <p:nvPr/>
                  </p:nvSpPr>
                  <p:spPr bwMode="auto">
                    <a:xfrm>
                      <a:off x="-594974" y="3900839"/>
                      <a:ext cx="275237" cy="739300"/>
                    </a:xfrm>
                    <a:custGeom>
                      <a:avLst/>
                      <a:gdLst>
                        <a:gd name="T0" fmla="*/ 86 w 86"/>
                        <a:gd name="T1" fmla="*/ 49 h 231"/>
                        <a:gd name="T2" fmla="*/ 44 w 86"/>
                        <a:gd name="T3" fmla="*/ 0 h 231"/>
                        <a:gd name="T4" fmla="*/ 0 w 86"/>
                        <a:gd name="T5" fmla="*/ 45 h 231"/>
                        <a:gd name="T6" fmla="*/ 33 w 86"/>
                        <a:gd name="T7" fmla="*/ 213 h 231"/>
                        <a:gd name="T8" fmla="*/ 41 w 86"/>
                        <a:gd name="T9" fmla="*/ 231 h 231"/>
                        <a:gd name="T10" fmla="*/ 51 w 86"/>
                        <a:gd name="T11" fmla="*/ 213 h 231"/>
                        <a:gd name="T12" fmla="*/ 86 w 86"/>
                        <a:gd name="T13" fmla="*/ 49 h 231"/>
                      </a:gdLst>
                      <a:ahLst/>
                      <a:cxnLst>
                        <a:cxn ang="0">
                          <a:pos x="T0" y="T1"/>
                        </a:cxn>
                        <a:cxn ang="0">
                          <a:pos x="T2" y="T3"/>
                        </a:cxn>
                        <a:cxn ang="0">
                          <a:pos x="T4" y="T5"/>
                        </a:cxn>
                        <a:cxn ang="0">
                          <a:pos x="T6" y="T7"/>
                        </a:cxn>
                        <a:cxn ang="0">
                          <a:pos x="T8" y="T9"/>
                        </a:cxn>
                        <a:cxn ang="0">
                          <a:pos x="T10" y="T11"/>
                        </a:cxn>
                        <a:cxn ang="0">
                          <a:pos x="T12" y="T13"/>
                        </a:cxn>
                      </a:cxnLst>
                      <a:rect l="0" t="0" r="r" b="b"/>
                      <a:pathLst>
                        <a:path w="86" h="231">
                          <a:moveTo>
                            <a:pt x="86" y="49"/>
                          </a:moveTo>
                          <a:lnTo>
                            <a:pt x="44" y="0"/>
                          </a:lnTo>
                          <a:lnTo>
                            <a:pt x="0" y="45"/>
                          </a:lnTo>
                          <a:lnTo>
                            <a:pt x="33" y="213"/>
                          </a:lnTo>
                          <a:lnTo>
                            <a:pt x="41" y="231"/>
                          </a:lnTo>
                          <a:lnTo>
                            <a:pt x="51" y="213"/>
                          </a:lnTo>
                          <a:lnTo>
                            <a:pt x="86" y="49"/>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IN" dirty="0"/>
                    </a:p>
                  </p:txBody>
                </p:sp>
                <p:sp>
                  <p:nvSpPr>
                    <p:cNvPr id="254" name="Freeform 253"/>
                    <p:cNvSpPr>
                      <a:spLocks/>
                    </p:cNvSpPr>
                    <p:nvPr/>
                  </p:nvSpPr>
                  <p:spPr bwMode="auto">
                    <a:xfrm>
                      <a:off x="-620577" y="3404773"/>
                      <a:ext cx="345647" cy="432058"/>
                    </a:xfrm>
                    <a:custGeom>
                      <a:avLst/>
                      <a:gdLst>
                        <a:gd name="T0" fmla="*/ 68 w 77"/>
                        <a:gd name="T1" fmla="*/ 59 h 97"/>
                        <a:gd name="T2" fmla="*/ 28 w 77"/>
                        <a:gd name="T3" fmla="*/ 90 h 97"/>
                        <a:gd name="T4" fmla="*/ 8 w 77"/>
                        <a:gd name="T5" fmla="*/ 39 h 97"/>
                        <a:gd name="T6" fmla="*/ 57 w 77"/>
                        <a:gd name="T7" fmla="*/ 6 h 97"/>
                        <a:gd name="T8" fmla="*/ 68 w 77"/>
                        <a:gd name="T9" fmla="*/ 59 h 97"/>
                      </a:gdLst>
                      <a:ahLst/>
                      <a:cxnLst>
                        <a:cxn ang="0">
                          <a:pos x="T0" y="T1"/>
                        </a:cxn>
                        <a:cxn ang="0">
                          <a:pos x="T2" y="T3"/>
                        </a:cxn>
                        <a:cxn ang="0">
                          <a:pos x="T4" y="T5"/>
                        </a:cxn>
                        <a:cxn ang="0">
                          <a:pos x="T6" y="T7"/>
                        </a:cxn>
                        <a:cxn ang="0">
                          <a:pos x="T8" y="T9"/>
                        </a:cxn>
                      </a:cxnLst>
                      <a:rect l="0" t="0" r="r" b="b"/>
                      <a:pathLst>
                        <a:path w="77" h="97">
                          <a:moveTo>
                            <a:pt x="68" y="59"/>
                          </a:moveTo>
                          <a:cubicBezTo>
                            <a:pt x="54" y="97"/>
                            <a:pt x="46" y="96"/>
                            <a:pt x="28" y="90"/>
                          </a:cubicBezTo>
                          <a:cubicBezTo>
                            <a:pt x="9" y="84"/>
                            <a:pt x="0" y="61"/>
                            <a:pt x="8" y="39"/>
                          </a:cubicBezTo>
                          <a:cubicBezTo>
                            <a:pt x="15" y="17"/>
                            <a:pt x="39" y="0"/>
                            <a:pt x="57" y="6"/>
                          </a:cubicBezTo>
                          <a:cubicBezTo>
                            <a:pt x="76" y="12"/>
                            <a:pt x="77" y="37"/>
                            <a:pt x="68" y="59"/>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IN" dirty="0"/>
                    </a:p>
                  </p:txBody>
                </p:sp>
                <p:sp>
                  <p:nvSpPr>
                    <p:cNvPr id="255" name="Freeform 254"/>
                    <p:cNvSpPr>
                      <a:spLocks/>
                    </p:cNvSpPr>
                    <p:nvPr/>
                  </p:nvSpPr>
                  <p:spPr bwMode="auto">
                    <a:xfrm>
                      <a:off x="-684586" y="3385570"/>
                      <a:ext cx="387251" cy="473664"/>
                    </a:xfrm>
                    <a:custGeom>
                      <a:avLst/>
                      <a:gdLst>
                        <a:gd name="T0" fmla="*/ 74 w 86"/>
                        <a:gd name="T1" fmla="*/ 22 h 106"/>
                        <a:gd name="T2" fmla="*/ 62 w 86"/>
                        <a:gd name="T3" fmla="*/ 90 h 106"/>
                        <a:gd name="T4" fmla="*/ 25 w 86"/>
                        <a:gd name="T5" fmla="*/ 87 h 106"/>
                        <a:gd name="T6" fmla="*/ 25 w 86"/>
                        <a:gd name="T7" fmla="*/ 8 h 106"/>
                        <a:gd name="T8" fmla="*/ 74 w 86"/>
                        <a:gd name="T9" fmla="*/ 22 h 106"/>
                      </a:gdLst>
                      <a:ahLst/>
                      <a:cxnLst>
                        <a:cxn ang="0">
                          <a:pos x="T0" y="T1"/>
                        </a:cxn>
                        <a:cxn ang="0">
                          <a:pos x="T2" y="T3"/>
                        </a:cxn>
                        <a:cxn ang="0">
                          <a:pos x="T4" y="T5"/>
                        </a:cxn>
                        <a:cxn ang="0">
                          <a:pos x="T6" y="T7"/>
                        </a:cxn>
                        <a:cxn ang="0">
                          <a:pos x="T8" y="T9"/>
                        </a:cxn>
                      </a:cxnLst>
                      <a:rect l="0" t="0" r="r" b="b"/>
                      <a:pathLst>
                        <a:path w="86" h="106">
                          <a:moveTo>
                            <a:pt x="74" y="22"/>
                          </a:moveTo>
                          <a:cubicBezTo>
                            <a:pt x="86" y="41"/>
                            <a:pt x="77" y="81"/>
                            <a:pt x="62" y="90"/>
                          </a:cubicBezTo>
                          <a:cubicBezTo>
                            <a:pt x="48" y="98"/>
                            <a:pt x="36" y="106"/>
                            <a:pt x="25" y="87"/>
                          </a:cubicBezTo>
                          <a:cubicBezTo>
                            <a:pt x="14" y="68"/>
                            <a:pt x="0" y="19"/>
                            <a:pt x="25" y="8"/>
                          </a:cubicBezTo>
                          <a:cubicBezTo>
                            <a:pt x="40" y="0"/>
                            <a:pt x="63" y="3"/>
                            <a:pt x="74" y="22"/>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IN" dirty="0"/>
                    </a:p>
                  </p:txBody>
                </p:sp>
                <p:sp>
                  <p:nvSpPr>
                    <p:cNvPr id="256" name="Freeform 255"/>
                    <p:cNvSpPr>
                      <a:spLocks/>
                    </p:cNvSpPr>
                    <p:nvPr/>
                  </p:nvSpPr>
                  <p:spPr bwMode="auto">
                    <a:xfrm>
                      <a:off x="-550168" y="3734416"/>
                      <a:ext cx="176023" cy="211229"/>
                    </a:xfrm>
                    <a:custGeom>
                      <a:avLst/>
                      <a:gdLst>
                        <a:gd name="T0" fmla="*/ 55 w 55"/>
                        <a:gd name="T1" fmla="*/ 44 h 66"/>
                        <a:gd name="T2" fmla="*/ 27 w 55"/>
                        <a:gd name="T3" fmla="*/ 66 h 66"/>
                        <a:gd name="T4" fmla="*/ 0 w 55"/>
                        <a:gd name="T5" fmla="*/ 44 h 66"/>
                        <a:gd name="T6" fmla="*/ 0 w 55"/>
                        <a:gd name="T7" fmla="*/ 0 h 66"/>
                        <a:gd name="T8" fmla="*/ 55 w 55"/>
                        <a:gd name="T9" fmla="*/ 0 h 66"/>
                        <a:gd name="T10" fmla="*/ 55 w 55"/>
                        <a:gd name="T11" fmla="*/ 44 h 66"/>
                      </a:gdLst>
                      <a:ahLst/>
                      <a:cxnLst>
                        <a:cxn ang="0">
                          <a:pos x="T0" y="T1"/>
                        </a:cxn>
                        <a:cxn ang="0">
                          <a:pos x="T2" y="T3"/>
                        </a:cxn>
                        <a:cxn ang="0">
                          <a:pos x="T4" y="T5"/>
                        </a:cxn>
                        <a:cxn ang="0">
                          <a:pos x="T6" y="T7"/>
                        </a:cxn>
                        <a:cxn ang="0">
                          <a:pos x="T8" y="T9"/>
                        </a:cxn>
                        <a:cxn ang="0">
                          <a:pos x="T10" y="T11"/>
                        </a:cxn>
                      </a:cxnLst>
                      <a:rect l="0" t="0" r="r" b="b"/>
                      <a:pathLst>
                        <a:path w="55" h="66">
                          <a:moveTo>
                            <a:pt x="55" y="44"/>
                          </a:moveTo>
                          <a:lnTo>
                            <a:pt x="27" y="66"/>
                          </a:lnTo>
                          <a:lnTo>
                            <a:pt x="0" y="44"/>
                          </a:lnTo>
                          <a:lnTo>
                            <a:pt x="0" y="0"/>
                          </a:lnTo>
                          <a:lnTo>
                            <a:pt x="55" y="0"/>
                          </a:lnTo>
                          <a:lnTo>
                            <a:pt x="55" y="44"/>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IN" dirty="0"/>
                    </a:p>
                  </p:txBody>
                </p:sp>
                <p:sp>
                  <p:nvSpPr>
                    <p:cNvPr id="257" name="Freeform 256"/>
                    <p:cNvSpPr>
                      <a:spLocks/>
                    </p:cNvSpPr>
                    <p:nvPr/>
                  </p:nvSpPr>
                  <p:spPr bwMode="auto">
                    <a:xfrm>
                      <a:off x="-969425" y="3929644"/>
                      <a:ext cx="374450" cy="976132"/>
                    </a:xfrm>
                    <a:custGeom>
                      <a:avLst/>
                      <a:gdLst>
                        <a:gd name="T0" fmla="*/ 84 w 84"/>
                        <a:gd name="T1" fmla="*/ 9 h 218"/>
                        <a:gd name="T2" fmla="*/ 51 w 84"/>
                        <a:gd name="T3" fmla="*/ 0 h 218"/>
                        <a:gd name="T4" fmla="*/ 0 w 84"/>
                        <a:gd name="T5" fmla="*/ 218 h 218"/>
                        <a:gd name="T6" fmla="*/ 34 w 84"/>
                        <a:gd name="T7" fmla="*/ 218 h 218"/>
                        <a:gd name="T8" fmla="*/ 84 w 84"/>
                        <a:gd name="T9" fmla="*/ 9 h 218"/>
                      </a:gdLst>
                      <a:ahLst/>
                      <a:cxnLst>
                        <a:cxn ang="0">
                          <a:pos x="T0" y="T1"/>
                        </a:cxn>
                        <a:cxn ang="0">
                          <a:pos x="T2" y="T3"/>
                        </a:cxn>
                        <a:cxn ang="0">
                          <a:pos x="T4" y="T5"/>
                        </a:cxn>
                        <a:cxn ang="0">
                          <a:pos x="T6" y="T7"/>
                        </a:cxn>
                        <a:cxn ang="0">
                          <a:pos x="T8" y="T9"/>
                        </a:cxn>
                      </a:cxnLst>
                      <a:rect l="0" t="0" r="r" b="b"/>
                      <a:pathLst>
                        <a:path w="84" h="218">
                          <a:moveTo>
                            <a:pt x="84" y="9"/>
                          </a:moveTo>
                          <a:cubicBezTo>
                            <a:pt x="73" y="6"/>
                            <a:pt x="62" y="3"/>
                            <a:pt x="51" y="0"/>
                          </a:cubicBezTo>
                          <a:cubicBezTo>
                            <a:pt x="18" y="71"/>
                            <a:pt x="7" y="141"/>
                            <a:pt x="0" y="218"/>
                          </a:cubicBezTo>
                          <a:cubicBezTo>
                            <a:pt x="34" y="218"/>
                            <a:pt x="34" y="218"/>
                            <a:pt x="34" y="218"/>
                          </a:cubicBezTo>
                          <a:cubicBezTo>
                            <a:pt x="42" y="144"/>
                            <a:pt x="53" y="77"/>
                            <a:pt x="84" y="9"/>
                          </a:cubicBezTo>
                          <a:close/>
                        </a:path>
                      </a:pathLst>
                    </a:custGeom>
                    <a:solidFill>
                      <a:srgbClr val="0078D7"/>
                    </a:solidFill>
                    <a:ln>
                      <a:noFill/>
                    </a:ln>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IN" dirty="0"/>
                    </a:p>
                  </p:txBody>
                </p:sp>
                <p:sp>
                  <p:nvSpPr>
                    <p:cNvPr id="258" name="Freeform 257"/>
                    <p:cNvSpPr>
                      <a:spLocks/>
                    </p:cNvSpPr>
                    <p:nvPr/>
                  </p:nvSpPr>
                  <p:spPr bwMode="auto">
                    <a:xfrm>
                      <a:off x="-329339" y="3929644"/>
                      <a:ext cx="380851" cy="976132"/>
                    </a:xfrm>
                    <a:custGeom>
                      <a:avLst/>
                      <a:gdLst>
                        <a:gd name="T0" fmla="*/ 0 w 85"/>
                        <a:gd name="T1" fmla="*/ 9 h 218"/>
                        <a:gd name="T2" fmla="*/ 34 w 85"/>
                        <a:gd name="T3" fmla="*/ 0 h 218"/>
                        <a:gd name="T4" fmla="*/ 85 w 85"/>
                        <a:gd name="T5" fmla="*/ 218 h 218"/>
                        <a:gd name="T6" fmla="*/ 50 w 85"/>
                        <a:gd name="T7" fmla="*/ 218 h 218"/>
                        <a:gd name="T8" fmla="*/ 0 w 85"/>
                        <a:gd name="T9" fmla="*/ 9 h 218"/>
                      </a:gdLst>
                      <a:ahLst/>
                      <a:cxnLst>
                        <a:cxn ang="0">
                          <a:pos x="T0" y="T1"/>
                        </a:cxn>
                        <a:cxn ang="0">
                          <a:pos x="T2" y="T3"/>
                        </a:cxn>
                        <a:cxn ang="0">
                          <a:pos x="T4" y="T5"/>
                        </a:cxn>
                        <a:cxn ang="0">
                          <a:pos x="T6" y="T7"/>
                        </a:cxn>
                        <a:cxn ang="0">
                          <a:pos x="T8" y="T9"/>
                        </a:cxn>
                      </a:cxnLst>
                      <a:rect l="0" t="0" r="r" b="b"/>
                      <a:pathLst>
                        <a:path w="85" h="218">
                          <a:moveTo>
                            <a:pt x="0" y="9"/>
                          </a:moveTo>
                          <a:cubicBezTo>
                            <a:pt x="12" y="6"/>
                            <a:pt x="23" y="3"/>
                            <a:pt x="34" y="0"/>
                          </a:cubicBezTo>
                          <a:cubicBezTo>
                            <a:pt x="67" y="71"/>
                            <a:pt x="77" y="141"/>
                            <a:pt x="85" y="218"/>
                          </a:cubicBezTo>
                          <a:cubicBezTo>
                            <a:pt x="50" y="218"/>
                            <a:pt x="50" y="218"/>
                            <a:pt x="50" y="218"/>
                          </a:cubicBezTo>
                          <a:cubicBezTo>
                            <a:pt x="42" y="144"/>
                            <a:pt x="32" y="77"/>
                            <a:pt x="0" y="9"/>
                          </a:cubicBezTo>
                          <a:close/>
                        </a:path>
                      </a:pathLst>
                    </a:custGeom>
                    <a:solidFill>
                      <a:srgbClr val="0078D7"/>
                    </a:solidFill>
                    <a:ln>
                      <a:noFill/>
                    </a:ln>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IN" dirty="0"/>
                    </a:p>
                  </p:txBody>
                </p:sp>
                <p:sp>
                  <p:nvSpPr>
                    <p:cNvPr id="259" name="Freeform 258"/>
                    <p:cNvSpPr>
                      <a:spLocks/>
                    </p:cNvSpPr>
                    <p:nvPr/>
                  </p:nvSpPr>
                  <p:spPr bwMode="auto">
                    <a:xfrm>
                      <a:off x="-745395" y="3897640"/>
                      <a:ext cx="569677" cy="988934"/>
                    </a:xfrm>
                    <a:custGeom>
                      <a:avLst/>
                      <a:gdLst>
                        <a:gd name="T0" fmla="*/ 123 w 178"/>
                        <a:gd name="T1" fmla="*/ 0 h 309"/>
                        <a:gd name="T2" fmla="*/ 88 w 178"/>
                        <a:gd name="T3" fmla="*/ 59 h 309"/>
                        <a:gd name="T4" fmla="*/ 54 w 178"/>
                        <a:gd name="T5" fmla="*/ 0 h 309"/>
                        <a:gd name="T6" fmla="*/ 0 w 178"/>
                        <a:gd name="T7" fmla="*/ 10 h 309"/>
                        <a:gd name="T8" fmla="*/ 3 w 178"/>
                        <a:gd name="T9" fmla="*/ 309 h 309"/>
                        <a:gd name="T10" fmla="*/ 173 w 178"/>
                        <a:gd name="T11" fmla="*/ 309 h 309"/>
                        <a:gd name="T12" fmla="*/ 178 w 178"/>
                        <a:gd name="T13" fmla="*/ 10 h 309"/>
                        <a:gd name="T14" fmla="*/ 123 w 178"/>
                        <a:gd name="T15" fmla="*/ 0 h 30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8" h="309">
                          <a:moveTo>
                            <a:pt x="123" y="0"/>
                          </a:moveTo>
                          <a:lnTo>
                            <a:pt x="88" y="59"/>
                          </a:lnTo>
                          <a:lnTo>
                            <a:pt x="54" y="0"/>
                          </a:lnTo>
                          <a:lnTo>
                            <a:pt x="0" y="10"/>
                          </a:lnTo>
                          <a:lnTo>
                            <a:pt x="3" y="309"/>
                          </a:lnTo>
                          <a:lnTo>
                            <a:pt x="173" y="309"/>
                          </a:lnTo>
                          <a:lnTo>
                            <a:pt x="178" y="10"/>
                          </a:lnTo>
                          <a:lnTo>
                            <a:pt x="123" y="0"/>
                          </a:lnTo>
                          <a:close/>
                        </a:path>
                      </a:pathLst>
                    </a:custGeom>
                    <a:solidFill>
                      <a:srgbClr val="0078D7"/>
                    </a:solidFill>
                    <a:ln>
                      <a:noFill/>
                    </a:ln>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IN" dirty="0"/>
                    </a:p>
                  </p:txBody>
                </p:sp>
                <p:sp>
                  <p:nvSpPr>
                    <p:cNvPr id="260" name="Freeform 259"/>
                    <p:cNvSpPr>
                      <a:spLocks/>
                    </p:cNvSpPr>
                    <p:nvPr/>
                  </p:nvSpPr>
                  <p:spPr bwMode="auto">
                    <a:xfrm>
                      <a:off x="-319736" y="3555192"/>
                      <a:ext cx="3199" cy="6401"/>
                    </a:xfrm>
                    <a:custGeom>
                      <a:avLst/>
                      <a:gdLst>
                        <a:gd name="T0" fmla="*/ 1 w 1"/>
                        <a:gd name="T1" fmla="*/ 1 h 1"/>
                        <a:gd name="T2" fmla="*/ 0 w 1"/>
                        <a:gd name="T3" fmla="*/ 0 h 1"/>
                        <a:gd name="T4" fmla="*/ 1 w 1"/>
                        <a:gd name="T5" fmla="*/ 1 h 1"/>
                      </a:gdLst>
                      <a:ahLst/>
                      <a:cxnLst>
                        <a:cxn ang="0">
                          <a:pos x="T0" y="T1"/>
                        </a:cxn>
                        <a:cxn ang="0">
                          <a:pos x="T2" y="T3"/>
                        </a:cxn>
                        <a:cxn ang="0">
                          <a:pos x="T4" y="T5"/>
                        </a:cxn>
                      </a:cxnLst>
                      <a:rect l="0" t="0" r="r" b="b"/>
                      <a:pathLst>
                        <a:path w="1" h="1">
                          <a:moveTo>
                            <a:pt x="1" y="1"/>
                          </a:moveTo>
                          <a:cubicBezTo>
                            <a:pt x="0" y="0"/>
                            <a:pt x="0" y="0"/>
                            <a:pt x="0" y="0"/>
                          </a:cubicBezTo>
                          <a:cubicBezTo>
                            <a:pt x="0" y="0"/>
                            <a:pt x="0" y="0"/>
                            <a:pt x="1" y="1"/>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IN" dirty="0"/>
                    </a:p>
                  </p:txBody>
                </p:sp>
                <p:sp>
                  <p:nvSpPr>
                    <p:cNvPr id="261" name="Freeform 260"/>
                    <p:cNvSpPr>
                      <a:spLocks/>
                    </p:cNvSpPr>
                    <p:nvPr/>
                  </p:nvSpPr>
                  <p:spPr bwMode="auto">
                    <a:xfrm>
                      <a:off x="-319736" y="3551993"/>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IN" dirty="0"/>
                    </a:p>
                  </p:txBody>
                </p:sp>
                <p:sp>
                  <p:nvSpPr>
                    <p:cNvPr id="262" name="Freeform 261"/>
                    <p:cNvSpPr>
                      <a:spLocks/>
                    </p:cNvSpPr>
                    <p:nvPr/>
                  </p:nvSpPr>
                  <p:spPr bwMode="auto">
                    <a:xfrm>
                      <a:off x="-329339" y="3539191"/>
                      <a:ext cx="3199" cy="0"/>
                    </a:xfrm>
                    <a:custGeom>
                      <a:avLst/>
                      <a:gdLst>
                        <a:gd name="T0" fmla="*/ 1 w 1"/>
                        <a:gd name="T1" fmla="*/ 0 w 1"/>
                        <a:gd name="T2" fmla="*/ 1 w 1"/>
                      </a:gdLst>
                      <a:ahLst/>
                      <a:cxnLst>
                        <a:cxn ang="0">
                          <a:pos x="T0" y="0"/>
                        </a:cxn>
                        <a:cxn ang="0">
                          <a:pos x="T1" y="0"/>
                        </a:cxn>
                        <a:cxn ang="0">
                          <a:pos x="T2" y="0"/>
                        </a:cxn>
                      </a:cxnLst>
                      <a:rect l="0" t="0" r="r" b="b"/>
                      <a:pathLst>
                        <a:path w="1">
                          <a:moveTo>
                            <a:pt x="1" y="0"/>
                          </a:moveTo>
                          <a:cubicBezTo>
                            <a:pt x="1" y="0"/>
                            <a:pt x="1" y="0"/>
                            <a:pt x="0" y="0"/>
                          </a:cubicBezTo>
                          <a:cubicBezTo>
                            <a:pt x="1" y="0"/>
                            <a:pt x="1" y="0"/>
                            <a:pt x="1"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IN" dirty="0"/>
                    </a:p>
                  </p:txBody>
                </p:sp>
                <p:sp>
                  <p:nvSpPr>
                    <p:cNvPr id="263" name="Freeform 262"/>
                    <p:cNvSpPr>
                      <a:spLocks/>
                    </p:cNvSpPr>
                    <p:nvPr/>
                  </p:nvSpPr>
                  <p:spPr bwMode="auto">
                    <a:xfrm>
                      <a:off x="-326137" y="3542390"/>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IN" dirty="0"/>
                    </a:p>
                  </p:txBody>
                </p:sp>
                <p:sp>
                  <p:nvSpPr>
                    <p:cNvPr id="264" name="Freeform 263"/>
                    <p:cNvSpPr>
                      <a:spLocks/>
                    </p:cNvSpPr>
                    <p:nvPr/>
                  </p:nvSpPr>
                  <p:spPr bwMode="auto">
                    <a:xfrm>
                      <a:off x="-607775" y="3539191"/>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IN" dirty="0"/>
                    </a:p>
                  </p:txBody>
                </p:sp>
                <p:sp>
                  <p:nvSpPr>
                    <p:cNvPr id="265" name="Freeform 264"/>
                    <p:cNvSpPr>
                      <a:spLocks/>
                    </p:cNvSpPr>
                    <p:nvPr/>
                  </p:nvSpPr>
                  <p:spPr bwMode="auto">
                    <a:xfrm>
                      <a:off x="-316537" y="3561593"/>
                      <a:ext cx="0" cy="3199"/>
                    </a:xfrm>
                    <a:custGeom>
                      <a:avLst/>
                      <a:gdLst>
                        <a:gd name="T0" fmla="*/ 1 h 1"/>
                        <a:gd name="T1" fmla="*/ 0 h 1"/>
                        <a:gd name="T2" fmla="*/ 1 h 1"/>
                      </a:gdLst>
                      <a:ahLst/>
                      <a:cxnLst>
                        <a:cxn ang="0">
                          <a:pos x="0" y="T0"/>
                        </a:cxn>
                        <a:cxn ang="0">
                          <a:pos x="0" y="T1"/>
                        </a:cxn>
                        <a:cxn ang="0">
                          <a:pos x="0" y="T2"/>
                        </a:cxn>
                      </a:cxnLst>
                      <a:rect l="0" t="0" r="r" b="b"/>
                      <a:pathLst>
                        <a:path h="1">
                          <a:moveTo>
                            <a:pt x="0" y="1"/>
                          </a:moveTo>
                          <a:cubicBezTo>
                            <a:pt x="0" y="1"/>
                            <a:pt x="0" y="0"/>
                            <a:pt x="0" y="0"/>
                          </a:cubicBezTo>
                          <a:cubicBezTo>
                            <a:pt x="0" y="0"/>
                            <a:pt x="0" y="1"/>
                            <a:pt x="0" y="1"/>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IN" dirty="0"/>
                    </a:p>
                  </p:txBody>
                </p:sp>
                <p:sp>
                  <p:nvSpPr>
                    <p:cNvPr id="266" name="Freeform 265"/>
                    <p:cNvSpPr>
                      <a:spLocks/>
                    </p:cNvSpPr>
                    <p:nvPr/>
                  </p:nvSpPr>
                  <p:spPr bwMode="auto">
                    <a:xfrm>
                      <a:off x="-316537" y="3567994"/>
                      <a:ext cx="0" cy="6401"/>
                    </a:xfrm>
                    <a:custGeom>
                      <a:avLst/>
                      <a:gdLst>
                        <a:gd name="T0" fmla="*/ 1 h 1"/>
                        <a:gd name="T1" fmla="*/ 0 h 1"/>
                        <a:gd name="T2" fmla="*/ 1 h 1"/>
                      </a:gdLst>
                      <a:ahLst/>
                      <a:cxnLst>
                        <a:cxn ang="0">
                          <a:pos x="0" y="T0"/>
                        </a:cxn>
                        <a:cxn ang="0">
                          <a:pos x="0" y="T1"/>
                        </a:cxn>
                        <a:cxn ang="0">
                          <a:pos x="0" y="T2"/>
                        </a:cxn>
                      </a:cxnLst>
                      <a:rect l="0" t="0" r="r" b="b"/>
                      <a:pathLst>
                        <a:path h="1">
                          <a:moveTo>
                            <a:pt x="0" y="1"/>
                          </a:moveTo>
                          <a:cubicBezTo>
                            <a:pt x="0" y="1"/>
                            <a:pt x="0" y="0"/>
                            <a:pt x="0" y="0"/>
                          </a:cubicBezTo>
                          <a:cubicBezTo>
                            <a:pt x="0" y="0"/>
                            <a:pt x="0" y="1"/>
                            <a:pt x="0" y="1"/>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IN" dirty="0"/>
                    </a:p>
                  </p:txBody>
                </p:sp>
                <p:sp>
                  <p:nvSpPr>
                    <p:cNvPr id="267" name="Rectangle 266"/>
                    <p:cNvSpPr>
                      <a:spLocks noChangeArrowheads="1"/>
                    </p:cNvSpPr>
                    <p:nvPr/>
                  </p:nvSpPr>
                  <p:spPr bwMode="auto">
                    <a:xfrm>
                      <a:off x="-329339" y="3532790"/>
                      <a:ext cx="3199" cy="3199"/>
                    </a:xfrm>
                    <a:prstGeom prst="rect">
                      <a:avLst/>
                    </a:prstGeom>
                    <a:solidFill>
                      <a:srgbClr val="FFD60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IN" dirty="0"/>
                    </a:p>
                  </p:txBody>
                </p:sp>
                <p:sp>
                  <p:nvSpPr>
                    <p:cNvPr id="268" name="Freeform 267"/>
                    <p:cNvSpPr>
                      <a:spLocks/>
                    </p:cNvSpPr>
                    <p:nvPr/>
                  </p:nvSpPr>
                  <p:spPr bwMode="auto">
                    <a:xfrm>
                      <a:off x="-617378" y="3564794"/>
                      <a:ext cx="6401" cy="0"/>
                    </a:xfrm>
                    <a:custGeom>
                      <a:avLst/>
                      <a:gdLst>
                        <a:gd name="T0" fmla="*/ 1 w 1"/>
                        <a:gd name="T1" fmla="*/ 0 w 1"/>
                        <a:gd name="T2" fmla="*/ 1 w 1"/>
                      </a:gdLst>
                      <a:ahLst/>
                      <a:cxnLst>
                        <a:cxn ang="0">
                          <a:pos x="T0" y="0"/>
                        </a:cxn>
                        <a:cxn ang="0">
                          <a:pos x="T1" y="0"/>
                        </a:cxn>
                        <a:cxn ang="0">
                          <a:pos x="T2" y="0"/>
                        </a:cxn>
                      </a:cxnLst>
                      <a:rect l="0" t="0" r="r" b="b"/>
                      <a:pathLst>
                        <a:path w="1">
                          <a:moveTo>
                            <a:pt x="1" y="0"/>
                          </a:moveTo>
                          <a:cubicBezTo>
                            <a:pt x="0" y="0"/>
                            <a:pt x="0" y="0"/>
                            <a:pt x="0" y="0"/>
                          </a:cubicBezTo>
                          <a:cubicBezTo>
                            <a:pt x="0" y="0"/>
                            <a:pt x="0" y="0"/>
                            <a:pt x="1"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IN" dirty="0"/>
                    </a:p>
                  </p:txBody>
                </p:sp>
                <p:sp>
                  <p:nvSpPr>
                    <p:cNvPr id="269" name="Freeform 268"/>
                    <p:cNvSpPr>
                      <a:spLocks/>
                    </p:cNvSpPr>
                    <p:nvPr/>
                  </p:nvSpPr>
                  <p:spPr bwMode="auto">
                    <a:xfrm>
                      <a:off x="-610977" y="3551993"/>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IN" dirty="0"/>
                    </a:p>
                  </p:txBody>
                </p:sp>
                <p:sp>
                  <p:nvSpPr>
                    <p:cNvPr id="270" name="Freeform 269"/>
                    <p:cNvSpPr>
                      <a:spLocks/>
                    </p:cNvSpPr>
                    <p:nvPr/>
                  </p:nvSpPr>
                  <p:spPr bwMode="auto">
                    <a:xfrm>
                      <a:off x="-607775" y="3545592"/>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IN" dirty="0"/>
                    </a:p>
                  </p:txBody>
                </p:sp>
                <p:sp>
                  <p:nvSpPr>
                    <p:cNvPr id="271" name="Freeform 270"/>
                    <p:cNvSpPr>
                      <a:spLocks/>
                    </p:cNvSpPr>
                    <p:nvPr/>
                  </p:nvSpPr>
                  <p:spPr bwMode="auto">
                    <a:xfrm>
                      <a:off x="-610977" y="3555192"/>
                      <a:ext cx="0" cy="6401"/>
                    </a:xfrm>
                    <a:custGeom>
                      <a:avLst/>
                      <a:gdLst>
                        <a:gd name="T0" fmla="*/ 0 h 1"/>
                        <a:gd name="T1" fmla="*/ 1 h 1"/>
                        <a:gd name="T2" fmla="*/ 0 h 1"/>
                      </a:gdLst>
                      <a:ahLst/>
                      <a:cxnLst>
                        <a:cxn ang="0">
                          <a:pos x="0" y="T0"/>
                        </a:cxn>
                        <a:cxn ang="0">
                          <a:pos x="0" y="T1"/>
                        </a:cxn>
                        <a:cxn ang="0">
                          <a:pos x="0" y="T2"/>
                        </a:cxn>
                      </a:cxnLst>
                      <a:rect l="0" t="0" r="r" b="b"/>
                      <a:pathLst>
                        <a:path h="1">
                          <a:moveTo>
                            <a:pt x="0" y="0"/>
                          </a:moveTo>
                          <a:cubicBezTo>
                            <a:pt x="0" y="1"/>
                            <a:pt x="0" y="1"/>
                            <a:pt x="0" y="1"/>
                          </a:cubicBezTo>
                          <a:cubicBezTo>
                            <a:pt x="0" y="1"/>
                            <a:pt x="0" y="1"/>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IN" dirty="0"/>
                    </a:p>
                  </p:txBody>
                </p:sp>
                <p:sp>
                  <p:nvSpPr>
                    <p:cNvPr id="272" name="Freeform 271"/>
                    <p:cNvSpPr>
                      <a:spLocks/>
                    </p:cNvSpPr>
                    <p:nvPr/>
                  </p:nvSpPr>
                  <p:spPr bwMode="auto">
                    <a:xfrm>
                      <a:off x="-639780" y="3519988"/>
                      <a:ext cx="352048" cy="313643"/>
                    </a:xfrm>
                    <a:custGeom>
                      <a:avLst/>
                      <a:gdLst>
                        <a:gd name="T0" fmla="*/ 74 w 78"/>
                        <a:gd name="T1" fmla="*/ 17 h 70"/>
                        <a:gd name="T2" fmla="*/ 72 w 78"/>
                        <a:gd name="T3" fmla="*/ 17 h 70"/>
                        <a:gd name="T4" fmla="*/ 72 w 78"/>
                        <a:gd name="T5" fmla="*/ 12 h 70"/>
                        <a:gd name="T6" fmla="*/ 72 w 78"/>
                        <a:gd name="T7" fmla="*/ 11 h 70"/>
                        <a:gd name="T8" fmla="*/ 72 w 78"/>
                        <a:gd name="T9" fmla="*/ 10 h 70"/>
                        <a:gd name="T10" fmla="*/ 72 w 78"/>
                        <a:gd name="T11" fmla="*/ 9 h 70"/>
                        <a:gd name="T12" fmla="*/ 72 w 78"/>
                        <a:gd name="T13" fmla="*/ 9 h 70"/>
                        <a:gd name="T14" fmla="*/ 71 w 78"/>
                        <a:gd name="T15" fmla="*/ 8 h 70"/>
                        <a:gd name="T16" fmla="*/ 71 w 78"/>
                        <a:gd name="T17" fmla="*/ 7 h 70"/>
                        <a:gd name="T18" fmla="*/ 71 w 78"/>
                        <a:gd name="T19" fmla="*/ 7 h 70"/>
                        <a:gd name="T20" fmla="*/ 70 w 78"/>
                        <a:gd name="T21" fmla="*/ 5 h 70"/>
                        <a:gd name="T22" fmla="*/ 70 w 78"/>
                        <a:gd name="T23" fmla="*/ 5 h 70"/>
                        <a:gd name="T24" fmla="*/ 70 w 78"/>
                        <a:gd name="T25" fmla="*/ 4 h 70"/>
                        <a:gd name="T26" fmla="*/ 69 w 78"/>
                        <a:gd name="T27" fmla="*/ 4 h 70"/>
                        <a:gd name="T28" fmla="*/ 69 w 78"/>
                        <a:gd name="T29" fmla="*/ 3 h 70"/>
                        <a:gd name="T30" fmla="*/ 69 w 78"/>
                        <a:gd name="T31" fmla="*/ 3 h 70"/>
                        <a:gd name="T32" fmla="*/ 63 w 78"/>
                        <a:gd name="T33" fmla="*/ 3 h 70"/>
                        <a:gd name="T34" fmla="*/ 52 w 78"/>
                        <a:gd name="T35" fmla="*/ 1 h 70"/>
                        <a:gd name="T36" fmla="*/ 32 w 78"/>
                        <a:gd name="T37" fmla="*/ 3 h 70"/>
                        <a:gd name="T38" fmla="*/ 10 w 78"/>
                        <a:gd name="T39" fmla="*/ 0 h 70"/>
                        <a:gd name="T40" fmla="*/ 7 w 78"/>
                        <a:gd name="T41" fmla="*/ 4 h 70"/>
                        <a:gd name="T42" fmla="*/ 7 w 78"/>
                        <a:gd name="T43" fmla="*/ 4 h 70"/>
                        <a:gd name="T44" fmla="*/ 7 w 78"/>
                        <a:gd name="T45" fmla="*/ 6 h 70"/>
                        <a:gd name="T46" fmla="*/ 7 w 78"/>
                        <a:gd name="T47" fmla="*/ 6 h 70"/>
                        <a:gd name="T48" fmla="*/ 6 w 78"/>
                        <a:gd name="T49" fmla="*/ 7 h 70"/>
                        <a:gd name="T50" fmla="*/ 6 w 78"/>
                        <a:gd name="T51" fmla="*/ 7 h 70"/>
                        <a:gd name="T52" fmla="*/ 6 w 78"/>
                        <a:gd name="T53" fmla="*/ 8 h 70"/>
                        <a:gd name="T54" fmla="*/ 6 w 78"/>
                        <a:gd name="T55" fmla="*/ 9 h 70"/>
                        <a:gd name="T56" fmla="*/ 6 w 78"/>
                        <a:gd name="T57" fmla="*/ 10 h 70"/>
                        <a:gd name="T58" fmla="*/ 5 w 78"/>
                        <a:gd name="T59" fmla="*/ 10 h 70"/>
                        <a:gd name="T60" fmla="*/ 5 w 78"/>
                        <a:gd name="T61" fmla="*/ 12 h 70"/>
                        <a:gd name="T62" fmla="*/ 5 w 78"/>
                        <a:gd name="T63" fmla="*/ 17 h 70"/>
                        <a:gd name="T64" fmla="*/ 4 w 78"/>
                        <a:gd name="T65" fmla="*/ 17 h 70"/>
                        <a:gd name="T66" fmla="*/ 0 w 78"/>
                        <a:gd name="T67" fmla="*/ 23 h 70"/>
                        <a:gd name="T68" fmla="*/ 0 w 78"/>
                        <a:gd name="T69" fmla="*/ 35 h 70"/>
                        <a:gd name="T70" fmla="*/ 5 w 78"/>
                        <a:gd name="T71" fmla="*/ 40 h 70"/>
                        <a:gd name="T72" fmla="*/ 24 w 78"/>
                        <a:gd name="T73" fmla="*/ 70 h 70"/>
                        <a:gd name="T74" fmla="*/ 53 w 78"/>
                        <a:gd name="T75" fmla="*/ 70 h 70"/>
                        <a:gd name="T76" fmla="*/ 72 w 78"/>
                        <a:gd name="T77" fmla="*/ 40 h 70"/>
                        <a:gd name="T78" fmla="*/ 78 w 78"/>
                        <a:gd name="T79" fmla="*/ 35 h 70"/>
                        <a:gd name="T80" fmla="*/ 78 w 78"/>
                        <a:gd name="T81" fmla="*/ 23 h 70"/>
                        <a:gd name="T82" fmla="*/ 74 w 78"/>
                        <a:gd name="T83" fmla="*/ 17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78" h="70">
                          <a:moveTo>
                            <a:pt x="74" y="17"/>
                          </a:moveTo>
                          <a:cubicBezTo>
                            <a:pt x="73" y="17"/>
                            <a:pt x="73" y="17"/>
                            <a:pt x="72" y="17"/>
                          </a:cubicBezTo>
                          <a:cubicBezTo>
                            <a:pt x="72" y="12"/>
                            <a:pt x="72" y="12"/>
                            <a:pt x="72" y="12"/>
                          </a:cubicBezTo>
                          <a:cubicBezTo>
                            <a:pt x="72" y="12"/>
                            <a:pt x="72" y="11"/>
                            <a:pt x="72" y="11"/>
                          </a:cubicBezTo>
                          <a:cubicBezTo>
                            <a:pt x="72" y="10"/>
                            <a:pt x="72" y="10"/>
                            <a:pt x="72" y="10"/>
                          </a:cubicBezTo>
                          <a:cubicBezTo>
                            <a:pt x="72" y="10"/>
                            <a:pt x="72" y="9"/>
                            <a:pt x="72" y="9"/>
                          </a:cubicBezTo>
                          <a:cubicBezTo>
                            <a:pt x="72" y="9"/>
                            <a:pt x="72" y="9"/>
                            <a:pt x="72" y="9"/>
                          </a:cubicBezTo>
                          <a:cubicBezTo>
                            <a:pt x="71" y="8"/>
                            <a:pt x="71" y="8"/>
                            <a:pt x="71" y="8"/>
                          </a:cubicBezTo>
                          <a:cubicBezTo>
                            <a:pt x="71" y="8"/>
                            <a:pt x="71" y="7"/>
                            <a:pt x="71" y="7"/>
                          </a:cubicBezTo>
                          <a:cubicBezTo>
                            <a:pt x="71" y="7"/>
                            <a:pt x="71" y="7"/>
                            <a:pt x="71" y="7"/>
                          </a:cubicBezTo>
                          <a:cubicBezTo>
                            <a:pt x="71" y="6"/>
                            <a:pt x="71" y="6"/>
                            <a:pt x="70" y="5"/>
                          </a:cubicBezTo>
                          <a:cubicBezTo>
                            <a:pt x="70" y="5"/>
                            <a:pt x="70" y="5"/>
                            <a:pt x="70" y="5"/>
                          </a:cubicBezTo>
                          <a:cubicBezTo>
                            <a:pt x="70" y="4"/>
                            <a:pt x="70" y="4"/>
                            <a:pt x="70" y="4"/>
                          </a:cubicBezTo>
                          <a:cubicBezTo>
                            <a:pt x="70" y="4"/>
                            <a:pt x="70" y="4"/>
                            <a:pt x="69" y="4"/>
                          </a:cubicBezTo>
                          <a:cubicBezTo>
                            <a:pt x="69" y="3"/>
                            <a:pt x="69" y="3"/>
                            <a:pt x="69" y="3"/>
                          </a:cubicBezTo>
                          <a:cubicBezTo>
                            <a:pt x="69" y="3"/>
                            <a:pt x="69" y="3"/>
                            <a:pt x="69" y="3"/>
                          </a:cubicBezTo>
                          <a:cubicBezTo>
                            <a:pt x="67" y="3"/>
                            <a:pt x="65" y="3"/>
                            <a:pt x="63" y="3"/>
                          </a:cubicBezTo>
                          <a:cubicBezTo>
                            <a:pt x="58" y="3"/>
                            <a:pt x="54" y="2"/>
                            <a:pt x="52" y="1"/>
                          </a:cubicBezTo>
                          <a:cubicBezTo>
                            <a:pt x="47" y="2"/>
                            <a:pt x="40" y="3"/>
                            <a:pt x="32" y="3"/>
                          </a:cubicBezTo>
                          <a:cubicBezTo>
                            <a:pt x="23" y="3"/>
                            <a:pt x="15" y="2"/>
                            <a:pt x="10" y="0"/>
                          </a:cubicBezTo>
                          <a:cubicBezTo>
                            <a:pt x="9" y="2"/>
                            <a:pt x="8" y="3"/>
                            <a:pt x="7" y="4"/>
                          </a:cubicBezTo>
                          <a:cubicBezTo>
                            <a:pt x="7" y="4"/>
                            <a:pt x="7" y="4"/>
                            <a:pt x="7" y="4"/>
                          </a:cubicBezTo>
                          <a:cubicBezTo>
                            <a:pt x="7" y="5"/>
                            <a:pt x="7" y="5"/>
                            <a:pt x="7" y="6"/>
                          </a:cubicBezTo>
                          <a:cubicBezTo>
                            <a:pt x="7" y="6"/>
                            <a:pt x="7" y="6"/>
                            <a:pt x="7" y="6"/>
                          </a:cubicBezTo>
                          <a:cubicBezTo>
                            <a:pt x="7" y="6"/>
                            <a:pt x="6" y="7"/>
                            <a:pt x="6" y="7"/>
                          </a:cubicBezTo>
                          <a:cubicBezTo>
                            <a:pt x="6" y="7"/>
                            <a:pt x="6" y="7"/>
                            <a:pt x="6" y="7"/>
                          </a:cubicBezTo>
                          <a:cubicBezTo>
                            <a:pt x="6" y="8"/>
                            <a:pt x="6" y="8"/>
                            <a:pt x="6" y="8"/>
                          </a:cubicBezTo>
                          <a:cubicBezTo>
                            <a:pt x="6" y="9"/>
                            <a:pt x="6" y="9"/>
                            <a:pt x="6" y="9"/>
                          </a:cubicBezTo>
                          <a:cubicBezTo>
                            <a:pt x="6" y="9"/>
                            <a:pt x="6" y="10"/>
                            <a:pt x="6" y="10"/>
                          </a:cubicBezTo>
                          <a:cubicBezTo>
                            <a:pt x="5" y="10"/>
                            <a:pt x="5" y="10"/>
                            <a:pt x="5" y="10"/>
                          </a:cubicBezTo>
                          <a:cubicBezTo>
                            <a:pt x="5" y="11"/>
                            <a:pt x="5" y="12"/>
                            <a:pt x="5" y="12"/>
                          </a:cubicBezTo>
                          <a:cubicBezTo>
                            <a:pt x="5" y="17"/>
                            <a:pt x="5" y="17"/>
                            <a:pt x="5" y="17"/>
                          </a:cubicBezTo>
                          <a:cubicBezTo>
                            <a:pt x="5" y="17"/>
                            <a:pt x="5" y="17"/>
                            <a:pt x="4" y="17"/>
                          </a:cubicBezTo>
                          <a:cubicBezTo>
                            <a:pt x="2" y="17"/>
                            <a:pt x="0" y="20"/>
                            <a:pt x="0" y="23"/>
                          </a:cubicBezTo>
                          <a:cubicBezTo>
                            <a:pt x="0" y="35"/>
                            <a:pt x="0" y="35"/>
                            <a:pt x="0" y="35"/>
                          </a:cubicBezTo>
                          <a:cubicBezTo>
                            <a:pt x="0" y="38"/>
                            <a:pt x="2" y="40"/>
                            <a:pt x="5" y="40"/>
                          </a:cubicBezTo>
                          <a:cubicBezTo>
                            <a:pt x="5" y="40"/>
                            <a:pt x="15" y="70"/>
                            <a:pt x="24" y="70"/>
                          </a:cubicBezTo>
                          <a:cubicBezTo>
                            <a:pt x="53" y="70"/>
                            <a:pt x="53" y="70"/>
                            <a:pt x="53" y="70"/>
                          </a:cubicBezTo>
                          <a:cubicBezTo>
                            <a:pt x="62" y="70"/>
                            <a:pt x="72" y="40"/>
                            <a:pt x="72" y="40"/>
                          </a:cubicBezTo>
                          <a:cubicBezTo>
                            <a:pt x="75" y="40"/>
                            <a:pt x="78" y="38"/>
                            <a:pt x="78" y="35"/>
                          </a:cubicBezTo>
                          <a:cubicBezTo>
                            <a:pt x="78" y="23"/>
                            <a:pt x="78" y="23"/>
                            <a:pt x="78" y="23"/>
                          </a:cubicBezTo>
                          <a:cubicBezTo>
                            <a:pt x="78" y="20"/>
                            <a:pt x="76" y="18"/>
                            <a:pt x="74" y="17"/>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IN" dirty="0"/>
                    </a:p>
                  </p:txBody>
                </p:sp>
                <p:sp>
                  <p:nvSpPr>
                    <p:cNvPr id="273" name="Oval 272"/>
                    <p:cNvSpPr>
                      <a:spLocks noChangeArrowheads="1"/>
                    </p:cNvSpPr>
                    <p:nvPr/>
                  </p:nvSpPr>
                  <p:spPr bwMode="auto">
                    <a:xfrm>
                      <a:off x="-473357" y="3977650"/>
                      <a:ext cx="19203" cy="19203"/>
                    </a:xfrm>
                    <a:prstGeom prst="ellipse">
                      <a:avLst/>
                    </a:pr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IN" dirty="0"/>
                    </a:p>
                  </p:txBody>
                </p:sp>
                <p:sp>
                  <p:nvSpPr>
                    <p:cNvPr id="274" name="Oval 273"/>
                    <p:cNvSpPr>
                      <a:spLocks noChangeArrowheads="1"/>
                    </p:cNvSpPr>
                    <p:nvPr/>
                  </p:nvSpPr>
                  <p:spPr bwMode="auto">
                    <a:xfrm>
                      <a:off x="-473357" y="4041658"/>
                      <a:ext cx="19203" cy="12802"/>
                    </a:xfrm>
                    <a:prstGeom prst="ellipse">
                      <a:avLst/>
                    </a:pr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IN" dirty="0"/>
                    </a:p>
                  </p:txBody>
                </p:sp>
              </p:grpSp>
            </p:grpSp>
          </p:grpSp>
          <p:sp>
            <p:nvSpPr>
              <p:cNvPr id="246" name="Freeform 245"/>
              <p:cNvSpPr/>
              <p:nvPr/>
            </p:nvSpPr>
            <p:spPr bwMode="auto">
              <a:xfrm>
                <a:off x="9288824" y="2961656"/>
                <a:ext cx="394746" cy="100993"/>
              </a:xfrm>
              <a:custGeom>
                <a:avLst/>
                <a:gdLst>
                  <a:gd name="connsiteX0" fmla="*/ 0 w 394746"/>
                  <a:gd name="connsiteY0" fmla="*/ 0 h 100993"/>
                  <a:gd name="connsiteX1" fmla="*/ 394746 w 394746"/>
                  <a:gd name="connsiteY1" fmla="*/ 0 h 100993"/>
                  <a:gd name="connsiteX2" fmla="*/ 377338 w 394746"/>
                  <a:gd name="connsiteY2" fmla="*/ 25981 h 100993"/>
                  <a:gd name="connsiteX3" fmla="*/ 197373 w 394746"/>
                  <a:gd name="connsiteY3" fmla="*/ 100993 h 100993"/>
                  <a:gd name="connsiteX4" fmla="*/ 17408 w 394746"/>
                  <a:gd name="connsiteY4" fmla="*/ 25981 h 1009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4746" h="100993">
                    <a:moveTo>
                      <a:pt x="0" y="0"/>
                    </a:moveTo>
                    <a:lnTo>
                      <a:pt x="394746" y="0"/>
                    </a:lnTo>
                    <a:lnTo>
                      <a:pt x="377338" y="25981"/>
                    </a:lnTo>
                    <a:cubicBezTo>
                      <a:pt x="331281" y="72327"/>
                      <a:pt x="267654" y="100993"/>
                      <a:pt x="197373" y="100993"/>
                    </a:cubicBezTo>
                    <a:cubicBezTo>
                      <a:pt x="127093" y="100993"/>
                      <a:pt x="63465" y="72327"/>
                      <a:pt x="17408" y="25981"/>
                    </a:cubicBezTo>
                    <a:close/>
                  </a:path>
                </a:pathLst>
              </a:custGeom>
              <a:solidFill>
                <a:schemeClr val="bg1"/>
              </a:solid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grpSp>
      <p:sp>
        <p:nvSpPr>
          <p:cNvPr id="2" name="Slide Number Placeholder 1"/>
          <p:cNvSpPr>
            <a:spLocks noGrp="1"/>
          </p:cNvSpPr>
          <p:nvPr>
            <p:ph type="sldNum" sz="quarter" idx="4"/>
          </p:nvPr>
        </p:nvSpPr>
        <p:spPr/>
        <p:txBody>
          <a:bodyPr/>
          <a:lstStyle/>
          <a:p>
            <a:pPr>
              <a:defRPr/>
            </a:pPr>
            <a:fld id="{75FAD755-3BD0-2447-A9DF-109DAABEFD99}" type="slidenum">
              <a:rPr lang="en-US" smtClean="0"/>
              <a:pPr>
                <a:defRPr/>
              </a:pPr>
              <a:t>40</a:t>
            </a:fld>
            <a:endParaRPr lang="en-US" dirty="0"/>
          </a:p>
        </p:txBody>
      </p:sp>
    </p:spTree>
    <p:extLst>
      <p:ext uri="{BB962C8B-B14F-4D97-AF65-F5344CB8AC3E}">
        <p14:creationId xmlns:p14="http://schemas.microsoft.com/office/powerpoint/2010/main" val="1691744683"/>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31"/>
                                        </p:tgtEl>
                                        <p:attrNameLst>
                                          <p:attrName>style.visibility</p:attrName>
                                        </p:attrNameLst>
                                      </p:cBhvr>
                                      <p:to>
                                        <p:strVal val="visible"/>
                                      </p:to>
                                    </p:set>
                                    <p:animEffect transition="in" filter="fade">
                                      <p:cBhvr>
                                        <p:cTn id="7" dur="500"/>
                                        <p:tgtEl>
                                          <p:spTgt spid="31"/>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34"/>
                                        </p:tgtEl>
                                        <p:attrNameLst>
                                          <p:attrName>style.visibility</p:attrName>
                                        </p:attrNameLst>
                                      </p:cBhvr>
                                      <p:to>
                                        <p:strVal val="visible"/>
                                      </p:to>
                                    </p:set>
                                    <p:animEffect transition="in" filter="fade">
                                      <p:cBhvr>
                                        <p:cTn id="11" dur="500"/>
                                        <p:tgtEl>
                                          <p:spTgt spid="34"/>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4"/>
                                        </p:tgtEl>
                                        <p:attrNameLst>
                                          <p:attrName>style.visibility</p:attrName>
                                        </p:attrNameLst>
                                      </p:cBhvr>
                                      <p:to>
                                        <p:strVal val="visible"/>
                                      </p:to>
                                    </p:set>
                                    <p:animEffect transition="in" filter="fade">
                                      <p:cBhvr>
                                        <p:cTn id="15" dur="500"/>
                                        <p:tgtEl>
                                          <p:spTgt spid="4"/>
                                        </p:tgtEl>
                                      </p:cBhvr>
                                    </p:animEffect>
                                  </p:childTnLst>
                                </p:cTn>
                              </p:par>
                            </p:childTnLst>
                          </p:cTn>
                        </p:par>
                        <p:par>
                          <p:cTn id="16" fill="hold">
                            <p:stCondLst>
                              <p:cond delay="1500"/>
                            </p:stCondLst>
                            <p:childTnLst>
                              <p:par>
                                <p:cTn id="17" presetID="10" presetClass="entr" presetSubtype="0" fill="hold" nodeType="afterEffect">
                                  <p:stCondLst>
                                    <p:cond delay="0"/>
                                  </p:stCondLst>
                                  <p:childTnLst>
                                    <p:set>
                                      <p:cBhvr>
                                        <p:cTn id="18" dur="1" fill="hold">
                                          <p:stCondLst>
                                            <p:cond delay="0"/>
                                          </p:stCondLst>
                                        </p:cTn>
                                        <p:tgtEl>
                                          <p:spTgt spid="33"/>
                                        </p:tgtEl>
                                        <p:attrNameLst>
                                          <p:attrName>style.visibility</p:attrName>
                                        </p:attrNameLst>
                                      </p:cBhvr>
                                      <p:to>
                                        <p:strVal val="visible"/>
                                      </p:to>
                                    </p:set>
                                    <p:animEffect transition="in" filter="fade">
                                      <p:cBhvr>
                                        <p:cTn id="19" dur="500"/>
                                        <p:tgtEl>
                                          <p:spTgt spid="3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4" grpId="0" animBg="1"/>
    </p:bld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8415" name="think-cell Slide" r:id="rId5" imgW="377" imgH="377" progId="TCLayout.ActiveDocument.1">
                  <p:embed/>
                </p:oleObj>
              </mc:Choice>
              <mc:Fallback>
                <p:oleObj name="think-cell Slide" r:id="rId5" imgW="377" imgH="377"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6" name="Rectangle 5"/>
          <p:cNvSpPr/>
          <p:nvPr/>
        </p:nvSpPr>
        <p:spPr bwMode="auto">
          <a:xfrm>
            <a:off x="4444999" y="0"/>
            <a:ext cx="7747001" cy="6857999"/>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a:solidFill>
                <a:schemeClr val="bg1"/>
              </a:solidFill>
              <a:latin typeface="+mj-lt"/>
              <a:ea typeface="Segoe UI" pitchFamily="34" charset="0"/>
              <a:cs typeface="Segoe UI" pitchFamily="34" charset="0"/>
            </a:endParaRPr>
          </a:p>
        </p:txBody>
      </p:sp>
      <p:sp>
        <p:nvSpPr>
          <p:cNvPr id="5" name="Title 4"/>
          <p:cNvSpPr>
            <a:spLocks noGrp="1"/>
          </p:cNvSpPr>
          <p:nvPr>
            <p:ph type="title"/>
          </p:nvPr>
        </p:nvSpPr>
        <p:spPr>
          <a:xfrm>
            <a:off x="434976" y="286381"/>
            <a:ext cx="4010024" cy="927940"/>
          </a:xfrm>
        </p:spPr>
        <p:txBody>
          <a:bodyPr/>
          <a:lstStyle/>
          <a:p>
            <a:r>
              <a:rPr lang="en-US" dirty="0"/>
              <a:t>Adding Users </a:t>
            </a:r>
            <a:endParaRPr lang="en-GB" dirty="0"/>
          </a:p>
        </p:txBody>
      </p:sp>
      <p:pic>
        <p:nvPicPr>
          <p:cNvPr id="4" name="Picture 3"/>
          <p:cNvPicPr>
            <a:picLocks noChangeAspect="1"/>
          </p:cNvPicPr>
          <p:nvPr/>
        </p:nvPicPr>
        <p:blipFill>
          <a:blip r:embed="rId7"/>
          <a:stretch>
            <a:fillRect/>
          </a:stretch>
        </p:blipFill>
        <p:spPr>
          <a:xfrm>
            <a:off x="4612696" y="932339"/>
            <a:ext cx="4316342" cy="3377477"/>
          </a:xfrm>
          <a:prstGeom prst="rect">
            <a:avLst/>
          </a:prstGeom>
        </p:spPr>
      </p:pic>
      <p:pic>
        <p:nvPicPr>
          <p:cNvPr id="189" name="Picture 188"/>
          <p:cNvPicPr>
            <a:picLocks noChangeAspect="1"/>
          </p:cNvPicPr>
          <p:nvPr/>
        </p:nvPicPr>
        <p:blipFill>
          <a:blip r:embed="rId8"/>
          <a:stretch>
            <a:fillRect/>
          </a:stretch>
        </p:blipFill>
        <p:spPr>
          <a:xfrm>
            <a:off x="6672082" y="1554886"/>
            <a:ext cx="5084943" cy="3748226"/>
          </a:xfrm>
          <a:prstGeom prst="rect">
            <a:avLst/>
          </a:prstGeom>
          <a:noFill/>
          <a:ln w="3175">
            <a:solidFill>
              <a:schemeClr val="bg1">
                <a:lumMod val="75000"/>
              </a:schemeClr>
            </a:solidFill>
          </a:ln>
        </p:spPr>
      </p:pic>
      <p:sp>
        <p:nvSpPr>
          <p:cNvPr id="190" name="TextBox 189"/>
          <p:cNvSpPr txBox="1"/>
          <p:nvPr/>
        </p:nvSpPr>
        <p:spPr>
          <a:xfrm>
            <a:off x="4557256" y="137595"/>
            <a:ext cx="7199770" cy="607975"/>
          </a:xfrm>
          <a:prstGeom prst="rect">
            <a:avLst/>
          </a:prstGeom>
          <a:noFill/>
        </p:spPr>
        <p:txBody>
          <a:bodyPr wrap="square" lIns="91440" tIns="45720" rIns="91440" bIns="45720" rtlCol="0" anchor="ctr">
            <a:noAutofit/>
          </a:bodyPr>
          <a:lstStyle/>
          <a:p>
            <a:pPr>
              <a:spcAft>
                <a:spcPts val="600"/>
              </a:spcAft>
            </a:pPr>
            <a:r>
              <a:rPr lang="en-US" sz="2400" dirty="0">
                <a:solidFill>
                  <a:schemeClr val="accent2"/>
                </a:solidFill>
                <a:latin typeface="Segoe UI Light" panose="020B0502040204020203" pitchFamily="34" charset="0"/>
                <a:cs typeface="Segoe UI Light" panose="020B0502040204020203" pitchFamily="34" charset="0"/>
              </a:rPr>
              <a:t>A new user can be added in the role of Owner, Contributor, Reader or User Access Administrator</a:t>
            </a:r>
          </a:p>
        </p:txBody>
      </p:sp>
      <p:sp>
        <p:nvSpPr>
          <p:cNvPr id="191" name="TextBox 190"/>
          <p:cNvSpPr txBox="1"/>
          <p:nvPr/>
        </p:nvSpPr>
        <p:spPr>
          <a:xfrm>
            <a:off x="4546031" y="4220250"/>
            <a:ext cx="2097475" cy="2075775"/>
          </a:xfrm>
          <a:prstGeom prst="rect">
            <a:avLst/>
          </a:prstGeom>
          <a:noFill/>
        </p:spPr>
        <p:txBody>
          <a:bodyPr wrap="square" lIns="91440" tIns="45720" rIns="91440" bIns="45720" rtlCol="0" anchor="ctr">
            <a:noAutofit/>
          </a:bodyPr>
          <a:lstStyle/>
          <a:p>
            <a:pPr>
              <a:spcBef>
                <a:spcPts val="300"/>
              </a:spcBef>
            </a:pPr>
            <a:r>
              <a:rPr lang="en-US" sz="1600" dirty="0"/>
              <a:t>Owner – Lets you manage everything, including access to resources</a:t>
            </a:r>
          </a:p>
          <a:p>
            <a:pPr>
              <a:spcBef>
                <a:spcPts val="300"/>
              </a:spcBef>
            </a:pPr>
            <a:r>
              <a:rPr lang="en-US" sz="1600" dirty="0"/>
              <a:t>Contributor – Lets you manage everything, except access to resources</a:t>
            </a:r>
          </a:p>
        </p:txBody>
      </p:sp>
      <p:sp>
        <p:nvSpPr>
          <p:cNvPr id="192" name="TextBox 191"/>
          <p:cNvSpPr txBox="1"/>
          <p:nvPr/>
        </p:nvSpPr>
        <p:spPr>
          <a:xfrm>
            <a:off x="6672081" y="5351669"/>
            <a:ext cx="5084943" cy="1117394"/>
          </a:xfrm>
          <a:prstGeom prst="rect">
            <a:avLst/>
          </a:prstGeom>
          <a:noFill/>
        </p:spPr>
        <p:txBody>
          <a:bodyPr wrap="square" lIns="91440" tIns="45720" rIns="91440" bIns="45720" rtlCol="0" anchor="t">
            <a:noAutofit/>
          </a:bodyPr>
          <a:lstStyle/>
          <a:p>
            <a:pPr>
              <a:spcBef>
                <a:spcPts val="300"/>
              </a:spcBef>
            </a:pPr>
            <a:r>
              <a:rPr lang="en-US" sz="1600" dirty="0"/>
              <a:t>Reader – Lets you view everything, but not make changes</a:t>
            </a:r>
          </a:p>
          <a:p>
            <a:pPr>
              <a:spcBef>
                <a:spcPts val="300"/>
              </a:spcBef>
            </a:pPr>
            <a:r>
              <a:rPr lang="en-US" sz="1600" dirty="0"/>
              <a:t>User Access Administrator – Lets you manage user access to Azure resources</a:t>
            </a:r>
          </a:p>
        </p:txBody>
      </p:sp>
      <p:grpSp>
        <p:nvGrpSpPr>
          <p:cNvPr id="232" name="Group 231"/>
          <p:cNvGrpSpPr/>
          <p:nvPr/>
        </p:nvGrpSpPr>
        <p:grpSpPr>
          <a:xfrm>
            <a:off x="1250604" y="3106346"/>
            <a:ext cx="3146769" cy="3753436"/>
            <a:chOff x="2582863" y="5387975"/>
            <a:chExt cx="1012825" cy="1208088"/>
          </a:xfrm>
        </p:grpSpPr>
        <p:sp>
          <p:nvSpPr>
            <p:cNvPr id="233" name="Oval 232"/>
            <p:cNvSpPr>
              <a:spLocks noChangeArrowheads="1"/>
            </p:cNvSpPr>
            <p:nvPr/>
          </p:nvSpPr>
          <p:spPr bwMode="auto">
            <a:xfrm>
              <a:off x="3306763" y="5391150"/>
              <a:ext cx="184150" cy="198438"/>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IN" dirty="0"/>
            </a:p>
          </p:txBody>
        </p:sp>
        <p:sp>
          <p:nvSpPr>
            <p:cNvPr id="234" name="Freeform 233"/>
            <p:cNvSpPr>
              <a:spLocks/>
            </p:cNvSpPr>
            <p:nvPr/>
          </p:nvSpPr>
          <p:spPr bwMode="auto">
            <a:xfrm>
              <a:off x="2673350" y="5387975"/>
              <a:ext cx="123825" cy="123825"/>
            </a:xfrm>
            <a:custGeom>
              <a:avLst/>
              <a:gdLst>
                <a:gd name="T0" fmla="*/ 0 w 167"/>
                <a:gd name="T1" fmla="*/ 114 h 166"/>
                <a:gd name="T2" fmla="*/ 167 w 167"/>
                <a:gd name="T3" fmla="*/ 52 h 166"/>
                <a:gd name="T4" fmla="*/ 0 w 167"/>
                <a:gd name="T5" fmla="*/ 114 h 166"/>
              </a:gdLst>
              <a:ahLst/>
              <a:cxnLst>
                <a:cxn ang="0">
                  <a:pos x="T0" y="T1"/>
                </a:cxn>
                <a:cxn ang="0">
                  <a:pos x="T2" y="T3"/>
                </a:cxn>
                <a:cxn ang="0">
                  <a:pos x="T4" y="T5"/>
                </a:cxn>
              </a:cxnLst>
              <a:rect l="0" t="0" r="r" b="b"/>
              <a:pathLst>
                <a:path w="167" h="166">
                  <a:moveTo>
                    <a:pt x="0" y="114"/>
                  </a:moveTo>
                  <a:cubicBezTo>
                    <a:pt x="0" y="114"/>
                    <a:pt x="53" y="0"/>
                    <a:pt x="167" y="52"/>
                  </a:cubicBezTo>
                  <a:cubicBezTo>
                    <a:pt x="167" y="52"/>
                    <a:pt x="115" y="166"/>
                    <a:pt x="0" y="114"/>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IN" dirty="0"/>
            </a:p>
          </p:txBody>
        </p:sp>
        <p:sp>
          <p:nvSpPr>
            <p:cNvPr id="235" name="Freeform 234"/>
            <p:cNvSpPr>
              <a:spLocks/>
            </p:cNvSpPr>
            <p:nvPr/>
          </p:nvSpPr>
          <p:spPr bwMode="auto">
            <a:xfrm>
              <a:off x="2647950" y="5395913"/>
              <a:ext cx="106363" cy="106363"/>
            </a:xfrm>
            <a:custGeom>
              <a:avLst/>
              <a:gdLst>
                <a:gd name="T0" fmla="*/ 17 w 142"/>
                <a:gd name="T1" fmla="*/ 142 h 142"/>
                <a:gd name="T2" fmla="*/ 124 w 142"/>
                <a:gd name="T3" fmla="*/ 0 h 142"/>
                <a:gd name="T4" fmla="*/ 17 w 142"/>
                <a:gd name="T5" fmla="*/ 142 h 142"/>
              </a:gdLst>
              <a:ahLst/>
              <a:cxnLst>
                <a:cxn ang="0">
                  <a:pos x="T0" y="T1"/>
                </a:cxn>
                <a:cxn ang="0">
                  <a:pos x="T2" y="T3"/>
                </a:cxn>
                <a:cxn ang="0">
                  <a:pos x="T4" y="T5"/>
                </a:cxn>
              </a:cxnLst>
              <a:rect l="0" t="0" r="r" b="b"/>
              <a:pathLst>
                <a:path w="142" h="142">
                  <a:moveTo>
                    <a:pt x="17" y="142"/>
                  </a:moveTo>
                  <a:cubicBezTo>
                    <a:pt x="17" y="142"/>
                    <a:pt x="0" y="18"/>
                    <a:pt x="124" y="0"/>
                  </a:cubicBezTo>
                  <a:cubicBezTo>
                    <a:pt x="124" y="0"/>
                    <a:pt x="142" y="124"/>
                    <a:pt x="17" y="14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IN" dirty="0"/>
            </a:p>
          </p:txBody>
        </p:sp>
        <p:sp>
          <p:nvSpPr>
            <p:cNvPr id="236" name="Freeform 235"/>
            <p:cNvSpPr>
              <a:spLocks/>
            </p:cNvSpPr>
            <p:nvPr/>
          </p:nvSpPr>
          <p:spPr bwMode="auto">
            <a:xfrm>
              <a:off x="2600325" y="5446713"/>
              <a:ext cx="133350" cy="131763"/>
            </a:xfrm>
            <a:custGeom>
              <a:avLst/>
              <a:gdLst>
                <a:gd name="T0" fmla="*/ 104 w 179"/>
                <a:gd name="T1" fmla="*/ 176 h 176"/>
                <a:gd name="T2" fmla="*/ 79 w 179"/>
                <a:gd name="T3" fmla="*/ 0 h 176"/>
                <a:gd name="T4" fmla="*/ 104 w 179"/>
                <a:gd name="T5" fmla="*/ 176 h 176"/>
              </a:gdLst>
              <a:ahLst/>
              <a:cxnLst>
                <a:cxn ang="0">
                  <a:pos x="T0" y="T1"/>
                </a:cxn>
                <a:cxn ang="0">
                  <a:pos x="T2" y="T3"/>
                </a:cxn>
                <a:cxn ang="0">
                  <a:pos x="T4" y="T5"/>
                </a:cxn>
              </a:cxnLst>
              <a:rect l="0" t="0" r="r" b="b"/>
              <a:pathLst>
                <a:path w="179" h="176">
                  <a:moveTo>
                    <a:pt x="104" y="176"/>
                  </a:moveTo>
                  <a:cubicBezTo>
                    <a:pt x="97" y="171"/>
                    <a:pt x="0" y="106"/>
                    <a:pt x="79" y="0"/>
                  </a:cubicBezTo>
                  <a:cubicBezTo>
                    <a:pt x="79" y="0"/>
                    <a:pt x="179" y="75"/>
                    <a:pt x="104" y="176"/>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IN" dirty="0"/>
            </a:p>
          </p:txBody>
        </p:sp>
        <p:sp>
          <p:nvSpPr>
            <p:cNvPr id="414" name="Freeform 413"/>
            <p:cNvSpPr>
              <a:spLocks/>
            </p:cNvSpPr>
            <p:nvPr/>
          </p:nvSpPr>
          <p:spPr bwMode="auto">
            <a:xfrm>
              <a:off x="2668588" y="5470525"/>
              <a:ext cx="61913" cy="90488"/>
            </a:xfrm>
            <a:custGeom>
              <a:avLst/>
              <a:gdLst>
                <a:gd name="T0" fmla="*/ 39 w 39"/>
                <a:gd name="T1" fmla="*/ 54 h 57"/>
                <a:gd name="T2" fmla="*/ 6 w 39"/>
                <a:gd name="T3" fmla="*/ 57 h 57"/>
                <a:gd name="T4" fmla="*/ 0 w 39"/>
                <a:gd name="T5" fmla="*/ 3 h 57"/>
                <a:gd name="T6" fmla="*/ 32 w 39"/>
                <a:gd name="T7" fmla="*/ 0 h 57"/>
                <a:gd name="T8" fmla="*/ 39 w 39"/>
                <a:gd name="T9" fmla="*/ 54 h 57"/>
              </a:gdLst>
              <a:ahLst/>
              <a:cxnLst>
                <a:cxn ang="0">
                  <a:pos x="T0" y="T1"/>
                </a:cxn>
                <a:cxn ang="0">
                  <a:pos x="T2" y="T3"/>
                </a:cxn>
                <a:cxn ang="0">
                  <a:pos x="T4" y="T5"/>
                </a:cxn>
                <a:cxn ang="0">
                  <a:pos x="T6" y="T7"/>
                </a:cxn>
                <a:cxn ang="0">
                  <a:pos x="T8" y="T9"/>
                </a:cxn>
              </a:cxnLst>
              <a:rect l="0" t="0" r="r" b="b"/>
              <a:pathLst>
                <a:path w="39" h="57">
                  <a:moveTo>
                    <a:pt x="39" y="54"/>
                  </a:moveTo>
                  <a:lnTo>
                    <a:pt x="6" y="57"/>
                  </a:lnTo>
                  <a:lnTo>
                    <a:pt x="0" y="3"/>
                  </a:lnTo>
                  <a:lnTo>
                    <a:pt x="32" y="0"/>
                  </a:lnTo>
                  <a:lnTo>
                    <a:pt x="39" y="54"/>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IN" dirty="0"/>
            </a:p>
          </p:txBody>
        </p:sp>
        <p:sp>
          <p:nvSpPr>
            <p:cNvPr id="415" name="Freeform 414"/>
            <p:cNvSpPr>
              <a:spLocks/>
            </p:cNvSpPr>
            <p:nvPr/>
          </p:nvSpPr>
          <p:spPr bwMode="auto">
            <a:xfrm>
              <a:off x="2674938" y="5445125"/>
              <a:ext cx="117475" cy="201613"/>
            </a:xfrm>
            <a:custGeom>
              <a:avLst/>
              <a:gdLst>
                <a:gd name="T0" fmla="*/ 116 w 157"/>
                <a:gd name="T1" fmla="*/ 0 h 269"/>
                <a:gd name="T2" fmla="*/ 69 w 157"/>
                <a:gd name="T3" fmla="*/ 27 h 269"/>
                <a:gd name="T4" fmla="*/ 52 w 157"/>
                <a:gd name="T5" fmla="*/ 25 h 269"/>
                <a:gd name="T6" fmla="*/ 63 w 157"/>
                <a:gd name="T7" fmla="*/ 92 h 269"/>
                <a:gd name="T8" fmla="*/ 63 w 157"/>
                <a:gd name="T9" fmla="*/ 98 h 269"/>
                <a:gd name="T10" fmla="*/ 59 w 157"/>
                <a:gd name="T11" fmla="*/ 117 h 269"/>
                <a:gd name="T12" fmla="*/ 46 w 157"/>
                <a:gd name="T13" fmla="*/ 118 h 269"/>
                <a:gd name="T14" fmla="*/ 46 w 157"/>
                <a:gd name="T15" fmla="*/ 107 h 269"/>
                <a:gd name="T16" fmla="*/ 31 w 157"/>
                <a:gd name="T17" fmla="*/ 92 h 269"/>
                <a:gd name="T18" fmla="*/ 16 w 157"/>
                <a:gd name="T19" fmla="*/ 107 h 269"/>
                <a:gd name="T20" fmla="*/ 16 w 157"/>
                <a:gd name="T21" fmla="*/ 127 h 269"/>
                <a:gd name="T22" fmla="*/ 16 w 157"/>
                <a:gd name="T23" fmla="*/ 156 h 269"/>
                <a:gd name="T24" fmla="*/ 0 w 157"/>
                <a:gd name="T25" fmla="*/ 169 h 269"/>
                <a:gd name="T26" fmla="*/ 0 w 157"/>
                <a:gd name="T27" fmla="*/ 269 h 269"/>
                <a:gd name="T28" fmla="*/ 77 w 157"/>
                <a:gd name="T29" fmla="*/ 269 h 269"/>
                <a:gd name="T30" fmla="*/ 77 w 157"/>
                <a:gd name="T31" fmla="*/ 229 h 269"/>
                <a:gd name="T32" fmla="*/ 114 w 157"/>
                <a:gd name="T33" fmla="*/ 234 h 269"/>
                <a:gd name="T34" fmla="*/ 135 w 157"/>
                <a:gd name="T35" fmla="*/ 232 h 269"/>
                <a:gd name="T36" fmla="*/ 135 w 157"/>
                <a:gd name="T37" fmla="*/ 157 h 269"/>
                <a:gd name="T38" fmla="*/ 157 w 157"/>
                <a:gd name="T39" fmla="*/ 157 h 269"/>
                <a:gd name="T40" fmla="*/ 116 w 157"/>
                <a:gd name="T41" fmla="*/ 0 h 2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57" h="269">
                  <a:moveTo>
                    <a:pt x="116" y="0"/>
                  </a:moveTo>
                  <a:cubicBezTo>
                    <a:pt x="109" y="16"/>
                    <a:pt x="90" y="27"/>
                    <a:pt x="69" y="27"/>
                  </a:cubicBezTo>
                  <a:cubicBezTo>
                    <a:pt x="63" y="27"/>
                    <a:pt x="57" y="26"/>
                    <a:pt x="52" y="25"/>
                  </a:cubicBezTo>
                  <a:cubicBezTo>
                    <a:pt x="59" y="44"/>
                    <a:pt x="63" y="67"/>
                    <a:pt x="63" y="92"/>
                  </a:cubicBezTo>
                  <a:cubicBezTo>
                    <a:pt x="63" y="94"/>
                    <a:pt x="63" y="96"/>
                    <a:pt x="63" y="98"/>
                  </a:cubicBezTo>
                  <a:cubicBezTo>
                    <a:pt x="60" y="109"/>
                    <a:pt x="59" y="117"/>
                    <a:pt x="59" y="117"/>
                  </a:cubicBezTo>
                  <a:cubicBezTo>
                    <a:pt x="55" y="117"/>
                    <a:pt x="50" y="118"/>
                    <a:pt x="46" y="118"/>
                  </a:cubicBezTo>
                  <a:cubicBezTo>
                    <a:pt x="46" y="114"/>
                    <a:pt x="46" y="109"/>
                    <a:pt x="46" y="107"/>
                  </a:cubicBezTo>
                  <a:cubicBezTo>
                    <a:pt x="46" y="99"/>
                    <a:pt x="39" y="92"/>
                    <a:pt x="31" y="92"/>
                  </a:cubicBezTo>
                  <a:cubicBezTo>
                    <a:pt x="22" y="92"/>
                    <a:pt x="16" y="99"/>
                    <a:pt x="16" y="107"/>
                  </a:cubicBezTo>
                  <a:cubicBezTo>
                    <a:pt x="16" y="111"/>
                    <a:pt x="16" y="123"/>
                    <a:pt x="16" y="127"/>
                  </a:cubicBezTo>
                  <a:cubicBezTo>
                    <a:pt x="16" y="156"/>
                    <a:pt x="16" y="156"/>
                    <a:pt x="16" y="156"/>
                  </a:cubicBezTo>
                  <a:cubicBezTo>
                    <a:pt x="6" y="162"/>
                    <a:pt x="0" y="169"/>
                    <a:pt x="0" y="169"/>
                  </a:cubicBezTo>
                  <a:cubicBezTo>
                    <a:pt x="0" y="269"/>
                    <a:pt x="0" y="269"/>
                    <a:pt x="0" y="269"/>
                  </a:cubicBezTo>
                  <a:cubicBezTo>
                    <a:pt x="77" y="269"/>
                    <a:pt x="77" y="269"/>
                    <a:pt x="77" y="269"/>
                  </a:cubicBezTo>
                  <a:cubicBezTo>
                    <a:pt x="77" y="229"/>
                    <a:pt x="77" y="229"/>
                    <a:pt x="77" y="229"/>
                  </a:cubicBezTo>
                  <a:cubicBezTo>
                    <a:pt x="89" y="232"/>
                    <a:pt x="101" y="234"/>
                    <a:pt x="114" y="234"/>
                  </a:cubicBezTo>
                  <a:cubicBezTo>
                    <a:pt x="121" y="234"/>
                    <a:pt x="128" y="234"/>
                    <a:pt x="135" y="232"/>
                  </a:cubicBezTo>
                  <a:cubicBezTo>
                    <a:pt x="135" y="157"/>
                    <a:pt x="135" y="157"/>
                    <a:pt x="135" y="157"/>
                  </a:cubicBezTo>
                  <a:cubicBezTo>
                    <a:pt x="157" y="157"/>
                    <a:pt x="157" y="157"/>
                    <a:pt x="157" y="157"/>
                  </a:cubicBezTo>
                  <a:lnTo>
                    <a:pt x="116" y="0"/>
                  </a:lnTo>
                  <a:close/>
                </a:path>
              </a:pathLst>
            </a:custGeom>
            <a:solidFill>
              <a:srgbClr val="F2BE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IN" dirty="0"/>
            </a:p>
          </p:txBody>
        </p:sp>
        <p:sp>
          <p:nvSpPr>
            <p:cNvPr id="416" name="Freeform 415"/>
            <p:cNvSpPr>
              <a:spLocks/>
            </p:cNvSpPr>
            <p:nvPr/>
          </p:nvSpPr>
          <p:spPr bwMode="auto">
            <a:xfrm>
              <a:off x="2986088" y="5662613"/>
              <a:ext cx="317500" cy="204788"/>
            </a:xfrm>
            <a:custGeom>
              <a:avLst/>
              <a:gdLst>
                <a:gd name="T0" fmla="*/ 0 w 427"/>
                <a:gd name="T1" fmla="*/ 274 h 274"/>
                <a:gd name="T2" fmla="*/ 0 w 427"/>
                <a:gd name="T3" fmla="*/ 186 h 274"/>
                <a:gd name="T4" fmla="*/ 289 w 427"/>
                <a:gd name="T5" fmla="*/ 68 h 274"/>
                <a:gd name="T6" fmla="*/ 427 w 427"/>
                <a:gd name="T7" fmla="*/ 0 h 274"/>
                <a:gd name="T8" fmla="*/ 427 w 427"/>
                <a:gd name="T9" fmla="*/ 88 h 274"/>
                <a:gd name="T10" fmla="*/ 343 w 427"/>
                <a:gd name="T11" fmla="*/ 138 h 274"/>
                <a:gd name="T12" fmla="*/ 0 w 427"/>
                <a:gd name="T13" fmla="*/ 274 h 274"/>
              </a:gdLst>
              <a:ahLst/>
              <a:cxnLst>
                <a:cxn ang="0">
                  <a:pos x="T0" y="T1"/>
                </a:cxn>
                <a:cxn ang="0">
                  <a:pos x="T2" y="T3"/>
                </a:cxn>
                <a:cxn ang="0">
                  <a:pos x="T4" y="T5"/>
                </a:cxn>
                <a:cxn ang="0">
                  <a:pos x="T6" y="T7"/>
                </a:cxn>
                <a:cxn ang="0">
                  <a:pos x="T8" y="T9"/>
                </a:cxn>
                <a:cxn ang="0">
                  <a:pos x="T10" y="T11"/>
                </a:cxn>
                <a:cxn ang="0">
                  <a:pos x="T12" y="T13"/>
                </a:cxn>
              </a:cxnLst>
              <a:rect l="0" t="0" r="r" b="b"/>
              <a:pathLst>
                <a:path w="427" h="274">
                  <a:moveTo>
                    <a:pt x="0" y="274"/>
                  </a:moveTo>
                  <a:cubicBezTo>
                    <a:pt x="0" y="186"/>
                    <a:pt x="0" y="186"/>
                    <a:pt x="0" y="186"/>
                  </a:cubicBezTo>
                  <a:cubicBezTo>
                    <a:pt x="135" y="186"/>
                    <a:pt x="221" y="121"/>
                    <a:pt x="289" y="68"/>
                  </a:cubicBezTo>
                  <a:cubicBezTo>
                    <a:pt x="337" y="31"/>
                    <a:pt x="379" y="0"/>
                    <a:pt x="427" y="0"/>
                  </a:cubicBezTo>
                  <a:cubicBezTo>
                    <a:pt x="427" y="88"/>
                    <a:pt x="427" y="88"/>
                    <a:pt x="427" y="88"/>
                  </a:cubicBezTo>
                  <a:cubicBezTo>
                    <a:pt x="409" y="88"/>
                    <a:pt x="377" y="112"/>
                    <a:pt x="343" y="138"/>
                  </a:cubicBezTo>
                  <a:cubicBezTo>
                    <a:pt x="268" y="195"/>
                    <a:pt x="165" y="274"/>
                    <a:pt x="0" y="274"/>
                  </a:cubicBez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IN" dirty="0"/>
            </a:p>
          </p:txBody>
        </p:sp>
        <p:sp>
          <p:nvSpPr>
            <p:cNvPr id="417" name="Freeform 416"/>
            <p:cNvSpPr>
              <a:spLocks/>
            </p:cNvSpPr>
            <p:nvPr/>
          </p:nvSpPr>
          <p:spPr bwMode="auto">
            <a:xfrm>
              <a:off x="2986088" y="5708650"/>
              <a:ext cx="317500" cy="158750"/>
            </a:xfrm>
            <a:custGeom>
              <a:avLst/>
              <a:gdLst>
                <a:gd name="T0" fmla="*/ 427 w 427"/>
                <a:gd name="T1" fmla="*/ 28 h 214"/>
                <a:gd name="T2" fmla="*/ 427 w 427"/>
                <a:gd name="T3" fmla="*/ 0 h 214"/>
                <a:gd name="T4" fmla="*/ 323 w 427"/>
                <a:gd name="T5" fmla="*/ 66 h 214"/>
                <a:gd name="T6" fmla="*/ 0 w 427"/>
                <a:gd name="T7" fmla="*/ 198 h 214"/>
                <a:gd name="T8" fmla="*/ 0 w 427"/>
                <a:gd name="T9" fmla="*/ 214 h 214"/>
                <a:gd name="T10" fmla="*/ 343 w 427"/>
                <a:gd name="T11" fmla="*/ 78 h 214"/>
                <a:gd name="T12" fmla="*/ 427 w 427"/>
                <a:gd name="T13" fmla="*/ 28 h 214"/>
              </a:gdLst>
              <a:ahLst/>
              <a:cxnLst>
                <a:cxn ang="0">
                  <a:pos x="T0" y="T1"/>
                </a:cxn>
                <a:cxn ang="0">
                  <a:pos x="T2" y="T3"/>
                </a:cxn>
                <a:cxn ang="0">
                  <a:pos x="T4" y="T5"/>
                </a:cxn>
                <a:cxn ang="0">
                  <a:pos x="T6" y="T7"/>
                </a:cxn>
                <a:cxn ang="0">
                  <a:pos x="T8" y="T9"/>
                </a:cxn>
                <a:cxn ang="0">
                  <a:pos x="T10" y="T11"/>
                </a:cxn>
                <a:cxn ang="0">
                  <a:pos x="T12" y="T13"/>
                </a:cxn>
              </a:cxnLst>
              <a:rect l="0" t="0" r="r" b="b"/>
              <a:pathLst>
                <a:path w="427" h="214">
                  <a:moveTo>
                    <a:pt x="427" y="28"/>
                  </a:moveTo>
                  <a:cubicBezTo>
                    <a:pt x="427" y="0"/>
                    <a:pt x="427" y="0"/>
                    <a:pt x="427" y="0"/>
                  </a:cubicBezTo>
                  <a:cubicBezTo>
                    <a:pt x="393" y="13"/>
                    <a:pt x="360" y="38"/>
                    <a:pt x="323" y="66"/>
                  </a:cubicBezTo>
                  <a:cubicBezTo>
                    <a:pt x="246" y="125"/>
                    <a:pt x="151" y="198"/>
                    <a:pt x="0" y="198"/>
                  </a:cubicBezTo>
                  <a:cubicBezTo>
                    <a:pt x="0" y="214"/>
                    <a:pt x="0" y="214"/>
                    <a:pt x="0" y="214"/>
                  </a:cubicBezTo>
                  <a:cubicBezTo>
                    <a:pt x="165" y="214"/>
                    <a:pt x="268" y="135"/>
                    <a:pt x="343" y="78"/>
                  </a:cubicBezTo>
                  <a:cubicBezTo>
                    <a:pt x="377" y="52"/>
                    <a:pt x="409" y="28"/>
                    <a:pt x="427" y="28"/>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IN" dirty="0"/>
            </a:p>
          </p:txBody>
        </p:sp>
        <p:sp>
          <p:nvSpPr>
            <p:cNvPr id="418" name="Freeform 417"/>
            <p:cNvSpPr>
              <a:spLocks noEditPoints="1"/>
            </p:cNvSpPr>
            <p:nvPr/>
          </p:nvSpPr>
          <p:spPr bwMode="auto">
            <a:xfrm>
              <a:off x="3189288" y="5641975"/>
              <a:ext cx="330200" cy="954088"/>
            </a:xfrm>
            <a:custGeom>
              <a:avLst/>
              <a:gdLst>
                <a:gd name="T0" fmla="*/ 194 w 208"/>
                <a:gd name="T1" fmla="*/ 555 h 601"/>
                <a:gd name="T2" fmla="*/ 184 w 208"/>
                <a:gd name="T3" fmla="*/ 275 h 601"/>
                <a:gd name="T4" fmla="*/ 208 w 208"/>
                <a:gd name="T5" fmla="*/ 275 h 601"/>
                <a:gd name="T6" fmla="*/ 176 w 208"/>
                <a:gd name="T7" fmla="*/ 148 h 601"/>
                <a:gd name="T8" fmla="*/ 189 w 208"/>
                <a:gd name="T9" fmla="*/ 8 h 601"/>
                <a:gd name="T10" fmla="*/ 148 w 208"/>
                <a:gd name="T11" fmla="*/ 0 h 601"/>
                <a:gd name="T12" fmla="*/ 103 w 208"/>
                <a:gd name="T13" fmla="*/ 0 h 601"/>
                <a:gd name="T14" fmla="*/ 67 w 208"/>
                <a:gd name="T15" fmla="*/ 9 h 601"/>
                <a:gd name="T16" fmla="*/ 53 w 208"/>
                <a:gd name="T17" fmla="*/ 17 h 601"/>
                <a:gd name="T18" fmla="*/ 59 w 208"/>
                <a:gd name="T19" fmla="*/ 54 h 601"/>
                <a:gd name="T20" fmla="*/ 79 w 208"/>
                <a:gd name="T21" fmla="*/ 152 h 601"/>
                <a:gd name="T22" fmla="*/ 48 w 208"/>
                <a:gd name="T23" fmla="*/ 275 h 601"/>
                <a:gd name="T24" fmla="*/ 68 w 208"/>
                <a:gd name="T25" fmla="*/ 278 h 601"/>
                <a:gd name="T26" fmla="*/ 57 w 208"/>
                <a:gd name="T27" fmla="*/ 565 h 601"/>
                <a:gd name="T28" fmla="*/ 0 w 208"/>
                <a:gd name="T29" fmla="*/ 576 h 601"/>
                <a:gd name="T30" fmla="*/ 0 w 208"/>
                <a:gd name="T31" fmla="*/ 601 h 601"/>
                <a:gd name="T32" fmla="*/ 60 w 208"/>
                <a:gd name="T33" fmla="*/ 601 h 601"/>
                <a:gd name="T34" fmla="*/ 67 w 208"/>
                <a:gd name="T35" fmla="*/ 593 h 601"/>
                <a:gd name="T36" fmla="*/ 81 w 208"/>
                <a:gd name="T37" fmla="*/ 593 h 601"/>
                <a:gd name="T38" fmla="*/ 81 w 208"/>
                <a:gd name="T39" fmla="*/ 601 h 601"/>
                <a:gd name="T40" fmla="*/ 92 w 208"/>
                <a:gd name="T41" fmla="*/ 601 h 601"/>
                <a:gd name="T42" fmla="*/ 102 w 208"/>
                <a:gd name="T43" fmla="*/ 601 h 601"/>
                <a:gd name="T44" fmla="*/ 152 w 208"/>
                <a:gd name="T45" fmla="*/ 601 h 601"/>
                <a:gd name="T46" fmla="*/ 160 w 208"/>
                <a:gd name="T47" fmla="*/ 593 h 601"/>
                <a:gd name="T48" fmla="*/ 174 w 208"/>
                <a:gd name="T49" fmla="*/ 593 h 601"/>
                <a:gd name="T50" fmla="*/ 174 w 208"/>
                <a:gd name="T51" fmla="*/ 601 h 601"/>
                <a:gd name="T52" fmla="*/ 194 w 208"/>
                <a:gd name="T53" fmla="*/ 601 h 601"/>
                <a:gd name="T54" fmla="*/ 194 w 208"/>
                <a:gd name="T55" fmla="*/ 576 h 601"/>
                <a:gd name="T56" fmla="*/ 194 w 208"/>
                <a:gd name="T57" fmla="*/ 556 h 601"/>
                <a:gd name="T58" fmla="*/ 195 w 208"/>
                <a:gd name="T59" fmla="*/ 555 h 601"/>
                <a:gd name="T60" fmla="*/ 194 w 208"/>
                <a:gd name="T61" fmla="*/ 555 h 601"/>
                <a:gd name="T62" fmla="*/ 102 w 208"/>
                <a:gd name="T63" fmla="*/ 575 h 601"/>
                <a:gd name="T64" fmla="*/ 102 w 208"/>
                <a:gd name="T65" fmla="*/ 556 h 601"/>
                <a:gd name="T66" fmla="*/ 103 w 208"/>
                <a:gd name="T67" fmla="*/ 555 h 601"/>
                <a:gd name="T68" fmla="*/ 102 w 208"/>
                <a:gd name="T69" fmla="*/ 555 h 601"/>
                <a:gd name="T70" fmla="*/ 125 w 208"/>
                <a:gd name="T71" fmla="*/ 294 h 601"/>
                <a:gd name="T72" fmla="*/ 132 w 208"/>
                <a:gd name="T73" fmla="*/ 294 h 601"/>
                <a:gd name="T74" fmla="*/ 149 w 208"/>
                <a:gd name="T75" fmla="*/ 565 h 601"/>
                <a:gd name="T76" fmla="*/ 102 w 208"/>
                <a:gd name="T77" fmla="*/ 575 h 6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08" h="601">
                  <a:moveTo>
                    <a:pt x="194" y="555"/>
                  </a:moveTo>
                  <a:lnTo>
                    <a:pt x="184" y="275"/>
                  </a:lnTo>
                  <a:lnTo>
                    <a:pt x="208" y="275"/>
                  </a:lnTo>
                  <a:lnTo>
                    <a:pt x="176" y="148"/>
                  </a:lnTo>
                  <a:lnTo>
                    <a:pt x="189" y="8"/>
                  </a:lnTo>
                  <a:lnTo>
                    <a:pt x="148" y="0"/>
                  </a:lnTo>
                  <a:lnTo>
                    <a:pt x="103" y="0"/>
                  </a:lnTo>
                  <a:lnTo>
                    <a:pt x="67" y="9"/>
                  </a:lnTo>
                  <a:lnTo>
                    <a:pt x="53" y="17"/>
                  </a:lnTo>
                  <a:lnTo>
                    <a:pt x="59" y="54"/>
                  </a:lnTo>
                  <a:lnTo>
                    <a:pt x="79" y="152"/>
                  </a:lnTo>
                  <a:lnTo>
                    <a:pt x="48" y="275"/>
                  </a:lnTo>
                  <a:lnTo>
                    <a:pt x="68" y="278"/>
                  </a:lnTo>
                  <a:lnTo>
                    <a:pt x="57" y="565"/>
                  </a:lnTo>
                  <a:lnTo>
                    <a:pt x="0" y="576"/>
                  </a:lnTo>
                  <a:lnTo>
                    <a:pt x="0" y="601"/>
                  </a:lnTo>
                  <a:lnTo>
                    <a:pt x="60" y="601"/>
                  </a:lnTo>
                  <a:lnTo>
                    <a:pt x="67" y="593"/>
                  </a:lnTo>
                  <a:lnTo>
                    <a:pt x="81" y="593"/>
                  </a:lnTo>
                  <a:lnTo>
                    <a:pt x="81" y="601"/>
                  </a:lnTo>
                  <a:lnTo>
                    <a:pt x="92" y="601"/>
                  </a:lnTo>
                  <a:lnTo>
                    <a:pt x="102" y="601"/>
                  </a:lnTo>
                  <a:lnTo>
                    <a:pt x="152" y="601"/>
                  </a:lnTo>
                  <a:lnTo>
                    <a:pt x="160" y="593"/>
                  </a:lnTo>
                  <a:lnTo>
                    <a:pt x="174" y="593"/>
                  </a:lnTo>
                  <a:lnTo>
                    <a:pt x="174" y="601"/>
                  </a:lnTo>
                  <a:lnTo>
                    <a:pt x="194" y="601"/>
                  </a:lnTo>
                  <a:lnTo>
                    <a:pt x="194" y="576"/>
                  </a:lnTo>
                  <a:lnTo>
                    <a:pt x="194" y="556"/>
                  </a:lnTo>
                  <a:lnTo>
                    <a:pt x="195" y="555"/>
                  </a:lnTo>
                  <a:lnTo>
                    <a:pt x="194" y="555"/>
                  </a:lnTo>
                  <a:close/>
                  <a:moveTo>
                    <a:pt x="102" y="575"/>
                  </a:moveTo>
                  <a:lnTo>
                    <a:pt x="102" y="556"/>
                  </a:lnTo>
                  <a:lnTo>
                    <a:pt x="103" y="555"/>
                  </a:lnTo>
                  <a:lnTo>
                    <a:pt x="102" y="555"/>
                  </a:lnTo>
                  <a:lnTo>
                    <a:pt x="125" y="294"/>
                  </a:lnTo>
                  <a:lnTo>
                    <a:pt x="132" y="294"/>
                  </a:lnTo>
                  <a:lnTo>
                    <a:pt x="149" y="565"/>
                  </a:lnTo>
                  <a:lnTo>
                    <a:pt x="102" y="575"/>
                  </a:ln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IN" dirty="0"/>
            </a:p>
          </p:txBody>
        </p:sp>
        <p:sp>
          <p:nvSpPr>
            <p:cNvPr id="419" name="Freeform 418"/>
            <p:cNvSpPr>
              <a:spLocks noEditPoints="1"/>
            </p:cNvSpPr>
            <p:nvPr/>
          </p:nvSpPr>
          <p:spPr bwMode="auto">
            <a:xfrm>
              <a:off x="3189288" y="5641975"/>
              <a:ext cx="330200" cy="954088"/>
            </a:xfrm>
            <a:custGeom>
              <a:avLst/>
              <a:gdLst>
                <a:gd name="T0" fmla="*/ 194 w 208"/>
                <a:gd name="T1" fmla="*/ 555 h 601"/>
                <a:gd name="T2" fmla="*/ 184 w 208"/>
                <a:gd name="T3" fmla="*/ 275 h 601"/>
                <a:gd name="T4" fmla="*/ 208 w 208"/>
                <a:gd name="T5" fmla="*/ 275 h 601"/>
                <a:gd name="T6" fmla="*/ 176 w 208"/>
                <a:gd name="T7" fmla="*/ 148 h 601"/>
                <a:gd name="T8" fmla="*/ 189 w 208"/>
                <a:gd name="T9" fmla="*/ 8 h 601"/>
                <a:gd name="T10" fmla="*/ 148 w 208"/>
                <a:gd name="T11" fmla="*/ 0 h 601"/>
                <a:gd name="T12" fmla="*/ 103 w 208"/>
                <a:gd name="T13" fmla="*/ 0 h 601"/>
                <a:gd name="T14" fmla="*/ 67 w 208"/>
                <a:gd name="T15" fmla="*/ 9 h 601"/>
                <a:gd name="T16" fmla="*/ 53 w 208"/>
                <a:gd name="T17" fmla="*/ 17 h 601"/>
                <a:gd name="T18" fmla="*/ 59 w 208"/>
                <a:gd name="T19" fmla="*/ 54 h 601"/>
                <a:gd name="T20" fmla="*/ 79 w 208"/>
                <a:gd name="T21" fmla="*/ 152 h 601"/>
                <a:gd name="T22" fmla="*/ 48 w 208"/>
                <a:gd name="T23" fmla="*/ 275 h 601"/>
                <a:gd name="T24" fmla="*/ 68 w 208"/>
                <a:gd name="T25" fmla="*/ 278 h 601"/>
                <a:gd name="T26" fmla="*/ 57 w 208"/>
                <a:gd name="T27" fmla="*/ 565 h 601"/>
                <a:gd name="T28" fmla="*/ 0 w 208"/>
                <a:gd name="T29" fmla="*/ 576 h 601"/>
                <a:gd name="T30" fmla="*/ 0 w 208"/>
                <a:gd name="T31" fmla="*/ 601 h 601"/>
                <a:gd name="T32" fmla="*/ 60 w 208"/>
                <a:gd name="T33" fmla="*/ 601 h 601"/>
                <a:gd name="T34" fmla="*/ 67 w 208"/>
                <a:gd name="T35" fmla="*/ 593 h 601"/>
                <a:gd name="T36" fmla="*/ 81 w 208"/>
                <a:gd name="T37" fmla="*/ 593 h 601"/>
                <a:gd name="T38" fmla="*/ 81 w 208"/>
                <a:gd name="T39" fmla="*/ 601 h 601"/>
                <a:gd name="T40" fmla="*/ 92 w 208"/>
                <a:gd name="T41" fmla="*/ 601 h 601"/>
                <a:gd name="T42" fmla="*/ 102 w 208"/>
                <a:gd name="T43" fmla="*/ 601 h 601"/>
                <a:gd name="T44" fmla="*/ 152 w 208"/>
                <a:gd name="T45" fmla="*/ 601 h 601"/>
                <a:gd name="T46" fmla="*/ 160 w 208"/>
                <a:gd name="T47" fmla="*/ 593 h 601"/>
                <a:gd name="T48" fmla="*/ 174 w 208"/>
                <a:gd name="T49" fmla="*/ 593 h 601"/>
                <a:gd name="T50" fmla="*/ 174 w 208"/>
                <a:gd name="T51" fmla="*/ 601 h 601"/>
                <a:gd name="T52" fmla="*/ 194 w 208"/>
                <a:gd name="T53" fmla="*/ 601 h 601"/>
                <a:gd name="T54" fmla="*/ 194 w 208"/>
                <a:gd name="T55" fmla="*/ 576 h 601"/>
                <a:gd name="T56" fmla="*/ 194 w 208"/>
                <a:gd name="T57" fmla="*/ 556 h 601"/>
                <a:gd name="T58" fmla="*/ 195 w 208"/>
                <a:gd name="T59" fmla="*/ 555 h 601"/>
                <a:gd name="T60" fmla="*/ 194 w 208"/>
                <a:gd name="T61" fmla="*/ 555 h 601"/>
                <a:gd name="T62" fmla="*/ 102 w 208"/>
                <a:gd name="T63" fmla="*/ 575 h 601"/>
                <a:gd name="T64" fmla="*/ 102 w 208"/>
                <a:gd name="T65" fmla="*/ 556 h 601"/>
                <a:gd name="T66" fmla="*/ 103 w 208"/>
                <a:gd name="T67" fmla="*/ 555 h 601"/>
                <a:gd name="T68" fmla="*/ 102 w 208"/>
                <a:gd name="T69" fmla="*/ 555 h 601"/>
                <a:gd name="T70" fmla="*/ 125 w 208"/>
                <a:gd name="T71" fmla="*/ 294 h 601"/>
                <a:gd name="T72" fmla="*/ 132 w 208"/>
                <a:gd name="T73" fmla="*/ 294 h 601"/>
                <a:gd name="T74" fmla="*/ 149 w 208"/>
                <a:gd name="T75" fmla="*/ 565 h 601"/>
                <a:gd name="T76" fmla="*/ 102 w 208"/>
                <a:gd name="T77" fmla="*/ 575 h 6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08" h="601">
                  <a:moveTo>
                    <a:pt x="194" y="555"/>
                  </a:moveTo>
                  <a:lnTo>
                    <a:pt x="184" y="275"/>
                  </a:lnTo>
                  <a:lnTo>
                    <a:pt x="208" y="275"/>
                  </a:lnTo>
                  <a:lnTo>
                    <a:pt x="176" y="148"/>
                  </a:lnTo>
                  <a:lnTo>
                    <a:pt x="189" y="8"/>
                  </a:lnTo>
                  <a:lnTo>
                    <a:pt x="148" y="0"/>
                  </a:lnTo>
                  <a:lnTo>
                    <a:pt x="103" y="0"/>
                  </a:lnTo>
                  <a:lnTo>
                    <a:pt x="67" y="9"/>
                  </a:lnTo>
                  <a:lnTo>
                    <a:pt x="53" y="17"/>
                  </a:lnTo>
                  <a:lnTo>
                    <a:pt x="59" y="54"/>
                  </a:lnTo>
                  <a:lnTo>
                    <a:pt x="79" y="152"/>
                  </a:lnTo>
                  <a:lnTo>
                    <a:pt x="48" y="275"/>
                  </a:lnTo>
                  <a:lnTo>
                    <a:pt x="68" y="278"/>
                  </a:lnTo>
                  <a:lnTo>
                    <a:pt x="57" y="565"/>
                  </a:lnTo>
                  <a:lnTo>
                    <a:pt x="0" y="576"/>
                  </a:lnTo>
                  <a:lnTo>
                    <a:pt x="0" y="601"/>
                  </a:lnTo>
                  <a:lnTo>
                    <a:pt x="60" y="601"/>
                  </a:lnTo>
                  <a:lnTo>
                    <a:pt x="67" y="593"/>
                  </a:lnTo>
                  <a:lnTo>
                    <a:pt x="81" y="593"/>
                  </a:lnTo>
                  <a:lnTo>
                    <a:pt x="81" y="601"/>
                  </a:lnTo>
                  <a:lnTo>
                    <a:pt x="92" y="601"/>
                  </a:lnTo>
                  <a:lnTo>
                    <a:pt x="102" y="601"/>
                  </a:lnTo>
                  <a:lnTo>
                    <a:pt x="152" y="601"/>
                  </a:lnTo>
                  <a:lnTo>
                    <a:pt x="160" y="593"/>
                  </a:lnTo>
                  <a:lnTo>
                    <a:pt x="174" y="593"/>
                  </a:lnTo>
                  <a:lnTo>
                    <a:pt x="174" y="601"/>
                  </a:lnTo>
                  <a:lnTo>
                    <a:pt x="194" y="601"/>
                  </a:lnTo>
                  <a:lnTo>
                    <a:pt x="194" y="576"/>
                  </a:lnTo>
                  <a:lnTo>
                    <a:pt x="194" y="556"/>
                  </a:lnTo>
                  <a:lnTo>
                    <a:pt x="195" y="555"/>
                  </a:lnTo>
                  <a:lnTo>
                    <a:pt x="194" y="555"/>
                  </a:lnTo>
                  <a:moveTo>
                    <a:pt x="102" y="575"/>
                  </a:moveTo>
                  <a:lnTo>
                    <a:pt x="102" y="556"/>
                  </a:lnTo>
                  <a:lnTo>
                    <a:pt x="103" y="555"/>
                  </a:lnTo>
                  <a:lnTo>
                    <a:pt x="102" y="555"/>
                  </a:lnTo>
                  <a:lnTo>
                    <a:pt x="125" y="294"/>
                  </a:lnTo>
                  <a:lnTo>
                    <a:pt x="132" y="294"/>
                  </a:lnTo>
                  <a:lnTo>
                    <a:pt x="149" y="565"/>
                  </a:lnTo>
                  <a:lnTo>
                    <a:pt x="102" y="57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IN" dirty="0"/>
            </a:p>
          </p:txBody>
        </p:sp>
        <p:sp>
          <p:nvSpPr>
            <p:cNvPr id="420" name="Freeform 419"/>
            <p:cNvSpPr>
              <a:spLocks/>
            </p:cNvSpPr>
            <p:nvPr/>
          </p:nvSpPr>
          <p:spPr bwMode="auto">
            <a:xfrm>
              <a:off x="2781300" y="5872163"/>
              <a:ext cx="52388" cy="65088"/>
            </a:xfrm>
            <a:custGeom>
              <a:avLst/>
              <a:gdLst>
                <a:gd name="T0" fmla="*/ 33 w 33"/>
                <a:gd name="T1" fmla="*/ 27 h 41"/>
                <a:gd name="T2" fmla="*/ 0 w 33"/>
                <a:gd name="T3" fmla="*/ 41 h 41"/>
                <a:gd name="T4" fmla="*/ 10 w 33"/>
                <a:gd name="T5" fmla="*/ 3 h 41"/>
                <a:gd name="T6" fmla="*/ 33 w 33"/>
                <a:gd name="T7" fmla="*/ 0 h 41"/>
                <a:gd name="T8" fmla="*/ 33 w 33"/>
                <a:gd name="T9" fmla="*/ 27 h 41"/>
              </a:gdLst>
              <a:ahLst/>
              <a:cxnLst>
                <a:cxn ang="0">
                  <a:pos x="T0" y="T1"/>
                </a:cxn>
                <a:cxn ang="0">
                  <a:pos x="T2" y="T3"/>
                </a:cxn>
                <a:cxn ang="0">
                  <a:pos x="T4" y="T5"/>
                </a:cxn>
                <a:cxn ang="0">
                  <a:pos x="T6" y="T7"/>
                </a:cxn>
                <a:cxn ang="0">
                  <a:pos x="T8" y="T9"/>
                </a:cxn>
              </a:cxnLst>
              <a:rect l="0" t="0" r="r" b="b"/>
              <a:pathLst>
                <a:path w="33" h="41">
                  <a:moveTo>
                    <a:pt x="33" y="27"/>
                  </a:moveTo>
                  <a:lnTo>
                    <a:pt x="0" y="41"/>
                  </a:lnTo>
                  <a:lnTo>
                    <a:pt x="10" y="3"/>
                  </a:lnTo>
                  <a:lnTo>
                    <a:pt x="33" y="0"/>
                  </a:lnTo>
                  <a:lnTo>
                    <a:pt x="33" y="27"/>
                  </a:lnTo>
                  <a:close/>
                </a:path>
              </a:pathLst>
            </a:custGeom>
            <a:solidFill>
              <a:srgbClr val="F2BE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IN" dirty="0"/>
            </a:p>
          </p:txBody>
        </p:sp>
        <p:sp>
          <p:nvSpPr>
            <p:cNvPr id="421" name="Freeform 420"/>
            <p:cNvSpPr>
              <a:spLocks/>
            </p:cNvSpPr>
            <p:nvPr/>
          </p:nvSpPr>
          <p:spPr bwMode="auto">
            <a:xfrm>
              <a:off x="3465513" y="5916613"/>
              <a:ext cx="73025" cy="74613"/>
            </a:xfrm>
            <a:custGeom>
              <a:avLst/>
              <a:gdLst>
                <a:gd name="T0" fmla="*/ 46 w 46"/>
                <a:gd name="T1" fmla="*/ 27 h 47"/>
                <a:gd name="T2" fmla="*/ 15 w 46"/>
                <a:gd name="T3" fmla="*/ 47 h 47"/>
                <a:gd name="T4" fmla="*/ 0 w 46"/>
                <a:gd name="T5" fmla="*/ 14 h 47"/>
                <a:gd name="T6" fmla="*/ 33 w 46"/>
                <a:gd name="T7" fmla="*/ 0 h 47"/>
                <a:gd name="T8" fmla="*/ 46 w 46"/>
                <a:gd name="T9" fmla="*/ 27 h 47"/>
              </a:gdLst>
              <a:ahLst/>
              <a:cxnLst>
                <a:cxn ang="0">
                  <a:pos x="T0" y="T1"/>
                </a:cxn>
                <a:cxn ang="0">
                  <a:pos x="T2" y="T3"/>
                </a:cxn>
                <a:cxn ang="0">
                  <a:pos x="T4" y="T5"/>
                </a:cxn>
                <a:cxn ang="0">
                  <a:pos x="T6" y="T7"/>
                </a:cxn>
                <a:cxn ang="0">
                  <a:pos x="T8" y="T9"/>
                </a:cxn>
              </a:cxnLst>
              <a:rect l="0" t="0" r="r" b="b"/>
              <a:pathLst>
                <a:path w="46" h="47">
                  <a:moveTo>
                    <a:pt x="46" y="27"/>
                  </a:moveTo>
                  <a:lnTo>
                    <a:pt x="15" y="47"/>
                  </a:lnTo>
                  <a:lnTo>
                    <a:pt x="0" y="14"/>
                  </a:lnTo>
                  <a:lnTo>
                    <a:pt x="33" y="0"/>
                  </a:lnTo>
                  <a:lnTo>
                    <a:pt x="46" y="27"/>
                  </a:lnTo>
                  <a:close/>
                </a:path>
              </a:pathLst>
            </a:custGeom>
            <a:solidFill>
              <a:srgbClr val="DD5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IN" dirty="0"/>
            </a:p>
          </p:txBody>
        </p:sp>
        <p:sp>
          <p:nvSpPr>
            <p:cNvPr id="422" name="Freeform 421"/>
            <p:cNvSpPr>
              <a:spLocks/>
            </p:cNvSpPr>
            <p:nvPr/>
          </p:nvSpPr>
          <p:spPr bwMode="auto">
            <a:xfrm>
              <a:off x="3305175" y="5454650"/>
              <a:ext cx="117475" cy="288925"/>
            </a:xfrm>
            <a:custGeom>
              <a:avLst/>
              <a:gdLst>
                <a:gd name="T0" fmla="*/ 157 w 157"/>
                <a:gd name="T1" fmla="*/ 99 h 387"/>
                <a:gd name="T2" fmla="*/ 32 w 157"/>
                <a:gd name="T3" fmla="*/ 0 h 387"/>
                <a:gd name="T4" fmla="*/ 0 w 157"/>
                <a:gd name="T5" fmla="*/ 127 h 387"/>
                <a:gd name="T6" fmla="*/ 22 w 157"/>
                <a:gd name="T7" fmla="*/ 127 h 387"/>
                <a:gd name="T8" fmla="*/ 36 w 157"/>
                <a:gd name="T9" fmla="*/ 195 h 387"/>
                <a:gd name="T10" fmla="*/ 36 w 157"/>
                <a:gd name="T11" fmla="*/ 197 h 387"/>
                <a:gd name="T12" fmla="*/ 73 w 157"/>
                <a:gd name="T13" fmla="*/ 192 h 387"/>
                <a:gd name="T14" fmla="*/ 68 w 157"/>
                <a:gd name="T15" fmla="*/ 251 h 387"/>
                <a:gd name="T16" fmla="*/ 100 w 157"/>
                <a:gd name="T17" fmla="*/ 387 h 387"/>
                <a:gd name="T18" fmla="*/ 145 w 157"/>
                <a:gd name="T19" fmla="*/ 251 h 387"/>
                <a:gd name="T20" fmla="*/ 145 w 157"/>
                <a:gd name="T21" fmla="*/ 151 h 387"/>
                <a:gd name="T22" fmla="*/ 157 w 157"/>
                <a:gd name="T23" fmla="*/ 99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7" h="387">
                  <a:moveTo>
                    <a:pt x="157" y="99"/>
                  </a:moveTo>
                  <a:cubicBezTo>
                    <a:pt x="157" y="29"/>
                    <a:pt x="101" y="0"/>
                    <a:pt x="32" y="0"/>
                  </a:cubicBezTo>
                  <a:cubicBezTo>
                    <a:pt x="0" y="127"/>
                    <a:pt x="0" y="127"/>
                    <a:pt x="0" y="127"/>
                  </a:cubicBezTo>
                  <a:cubicBezTo>
                    <a:pt x="22" y="127"/>
                    <a:pt x="22" y="127"/>
                    <a:pt x="22" y="127"/>
                  </a:cubicBezTo>
                  <a:cubicBezTo>
                    <a:pt x="36" y="195"/>
                    <a:pt x="36" y="195"/>
                    <a:pt x="36" y="195"/>
                  </a:cubicBezTo>
                  <a:cubicBezTo>
                    <a:pt x="43" y="197"/>
                    <a:pt x="29" y="197"/>
                    <a:pt x="36" y="197"/>
                  </a:cubicBezTo>
                  <a:cubicBezTo>
                    <a:pt x="49" y="197"/>
                    <a:pt x="61" y="195"/>
                    <a:pt x="73" y="192"/>
                  </a:cubicBezTo>
                  <a:cubicBezTo>
                    <a:pt x="68" y="251"/>
                    <a:pt x="68" y="251"/>
                    <a:pt x="68" y="251"/>
                  </a:cubicBezTo>
                  <a:cubicBezTo>
                    <a:pt x="100" y="387"/>
                    <a:pt x="100" y="387"/>
                    <a:pt x="100" y="387"/>
                  </a:cubicBezTo>
                  <a:cubicBezTo>
                    <a:pt x="145" y="251"/>
                    <a:pt x="145" y="251"/>
                    <a:pt x="145" y="251"/>
                  </a:cubicBezTo>
                  <a:cubicBezTo>
                    <a:pt x="145" y="151"/>
                    <a:pt x="145" y="151"/>
                    <a:pt x="145" y="151"/>
                  </a:cubicBezTo>
                  <a:cubicBezTo>
                    <a:pt x="153" y="135"/>
                    <a:pt x="157" y="118"/>
                    <a:pt x="157" y="99"/>
                  </a:cubicBezTo>
                  <a:close/>
                </a:path>
              </a:pathLst>
            </a:custGeom>
            <a:solidFill>
              <a:srgbClr val="DD5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IN" dirty="0"/>
            </a:p>
          </p:txBody>
        </p:sp>
        <p:sp>
          <p:nvSpPr>
            <p:cNvPr id="423" name="Oval 422"/>
            <p:cNvSpPr>
              <a:spLocks noChangeArrowheads="1"/>
            </p:cNvSpPr>
            <p:nvPr/>
          </p:nvSpPr>
          <p:spPr bwMode="auto">
            <a:xfrm>
              <a:off x="3324225" y="5516563"/>
              <a:ext cx="7938" cy="7938"/>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IN" dirty="0"/>
            </a:p>
          </p:txBody>
        </p:sp>
        <p:sp>
          <p:nvSpPr>
            <p:cNvPr id="424" name="Rectangle 423"/>
            <p:cNvSpPr>
              <a:spLocks noChangeArrowheads="1"/>
            </p:cNvSpPr>
            <p:nvPr/>
          </p:nvSpPr>
          <p:spPr bwMode="auto">
            <a:xfrm>
              <a:off x="2928938" y="5815013"/>
              <a:ext cx="57150" cy="52388"/>
            </a:xfrm>
            <a:prstGeom prst="rect">
              <a:avLst/>
            </a:prstGeom>
            <a:solidFill>
              <a:srgbClr val="DD5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IN" dirty="0"/>
            </a:p>
          </p:txBody>
        </p:sp>
        <p:sp>
          <p:nvSpPr>
            <p:cNvPr id="425" name="Freeform 424"/>
            <p:cNvSpPr>
              <a:spLocks/>
            </p:cNvSpPr>
            <p:nvPr/>
          </p:nvSpPr>
          <p:spPr bwMode="auto">
            <a:xfrm>
              <a:off x="2928938" y="5826125"/>
              <a:ext cx="57150" cy="41275"/>
            </a:xfrm>
            <a:custGeom>
              <a:avLst/>
              <a:gdLst>
                <a:gd name="T0" fmla="*/ 36 w 36"/>
                <a:gd name="T1" fmla="*/ 26 h 26"/>
                <a:gd name="T2" fmla="*/ 0 w 36"/>
                <a:gd name="T3" fmla="*/ 26 h 26"/>
                <a:gd name="T4" fmla="*/ 0 w 36"/>
                <a:gd name="T5" fmla="*/ 0 h 26"/>
                <a:gd name="T6" fmla="*/ 36 w 36"/>
                <a:gd name="T7" fmla="*/ 26 h 26"/>
              </a:gdLst>
              <a:ahLst/>
              <a:cxnLst>
                <a:cxn ang="0">
                  <a:pos x="T0" y="T1"/>
                </a:cxn>
                <a:cxn ang="0">
                  <a:pos x="T2" y="T3"/>
                </a:cxn>
                <a:cxn ang="0">
                  <a:pos x="T4" y="T5"/>
                </a:cxn>
                <a:cxn ang="0">
                  <a:pos x="T6" y="T7"/>
                </a:cxn>
              </a:cxnLst>
              <a:rect l="0" t="0" r="r" b="b"/>
              <a:pathLst>
                <a:path w="36" h="26">
                  <a:moveTo>
                    <a:pt x="36" y="26"/>
                  </a:moveTo>
                  <a:lnTo>
                    <a:pt x="0" y="26"/>
                  </a:lnTo>
                  <a:lnTo>
                    <a:pt x="0" y="0"/>
                  </a:lnTo>
                  <a:lnTo>
                    <a:pt x="36" y="26"/>
                  </a:lnTo>
                  <a:close/>
                </a:path>
              </a:pathLst>
            </a:custGeom>
            <a:solidFill>
              <a:srgbClr val="F2BE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IN" dirty="0"/>
            </a:p>
          </p:txBody>
        </p:sp>
        <p:sp>
          <p:nvSpPr>
            <p:cNvPr id="426" name="Freeform 425"/>
            <p:cNvSpPr>
              <a:spLocks noEditPoints="1"/>
            </p:cNvSpPr>
            <p:nvPr/>
          </p:nvSpPr>
          <p:spPr bwMode="auto">
            <a:xfrm>
              <a:off x="3189288" y="6007100"/>
              <a:ext cx="309563" cy="588963"/>
            </a:xfrm>
            <a:custGeom>
              <a:avLst/>
              <a:gdLst>
                <a:gd name="T0" fmla="*/ 194 w 195"/>
                <a:gd name="T1" fmla="*/ 325 h 371"/>
                <a:gd name="T2" fmla="*/ 195 w 195"/>
                <a:gd name="T3" fmla="*/ 45 h 371"/>
                <a:gd name="T4" fmla="*/ 138 w 195"/>
                <a:gd name="T5" fmla="*/ 43 h 371"/>
                <a:gd name="T6" fmla="*/ 127 w 195"/>
                <a:gd name="T7" fmla="*/ 0 h 371"/>
                <a:gd name="T8" fmla="*/ 120 w 195"/>
                <a:gd name="T9" fmla="*/ 46 h 371"/>
                <a:gd name="T10" fmla="*/ 59 w 195"/>
                <a:gd name="T11" fmla="*/ 48 h 371"/>
                <a:gd name="T12" fmla="*/ 57 w 195"/>
                <a:gd name="T13" fmla="*/ 335 h 371"/>
                <a:gd name="T14" fmla="*/ 0 w 195"/>
                <a:gd name="T15" fmla="*/ 346 h 371"/>
                <a:gd name="T16" fmla="*/ 0 w 195"/>
                <a:gd name="T17" fmla="*/ 371 h 371"/>
                <a:gd name="T18" fmla="*/ 60 w 195"/>
                <a:gd name="T19" fmla="*/ 371 h 371"/>
                <a:gd name="T20" fmla="*/ 67 w 195"/>
                <a:gd name="T21" fmla="*/ 363 h 371"/>
                <a:gd name="T22" fmla="*/ 81 w 195"/>
                <a:gd name="T23" fmla="*/ 363 h 371"/>
                <a:gd name="T24" fmla="*/ 81 w 195"/>
                <a:gd name="T25" fmla="*/ 371 h 371"/>
                <a:gd name="T26" fmla="*/ 92 w 195"/>
                <a:gd name="T27" fmla="*/ 371 h 371"/>
                <a:gd name="T28" fmla="*/ 102 w 195"/>
                <a:gd name="T29" fmla="*/ 371 h 371"/>
                <a:gd name="T30" fmla="*/ 152 w 195"/>
                <a:gd name="T31" fmla="*/ 371 h 371"/>
                <a:gd name="T32" fmla="*/ 160 w 195"/>
                <a:gd name="T33" fmla="*/ 363 h 371"/>
                <a:gd name="T34" fmla="*/ 174 w 195"/>
                <a:gd name="T35" fmla="*/ 363 h 371"/>
                <a:gd name="T36" fmla="*/ 174 w 195"/>
                <a:gd name="T37" fmla="*/ 371 h 371"/>
                <a:gd name="T38" fmla="*/ 194 w 195"/>
                <a:gd name="T39" fmla="*/ 371 h 371"/>
                <a:gd name="T40" fmla="*/ 194 w 195"/>
                <a:gd name="T41" fmla="*/ 346 h 371"/>
                <a:gd name="T42" fmla="*/ 194 w 195"/>
                <a:gd name="T43" fmla="*/ 326 h 371"/>
                <a:gd name="T44" fmla="*/ 195 w 195"/>
                <a:gd name="T45" fmla="*/ 325 h 371"/>
                <a:gd name="T46" fmla="*/ 194 w 195"/>
                <a:gd name="T47" fmla="*/ 325 h 371"/>
                <a:gd name="T48" fmla="*/ 102 w 195"/>
                <a:gd name="T49" fmla="*/ 345 h 371"/>
                <a:gd name="T50" fmla="*/ 102 w 195"/>
                <a:gd name="T51" fmla="*/ 326 h 371"/>
                <a:gd name="T52" fmla="*/ 103 w 195"/>
                <a:gd name="T53" fmla="*/ 325 h 371"/>
                <a:gd name="T54" fmla="*/ 102 w 195"/>
                <a:gd name="T55" fmla="*/ 325 h 371"/>
                <a:gd name="T56" fmla="*/ 125 w 195"/>
                <a:gd name="T57" fmla="*/ 64 h 371"/>
                <a:gd name="T58" fmla="*/ 132 w 195"/>
                <a:gd name="T59" fmla="*/ 64 h 371"/>
                <a:gd name="T60" fmla="*/ 149 w 195"/>
                <a:gd name="T61" fmla="*/ 335 h 371"/>
                <a:gd name="T62" fmla="*/ 102 w 195"/>
                <a:gd name="T63" fmla="*/ 345 h 3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95" h="371">
                  <a:moveTo>
                    <a:pt x="194" y="325"/>
                  </a:moveTo>
                  <a:lnTo>
                    <a:pt x="195" y="45"/>
                  </a:lnTo>
                  <a:lnTo>
                    <a:pt x="138" y="43"/>
                  </a:lnTo>
                  <a:lnTo>
                    <a:pt x="127" y="0"/>
                  </a:lnTo>
                  <a:lnTo>
                    <a:pt x="120" y="46"/>
                  </a:lnTo>
                  <a:lnTo>
                    <a:pt x="59" y="48"/>
                  </a:lnTo>
                  <a:lnTo>
                    <a:pt x="57" y="335"/>
                  </a:lnTo>
                  <a:lnTo>
                    <a:pt x="0" y="346"/>
                  </a:lnTo>
                  <a:lnTo>
                    <a:pt x="0" y="371"/>
                  </a:lnTo>
                  <a:lnTo>
                    <a:pt x="60" y="371"/>
                  </a:lnTo>
                  <a:lnTo>
                    <a:pt x="67" y="363"/>
                  </a:lnTo>
                  <a:lnTo>
                    <a:pt x="81" y="363"/>
                  </a:lnTo>
                  <a:lnTo>
                    <a:pt x="81" y="371"/>
                  </a:lnTo>
                  <a:lnTo>
                    <a:pt x="92" y="371"/>
                  </a:lnTo>
                  <a:lnTo>
                    <a:pt x="102" y="371"/>
                  </a:lnTo>
                  <a:lnTo>
                    <a:pt x="152" y="371"/>
                  </a:lnTo>
                  <a:lnTo>
                    <a:pt x="160" y="363"/>
                  </a:lnTo>
                  <a:lnTo>
                    <a:pt x="174" y="363"/>
                  </a:lnTo>
                  <a:lnTo>
                    <a:pt x="174" y="371"/>
                  </a:lnTo>
                  <a:lnTo>
                    <a:pt x="194" y="371"/>
                  </a:lnTo>
                  <a:lnTo>
                    <a:pt x="194" y="346"/>
                  </a:lnTo>
                  <a:lnTo>
                    <a:pt x="194" y="326"/>
                  </a:lnTo>
                  <a:lnTo>
                    <a:pt x="195" y="325"/>
                  </a:lnTo>
                  <a:lnTo>
                    <a:pt x="194" y="325"/>
                  </a:lnTo>
                  <a:close/>
                  <a:moveTo>
                    <a:pt x="102" y="345"/>
                  </a:moveTo>
                  <a:lnTo>
                    <a:pt x="102" y="326"/>
                  </a:lnTo>
                  <a:lnTo>
                    <a:pt x="103" y="325"/>
                  </a:lnTo>
                  <a:lnTo>
                    <a:pt x="102" y="325"/>
                  </a:lnTo>
                  <a:lnTo>
                    <a:pt x="125" y="64"/>
                  </a:lnTo>
                  <a:lnTo>
                    <a:pt x="132" y="64"/>
                  </a:lnTo>
                  <a:lnTo>
                    <a:pt x="149" y="335"/>
                  </a:lnTo>
                  <a:lnTo>
                    <a:pt x="102" y="345"/>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IN" dirty="0"/>
            </a:p>
          </p:txBody>
        </p:sp>
        <p:sp>
          <p:nvSpPr>
            <p:cNvPr id="427" name="Freeform 426"/>
            <p:cNvSpPr>
              <a:spLocks noEditPoints="1"/>
            </p:cNvSpPr>
            <p:nvPr/>
          </p:nvSpPr>
          <p:spPr bwMode="auto">
            <a:xfrm>
              <a:off x="2582863" y="5641975"/>
              <a:ext cx="311150" cy="954088"/>
            </a:xfrm>
            <a:custGeom>
              <a:avLst/>
              <a:gdLst>
                <a:gd name="T0" fmla="*/ 5 w 196"/>
                <a:gd name="T1" fmla="*/ 555 h 601"/>
                <a:gd name="T2" fmla="*/ 6 w 196"/>
                <a:gd name="T3" fmla="*/ 556 h 601"/>
                <a:gd name="T4" fmla="*/ 6 w 196"/>
                <a:gd name="T5" fmla="*/ 576 h 601"/>
                <a:gd name="T6" fmla="*/ 6 w 196"/>
                <a:gd name="T7" fmla="*/ 601 h 601"/>
                <a:gd name="T8" fmla="*/ 26 w 196"/>
                <a:gd name="T9" fmla="*/ 601 h 601"/>
                <a:gd name="T10" fmla="*/ 26 w 196"/>
                <a:gd name="T11" fmla="*/ 593 h 601"/>
                <a:gd name="T12" fmla="*/ 40 w 196"/>
                <a:gd name="T13" fmla="*/ 593 h 601"/>
                <a:gd name="T14" fmla="*/ 47 w 196"/>
                <a:gd name="T15" fmla="*/ 601 h 601"/>
                <a:gd name="T16" fmla="*/ 98 w 196"/>
                <a:gd name="T17" fmla="*/ 601 h 601"/>
                <a:gd name="T18" fmla="*/ 108 w 196"/>
                <a:gd name="T19" fmla="*/ 601 h 601"/>
                <a:gd name="T20" fmla="*/ 118 w 196"/>
                <a:gd name="T21" fmla="*/ 601 h 601"/>
                <a:gd name="T22" fmla="*/ 118 w 196"/>
                <a:gd name="T23" fmla="*/ 593 h 601"/>
                <a:gd name="T24" fmla="*/ 133 w 196"/>
                <a:gd name="T25" fmla="*/ 593 h 601"/>
                <a:gd name="T26" fmla="*/ 140 w 196"/>
                <a:gd name="T27" fmla="*/ 601 h 601"/>
                <a:gd name="T28" fmla="*/ 196 w 196"/>
                <a:gd name="T29" fmla="*/ 601 h 601"/>
                <a:gd name="T30" fmla="*/ 196 w 196"/>
                <a:gd name="T31" fmla="*/ 576 h 601"/>
                <a:gd name="T32" fmla="*/ 143 w 196"/>
                <a:gd name="T33" fmla="*/ 567 h 601"/>
                <a:gd name="T34" fmla="*/ 132 w 196"/>
                <a:gd name="T35" fmla="*/ 278 h 601"/>
                <a:gd name="T36" fmla="*/ 143 w 196"/>
                <a:gd name="T37" fmla="*/ 275 h 601"/>
                <a:gd name="T38" fmla="*/ 132 w 196"/>
                <a:gd name="T39" fmla="*/ 171 h 601"/>
                <a:gd name="T40" fmla="*/ 143 w 196"/>
                <a:gd name="T41" fmla="*/ 71 h 601"/>
                <a:gd name="T42" fmla="*/ 143 w 196"/>
                <a:gd name="T43" fmla="*/ 23 h 601"/>
                <a:gd name="T44" fmla="*/ 143 w 196"/>
                <a:gd name="T45" fmla="*/ 14 h 601"/>
                <a:gd name="T46" fmla="*/ 97 w 196"/>
                <a:gd name="T47" fmla="*/ 0 h 601"/>
                <a:gd name="T48" fmla="*/ 52 w 196"/>
                <a:gd name="T49" fmla="*/ 0 h 601"/>
                <a:gd name="T50" fmla="*/ 6 w 196"/>
                <a:gd name="T51" fmla="*/ 14 h 601"/>
                <a:gd name="T52" fmla="*/ 0 w 196"/>
                <a:gd name="T53" fmla="*/ 58 h 601"/>
                <a:gd name="T54" fmla="*/ 11 w 196"/>
                <a:gd name="T55" fmla="*/ 169 h 601"/>
                <a:gd name="T56" fmla="*/ 6 w 196"/>
                <a:gd name="T57" fmla="*/ 275 h 601"/>
                <a:gd name="T58" fmla="*/ 6 w 196"/>
                <a:gd name="T59" fmla="*/ 275 h 601"/>
                <a:gd name="T60" fmla="*/ 15 w 196"/>
                <a:gd name="T61" fmla="*/ 275 h 601"/>
                <a:gd name="T62" fmla="*/ 6 w 196"/>
                <a:gd name="T63" fmla="*/ 555 h 601"/>
                <a:gd name="T64" fmla="*/ 5 w 196"/>
                <a:gd name="T65" fmla="*/ 555 h 601"/>
                <a:gd name="T66" fmla="*/ 51 w 196"/>
                <a:gd name="T67" fmla="*/ 565 h 601"/>
                <a:gd name="T68" fmla="*/ 68 w 196"/>
                <a:gd name="T69" fmla="*/ 294 h 601"/>
                <a:gd name="T70" fmla="*/ 75 w 196"/>
                <a:gd name="T71" fmla="*/ 294 h 601"/>
                <a:gd name="T72" fmla="*/ 98 w 196"/>
                <a:gd name="T73" fmla="*/ 555 h 601"/>
                <a:gd name="T74" fmla="*/ 97 w 196"/>
                <a:gd name="T75" fmla="*/ 555 h 601"/>
                <a:gd name="T76" fmla="*/ 98 w 196"/>
                <a:gd name="T77" fmla="*/ 556 h 601"/>
                <a:gd name="T78" fmla="*/ 98 w 196"/>
                <a:gd name="T79" fmla="*/ 575 h 601"/>
                <a:gd name="T80" fmla="*/ 51 w 196"/>
                <a:gd name="T81" fmla="*/ 565 h 6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96" h="601">
                  <a:moveTo>
                    <a:pt x="5" y="555"/>
                  </a:moveTo>
                  <a:lnTo>
                    <a:pt x="6" y="556"/>
                  </a:lnTo>
                  <a:lnTo>
                    <a:pt x="6" y="576"/>
                  </a:lnTo>
                  <a:lnTo>
                    <a:pt x="6" y="601"/>
                  </a:lnTo>
                  <a:lnTo>
                    <a:pt x="26" y="601"/>
                  </a:lnTo>
                  <a:lnTo>
                    <a:pt x="26" y="593"/>
                  </a:lnTo>
                  <a:lnTo>
                    <a:pt x="40" y="593"/>
                  </a:lnTo>
                  <a:lnTo>
                    <a:pt x="47" y="601"/>
                  </a:lnTo>
                  <a:lnTo>
                    <a:pt x="98" y="601"/>
                  </a:lnTo>
                  <a:lnTo>
                    <a:pt x="108" y="601"/>
                  </a:lnTo>
                  <a:lnTo>
                    <a:pt x="118" y="601"/>
                  </a:lnTo>
                  <a:lnTo>
                    <a:pt x="118" y="593"/>
                  </a:lnTo>
                  <a:lnTo>
                    <a:pt x="133" y="593"/>
                  </a:lnTo>
                  <a:lnTo>
                    <a:pt x="140" y="601"/>
                  </a:lnTo>
                  <a:lnTo>
                    <a:pt x="196" y="601"/>
                  </a:lnTo>
                  <a:lnTo>
                    <a:pt x="196" y="576"/>
                  </a:lnTo>
                  <a:lnTo>
                    <a:pt x="143" y="567"/>
                  </a:lnTo>
                  <a:lnTo>
                    <a:pt x="132" y="278"/>
                  </a:lnTo>
                  <a:lnTo>
                    <a:pt x="143" y="275"/>
                  </a:lnTo>
                  <a:lnTo>
                    <a:pt x="132" y="171"/>
                  </a:lnTo>
                  <a:lnTo>
                    <a:pt x="143" y="71"/>
                  </a:lnTo>
                  <a:lnTo>
                    <a:pt x="143" y="23"/>
                  </a:lnTo>
                  <a:lnTo>
                    <a:pt x="143" y="14"/>
                  </a:lnTo>
                  <a:lnTo>
                    <a:pt x="97" y="0"/>
                  </a:lnTo>
                  <a:lnTo>
                    <a:pt x="52" y="0"/>
                  </a:lnTo>
                  <a:lnTo>
                    <a:pt x="6" y="14"/>
                  </a:lnTo>
                  <a:lnTo>
                    <a:pt x="0" y="58"/>
                  </a:lnTo>
                  <a:lnTo>
                    <a:pt x="11" y="169"/>
                  </a:lnTo>
                  <a:lnTo>
                    <a:pt x="6" y="275"/>
                  </a:lnTo>
                  <a:lnTo>
                    <a:pt x="6" y="275"/>
                  </a:lnTo>
                  <a:lnTo>
                    <a:pt x="15" y="275"/>
                  </a:lnTo>
                  <a:lnTo>
                    <a:pt x="6" y="555"/>
                  </a:lnTo>
                  <a:lnTo>
                    <a:pt x="5" y="555"/>
                  </a:lnTo>
                  <a:close/>
                  <a:moveTo>
                    <a:pt x="51" y="565"/>
                  </a:moveTo>
                  <a:lnTo>
                    <a:pt x="68" y="294"/>
                  </a:lnTo>
                  <a:lnTo>
                    <a:pt x="75" y="294"/>
                  </a:lnTo>
                  <a:lnTo>
                    <a:pt x="98" y="555"/>
                  </a:lnTo>
                  <a:lnTo>
                    <a:pt x="97" y="555"/>
                  </a:lnTo>
                  <a:lnTo>
                    <a:pt x="98" y="556"/>
                  </a:lnTo>
                  <a:lnTo>
                    <a:pt x="98" y="575"/>
                  </a:lnTo>
                  <a:lnTo>
                    <a:pt x="51" y="565"/>
                  </a:lnTo>
                  <a:close/>
                </a:path>
              </a:pathLst>
            </a:custGeom>
            <a:solidFill>
              <a:srgbClr val="77378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IN" dirty="0"/>
            </a:p>
          </p:txBody>
        </p:sp>
        <p:sp>
          <p:nvSpPr>
            <p:cNvPr id="428" name="Freeform 427"/>
            <p:cNvSpPr>
              <a:spLocks noEditPoints="1"/>
            </p:cNvSpPr>
            <p:nvPr/>
          </p:nvSpPr>
          <p:spPr bwMode="auto">
            <a:xfrm>
              <a:off x="2590800" y="6051550"/>
              <a:ext cx="303213" cy="544513"/>
            </a:xfrm>
            <a:custGeom>
              <a:avLst/>
              <a:gdLst>
                <a:gd name="T0" fmla="*/ 0 w 191"/>
                <a:gd name="T1" fmla="*/ 297 h 343"/>
                <a:gd name="T2" fmla="*/ 1 w 191"/>
                <a:gd name="T3" fmla="*/ 298 h 343"/>
                <a:gd name="T4" fmla="*/ 1 w 191"/>
                <a:gd name="T5" fmla="*/ 318 h 343"/>
                <a:gd name="T6" fmla="*/ 1 w 191"/>
                <a:gd name="T7" fmla="*/ 343 h 343"/>
                <a:gd name="T8" fmla="*/ 21 w 191"/>
                <a:gd name="T9" fmla="*/ 343 h 343"/>
                <a:gd name="T10" fmla="*/ 21 w 191"/>
                <a:gd name="T11" fmla="*/ 337 h 343"/>
                <a:gd name="T12" fmla="*/ 35 w 191"/>
                <a:gd name="T13" fmla="*/ 337 h 343"/>
                <a:gd name="T14" fmla="*/ 42 w 191"/>
                <a:gd name="T15" fmla="*/ 343 h 343"/>
                <a:gd name="T16" fmla="*/ 93 w 191"/>
                <a:gd name="T17" fmla="*/ 343 h 343"/>
                <a:gd name="T18" fmla="*/ 103 w 191"/>
                <a:gd name="T19" fmla="*/ 343 h 343"/>
                <a:gd name="T20" fmla="*/ 113 w 191"/>
                <a:gd name="T21" fmla="*/ 343 h 343"/>
                <a:gd name="T22" fmla="*/ 113 w 191"/>
                <a:gd name="T23" fmla="*/ 337 h 343"/>
                <a:gd name="T24" fmla="*/ 128 w 191"/>
                <a:gd name="T25" fmla="*/ 337 h 343"/>
                <a:gd name="T26" fmla="*/ 135 w 191"/>
                <a:gd name="T27" fmla="*/ 343 h 343"/>
                <a:gd name="T28" fmla="*/ 191 w 191"/>
                <a:gd name="T29" fmla="*/ 343 h 343"/>
                <a:gd name="T30" fmla="*/ 191 w 191"/>
                <a:gd name="T31" fmla="*/ 318 h 343"/>
                <a:gd name="T32" fmla="*/ 138 w 191"/>
                <a:gd name="T33" fmla="*/ 309 h 343"/>
                <a:gd name="T34" fmla="*/ 127 w 191"/>
                <a:gd name="T35" fmla="*/ 20 h 343"/>
                <a:gd name="T36" fmla="*/ 75 w 191"/>
                <a:gd name="T37" fmla="*/ 18 h 343"/>
                <a:gd name="T38" fmla="*/ 66 w 191"/>
                <a:gd name="T39" fmla="*/ 0 h 343"/>
                <a:gd name="T40" fmla="*/ 57 w 191"/>
                <a:gd name="T41" fmla="*/ 15 h 343"/>
                <a:gd name="T42" fmla="*/ 10 w 191"/>
                <a:gd name="T43" fmla="*/ 17 h 343"/>
                <a:gd name="T44" fmla="*/ 1 w 191"/>
                <a:gd name="T45" fmla="*/ 297 h 343"/>
                <a:gd name="T46" fmla="*/ 0 w 191"/>
                <a:gd name="T47" fmla="*/ 297 h 343"/>
                <a:gd name="T48" fmla="*/ 46 w 191"/>
                <a:gd name="T49" fmla="*/ 307 h 343"/>
                <a:gd name="T50" fmla="*/ 63 w 191"/>
                <a:gd name="T51" fmla="*/ 36 h 343"/>
                <a:gd name="T52" fmla="*/ 70 w 191"/>
                <a:gd name="T53" fmla="*/ 36 h 343"/>
                <a:gd name="T54" fmla="*/ 93 w 191"/>
                <a:gd name="T55" fmla="*/ 297 h 343"/>
                <a:gd name="T56" fmla="*/ 92 w 191"/>
                <a:gd name="T57" fmla="*/ 297 h 343"/>
                <a:gd name="T58" fmla="*/ 93 w 191"/>
                <a:gd name="T59" fmla="*/ 298 h 343"/>
                <a:gd name="T60" fmla="*/ 93 w 191"/>
                <a:gd name="T61" fmla="*/ 317 h 343"/>
                <a:gd name="T62" fmla="*/ 46 w 191"/>
                <a:gd name="T63" fmla="*/ 307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91" h="343">
                  <a:moveTo>
                    <a:pt x="0" y="297"/>
                  </a:moveTo>
                  <a:lnTo>
                    <a:pt x="1" y="298"/>
                  </a:lnTo>
                  <a:lnTo>
                    <a:pt x="1" y="318"/>
                  </a:lnTo>
                  <a:lnTo>
                    <a:pt x="1" y="343"/>
                  </a:lnTo>
                  <a:lnTo>
                    <a:pt x="21" y="343"/>
                  </a:lnTo>
                  <a:lnTo>
                    <a:pt x="21" y="337"/>
                  </a:lnTo>
                  <a:lnTo>
                    <a:pt x="35" y="337"/>
                  </a:lnTo>
                  <a:lnTo>
                    <a:pt x="42" y="343"/>
                  </a:lnTo>
                  <a:lnTo>
                    <a:pt x="93" y="343"/>
                  </a:lnTo>
                  <a:lnTo>
                    <a:pt x="103" y="343"/>
                  </a:lnTo>
                  <a:lnTo>
                    <a:pt x="113" y="343"/>
                  </a:lnTo>
                  <a:lnTo>
                    <a:pt x="113" y="337"/>
                  </a:lnTo>
                  <a:lnTo>
                    <a:pt x="128" y="337"/>
                  </a:lnTo>
                  <a:lnTo>
                    <a:pt x="135" y="343"/>
                  </a:lnTo>
                  <a:lnTo>
                    <a:pt x="191" y="343"/>
                  </a:lnTo>
                  <a:lnTo>
                    <a:pt x="191" y="318"/>
                  </a:lnTo>
                  <a:lnTo>
                    <a:pt x="138" y="309"/>
                  </a:lnTo>
                  <a:lnTo>
                    <a:pt x="127" y="20"/>
                  </a:lnTo>
                  <a:lnTo>
                    <a:pt x="75" y="18"/>
                  </a:lnTo>
                  <a:lnTo>
                    <a:pt x="66" y="0"/>
                  </a:lnTo>
                  <a:lnTo>
                    <a:pt x="57" y="15"/>
                  </a:lnTo>
                  <a:lnTo>
                    <a:pt x="10" y="17"/>
                  </a:lnTo>
                  <a:lnTo>
                    <a:pt x="1" y="297"/>
                  </a:lnTo>
                  <a:lnTo>
                    <a:pt x="0" y="297"/>
                  </a:lnTo>
                  <a:close/>
                  <a:moveTo>
                    <a:pt x="46" y="307"/>
                  </a:moveTo>
                  <a:lnTo>
                    <a:pt x="63" y="36"/>
                  </a:lnTo>
                  <a:lnTo>
                    <a:pt x="70" y="36"/>
                  </a:lnTo>
                  <a:lnTo>
                    <a:pt x="93" y="297"/>
                  </a:lnTo>
                  <a:lnTo>
                    <a:pt x="92" y="297"/>
                  </a:lnTo>
                  <a:lnTo>
                    <a:pt x="93" y="298"/>
                  </a:lnTo>
                  <a:lnTo>
                    <a:pt x="93" y="317"/>
                  </a:lnTo>
                  <a:lnTo>
                    <a:pt x="46" y="307"/>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IN" dirty="0"/>
            </a:p>
          </p:txBody>
        </p:sp>
        <p:sp>
          <p:nvSpPr>
            <p:cNvPr id="429" name="Freeform 428"/>
            <p:cNvSpPr>
              <a:spLocks/>
            </p:cNvSpPr>
            <p:nvPr/>
          </p:nvSpPr>
          <p:spPr bwMode="auto">
            <a:xfrm>
              <a:off x="3330575" y="5635625"/>
              <a:ext cx="114300" cy="241300"/>
            </a:xfrm>
            <a:custGeom>
              <a:avLst/>
              <a:gdLst>
                <a:gd name="T0" fmla="*/ 64 w 72"/>
                <a:gd name="T1" fmla="*/ 0 h 152"/>
                <a:gd name="T2" fmla="*/ 53 w 72"/>
                <a:gd name="T3" fmla="*/ 0 h 152"/>
                <a:gd name="T4" fmla="*/ 36 w 72"/>
                <a:gd name="T5" fmla="*/ 65 h 152"/>
                <a:gd name="T6" fmla="*/ 16 w 72"/>
                <a:gd name="T7" fmla="*/ 0 h 152"/>
                <a:gd name="T8" fmla="*/ 8 w 72"/>
                <a:gd name="T9" fmla="*/ 0 h 152"/>
                <a:gd name="T10" fmla="*/ 0 w 72"/>
                <a:gd name="T11" fmla="*/ 28 h 152"/>
                <a:gd name="T12" fmla="*/ 6 w 72"/>
                <a:gd name="T13" fmla="*/ 33 h 152"/>
                <a:gd name="T14" fmla="*/ 0 w 72"/>
                <a:gd name="T15" fmla="*/ 40 h 152"/>
                <a:gd name="T16" fmla="*/ 36 w 72"/>
                <a:gd name="T17" fmla="*/ 152 h 152"/>
                <a:gd name="T18" fmla="*/ 72 w 72"/>
                <a:gd name="T19" fmla="*/ 40 h 152"/>
                <a:gd name="T20" fmla="*/ 66 w 72"/>
                <a:gd name="T21" fmla="*/ 33 h 152"/>
                <a:gd name="T22" fmla="*/ 72 w 72"/>
                <a:gd name="T23" fmla="*/ 28 h 152"/>
                <a:gd name="T24" fmla="*/ 64 w 72"/>
                <a:gd name="T25" fmla="*/ 0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2" h="152">
                  <a:moveTo>
                    <a:pt x="64" y="0"/>
                  </a:moveTo>
                  <a:lnTo>
                    <a:pt x="53" y="0"/>
                  </a:lnTo>
                  <a:lnTo>
                    <a:pt x="36" y="65"/>
                  </a:lnTo>
                  <a:lnTo>
                    <a:pt x="16" y="0"/>
                  </a:lnTo>
                  <a:lnTo>
                    <a:pt x="8" y="0"/>
                  </a:lnTo>
                  <a:lnTo>
                    <a:pt x="0" y="28"/>
                  </a:lnTo>
                  <a:lnTo>
                    <a:pt x="6" y="33"/>
                  </a:lnTo>
                  <a:lnTo>
                    <a:pt x="0" y="40"/>
                  </a:lnTo>
                  <a:lnTo>
                    <a:pt x="36" y="152"/>
                  </a:lnTo>
                  <a:lnTo>
                    <a:pt x="72" y="40"/>
                  </a:lnTo>
                  <a:lnTo>
                    <a:pt x="66" y="33"/>
                  </a:lnTo>
                  <a:lnTo>
                    <a:pt x="72" y="28"/>
                  </a:lnTo>
                  <a:lnTo>
                    <a:pt x="64" y="0"/>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IN" dirty="0"/>
            </a:p>
          </p:txBody>
        </p:sp>
        <p:sp>
          <p:nvSpPr>
            <p:cNvPr id="430" name="Freeform 429"/>
            <p:cNvSpPr>
              <a:spLocks/>
            </p:cNvSpPr>
            <p:nvPr/>
          </p:nvSpPr>
          <p:spPr bwMode="auto">
            <a:xfrm>
              <a:off x="2643188" y="5635625"/>
              <a:ext cx="114300" cy="273050"/>
            </a:xfrm>
            <a:custGeom>
              <a:avLst/>
              <a:gdLst>
                <a:gd name="T0" fmla="*/ 64 w 72"/>
                <a:gd name="T1" fmla="*/ 0 h 172"/>
                <a:gd name="T2" fmla="*/ 8 w 72"/>
                <a:gd name="T3" fmla="*/ 0 h 172"/>
                <a:gd name="T4" fmla="*/ 0 w 72"/>
                <a:gd name="T5" fmla="*/ 28 h 172"/>
                <a:gd name="T6" fmla="*/ 6 w 72"/>
                <a:gd name="T7" fmla="*/ 33 h 172"/>
                <a:gd name="T8" fmla="*/ 0 w 72"/>
                <a:gd name="T9" fmla="*/ 40 h 172"/>
                <a:gd name="T10" fmla="*/ 36 w 72"/>
                <a:gd name="T11" fmla="*/ 172 h 172"/>
                <a:gd name="T12" fmla="*/ 72 w 72"/>
                <a:gd name="T13" fmla="*/ 40 h 172"/>
                <a:gd name="T14" fmla="*/ 66 w 72"/>
                <a:gd name="T15" fmla="*/ 33 h 172"/>
                <a:gd name="T16" fmla="*/ 72 w 72"/>
                <a:gd name="T17" fmla="*/ 28 h 172"/>
                <a:gd name="T18" fmla="*/ 64 w 72"/>
                <a:gd name="T19" fmla="*/ 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2" h="172">
                  <a:moveTo>
                    <a:pt x="64" y="0"/>
                  </a:moveTo>
                  <a:lnTo>
                    <a:pt x="8" y="0"/>
                  </a:lnTo>
                  <a:lnTo>
                    <a:pt x="0" y="28"/>
                  </a:lnTo>
                  <a:lnTo>
                    <a:pt x="6" y="33"/>
                  </a:lnTo>
                  <a:lnTo>
                    <a:pt x="0" y="40"/>
                  </a:lnTo>
                  <a:lnTo>
                    <a:pt x="36" y="172"/>
                  </a:lnTo>
                  <a:lnTo>
                    <a:pt x="72" y="40"/>
                  </a:lnTo>
                  <a:lnTo>
                    <a:pt x="66" y="33"/>
                  </a:lnTo>
                  <a:lnTo>
                    <a:pt x="72" y="28"/>
                  </a:lnTo>
                  <a:lnTo>
                    <a:pt x="64" y="0"/>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IN" dirty="0"/>
            </a:p>
          </p:txBody>
        </p:sp>
        <p:sp>
          <p:nvSpPr>
            <p:cNvPr id="431" name="Freeform 430"/>
            <p:cNvSpPr>
              <a:spLocks/>
            </p:cNvSpPr>
            <p:nvPr/>
          </p:nvSpPr>
          <p:spPr bwMode="auto">
            <a:xfrm>
              <a:off x="3351213" y="5627688"/>
              <a:ext cx="73025" cy="182563"/>
            </a:xfrm>
            <a:custGeom>
              <a:avLst/>
              <a:gdLst>
                <a:gd name="T0" fmla="*/ 34 w 46"/>
                <a:gd name="T1" fmla="*/ 9 h 115"/>
                <a:gd name="T2" fmla="*/ 24 w 46"/>
                <a:gd name="T3" fmla="*/ 36 h 115"/>
                <a:gd name="T4" fmla="*/ 11 w 46"/>
                <a:gd name="T5" fmla="*/ 9 h 115"/>
                <a:gd name="T6" fmla="*/ 0 w 46"/>
                <a:gd name="T7" fmla="*/ 0 h 115"/>
                <a:gd name="T8" fmla="*/ 0 w 46"/>
                <a:gd name="T9" fmla="*/ 22 h 115"/>
                <a:gd name="T10" fmla="*/ 23 w 46"/>
                <a:gd name="T11" fmla="*/ 115 h 115"/>
                <a:gd name="T12" fmla="*/ 46 w 46"/>
                <a:gd name="T13" fmla="*/ 22 h 115"/>
                <a:gd name="T14" fmla="*/ 46 w 46"/>
                <a:gd name="T15" fmla="*/ 0 h 115"/>
                <a:gd name="T16" fmla="*/ 34 w 46"/>
                <a:gd name="T17" fmla="*/ 9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6" h="115">
                  <a:moveTo>
                    <a:pt x="34" y="9"/>
                  </a:moveTo>
                  <a:lnTo>
                    <a:pt x="24" y="36"/>
                  </a:lnTo>
                  <a:lnTo>
                    <a:pt x="11" y="9"/>
                  </a:lnTo>
                  <a:lnTo>
                    <a:pt x="0" y="0"/>
                  </a:lnTo>
                  <a:lnTo>
                    <a:pt x="0" y="22"/>
                  </a:lnTo>
                  <a:lnTo>
                    <a:pt x="23" y="115"/>
                  </a:lnTo>
                  <a:lnTo>
                    <a:pt x="46" y="22"/>
                  </a:lnTo>
                  <a:lnTo>
                    <a:pt x="46" y="0"/>
                  </a:lnTo>
                  <a:lnTo>
                    <a:pt x="34" y="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IN" dirty="0"/>
            </a:p>
          </p:txBody>
        </p:sp>
        <p:sp>
          <p:nvSpPr>
            <p:cNvPr id="432" name="Freeform 431"/>
            <p:cNvSpPr>
              <a:spLocks/>
            </p:cNvSpPr>
            <p:nvPr/>
          </p:nvSpPr>
          <p:spPr bwMode="auto">
            <a:xfrm>
              <a:off x="3455988" y="5654675"/>
              <a:ext cx="139700" cy="314325"/>
            </a:xfrm>
            <a:custGeom>
              <a:avLst/>
              <a:gdLst>
                <a:gd name="T0" fmla="*/ 112 w 187"/>
                <a:gd name="T1" fmla="*/ 421 h 421"/>
                <a:gd name="T2" fmla="*/ 49 w 187"/>
                <a:gd name="T3" fmla="*/ 360 h 421"/>
                <a:gd name="T4" fmla="*/ 99 w 187"/>
                <a:gd name="T5" fmla="*/ 238 h 421"/>
                <a:gd name="T6" fmla="*/ 0 w 187"/>
                <a:gd name="T7" fmla="*/ 78 h 421"/>
                <a:gd name="T8" fmla="*/ 15 w 187"/>
                <a:gd name="T9" fmla="*/ 0 h 421"/>
                <a:gd name="T10" fmla="*/ 50 w 187"/>
                <a:gd name="T11" fmla="*/ 4 h 421"/>
                <a:gd name="T12" fmla="*/ 187 w 187"/>
                <a:gd name="T13" fmla="*/ 239 h 421"/>
                <a:gd name="T14" fmla="*/ 112 w 187"/>
                <a:gd name="T15" fmla="*/ 421 h 4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 h="421">
                  <a:moveTo>
                    <a:pt x="112" y="421"/>
                  </a:moveTo>
                  <a:cubicBezTo>
                    <a:pt x="49" y="360"/>
                    <a:pt x="49" y="360"/>
                    <a:pt x="49" y="360"/>
                  </a:cubicBezTo>
                  <a:cubicBezTo>
                    <a:pt x="81" y="327"/>
                    <a:pt x="98" y="284"/>
                    <a:pt x="99" y="238"/>
                  </a:cubicBezTo>
                  <a:cubicBezTo>
                    <a:pt x="99" y="170"/>
                    <a:pt x="62" y="108"/>
                    <a:pt x="0" y="78"/>
                  </a:cubicBezTo>
                  <a:cubicBezTo>
                    <a:pt x="15" y="0"/>
                    <a:pt x="15" y="0"/>
                    <a:pt x="15" y="0"/>
                  </a:cubicBezTo>
                  <a:cubicBezTo>
                    <a:pt x="18" y="2"/>
                    <a:pt x="46" y="3"/>
                    <a:pt x="50" y="4"/>
                  </a:cubicBezTo>
                  <a:cubicBezTo>
                    <a:pt x="135" y="52"/>
                    <a:pt x="187" y="140"/>
                    <a:pt x="187" y="239"/>
                  </a:cubicBezTo>
                  <a:cubicBezTo>
                    <a:pt x="186" y="307"/>
                    <a:pt x="160" y="372"/>
                    <a:pt x="112" y="421"/>
                  </a:cubicBez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IN" dirty="0"/>
            </a:p>
          </p:txBody>
        </p:sp>
        <p:sp>
          <p:nvSpPr>
            <p:cNvPr id="433" name="Freeform 432"/>
            <p:cNvSpPr>
              <a:spLocks/>
            </p:cNvSpPr>
            <p:nvPr/>
          </p:nvSpPr>
          <p:spPr bwMode="auto">
            <a:xfrm>
              <a:off x="3413125" y="5967413"/>
              <a:ext cx="76200" cy="46038"/>
            </a:xfrm>
            <a:custGeom>
              <a:avLst/>
              <a:gdLst>
                <a:gd name="T0" fmla="*/ 48 w 48"/>
                <a:gd name="T1" fmla="*/ 29 h 29"/>
                <a:gd name="T2" fmla="*/ 0 w 48"/>
                <a:gd name="T3" fmla="*/ 13 h 29"/>
                <a:gd name="T4" fmla="*/ 0 w 48"/>
                <a:gd name="T5" fmla="*/ 0 h 29"/>
                <a:gd name="T6" fmla="*/ 48 w 48"/>
                <a:gd name="T7" fmla="*/ 16 h 29"/>
                <a:gd name="T8" fmla="*/ 48 w 48"/>
                <a:gd name="T9" fmla="*/ 29 h 29"/>
              </a:gdLst>
              <a:ahLst/>
              <a:cxnLst>
                <a:cxn ang="0">
                  <a:pos x="T0" y="T1"/>
                </a:cxn>
                <a:cxn ang="0">
                  <a:pos x="T2" y="T3"/>
                </a:cxn>
                <a:cxn ang="0">
                  <a:pos x="T4" y="T5"/>
                </a:cxn>
                <a:cxn ang="0">
                  <a:pos x="T6" y="T7"/>
                </a:cxn>
                <a:cxn ang="0">
                  <a:pos x="T8" y="T9"/>
                </a:cxn>
              </a:cxnLst>
              <a:rect l="0" t="0" r="r" b="b"/>
              <a:pathLst>
                <a:path w="48" h="29">
                  <a:moveTo>
                    <a:pt x="48" y="29"/>
                  </a:moveTo>
                  <a:lnTo>
                    <a:pt x="0" y="13"/>
                  </a:lnTo>
                  <a:lnTo>
                    <a:pt x="0" y="0"/>
                  </a:lnTo>
                  <a:lnTo>
                    <a:pt x="48" y="16"/>
                  </a:lnTo>
                  <a:lnTo>
                    <a:pt x="48" y="29"/>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IN" dirty="0"/>
            </a:p>
          </p:txBody>
        </p:sp>
        <p:sp>
          <p:nvSpPr>
            <p:cNvPr id="434" name="Freeform 433"/>
            <p:cNvSpPr>
              <a:spLocks/>
            </p:cNvSpPr>
            <p:nvPr/>
          </p:nvSpPr>
          <p:spPr bwMode="auto">
            <a:xfrm>
              <a:off x="3295650" y="5967413"/>
              <a:ext cx="76200" cy="46038"/>
            </a:xfrm>
            <a:custGeom>
              <a:avLst/>
              <a:gdLst>
                <a:gd name="T0" fmla="*/ 0 w 48"/>
                <a:gd name="T1" fmla="*/ 29 h 29"/>
                <a:gd name="T2" fmla="*/ 48 w 48"/>
                <a:gd name="T3" fmla="*/ 13 h 29"/>
                <a:gd name="T4" fmla="*/ 48 w 48"/>
                <a:gd name="T5" fmla="*/ 0 h 29"/>
                <a:gd name="T6" fmla="*/ 0 w 48"/>
                <a:gd name="T7" fmla="*/ 16 h 29"/>
                <a:gd name="T8" fmla="*/ 0 w 48"/>
                <a:gd name="T9" fmla="*/ 29 h 29"/>
              </a:gdLst>
              <a:ahLst/>
              <a:cxnLst>
                <a:cxn ang="0">
                  <a:pos x="T0" y="T1"/>
                </a:cxn>
                <a:cxn ang="0">
                  <a:pos x="T2" y="T3"/>
                </a:cxn>
                <a:cxn ang="0">
                  <a:pos x="T4" y="T5"/>
                </a:cxn>
                <a:cxn ang="0">
                  <a:pos x="T6" y="T7"/>
                </a:cxn>
                <a:cxn ang="0">
                  <a:pos x="T8" y="T9"/>
                </a:cxn>
              </a:cxnLst>
              <a:rect l="0" t="0" r="r" b="b"/>
              <a:pathLst>
                <a:path w="48" h="29">
                  <a:moveTo>
                    <a:pt x="0" y="29"/>
                  </a:moveTo>
                  <a:lnTo>
                    <a:pt x="48" y="13"/>
                  </a:lnTo>
                  <a:lnTo>
                    <a:pt x="48" y="0"/>
                  </a:lnTo>
                  <a:lnTo>
                    <a:pt x="0" y="16"/>
                  </a:lnTo>
                  <a:lnTo>
                    <a:pt x="0" y="29"/>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IN" dirty="0"/>
            </a:p>
          </p:txBody>
        </p:sp>
        <p:sp>
          <p:nvSpPr>
            <p:cNvPr id="435" name="Oval 434"/>
            <p:cNvSpPr>
              <a:spLocks noChangeArrowheads="1"/>
            </p:cNvSpPr>
            <p:nvPr/>
          </p:nvSpPr>
          <p:spPr bwMode="auto">
            <a:xfrm>
              <a:off x="3379788" y="5926138"/>
              <a:ext cx="15875" cy="14288"/>
            </a:xfrm>
            <a:prstGeom prst="ellipse">
              <a:avLst/>
            </a:pr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IN" dirty="0"/>
            </a:p>
          </p:txBody>
        </p:sp>
        <p:sp>
          <p:nvSpPr>
            <p:cNvPr id="436" name="Freeform 435"/>
            <p:cNvSpPr>
              <a:spLocks/>
            </p:cNvSpPr>
            <p:nvPr/>
          </p:nvSpPr>
          <p:spPr bwMode="auto">
            <a:xfrm>
              <a:off x="2752725" y="5729288"/>
              <a:ext cx="31750" cy="22225"/>
            </a:xfrm>
            <a:custGeom>
              <a:avLst/>
              <a:gdLst>
                <a:gd name="T0" fmla="*/ 0 w 20"/>
                <a:gd name="T1" fmla="*/ 14 h 14"/>
                <a:gd name="T2" fmla="*/ 5 w 20"/>
                <a:gd name="T3" fmla="*/ 4 h 14"/>
                <a:gd name="T4" fmla="*/ 11 w 20"/>
                <a:gd name="T5" fmla="*/ 5 h 14"/>
                <a:gd name="T6" fmla="*/ 16 w 20"/>
                <a:gd name="T7" fmla="*/ 0 h 14"/>
                <a:gd name="T8" fmla="*/ 20 w 20"/>
                <a:gd name="T9" fmla="*/ 5 h 14"/>
                <a:gd name="T10" fmla="*/ 10 w 20"/>
                <a:gd name="T11" fmla="*/ 11 h 14"/>
                <a:gd name="T12" fmla="*/ 0 w 20"/>
                <a:gd name="T13" fmla="*/ 14 h 14"/>
              </a:gdLst>
              <a:ahLst/>
              <a:cxnLst>
                <a:cxn ang="0">
                  <a:pos x="T0" y="T1"/>
                </a:cxn>
                <a:cxn ang="0">
                  <a:pos x="T2" y="T3"/>
                </a:cxn>
                <a:cxn ang="0">
                  <a:pos x="T4" y="T5"/>
                </a:cxn>
                <a:cxn ang="0">
                  <a:pos x="T6" y="T7"/>
                </a:cxn>
                <a:cxn ang="0">
                  <a:pos x="T8" y="T9"/>
                </a:cxn>
                <a:cxn ang="0">
                  <a:pos x="T10" y="T11"/>
                </a:cxn>
                <a:cxn ang="0">
                  <a:pos x="T12" y="T13"/>
                </a:cxn>
              </a:cxnLst>
              <a:rect l="0" t="0" r="r" b="b"/>
              <a:pathLst>
                <a:path w="20" h="14">
                  <a:moveTo>
                    <a:pt x="0" y="14"/>
                  </a:moveTo>
                  <a:lnTo>
                    <a:pt x="5" y="4"/>
                  </a:lnTo>
                  <a:lnTo>
                    <a:pt x="11" y="5"/>
                  </a:lnTo>
                  <a:lnTo>
                    <a:pt x="16" y="0"/>
                  </a:lnTo>
                  <a:lnTo>
                    <a:pt x="20" y="5"/>
                  </a:lnTo>
                  <a:lnTo>
                    <a:pt x="10" y="11"/>
                  </a:lnTo>
                  <a:lnTo>
                    <a:pt x="0" y="1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IN" dirty="0"/>
            </a:p>
          </p:txBody>
        </p:sp>
        <p:sp>
          <p:nvSpPr>
            <p:cNvPr id="437" name="Freeform 436"/>
            <p:cNvSpPr>
              <a:spLocks/>
            </p:cNvSpPr>
            <p:nvPr/>
          </p:nvSpPr>
          <p:spPr bwMode="auto">
            <a:xfrm>
              <a:off x="2720975" y="5961063"/>
              <a:ext cx="76200" cy="46038"/>
            </a:xfrm>
            <a:custGeom>
              <a:avLst/>
              <a:gdLst>
                <a:gd name="T0" fmla="*/ 48 w 48"/>
                <a:gd name="T1" fmla="*/ 29 h 29"/>
                <a:gd name="T2" fmla="*/ 0 w 48"/>
                <a:gd name="T3" fmla="*/ 13 h 29"/>
                <a:gd name="T4" fmla="*/ 0 w 48"/>
                <a:gd name="T5" fmla="*/ 0 h 29"/>
                <a:gd name="T6" fmla="*/ 48 w 48"/>
                <a:gd name="T7" fmla="*/ 16 h 29"/>
                <a:gd name="T8" fmla="*/ 48 w 48"/>
                <a:gd name="T9" fmla="*/ 29 h 29"/>
              </a:gdLst>
              <a:ahLst/>
              <a:cxnLst>
                <a:cxn ang="0">
                  <a:pos x="T0" y="T1"/>
                </a:cxn>
                <a:cxn ang="0">
                  <a:pos x="T2" y="T3"/>
                </a:cxn>
                <a:cxn ang="0">
                  <a:pos x="T4" y="T5"/>
                </a:cxn>
                <a:cxn ang="0">
                  <a:pos x="T6" y="T7"/>
                </a:cxn>
                <a:cxn ang="0">
                  <a:pos x="T8" y="T9"/>
                </a:cxn>
              </a:cxnLst>
              <a:rect l="0" t="0" r="r" b="b"/>
              <a:pathLst>
                <a:path w="48" h="29">
                  <a:moveTo>
                    <a:pt x="48" y="29"/>
                  </a:moveTo>
                  <a:lnTo>
                    <a:pt x="0" y="13"/>
                  </a:lnTo>
                  <a:lnTo>
                    <a:pt x="0" y="0"/>
                  </a:lnTo>
                  <a:lnTo>
                    <a:pt x="48" y="16"/>
                  </a:lnTo>
                  <a:lnTo>
                    <a:pt x="48" y="29"/>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IN" dirty="0"/>
            </a:p>
          </p:txBody>
        </p:sp>
        <p:sp>
          <p:nvSpPr>
            <p:cNvPr id="438" name="Freeform 437"/>
            <p:cNvSpPr>
              <a:spLocks/>
            </p:cNvSpPr>
            <p:nvPr/>
          </p:nvSpPr>
          <p:spPr bwMode="auto">
            <a:xfrm>
              <a:off x="2603500" y="5961063"/>
              <a:ext cx="76200" cy="46038"/>
            </a:xfrm>
            <a:custGeom>
              <a:avLst/>
              <a:gdLst>
                <a:gd name="T0" fmla="*/ 0 w 48"/>
                <a:gd name="T1" fmla="*/ 29 h 29"/>
                <a:gd name="T2" fmla="*/ 48 w 48"/>
                <a:gd name="T3" fmla="*/ 13 h 29"/>
                <a:gd name="T4" fmla="*/ 48 w 48"/>
                <a:gd name="T5" fmla="*/ 0 h 29"/>
                <a:gd name="T6" fmla="*/ 0 w 48"/>
                <a:gd name="T7" fmla="*/ 16 h 29"/>
                <a:gd name="T8" fmla="*/ 0 w 48"/>
                <a:gd name="T9" fmla="*/ 29 h 29"/>
              </a:gdLst>
              <a:ahLst/>
              <a:cxnLst>
                <a:cxn ang="0">
                  <a:pos x="T0" y="T1"/>
                </a:cxn>
                <a:cxn ang="0">
                  <a:pos x="T2" y="T3"/>
                </a:cxn>
                <a:cxn ang="0">
                  <a:pos x="T4" y="T5"/>
                </a:cxn>
                <a:cxn ang="0">
                  <a:pos x="T6" y="T7"/>
                </a:cxn>
                <a:cxn ang="0">
                  <a:pos x="T8" y="T9"/>
                </a:cxn>
              </a:cxnLst>
              <a:rect l="0" t="0" r="r" b="b"/>
              <a:pathLst>
                <a:path w="48" h="29">
                  <a:moveTo>
                    <a:pt x="0" y="29"/>
                  </a:moveTo>
                  <a:lnTo>
                    <a:pt x="48" y="13"/>
                  </a:lnTo>
                  <a:lnTo>
                    <a:pt x="48" y="0"/>
                  </a:lnTo>
                  <a:lnTo>
                    <a:pt x="0" y="16"/>
                  </a:lnTo>
                  <a:lnTo>
                    <a:pt x="0" y="29"/>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IN" dirty="0"/>
            </a:p>
          </p:txBody>
        </p:sp>
        <p:sp>
          <p:nvSpPr>
            <p:cNvPr id="439" name="Freeform 438"/>
            <p:cNvSpPr>
              <a:spLocks/>
            </p:cNvSpPr>
            <p:nvPr/>
          </p:nvSpPr>
          <p:spPr bwMode="auto">
            <a:xfrm>
              <a:off x="2719388" y="5735638"/>
              <a:ext cx="68263" cy="33338"/>
            </a:xfrm>
            <a:custGeom>
              <a:avLst/>
              <a:gdLst>
                <a:gd name="T0" fmla="*/ 0 w 43"/>
                <a:gd name="T1" fmla="*/ 14 h 21"/>
                <a:gd name="T2" fmla="*/ 43 w 43"/>
                <a:gd name="T3" fmla="*/ 0 h 21"/>
                <a:gd name="T4" fmla="*/ 43 w 43"/>
                <a:gd name="T5" fmla="*/ 7 h 21"/>
                <a:gd name="T6" fmla="*/ 0 w 43"/>
                <a:gd name="T7" fmla="*/ 21 h 21"/>
                <a:gd name="T8" fmla="*/ 0 w 43"/>
                <a:gd name="T9" fmla="*/ 14 h 21"/>
              </a:gdLst>
              <a:ahLst/>
              <a:cxnLst>
                <a:cxn ang="0">
                  <a:pos x="T0" y="T1"/>
                </a:cxn>
                <a:cxn ang="0">
                  <a:pos x="T2" y="T3"/>
                </a:cxn>
                <a:cxn ang="0">
                  <a:pos x="T4" y="T5"/>
                </a:cxn>
                <a:cxn ang="0">
                  <a:pos x="T6" y="T7"/>
                </a:cxn>
                <a:cxn ang="0">
                  <a:pos x="T8" y="T9"/>
                </a:cxn>
              </a:cxnLst>
              <a:rect l="0" t="0" r="r" b="b"/>
              <a:pathLst>
                <a:path w="43" h="21">
                  <a:moveTo>
                    <a:pt x="0" y="14"/>
                  </a:moveTo>
                  <a:lnTo>
                    <a:pt x="43" y="0"/>
                  </a:lnTo>
                  <a:lnTo>
                    <a:pt x="43" y="7"/>
                  </a:lnTo>
                  <a:lnTo>
                    <a:pt x="0" y="21"/>
                  </a:lnTo>
                  <a:lnTo>
                    <a:pt x="0" y="14"/>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IN" dirty="0"/>
            </a:p>
          </p:txBody>
        </p:sp>
        <p:sp>
          <p:nvSpPr>
            <p:cNvPr id="440" name="Oval 439"/>
            <p:cNvSpPr>
              <a:spLocks noChangeArrowheads="1"/>
            </p:cNvSpPr>
            <p:nvPr/>
          </p:nvSpPr>
          <p:spPr bwMode="auto">
            <a:xfrm>
              <a:off x="2700338" y="5926138"/>
              <a:ext cx="15875" cy="14288"/>
            </a:xfrm>
            <a:prstGeom prst="ellipse">
              <a:avLst/>
            </a:pr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IN" dirty="0"/>
            </a:p>
          </p:txBody>
        </p:sp>
        <p:sp>
          <p:nvSpPr>
            <p:cNvPr id="441" name="Freeform 440"/>
            <p:cNvSpPr>
              <a:spLocks/>
            </p:cNvSpPr>
            <p:nvPr/>
          </p:nvSpPr>
          <p:spPr bwMode="auto">
            <a:xfrm>
              <a:off x="2757488" y="5657850"/>
              <a:ext cx="165100" cy="268288"/>
            </a:xfrm>
            <a:custGeom>
              <a:avLst/>
              <a:gdLst>
                <a:gd name="T0" fmla="*/ 99 w 220"/>
                <a:gd name="T1" fmla="*/ 359 h 359"/>
                <a:gd name="T2" fmla="*/ 59 w 220"/>
                <a:gd name="T3" fmla="*/ 286 h 359"/>
                <a:gd name="T4" fmla="*/ 129 w 220"/>
                <a:gd name="T5" fmla="*/ 192 h 359"/>
                <a:gd name="T6" fmla="*/ 29 w 220"/>
                <a:gd name="T7" fmla="*/ 95 h 359"/>
                <a:gd name="T8" fmla="*/ 0 w 220"/>
                <a:gd name="T9" fmla="*/ 18 h 359"/>
                <a:gd name="T10" fmla="*/ 106 w 220"/>
                <a:gd name="T11" fmla="*/ 39 h 359"/>
                <a:gd name="T12" fmla="*/ 194 w 220"/>
                <a:gd name="T13" fmla="*/ 129 h 359"/>
                <a:gd name="T14" fmla="*/ 207 w 220"/>
                <a:gd name="T15" fmla="*/ 248 h 359"/>
                <a:gd name="T16" fmla="*/ 99 w 220"/>
                <a:gd name="T17" fmla="*/ 359 h 3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0" h="359">
                  <a:moveTo>
                    <a:pt x="99" y="359"/>
                  </a:moveTo>
                  <a:cubicBezTo>
                    <a:pt x="59" y="286"/>
                    <a:pt x="59" y="286"/>
                    <a:pt x="59" y="286"/>
                  </a:cubicBezTo>
                  <a:cubicBezTo>
                    <a:pt x="113" y="256"/>
                    <a:pt x="136" y="224"/>
                    <a:pt x="129" y="192"/>
                  </a:cubicBezTo>
                  <a:cubicBezTo>
                    <a:pt x="118" y="140"/>
                    <a:pt x="48" y="97"/>
                    <a:pt x="29" y="95"/>
                  </a:cubicBezTo>
                  <a:cubicBezTo>
                    <a:pt x="30" y="95"/>
                    <a:pt x="0" y="18"/>
                    <a:pt x="0" y="18"/>
                  </a:cubicBezTo>
                  <a:cubicBezTo>
                    <a:pt x="33" y="0"/>
                    <a:pt x="76" y="20"/>
                    <a:pt x="106" y="39"/>
                  </a:cubicBezTo>
                  <a:cubicBezTo>
                    <a:pt x="144" y="62"/>
                    <a:pt x="176" y="95"/>
                    <a:pt x="194" y="129"/>
                  </a:cubicBezTo>
                  <a:cubicBezTo>
                    <a:pt x="216" y="168"/>
                    <a:pt x="220" y="209"/>
                    <a:pt x="207" y="248"/>
                  </a:cubicBezTo>
                  <a:cubicBezTo>
                    <a:pt x="192" y="291"/>
                    <a:pt x="156" y="328"/>
                    <a:pt x="99" y="359"/>
                  </a:cubicBezTo>
                  <a:close/>
                </a:path>
              </a:pathLst>
            </a:custGeom>
            <a:solidFill>
              <a:srgbClr val="77378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IN" dirty="0"/>
            </a:p>
          </p:txBody>
        </p:sp>
        <p:sp>
          <p:nvSpPr>
            <p:cNvPr id="442" name="Freeform 441"/>
            <p:cNvSpPr>
              <a:spLocks/>
            </p:cNvSpPr>
            <p:nvPr/>
          </p:nvSpPr>
          <p:spPr bwMode="auto">
            <a:xfrm>
              <a:off x="2663825" y="5627688"/>
              <a:ext cx="73025" cy="147638"/>
            </a:xfrm>
            <a:custGeom>
              <a:avLst/>
              <a:gdLst>
                <a:gd name="T0" fmla="*/ 19 w 46"/>
                <a:gd name="T1" fmla="*/ 4 h 93"/>
                <a:gd name="T2" fmla="*/ 28 w 46"/>
                <a:gd name="T3" fmla="*/ 4 h 93"/>
                <a:gd name="T4" fmla="*/ 46 w 46"/>
                <a:gd name="T5" fmla="*/ 0 h 93"/>
                <a:gd name="T6" fmla="*/ 46 w 46"/>
                <a:gd name="T7" fmla="*/ 22 h 93"/>
                <a:gd name="T8" fmla="*/ 33 w 46"/>
                <a:gd name="T9" fmla="*/ 89 h 93"/>
                <a:gd name="T10" fmla="*/ 26 w 46"/>
                <a:gd name="T11" fmla="*/ 23 h 93"/>
                <a:gd name="T12" fmla="*/ 31 w 46"/>
                <a:gd name="T13" fmla="*/ 14 h 93"/>
                <a:gd name="T14" fmla="*/ 28 w 46"/>
                <a:gd name="T15" fmla="*/ 10 h 93"/>
                <a:gd name="T16" fmla="*/ 19 w 46"/>
                <a:gd name="T17" fmla="*/ 10 h 93"/>
                <a:gd name="T18" fmla="*/ 16 w 46"/>
                <a:gd name="T19" fmla="*/ 14 h 93"/>
                <a:gd name="T20" fmla="*/ 21 w 46"/>
                <a:gd name="T21" fmla="*/ 23 h 93"/>
                <a:gd name="T22" fmla="*/ 13 w 46"/>
                <a:gd name="T23" fmla="*/ 93 h 93"/>
                <a:gd name="T24" fmla="*/ 0 w 46"/>
                <a:gd name="T25" fmla="*/ 22 h 93"/>
                <a:gd name="T26" fmla="*/ 0 w 46"/>
                <a:gd name="T27" fmla="*/ 0 h 93"/>
                <a:gd name="T28" fmla="*/ 19 w 46"/>
                <a:gd name="T29" fmla="*/ 4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6" h="93">
                  <a:moveTo>
                    <a:pt x="19" y="4"/>
                  </a:moveTo>
                  <a:lnTo>
                    <a:pt x="28" y="4"/>
                  </a:lnTo>
                  <a:lnTo>
                    <a:pt x="46" y="0"/>
                  </a:lnTo>
                  <a:lnTo>
                    <a:pt x="46" y="22"/>
                  </a:lnTo>
                  <a:lnTo>
                    <a:pt x="33" y="89"/>
                  </a:lnTo>
                  <a:lnTo>
                    <a:pt x="26" y="23"/>
                  </a:lnTo>
                  <a:lnTo>
                    <a:pt x="31" y="14"/>
                  </a:lnTo>
                  <a:lnTo>
                    <a:pt x="28" y="10"/>
                  </a:lnTo>
                  <a:lnTo>
                    <a:pt x="19" y="10"/>
                  </a:lnTo>
                  <a:lnTo>
                    <a:pt x="16" y="14"/>
                  </a:lnTo>
                  <a:lnTo>
                    <a:pt x="21" y="23"/>
                  </a:lnTo>
                  <a:lnTo>
                    <a:pt x="13" y="93"/>
                  </a:lnTo>
                  <a:lnTo>
                    <a:pt x="0" y="22"/>
                  </a:lnTo>
                  <a:lnTo>
                    <a:pt x="0" y="0"/>
                  </a:lnTo>
                  <a:lnTo>
                    <a:pt x="19" y="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IN" dirty="0"/>
            </a:p>
          </p:txBody>
        </p:sp>
        <p:sp>
          <p:nvSpPr>
            <p:cNvPr id="443" name="Freeform 442"/>
            <p:cNvSpPr>
              <a:spLocks/>
            </p:cNvSpPr>
            <p:nvPr/>
          </p:nvSpPr>
          <p:spPr bwMode="auto">
            <a:xfrm>
              <a:off x="2619375" y="5672138"/>
              <a:ext cx="312738" cy="200025"/>
            </a:xfrm>
            <a:custGeom>
              <a:avLst/>
              <a:gdLst>
                <a:gd name="T0" fmla="*/ 417 w 417"/>
                <a:gd name="T1" fmla="*/ 267 h 267"/>
                <a:gd name="T2" fmla="*/ 417 w 417"/>
                <a:gd name="T3" fmla="*/ 179 h 267"/>
                <a:gd name="T4" fmla="*/ 134 w 417"/>
                <a:gd name="T5" fmla="*/ 66 h 267"/>
                <a:gd name="T6" fmla="*/ 0 w 417"/>
                <a:gd name="T7" fmla="*/ 0 h 267"/>
                <a:gd name="T8" fmla="*/ 0 w 417"/>
                <a:gd name="T9" fmla="*/ 88 h 267"/>
                <a:gd name="T10" fmla="*/ 82 w 417"/>
                <a:gd name="T11" fmla="*/ 137 h 267"/>
                <a:gd name="T12" fmla="*/ 417 w 417"/>
                <a:gd name="T13" fmla="*/ 267 h 267"/>
              </a:gdLst>
              <a:ahLst/>
              <a:cxnLst>
                <a:cxn ang="0">
                  <a:pos x="T0" y="T1"/>
                </a:cxn>
                <a:cxn ang="0">
                  <a:pos x="T2" y="T3"/>
                </a:cxn>
                <a:cxn ang="0">
                  <a:pos x="T4" y="T5"/>
                </a:cxn>
                <a:cxn ang="0">
                  <a:pos x="T6" y="T7"/>
                </a:cxn>
                <a:cxn ang="0">
                  <a:pos x="T8" y="T9"/>
                </a:cxn>
                <a:cxn ang="0">
                  <a:pos x="T10" y="T11"/>
                </a:cxn>
                <a:cxn ang="0">
                  <a:pos x="T12" y="T13"/>
                </a:cxn>
              </a:cxnLst>
              <a:rect l="0" t="0" r="r" b="b"/>
              <a:pathLst>
                <a:path w="417" h="267">
                  <a:moveTo>
                    <a:pt x="417" y="267"/>
                  </a:moveTo>
                  <a:cubicBezTo>
                    <a:pt x="417" y="179"/>
                    <a:pt x="417" y="179"/>
                    <a:pt x="417" y="179"/>
                  </a:cubicBezTo>
                  <a:cubicBezTo>
                    <a:pt x="285" y="179"/>
                    <a:pt x="201" y="116"/>
                    <a:pt x="134" y="66"/>
                  </a:cubicBezTo>
                  <a:cubicBezTo>
                    <a:pt x="87" y="31"/>
                    <a:pt x="47" y="0"/>
                    <a:pt x="0" y="0"/>
                  </a:cubicBezTo>
                  <a:cubicBezTo>
                    <a:pt x="0" y="88"/>
                    <a:pt x="0" y="88"/>
                    <a:pt x="0" y="88"/>
                  </a:cubicBezTo>
                  <a:cubicBezTo>
                    <a:pt x="18" y="88"/>
                    <a:pt x="49" y="112"/>
                    <a:pt x="82" y="137"/>
                  </a:cubicBezTo>
                  <a:cubicBezTo>
                    <a:pt x="155" y="192"/>
                    <a:pt x="255" y="267"/>
                    <a:pt x="417" y="267"/>
                  </a:cubicBezTo>
                  <a:close/>
                </a:path>
              </a:pathLst>
            </a:custGeom>
            <a:solidFill>
              <a:srgbClr val="77378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IN" dirty="0"/>
            </a:p>
          </p:txBody>
        </p:sp>
        <p:sp>
          <p:nvSpPr>
            <p:cNvPr id="444" name="Freeform 443"/>
            <p:cNvSpPr>
              <a:spLocks/>
            </p:cNvSpPr>
            <p:nvPr/>
          </p:nvSpPr>
          <p:spPr bwMode="auto">
            <a:xfrm>
              <a:off x="2584450" y="5724525"/>
              <a:ext cx="347663" cy="147638"/>
            </a:xfrm>
            <a:custGeom>
              <a:avLst/>
              <a:gdLst>
                <a:gd name="T0" fmla="*/ 0 w 465"/>
                <a:gd name="T1" fmla="*/ 0 h 196"/>
                <a:gd name="T2" fmla="*/ 0 w 465"/>
                <a:gd name="T3" fmla="*/ 22 h 196"/>
                <a:gd name="T4" fmla="*/ 91 w 465"/>
                <a:gd name="T5" fmla="*/ 69 h 196"/>
                <a:gd name="T6" fmla="*/ 465 w 465"/>
                <a:gd name="T7" fmla="*/ 196 h 196"/>
                <a:gd name="T8" fmla="*/ 465 w 465"/>
                <a:gd name="T9" fmla="*/ 171 h 196"/>
                <a:gd name="T10" fmla="*/ 130 w 465"/>
                <a:gd name="T11" fmla="*/ 61 h 196"/>
                <a:gd name="T12" fmla="*/ 0 w 465"/>
                <a:gd name="T13" fmla="*/ 0 h 196"/>
              </a:gdLst>
              <a:ahLst/>
              <a:cxnLst>
                <a:cxn ang="0">
                  <a:pos x="T0" y="T1"/>
                </a:cxn>
                <a:cxn ang="0">
                  <a:pos x="T2" y="T3"/>
                </a:cxn>
                <a:cxn ang="0">
                  <a:pos x="T4" y="T5"/>
                </a:cxn>
                <a:cxn ang="0">
                  <a:pos x="T6" y="T7"/>
                </a:cxn>
                <a:cxn ang="0">
                  <a:pos x="T8" y="T9"/>
                </a:cxn>
                <a:cxn ang="0">
                  <a:pos x="T10" y="T11"/>
                </a:cxn>
                <a:cxn ang="0">
                  <a:pos x="T12" y="T13"/>
                </a:cxn>
              </a:cxnLst>
              <a:rect l="0" t="0" r="r" b="b"/>
              <a:pathLst>
                <a:path w="465" h="196">
                  <a:moveTo>
                    <a:pt x="0" y="0"/>
                  </a:moveTo>
                  <a:cubicBezTo>
                    <a:pt x="0" y="22"/>
                    <a:pt x="0" y="22"/>
                    <a:pt x="0" y="22"/>
                  </a:cubicBezTo>
                  <a:cubicBezTo>
                    <a:pt x="20" y="22"/>
                    <a:pt x="54" y="45"/>
                    <a:pt x="91" y="69"/>
                  </a:cubicBezTo>
                  <a:cubicBezTo>
                    <a:pt x="173" y="123"/>
                    <a:pt x="285" y="196"/>
                    <a:pt x="465" y="196"/>
                  </a:cubicBezTo>
                  <a:cubicBezTo>
                    <a:pt x="465" y="171"/>
                    <a:pt x="465" y="171"/>
                    <a:pt x="465" y="171"/>
                  </a:cubicBezTo>
                  <a:cubicBezTo>
                    <a:pt x="308" y="171"/>
                    <a:pt x="209" y="110"/>
                    <a:pt x="130" y="61"/>
                  </a:cubicBezTo>
                  <a:cubicBezTo>
                    <a:pt x="84" y="33"/>
                    <a:pt x="44" y="8"/>
                    <a:pt x="0" y="0"/>
                  </a:cubicBez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IN" dirty="0"/>
            </a:p>
          </p:txBody>
        </p:sp>
        <p:sp>
          <p:nvSpPr>
            <p:cNvPr id="445" name="Oval 444"/>
            <p:cNvSpPr>
              <a:spLocks noChangeArrowheads="1"/>
            </p:cNvSpPr>
            <p:nvPr/>
          </p:nvSpPr>
          <p:spPr bwMode="auto">
            <a:xfrm>
              <a:off x="2754313" y="5516563"/>
              <a:ext cx="6350" cy="7938"/>
            </a:xfrm>
            <a:prstGeom prst="ellipse">
              <a:avLst/>
            </a:prstGeom>
            <a:solidFill>
              <a:schemeClr val="tx1">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IN" dirty="0"/>
            </a:p>
          </p:txBody>
        </p:sp>
        <p:sp>
          <p:nvSpPr>
            <p:cNvPr id="446" name="Freeform 445"/>
            <p:cNvSpPr>
              <a:spLocks/>
            </p:cNvSpPr>
            <p:nvPr/>
          </p:nvSpPr>
          <p:spPr bwMode="auto">
            <a:xfrm>
              <a:off x="3316288" y="5429250"/>
              <a:ext cx="141288" cy="144463"/>
            </a:xfrm>
            <a:custGeom>
              <a:avLst/>
              <a:gdLst>
                <a:gd name="T0" fmla="*/ 0 w 190"/>
                <a:gd name="T1" fmla="*/ 38 h 195"/>
                <a:gd name="T2" fmla="*/ 93 w 190"/>
                <a:gd name="T3" fmla="*/ 6 h 195"/>
                <a:gd name="T4" fmla="*/ 180 w 190"/>
                <a:gd name="T5" fmla="*/ 127 h 195"/>
                <a:gd name="T6" fmla="*/ 145 w 190"/>
                <a:gd name="T7" fmla="*/ 195 h 195"/>
                <a:gd name="T8" fmla="*/ 102 w 190"/>
                <a:gd name="T9" fmla="*/ 106 h 195"/>
                <a:gd name="T10" fmla="*/ 0 w 190"/>
                <a:gd name="T11" fmla="*/ 38 h 195"/>
              </a:gdLst>
              <a:ahLst/>
              <a:cxnLst>
                <a:cxn ang="0">
                  <a:pos x="T0" y="T1"/>
                </a:cxn>
                <a:cxn ang="0">
                  <a:pos x="T2" y="T3"/>
                </a:cxn>
                <a:cxn ang="0">
                  <a:pos x="T4" y="T5"/>
                </a:cxn>
                <a:cxn ang="0">
                  <a:pos x="T6" y="T7"/>
                </a:cxn>
                <a:cxn ang="0">
                  <a:pos x="T8" y="T9"/>
                </a:cxn>
                <a:cxn ang="0">
                  <a:pos x="T10" y="T11"/>
                </a:cxn>
              </a:cxnLst>
              <a:rect l="0" t="0" r="r" b="b"/>
              <a:pathLst>
                <a:path w="190" h="195">
                  <a:moveTo>
                    <a:pt x="0" y="38"/>
                  </a:moveTo>
                  <a:cubicBezTo>
                    <a:pt x="23" y="13"/>
                    <a:pt x="58" y="0"/>
                    <a:pt x="93" y="6"/>
                  </a:cubicBezTo>
                  <a:cubicBezTo>
                    <a:pt x="151" y="15"/>
                    <a:pt x="190" y="69"/>
                    <a:pt x="180" y="127"/>
                  </a:cubicBezTo>
                  <a:cubicBezTo>
                    <a:pt x="177" y="145"/>
                    <a:pt x="156" y="182"/>
                    <a:pt x="145" y="195"/>
                  </a:cubicBezTo>
                  <a:cubicBezTo>
                    <a:pt x="144" y="195"/>
                    <a:pt x="91" y="185"/>
                    <a:pt x="102" y="106"/>
                  </a:cubicBezTo>
                  <a:cubicBezTo>
                    <a:pt x="102" y="106"/>
                    <a:pt x="32" y="96"/>
                    <a:pt x="0" y="38"/>
                  </a:cubicBezTo>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IN" dirty="0"/>
            </a:p>
          </p:txBody>
        </p:sp>
      </p:grpSp>
      <p:sp>
        <p:nvSpPr>
          <p:cNvPr id="2" name="Slide Number Placeholder 1"/>
          <p:cNvSpPr>
            <a:spLocks noGrp="1"/>
          </p:cNvSpPr>
          <p:nvPr>
            <p:ph type="sldNum" sz="quarter" idx="4"/>
          </p:nvPr>
        </p:nvSpPr>
        <p:spPr/>
        <p:txBody>
          <a:bodyPr/>
          <a:lstStyle/>
          <a:p>
            <a:pPr>
              <a:defRPr/>
            </a:pPr>
            <a:fld id="{75FAD755-3BD0-2447-A9DF-109DAABEFD99}" type="slidenum">
              <a:rPr lang="en-US" smtClean="0"/>
              <a:pPr>
                <a:defRPr/>
              </a:pPr>
              <a:t>41</a:t>
            </a:fld>
            <a:endParaRPr lang="en-US" dirty="0"/>
          </a:p>
        </p:txBody>
      </p:sp>
    </p:spTree>
    <p:extLst>
      <p:ext uri="{BB962C8B-B14F-4D97-AF65-F5344CB8AC3E}">
        <p14:creationId xmlns:p14="http://schemas.microsoft.com/office/powerpoint/2010/main" val="383902467"/>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90"/>
                                        </p:tgtEl>
                                        <p:attrNameLst>
                                          <p:attrName>style.visibility</p:attrName>
                                        </p:attrNameLst>
                                      </p:cBhvr>
                                      <p:to>
                                        <p:strVal val="visible"/>
                                      </p:to>
                                    </p:set>
                                    <p:animEffect transition="in" filter="fade">
                                      <p:cBhvr>
                                        <p:cTn id="7" dur="1250"/>
                                        <p:tgtEl>
                                          <p:spTgt spid="190"/>
                                        </p:tgtEl>
                                      </p:cBhvr>
                                    </p:animEffect>
                                  </p:childTnLst>
                                </p:cTn>
                              </p:par>
                            </p:childTnLst>
                          </p:cTn>
                        </p:par>
                        <p:par>
                          <p:cTn id="8" fill="hold">
                            <p:stCondLst>
                              <p:cond delay="1250"/>
                            </p:stCondLst>
                            <p:childTnLst>
                              <p:par>
                                <p:cTn id="9" presetID="10" presetClass="entr" presetSubtype="0" fill="hold" nodeType="afterEffect">
                                  <p:stCondLst>
                                    <p:cond delay="0"/>
                                  </p:stCondLst>
                                  <p:childTnLst>
                                    <p:set>
                                      <p:cBhvr>
                                        <p:cTn id="10" dur="1" fill="hold">
                                          <p:stCondLst>
                                            <p:cond delay="0"/>
                                          </p:stCondLst>
                                        </p:cTn>
                                        <p:tgtEl>
                                          <p:spTgt spid="4"/>
                                        </p:tgtEl>
                                        <p:attrNameLst>
                                          <p:attrName>style.visibility</p:attrName>
                                        </p:attrNameLst>
                                      </p:cBhvr>
                                      <p:to>
                                        <p:strVal val="visible"/>
                                      </p:to>
                                    </p:set>
                                    <p:animEffect transition="in" filter="fade">
                                      <p:cBhvr>
                                        <p:cTn id="11" dur="500"/>
                                        <p:tgtEl>
                                          <p:spTgt spid="4"/>
                                        </p:tgtEl>
                                      </p:cBhvr>
                                    </p:animEffect>
                                  </p:childTnLst>
                                </p:cTn>
                              </p:par>
                            </p:childTnLst>
                          </p:cTn>
                        </p:par>
                        <p:par>
                          <p:cTn id="12" fill="hold">
                            <p:stCondLst>
                              <p:cond delay="1750"/>
                            </p:stCondLst>
                            <p:childTnLst>
                              <p:par>
                                <p:cTn id="13" presetID="10" presetClass="entr" presetSubtype="0" fill="hold" grpId="0" nodeType="afterEffect">
                                  <p:stCondLst>
                                    <p:cond delay="0"/>
                                  </p:stCondLst>
                                  <p:childTnLst>
                                    <p:set>
                                      <p:cBhvr>
                                        <p:cTn id="14" dur="1" fill="hold">
                                          <p:stCondLst>
                                            <p:cond delay="0"/>
                                          </p:stCondLst>
                                        </p:cTn>
                                        <p:tgtEl>
                                          <p:spTgt spid="191"/>
                                        </p:tgtEl>
                                        <p:attrNameLst>
                                          <p:attrName>style.visibility</p:attrName>
                                        </p:attrNameLst>
                                      </p:cBhvr>
                                      <p:to>
                                        <p:strVal val="visible"/>
                                      </p:to>
                                    </p:set>
                                    <p:animEffect transition="in" filter="fade">
                                      <p:cBhvr>
                                        <p:cTn id="15" dur="1000"/>
                                        <p:tgtEl>
                                          <p:spTgt spid="191"/>
                                        </p:tgtEl>
                                      </p:cBhvr>
                                    </p:animEffect>
                                  </p:childTnLst>
                                </p:cTn>
                              </p:par>
                            </p:childTnLst>
                          </p:cTn>
                        </p:par>
                        <p:par>
                          <p:cTn id="16" fill="hold">
                            <p:stCondLst>
                              <p:cond delay="2750"/>
                            </p:stCondLst>
                            <p:childTnLst>
                              <p:par>
                                <p:cTn id="17" presetID="10" presetClass="entr" presetSubtype="0" fill="hold" nodeType="afterEffect">
                                  <p:stCondLst>
                                    <p:cond delay="1750"/>
                                  </p:stCondLst>
                                  <p:childTnLst>
                                    <p:set>
                                      <p:cBhvr>
                                        <p:cTn id="18" dur="1" fill="hold">
                                          <p:stCondLst>
                                            <p:cond delay="0"/>
                                          </p:stCondLst>
                                        </p:cTn>
                                        <p:tgtEl>
                                          <p:spTgt spid="189"/>
                                        </p:tgtEl>
                                        <p:attrNameLst>
                                          <p:attrName>style.visibility</p:attrName>
                                        </p:attrNameLst>
                                      </p:cBhvr>
                                      <p:to>
                                        <p:strVal val="visible"/>
                                      </p:to>
                                    </p:set>
                                    <p:animEffect transition="in" filter="fade">
                                      <p:cBhvr>
                                        <p:cTn id="19" dur="1250"/>
                                        <p:tgtEl>
                                          <p:spTgt spid="189"/>
                                        </p:tgtEl>
                                      </p:cBhvr>
                                    </p:animEffect>
                                  </p:childTnLst>
                                </p:cTn>
                              </p:par>
                            </p:childTnLst>
                          </p:cTn>
                        </p:par>
                        <p:par>
                          <p:cTn id="20" fill="hold">
                            <p:stCondLst>
                              <p:cond delay="5750"/>
                            </p:stCondLst>
                            <p:childTnLst>
                              <p:par>
                                <p:cTn id="21" presetID="10" presetClass="entr" presetSubtype="0" fill="hold" grpId="0" nodeType="afterEffect">
                                  <p:stCondLst>
                                    <p:cond delay="0"/>
                                  </p:stCondLst>
                                  <p:childTnLst>
                                    <p:set>
                                      <p:cBhvr>
                                        <p:cTn id="22" dur="1" fill="hold">
                                          <p:stCondLst>
                                            <p:cond delay="0"/>
                                          </p:stCondLst>
                                        </p:cTn>
                                        <p:tgtEl>
                                          <p:spTgt spid="192"/>
                                        </p:tgtEl>
                                        <p:attrNameLst>
                                          <p:attrName>style.visibility</p:attrName>
                                        </p:attrNameLst>
                                      </p:cBhvr>
                                      <p:to>
                                        <p:strVal val="visible"/>
                                      </p:to>
                                    </p:set>
                                    <p:animEffect transition="in" filter="fade">
                                      <p:cBhvr>
                                        <p:cTn id="23" dur="1250"/>
                                        <p:tgtEl>
                                          <p:spTgt spid="19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0" grpId="0"/>
      <p:bldP spid="191" grpId="0"/>
      <p:bldP spid="192" grpId="0"/>
    </p:bld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9436" name="think-cell Slide" r:id="rId5" imgW="377" imgH="377" progId="TCLayout.ActiveDocument.1">
                  <p:embed/>
                </p:oleObj>
              </mc:Choice>
              <mc:Fallback>
                <p:oleObj name="think-cell Slide" r:id="rId5" imgW="377" imgH="377"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6" name="Rectangle 5"/>
          <p:cNvSpPr/>
          <p:nvPr/>
        </p:nvSpPr>
        <p:spPr bwMode="auto">
          <a:xfrm>
            <a:off x="4444999" y="0"/>
            <a:ext cx="7747001" cy="6857999"/>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a:solidFill>
                <a:schemeClr val="bg1"/>
              </a:solidFill>
              <a:latin typeface="+mj-lt"/>
              <a:ea typeface="Segoe UI" pitchFamily="34" charset="0"/>
              <a:cs typeface="Segoe UI" pitchFamily="34" charset="0"/>
            </a:endParaRPr>
          </a:p>
        </p:txBody>
      </p:sp>
      <p:sp>
        <p:nvSpPr>
          <p:cNvPr id="5" name="Title 4"/>
          <p:cNvSpPr>
            <a:spLocks noGrp="1"/>
          </p:cNvSpPr>
          <p:nvPr>
            <p:ph type="title"/>
          </p:nvPr>
        </p:nvSpPr>
        <p:spPr>
          <a:xfrm>
            <a:off x="434976" y="286381"/>
            <a:ext cx="4010024" cy="927940"/>
          </a:xfrm>
        </p:spPr>
        <p:txBody>
          <a:bodyPr/>
          <a:lstStyle/>
          <a:p>
            <a:r>
              <a:rPr lang="en-US" dirty="0"/>
              <a:t>File Upload</a:t>
            </a:r>
            <a:endParaRPr lang="en-GB" dirty="0"/>
          </a:p>
        </p:txBody>
      </p:sp>
      <p:sp>
        <p:nvSpPr>
          <p:cNvPr id="190" name="TextBox 189"/>
          <p:cNvSpPr txBox="1"/>
          <p:nvPr/>
        </p:nvSpPr>
        <p:spPr>
          <a:xfrm>
            <a:off x="4557255" y="1734244"/>
            <a:ext cx="7199770" cy="607975"/>
          </a:xfrm>
          <a:prstGeom prst="rect">
            <a:avLst/>
          </a:prstGeom>
          <a:noFill/>
        </p:spPr>
        <p:txBody>
          <a:bodyPr wrap="square" lIns="91440" tIns="45720" rIns="91440" bIns="45720" rtlCol="0" anchor="ctr">
            <a:noAutofit/>
          </a:bodyPr>
          <a:lstStyle/>
          <a:p>
            <a:pPr>
              <a:spcAft>
                <a:spcPts val="600"/>
              </a:spcAft>
            </a:pPr>
            <a:r>
              <a:rPr lang="en-US" sz="2400" dirty="0">
                <a:solidFill>
                  <a:schemeClr val="accent2"/>
                </a:solidFill>
                <a:latin typeface="Segoe UI Light" panose="020B0502040204020203" pitchFamily="34" charset="0"/>
                <a:cs typeface="Segoe UI Light" panose="020B0502040204020203" pitchFamily="34" charset="0"/>
              </a:rPr>
              <a:t>Azure Portal lets you upload files directly to ADL Store</a:t>
            </a:r>
          </a:p>
        </p:txBody>
      </p:sp>
      <p:pic>
        <p:nvPicPr>
          <p:cNvPr id="50" name="Picture 49"/>
          <p:cNvPicPr>
            <a:picLocks noChangeAspect="1"/>
          </p:cNvPicPr>
          <p:nvPr/>
        </p:nvPicPr>
        <p:blipFill>
          <a:blip r:embed="rId7"/>
          <a:stretch>
            <a:fillRect/>
          </a:stretch>
        </p:blipFill>
        <p:spPr>
          <a:xfrm>
            <a:off x="4512973" y="2437023"/>
            <a:ext cx="7244052" cy="2188452"/>
          </a:xfrm>
          <a:prstGeom prst="rect">
            <a:avLst/>
          </a:prstGeom>
          <a:noFill/>
          <a:ln w="3175">
            <a:solidFill>
              <a:schemeClr val="bg1">
                <a:lumMod val="75000"/>
              </a:schemeClr>
            </a:solidFill>
          </a:ln>
        </p:spPr>
      </p:pic>
      <p:grpSp>
        <p:nvGrpSpPr>
          <p:cNvPr id="2" name="Group 1"/>
          <p:cNvGrpSpPr/>
          <p:nvPr/>
        </p:nvGrpSpPr>
        <p:grpSpPr>
          <a:xfrm>
            <a:off x="1049401" y="1675489"/>
            <a:ext cx="3274187" cy="5182511"/>
            <a:chOff x="1049401" y="1675489"/>
            <a:chExt cx="3274187" cy="5182511"/>
          </a:xfrm>
        </p:grpSpPr>
        <p:grpSp>
          <p:nvGrpSpPr>
            <p:cNvPr id="52" name="Group 51"/>
            <p:cNvGrpSpPr/>
            <p:nvPr/>
          </p:nvGrpSpPr>
          <p:grpSpPr>
            <a:xfrm>
              <a:off x="3184763" y="5007246"/>
              <a:ext cx="1138825" cy="1850754"/>
              <a:chOff x="3275013" y="3567113"/>
              <a:chExt cx="1376362" cy="2236786"/>
            </a:xfrm>
          </p:grpSpPr>
          <p:sp>
            <p:nvSpPr>
              <p:cNvPr id="175" name="Freeform 174"/>
              <p:cNvSpPr>
                <a:spLocks/>
              </p:cNvSpPr>
              <p:nvPr/>
            </p:nvSpPr>
            <p:spPr bwMode="auto">
              <a:xfrm>
                <a:off x="3275013" y="5611812"/>
                <a:ext cx="360362" cy="192087"/>
              </a:xfrm>
              <a:custGeom>
                <a:avLst/>
                <a:gdLst>
                  <a:gd name="T0" fmla="*/ 52 w 106"/>
                  <a:gd name="T1" fmla="*/ 0 h 47"/>
                  <a:gd name="T2" fmla="*/ 0 w 106"/>
                  <a:gd name="T3" fmla="*/ 47 h 47"/>
                  <a:gd name="T4" fmla="*/ 52 w 106"/>
                  <a:gd name="T5" fmla="*/ 47 h 47"/>
                  <a:gd name="T6" fmla="*/ 106 w 106"/>
                  <a:gd name="T7" fmla="*/ 47 h 47"/>
                  <a:gd name="T8" fmla="*/ 106 w 106"/>
                  <a:gd name="T9" fmla="*/ 0 h 47"/>
                  <a:gd name="T10" fmla="*/ 52 w 106"/>
                  <a:gd name="T11" fmla="*/ 0 h 47"/>
                </a:gdLst>
                <a:ahLst/>
                <a:cxnLst>
                  <a:cxn ang="0">
                    <a:pos x="T0" y="T1"/>
                  </a:cxn>
                  <a:cxn ang="0">
                    <a:pos x="T2" y="T3"/>
                  </a:cxn>
                  <a:cxn ang="0">
                    <a:pos x="T4" y="T5"/>
                  </a:cxn>
                  <a:cxn ang="0">
                    <a:pos x="T6" y="T7"/>
                  </a:cxn>
                  <a:cxn ang="0">
                    <a:pos x="T8" y="T9"/>
                  </a:cxn>
                  <a:cxn ang="0">
                    <a:pos x="T10" y="T11"/>
                  </a:cxn>
                </a:cxnLst>
                <a:rect l="0" t="0" r="r" b="b"/>
                <a:pathLst>
                  <a:path w="106" h="47">
                    <a:moveTo>
                      <a:pt x="52" y="0"/>
                    </a:moveTo>
                    <a:cubicBezTo>
                      <a:pt x="25" y="0"/>
                      <a:pt x="3" y="20"/>
                      <a:pt x="0" y="47"/>
                    </a:cubicBezTo>
                    <a:cubicBezTo>
                      <a:pt x="52" y="47"/>
                      <a:pt x="52" y="47"/>
                      <a:pt x="52" y="47"/>
                    </a:cubicBezTo>
                    <a:cubicBezTo>
                      <a:pt x="106" y="47"/>
                      <a:pt x="106" y="47"/>
                      <a:pt x="106" y="47"/>
                    </a:cubicBezTo>
                    <a:cubicBezTo>
                      <a:pt x="106" y="0"/>
                      <a:pt x="106" y="0"/>
                      <a:pt x="106" y="0"/>
                    </a:cubicBezTo>
                    <a:lnTo>
                      <a:pt x="5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505050"/>
                  </a:solidFill>
                  <a:effectLst/>
                  <a:uLnTx/>
                  <a:uFillTx/>
                  <a:latin typeface="Segoe UI"/>
                  <a:ea typeface="+mn-ea"/>
                  <a:cs typeface="+mn-cs"/>
                </a:endParaRPr>
              </a:p>
            </p:txBody>
          </p:sp>
          <p:grpSp>
            <p:nvGrpSpPr>
              <p:cNvPr id="176" name="Group 175"/>
              <p:cNvGrpSpPr/>
              <p:nvPr/>
            </p:nvGrpSpPr>
            <p:grpSpPr>
              <a:xfrm>
                <a:off x="3457575" y="3567113"/>
                <a:ext cx="1193800" cy="2209800"/>
                <a:chOff x="3457575" y="3567113"/>
                <a:chExt cx="1193800" cy="2209800"/>
              </a:xfrm>
            </p:grpSpPr>
            <p:sp>
              <p:nvSpPr>
                <p:cNvPr id="177" name="Rectangle 176"/>
                <p:cNvSpPr>
                  <a:spLocks noChangeArrowheads="1"/>
                </p:cNvSpPr>
                <p:nvPr/>
              </p:nvSpPr>
              <p:spPr bwMode="auto">
                <a:xfrm>
                  <a:off x="4265613" y="4033838"/>
                  <a:ext cx="169862" cy="138113"/>
                </a:xfrm>
                <a:prstGeom prst="rect">
                  <a:avLst/>
                </a:prstGeom>
                <a:solidFill>
                  <a:srgbClr val="E0BB8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78" name="Freeform 177"/>
                <p:cNvSpPr>
                  <a:spLocks/>
                </p:cNvSpPr>
                <p:nvPr/>
              </p:nvSpPr>
              <p:spPr bwMode="auto">
                <a:xfrm>
                  <a:off x="4265613" y="4070351"/>
                  <a:ext cx="169862" cy="84138"/>
                </a:xfrm>
                <a:custGeom>
                  <a:avLst/>
                  <a:gdLst>
                    <a:gd name="T0" fmla="*/ 0 w 107"/>
                    <a:gd name="T1" fmla="*/ 19 h 53"/>
                    <a:gd name="T2" fmla="*/ 107 w 107"/>
                    <a:gd name="T3" fmla="*/ 0 h 53"/>
                    <a:gd name="T4" fmla="*/ 0 w 107"/>
                    <a:gd name="T5" fmla="*/ 53 h 53"/>
                    <a:gd name="T6" fmla="*/ 0 w 107"/>
                    <a:gd name="T7" fmla="*/ 19 h 53"/>
                  </a:gdLst>
                  <a:ahLst/>
                  <a:cxnLst>
                    <a:cxn ang="0">
                      <a:pos x="T0" y="T1"/>
                    </a:cxn>
                    <a:cxn ang="0">
                      <a:pos x="T2" y="T3"/>
                    </a:cxn>
                    <a:cxn ang="0">
                      <a:pos x="T4" y="T5"/>
                    </a:cxn>
                    <a:cxn ang="0">
                      <a:pos x="T6" y="T7"/>
                    </a:cxn>
                  </a:cxnLst>
                  <a:rect l="0" t="0" r="r" b="b"/>
                  <a:pathLst>
                    <a:path w="107" h="53">
                      <a:moveTo>
                        <a:pt x="0" y="19"/>
                      </a:moveTo>
                      <a:lnTo>
                        <a:pt x="107" y="0"/>
                      </a:lnTo>
                      <a:lnTo>
                        <a:pt x="0" y="53"/>
                      </a:lnTo>
                      <a:lnTo>
                        <a:pt x="0" y="19"/>
                      </a:lnTo>
                      <a:close/>
                    </a:path>
                  </a:pathLst>
                </a:custGeom>
                <a:solidFill>
                  <a:srgbClr val="C398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79" name="Freeform 178"/>
                <p:cNvSpPr>
                  <a:spLocks/>
                </p:cNvSpPr>
                <p:nvPr/>
              </p:nvSpPr>
              <p:spPr bwMode="auto">
                <a:xfrm>
                  <a:off x="3963988" y="3624263"/>
                  <a:ext cx="558800" cy="514350"/>
                </a:xfrm>
                <a:custGeom>
                  <a:avLst/>
                  <a:gdLst>
                    <a:gd name="T0" fmla="*/ 159 w 165"/>
                    <a:gd name="T1" fmla="*/ 61 h 152"/>
                    <a:gd name="T2" fmla="*/ 81 w 165"/>
                    <a:gd name="T3" fmla="*/ 7 h 152"/>
                    <a:gd name="T4" fmla="*/ 20 w 165"/>
                    <a:gd name="T5" fmla="*/ 17 h 152"/>
                    <a:gd name="T6" fmla="*/ 12 w 165"/>
                    <a:gd name="T7" fmla="*/ 76 h 152"/>
                    <a:gd name="T8" fmla="*/ 0 w 165"/>
                    <a:gd name="T9" fmla="*/ 93 h 152"/>
                    <a:gd name="T10" fmla="*/ 3 w 165"/>
                    <a:gd name="T11" fmla="*/ 107 h 152"/>
                    <a:gd name="T12" fmla="*/ 18 w 165"/>
                    <a:gd name="T13" fmla="*/ 104 h 152"/>
                    <a:gd name="T14" fmla="*/ 27 w 165"/>
                    <a:gd name="T15" fmla="*/ 152 h 152"/>
                    <a:gd name="T16" fmla="*/ 104 w 165"/>
                    <a:gd name="T17" fmla="*/ 138 h 152"/>
                    <a:gd name="T18" fmla="*/ 104 w 165"/>
                    <a:gd name="T19" fmla="*/ 138 h 152"/>
                    <a:gd name="T20" fmla="*/ 105 w 165"/>
                    <a:gd name="T21" fmla="*/ 138 h 152"/>
                    <a:gd name="T22" fmla="*/ 105 w 165"/>
                    <a:gd name="T23" fmla="*/ 138 h 152"/>
                    <a:gd name="T24" fmla="*/ 105 w 165"/>
                    <a:gd name="T25" fmla="*/ 138 h 152"/>
                    <a:gd name="T26" fmla="*/ 159 w 165"/>
                    <a:gd name="T27" fmla="*/ 61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5" h="152">
                      <a:moveTo>
                        <a:pt x="159" y="61"/>
                      </a:moveTo>
                      <a:cubicBezTo>
                        <a:pt x="152" y="25"/>
                        <a:pt x="118" y="0"/>
                        <a:pt x="81" y="7"/>
                      </a:cubicBezTo>
                      <a:cubicBezTo>
                        <a:pt x="20" y="17"/>
                        <a:pt x="20" y="17"/>
                        <a:pt x="20" y="17"/>
                      </a:cubicBezTo>
                      <a:cubicBezTo>
                        <a:pt x="20" y="17"/>
                        <a:pt x="13" y="74"/>
                        <a:pt x="12" y="76"/>
                      </a:cubicBezTo>
                      <a:cubicBezTo>
                        <a:pt x="11" y="84"/>
                        <a:pt x="7" y="90"/>
                        <a:pt x="0" y="93"/>
                      </a:cubicBezTo>
                      <a:cubicBezTo>
                        <a:pt x="3" y="107"/>
                        <a:pt x="3" y="107"/>
                        <a:pt x="3" y="107"/>
                      </a:cubicBezTo>
                      <a:cubicBezTo>
                        <a:pt x="18" y="104"/>
                        <a:pt x="18" y="104"/>
                        <a:pt x="18" y="104"/>
                      </a:cubicBezTo>
                      <a:cubicBezTo>
                        <a:pt x="27" y="152"/>
                        <a:pt x="27" y="152"/>
                        <a:pt x="27" y="152"/>
                      </a:cubicBezTo>
                      <a:cubicBezTo>
                        <a:pt x="104" y="138"/>
                        <a:pt x="104" y="138"/>
                        <a:pt x="104" y="138"/>
                      </a:cubicBezTo>
                      <a:cubicBezTo>
                        <a:pt x="104" y="138"/>
                        <a:pt x="104" y="138"/>
                        <a:pt x="104" y="138"/>
                      </a:cubicBezTo>
                      <a:cubicBezTo>
                        <a:pt x="105" y="138"/>
                        <a:pt x="105" y="138"/>
                        <a:pt x="105" y="138"/>
                      </a:cubicBezTo>
                      <a:cubicBezTo>
                        <a:pt x="105" y="138"/>
                        <a:pt x="105" y="138"/>
                        <a:pt x="105" y="138"/>
                      </a:cubicBezTo>
                      <a:cubicBezTo>
                        <a:pt x="105" y="138"/>
                        <a:pt x="105" y="138"/>
                        <a:pt x="105" y="138"/>
                      </a:cubicBezTo>
                      <a:cubicBezTo>
                        <a:pt x="141" y="131"/>
                        <a:pt x="165" y="97"/>
                        <a:pt x="159" y="61"/>
                      </a:cubicBezTo>
                      <a:close/>
                    </a:path>
                  </a:pathLst>
                </a:custGeom>
                <a:solidFill>
                  <a:srgbClr val="E0BB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80" name="Freeform 179"/>
                <p:cNvSpPr>
                  <a:spLocks/>
                </p:cNvSpPr>
                <p:nvPr/>
              </p:nvSpPr>
              <p:spPr bwMode="auto">
                <a:xfrm>
                  <a:off x="4000500" y="3567113"/>
                  <a:ext cx="555625" cy="544513"/>
                </a:xfrm>
                <a:custGeom>
                  <a:avLst/>
                  <a:gdLst>
                    <a:gd name="T0" fmla="*/ 97 w 164"/>
                    <a:gd name="T1" fmla="*/ 5 h 161"/>
                    <a:gd name="T2" fmla="*/ 42 w 164"/>
                    <a:gd name="T3" fmla="*/ 15 h 161"/>
                    <a:gd name="T4" fmla="*/ 21 w 164"/>
                    <a:gd name="T5" fmla="*/ 0 h 161"/>
                    <a:gd name="T6" fmla="*/ 24 w 164"/>
                    <a:gd name="T7" fmla="*/ 18 h 161"/>
                    <a:gd name="T8" fmla="*/ 0 w 164"/>
                    <a:gd name="T9" fmla="*/ 0 h 161"/>
                    <a:gd name="T10" fmla="*/ 6 w 164"/>
                    <a:gd name="T11" fmla="*/ 37 h 161"/>
                    <a:gd name="T12" fmla="*/ 45 w 164"/>
                    <a:gd name="T13" fmla="*/ 67 h 161"/>
                    <a:gd name="T14" fmla="*/ 55 w 164"/>
                    <a:gd name="T15" fmla="*/ 121 h 161"/>
                    <a:gd name="T16" fmla="*/ 73 w 164"/>
                    <a:gd name="T17" fmla="*/ 118 h 161"/>
                    <a:gd name="T18" fmla="*/ 69 w 164"/>
                    <a:gd name="T19" fmla="*/ 97 h 161"/>
                    <a:gd name="T20" fmla="*/ 122 w 164"/>
                    <a:gd name="T21" fmla="*/ 150 h 161"/>
                    <a:gd name="T22" fmla="*/ 164 w 164"/>
                    <a:gd name="T23" fmla="*/ 161 h 161"/>
                    <a:gd name="T24" fmla="*/ 140 w 164"/>
                    <a:gd name="T25" fmla="*/ 35 h 161"/>
                    <a:gd name="T26" fmla="*/ 97 w 164"/>
                    <a:gd name="T27" fmla="*/ 5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4" h="161">
                      <a:moveTo>
                        <a:pt x="97" y="5"/>
                      </a:moveTo>
                      <a:cubicBezTo>
                        <a:pt x="42" y="15"/>
                        <a:pt x="42" y="15"/>
                        <a:pt x="42" y="15"/>
                      </a:cubicBezTo>
                      <a:cubicBezTo>
                        <a:pt x="21" y="0"/>
                        <a:pt x="21" y="0"/>
                        <a:pt x="21" y="0"/>
                      </a:cubicBezTo>
                      <a:cubicBezTo>
                        <a:pt x="24" y="18"/>
                        <a:pt x="24" y="18"/>
                        <a:pt x="24" y="18"/>
                      </a:cubicBezTo>
                      <a:cubicBezTo>
                        <a:pt x="0" y="0"/>
                        <a:pt x="0" y="0"/>
                        <a:pt x="0" y="0"/>
                      </a:cubicBezTo>
                      <a:cubicBezTo>
                        <a:pt x="6" y="37"/>
                        <a:pt x="6" y="37"/>
                        <a:pt x="6" y="37"/>
                      </a:cubicBezTo>
                      <a:cubicBezTo>
                        <a:pt x="9" y="56"/>
                        <a:pt x="27" y="68"/>
                        <a:pt x="45" y="67"/>
                      </a:cubicBezTo>
                      <a:cubicBezTo>
                        <a:pt x="55" y="121"/>
                        <a:pt x="55" y="121"/>
                        <a:pt x="55" y="121"/>
                      </a:cubicBezTo>
                      <a:cubicBezTo>
                        <a:pt x="73" y="118"/>
                        <a:pt x="73" y="118"/>
                        <a:pt x="73" y="118"/>
                      </a:cubicBezTo>
                      <a:cubicBezTo>
                        <a:pt x="69" y="97"/>
                        <a:pt x="69" y="97"/>
                        <a:pt x="69" y="97"/>
                      </a:cubicBezTo>
                      <a:cubicBezTo>
                        <a:pt x="122" y="150"/>
                        <a:pt x="122" y="150"/>
                        <a:pt x="122" y="150"/>
                      </a:cubicBezTo>
                      <a:cubicBezTo>
                        <a:pt x="164" y="161"/>
                        <a:pt x="164" y="161"/>
                        <a:pt x="164" y="161"/>
                      </a:cubicBezTo>
                      <a:cubicBezTo>
                        <a:pt x="140" y="35"/>
                        <a:pt x="140" y="35"/>
                        <a:pt x="140" y="35"/>
                      </a:cubicBezTo>
                      <a:cubicBezTo>
                        <a:pt x="137" y="15"/>
                        <a:pt x="118" y="1"/>
                        <a:pt x="97" y="5"/>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81" name="Freeform 180"/>
                <p:cNvSpPr>
                  <a:spLocks/>
                </p:cNvSpPr>
                <p:nvPr/>
              </p:nvSpPr>
              <p:spPr bwMode="auto">
                <a:xfrm>
                  <a:off x="4221163" y="3806826"/>
                  <a:ext cx="80962" cy="134938"/>
                </a:xfrm>
                <a:custGeom>
                  <a:avLst/>
                  <a:gdLst>
                    <a:gd name="T0" fmla="*/ 0 w 24"/>
                    <a:gd name="T1" fmla="*/ 2 h 40"/>
                    <a:gd name="T2" fmla="*/ 7 w 24"/>
                    <a:gd name="T3" fmla="*/ 40 h 40"/>
                    <a:gd name="T4" fmla="*/ 22 w 24"/>
                    <a:gd name="T5" fmla="*/ 18 h 40"/>
                    <a:gd name="T6" fmla="*/ 0 w 24"/>
                    <a:gd name="T7" fmla="*/ 2 h 40"/>
                  </a:gdLst>
                  <a:ahLst/>
                  <a:cxnLst>
                    <a:cxn ang="0">
                      <a:pos x="T0" y="T1"/>
                    </a:cxn>
                    <a:cxn ang="0">
                      <a:pos x="T2" y="T3"/>
                    </a:cxn>
                    <a:cxn ang="0">
                      <a:pos x="T4" y="T5"/>
                    </a:cxn>
                    <a:cxn ang="0">
                      <a:pos x="T6" y="T7"/>
                    </a:cxn>
                  </a:cxnLst>
                  <a:rect l="0" t="0" r="r" b="b"/>
                  <a:pathLst>
                    <a:path w="24" h="40">
                      <a:moveTo>
                        <a:pt x="0" y="2"/>
                      </a:moveTo>
                      <a:cubicBezTo>
                        <a:pt x="7" y="40"/>
                        <a:pt x="7" y="40"/>
                        <a:pt x="7" y="40"/>
                      </a:cubicBezTo>
                      <a:cubicBezTo>
                        <a:pt x="17" y="38"/>
                        <a:pt x="24" y="28"/>
                        <a:pt x="22" y="18"/>
                      </a:cubicBezTo>
                      <a:cubicBezTo>
                        <a:pt x="21" y="7"/>
                        <a:pt x="10" y="0"/>
                        <a:pt x="0" y="2"/>
                      </a:cubicBezTo>
                      <a:close/>
                    </a:path>
                  </a:pathLst>
                </a:custGeom>
                <a:solidFill>
                  <a:srgbClr val="C398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82" name="Freeform 181"/>
                <p:cNvSpPr>
                  <a:spLocks/>
                </p:cNvSpPr>
                <p:nvPr/>
              </p:nvSpPr>
              <p:spPr bwMode="auto">
                <a:xfrm>
                  <a:off x="3465513" y="4830763"/>
                  <a:ext cx="969962" cy="230188"/>
                </a:xfrm>
                <a:custGeom>
                  <a:avLst/>
                  <a:gdLst>
                    <a:gd name="T0" fmla="*/ 34 w 286"/>
                    <a:gd name="T1" fmla="*/ 0 h 68"/>
                    <a:gd name="T2" fmla="*/ 0 w 286"/>
                    <a:gd name="T3" fmla="*/ 34 h 68"/>
                    <a:gd name="T4" fmla="*/ 34 w 286"/>
                    <a:gd name="T5" fmla="*/ 68 h 68"/>
                    <a:gd name="T6" fmla="*/ 252 w 286"/>
                    <a:gd name="T7" fmla="*/ 68 h 68"/>
                    <a:gd name="T8" fmla="*/ 286 w 286"/>
                    <a:gd name="T9" fmla="*/ 34 h 68"/>
                    <a:gd name="T10" fmla="*/ 286 w 286"/>
                    <a:gd name="T11" fmla="*/ 0 h 68"/>
                    <a:gd name="T12" fmla="*/ 34 w 286"/>
                    <a:gd name="T13" fmla="*/ 0 h 68"/>
                  </a:gdLst>
                  <a:ahLst/>
                  <a:cxnLst>
                    <a:cxn ang="0">
                      <a:pos x="T0" y="T1"/>
                    </a:cxn>
                    <a:cxn ang="0">
                      <a:pos x="T2" y="T3"/>
                    </a:cxn>
                    <a:cxn ang="0">
                      <a:pos x="T4" y="T5"/>
                    </a:cxn>
                    <a:cxn ang="0">
                      <a:pos x="T6" y="T7"/>
                    </a:cxn>
                    <a:cxn ang="0">
                      <a:pos x="T8" y="T9"/>
                    </a:cxn>
                    <a:cxn ang="0">
                      <a:pos x="T10" y="T11"/>
                    </a:cxn>
                    <a:cxn ang="0">
                      <a:pos x="T12" y="T13"/>
                    </a:cxn>
                  </a:cxnLst>
                  <a:rect l="0" t="0" r="r" b="b"/>
                  <a:pathLst>
                    <a:path w="286" h="68">
                      <a:moveTo>
                        <a:pt x="34" y="0"/>
                      </a:moveTo>
                      <a:cubicBezTo>
                        <a:pt x="15" y="0"/>
                        <a:pt x="0" y="15"/>
                        <a:pt x="0" y="34"/>
                      </a:cubicBezTo>
                      <a:cubicBezTo>
                        <a:pt x="0" y="53"/>
                        <a:pt x="15" y="68"/>
                        <a:pt x="34" y="68"/>
                      </a:cubicBezTo>
                      <a:cubicBezTo>
                        <a:pt x="252" y="68"/>
                        <a:pt x="252" y="68"/>
                        <a:pt x="252" y="68"/>
                      </a:cubicBezTo>
                      <a:cubicBezTo>
                        <a:pt x="271" y="68"/>
                        <a:pt x="286" y="53"/>
                        <a:pt x="286" y="34"/>
                      </a:cubicBezTo>
                      <a:cubicBezTo>
                        <a:pt x="286" y="0"/>
                        <a:pt x="286" y="0"/>
                        <a:pt x="286" y="0"/>
                      </a:cubicBezTo>
                      <a:lnTo>
                        <a:pt x="34" y="0"/>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83" name="Freeform 182"/>
                <p:cNvSpPr>
                  <a:spLocks/>
                </p:cNvSpPr>
                <p:nvPr/>
              </p:nvSpPr>
              <p:spPr bwMode="auto">
                <a:xfrm>
                  <a:off x="4143375" y="4154488"/>
                  <a:ext cx="292100" cy="676275"/>
                </a:xfrm>
                <a:custGeom>
                  <a:avLst/>
                  <a:gdLst>
                    <a:gd name="T0" fmla="*/ 61 w 86"/>
                    <a:gd name="T1" fmla="*/ 0 h 200"/>
                    <a:gd name="T2" fmla="*/ 0 w 86"/>
                    <a:gd name="T3" fmla="*/ 100 h 200"/>
                    <a:gd name="T4" fmla="*/ 0 w 86"/>
                    <a:gd name="T5" fmla="*/ 200 h 200"/>
                    <a:gd name="T6" fmla="*/ 86 w 86"/>
                    <a:gd name="T7" fmla="*/ 200 h 200"/>
                    <a:gd name="T8" fmla="*/ 86 w 86"/>
                    <a:gd name="T9" fmla="*/ 0 h 200"/>
                    <a:gd name="T10" fmla="*/ 61 w 86"/>
                    <a:gd name="T11" fmla="*/ 0 h 200"/>
                  </a:gdLst>
                  <a:ahLst/>
                  <a:cxnLst>
                    <a:cxn ang="0">
                      <a:pos x="T0" y="T1"/>
                    </a:cxn>
                    <a:cxn ang="0">
                      <a:pos x="T2" y="T3"/>
                    </a:cxn>
                    <a:cxn ang="0">
                      <a:pos x="T4" y="T5"/>
                    </a:cxn>
                    <a:cxn ang="0">
                      <a:pos x="T6" y="T7"/>
                    </a:cxn>
                    <a:cxn ang="0">
                      <a:pos x="T8" y="T9"/>
                    </a:cxn>
                    <a:cxn ang="0">
                      <a:pos x="T10" y="T11"/>
                    </a:cxn>
                  </a:cxnLst>
                  <a:rect l="0" t="0" r="r" b="b"/>
                  <a:pathLst>
                    <a:path w="86" h="200">
                      <a:moveTo>
                        <a:pt x="61" y="0"/>
                      </a:moveTo>
                      <a:cubicBezTo>
                        <a:pt x="8" y="0"/>
                        <a:pt x="0" y="61"/>
                        <a:pt x="0" y="100"/>
                      </a:cubicBezTo>
                      <a:cubicBezTo>
                        <a:pt x="0" y="200"/>
                        <a:pt x="0" y="200"/>
                        <a:pt x="0" y="200"/>
                      </a:cubicBezTo>
                      <a:cubicBezTo>
                        <a:pt x="86" y="200"/>
                        <a:pt x="86" y="200"/>
                        <a:pt x="86" y="200"/>
                      </a:cubicBezTo>
                      <a:cubicBezTo>
                        <a:pt x="86" y="0"/>
                        <a:pt x="86" y="0"/>
                        <a:pt x="86" y="0"/>
                      </a:cubicBezTo>
                      <a:cubicBezTo>
                        <a:pt x="86" y="0"/>
                        <a:pt x="63" y="0"/>
                        <a:pt x="61" y="0"/>
                      </a:cubicBez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84" name="Rectangle 183"/>
                <p:cNvSpPr>
                  <a:spLocks noChangeArrowheads="1"/>
                </p:cNvSpPr>
                <p:nvPr/>
              </p:nvSpPr>
              <p:spPr bwMode="auto">
                <a:xfrm>
                  <a:off x="3465513" y="4941888"/>
                  <a:ext cx="244475" cy="669925"/>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85" name="Freeform 184"/>
                <p:cNvSpPr>
                  <a:spLocks/>
                </p:cNvSpPr>
                <p:nvPr/>
              </p:nvSpPr>
              <p:spPr bwMode="auto">
                <a:xfrm>
                  <a:off x="4011613" y="5340351"/>
                  <a:ext cx="131762" cy="247650"/>
                </a:xfrm>
                <a:custGeom>
                  <a:avLst/>
                  <a:gdLst>
                    <a:gd name="T0" fmla="*/ 0 w 83"/>
                    <a:gd name="T1" fmla="*/ 156 h 156"/>
                    <a:gd name="T2" fmla="*/ 83 w 83"/>
                    <a:gd name="T3" fmla="*/ 156 h 156"/>
                    <a:gd name="T4" fmla="*/ 72 w 83"/>
                    <a:gd name="T5" fmla="*/ 0 h 156"/>
                    <a:gd name="T6" fmla="*/ 8 w 83"/>
                    <a:gd name="T7" fmla="*/ 0 h 156"/>
                    <a:gd name="T8" fmla="*/ 0 w 83"/>
                    <a:gd name="T9" fmla="*/ 156 h 156"/>
                  </a:gdLst>
                  <a:ahLst/>
                  <a:cxnLst>
                    <a:cxn ang="0">
                      <a:pos x="T0" y="T1"/>
                    </a:cxn>
                    <a:cxn ang="0">
                      <a:pos x="T2" y="T3"/>
                    </a:cxn>
                    <a:cxn ang="0">
                      <a:pos x="T4" y="T5"/>
                    </a:cxn>
                    <a:cxn ang="0">
                      <a:pos x="T6" y="T7"/>
                    </a:cxn>
                    <a:cxn ang="0">
                      <a:pos x="T8" y="T9"/>
                    </a:cxn>
                  </a:cxnLst>
                  <a:rect l="0" t="0" r="r" b="b"/>
                  <a:pathLst>
                    <a:path w="83" h="156">
                      <a:moveTo>
                        <a:pt x="0" y="156"/>
                      </a:moveTo>
                      <a:lnTo>
                        <a:pt x="83" y="156"/>
                      </a:lnTo>
                      <a:lnTo>
                        <a:pt x="72" y="0"/>
                      </a:lnTo>
                      <a:lnTo>
                        <a:pt x="8" y="0"/>
                      </a:lnTo>
                      <a:lnTo>
                        <a:pt x="0" y="15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86" name="Freeform 185"/>
                <p:cNvSpPr>
                  <a:spLocks/>
                </p:cNvSpPr>
                <p:nvPr/>
              </p:nvSpPr>
              <p:spPr bwMode="auto">
                <a:xfrm>
                  <a:off x="4041775" y="5135563"/>
                  <a:ext cx="68262" cy="249238"/>
                </a:xfrm>
                <a:custGeom>
                  <a:avLst/>
                  <a:gdLst>
                    <a:gd name="T0" fmla="*/ 0 w 43"/>
                    <a:gd name="T1" fmla="*/ 157 h 157"/>
                    <a:gd name="T2" fmla="*/ 43 w 43"/>
                    <a:gd name="T3" fmla="*/ 157 h 157"/>
                    <a:gd name="T4" fmla="*/ 40 w 43"/>
                    <a:gd name="T5" fmla="*/ 0 h 157"/>
                    <a:gd name="T6" fmla="*/ 4 w 43"/>
                    <a:gd name="T7" fmla="*/ 0 h 157"/>
                    <a:gd name="T8" fmla="*/ 0 w 43"/>
                    <a:gd name="T9" fmla="*/ 157 h 157"/>
                  </a:gdLst>
                  <a:ahLst/>
                  <a:cxnLst>
                    <a:cxn ang="0">
                      <a:pos x="T0" y="T1"/>
                    </a:cxn>
                    <a:cxn ang="0">
                      <a:pos x="T2" y="T3"/>
                    </a:cxn>
                    <a:cxn ang="0">
                      <a:pos x="T4" y="T5"/>
                    </a:cxn>
                    <a:cxn ang="0">
                      <a:pos x="T6" y="T7"/>
                    </a:cxn>
                    <a:cxn ang="0">
                      <a:pos x="T8" y="T9"/>
                    </a:cxn>
                  </a:cxnLst>
                  <a:rect l="0" t="0" r="r" b="b"/>
                  <a:pathLst>
                    <a:path w="43" h="157">
                      <a:moveTo>
                        <a:pt x="0" y="157"/>
                      </a:moveTo>
                      <a:lnTo>
                        <a:pt x="43" y="157"/>
                      </a:lnTo>
                      <a:lnTo>
                        <a:pt x="40" y="0"/>
                      </a:lnTo>
                      <a:lnTo>
                        <a:pt x="4" y="0"/>
                      </a:lnTo>
                      <a:lnTo>
                        <a:pt x="0" y="15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87" name="Oval 186"/>
                <p:cNvSpPr>
                  <a:spLocks noChangeArrowheads="1"/>
                </p:cNvSpPr>
                <p:nvPr/>
              </p:nvSpPr>
              <p:spPr bwMode="auto">
                <a:xfrm>
                  <a:off x="4346575" y="5627688"/>
                  <a:ext cx="149225" cy="149225"/>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94" name="Oval 193"/>
                <p:cNvSpPr>
                  <a:spLocks noChangeArrowheads="1"/>
                </p:cNvSpPr>
                <p:nvPr/>
              </p:nvSpPr>
              <p:spPr bwMode="auto">
                <a:xfrm>
                  <a:off x="3665538" y="5624513"/>
                  <a:ext cx="149225" cy="146050"/>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95" name="Freeform 194"/>
                <p:cNvSpPr>
                  <a:spLocks/>
                </p:cNvSpPr>
                <p:nvPr/>
              </p:nvSpPr>
              <p:spPr bwMode="auto">
                <a:xfrm>
                  <a:off x="3740150" y="5510213"/>
                  <a:ext cx="681037" cy="104775"/>
                </a:xfrm>
                <a:custGeom>
                  <a:avLst/>
                  <a:gdLst>
                    <a:gd name="T0" fmla="*/ 0 w 201"/>
                    <a:gd name="T1" fmla="*/ 31 h 31"/>
                    <a:gd name="T2" fmla="*/ 26 w 201"/>
                    <a:gd name="T3" fmla="*/ 14 h 31"/>
                    <a:gd name="T4" fmla="*/ 101 w 201"/>
                    <a:gd name="T5" fmla="*/ 0 h 31"/>
                    <a:gd name="T6" fmla="*/ 175 w 201"/>
                    <a:gd name="T7" fmla="*/ 14 h 31"/>
                    <a:gd name="T8" fmla="*/ 201 w 201"/>
                    <a:gd name="T9" fmla="*/ 31 h 31"/>
                    <a:gd name="T10" fmla="*/ 0 w 201"/>
                    <a:gd name="T11" fmla="*/ 31 h 31"/>
                  </a:gdLst>
                  <a:ahLst/>
                  <a:cxnLst>
                    <a:cxn ang="0">
                      <a:pos x="T0" y="T1"/>
                    </a:cxn>
                    <a:cxn ang="0">
                      <a:pos x="T2" y="T3"/>
                    </a:cxn>
                    <a:cxn ang="0">
                      <a:pos x="T4" y="T5"/>
                    </a:cxn>
                    <a:cxn ang="0">
                      <a:pos x="T6" y="T7"/>
                    </a:cxn>
                    <a:cxn ang="0">
                      <a:pos x="T8" y="T9"/>
                    </a:cxn>
                    <a:cxn ang="0">
                      <a:pos x="T10" y="T11"/>
                    </a:cxn>
                  </a:cxnLst>
                  <a:rect l="0" t="0" r="r" b="b"/>
                  <a:pathLst>
                    <a:path w="201" h="31">
                      <a:moveTo>
                        <a:pt x="0" y="31"/>
                      </a:moveTo>
                      <a:cubicBezTo>
                        <a:pt x="5" y="21"/>
                        <a:pt x="14" y="17"/>
                        <a:pt x="26" y="14"/>
                      </a:cubicBezTo>
                      <a:cubicBezTo>
                        <a:pt x="101" y="0"/>
                        <a:pt x="101" y="0"/>
                        <a:pt x="101" y="0"/>
                      </a:cubicBezTo>
                      <a:cubicBezTo>
                        <a:pt x="175" y="14"/>
                        <a:pt x="175" y="14"/>
                        <a:pt x="175" y="14"/>
                      </a:cubicBezTo>
                      <a:cubicBezTo>
                        <a:pt x="187" y="17"/>
                        <a:pt x="197" y="21"/>
                        <a:pt x="201" y="31"/>
                      </a:cubicBezTo>
                      <a:lnTo>
                        <a:pt x="0" y="3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96" name="Rectangle 195"/>
                <p:cNvSpPr>
                  <a:spLocks noChangeArrowheads="1"/>
                </p:cNvSpPr>
                <p:nvPr/>
              </p:nvSpPr>
              <p:spPr bwMode="auto">
                <a:xfrm>
                  <a:off x="4346575" y="5614988"/>
                  <a:ext cx="74612" cy="8731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97" name="Rectangle 196"/>
                <p:cNvSpPr>
                  <a:spLocks noChangeArrowheads="1"/>
                </p:cNvSpPr>
                <p:nvPr/>
              </p:nvSpPr>
              <p:spPr bwMode="auto">
                <a:xfrm>
                  <a:off x="3740150" y="5614988"/>
                  <a:ext cx="74612" cy="8096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98" name="Freeform 197"/>
                <p:cNvSpPr>
                  <a:spLocks/>
                </p:cNvSpPr>
                <p:nvPr/>
              </p:nvSpPr>
              <p:spPr bwMode="auto">
                <a:xfrm>
                  <a:off x="4095750" y="5627688"/>
                  <a:ext cx="36512" cy="149225"/>
                </a:xfrm>
                <a:custGeom>
                  <a:avLst/>
                  <a:gdLst>
                    <a:gd name="T0" fmla="*/ 0 w 11"/>
                    <a:gd name="T1" fmla="*/ 41 h 44"/>
                    <a:gd name="T2" fmla="*/ 2 w 11"/>
                    <a:gd name="T3" fmla="*/ 44 h 44"/>
                    <a:gd name="T4" fmla="*/ 8 w 11"/>
                    <a:gd name="T5" fmla="*/ 44 h 44"/>
                    <a:gd name="T6" fmla="*/ 11 w 11"/>
                    <a:gd name="T7" fmla="*/ 41 h 44"/>
                    <a:gd name="T8" fmla="*/ 11 w 11"/>
                    <a:gd name="T9" fmla="*/ 2 h 44"/>
                    <a:gd name="T10" fmla="*/ 8 w 11"/>
                    <a:gd name="T11" fmla="*/ 0 h 44"/>
                    <a:gd name="T12" fmla="*/ 2 w 11"/>
                    <a:gd name="T13" fmla="*/ 0 h 44"/>
                    <a:gd name="T14" fmla="*/ 0 w 11"/>
                    <a:gd name="T15" fmla="*/ 2 h 44"/>
                    <a:gd name="T16" fmla="*/ 0 w 11"/>
                    <a:gd name="T17" fmla="*/ 41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 h="44">
                      <a:moveTo>
                        <a:pt x="0" y="41"/>
                      </a:moveTo>
                      <a:cubicBezTo>
                        <a:pt x="0" y="43"/>
                        <a:pt x="1" y="44"/>
                        <a:pt x="2" y="44"/>
                      </a:cubicBezTo>
                      <a:cubicBezTo>
                        <a:pt x="8" y="44"/>
                        <a:pt x="8" y="44"/>
                        <a:pt x="8" y="44"/>
                      </a:cubicBezTo>
                      <a:cubicBezTo>
                        <a:pt x="9" y="44"/>
                        <a:pt x="11" y="43"/>
                        <a:pt x="11" y="41"/>
                      </a:cubicBezTo>
                      <a:cubicBezTo>
                        <a:pt x="11" y="2"/>
                        <a:pt x="11" y="2"/>
                        <a:pt x="11" y="2"/>
                      </a:cubicBezTo>
                      <a:cubicBezTo>
                        <a:pt x="11" y="1"/>
                        <a:pt x="9" y="0"/>
                        <a:pt x="8" y="0"/>
                      </a:cubicBezTo>
                      <a:cubicBezTo>
                        <a:pt x="2" y="0"/>
                        <a:pt x="2" y="0"/>
                        <a:pt x="2" y="0"/>
                      </a:cubicBezTo>
                      <a:cubicBezTo>
                        <a:pt x="1" y="0"/>
                        <a:pt x="0" y="1"/>
                        <a:pt x="0" y="2"/>
                      </a:cubicBezTo>
                      <a:lnTo>
                        <a:pt x="0" y="4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99" name="Freeform 198"/>
                <p:cNvSpPr>
                  <a:spLocks/>
                </p:cNvSpPr>
                <p:nvPr/>
              </p:nvSpPr>
              <p:spPr bwMode="auto">
                <a:xfrm>
                  <a:off x="4021138" y="5627688"/>
                  <a:ext cx="33337" cy="149225"/>
                </a:xfrm>
                <a:custGeom>
                  <a:avLst/>
                  <a:gdLst>
                    <a:gd name="T0" fmla="*/ 0 w 10"/>
                    <a:gd name="T1" fmla="*/ 41 h 44"/>
                    <a:gd name="T2" fmla="*/ 2 w 10"/>
                    <a:gd name="T3" fmla="*/ 44 h 44"/>
                    <a:gd name="T4" fmla="*/ 8 w 10"/>
                    <a:gd name="T5" fmla="*/ 44 h 44"/>
                    <a:gd name="T6" fmla="*/ 10 w 10"/>
                    <a:gd name="T7" fmla="*/ 41 h 44"/>
                    <a:gd name="T8" fmla="*/ 10 w 10"/>
                    <a:gd name="T9" fmla="*/ 2 h 44"/>
                    <a:gd name="T10" fmla="*/ 8 w 10"/>
                    <a:gd name="T11" fmla="*/ 0 h 44"/>
                    <a:gd name="T12" fmla="*/ 2 w 10"/>
                    <a:gd name="T13" fmla="*/ 0 h 44"/>
                    <a:gd name="T14" fmla="*/ 0 w 10"/>
                    <a:gd name="T15" fmla="*/ 2 h 44"/>
                    <a:gd name="T16" fmla="*/ 0 w 10"/>
                    <a:gd name="T17" fmla="*/ 41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 h="44">
                      <a:moveTo>
                        <a:pt x="0" y="41"/>
                      </a:moveTo>
                      <a:cubicBezTo>
                        <a:pt x="0" y="43"/>
                        <a:pt x="1" y="44"/>
                        <a:pt x="2" y="44"/>
                      </a:cubicBezTo>
                      <a:cubicBezTo>
                        <a:pt x="8" y="44"/>
                        <a:pt x="8" y="44"/>
                        <a:pt x="8" y="44"/>
                      </a:cubicBezTo>
                      <a:cubicBezTo>
                        <a:pt x="9" y="44"/>
                        <a:pt x="10" y="43"/>
                        <a:pt x="10" y="41"/>
                      </a:cubicBezTo>
                      <a:cubicBezTo>
                        <a:pt x="10" y="2"/>
                        <a:pt x="10" y="2"/>
                        <a:pt x="10" y="2"/>
                      </a:cubicBezTo>
                      <a:cubicBezTo>
                        <a:pt x="10" y="1"/>
                        <a:pt x="9" y="0"/>
                        <a:pt x="8" y="0"/>
                      </a:cubicBezTo>
                      <a:cubicBezTo>
                        <a:pt x="2" y="0"/>
                        <a:pt x="2" y="0"/>
                        <a:pt x="2" y="0"/>
                      </a:cubicBezTo>
                      <a:cubicBezTo>
                        <a:pt x="1" y="0"/>
                        <a:pt x="0" y="1"/>
                        <a:pt x="0" y="2"/>
                      </a:cubicBezTo>
                      <a:lnTo>
                        <a:pt x="0" y="4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00" name="Rectangle 199"/>
                <p:cNvSpPr>
                  <a:spLocks noChangeArrowheads="1"/>
                </p:cNvSpPr>
                <p:nvPr/>
              </p:nvSpPr>
              <p:spPr bwMode="auto">
                <a:xfrm>
                  <a:off x="4038600" y="5522913"/>
                  <a:ext cx="74612" cy="20637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01" name="Freeform 200"/>
                <p:cNvSpPr>
                  <a:spLocks/>
                </p:cNvSpPr>
                <p:nvPr/>
              </p:nvSpPr>
              <p:spPr bwMode="auto">
                <a:xfrm>
                  <a:off x="3857625" y="5087938"/>
                  <a:ext cx="434975" cy="57150"/>
                </a:xfrm>
                <a:custGeom>
                  <a:avLst/>
                  <a:gdLst>
                    <a:gd name="T0" fmla="*/ 0 w 128"/>
                    <a:gd name="T1" fmla="*/ 9 h 17"/>
                    <a:gd name="T2" fmla="*/ 8 w 128"/>
                    <a:gd name="T3" fmla="*/ 17 h 17"/>
                    <a:gd name="T4" fmla="*/ 120 w 128"/>
                    <a:gd name="T5" fmla="*/ 17 h 17"/>
                    <a:gd name="T6" fmla="*/ 128 w 128"/>
                    <a:gd name="T7" fmla="*/ 9 h 17"/>
                    <a:gd name="T8" fmla="*/ 128 w 128"/>
                    <a:gd name="T9" fmla="*/ 9 h 17"/>
                    <a:gd name="T10" fmla="*/ 120 w 128"/>
                    <a:gd name="T11" fmla="*/ 0 h 17"/>
                    <a:gd name="T12" fmla="*/ 8 w 128"/>
                    <a:gd name="T13" fmla="*/ 0 h 17"/>
                    <a:gd name="T14" fmla="*/ 0 w 128"/>
                    <a:gd name="T15" fmla="*/ 9 h 1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8" h="17">
                      <a:moveTo>
                        <a:pt x="0" y="9"/>
                      </a:moveTo>
                      <a:cubicBezTo>
                        <a:pt x="0" y="13"/>
                        <a:pt x="4" y="17"/>
                        <a:pt x="8" y="17"/>
                      </a:cubicBezTo>
                      <a:cubicBezTo>
                        <a:pt x="120" y="17"/>
                        <a:pt x="120" y="17"/>
                        <a:pt x="120" y="17"/>
                      </a:cubicBezTo>
                      <a:cubicBezTo>
                        <a:pt x="125" y="17"/>
                        <a:pt x="128" y="13"/>
                        <a:pt x="128" y="9"/>
                      </a:cubicBezTo>
                      <a:cubicBezTo>
                        <a:pt x="128" y="9"/>
                        <a:pt x="128" y="9"/>
                        <a:pt x="128" y="9"/>
                      </a:cubicBezTo>
                      <a:cubicBezTo>
                        <a:pt x="128" y="4"/>
                        <a:pt x="125" y="0"/>
                        <a:pt x="120" y="0"/>
                      </a:cubicBezTo>
                      <a:cubicBezTo>
                        <a:pt x="8" y="0"/>
                        <a:pt x="8" y="0"/>
                        <a:pt x="8" y="0"/>
                      </a:cubicBezTo>
                      <a:cubicBezTo>
                        <a:pt x="4" y="0"/>
                        <a:pt x="0" y="4"/>
                        <a:pt x="0" y="9"/>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02" name="Freeform 201"/>
                <p:cNvSpPr>
                  <a:spLocks/>
                </p:cNvSpPr>
                <p:nvPr/>
              </p:nvSpPr>
              <p:spPr bwMode="auto">
                <a:xfrm>
                  <a:off x="3662363" y="5057776"/>
                  <a:ext cx="830262" cy="60325"/>
                </a:xfrm>
                <a:custGeom>
                  <a:avLst/>
                  <a:gdLst>
                    <a:gd name="T0" fmla="*/ 245 w 245"/>
                    <a:gd name="T1" fmla="*/ 0 h 18"/>
                    <a:gd name="T2" fmla="*/ 245 w 245"/>
                    <a:gd name="T3" fmla="*/ 0 h 18"/>
                    <a:gd name="T4" fmla="*/ 227 w 245"/>
                    <a:gd name="T5" fmla="*/ 18 h 18"/>
                    <a:gd name="T6" fmla="*/ 17 w 245"/>
                    <a:gd name="T7" fmla="*/ 18 h 18"/>
                    <a:gd name="T8" fmla="*/ 0 w 245"/>
                    <a:gd name="T9" fmla="*/ 0 h 18"/>
                    <a:gd name="T10" fmla="*/ 0 w 245"/>
                    <a:gd name="T11" fmla="*/ 0 h 18"/>
                    <a:gd name="T12" fmla="*/ 245 w 245"/>
                    <a:gd name="T13" fmla="*/ 0 h 18"/>
                  </a:gdLst>
                  <a:ahLst/>
                  <a:cxnLst>
                    <a:cxn ang="0">
                      <a:pos x="T0" y="T1"/>
                    </a:cxn>
                    <a:cxn ang="0">
                      <a:pos x="T2" y="T3"/>
                    </a:cxn>
                    <a:cxn ang="0">
                      <a:pos x="T4" y="T5"/>
                    </a:cxn>
                    <a:cxn ang="0">
                      <a:pos x="T6" y="T7"/>
                    </a:cxn>
                    <a:cxn ang="0">
                      <a:pos x="T8" y="T9"/>
                    </a:cxn>
                    <a:cxn ang="0">
                      <a:pos x="T10" y="T11"/>
                    </a:cxn>
                    <a:cxn ang="0">
                      <a:pos x="T12" y="T13"/>
                    </a:cxn>
                  </a:cxnLst>
                  <a:rect l="0" t="0" r="r" b="b"/>
                  <a:pathLst>
                    <a:path w="245" h="18">
                      <a:moveTo>
                        <a:pt x="245" y="0"/>
                      </a:moveTo>
                      <a:cubicBezTo>
                        <a:pt x="245" y="0"/>
                        <a:pt x="245" y="0"/>
                        <a:pt x="245" y="0"/>
                      </a:cubicBezTo>
                      <a:cubicBezTo>
                        <a:pt x="245" y="10"/>
                        <a:pt x="237" y="18"/>
                        <a:pt x="227" y="18"/>
                      </a:cubicBezTo>
                      <a:cubicBezTo>
                        <a:pt x="17" y="18"/>
                        <a:pt x="17" y="18"/>
                        <a:pt x="17" y="18"/>
                      </a:cubicBezTo>
                      <a:cubicBezTo>
                        <a:pt x="8" y="18"/>
                        <a:pt x="0" y="10"/>
                        <a:pt x="0" y="0"/>
                      </a:cubicBezTo>
                      <a:cubicBezTo>
                        <a:pt x="0" y="0"/>
                        <a:pt x="0" y="0"/>
                        <a:pt x="0" y="0"/>
                      </a:cubicBezTo>
                      <a:lnTo>
                        <a:pt x="245"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03" name="Freeform 202"/>
                <p:cNvSpPr>
                  <a:spLocks/>
                </p:cNvSpPr>
                <p:nvPr/>
              </p:nvSpPr>
              <p:spPr bwMode="auto">
                <a:xfrm>
                  <a:off x="4495800" y="4148138"/>
                  <a:ext cx="60325" cy="736600"/>
                </a:xfrm>
                <a:custGeom>
                  <a:avLst/>
                  <a:gdLst>
                    <a:gd name="T0" fmla="*/ 0 w 18"/>
                    <a:gd name="T1" fmla="*/ 0 h 218"/>
                    <a:gd name="T2" fmla="*/ 0 w 18"/>
                    <a:gd name="T3" fmla="*/ 0 h 218"/>
                    <a:gd name="T4" fmla="*/ 18 w 18"/>
                    <a:gd name="T5" fmla="*/ 18 h 218"/>
                    <a:gd name="T6" fmla="*/ 18 w 18"/>
                    <a:gd name="T7" fmla="*/ 200 h 218"/>
                    <a:gd name="T8" fmla="*/ 0 w 18"/>
                    <a:gd name="T9" fmla="*/ 218 h 218"/>
                    <a:gd name="T10" fmla="*/ 0 w 18"/>
                    <a:gd name="T11" fmla="*/ 218 h 218"/>
                    <a:gd name="T12" fmla="*/ 0 w 18"/>
                    <a:gd name="T13" fmla="*/ 0 h 218"/>
                  </a:gdLst>
                  <a:ahLst/>
                  <a:cxnLst>
                    <a:cxn ang="0">
                      <a:pos x="T0" y="T1"/>
                    </a:cxn>
                    <a:cxn ang="0">
                      <a:pos x="T2" y="T3"/>
                    </a:cxn>
                    <a:cxn ang="0">
                      <a:pos x="T4" y="T5"/>
                    </a:cxn>
                    <a:cxn ang="0">
                      <a:pos x="T6" y="T7"/>
                    </a:cxn>
                    <a:cxn ang="0">
                      <a:pos x="T8" y="T9"/>
                    </a:cxn>
                    <a:cxn ang="0">
                      <a:pos x="T10" y="T11"/>
                    </a:cxn>
                    <a:cxn ang="0">
                      <a:pos x="T12" y="T13"/>
                    </a:cxn>
                  </a:cxnLst>
                  <a:rect l="0" t="0" r="r" b="b"/>
                  <a:pathLst>
                    <a:path w="18" h="218">
                      <a:moveTo>
                        <a:pt x="0" y="0"/>
                      </a:moveTo>
                      <a:cubicBezTo>
                        <a:pt x="0" y="0"/>
                        <a:pt x="0" y="0"/>
                        <a:pt x="0" y="0"/>
                      </a:cubicBezTo>
                      <a:cubicBezTo>
                        <a:pt x="10" y="0"/>
                        <a:pt x="18" y="8"/>
                        <a:pt x="18" y="18"/>
                      </a:cubicBezTo>
                      <a:cubicBezTo>
                        <a:pt x="18" y="200"/>
                        <a:pt x="18" y="200"/>
                        <a:pt x="18" y="200"/>
                      </a:cubicBezTo>
                      <a:cubicBezTo>
                        <a:pt x="18" y="210"/>
                        <a:pt x="10" y="218"/>
                        <a:pt x="0" y="218"/>
                      </a:cubicBezTo>
                      <a:cubicBezTo>
                        <a:pt x="0" y="218"/>
                        <a:pt x="0" y="218"/>
                        <a:pt x="0" y="218"/>
                      </a:cubicBezTo>
                      <a:lnTo>
                        <a:pt x="0"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04" name="Freeform 203"/>
                <p:cNvSpPr>
                  <a:spLocks/>
                </p:cNvSpPr>
                <p:nvPr/>
              </p:nvSpPr>
              <p:spPr bwMode="auto">
                <a:xfrm>
                  <a:off x="4170363" y="4557713"/>
                  <a:ext cx="430212" cy="623888"/>
                </a:xfrm>
                <a:custGeom>
                  <a:avLst/>
                  <a:gdLst>
                    <a:gd name="T0" fmla="*/ 0 w 127"/>
                    <a:gd name="T1" fmla="*/ 185 h 185"/>
                    <a:gd name="T2" fmla="*/ 98 w 127"/>
                    <a:gd name="T3" fmla="*/ 185 h 185"/>
                    <a:gd name="T4" fmla="*/ 127 w 127"/>
                    <a:gd name="T5" fmla="*/ 156 h 185"/>
                    <a:gd name="T6" fmla="*/ 127 w 127"/>
                    <a:gd name="T7" fmla="*/ 0 h 185"/>
                    <a:gd name="T8" fmla="*/ 114 w 127"/>
                    <a:gd name="T9" fmla="*/ 0 h 185"/>
                    <a:gd name="T10" fmla="*/ 114 w 127"/>
                    <a:gd name="T11" fmla="*/ 156 h 185"/>
                    <a:gd name="T12" fmla="*/ 98 w 127"/>
                    <a:gd name="T13" fmla="*/ 172 h 185"/>
                    <a:gd name="T14" fmla="*/ 0 w 127"/>
                    <a:gd name="T15" fmla="*/ 172 h 185"/>
                    <a:gd name="T16" fmla="*/ 0 w 127"/>
                    <a:gd name="T17" fmla="*/ 18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7" h="185">
                      <a:moveTo>
                        <a:pt x="0" y="185"/>
                      </a:moveTo>
                      <a:cubicBezTo>
                        <a:pt x="98" y="185"/>
                        <a:pt x="98" y="185"/>
                        <a:pt x="98" y="185"/>
                      </a:cubicBezTo>
                      <a:cubicBezTo>
                        <a:pt x="114" y="185"/>
                        <a:pt x="127" y="172"/>
                        <a:pt x="127" y="156"/>
                      </a:cubicBezTo>
                      <a:cubicBezTo>
                        <a:pt x="127" y="0"/>
                        <a:pt x="127" y="0"/>
                        <a:pt x="127" y="0"/>
                      </a:cubicBezTo>
                      <a:cubicBezTo>
                        <a:pt x="114" y="0"/>
                        <a:pt x="114" y="0"/>
                        <a:pt x="114" y="0"/>
                      </a:cubicBezTo>
                      <a:cubicBezTo>
                        <a:pt x="114" y="156"/>
                        <a:pt x="114" y="156"/>
                        <a:pt x="114" y="156"/>
                      </a:cubicBezTo>
                      <a:cubicBezTo>
                        <a:pt x="114" y="165"/>
                        <a:pt x="107" y="172"/>
                        <a:pt x="98" y="172"/>
                      </a:cubicBezTo>
                      <a:cubicBezTo>
                        <a:pt x="0" y="172"/>
                        <a:pt x="0" y="172"/>
                        <a:pt x="0" y="172"/>
                      </a:cubicBezTo>
                      <a:lnTo>
                        <a:pt x="0" y="1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05" name="Freeform 204"/>
                <p:cNvSpPr>
                  <a:spLocks/>
                </p:cNvSpPr>
                <p:nvPr/>
              </p:nvSpPr>
              <p:spPr bwMode="auto">
                <a:xfrm>
                  <a:off x="4170363" y="5175251"/>
                  <a:ext cx="104775" cy="95250"/>
                </a:xfrm>
                <a:custGeom>
                  <a:avLst/>
                  <a:gdLst>
                    <a:gd name="T0" fmla="*/ 31 w 31"/>
                    <a:gd name="T1" fmla="*/ 0 h 28"/>
                    <a:gd name="T2" fmla="*/ 31 w 31"/>
                    <a:gd name="T3" fmla="*/ 15 h 28"/>
                    <a:gd name="T4" fmla="*/ 19 w 31"/>
                    <a:gd name="T5" fmla="*/ 28 h 28"/>
                    <a:gd name="T6" fmla="*/ 12 w 31"/>
                    <a:gd name="T7" fmla="*/ 28 h 28"/>
                    <a:gd name="T8" fmla="*/ 0 w 31"/>
                    <a:gd name="T9" fmla="*/ 15 h 28"/>
                    <a:gd name="T10" fmla="*/ 0 w 31"/>
                    <a:gd name="T11" fmla="*/ 0 h 28"/>
                    <a:gd name="T12" fmla="*/ 31 w 31"/>
                    <a:gd name="T13" fmla="*/ 0 h 28"/>
                  </a:gdLst>
                  <a:ahLst/>
                  <a:cxnLst>
                    <a:cxn ang="0">
                      <a:pos x="T0" y="T1"/>
                    </a:cxn>
                    <a:cxn ang="0">
                      <a:pos x="T2" y="T3"/>
                    </a:cxn>
                    <a:cxn ang="0">
                      <a:pos x="T4" y="T5"/>
                    </a:cxn>
                    <a:cxn ang="0">
                      <a:pos x="T6" y="T7"/>
                    </a:cxn>
                    <a:cxn ang="0">
                      <a:pos x="T8" y="T9"/>
                    </a:cxn>
                    <a:cxn ang="0">
                      <a:pos x="T10" y="T11"/>
                    </a:cxn>
                    <a:cxn ang="0">
                      <a:pos x="T12" y="T13"/>
                    </a:cxn>
                  </a:cxnLst>
                  <a:rect l="0" t="0" r="r" b="b"/>
                  <a:pathLst>
                    <a:path w="31" h="28">
                      <a:moveTo>
                        <a:pt x="31" y="0"/>
                      </a:moveTo>
                      <a:cubicBezTo>
                        <a:pt x="31" y="15"/>
                        <a:pt x="31" y="15"/>
                        <a:pt x="31" y="15"/>
                      </a:cubicBezTo>
                      <a:cubicBezTo>
                        <a:pt x="31" y="22"/>
                        <a:pt x="26" y="28"/>
                        <a:pt x="19" y="28"/>
                      </a:cubicBezTo>
                      <a:cubicBezTo>
                        <a:pt x="12" y="28"/>
                        <a:pt x="12" y="28"/>
                        <a:pt x="12" y="28"/>
                      </a:cubicBezTo>
                      <a:cubicBezTo>
                        <a:pt x="5" y="28"/>
                        <a:pt x="0" y="22"/>
                        <a:pt x="0" y="15"/>
                      </a:cubicBezTo>
                      <a:cubicBezTo>
                        <a:pt x="0" y="0"/>
                        <a:pt x="0" y="0"/>
                        <a:pt x="0" y="0"/>
                      </a:cubicBezTo>
                      <a:lnTo>
                        <a:pt x="3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06" name="Freeform 205"/>
                <p:cNvSpPr>
                  <a:spLocks/>
                </p:cNvSpPr>
                <p:nvPr/>
              </p:nvSpPr>
              <p:spPr bwMode="auto">
                <a:xfrm>
                  <a:off x="4556125" y="4503738"/>
                  <a:ext cx="95250" cy="107950"/>
                </a:xfrm>
                <a:custGeom>
                  <a:avLst/>
                  <a:gdLst>
                    <a:gd name="T0" fmla="*/ 0 w 28"/>
                    <a:gd name="T1" fmla="*/ 0 h 32"/>
                    <a:gd name="T2" fmla="*/ 15 w 28"/>
                    <a:gd name="T3" fmla="*/ 0 h 32"/>
                    <a:gd name="T4" fmla="*/ 28 w 28"/>
                    <a:gd name="T5" fmla="*/ 13 h 32"/>
                    <a:gd name="T6" fmla="*/ 28 w 28"/>
                    <a:gd name="T7" fmla="*/ 19 h 32"/>
                    <a:gd name="T8" fmla="*/ 15 w 28"/>
                    <a:gd name="T9" fmla="*/ 32 h 32"/>
                    <a:gd name="T10" fmla="*/ 0 w 28"/>
                    <a:gd name="T11" fmla="*/ 32 h 32"/>
                    <a:gd name="T12" fmla="*/ 0 w 28"/>
                    <a:gd name="T13" fmla="*/ 0 h 32"/>
                  </a:gdLst>
                  <a:ahLst/>
                  <a:cxnLst>
                    <a:cxn ang="0">
                      <a:pos x="T0" y="T1"/>
                    </a:cxn>
                    <a:cxn ang="0">
                      <a:pos x="T2" y="T3"/>
                    </a:cxn>
                    <a:cxn ang="0">
                      <a:pos x="T4" y="T5"/>
                    </a:cxn>
                    <a:cxn ang="0">
                      <a:pos x="T6" y="T7"/>
                    </a:cxn>
                    <a:cxn ang="0">
                      <a:pos x="T8" y="T9"/>
                    </a:cxn>
                    <a:cxn ang="0">
                      <a:pos x="T10" y="T11"/>
                    </a:cxn>
                    <a:cxn ang="0">
                      <a:pos x="T12" y="T13"/>
                    </a:cxn>
                  </a:cxnLst>
                  <a:rect l="0" t="0" r="r" b="b"/>
                  <a:pathLst>
                    <a:path w="28" h="32">
                      <a:moveTo>
                        <a:pt x="0" y="0"/>
                      </a:moveTo>
                      <a:cubicBezTo>
                        <a:pt x="15" y="0"/>
                        <a:pt x="15" y="0"/>
                        <a:pt x="15" y="0"/>
                      </a:cubicBezTo>
                      <a:cubicBezTo>
                        <a:pt x="22" y="0"/>
                        <a:pt x="28" y="6"/>
                        <a:pt x="28" y="13"/>
                      </a:cubicBezTo>
                      <a:cubicBezTo>
                        <a:pt x="28" y="19"/>
                        <a:pt x="28" y="19"/>
                        <a:pt x="28" y="19"/>
                      </a:cubicBezTo>
                      <a:cubicBezTo>
                        <a:pt x="28" y="26"/>
                        <a:pt x="22" y="32"/>
                        <a:pt x="15" y="32"/>
                      </a:cubicBezTo>
                      <a:cubicBezTo>
                        <a:pt x="0" y="32"/>
                        <a:pt x="0" y="32"/>
                        <a:pt x="0" y="32"/>
                      </a:cubicBez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07" name="Freeform 206"/>
                <p:cNvSpPr>
                  <a:spLocks/>
                </p:cNvSpPr>
                <p:nvPr/>
              </p:nvSpPr>
              <p:spPr bwMode="auto">
                <a:xfrm>
                  <a:off x="3597275" y="4794251"/>
                  <a:ext cx="423862" cy="36513"/>
                </a:xfrm>
                <a:custGeom>
                  <a:avLst/>
                  <a:gdLst>
                    <a:gd name="T0" fmla="*/ 0 w 267"/>
                    <a:gd name="T1" fmla="*/ 0 h 23"/>
                    <a:gd name="T2" fmla="*/ 267 w 267"/>
                    <a:gd name="T3" fmla="*/ 12 h 23"/>
                    <a:gd name="T4" fmla="*/ 267 w 267"/>
                    <a:gd name="T5" fmla="*/ 23 h 23"/>
                    <a:gd name="T6" fmla="*/ 0 w 267"/>
                    <a:gd name="T7" fmla="*/ 23 h 23"/>
                    <a:gd name="T8" fmla="*/ 0 w 267"/>
                    <a:gd name="T9" fmla="*/ 0 h 23"/>
                  </a:gdLst>
                  <a:ahLst/>
                  <a:cxnLst>
                    <a:cxn ang="0">
                      <a:pos x="T0" y="T1"/>
                    </a:cxn>
                    <a:cxn ang="0">
                      <a:pos x="T2" y="T3"/>
                    </a:cxn>
                    <a:cxn ang="0">
                      <a:pos x="T4" y="T5"/>
                    </a:cxn>
                    <a:cxn ang="0">
                      <a:pos x="T6" y="T7"/>
                    </a:cxn>
                    <a:cxn ang="0">
                      <a:pos x="T8" y="T9"/>
                    </a:cxn>
                  </a:cxnLst>
                  <a:rect l="0" t="0" r="r" b="b"/>
                  <a:pathLst>
                    <a:path w="267" h="23">
                      <a:moveTo>
                        <a:pt x="0" y="0"/>
                      </a:moveTo>
                      <a:lnTo>
                        <a:pt x="267" y="12"/>
                      </a:lnTo>
                      <a:lnTo>
                        <a:pt x="267" y="23"/>
                      </a:lnTo>
                      <a:lnTo>
                        <a:pt x="0" y="23"/>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08" name="Freeform 207"/>
                <p:cNvSpPr>
                  <a:spLocks/>
                </p:cNvSpPr>
                <p:nvPr/>
              </p:nvSpPr>
              <p:spPr bwMode="auto">
                <a:xfrm>
                  <a:off x="3457575" y="4391026"/>
                  <a:ext cx="146050" cy="415925"/>
                </a:xfrm>
                <a:custGeom>
                  <a:avLst/>
                  <a:gdLst>
                    <a:gd name="T0" fmla="*/ 71 w 92"/>
                    <a:gd name="T1" fmla="*/ 262 h 262"/>
                    <a:gd name="T2" fmla="*/ 0 w 92"/>
                    <a:gd name="T3" fmla="*/ 5 h 262"/>
                    <a:gd name="T4" fmla="*/ 9 w 92"/>
                    <a:gd name="T5" fmla="*/ 0 h 262"/>
                    <a:gd name="T6" fmla="*/ 92 w 92"/>
                    <a:gd name="T7" fmla="*/ 256 h 262"/>
                    <a:gd name="T8" fmla="*/ 71 w 92"/>
                    <a:gd name="T9" fmla="*/ 262 h 262"/>
                  </a:gdLst>
                  <a:ahLst/>
                  <a:cxnLst>
                    <a:cxn ang="0">
                      <a:pos x="T0" y="T1"/>
                    </a:cxn>
                    <a:cxn ang="0">
                      <a:pos x="T2" y="T3"/>
                    </a:cxn>
                    <a:cxn ang="0">
                      <a:pos x="T4" y="T5"/>
                    </a:cxn>
                    <a:cxn ang="0">
                      <a:pos x="T6" y="T7"/>
                    </a:cxn>
                    <a:cxn ang="0">
                      <a:pos x="T8" y="T9"/>
                    </a:cxn>
                  </a:cxnLst>
                  <a:rect l="0" t="0" r="r" b="b"/>
                  <a:pathLst>
                    <a:path w="92" h="262">
                      <a:moveTo>
                        <a:pt x="71" y="262"/>
                      </a:moveTo>
                      <a:lnTo>
                        <a:pt x="0" y="5"/>
                      </a:lnTo>
                      <a:lnTo>
                        <a:pt x="9" y="0"/>
                      </a:lnTo>
                      <a:lnTo>
                        <a:pt x="92" y="256"/>
                      </a:lnTo>
                      <a:lnTo>
                        <a:pt x="71" y="26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09" name="Oval 208"/>
                <p:cNvSpPr>
                  <a:spLocks noChangeArrowheads="1"/>
                </p:cNvSpPr>
                <p:nvPr/>
              </p:nvSpPr>
              <p:spPr bwMode="auto">
                <a:xfrm>
                  <a:off x="3570288" y="4776788"/>
                  <a:ext cx="53975" cy="53975"/>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10" name="Freeform 209"/>
                <p:cNvSpPr>
                  <a:spLocks/>
                </p:cNvSpPr>
                <p:nvPr/>
              </p:nvSpPr>
              <p:spPr bwMode="auto">
                <a:xfrm>
                  <a:off x="4262438" y="4246563"/>
                  <a:ext cx="141287" cy="584200"/>
                </a:xfrm>
                <a:custGeom>
                  <a:avLst/>
                  <a:gdLst>
                    <a:gd name="T0" fmla="*/ 42 w 42"/>
                    <a:gd name="T1" fmla="*/ 152 h 173"/>
                    <a:gd name="T2" fmla="*/ 21 w 42"/>
                    <a:gd name="T3" fmla="*/ 173 h 173"/>
                    <a:gd name="T4" fmla="*/ 21 w 42"/>
                    <a:gd name="T5" fmla="*/ 173 h 173"/>
                    <a:gd name="T6" fmla="*/ 0 w 42"/>
                    <a:gd name="T7" fmla="*/ 152 h 173"/>
                    <a:gd name="T8" fmla="*/ 0 w 42"/>
                    <a:gd name="T9" fmla="*/ 21 h 173"/>
                    <a:gd name="T10" fmla="*/ 21 w 42"/>
                    <a:gd name="T11" fmla="*/ 0 h 173"/>
                    <a:gd name="T12" fmla="*/ 21 w 42"/>
                    <a:gd name="T13" fmla="*/ 0 h 173"/>
                    <a:gd name="T14" fmla="*/ 42 w 42"/>
                    <a:gd name="T15" fmla="*/ 21 h 173"/>
                    <a:gd name="T16" fmla="*/ 42 w 42"/>
                    <a:gd name="T17" fmla="*/ 152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 h="173">
                      <a:moveTo>
                        <a:pt x="42" y="152"/>
                      </a:moveTo>
                      <a:cubicBezTo>
                        <a:pt x="42" y="164"/>
                        <a:pt x="33" y="173"/>
                        <a:pt x="21" y="173"/>
                      </a:cubicBezTo>
                      <a:cubicBezTo>
                        <a:pt x="21" y="173"/>
                        <a:pt x="21" y="173"/>
                        <a:pt x="21" y="173"/>
                      </a:cubicBezTo>
                      <a:cubicBezTo>
                        <a:pt x="9" y="173"/>
                        <a:pt x="0" y="164"/>
                        <a:pt x="0" y="152"/>
                      </a:cubicBezTo>
                      <a:cubicBezTo>
                        <a:pt x="0" y="21"/>
                        <a:pt x="0" y="21"/>
                        <a:pt x="0" y="21"/>
                      </a:cubicBezTo>
                      <a:cubicBezTo>
                        <a:pt x="0" y="10"/>
                        <a:pt x="9" y="0"/>
                        <a:pt x="21" y="0"/>
                      </a:cubicBezTo>
                      <a:cubicBezTo>
                        <a:pt x="21" y="0"/>
                        <a:pt x="21" y="0"/>
                        <a:pt x="21" y="0"/>
                      </a:cubicBezTo>
                      <a:cubicBezTo>
                        <a:pt x="33" y="0"/>
                        <a:pt x="42" y="10"/>
                        <a:pt x="42" y="21"/>
                      </a:cubicBezTo>
                      <a:lnTo>
                        <a:pt x="42" y="152"/>
                      </a:lnTo>
                      <a:close/>
                    </a:path>
                  </a:pathLst>
                </a:custGeom>
                <a:solidFill>
                  <a:srgbClr val="E0BB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11" name="Freeform 210"/>
                <p:cNvSpPr>
                  <a:spLocks/>
                </p:cNvSpPr>
                <p:nvPr/>
              </p:nvSpPr>
              <p:spPr bwMode="auto">
                <a:xfrm>
                  <a:off x="3857625" y="4689476"/>
                  <a:ext cx="546100" cy="141288"/>
                </a:xfrm>
                <a:custGeom>
                  <a:avLst/>
                  <a:gdLst>
                    <a:gd name="T0" fmla="*/ 140 w 161"/>
                    <a:gd name="T1" fmla="*/ 0 h 42"/>
                    <a:gd name="T2" fmla="*/ 161 w 161"/>
                    <a:gd name="T3" fmla="*/ 21 h 42"/>
                    <a:gd name="T4" fmla="*/ 161 w 161"/>
                    <a:gd name="T5" fmla="*/ 21 h 42"/>
                    <a:gd name="T6" fmla="*/ 140 w 161"/>
                    <a:gd name="T7" fmla="*/ 42 h 42"/>
                    <a:gd name="T8" fmla="*/ 21 w 161"/>
                    <a:gd name="T9" fmla="*/ 42 h 42"/>
                    <a:gd name="T10" fmla="*/ 0 w 161"/>
                    <a:gd name="T11" fmla="*/ 21 h 42"/>
                    <a:gd name="T12" fmla="*/ 0 w 161"/>
                    <a:gd name="T13" fmla="*/ 21 h 42"/>
                    <a:gd name="T14" fmla="*/ 21 w 161"/>
                    <a:gd name="T15" fmla="*/ 0 h 42"/>
                    <a:gd name="T16" fmla="*/ 140 w 161"/>
                    <a:gd name="T17"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1" h="42">
                      <a:moveTo>
                        <a:pt x="140" y="0"/>
                      </a:moveTo>
                      <a:cubicBezTo>
                        <a:pt x="152" y="0"/>
                        <a:pt x="161" y="10"/>
                        <a:pt x="161" y="21"/>
                      </a:cubicBezTo>
                      <a:cubicBezTo>
                        <a:pt x="161" y="21"/>
                        <a:pt x="161" y="21"/>
                        <a:pt x="161" y="21"/>
                      </a:cubicBezTo>
                      <a:cubicBezTo>
                        <a:pt x="161" y="33"/>
                        <a:pt x="152" y="42"/>
                        <a:pt x="140" y="42"/>
                      </a:cubicBezTo>
                      <a:cubicBezTo>
                        <a:pt x="21" y="42"/>
                        <a:pt x="21" y="42"/>
                        <a:pt x="21" y="42"/>
                      </a:cubicBezTo>
                      <a:cubicBezTo>
                        <a:pt x="9" y="42"/>
                        <a:pt x="0" y="33"/>
                        <a:pt x="0" y="21"/>
                      </a:cubicBezTo>
                      <a:cubicBezTo>
                        <a:pt x="0" y="21"/>
                        <a:pt x="0" y="21"/>
                        <a:pt x="0" y="21"/>
                      </a:cubicBezTo>
                      <a:cubicBezTo>
                        <a:pt x="0" y="10"/>
                        <a:pt x="9" y="0"/>
                        <a:pt x="21" y="0"/>
                      </a:cubicBezTo>
                      <a:lnTo>
                        <a:pt x="140" y="0"/>
                      </a:lnTo>
                      <a:close/>
                    </a:path>
                  </a:pathLst>
                </a:custGeom>
                <a:solidFill>
                  <a:srgbClr val="E0BB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12" name="Freeform 211"/>
                <p:cNvSpPr>
                  <a:spLocks/>
                </p:cNvSpPr>
                <p:nvPr/>
              </p:nvSpPr>
              <p:spPr bwMode="auto">
                <a:xfrm>
                  <a:off x="3794125" y="4689476"/>
                  <a:ext cx="280987" cy="141288"/>
                </a:xfrm>
                <a:custGeom>
                  <a:avLst/>
                  <a:gdLst>
                    <a:gd name="T0" fmla="*/ 83 w 83"/>
                    <a:gd name="T1" fmla="*/ 42 h 42"/>
                    <a:gd name="T2" fmla="*/ 0 w 83"/>
                    <a:gd name="T3" fmla="*/ 42 h 42"/>
                    <a:gd name="T4" fmla="*/ 41 w 83"/>
                    <a:gd name="T5" fmla="*/ 0 h 42"/>
                    <a:gd name="T6" fmla="*/ 83 w 83"/>
                    <a:gd name="T7" fmla="*/ 42 h 42"/>
                  </a:gdLst>
                  <a:ahLst/>
                  <a:cxnLst>
                    <a:cxn ang="0">
                      <a:pos x="T0" y="T1"/>
                    </a:cxn>
                    <a:cxn ang="0">
                      <a:pos x="T2" y="T3"/>
                    </a:cxn>
                    <a:cxn ang="0">
                      <a:pos x="T4" y="T5"/>
                    </a:cxn>
                    <a:cxn ang="0">
                      <a:pos x="T6" y="T7"/>
                    </a:cxn>
                  </a:cxnLst>
                  <a:rect l="0" t="0" r="r" b="b"/>
                  <a:pathLst>
                    <a:path w="83" h="42">
                      <a:moveTo>
                        <a:pt x="83" y="42"/>
                      </a:moveTo>
                      <a:cubicBezTo>
                        <a:pt x="0" y="42"/>
                        <a:pt x="0" y="42"/>
                        <a:pt x="0" y="42"/>
                      </a:cubicBezTo>
                      <a:cubicBezTo>
                        <a:pt x="0" y="19"/>
                        <a:pt x="18" y="0"/>
                        <a:pt x="41" y="0"/>
                      </a:cubicBezTo>
                      <a:cubicBezTo>
                        <a:pt x="64" y="0"/>
                        <a:pt x="83" y="19"/>
                        <a:pt x="83" y="42"/>
                      </a:cubicBezTo>
                      <a:close/>
                    </a:path>
                  </a:pathLst>
                </a:custGeom>
                <a:solidFill>
                  <a:srgbClr val="E0BB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13" name="Rectangle 212"/>
                <p:cNvSpPr>
                  <a:spLocks noChangeArrowheads="1"/>
                </p:cNvSpPr>
                <p:nvPr/>
              </p:nvSpPr>
              <p:spPr bwMode="auto">
                <a:xfrm>
                  <a:off x="4011613" y="4689476"/>
                  <a:ext cx="63500" cy="14128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14" name="Rectangle 213"/>
                <p:cNvSpPr>
                  <a:spLocks noChangeArrowheads="1"/>
                </p:cNvSpPr>
                <p:nvPr/>
              </p:nvSpPr>
              <p:spPr bwMode="auto">
                <a:xfrm>
                  <a:off x="4257675" y="4240213"/>
                  <a:ext cx="177800" cy="276225"/>
                </a:xfrm>
                <a:prstGeom prst="rect">
                  <a:avLst/>
                </a:prstGeom>
                <a:solidFill>
                  <a:srgbClr val="3333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505050"/>
                    </a:solidFill>
                    <a:effectLst/>
                    <a:uLnTx/>
                    <a:uFillTx/>
                    <a:latin typeface="Segoe UI"/>
                    <a:ea typeface="+mn-ea"/>
                    <a:cs typeface="+mn-cs"/>
                  </a:endParaRPr>
                </a:p>
              </p:txBody>
            </p:sp>
          </p:grpSp>
        </p:grpSp>
        <p:sp>
          <p:nvSpPr>
            <p:cNvPr id="128" name="Freeform 127"/>
            <p:cNvSpPr>
              <a:spLocks/>
            </p:cNvSpPr>
            <p:nvPr/>
          </p:nvSpPr>
          <p:spPr bwMode="auto">
            <a:xfrm flipH="1">
              <a:off x="1822071" y="2804989"/>
              <a:ext cx="641394" cy="422870"/>
            </a:xfrm>
            <a:custGeom>
              <a:avLst/>
              <a:gdLst>
                <a:gd name="T0" fmla="*/ 462 w 550"/>
                <a:gd name="T1" fmla="*/ 159 h 362"/>
                <a:gd name="T2" fmla="*/ 462 w 550"/>
                <a:gd name="T3" fmla="*/ 152 h 362"/>
                <a:gd name="T4" fmla="*/ 311 w 550"/>
                <a:gd name="T5" fmla="*/ 0 h 362"/>
                <a:gd name="T6" fmla="*/ 184 w 550"/>
                <a:gd name="T7" fmla="*/ 68 h 362"/>
                <a:gd name="T8" fmla="*/ 143 w 550"/>
                <a:gd name="T9" fmla="*/ 57 h 362"/>
                <a:gd name="T10" fmla="*/ 94 w 550"/>
                <a:gd name="T11" fmla="*/ 72 h 362"/>
                <a:gd name="T12" fmla="*/ 55 w 550"/>
                <a:gd name="T13" fmla="*/ 143 h 362"/>
                <a:gd name="T14" fmla="*/ 0 w 550"/>
                <a:gd name="T15" fmla="*/ 243 h 362"/>
                <a:gd name="T16" fmla="*/ 106 w 550"/>
                <a:gd name="T17" fmla="*/ 362 h 362"/>
                <a:gd name="T18" fmla="*/ 119 w 550"/>
                <a:gd name="T19" fmla="*/ 362 h 362"/>
                <a:gd name="T20" fmla="*/ 131 w 550"/>
                <a:gd name="T21" fmla="*/ 362 h 362"/>
                <a:gd name="T22" fmla="*/ 379 w 550"/>
                <a:gd name="T23" fmla="*/ 362 h 362"/>
                <a:gd name="T24" fmla="*/ 384 w 550"/>
                <a:gd name="T25" fmla="*/ 362 h 362"/>
                <a:gd name="T26" fmla="*/ 390 w 550"/>
                <a:gd name="T27" fmla="*/ 362 h 362"/>
                <a:gd name="T28" fmla="*/ 409 w 550"/>
                <a:gd name="T29" fmla="*/ 362 h 362"/>
                <a:gd name="T30" fmla="*/ 448 w 550"/>
                <a:gd name="T31" fmla="*/ 362 h 362"/>
                <a:gd name="T32" fmla="*/ 550 w 550"/>
                <a:gd name="T33" fmla="*/ 260 h 362"/>
                <a:gd name="T34" fmla="*/ 462 w 550"/>
                <a:gd name="T35" fmla="*/ 159 h 3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50" h="362">
                  <a:moveTo>
                    <a:pt x="462" y="159"/>
                  </a:moveTo>
                  <a:cubicBezTo>
                    <a:pt x="462" y="157"/>
                    <a:pt x="462" y="154"/>
                    <a:pt x="462" y="152"/>
                  </a:cubicBezTo>
                  <a:cubicBezTo>
                    <a:pt x="462" y="68"/>
                    <a:pt x="395" y="0"/>
                    <a:pt x="311" y="0"/>
                  </a:cubicBezTo>
                  <a:cubicBezTo>
                    <a:pt x="258" y="0"/>
                    <a:pt x="211" y="28"/>
                    <a:pt x="184" y="68"/>
                  </a:cubicBezTo>
                  <a:cubicBezTo>
                    <a:pt x="172" y="61"/>
                    <a:pt x="158" y="57"/>
                    <a:pt x="143" y="57"/>
                  </a:cubicBezTo>
                  <a:cubicBezTo>
                    <a:pt x="124" y="57"/>
                    <a:pt x="108" y="62"/>
                    <a:pt x="94" y="72"/>
                  </a:cubicBezTo>
                  <a:cubicBezTo>
                    <a:pt x="70" y="87"/>
                    <a:pt x="55" y="113"/>
                    <a:pt x="55" y="143"/>
                  </a:cubicBezTo>
                  <a:cubicBezTo>
                    <a:pt x="22" y="164"/>
                    <a:pt x="0" y="201"/>
                    <a:pt x="0" y="243"/>
                  </a:cubicBezTo>
                  <a:cubicBezTo>
                    <a:pt x="0" y="305"/>
                    <a:pt x="46" y="355"/>
                    <a:pt x="106" y="362"/>
                  </a:cubicBezTo>
                  <a:cubicBezTo>
                    <a:pt x="110" y="362"/>
                    <a:pt x="115" y="362"/>
                    <a:pt x="119" y="362"/>
                  </a:cubicBezTo>
                  <a:cubicBezTo>
                    <a:pt x="123" y="362"/>
                    <a:pt x="127" y="362"/>
                    <a:pt x="131" y="362"/>
                  </a:cubicBezTo>
                  <a:cubicBezTo>
                    <a:pt x="187" y="362"/>
                    <a:pt x="318" y="362"/>
                    <a:pt x="379" y="362"/>
                  </a:cubicBezTo>
                  <a:cubicBezTo>
                    <a:pt x="381" y="362"/>
                    <a:pt x="383" y="362"/>
                    <a:pt x="384" y="362"/>
                  </a:cubicBezTo>
                  <a:cubicBezTo>
                    <a:pt x="390" y="362"/>
                    <a:pt x="390" y="362"/>
                    <a:pt x="390" y="362"/>
                  </a:cubicBezTo>
                  <a:cubicBezTo>
                    <a:pt x="394" y="362"/>
                    <a:pt x="403" y="362"/>
                    <a:pt x="409" y="362"/>
                  </a:cubicBezTo>
                  <a:cubicBezTo>
                    <a:pt x="448" y="362"/>
                    <a:pt x="448" y="362"/>
                    <a:pt x="448" y="362"/>
                  </a:cubicBezTo>
                  <a:cubicBezTo>
                    <a:pt x="505" y="361"/>
                    <a:pt x="550" y="316"/>
                    <a:pt x="550" y="260"/>
                  </a:cubicBezTo>
                  <a:cubicBezTo>
                    <a:pt x="550" y="209"/>
                    <a:pt x="512" y="166"/>
                    <a:pt x="462" y="15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505050"/>
                </a:solidFill>
                <a:effectLst/>
                <a:uLnTx/>
                <a:uFillTx/>
                <a:latin typeface="Segoe UI"/>
                <a:ea typeface="+mn-ea"/>
                <a:cs typeface="+mn-cs"/>
              </a:endParaRPr>
            </a:p>
          </p:txBody>
        </p:sp>
        <p:grpSp>
          <p:nvGrpSpPr>
            <p:cNvPr id="129" name="Group 128"/>
            <p:cNvGrpSpPr/>
            <p:nvPr/>
          </p:nvGrpSpPr>
          <p:grpSpPr>
            <a:xfrm flipH="1">
              <a:off x="1885509" y="3306474"/>
              <a:ext cx="582592" cy="582592"/>
              <a:chOff x="7429057" y="1818650"/>
              <a:chExt cx="514175" cy="514175"/>
            </a:xfrm>
          </p:grpSpPr>
          <p:sp>
            <p:nvSpPr>
              <p:cNvPr id="167" name="Freeform 166"/>
              <p:cNvSpPr>
                <a:spLocks noEditPoints="1"/>
              </p:cNvSpPr>
              <p:nvPr/>
            </p:nvSpPr>
            <p:spPr bwMode="auto">
              <a:xfrm>
                <a:off x="7429057" y="1818650"/>
                <a:ext cx="514175" cy="514175"/>
              </a:xfrm>
              <a:custGeom>
                <a:avLst/>
                <a:gdLst>
                  <a:gd name="T0" fmla="*/ 139 w 277"/>
                  <a:gd name="T1" fmla="*/ 277 h 277"/>
                  <a:gd name="T2" fmla="*/ 118 w 277"/>
                  <a:gd name="T3" fmla="*/ 270 h 277"/>
                  <a:gd name="T4" fmla="*/ 139 w 277"/>
                  <a:gd name="T5" fmla="*/ 277 h 277"/>
                  <a:gd name="T6" fmla="*/ 160 w 277"/>
                  <a:gd name="T7" fmla="*/ 270 h 277"/>
                  <a:gd name="T8" fmla="*/ 182 w 277"/>
                  <a:gd name="T9" fmla="*/ 270 h 277"/>
                  <a:gd name="T10" fmla="*/ 96 w 277"/>
                  <a:gd name="T11" fmla="*/ 270 h 277"/>
                  <a:gd name="T12" fmla="*/ 79 w 277"/>
                  <a:gd name="T13" fmla="*/ 257 h 277"/>
                  <a:gd name="T14" fmla="*/ 96 w 277"/>
                  <a:gd name="T15" fmla="*/ 270 h 277"/>
                  <a:gd name="T16" fmla="*/ 199 w 277"/>
                  <a:gd name="T17" fmla="*/ 257 h 277"/>
                  <a:gd name="T18" fmla="*/ 220 w 277"/>
                  <a:gd name="T19" fmla="*/ 250 h 277"/>
                  <a:gd name="T20" fmla="*/ 58 w 277"/>
                  <a:gd name="T21" fmla="*/ 250 h 277"/>
                  <a:gd name="T22" fmla="*/ 45 w 277"/>
                  <a:gd name="T23" fmla="*/ 232 h 277"/>
                  <a:gd name="T24" fmla="*/ 58 w 277"/>
                  <a:gd name="T25" fmla="*/ 250 h 277"/>
                  <a:gd name="T26" fmla="*/ 233 w 277"/>
                  <a:gd name="T27" fmla="*/ 232 h 277"/>
                  <a:gd name="T28" fmla="*/ 251 w 277"/>
                  <a:gd name="T29" fmla="*/ 219 h 277"/>
                  <a:gd name="T30" fmla="*/ 27 w 277"/>
                  <a:gd name="T31" fmla="*/ 220 h 277"/>
                  <a:gd name="T32" fmla="*/ 20 w 277"/>
                  <a:gd name="T33" fmla="*/ 199 h 277"/>
                  <a:gd name="T34" fmla="*/ 27 w 277"/>
                  <a:gd name="T35" fmla="*/ 220 h 277"/>
                  <a:gd name="T36" fmla="*/ 258 w 277"/>
                  <a:gd name="T37" fmla="*/ 199 h 277"/>
                  <a:gd name="T38" fmla="*/ 271 w 277"/>
                  <a:gd name="T39" fmla="*/ 181 h 277"/>
                  <a:gd name="T40" fmla="*/ 7 w 277"/>
                  <a:gd name="T41" fmla="*/ 181 h 277"/>
                  <a:gd name="T42" fmla="*/ 8 w 277"/>
                  <a:gd name="T43" fmla="*/ 159 h 277"/>
                  <a:gd name="T44" fmla="*/ 7 w 277"/>
                  <a:gd name="T45" fmla="*/ 181 h 277"/>
                  <a:gd name="T46" fmla="*/ 270 w 277"/>
                  <a:gd name="T47" fmla="*/ 159 h 277"/>
                  <a:gd name="T48" fmla="*/ 272 w 277"/>
                  <a:gd name="T49" fmla="*/ 138 h 277"/>
                  <a:gd name="T50" fmla="*/ 277 w 277"/>
                  <a:gd name="T51" fmla="*/ 138 h 277"/>
                  <a:gd name="T52" fmla="*/ 6 w 277"/>
                  <a:gd name="T53" fmla="*/ 138 h 277"/>
                  <a:gd name="T54" fmla="*/ 0 w 277"/>
                  <a:gd name="T55" fmla="*/ 138 h 277"/>
                  <a:gd name="T56" fmla="*/ 7 w 277"/>
                  <a:gd name="T57" fmla="*/ 118 h 277"/>
                  <a:gd name="T58" fmla="*/ 270 w 277"/>
                  <a:gd name="T59" fmla="*/ 117 h 277"/>
                  <a:gd name="T60" fmla="*/ 270 w 277"/>
                  <a:gd name="T61" fmla="*/ 95 h 277"/>
                  <a:gd name="T62" fmla="*/ 270 w 277"/>
                  <a:gd name="T63" fmla="*/ 117 h 277"/>
                  <a:gd name="T64" fmla="*/ 7 w 277"/>
                  <a:gd name="T65" fmla="*/ 96 h 277"/>
                  <a:gd name="T66" fmla="*/ 20 w 277"/>
                  <a:gd name="T67" fmla="*/ 78 h 277"/>
                  <a:gd name="T68" fmla="*/ 257 w 277"/>
                  <a:gd name="T69" fmla="*/ 77 h 277"/>
                  <a:gd name="T70" fmla="*/ 251 w 277"/>
                  <a:gd name="T71" fmla="*/ 56 h 277"/>
                  <a:gd name="T72" fmla="*/ 257 w 277"/>
                  <a:gd name="T73" fmla="*/ 77 h 277"/>
                  <a:gd name="T74" fmla="*/ 27 w 277"/>
                  <a:gd name="T75" fmla="*/ 57 h 277"/>
                  <a:gd name="T76" fmla="*/ 45 w 277"/>
                  <a:gd name="T77" fmla="*/ 44 h 277"/>
                  <a:gd name="T78" fmla="*/ 233 w 277"/>
                  <a:gd name="T79" fmla="*/ 44 h 277"/>
                  <a:gd name="T80" fmla="*/ 220 w 277"/>
                  <a:gd name="T81" fmla="*/ 26 h 277"/>
                  <a:gd name="T82" fmla="*/ 233 w 277"/>
                  <a:gd name="T83" fmla="*/ 44 h 277"/>
                  <a:gd name="T84" fmla="*/ 57 w 277"/>
                  <a:gd name="T85" fmla="*/ 26 h 277"/>
                  <a:gd name="T86" fmla="*/ 78 w 277"/>
                  <a:gd name="T87" fmla="*/ 20 h 277"/>
                  <a:gd name="T88" fmla="*/ 199 w 277"/>
                  <a:gd name="T89" fmla="*/ 19 h 277"/>
                  <a:gd name="T90" fmla="*/ 181 w 277"/>
                  <a:gd name="T91" fmla="*/ 6 h 277"/>
                  <a:gd name="T92" fmla="*/ 199 w 277"/>
                  <a:gd name="T93" fmla="*/ 19 h 277"/>
                  <a:gd name="T94" fmla="*/ 96 w 277"/>
                  <a:gd name="T95" fmla="*/ 7 h 277"/>
                  <a:gd name="T96" fmla="*/ 118 w 277"/>
                  <a:gd name="T97" fmla="*/ 7 h 277"/>
                  <a:gd name="T98" fmla="*/ 159 w 277"/>
                  <a:gd name="T99" fmla="*/ 7 h 277"/>
                  <a:gd name="T100" fmla="*/ 139 w 277"/>
                  <a:gd name="T101" fmla="*/ 5 h 277"/>
                  <a:gd name="T102" fmla="*/ 139 w 277"/>
                  <a:gd name="T103" fmla="*/ 0 h 277"/>
                  <a:gd name="T104" fmla="*/ 159 w 277"/>
                  <a:gd name="T105" fmla="*/ 7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77" h="277">
                    <a:moveTo>
                      <a:pt x="139" y="277"/>
                    </a:moveTo>
                    <a:cubicBezTo>
                      <a:pt x="139" y="277"/>
                      <a:pt x="139" y="277"/>
                      <a:pt x="139" y="277"/>
                    </a:cubicBezTo>
                    <a:cubicBezTo>
                      <a:pt x="132" y="277"/>
                      <a:pt x="124" y="276"/>
                      <a:pt x="117" y="275"/>
                    </a:cubicBezTo>
                    <a:cubicBezTo>
                      <a:pt x="118" y="270"/>
                      <a:pt x="118" y="270"/>
                      <a:pt x="118" y="270"/>
                    </a:cubicBezTo>
                    <a:cubicBezTo>
                      <a:pt x="125" y="271"/>
                      <a:pt x="132" y="271"/>
                      <a:pt x="139" y="271"/>
                    </a:cubicBezTo>
                    <a:lnTo>
                      <a:pt x="139" y="277"/>
                    </a:lnTo>
                    <a:close/>
                    <a:moveTo>
                      <a:pt x="161" y="275"/>
                    </a:moveTo>
                    <a:cubicBezTo>
                      <a:pt x="160" y="270"/>
                      <a:pt x="160" y="270"/>
                      <a:pt x="160" y="270"/>
                    </a:cubicBezTo>
                    <a:cubicBezTo>
                      <a:pt x="167" y="268"/>
                      <a:pt x="174" y="267"/>
                      <a:pt x="180" y="265"/>
                    </a:cubicBezTo>
                    <a:cubicBezTo>
                      <a:pt x="182" y="270"/>
                      <a:pt x="182" y="270"/>
                      <a:pt x="182" y="270"/>
                    </a:cubicBezTo>
                    <a:cubicBezTo>
                      <a:pt x="175" y="272"/>
                      <a:pt x="168" y="274"/>
                      <a:pt x="161" y="275"/>
                    </a:cubicBezTo>
                    <a:close/>
                    <a:moveTo>
                      <a:pt x="96" y="270"/>
                    </a:moveTo>
                    <a:cubicBezTo>
                      <a:pt x="89" y="268"/>
                      <a:pt x="83" y="265"/>
                      <a:pt x="76" y="262"/>
                    </a:cubicBezTo>
                    <a:cubicBezTo>
                      <a:pt x="79" y="257"/>
                      <a:pt x="79" y="257"/>
                      <a:pt x="79" y="257"/>
                    </a:cubicBezTo>
                    <a:cubicBezTo>
                      <a:pt x="85" y="260"/>
                      <a:pt x="91" y="263"/>
                      <a:pt x="98" y="265"/>
                    </a:cubicBezTo>
                    <a:lnTo>
                      <a:pt x="96" y="270"/>
                    </a:lnTo>
                    <a:close/>
                    <a:moveTo>
                      <a:pt x="202" y="261"/>
                    </a:moveTo>
                    <a:cubicBezTo>
                      <a:pt x="199" y="257"/>
                      <a:pt x="199" y="257"/>
                      <a:pt x="199" y="257"/>
                    </a:cubicBezTo>
                    <a:cubicBezTo>
                      <a:pt x="206" y="254"/>
                      <a:pt x="212" y="250"/>
                      <a:pt x="217" y="246"/>
                    </a:cubicBezTo>
                    <a:cubicBezTo>
                      <a:pt x="220" y="250"/>
                      <a:pt x="220" y="250"/>
                      <a:pt x="220" y="250"/>
                    </a:cubicBezTo>
                    <a:cubicBezTo>
                      <a:pt x="215" y="254"/>
                      <a:pt x="208" y="258"/>
                      <a:pt x="202" y="261"/>
                    </a:cubicBezTo>
                    <a:close/>
                    <a:moveTo>
                      <a:pt x="58" y="250"/>
                    </a:moveTo>
                    <a:cubicBezTo>
                      <a:pt x="52" y="246"/>
                      <a:pt x="46" y="241"/>
                      <a:pt x="41" y="236"/>
                    </a:cubicBezTo>
                    <a:cubicBezTo>
                      <a:pt x="45" y="232"/>
                      <a:pt x="45" y="232"/>
                      <a:pt x="45" y="232"/>
                    </a:cubicBezTo>
                    <a:cubicBezTo>
                      <a:pt x="50" y="237"/>
                      <a:pt x="55" y="242"/>
                      <a:pt x="61" y="246"/>
                    </a:cubicBezTo>
                    <a:lnTo>
                      <a:pt x="58" y="250"/>
                    </a:lnTo>
                    <a:close/>
                    <a:moveTo>
                      <a:pt x="237" y="236"/>
                    </a:moveTo>
                    <a:cubicBezTo>
                      <a:pt x="233" y="232"/>
                      <a:pt x="233" y="232"/>
                      <a:pt x="233" y="232"/>
                    </a:cubicBezTo>
                    <a:cubicBezTo>
                      <a:pt x="238" y="227"/>
                      <a:pt x="243" y="222"/>
                      <a:pt x="247" y="216"/>
                    </a:cubicBezTo>
                    <a:cubicBezTo>
                      <a:pt x="251" y="219"/>
                      <a:pt x="251" y="219"/>
                      <a:pt x="251" y="219"/>
                    </a:cubicBezTo>
                    <a:cubicBezTo>
                      <a:pt x="247" y="225"/>
                      <a:pt x="242" y="231"/>
                      <a:pt x="237" y="236"/>
                    </a:cubicBezTo>
                    <a:close/>
                    <a:moveTo>
                      <a:pt x="27" y="220"/>
                    </a:moveTo>
                    <a:cubicBezTo>
                      <a:pt x="23" y="214"/>
                      <a:pt x="19" y="208"/>
                      <a:pt x="16" y="201"/>
                    </a:cubicBezTo>
                    <a:cubicBezTo>
                      <a:pt x="20" y="199"/>
                      <a:pt x="20" y="199"/>
                      <a:pt x="20" y="199"/>
                    </a:cubicBezTo>
                    <a:cubicBezTo>
                      <a:pt x="24" y="205"/>
                      <a:pt x="27" y="211"/>
                      <a:pt x="31" y="217"/>
                    </a:cubicBezTo>
                    <a:lnTo>
                      <a:pt x="27" y="220"/>
                    </a:lnTo>
                    <a:close/>
                    <a:moveTo>
                      <a:pt x="262" y="201"/>
                    </a:moveTo>
                    <a:cubicBezTo>
                      <a:pt x="258" y="199"/>
                      <a:pt x="258" y="199"/>
                      <a:pt x="258" y="199"/>
                    </a:cubicBezTo>
                    <a:cubicBezTo>
                      <a:pt x="261" y="192"/>
                      <a:pt x="263" y="186"/>
                      <a:pt x="266" y="179"/>
                    </a:cubicBezTo>
                    <a:cubicBezTo>
                      <a:pt x="271" y="181"/>
                      <a:pt x="271" y="181"/>
                      <a:pt x="271" y="181"/>
                    </a:cubicBezTo>
                    <a:cubicBezTo>
                      <a:pt x="268" y="188"/>
                      <a:pt x="266" y="195"/>
                      <a:pt x="262" y="201"/>
                    </a:cubicBezTo>
                    <a:close/>
                    <a:moveTo>
                      <a:pt x="7" y="181"/>
                    </a:moveTo>
                    <a:cubicBezTo>
                      <a:pt x="5" y="174"/>
                      <a:pt x="3" y="167"/>
                      <a:pt x="2" y="160"/>
                    </a:cubicBezTo>
                    <a:cubicBezTo>
                      <a:pt x="8" y="159"/>
                      <a:pt x="8" y="159"/>
                      <a:pt x="8" y="159"/>
                    </a:cubicBezTo>
                    <a:cubicBezTo>
                      <a:pt x="9" y="166"/>
                      <a:pt x="10" y="173"/>
                      <a:pt x="12" y="179"/>
                    </a:cubicBezTo>
                    <a:lnTo>
                      <a:pt x="7" y="181"/>
                    </a:lnTo>
                    <a:close/>
                    <a:moveTo>
                      <a:pt x="276" y="160"/>
                    </a:moveTo>
                    <a:cubicBezTo>
                      <a:pt x="270" y="159"/>
                      <a:pt x="270" y="159"/>
                      <a:pt x="270" y="159"/>
                    </a:cubicBezTo>
                    <a:cubicBezTo>
                      <a:pt x="271" y="152"/>
                      <a:pt x="272" y="145"/>
                      <a:pt x="272" y="138"/>
                    </a:cubicBezTo>
                    <a:cubicBezTo>
                      <a:pt x="272" y="138"/>
                      <a:pt x="272" y="138"/>
                      <a:pt x="272" y="138"/>
                    </a:cubicBezTo>
                    <a:cubicBezTo>
                      <a:pt x="277" y="138"/>
                      <a:pt x="277" y="138"/>
                      <a:pt x="277" y="138"/>
                    </a:cubicBezTo>
                    <a:cubicBezTo>
                      <a:pt x="277" y="138"/>
                      <a:pt x="277" y="138"/>
                      <a:pt x="277" y="138"/>
                    </a:cubicBezTo>
                    <a:cubicBezTo>
                      <a:pt x="277" y="145"/>
                      <a:pt x="277" y="153"/>
                      <a:pt x="276" y="160"/>
                    </a:cubicBezTo>
                    <a:close/>
                    <a:moveTo>
                      <a:pt x="6" y="138"/>
                    </a:moveTo>
                    <a:cubicBezTo>
                      <a:pt x="0" y="138"/>
                      <a:pt x="0" y="138"/>
                      <a:pt x="0" y="138"/>
                    </a:cubicBezTo>
                    <a:cubicBezTo>
                      <a:pt x="0" y="138"/>
                      <a:pt x="0" y="138"/>
                      <a:pt x="0" y="138"/>
                    </a:cubicBezTo>
                    <a:cubicBezTo>
                      <a:pt x="0" y="131"/>
                      <a:pt x="1" y="124"/>
                      <a:pt x="2" y="117"/>
                    </a:cubicBezTo>
                    <a:cubicBezTo>
                      <a:pt x="7" y="118"/>
                      <a:pt x="7" y="118"/>
                      <a:pt x="7" y="118"/>
                    </a:cubicBezTo>
                    <a:cubicBezTo>
                      <a:pt x="6" y="124"/>
                      <a:pt x="6" y="131"/>
                      <a:pt x="6" y="138"/>
                    </a:cubicBezTo>
                    <a:close/>
                    <a:moveTo>
                      <a:pt x="270" y="117"/>
                    </a:moveTo>
                    <a:cubicBezTo>
                      <a:pt x="269" y="110"/>
                      <a:pt x="268" y="103"/>
                      <a:pt x="265" y="97"/>
                    </a:cubicBezTo>
                    <a:cubicBezTo>
                      <a:pt x="270" y="95"/>
                      <a:pt x="270" y="95"/>
                      <a:pt x="270" y="95"/>
                    </a:cubicBezTo>
                    <a:cubicBezTo>
                      <a:pt x="273" y="102"/>
                      <a:pt x="274" y="109"/>
                      <a:pt x="276" y="116"/>
                    </a:cubicBezTo>
                    <a:lnTo>
                      <a:pt x="270" y="117"/>
                    </a:lnTo>
                    <a:close/>
                    <a:moveTo>
                      <a:pt x="12" y="97"/>
                    </a:moveTo>
                    <a:cubicBezTo>
                      <a:pt x="7" y="96"/>
                      <a:pt x="7" y="96"/>
                      <a:pt x="7" y="96"/>
                    </a:cubicBezTo>
                    <a:cubicBezTo>
                      <a:pt x="9" y="89"/>
                      <a:pt x="12" y="82"/>
                      <a:pt x="15" y="76"/>
                    </a:cubicBezTo>
                    <a:cubicBezTo>
                      <a:pt x="20" y="78"/>
                      <a:pt x="20" y="78"/>
                      <a:pt x="20" y="78"/>
                    </a:cubicBezTo>
                    <a:cubicBezTo>
                      <a:pt x="17" y="84"/>
                      <a:pt x="14" y="91"/>
                      <a:pt x="12" y="97"/>
                    </a:cubicBezTo>
                    <a:close/>
                    <a:moveTo>
                      <a:pt x="257" y="77"/>
                    </a:moveTo>
                    <a:cubicBezTo>
                      <a:pt x="254" y="71"/>
                      <a:pt x="250" y="65"/>
                      <a:pt x="246" y="60"/>
                    </a:cubicBezTo>
                    <a:cubicBezTo>
                      <a:pt x="251" y="56"/>
                      <a:pt x="251" y="56"/>
                      <a:pt x="251" y="56"/>
                    </a:cubicBezTo>
                    <a:cubicBezTo>
                      <a:pt x="255" y="62"/>
                      <a:pt x="259" y="68"/>
                      <a:pt x="262" y="75"/>
                    </a:cubicBezTo>
                    <a:lnTo>
                      <a:pt x="257" y="77"/>
                    </a:lnTo>
                    <a:close/>
                    <a:moveTo>
                      <a:pt x="31" y="60"/>
                    </a:moveTo>
                    <a:cubicBezTo>
                      <a:pt x="27" y="57"/>
                      <a:pt x="27" y="57"/>
                      <a:pt x="27" y="57"/>
                    </a:cubicBezTo>
                    <a:cubicBezTo>
                      <a:pt x="31" y="51"/>
                      <a:pt x="36" y="46"/>
                      <a:pt x="41" y="40"/>
                    </a:cubicBezTo>
                    <a:cubicBezTo>
                      <a:pt x="45" y="44"/>
                      <a:pt x="45" y="44"/>
                      <a:pt x="45" y="44"/>
                    </a:cubicBezTo>
                    <a:cubicBezTo>
                      <a:pt x="40" y="49"/>
                      <a:pt x="35" y="55"/>
                      <a:pt x="31" y="60"/>
                    </a:cubicBezTo>
                    <a:close/>
                    <a:moveTo>
                      <a:pt x="233" y="44"/>
                    </a:moveTo>
                    <a:cubicBezTo>
                      <a:pt x="228" y="39"/>
                      <a:pt x="222" y="34"/>
                      <a:pt x="217" y="30"/>
                    </a:cubicBezTo>
                    <a:cubicBezTo>
                      <a:pt x="220" y="26"/>
                      <a:pt x="220" y="26"/>
                      <a:pt x="220" y="26"/>
                    </a:cubicBezTo>
                    <a:cubicBezTo>
                      <a:pt x="226" y="30"/>
                      <a:pt x="231" y="35"/>
                      <a:pt x="236" y="40"/>
                    </a:cubicBezTo>
                    <a:lnTo>
                      <a:pt x="233" y="44"/>
                    </a:lnTo>
                    <a:close/>
                    <a:moveTo>
                      <a:pt x="60" y="31"/>
                    </a:moveTo>
                    <a:cubicBezTo>
                      <a:pt x="57" y="26"/>
                      <a:pt x="57" y="26"/>
                      <a:pt x="57" y="26"/>
                    </a:cubicBezTo>
                    <a:cubicBezTo>
                      <a:pt x="63" y="22"/>
                      <a:pt x="69" y="18"/>
                      <a:pt x="76" y="15"/>
                    </a:cubicBezTo>
                    <a:cubicBezTo>
                      <a:pt x="78" y="20"/>
                      <a:pt x="78" y="20"/>
                      <a:pt x="78" y="20"/>
                    </a:cubicBezTo>
                    <a:cubicBezTo>
                      <a:pt x="72" y="23"/>
                      <a:pt x="66" y="27"/>
                      <a:pt x="60" y="31"/>
                    </a:cubicBezTo>
                    <a:close/>
                    <a:moveTo>
                      <a:pt x="199" y="19"/>
                    </a:moveTo>
                    <a:cubicBezTo>
                      <a:pt x="193" y="16"/>
                      <a:pt x="186" y="14"/>
                      <a:pt x="180" y="11"/>
                    </a:cubicBezTo>
                    <a:cubicBezTo>
                      <a:pt x="181" y="6"/>
                      <a:pt x="181" y="6"/>
                      <a:pt x="181" y="6"/>
                    </a:cubicBezTo>
                    <a:cubicBezTo>
                      <a:pt x="188" y="8"/>
                      <a:pt x="195" y="11"/>
                      <a:pt x="201" y="15"/>
                    </a:cubicBezTo>
                    <a:lnTo>
                      <a:pt x="199" y="19"/>
                    </a:lnTo>
                    <a:close/>
                    <a:moveTo>
                      <a:pt x="97" y="12"/>
                    </a:moveTo>
                    <a:cubicBezTo>
                      <a:pt x="96" y="7"/>
                      <a:pt x="96" y="7"/>
                      <a:pt x="96" y="7"/>
                    </a:cubicBezTo>
                    <a:cubicBezTo>
                      <a:pt x="103" y="4"/>
                      <a:pt x="110" y="3"/>
                      <a:pt x="117" y="1"/>
                    </a:cubicBezTo>
                    <a:cubicBezTo>
                      <a:pt x="118" y="7"/>
                      <a:pt x="118" y="7"/>
                      <a:pt x="118" y="7"/>
                    </a:cubicBezTo>
                    <a:cubicBezTo>
                      <a:pt x="111" y="8"/>
                      <a:pt x="104" y="10"/>
                      <a:pt x="97" y="12"/>
                    </a:cubicBezTo>
                    <a:close/>
                    <a:moveTo>
                      <a:pt x="159" y="7"/>
                    </a:moveTo>
                    <a:cubicBezTo>
                      <a:pt x="153" y="6"/>
                      <a:pt x="146" y="5"/>
                      <a:pt x="139" y="5"/>
                    </a:cubicBezTo>
                    <a:cubicBezTo>
                      <a:pt x="139" y="5"/>
                      <a:pt x="139" y="5"/>
                      <a:pt x="139" y="5"/>
                    </a:cubicBezTo>
                    <a:cubicBezTo>
                      <a:pt x="138" y="0"/>
                      <a:pt x="138" y="0"/>
                      <a:pt x="138" y="0"/>
                    </a:cubicBezTo>
                    <a:cubicBezTo>
                      <a:pt x="139" y="0"/>
                      <a:pt x="139" y="0"/>
                      <a:pt x="139" y="0"/>
                    </a:cubicBezTo>
                    <a:cubicBezTo>
                      <a:pt x="146" y="0"/>
                      <a:pt x="153" y="0"/>
                      <a:pt x="160" y="1"/>
                    </a:cubicBezTo>
                    <a:lnTo>
                      <a:pt x="159" y="7"/>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168" name="Oval 167"/>
              <p:cNvSpPr>
                <a:spLocks noChangeArrowheads="1"/>
              </p:cNvSpPr>
              <p:nvPr/>
            </p:nvSpPr>
            <p:spPr bwMode="auto">
              <a:xfrm>
                <a:off x="7434358" y="1899486"/>
                <a:ext cx="426712" cy="426712"/>
              </a:xfrm>
              <a:prstGeom prst="ellipse">
                <a:avLst/>
              </a:prstGeom>
              <a:solidFill>
                <a:srgbClr val="E6E6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169" name="Freeform 168"/>
              <p:cNvSpPr>
                <a:spLocks noEditPoints="1"/>
              </p:cNvSpPr>
              <p:nvPr/>
            </p:nvSpPr>
            <p:spPr bwMode="auto">
              <a:xfrm>
                <a:off x="7429057" y="1896836"/>
                <a:ext cx="437314" cy="435988"/>
              </a:xfrm>
              <a:custGeom>
                <a:avLst/>
                <a:gdLst>
                  <a:gd name="T0" fmla="*/ 118 w 236"/>
                  <a:gd name="T1" fmla="*/ 235 h 235"/>
                  <a:gd name="T2" fmla="*/ 108 w 236"/>
                  <a:gd name="T3" fmla="*/ 229 h 235"/>
                  <a:gd name="T4" fmla="*/ 129 w 236"/>
                  <a:gd name="T5" fmla="*/ 229 h 235"/>
                  <a:gd name="T6" fmla="*/ 118 w 236"/>
                  <a:gd name="T7" fmla="*/ 235 h 235"/>
                  <a:gd name="T8" fmla="*/ 66 w 236"/>
                  <a:gd name="T9" fmla="*/ 222 h 235"/>
                  <a:gd name="T10" fmla="*/ 88 w 236"/>
                  <a:gd name="T11" fmla="*/ 225 h 235"/>
                  <a:gd name="T12" fmla="*/ 150 w 236"/>
                  <a:gd name="T13" fmla="*/ 230 h 235"/>
                  <a:gd name="T14" fmla="*/ 168 w 236"/>
                  <a:gd name="T15" fmla="*/ 217 h 235"/>
                  <a:gd name="T16" fmla="*/ 150 w 236"/>
                  <a:gd name="T17" fmla="*/ 230 h 235"/>
                  <a:gd name="T18" fmla="*/ 31 w 236"/>
                  <a:gd name="T19" fmla="*/ 196 h 235"/>
                  <a:gd name="T20" fmla="*/ 51 w 236"/>
                  <a:gd name="T21" fmla="*/ 207 h 235"/>
                  <a:gd name="T22" fmla="*/ 189 w 236"/>
                  <a:gd name="T23" fmla="*/ 211 h 235"/>
                  <a:gd name="T24" fmla="*/ 201 w 236"/>
                  <a:gd name="T25" fmla="*/ 193 h 235"/>
                  <a:gd name="T26" fmla="*/ 189 w 236"/>
                  <a:gd name="T27" fmla="*/ 211 h 235"/>
                  <a:gd name="T28" fmla="*/ 8 w 236"/>
                  <a:gd name="T29" fmla="*/ 160 h 235"/>
                  <a:gd name="T30" fmla="*/ 23 w 236"/>
                  <a:gd name="T31" fmla="*/ 176 h 235"/>
                  <a:gd name="T32" fmla="*/ 218 w 236"/>
                  <a:gd name="T33" fmla="*/ 179 h 235"/>
                  <a:gd name="T34" fmla="*/ 223 w 236"/>
                  <a:gd name="T35" fmla="*/ 157 h 235"/>
                  <a:gd name="T36" fmla="*/ 218 w 236"/>
                  <a:gd name="T37" fmla="*/ 179 h 235"/>
                  <a:gd name="T38" fmla="*/ 0 w 236"/>
                  <a:gd name="T39" fmla="*/ 117 h 235"/>
                  <a:gd name="T40" fmla="*/ 8 w 236"/>
                  <a:gd name="T41" fmla="*/ 138 h 235"/>
                  <a:gd name="T42" fmla="*/ 234 w 236"/>
                  <a:gd name="T43" fmla="*/ 139 h 235"/>
                  <a:gd name="T44" fmla="*/ 230 w 236"/>
                  <a:gd name="T45" fmla="*/ 117 h 235"/>
                  <a:gd name="T46" fmla="*/ 236 w 236"/>
                  <a:gd name="T47" fmla="*/ 116 h 235"/>
                  <a:gd name="T48" fmla="*/ 234 w 236"/>
                  <a:gd name="T49" fmla="*/ 139 h 235"/>
                  <a:gd name="T50" fmla="*/ 2 w 236"/>
                  <a:gd name="T51" fmla="*/ 96 h 235"/>
                  <a:gd name="T52" fmla="*/ 13 w 236"/>
                  <a:gd name="T53" fmla="*/ 77 h 235"/>
                  <a:gd name="T54" fmla="*/ 228 w 236"/>
                  <a:gd name="T55" fmla="*/ 96 h 235"/>
                  <a:gd name="T56" fmla="*/ 228 w 236"/>
                  <a:gd name="T57" fmla="*/ 74 h 235"/>
                  <a:gd name="T58" fmla="*/ 228 w 236"/>
                  <a:gd name="T59" fmla="*/ 96 h 235"/>
                  <a:gd name="T60" fmla="*/ 18 w 236"/>
                  <a:gd name="T61" fmla="*/ 55 h 235"/>
                  <a:gd name="T62" fmla="*/ 35 w 236"/>
                  <a:gd name="T63" fmla="*/ 41 h 235"/>
                  <a:gd name="T64" fmla="*/ 213 w 236"/>
                  <a:gd name="T65" fmla="*/ 57 h 235"/>
                  <a:gd name="T66" fmla="*/ 205 w 236"/>
                  <a:gd name="T67" fmla="*/ 37 h 235"/>
                  <a:gd name="T68" fmla="*/ 213 w 236"/>
                  <a:gd name="T69" fmla="*/ 57 h 235"/>
                  <a:gd name="T70" fmla="*/ 47 w 236"/>
                  <a:gd name="T71" fmla="*/ 23 h 235"/>
                  <a:gd name="T72" fmla="*/ 68 w 236"/>
                  <a:gd name="T73" fmla="*/ 16 h 235"/>
                  <a:gd name="T74" fmla="*/ 186 w 236"/>
                  <a:gd name="T75" fmla="*/ 27 h 235"/>
                  <a:gd name="T76" fmla="*/ 170 w 236"/>
                  <a:gd name="T77" fmla="*/ 11 h 235"/>
                  <a:gd name="T78" fmla="*/ 186 w 236"/>
                  <a:gd name="T79" fmla="*/ 27 h 235"/>
                  <a:gd name="T80" fmla="*/ 86 w 236"/>
                  <a:gd name="T81" fmla="*/ 4 h 235"/>
                  <a:gd name="T82" fmla="*/ 107 w 236"/>
                  <a:gd name="T83" fmla="*/ 5 h 235"/>
                  <a:gd name="T84" fmla="*/ 149 w 236"/>
                  <a:gd name="T85" fmla="*/ 9 h 235"/>
                  <a:gd name="T86" fmla="*/ 129 w 236"/>
                  <a:gd name="T87" fmla="*/ 0 h 235"/>
                  <a:gd name="T88" fmla="*/ 149 w 236"/>
                  <a:gd name="T89" fmla="*/ 9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36" h="235">
                    <a:moveTo>
                      <a:pt x="118" y="235"/>
                    </a:moveTo>
                    <a:cubicBezTo>
                      <a:pt x="118" y="235"/>
                      <a:pt x="118" y="235"/>
                      <a:pt x="118" y="235"/>
                    </a:cubicBezTo>
                    <a:cubicBezTo>
                      <a:pt x="115" y="235"/>
                      <a:pt x="111" y="234"/>
                      <a:pt x="107" y="234"/>
                    </a:cubicBezTo>
                    <a:cubicBezTo>
                      <a:pt x="108" y="229"/>
                      <a:pt x="108" y="229"/>
                      <a:pt x="108" y="229"/>
                    </a:cubicBezTo>
                    <a:cubicBezTo>
                      <a:pt x="111" y="229"/>
                      <a:pt x="115" y="229"/>
                      <a:pt x="118" y="229"/>
                    </a:cubicBezTo>
                    <a:cubicBezTo>
                      <a:pt x="122" y="229"/>
                      <a:pt x="125" y="229"/>
                      <a:pt x="129" y="229"/>
                    </a:cubicBezTo>
                    <a:cubicBezTo>
                      <a:pt x="129" y="234"/>
                      <a:pt x="129" y="234"/>
                      <a:pt x="129" y="234"/>
                    </a:cubicBezTo>
                    <a:cubicBezTo>
                      <a:pt x="126" y="234"/>
                      <a:pt x="122" y="235"/>
                      <a:pt x="118" y="235"/>
                    </a:cubicBezTo>
                    <a:close/>
                    <a:moveTo>
                      <a:pt x="86" y="230"/>
                    </a:moveTo>
                    <a:cubicBezTo>
                      <a:pt x="79" y="228"/>
                      <a:pt x="72" y="226"/>
                      <a:pt x="66" y="222"/>
                    </a:cubicBezTo>
                    <a:cubicBezTo>
                      <a:pt x="68" y="218"/>
                      <a:pt x="68" y="218"/>
                      <a:pt x="68" y="218"/>
                    </a:cubicBezTo>
                    <a:cubicBezTo>
                      <a:pt x="74" y="221"/>
                      <a:pt x="81" y="223"/>
                      <a:pt x="88" y="225"/>
                    </a:cubicBezTo>
                    <a:lnTo>
                      <a:pt x="86" y="230"/>
                    </a:lnTo>
                    <a:close/>
                    <a:moveTo>
                      <a:pt x="150" y="230"/>
                    </a:moveTo>
                    <a:cubicBezTo>
                      <a:pt x="149" y="225"/>
                      <a:pt x="149" y="225"/>
                      <a:pt x="149" y="225"/>
                    </a:cubicBezTo>
                    <a:cubicBezTo>
                      <a:pt x="156" y="223"/>
                      <a:pt x="162" y="220"/>
                      <a:pt x="168" y="217"/>
                    </a:cubicBezTo>
                    <a:cubicBezTo>
                      <a:pt x="171" y="222"/>
                      <a:pt x="171" y="222"/>
                      <a:pt x="171" y="222"/>
                    </a:cubicBezTo>
                    <a:cubicBezTo>
                      <a:pt x="164" y="225"/>
                      <a:pt x="157" y="228"/>
                      <a:pt x="150" y="230"/>
                    </a:cubicBezTo>
                    <a:close/>
                    <a:moveTo>
                      <a:pt x="47" y="211"/>
                    </a:moveTo>
                    <a:cubicBezTo>
                      <a:pt x="42" y="207"/>
                      <a:pt x="36" y="202"/>
                      <a:pt x="31" y="196"/>
                    </a:cubicBezTo>
                    <a:cubicBezTo>
                      <a:pt x="35" y="193"/>
                      <a:pt x="35" y="193"/>
                      <a:pt x="35" y="193"/>
                    </a:cubicBezTo>
                    <a:cubicBezTo>
                      <a:pt x="40" y="198"/>
                      <a:pt x="45" y="202"/>
                      <a:pt x="51" y="207"/>
                    </a:cubicBezTo>
                    <a:lnTo>
                      <a:pt x="47" y="211"/>
                    </a:lnTo>
                    <a:close/>
                    <a:moveTo>
                      <a:pt x="189" y="211"/>
                    </a:moveTo>
                    <a:cubicBezTo>
                      <a:pt x="186" y="206"/>
                      <a:pt x="186" y="206"/>
                      <a:pt x="186" y="206"/>
                    </a:cubicBezTo>
                    <a:cubicBezTo>
                      <a:pt x="191" y="202"/>
                      <a:pt x="197" y="198"/>
                      <a:pt x="201" y="193"/>
                    </a:cubicBezTo>
                    <a:cubicBezTo>
                      <a:pt x="205" y="196"/>
                      <a:pt x="205" y="196"/>
                      <a:pt x="205" y="196"/>
                    </a:cubicBezTo>
                    <a:cubicBezTo>
                      <a:pt x="200" y="201"/>
                      <a:pt x="195" y="206"/>
                      <a:pt x="189" y="211"/>
                    </a:cubicBezTo>
                    <a:close/>
                    <a:moveTo>
                      <a:pt x="18" y="179"/>
                    </a:moveTo>
                    <a:cubicBezTo>
                      <a:pt x="14" y="173"/>
                      <a:pt x="11" y="166"/>
                      <a:pt x="8" y="160"/>
                    </a:cubicBezTo>
                    <a:cubicBezTo>
                      <a:pt x="13" y="158"/>
                      <a:pt x="13" y="158"/>
                      <a:pt x="13" y="158"/>
                    </a:cubicBezTo>
                    <a:cubicBezTo>
                      <a:pt x="16" y="164"/>
                      <a:pt x="19" y="170"/>
                      <a:pt x="23" y="176"/>
                    </a:cubicBezTo>
                    <a:lnTo>
                      <a:pt x="18" y="179"/>
                    </a:lnTo>
                    <a:close/>
                    <a:moveTo>
                      <a:pt x="218" y="179"/>
                    </a:moveTo>
                    <a:cubicBezTo>
                      <a:pt x="214" y="176"/>
                      <a:pt x="214" y="176"/>
                      <a:pt x="214" y="176"/>
                    </a:cubicBezTo>
                    <a:cubicBezTo>
                      <a:pt x="217" y="170"/>
                      <a:pt x="220" y="164"/>
                      <a:pt x="223" y="157"/>
                    </a:cubicBezTo>
                    <a:cubicBezTo>
                      <a:pt x="228" y="159"/>
                      <a:pt x="228" y="159"/>
                      <a:pt x="228" y="159"/>
                    </a:cubicBezTo>
                    <a:cubicBezTo>
                      <a:pt x="225" y="166"/>
                      <a:pt x="222" y="173"/>
                      <a:pt x="218" y="179"/>
                    </a:cubicBezTo>
                    <a:close/>
                    <a:moveTo>
                      <a:pt x="2" y="139"/>
                    </a:moveTo>
                    <a:cubicBezTo>
                      <a:pt x="1" y="132"/>
                      <a:pt x="0" y="124"/>
                      <a:pt x="0" y="117"/>
                    </a:cubicBezTo>
                    <a:cubicBezTo>
                      <a:pt x="6" y="117"/>
                      <a:pt x="6" y="117"/>
                      <a:pt x="6" y="117"/>
                    </a:cubicBezTo>
                    <a:cubicBezTo>
                      <a:pt x="6" y="124"/>
                      <a:pt x="7" y="131"/>
                      <a:pt x="8" y="138"/>
                    </a:cubicBezTo>
                    <a:lnTo>
                      <a:pt x="2" y="139"/>
                    </a:lnTo>
                    <a:close/>
                    <a:moveTo>
                      <a:pt x="234" y="139"/>
                    </a:moveTo>
                    <a:cubicBezTo>
                      <a:pt x="229" y="138"/>
                      <a:pt x="229" y="138"/>
                      <a:pt x="229" y="138"/>
                    </a:cubicBezTo>
                    <a:cubicBezTo>
                      <a:pt x="230" y="131"/>
                      <a:pt x="230" y="124"/>
                      <a:pt x="230" y="117"/>
                    </a:cubicBezTo>
                    <a:cubicBezTo>
                      <a:pt x="230" y="116"/>
                      <a:pt x="230" y="116"/>
                      <a:pt x="230" y="116"/>
                    </a:cubicBezTo>
                    <a:cubicBezTo>
                      <a:pt x="236" y="116"/>
                      <a:pt x="236" y="116"/>
                      <a:pt x="236" y="116"/>
                    </a:cubicBezTo>
                    <a:cubicBezTo>
                      <a:pt x="236" y="117"/>
                      <a:pt x="236" y="117"/>
                      <a:pt x="236" y="117"/>
                    </a:cubicBezTo>
                    <a:cubicBezTo>
                      <a:pt x="236" y="124"/>
                      <a:pt x="235" y="131"/>
                      <a:pt x="234" y="139"/>
                    </a:cubicBezTo>
                    <a:close/>
                    <a:moveTo>
                      <a:pt x="8" y="97"/>
                    </a:moveTo>
                    <a:cubicBezTo>
                      <a:pt x="2" y="96"/>
                      <a:pt x="2" y="96"/>
                      <a:pt x="2" y="96"/>
                    </a:cubicBezTo>
                    <a:cubicBezTo>
                      <a:pt x="4" y="88"/>
                      <a:pt x="6" y="81"/>
                      <a:pt x="8" y="75"/>
                    </a:cubicBezTo>
                    <a:cubicBezTo>
                      <a:pt x="13" y="77"/>
                      <a:pt x="13" y="77"/>
                      <a:pt x="13" y="77"/>
                    </a:cubicBezTo>
                    <a:cubicBezTo>
                      <a:pt x="11" y="83"/>
                      <a:pt x="9" y="90"/>
                      <a:pt x="8" y="97"/>
                    </a:cubicBezTo>
                    <a:close/>
                    <a:moveTo>
                      <a:pt x="228" y="96"/>
                    </a:moveTo>
                    <a:cubicBezTo>
                      <a:pt x="227" y="89"/>
                      <a:pt x="225" y="82"/>
                      <a:pt x="223" y="76"/>
                    </a:cubicBezTo>
                    <a:cubicBezTo>
                      <a:pt x="228" y="74"/>
                      <a:pt x="228" y="74"/>
                      <a:pt x="228" y="74"/>
                    </a:cubicBezTo>
                    <a:cubicBezTo>
                      <a:pt x="230" y="81"/>
                      <a:pt x="232" y="88"/>
                      <a:pt x="234" y="95"/>
                    </a:cubicBezTo>
                    <a:lnTo>
                      <a:pt x="228" y="96"/>
                    </a:lnTo>
                    <a:close/>
                    <a:moveTo>
                      <a:pt x="23" y="58"/>
                    </a:moveTo>
                    <a:cubicBezTo>
                      <a:pt x="18" y="55"/>
                      <a:pt x="18" y="55"/>
                      <a:pt x="18" y="55"/>
                    </a:cubicBezTo>
                    <a:cubicBezTo>
                      <a:pt x="22" y="49"/>
                      <a:pt x="26" y="43"/>
                      <a:pt x="31" y="38"/>
                    </a:cubicBezTo>
                    <a:cubicBezTo>
                      <a:pt x="35" y="41"/>
                      <a:pt x="35" y="41"/>
                      <a:pt x="35" y="41"/>
                    </a:cubicBezTo>
                    <a:cubicBezTo>
                      <a:pt x="30" y="47"/>
                      <a:pt x="26" y="52"/>
                      <a:pt x="23" y="58"/>
                    </a:cubicBezTo>
                    <a:close/>
                    <a:moveTo>
                      <a:pt x="213" y="57"/>
                    </a:moveTo>
                    <a:cubicBezTo>
                      <a:pt x="210" y="52"/>
                      <a:pt x="206" y="46"/>
                      <a:pt x="201" y="41"/>
                    </a:cubicBezTo>
                    <a:cubicBezTo>
                      <a:pt x="205" y="37"/>
                      <a:pt x="205" y="37"/>
                      <a:pt x="205" y="37"/>
                    </a:cubicBezTo>
                    <a:cubicBezTo>
                      <a:pt x="210" y="43"/>
                      <a:pt x="214" y="48"/>
                      <a:pt x="218" y="55"/>
                    </a:cubicBezTo>
                    <a:lnTo>
                      <a:pt x="213" y="57"/>
                    </a:lnTo>
                    <a:close/>
                    <a:moveTo>
                      <a:pt x="50" y="27"/>
                    </a:moveTo>
                    <a:cubicBezTo>
                      <a:pt x="47" y="23"/>
                      <a:pt x="47" y="23"/>
                      <a:pt x="47" y="23"/>
                    </a:cubicBezTo>
                    <a:cubicBezTo>
                      <a:pt x="53" y="19"/>
                      <a:pt x="59" y="15"/>
                      <a:pt x="65" y="12"/>
                    </a:cubicBezTo>
                    <a:cubicBezTo>
                      <a:pt x="68" y="16"/>
                      <a:pt x="68" y="16"/>
                      <a:pt x="68" y="16"/>
                    </a:cubicBezTo>
                    <a:cubicBezTo>
                      <a:pt x="62" y="20"/>
                      <a:pt x="56" y="23"/>
                      <a:pt x="50" y="27"/>
                    </a:cubicBezTo>
                    <a:close/>
                    <a:moveTo>
                      <a:pt x="186" y="27"/>
                    </a:moveTo>
                    <a:cubicBezTo>
                      <a:pt x="180" y="23"/>
                      <a:pt x="174" y="19"/>
                      <a:pt x="168" y="16"/>
                    </a:cubicBezTo>
                    <a:cubicBezTo>
                      <a:pt x="170" y="11"/>
                      <a:pt x="170" y="11"/>
                      <a:pt x="170" y="11"/>
                    </a:cubicBezTo>
                    <a:cubicBezTo>
                      <a:pt x="177" y="15"/>
                      <a:pt x="183" y="18"/>
                      <a:pt x="189" y="23"/>
                    </a:cubicBezTo>
                    <a:lnTo>
                      <a:pt x="186" y="27"/>
                    </a:lnTo>
                    <a:close/>
                    <a:moveTo>
                      <a:pt x="87" y="9"/>
                    </a:moveTo>
                    <a:cubicBezTo>
                      <a:pt x="86" y="4"/>
                      <a:pt x="86" y="4"/>
                      <a:pt x="86" y="4"/>
                    </a:cubicBezTo>
                    <a:cubicBezTo>
                      <a:pt x="93" y="2"/>
                      <a:pt x="100" y="0"/>
                      <a:pt x="107" y="0"/>
                    </a:cubicBezTo>
                    <a:cubicBezTo>
                      <a:pt x="107" y="5"/>
                      <a:pt x="107" y="5"/>
                      <a:pt x="107" y="5"/>
                    </a:cubicBezTo>
                    <a:cubicBezTo>
                      <a:pt x="101" y="6"/>
                      <a:pt x="94" y="7"/>
                      <a:pt x="87" y="9"/>
                    </a:cubicBezTo>
                    <a:close/>
                    <a:moveTo>
                      <a:pt x="149" y="9"/>
                    </a:moveTo>
                    <a:cubicBezTo>
                      <a:pt x="142" y="7"/>
                      <a:pt x="135" y="6"/>
                      <a:pt x="128" y="5"/>
                    </a:cubicBezTo>
                    <a:cubicBezTo>
                      <a:pt x="129" y="0"/>
                      <a:pt x="129" y="0"/>
                      <a:pt x="129" y="0"/>
                    </a:cubicBezTo>
                    <a:cubicBezTo>
                      <a:pt x="136" y="0"/>
                      <a:pt x="143" y="2"/>
                      <a:pt x="150" y="4"/>
                    </a:cubicBezTo>
                    <a:lnTo>
                      <a:pt x="149" y="9"/>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170" name="Oval 169"/>
              <p:cNvSpPr>
                <a:spLocks noChangeArrowheads="1"/>
              </p:cNvSpPr>
              <p:nvPr/>
            </p:nvSpPr>
            <p:spPr bwMode="auto">
              <a:xfrm>
                <a:off x="7434358" y="1981648"/>
                <a:ext cx="345876" cy="344550"/>
              </a:xfrm>
              <a:prstGeom prst="ellipse">
                <a:avLst/>
              </a:pr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171" name="Freeform 170"/>
              <p:cNvSpPr>
                <a:spLocks noEditPoints="1"/>
              </p:cNvSpPr>
              <p:nvPr/>
            </p:nvSpPr>
            <p:spPr bwMode="auto">
              <a:xfrm>
                <a:off x="7429057" y="1976347"/>
                <a:ext cx="356477" cy="356477"/>
              </a:xfrm>
              <a:custGeom>
                <a:avLst/>
                <a:gdLst>
                  <a:gd name="T0" fmla="*/ 96 w 192"/>
                  <a:gd name="T1" fmla="*/ 186 h 192"/>
                  <a:gd name="T2" fmla="*/ 117 w 192"/>
                  <a:gd name="T3" fmla="*/ 189 h 192"/>
                  <a:gd name="T4" fmla="*/ 75 w 192"/>
                  <a:gd name="T5" fmla="*/ 189 h 192"/>
                  <a:gd name="T6" fmla="*/ 57 w 192"/>
                  <a:gd name="T7" fmla="*/ 177 h 192"/>
                  <a:gd name="T8" fmla="*/ 75 w 192"/>
                  <a:gd name="T9" fmla="*/ 189 h 192"/>
                  <a:gd name="T10" fmla="*/ 135 w 192"/>
                  <a:gd name="T11" fmla="*/ 177 h 192"/>
                  <a:gd name="T12" fmla="*/ 156 w 192"/>
                  <a:gd name="T13" fmla="*/ 171 h 192"/>
                  <a:gd name="T14" fmla="*/ 37 w 192"/>
                  <a:gd name="T15" fmla="*/ 171 h 192"/>
                  <a:gd name="T16" fmla="*/ 26 w 192"/>
                  <a:gd name="T17" fmla="*/ 152 h 192"/>
                  <a:gd name="T18" fmla="*/ 37 w 192"/>
                  <a:gd name="T19" fmla="*/ 171 h 192"/>
                  <a:gd name="T20" fmla="*/ 167 w 192"/>
                  <a:gd name="T21" fmla="*/ 152 h 192"/>
                  <a:gd name="T22" fmla="*/ 182 w 192"/>
                  <a:gd name="T23" fmla="*/ 137 h 192"/>
                  <a:gd name="T24" fmla="*/ 10 w 192"/>
                  <a:gd name="T25" fmla="*/ 138 h 192"/>
                  <a:gd name="T26" fmla="*/ 8 w 192"/>
                  <a:gd name="T27" fmla="*/ 116 h 192"/>
                  <a:gd name="T28" fmla="*/ 10 w 192"/>
                  <a:gd name="T29" fmla="*/ 138 h 192"/>
                  <a:gd name="T30" fmla="*/ 184 w 192"/>
                  <a:gd name="T31" fmla="*/ 116 h 192"/>
                  <a:gd name="T32" fmla="*/ 186 w 192"/>
                  <a:gd name="T33" fmla="*/ 96 h 192"/>
                  <a:gd name="T34" fmla="*/ 192 w 192"/>
                  <a:gd name="T35" fmla="*/ 96 h 192"/>
                  <a:gd name="T36" fmla="*/ 0 w 192"/>
                  <a:gd name="T37" fmla="*/ 96 h 192"/>
                  <a:gd name="T38" fmla="*/ 3 w 192"/>
                  <a:gd name="T39" fmla="*/ 75 h 192"/>
                  <a:gd name="T40" fmla="*/ 6 w 192"/>
                  <a:gd name="T41" fmla="*/ 96 h 192"/>
                  <a:gd name="T42" fmla="*/ 184 w 192"/>
                  <a:gd name="T43" fmla="*/ 76 h 192"/>
                  <a:gd name="T44" fmla="*/ 182 w 192"/>
                  <a:gd name="T45" fmla="*/ 54 h 192"/>
                  <a:gd name="T46" fmla="*/ 184 w 192"/>
                  <a:gd name="T47" fmla="*/ 76 h 192"/>
                  <a:gd name="T48" fmla="*/ 10 w 192"/>
                  <a:gd name="T49" fmla="*/ 55 h 192"/>
                  <a:gd name="T50" fmla="*/ 25 w 192"/>
                  <a:gd name="T51" fmla="*/ 40 h 192"/>
                  <a:gd name="T52" fmla="*/ 166 w 192"/>
                  <a:gd name="T53" fmla="*/ 40 h 192"/>
                  <a:gd name="T54" fmla="*/ 155 w 192"/>
                  <a:gd name="T55" fmla="*/ 21 h 192"/>
                  <a:gd name="T56" fmla="*/ 166 w 192"/>
                  <a:gd name="T57" fmla="*/ 40 h 192"/>
                  <a:gd name="T58" fmla="*/ 36 w 192"/>
                  <a:gd name="T59" fmla="*/ 21 h 192"/>
                  <a:gd name="T60" fmla="*/ 57 w 192"/>
                  <a:gd name="T61" fmla="*/ 15 h 192"/>
                  <a:gd name="T62" fmla="*/ 135 w 192"/>
                  <a:gd name="T63" fmla="*/ 15 h 192"/>
                  <a:gd name="T64" fmla="*/ 117 w 192"/>
                  <a:gd name="T65" fmla="*/ 3 h 192"/>
                  <a:gd name="T66" fmla="*/ 135 w 192"/>
                  <a:gd name="T67" fmla="*/ 15 h 192"/>
                  <a:gd name="T68" fmla="*/ 74 w 192"/>
                  <a:gd name="T69" fmla="*/ 3 h 192"/>
                  <a:gd name="T70" fmla="*/ 96 w 192"/>
                  <a:gd name="T71" fmla="*/ 6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92" h="192">
                    <a:moveTo>
                      <a:pt x="96" y="192"/>
                    </a:moveTo>
                    <a:cubicBezTo>
                      <a:pt x="96" y="186"/>
                      <a:pt x="96" y="186"/>
                      <a:pt x="96" y="186"/>
                    </a:cubicBezTo>
                    <a:cubicBezTo>
                      <a:pt x="103" y="186"/>
                      <a:pt x="110" y="185"/>
                      <a:pt x="116" y="184"/>
                    </a:cubicBezTo>
                    <a:cubicBezTo>
                      <a:pt x="117" y="189"/>
                      <a:pt x="117" y="189"/>
                      <a:pt x="117" y="189"/>
                    </a:cubicBezTo>
                    <a:cubicBezTo>
                      <a:pt x="110" y="191"/>
                      <a:pt x="103" y="192"/>
                      <a:pt x="96" y="192"/>
                    </a:cubicBezTo>
                    <a:close/>
                    <a:moveTo>
                      <a:pt x="75" y="189"/>
                    </a:moveTo>
                    <a:cubicBezTo>
                      <a:pt x="68" y="188"/>
                      <a:pt x="61" y="185"/>
                      <a:pt x="55" y="182"/>
                    </a:cubicBezTo>
                    <a:cubicBezTo>
                      <a:pt x="57" y="177"/>
                      <a:pt x="57" y="177"/>
                      <a:pt x="57" y="177"/>
                    </a:cubicBezTo>
                    <a:cubicBezTo>
                      <a:pt x="63" y="180"/>
                      <a:pt x="69" y="182"/>
                      <a:pt x="76" y="184"/>
                    </a:cubicBezTo>
                    <a:lnTo>
                      <a:pt x="75" y="189"/>
                    </a:lnTo>
                    <a:close/>
                    <a:moveTo>
                      <a:pt x="138" y="182"/>
                    </a:moveTo>
                    <a:cubicBezTo>
                      <a:pt x="135" y="177"/>
                      <a:pt x="135" y="177"/>
                      <a:pt x="135" y="177"/>
                    </a:cubicBezTo>
                    <a:cubicBezTo>
                      <a:pt x="141" y="174"/>
                      <a:pt x="147" y="171"/>
                      <a:pt x="152" y="167"/>
                    </a:cubicBezTo>
                    <a:cubicBezTo>
                      <a:pt x="156" y="171"/>
                      <a:pt x="156" y="171"/>
                      <a:pt x="156" y="171"/>
                    </a:cubicBezTo>
                    <a:cubicBezTo>
                      <a:pt x="150" y="175"/>
                      <a:pt x="144" y="179"/>
                      <a:pt x="138" y="182"/>
                    </a:cubicBezTo>
                    <a:close/>
                    <a:moveTo>
                      <a:pt x="37" y="171"/>
                    </a:moveTo>
                    <a:cubicBezTo>
                      <a:pt x="31" y="166"/>
                      <a:pt x="26" y="161"/>
                      <a:pt x="21" y="156"/>
                    </a:cubicBezTo>
                    <a:cubicBezTo>
                      <a:pt x="26" y="152"/>
                      <a:pt x="26" y="152"/>
                      <a:pt x="26" y="152"/>
                    </a:cubicBezTo>
                    <a:cubicBezTo>
                      <a:pt x="30" y="158"/>
                      <a:pt x="35" y="162"/>
                      <a:pt x="40" y="167"/>
                    </a:cubicBezTo>
                    <a:lnTo>
                      <a:pt x="37" y="171"/>
                    </a:lnTo>
                    <a:close/>
                    <a:moveTo>
                      <a:pt x="171" y="156"/>
                    </a:moveTo>
                    <a:cubicBezTo>
                      <a:pt x="167" y="152"/>
                      <a:pt x="167" y="152"/>
                      <a:pt x="167" y="152"/>
                    </a:cubicBezTo>
                    <a:cubicBezTo>
                      <a:pt x="171" y="147"/>
                      <a:pt x="174" y="141"/>
                      <a:pt x="177" y="135"/>
                    </a:cubicBezTo>
                    <a:cubicBezTo>
                      <a:pt x="182" y="137"/>
                      <a:pt x="182" y="137"/>
                      <a:pt x="182" y="137"/>
                    </a:cubicBezTo>
                    <a:cubicBezTo>
                      <a:pt x="179" y="144"/>
                      <a:pt x="175" y="150"/>
                      <a:pt x="171" y="156"/>
                    </a:cubicBezTo>
                    <a:close/>
                    <a:moveTo>
                      <a:pt x="10" y="138"/>
                    </a:moveTo>
                    <a:cubicBezTo>
                      <a:pt x="7" y="131"/>
                      <a:pt x="4" y="124"/>
                      <a:pt x="3" y="117"/>
                    </a:cubicBezTo>
                    <a:cubicBezTo>
                      <a:pt x="8" y="116"/>
                      <a:pt x="8" y="116"/>
                      <a:pt x="8" y="116"/>
                    </a:cubicBezTo>
                    <a:cubicBezTo>
                      <a:pt x="10" y="123"/>
                      <a:pt x="12" y="129"/>
                      <a:pt x="15" y="135"/>
                    </a:cubicBezTo>
                    <a:lnTo>
                      <a:pt x="10" y="138"/>
                    </a:lnTo>
                    <a:close/>
                    <a:moveTo>
                      <a:pt x="189" y="117"/>
                    </a:moveTo>
                    <a:cubicBezTo>
                      <a:pt x="184" y="116"/>
                      <a:pt x="184" y="116"/>
                      <a:pt x="184" y="116"/>
                    </a:cubicBezTo>
                    <a:cubicBezTo>
                      <a:pt x="185" y="110"/>
                      <a:pt x="186" y="103"/>
                      <a:pt x="186" y="96"/>
                    </a:cubicBezTo>
                    <a:cubicBezTo>
                      <a:pt x="186" y="96"/>
                      <a:pt x="186" y="96"/>
                      <a:pt x="186" y="96"/>
                    </a:cubicBezTo>
                    <a:cubicBezTo>
                      <a:pt x="192" y="96"/>
                      <a:pt x="192" y="96"/>
                      <a:pt x="192" y="96"/>
                    </a:cubicBezTo>
                    <a:cubicBezTo>
                      <a:pt x="192" y="96"/>
                      <a:pt x="192" y="96"/>
                      <a:pt x="192" y="96"/>
                    </a:cubicBezTo>
                    <a:cubicBezTo>
                      <a:pt x="192" y="103"/>
                      <a:pt x="191" y="110"/>
                      <a:pt x="189" y="117"/>
                    </a:cubicBezTo>
                    <a:close/>
                    <a:moveTo>
                      <a:pt x="0" y="96"/>
                    </a:moveTo>
                    <a:cubicBezTo>
                      <a:pt x="0" y="96"/>
                      <a:pt x="0" y="96"/>
                      <a:pt x="0" y="96"/>
                    </a:cubicBezTo>
                    <a:cubicBezTo>
                      <a:pt x="0" y="89"/>
                      <a:pt x="1" y="82"/>
                      <a:pt x="3" y="75"/>
                    </a:cubicBezTo>
                    <a:cubicBezTo>
                      <a:pt x="8" y="76"/>
                      <a:pt x="8" y="76"/>
                      <a:pt x="8" y="76"/>
                    </a:cubicBezTo>
                    <a:cubicBezTo>
                      <a:pt x="7" y="83"/>
                      <a:pt x="6" y="89"/>
                      <a:pt x="6" y="96"/>
                    </a:cubicBezTo>
                    <a:lnTo>
                      <a:pt x="0" y="96"/>
                    </a:lnTo>
                    <a:close/>
                    <a:moveTo>
                      <a:pt x="184" y="76"/>
                    </a:moveTo>
                    <a:cubicBezTo>
                      <a:pt x="182" y="69"/>
                      <a:pt x="180" y="63"/>
                      <a:pt x="177" y="57"/>
                    </a:cubicBezTo>
                    <a:cubicBezTo>
                      <a:pt x="182" y="54"/>
                      <a:pt x="182" y="54"/>
                      <a:pt x="182" y="54"/>
                    </a:cubicBezTo>
                    <a:cubicBezTo>
                      <a:pt x="185" y="61"/>
                      <a:pt x="188" y="67"/>
                      <a:pt x="189" y="74"/>
                    </a:cubicBezTo>
                    <a:lnTo>
                      <a:pt x="184" y="76"/>
                    </a:lnTo>
                    <a:close/>
                    <a:moveTo>
                      <a:pt x="15" y="57"/>
                    </a:moveTo>
                    <a:cubicBezTo>
                      <a:pt x="10" y="55"/>
                      <a:pt x="10" y="55"/>
                      <a:pt x="10" y="55"/>
                    </a:cubicBezTo>
                    <a:cubicBezTo>
                      <a:pt x="13" y="48"/>
                      <a:pt x="17" y="42"/>
                      <a:pt x="21" y="37"/>
                    </a:cubicBezTo>
                    <a:cubicBezTo>
                      <a:pt x="25" y="40"/>
                      <a:pt x="25" y="40"/>
                      <a:pt x="25" y="40"/>
                    </a:cubicBezTo>
                    <a:cubicBezTo>
                      <a:pt x="21" y="45"/>
                      <a:pt x="18" y="51"/>
                      <a:pt x="15" y="57"/>
                    </a:cubicBezTo>
                    <a:close/>
                    <a:moveTo>
                      <a:pt x="166" y="40"/>
                    </a:moveTo>
                    <a:cubicBezTo>
                      <a:pt x="162" y="34"/>
                      <a:pt x="157" y="30"/>
                      <a:pt x="152" y="25"/>
                    </a:cubicBezTo>
                    <a:cubicBezTo>
                      <a:pt x="155" y="21"/>
                      <a:pt x="155" y="21"/>
                      <a:pt x="155" y="21"/>
                    </a:cubicBezTo>
                    <a:cubicBezTo>
                      <a:pt x="161" y="26"/>
                      <a:pt x="166" y="31"/>
                      <a:pt x="171" y="36"/>
                    </a:cubicBezTo>
                    <a:lnTo>
                      <a:pt x="166" y="40"/>
                    </a:lnTo>
                    <a:close/>
                    <a:moveTo>
                      <a:pt x="40" y="26"/>
                    </a:moveTo>
                    <a:cubicBezTo>
                      <a:pt x="36" y="21"/>
                      <a:pt x="36" y="21"/>
                      <a:pt x="36" y="21"/>
                    </a:cubicBezTo>
                    <a:cubicBezTo>
                      <a:pt x="42" y="17"/>
                      <a:pt x="48" y="13"/>
                      <a:pt x="54" y="10"/>
                    </a:cubicBezTo>
                    <a:cubicBezTo>
                      <a:pt x="57" y="15"/>
                      <a:pt x="57" y="15"/>
                      <a:pt x="57" y="15"/>
                    </a:cubicBezTo>
                    <a:cubicBezTo>
                      <a:pt x="51" y="18"/>
                      <a:pt x="45" y="21"/>
                      <a:pt x="40" y="26"/>
                    </a:cubicBezTo>
                    <a:close/>
                    <a:moveTo>
                      <a:pt x="135" y="15"/>
                    </a:moveTo>
                    <a:cubicBezTo>
                      <a:pt x="129" y="12"/>
                      <a:pt x="122" y="10"/>
                      <a:pt x="116" y="8"/>
                    </a:cubicBezTo>
                    <a:cubicBezTo>
                      <a:pt x="117" y="3"/>
                      <a:pt x="117" y="3"/>
                      <a:pt x="117" y="3"/>
                    </a:cubicBezTo>
                    <a:cubicBezTo>
                      <a:pt x="124" y="4"/>
                      <a:pt x="131" y="7"/>
                      <a:pt x="137" y="10"/>
                    </a:cubicBezTo>
                    <a:lnTo>
                      <a:pt x="135" y="15"/>
                    </a:lnTo>
                    <a:close/>
                    <a:moveTo>
                      <a:pt x="76" y="8"/>
                    </a:moveTo>
                    <a:cubicBezTo>
                      <a:pt x="74" y="3"/>
                      <a:pt x="74" y="3"/>
                      <a:pt x="74" y="3"/>
                    </a:cubicBezTo>
                    <a:cubicBezTo>
                      <a:pt x="81" y="1"/>
                      <a:pt x="89" y="0"/>
                      <a:pt x="96" y="0"/>
                    </a:cubicBezTo>
                    <a:cubicBezTo>
                      <a:pt x="96" y="6"/>
                      <a:pt x="96" y="6"/>
                      <a:pt x="96" y="6"/>
                    </a:cubicBezTo>
                    <a:cubicBezTo>
                      <a:pt x="89" y="6"/>
                      <a:pt x="82" y="7"/>
                      <a:pt x="76" y="8"/>
                    </a:cubicBezTo>
                    <a:close/>
                  </a:path>
                </a:pathLst>
              </a:custGeom>
              <a:solidFill>
                <a:srgbClr val="823B8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172" name="Oval 171"/>
              <p:cNvSpPr>
                <a:spLocks noChangeArrowheads="1"/>
              </p:cNvSpPr>
              <p:nvPr/>
            </p:nvSpPr>
            <p:spPr bwMode="auto">
              <a:xfrm>
                <a:off x="7435683" y="2055859"/>
                <a:ext cx="271665" cy="270340"/>
              </a:xfrm>
              <a:prstGeom prst="ellipse">
                <a:avLst/>
              </a:pr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173" name="Oval 172"/>
              <p:cNvSpPr>
                <a:spLocks noChangeArrowheads="1"/>
              </p:cNvSpPr>
              <p:nvPr/>
            </p:nvSpPr>
            <p:spPr bwMode="auto">
              <a:xfrm>
                <a:off x="7434358" y="2055859"/>
                <a:ext cx="271665" cy="270340"/>
              </a:xfrm>
              <a:prstGeom prst="ellipse">
                <a:avLst/>
              </a:pr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174" name="Freeform 173"/>
              <p:cNvSpPr>
                <a:spLocks noEditPoints="1"/>
              </p:cNvSpPr>
              <p:nvPr/>
            </p:nvSpPr>
            <p:spPr bwMode="auto">
              <a:xfrm>
                <a:off x="7504593" y="2134046"/>
                <a:ext cx="136495" cy="115291"/>
              </a:xfrm>
              <a:custGeom>
                <a:avLst/>
                <a:gdLst>
                  <a:gd name="T0" fmla="*/ 69 w 73"/>
                  <a:gd name="T1" fmla="*/ 58 h 62"/>
                  <a:gd name="T2" fmla="*/ 0 w 73"/>
                  <a:gd name="T3" fmla="*/ 11 h 62"/>
                  <a:gd name="T4" fmla="*/ 0 w 73"/>
                  <a:gd name="T5" fmla="*/ 62 h 62"/>
                  <a:gd name="T6" fmla="*/ 73 w 73"/>
                  <a:gd name="T7" fmla="*/ 0 h 62"/>
                  <a:gd name="T8" fmla="*/ 0 w 73"/>
                  <a:gd name="T9" fmla="*/ 0 h 62"/>
                  <a:gd name="T10" fmla="*/ 42 w 73"/>
                  <a:gd name="T11" fmla="*/ 35 h 62"/>
                  <a:gd name="T12" fmla="*/ 40 w 73"/>
                  <a:gd name="T13" fmla="*/ 31 h 62"/>
                  <a:gd name="T14" fmla="*/ 38 w 73"/>
                  <a:gd name="T15" fmla="*/ 29 h 62"/>
                  <a:gd name="T16" fmla="*/ 34 w 73"/>
                  <a:gd name="T17" fmla="*/ 27 h 62"/>
                  <a:gd name="T18" fmla="*/ 31 w 73"/>
                  <a:gd name="T19" fmla="*/ 27 h 62"/>
                  <a:gd name="T20" fmla="*/ 27 w 73"/>
                  <a:gd name="T21" fmla="*/ 29 h 62"/>
                  <a:gd name="T22" fmla="*/ 24 w 73"/>
                  <a:gd name="T23" fmla="*/ 31 h 62"/>
                  <a:gd name="T24" fmla="*/ 22 w 73"/>
                  <a:gd name="T25" fmla="*/ 35 h 62"/>
                  <a:gd name="T26" fmla="*/ 22 w 73"/>
                  <a:gd name="T27" fmla="*/ 38 h 62"/>
                  <a:gd name="T28" fmla="*/ 22 w 73"/>
                  <a:gd name="T29" fmla="*/ 42 h 62"/>
                  <a:gd name="T30" fmla="*/ 24 w 73"/>
                  <a:gd name="T31" fmla="*/ 45 h 62"/>
                  <a:gd name="T32" fmla="*/ 27 w 73"/>
                  <a:gd name="T33" fmla="*/ 48 h 62"/>
                  <a:gd name="T34" fmla="*/ 30 w 73"/>
                  <a:gd name="T35" fmla="*/ 49 h 62"/>
                  <a:gd name="T36" fmla="*/ 33 w 73"/>
                  <a:gd name="T37" fmla="*/ 46 h 62"/>
                  <a:gd name="T38" fmla="*/ 37 w 73"/>
                  <a:gd name="T39" fmla="*/ 48 h 62"/>
                  <a:gd name="T40" fmla="*/ 37 w 73"/>
                  <a:gd name="T41" fmla="*/ 44 h 62"/>
                  <a:gd name="T42" fmla="*/ 42 w 73"/>
                  <a:gd name="T43" fmla="*/ 43 h 62"/>
                  <a:gd name="T44" fmla="*/ 40 w 73"/>
                  <a:gd name="T45" fmla="*/ 39 h 62"/>
                  <a:gd name="T46" fmla="*/ 36 w 73"/>
                  <a:gd name="T47" fmla="*/ 38 h 62"/>
                  <a:gd name="T48" fmla="*/ 29 w 73"/>
                  <a:gd name="T49" fmla="*/ 41 h 62"/>
                  <a:gd name="T50" fmla="*/ 32 w 73"/>
                  <a:gd name="T51" fmla="*/ 34 h 62"/>
                  <a:gd name="T52" fmla="*/ 30 w 73"/>
                  <a:gd name="T53" fmla="*/ 38 h 62"/>
                  <a:gd name="T54" fmla="*/ 32 w 73"/>
                  <a:gd name="T55" fmla="*/ 40 h 62"/>
                  <a:gd name="T56" fmla="*/ 50 w 73"/>
                  <a:gd name="T57" fmla="*/ 31 h 62"/>
                  <a:gd name="T58" fmla="*/ 51 w 73"/>
                  <a:gd name="T59" fmla="*/ 28 h 62"/>
                  <a:gd name="T60" fmla="*/ 50 w 73"/>
                  <a:gd name="T61" fmla="*/ 27 h 62"/>
                  <a:gd name="T62" fmla="*/ 47 w 73"/>
                  <a:gd name="T63" fmla="*/ 27 h 62"/>
                  <a:gd name="T64" fmla="*/ 45 w 73"/>
                  <a:gd name="T65" fmla="*/ 25 h 62"/>
                  <a:gd name="T66" fmla="*/ 43 w 73"/>
                  <a:gd name="T67" fmla="*/ 27 h 62"/>
                  <a:gd name="T68" fmla="*/ 41 w 73"/>
                  <a:gd name="T69" fmla="*/ 27 h 62"/>
                  <a:gd name="T70" fmla="*/ 40 w 73"/>
                  <a:gd name="T71" fmla="*/ 29 h 62"/>
                  <a:gd name="T72" fmla="*/ 42 w 73"/>
                  <a:gd name="T73" fmla="*/ 31 h 62"/>
                  <a:gd name="T74" fmla="*/ 40 w 73"/>
                  <a:gd name="T75" fmla="*/ 33 h 62"/>
                  <a:gd name="T76" fmla="*/ 41 w 73"/>
                  <a:gd name="T77" fmla="*/ 34 h 62"/>
                  <a:gd name="T78" fmla="*/ 45 w 73"/>
                  <a:gd name="T79" fmla="*/ 36 h 62"/>
                  <a:gd name="T80" fmla="*/ 47 w 73"/>
                  <a:gd name="T81" fmla="*/ 36 h 62"/>
                  <a:gd name="T82" fmla="*/ 50 w 73"/>
                  <a:gd name="T83" fmla="*/ 34 h 62"/>
                  <a:gd name="T84" fmla="*/ 51 w 73"/>
                  <a:gd name="T85" fmla="*/ 33 h 62"/>
                  <a:gd name="T86" fmla="*/ 50 w 73"/>
                  <a:gd name="T87" fmla="*/ 31 h 62"/>
                  <a:gd name="T88" fmla="*/ 46 w 73"/>
                  <a:gd name="T89" fmla="*/ 32 h 62"/>
                  <a:gd name="T90" fmla="*/ 47 w 73"/>
                  <a:gd name="T91" fmla="*/ 31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73" h="62">
                    <a:moveTo>
                      <a:pt x="3" y="15"/>
                    </a:moveTo>
                    <a:cubicBezTo>
                      <a:pt x="3" y="58"/>
                      <a:pt x="3" y="58"/>
                      <a:pt x="3" y="58"/>
                    </a:cubicBezTo>
                    <a:cubicBezTo>
                      <a:pt x="69" y="58"/>
                      <a:pt x="69" y="58"/>
                      <a:pt x="69" y="58"/>
                    </a:cubicBezTo>
                    <a:cubicBezTo>
                      <a:pt x="69" y="15"/>
                      <a:pt x="69" y="15"/>
                      <a:pt x="69" y="15"/>
                    </a:cubicBezTo>
                    <a:cubicBezTo>
                      <a:pt x="3" y="15"/>
                      <a:pt x="3" y="15"/>
                      <a:pt x="3" y="15"/>
                    </a:cubicBezTo>
                    <a:close/>
                    <a:moveTo>
                      <a:pt x="0" y="11"/>
                    </a:moveTo>
                    <a:cubicBezTo>
                      <a:pt x="73" y="11"/>
                      <a:pt x="73" y="11"/>
                      <a:pt x="73" y="11"/>
                    </a:cubicBezTo>
                    <a:cubicBezTo>
                      <a:pt x="73" y="62"/>
                      <a:pt x="73" y="62"/>
                      <a:pt x="73" y="62"/>
                    </a:cubicBezTo>
                    <a:cubicBezTo>
                      <a:pt x="0" y="62"/>
                      <a:pt x="0" y="62"/>
                      <a:pt x="0" y="62"/>
                    </a:cubicBezTo>
                    <a:cubicBezTo>
                      <a:pt x="0" y="11"/>
                      <a:pt x="0" y="11"/>
                      <a:pt x="0" y="11"/>
                    </a:cubicBezTo>
                    <a:close/>
                    <a:moveTo>
                      <a:pt x="0" y="0"/>
                    </a:moveTo>
                    <a:cubicBezTo>
                      <a:pt x="73" y="0"/>
                      <a:pt x="73" y="0"/>
                      <a:pt x="73" y="0"/>
                    </a:cubicBezTo>
                    <a:cubicBezTo>
                      <a:pt x="73" y="7"/>
                      <a:pt x="73" y="7"/>
                      <a:pt x="73" y="7"/>
                    </a:cubicBezTo>
                    <a:cubicBezTo>
                      <a:pt x="0" y="7"/>
                      <a:pt x="0" y="7"/>
                      <a:pt x="0" y="7"/>
                    </a:cubicBezTo>
                    <a:cubicBezTo>
                      <a:pt x="0" y="0"/>
                      <a:pt x="0" y="0"/>
                      <a:pt x="0" y="0"/>
                    </a:cubicBezTo>
                    <a:close/>
                    <a:moveTo>
                      <a:pt x="43" y="37"/>
                    </a:moveTo>
                    <a:cubicBezTo>
                      <a:pt x="43" y="35"/>
                      <a:pt x="43" y="35"/>
                      <a:pt x="43" y="35"/>
                    </a:cubicBezTo>
                    <a:cubicBezTo>
                      <a:pt x="43" y="35"/>
                      <a:pt x="43" y="35"/>
                      <a:pt x="42" y="35"/>
                    </a:cubicBezTo>
                    <a:cubicBezTo>
                      <a:pt x="39" y="35"/>
                      <a:pt x="39" y="35"/>
                      <a:pt x="39" y="35"/>
                    </a:cubicBezTo>
                    <a:cubicBezTo>
                      <a:pt x="39" y="35"/>
                      <a:pt x="39" y="34"/>
                      <a:pt x="39" y="34"/>
                    </a:cubicBezTo>
                    <a:cubicBezTo>
                      <a:pt x="40" y="31"/>
                      <a:pt x="40" y="31"/>
                      <a:pt x="40" y="31"/>
                    </a:cubicBezTo>
                    <a:cubicBezTo>
                      <a:pt x="40" y="31"/>
                      <a:pt x="40" y="31"/>
                      <a:pt x="40" y="31"/>
                    </a:cubicBezTo>
                    <a:cubicBezTo>
                      <a:pt x="38" y="29"/>
                      <a:pt x="38" y="29"/>
                      <a:pt x="38" y="29"/>
                    </a:cubicBezTo>
                    <a:cubicBezTo>
                      <a:pt x="38" y="29"/>
                      <a:pt x="38" y="29"/>
                      <a:pt x="38" y="29"/>
                    </a:cubicBezTo>
                    <a:cubicBezTo>
                      <a:pt x="35" y="31"/>
                      <a:pt x="35" y="31"/>
                      <a:pt x="35" y="31"/>
                    </a:cubicBezTo>
                    <a:cubicBezTo>
                      <a:pt x="35" y="31"/>
                      <a:pt x="35" y="31"/>
                      <a:pt x="34" y="31"/>
                    </a:cubicBezTo>
                    <a:cubicBezTo>
                      <a:pt x="34" y="27"/>
                      <a:pt x="34" y="27"/>
                      <a:pt x="34" y="27"/>
                    </a:cubicBezTo>
                    <a:cubicBezTo>
                      <a:pt x="34" y="27"/>
                      <a:pt x="33" y="27"/>
                      <a:pt x="33" y="27"/>
                    </a:cubicBezTo>
                    <a:cubicBezTo>
                      <a:pt x="31" y="27"/>
                      <a:pt x="31" y="27"/>
                      <a:pt x="31" y="27"/>
                    </a:cubicBezTo>
                    <a:cubicBezTo>
                      <a:pt x="31" y="27"/>
                      <a:pt x="31" y="27"/>
                      <a:pt x="31" y="27"/>
                    </a:cubicBezTo>
                    <a:cubicBezTo>
                      <a:pt x="30" y="31"/>
                      <a:pt x="30" y="31"/>
                      <a:pt x="30" y="31"/>
                    </a:cubicBezTo>
                    <a:cubicBezTo>
                      <a:pt x="30" y="31"/>
                      <a:pt x="29" y="31"/>
                      <a:pt x="29" y="31"/>
                    </a:cubicBezTo>
                    <a:cubicBezTo>
                      <a:pt x="27" y="29"/>
                      <a:pt x="27" y="29"/>
                      <a:pt x="27" y="29"/>
                    </a:cubicBezTo>
                    <a:cubicBezTo>
                      <a:pt x="26" y="29"/>
                      <a:pt x="26" y="29"/>
                      <a:pt x="26" y="29"/>
                    </a:cubicBezTo>
                    <a:cubicBezTo>
                      <a:pt x="24" y="31"/>
                      <a:pt x="24" y="31"/>
                      <a:pt x="24" y="31"/>
                    </a:cubicBezTo>
                    <a:cubicBezTo>
                      <a:pt x="24" y="31"/>
                      <a:pt x="24" y="31"/>
                      <a:pt x="24" y="31"/>
                    </a:cubicBezTo>
                    <a:cubicBezTo>
                      <a:pt x="26" y="34"/>
                      <a:pt x="26" y="34"/>
                      <a:pt x="26" y="34"/>
                    </a:cubicBezTo>
                    <a:cubicBezTo>
                      <a:pt x="25" y="34"/>
                      <a:pt x="25" y="35"/>
                      <a:pt x="25" y="35"/>
                    </a:cubicBezTo>
                    <a:cubicBezTo>
                      <a:pt x="22" y="35"/>
                      <a:pt x="22" y="35"/>
                      <a:pt x="22" y="35"/>
                    </a:cubicBezTo>
                    <a:cubicBezTo>
                      <a:pt x="22" y="35"/>
                      <a:pt x="22" y="35"/>
                      <a:pt x="22" y="35"/>
                    </a:cubicBezTo>
                    <a:cubicBezTo>
                      <a:pt x="21" y="37"/>
                      <a:pt x="21" y="37"/>
                      <a:pt x="21" y="37"/>
                    </a:cubicBezTo>
                    <a:cubicBezTo>
                      <a:pt x="21" y="38"/>
                      <a:pt x="21" y="38"/>
                      <a:pt x="22" y="38"/>
                    </a:cubicBezTo>
                    <a:cubicBezTo>
                      <a:pt x="24" y="39"/>
                      <a:pt x="24" y="39"/>
                      <a:pt x="24" y="39"/>
                    </a:cubicBezTo>
                    <a:cubicBezTo>
                      <a:pt x="24" y="40"/>
                      <a:pt x="24" y="40"/>
                      <a:pt x="25" y="40"/>
                    </a:cubicBezTo>
                    <a:cubicBezTo>
                      <a:pt x="22" y="42"/>
                      <a:pt x="22" y="42"/>
                      <a:pt x="22" y="42"/>
                    </a:cubicBezTo>
                    <a:cubicBezTo>
                      <a:pt x="22" y="42"/>
                      <a:pt x="22" y="43"/>
                      <a:pt x="22" y="43"/>
                    </a:cubicBezTo>
                    <a:cubicBezTo>
                      <a:pt x="23" y="45"/>
                      <a:pt x="23" y="45"/>
                      <a:pt x="23" y="45"/>
                    </a:cubicBezTo>
                    <a:cubicBezTo>
                      <a:pt x="23" y="45"/>
                      <a:pt x="24" y="45"/>
                      <a:pt x="24" y="45"/>
                    </a:cubicBezTo>
                    <a:cubicBezTo>
                      <a:pt x="27" y="44"/>
                      <a:pt x="27" y="44"/>
                      <a:pt x="27" y="44"/>
                    </a:cubicBezTo>
                    <a:cubicBezTo>
                      <a:pt x="27" y="44"/>
                      <a:pt x="27" y="44"/>
                      <a:pt x="28" y="45"/>
                    </a:cubicBezTo>
                    <a:cubicBezTo>
                      <a:pt x="27" y="48"/>
                      <a:pt x="27" y="48"/>
                      <a:pt x="27" y="48"/>
                    </a:cubicBezTo>
                    <a:cubicBezTo>
                      <a:pt x="27" y="48"/>
                      <a:pt x="27" y="48"/>
                      <a:pt x="28" y="48"/>
                    </a:cubicBezTo>
                    <a:cubicBezTo>
                      <a:pt x="29" y="49"/>
                      <a:pt x="29" y="49"/>
                      <a:pt x="29" y="49"/>
                    </a:cubicBezTo>
                    <a:cubicBezTo>
                      <a:pt x="30" y="49"/>
                      <a:pt x="30" y="49"/>
                      <a:pt x="30" y="49"/>
                    </a:cubicBezTo>
                    <a:cubicBezTo>
                      <a:pt x="32" y="46"/>
                      <a:pt x="32" y="46"/>
                      <a:pt x="32" y="46"/>
                    </a:cubicBezTo>
                    <a:cubicBezTo>
                      <a:pt x="32" y="46"/>
                      <a:pt x="32" y="46"/>
                      <a:pt x="32" y="46"/>
                    </a:cubicBezTo>
                    <a:cubicBezTo>
                      <a:pt x="32" y="46"/>
                      <a:pt x="32" y="46"/>
                      <a:pt x="33" y="46"/>
                    </a:cubicBezTo>
                    <a:cubicBezTo>
                      <a:pt x="34" y="49"/>
                      <a:pt x="34" y="49"/>
                      <a:pt x="34" y="49"/>
                    </a:cubicBezTo>
                    <a:cubicBezTo>
                      <a:pt x="34" y="49"/>
                      <a:pt x="35" y="49"/>
                      <a:pt x="35" y="49"/>
                    </a:cubicBezTo>
                    <a:cubicBezTo>
                      <a:pt x="37" y="48"/>
                      <a:pt x="37" y="48"/>
                      <a:pt x="37" y="48"/>
                    </a:cubicBezTo>
                    <a:cubicBezTo>
                      <a:pt x="37" y="48"/>
                      <a:pt x="37" y="48"/>
                      <a:pt x="37" y="48"/>
                    </a:cubicBezTo>
                    <a:cubicBezTo>
                      <a:pt x="37" y="45"/>
                      <a:pt x="37" y="45"/>
                      <a:pt x="37" y="45"/>
                    </a:cubicBezTo>
                    <a:cubicBezTo>
                      <a:pt x="37" y="44"/>
                      <a:pt x="37" y="44"/>
                      <a:pt x="37" y="44"/>
                    </a:cubicBezTo>
                    <a:cubicBezTo>
                      <a:pt x="41" y="45"/>
                      <a:pt x="41" y="45"/>
                      <a:pt x="41" y="45"/>
                    </a:cubicBezTo>
                    <a:cubicBezTo>
                      <a:pt x="41" y="45"/>
                      <a:pt x="41" y="45"/>
                      <a:pt x="41" y="45"/>
                    </a:cubicBezTo>
                    <a:cubicBezTo>
                      <a:pt x="42" y="43"/>
                      <a:pt x="42" y="43"/>
                      <a:pt x="42" y="43"/>
                    </a:cubicBezTo>
                    <a:cubicBezTo>
                      <a:pt x="42" y="43"/>
                      <a:pt x="42" y="42"/>
                      <a:pt x="42" y="42"/>
                    </a:cubicBezTo>
                    <a:cubicBezTo>
                      <a:pt x="40" y="40"/>
                      <a:pt x="40" y="40"/>
                      <a:pt x="40" y="40"/>
                    </a:cubicBezTo>
                    <a:cubicBezTo>
                      <a:pt x="40" y="40"/>
                      <a:pt x="40" y="40"/>
                      <a:pt x="40" y="39"/>
                    </a:cubicBezTo>
                    <a:cubicBezTo>
                      <a:pt x="43" y="38"/>
                      <a:pt x="43" y="38"/>
                      <a:pt x="43" y="38"/>
                    </a:cubicBezTo>
                    <a:cubicBezTo>
                      <a:pt x="43" y="38"/>
                      <a:pt x="43" y="38"/>
                      <a:pt x="43" y="37"/>
                    </a:cubicBezTo>
                    <a:close/>
                    <a:moveTo>
                      <a:pt x="36" y="38"/>
                    </a:moveTo>
                    <a:cubicBezTo>
                      <a:pt x="36" y="40"/>
                      <a:pt x="36" y="41"/>
                      <a:pt x="35" y="41"/>
                    </a:cubicBezTo>
                    <a:cubicBezTo>
                      <a:pt x="34" y="42"/>
                      <a:pt x="33" y="43"/>
                      <a:pt x="32" y="43"/>
                    </a:cubicBezTo>
                    <a:cubicBezTo>
                      <a:pt x="31" y="43"/>
                      <a:pt x="30" y="42"/>
                      <a:pt x="29" y="41"/>
                    </a:cubicBezTo>
                    <a:cubicBezTo>
                      <a:pt x="28" y="41"/>
                      <a:pt x="28" y="40"/>
                      <a:pt x="28" y="38"/>
                    </a:cubicBezTo>
                    <a:cubicBezTo>
                      <a:pt x="28" y="37"/>
                      <a:pt x="28" y="36"/>
                      <a:pt x="29" y="35"/>
                    </a:cubicBezTo>
                    <a:cubicBezTo>
                      <a:pt x="30" y="35"/>
                      <a:pt x="31" y="34"/>
                      <a:pt x="32" y="34"/>
                    </a:cubicBezTo>
                    <a:cubicBezTo>
                      <a:pt x="33" y="34"/>
                      <a:pt x="34" y="35"/>
                      <a:pt x="35" y="35"/>
                    </a:cubicBezTo>
                    <a:cubicBezTo>
                      <a:pt x="36" y="36"/>
                      <a:pt x="36" y="37"/>
                      <a:pt x="36" y="38"/>
                    </a:cubicBezTo>
                    <a:close/>
                    <a:moveTo>
                      <a:pt x="30" y="38"/>
                    </a:moveTo>
                    <a:cubicBezTo>
                      <a:pt x="30" y="37"/>
                      <a:pt x="31" y="36"/>
                      <a:pt x="32" y="36"/>
                    </a:cubicBezTo>
                    <a:cubicBezTo>
                      <a:pt x="33" y="36"/>
                      <a:pt x="34" y="37"/>
                      <a:pt x="34" y="38"/>
                    </a:cubicBezTo>
                    <a:cubicBezTo>
                      <a:pt x="34" y="39"/>
                      <a:pt x="33" y="40"/>
                      <a:pt x="32" y="40"/>
                    </a:cubicBezTo>
                    <a:cubicBezTo>
                      <a:pt x="31" y="40"/>
                      <a:pt x="30" y="39"/>
                      <a:pt x="30" y="38"/>
                    </a:cubicBezTo>
                    <a:close/>
                    <a:moveTo>
                      <a:pt x="50" y="31"/>
                    </a:moveTo>
                    <a:cubicBezTo>
                      <a:pt x="50" y="31"/>
                      <a:pt x="50" y="31"/>
                      <a:pt x="50" y="31"/>
                    </a:cubicBezTo>
                    <a:cubicBezTo>
                      <a:pt x="50" y="30"/>
                      <a:pt x="50" y="30"/>
                      <a:pt x="50" y="30"/>
                    </a:cubicBezTo>
                    <a:cubicBezTo>
                      <a:pt x="51" y="29"/>
                      <a:pt x="51" y="29"/>
                      <a:pt x="51" y="29"/>
                    </a:cubicBezTo>
                    <a:cubicBezTo>
                      <a:pt x="51" y="29"/>
                      <a:pt x="51" y="28"/>
                      <a:pt x="51" y="28"/>
                    </a:cubicBezTo>
                    <a:cubicBezTo>
                      <a:pt x="51" y="28"/>
                      <a:pt x="51" y="28"/>
                      <a:pt x="51" y="28"/>
                    </a:cubicBezTo>
                    <a:cubicBezTo>
                      <a:pt x="50" y="27"/>
                      <a:pt x="50" y="27"/>
                      <a:pt x="50" y="27"/>
                    </a:cubicBezTo>
                    <a:cubicBezTo>
                      <a:pt x="50" y="27"/>
                      <a:pt x="50" y="27"/>
                      <a:pt x="50" y="27"/>
                    </a:cubicBezTo>
                    <a:cubicBezTo>
                      <a:pt x="50" y="27"/>
                      <a:pt x="50" y="27"/>
                      <a:pt x="50" y="27"/>
                    </a:cubicBezTo>
                    <a:cubicBezTo>
                      <a:pt x="48" y="27"/>
                      <a:pt x="48" y="27"/>
                      <a:pt x="48" y="27"/>
                    </a:cubicBezTo>
                    <a:cubicBezTo>
                      <a:pt x="48" y="27"/>
                      <a:pt x="47" y="27"/>
                      <a:pt x="47" y="27"/>
                    </a:cubicBezTo>
                    <a:cubicBezTo>
                      <a:pt x="47" y="25"/>
                      <a:pt x="47" y="25"/>
                      <a:pt x="47" y="25"/>
                    </a:cubicBezTo>
                    <a:cubicBezTo>
                      <a:pt x="47" y="25"/>
                      <a:pt x="46" y="25"/>
                      <a:pt x="46" y="25"/>
                    </a:cubicBezTo>
                    <a:cubicBezTo>
                      <a:pt x="45" y="25"/>
                      <a:pt x="45" y="25"/>
                      <a:pt x="45" y="25"/>
                    </a:cubicBezTo>
                    <a:cubicBezTo>
                      <a:pt x="45" y="25"/>
                      <a:pt x="45" y="25"/>
                      <a:pt x="45" y="25"/>
                    </a:cubicBezTo>
                    <a:cubicBezTo>
                      <a:pt x="44" y="27"/>
                      <a:pt x="44" y="27"/>
                      <a:pt x="44" y="27"/>
                    </a:cubicBezTo>
                    <a:cubicBezTo>
                      <a:pt x="44" y="27"/>
                      <a:pt x="43" y="27"/>
                      <a:pt x="43" y="27"/>
                    </a:cubicBezTo>
                    <a:cubicBezTo>
                      <a:pt x="41" y="27"/>
                      <a:pt x="41" y="27"/>
                      <a:pt x="41" y="27"/>
                    </a:cubicBezTo>
                    <a:cubicBezTo>
                      <a:pt x="41" y="27"/>
                      <a:pt x="41" y="27"/>
                      <a:pt x="41" y="27"/>
                    </a:cubicBezTo>
                    <a:cubicBezTo>
                      <a:pt x="41" y="27"/>
                      <a:pt x="41" y="27"/>
                      <a:pt x="41" y="27"/>
                    </a:cubicBezTo>
                    <a:cubicBezTo>
                      <a:pt x="40" y="28"/>
                      <a:pt x="40" y="28"/>
                      <a:pt x="40" y="28"/>
                    </a:cubicBezTo>
                    <a:cubicBezTo>
                      <a:pt x="40" y="28"/>
                      <a:pt x="40" y="28"/>
                      <a:pt x="40" y="28"/>
                    </a:cubicBezTo>
                    <a:cubicBezTo>
                      <a:pt x="40" y="28"/>
                      <a:pt x="40" y="29"/>
                      <a:pt x="40" y="29"/>
                    </a:cubicBezTo>
                    <a:cubicBezTo>
                      <a:pt x="42" y="30"/>
                      <a:pt x="42" y="30"/>
                      <a:pt x="42" y="30"/>
                    </a:cubicBezTo>
                    <a:cubicBezTo>
                      <a:pt x="41" y="30"/>
                      <a:pt x="41" y="30"/>
                      <a:pt x="41" y="31"/>
                    </a:cubicBezTo>
                    <a:cubicBezTo>
                      <a:pt x="41" y="31"/>
                      <a:pt x="41" y="31"/>
                      <a:pt x="42" y="31"/>
                    </a:cubicBezTo>
                    <a:cubicBezTo>
                      <a:pt x="40" y="32"/>
                      <a:pt x="40" y="32"/>
                      <a:pt x="40" y="32"/>
                    </a:cubicBezTo>
                    <a:cubicBezTo>
                      <a:pt x="40" y="33"/>
                      <a:pt x="40" y="33"/>
                      <a:pt x="40" y="33"/>
                    </a:cubicBezTo>
                    <a:cubicBezTo>
                      <a:pt x="40" y="33"/>
                      <a:pt x="40" y="33"/>
                      <a:pt x="40" y="33"/>
                    </a:cubicBezTo>
                    <a:cubicBezTo>
                      <a:pt x="41" y="34"/>
                      <a:pt x="41" y="34"/>
                      <a:pt x="41" y="34"/>
                    </a:cubicBezTo>
                    <a:cubicBezTo>
                      <a:pt x="41" y="34"/>
                      <a:pt x="41" y="34"/>
                      <a:pt x="41" y="34"/>
                    </a:cubicBezTo>
                    <a:cubicBezTo>
                      <a:pt x="41" y="34"/>
                      <a:pt x="41" y="34"/>
                      <a:pt x="41" y="34"/>
                    </a:cubicBezTo>
                    <a:cubicBezTo>
                      <a:pt x="43" y="34"/>
                      <a:pt x="43" y="34"/>
                      <a:pt x="43" y="34"/>
                    </a:cubicBezTo>
                    <a:cubicBezTo>
                      <a:pt x="43" y="34"/>
                      <a:pt x="44" y="34"/>
                      <a:pt x="44" y="35"/>
                    </a:cubicBezTo>
                    <a:cubicBezTo>
                      <a:pt x="45" y="36"/>
                      <a:pt x="45" y="36"/>
                      <a:pt x="45" y="36"/>
                    </a:cubicBezTo>
                    <a:cubicBezTo>
                      <a:pt x="45" y="36"/>
                      <a:pt x="45" y="37"/>
                      <a:pt x="45" y="37"/>
                    </a:cubicBezTo>
                    <a:cubicBezTo>
                      <a:pt x="46" y="37"/>
                      <a:pt x="46" y="37"/>
                      <a:pt x="46" y="37"/>
                    </a:cubicBezTo>
                    <a:cubicBezTo>
                      <a:pt x="46" y="37"/>
                      <a:pt x="47" y="36"/>
                      <a:pt x="47" y="36"/>
                    </a:cubicBezTo>
                    <a:cubicBezTo>
                      <a:pt x="47" y="35"/>
                      <a:pt x="47" y="35"/>
                      <a:pt x="47" y="35"/>
                    </a:cubicBezTo>
                    <a:cubicBezTo>
                      <a:pt x="47" y="34"/>
                      <a:pt x="48" y="34"/>
                      <a:pt x="48" y="34"/>
                    </a:cubicBezTo>
                    <a:cubicBezTo>
                      <a:pt x="50" y="34"/>
                      <a:pt x="50" y="34"/>
                      <a:pt x="50" y="34"/>
                    </a:cubicBezTo>
                    <a:cubicBezTo>
                      <a:pt x="50" y="34"/>
                      <a:pt x="50" y="34"/>
                      <a:pt x="50" y="34"/>
                    </a:cubicBezTo>
                    <a:cubicBezTo>
                      <a:pt x="50" y="34"/>
                      <a:pt x="50" y="34"/>
                      <a:pt x="50" y="34"/>
                    </a:cubicBezTo>
                    <a:cubicBezTo>
                      <a:pt x="51" y="33"/>
                      <a:pt x="51" y="33"/>
                      <a:pt x="51" y="33"/>
                    </a:cubicBezTo>
                    <a:cubicBezTo>
                      <a:pt x="51" y="33"/>
                      <a:pt x="51" y="33"/>
                      <a:pt x="51" y="33"/>
                    </a:cubicBezTo>
                    <a:cubicBezTo>
                      <a:pt x="51" y="33"/>
                      <a:pt x="51" y="33"/>
                      <a:pt x="51" y="32"/>
                    </a:cubicBezTo>
                    <a:cubicBezTo>
                      <a:pt x="50" y="31"/>
                      <a:pt x="50" y="31"/>
                      <a:pt x="50" y="31"/>
                    </a:cubicBezTo>
                    <a:cubicBezTo>
                      <a:pt x="50" y="31"/>
                      <a:pt x="50" y="31"/>
                      <a:pt x="50" y="31"/>
                    </a:cubicBezTo>
                    <a:close/>
                    <a:moveTo>
                      <a:pt x="47" y="31"/>
                    </a:moveTo>
                    <a:cubicBezTo>
                      <a:pt x="47" y="31"/>
                      <a:pt x="46" y="32"/>
                      <a:pt x="46" y="32"/>
                    </a:cubicBezTo>
                    <a:cubicBezTo>
                      <a:pt x="45" y="32"/>
                      <a:pt x="44" y="31"/>
                      <a:pt x="44" y="31"/>
                    </a:cubicBezTo>
                    <a:cubicBezTo>
                      <a:pt x="44" y="30"/>
                      <a:pt x="45" y="29"/>
                      <a:pt x="46" y="29"/>
                    </a:cubicBezTo>
                    <a:cubicBezTo>
                      <a:pt x="46" y="29"/>
                      <a:pt x="47" y="30"/>
                      <a:pt x="47" y="31"/>
                    </a:cubicBez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505050"/>
                  </a:solidFill>
                  <a:effectLst/>
                  <a:uLnTx/>
                  <a:uFillTx/>
                  <a:latin typeface="Segoe UI"/>
                  <a:ea typeface="+mn-ea"/>
                  <a:cs typeface="+mn-cs"/>
                </a:endParaRPr>
              </a:p>
            </p:txBody>
          </p:sp>
        </p:grpSp>
        <p:grpSp>
          <p:nvGrpSpPr>
            <p:cNvPr id="130" name="Group 129"/>
            <p:cNvGrpSpPr/>
            <p:nvPr/>
          </p:nvGrpSpPr>
          <p:grpSpPr>
            <a:xfrm flipH="1">
              <a:off x="1346564" y="2481893"/>
              <a:ext cx="684696" cy="684697"/>
              <a:chOff x="7715631" y="2081050"/>
              <a:chExt cx="604288" cy="604289"/>
            </a:xfrm>
          </p:grpSpPr>
          <p:sp>
            <p:nvSpPr>
              <p:cNvPr id="159" name="Freeform 158"/>
              <p:cNvSpPr>
                <a:spLocks noEditPoints="1"/>
              </p:cNvSpPr>
              <p:nvPr/>
            </p:nvSpPr>
            <p:spPr bwMode="auto">
              <a:xfrm>
                <a:off x="7715631" y="2081050"/>
                <a:ext cx="604288" cy="604288"/>
              </a:xfrm>
              <a:custGeom>
                <a:avLst/>
                <a:gdLst>
                  <a:gd name="T0" fmla="*/ 130 w 326"/>
                  <a:gd name="T1" fmla="*/ 323 h 326"/>
                  <a:gd name="T2" fmla="*/ 152 w 326"/>
                  <a:gd name="T3" fmla="*/ 321 h 326"/>
                  <a:gd name="T4" fmla="*/ 174 w 326"/>
                  <a:gd name="T5" fmla="*/ 326 h 326"/>
                  <a:gd name="T6" fmla="*/ 195 w 326"/>
                  <a:gd name="T7" fmla="*/ 318 h 326"/>
                  <a:gd name="T8" fmla="*/ 174 w 326"/>
                  <a:gd name="T9" fmla="*/ 326 h 326"/>
                  <a:gd name="T10" fmla="*/ 88 w 326"/>
                  <a:gd name="T11" fmla="*/ 308 h 326"/>
                  <a:gd name="T12" fmla="*/ 110 w 326"/>
                  <a:gd name="T13" fmla="*/ 312 h 326"/>
                  <a:gd name="T14" fmla="*/ 218 w 326"/>
                  <a:gd name="T15" fmla="*/ 317 h 326"/>
                  <a:gd name="T16" fmla="*/ 236 w 326"/>
                  <a:gd name="T17" fmla="*/ 303 h 326"/>
                  <a:gd name="T18" fmla="*/ 218 w 326"/>
                  <a:gd name="T19" fmla="*/ 317 h 326"/>
                  <a:gd name="T20" fmla="*/ 52 w 326"/>
                  <a:gd name="T21" fmla="*/ 283 h 326"/>
                  <a:gd name="T22" fmla="*/ 72 w 326"/>
                  <a:gd name="T23" fmla="*/ 292 h 326"/>
                  <a:gd name="T24" fmla="*/ 257 w 326"/>
                  <a:gd name="T25" fmla="*/ 296 h 326"/>
                  <a:gd name="T26" fmla="*/ 271 w 326"/>
                  <a:gd name="T27" fmla="*/ 278 h 326"/>
                  <a:gd name="T28" fmla="*/ 257 w 326"/>
                  <a:gd name="T29" fmla="*/ 296 h 326"/>
                  <a:gd name="T30" fmla="*/ 24 w 326"/>
                  <a:gd name="T31" fmla="*/ 248 h 326"/>
                  <a:gd name="T32" fmla="*/ 41 w 326"/>
                  <a:gd name="T33" fmla="*/ 263 h 326"/>
                  <a:gd name="T34" fmla="*/ 289 w 326"/>
                  <a:gd name="T35" fmla="*/ 266 h 326"/>
                  <a:gd name="T36" fmla="*/ 298 w 326"/>
                  <a:gd name="T37" fmla="*/ 245 h 326"/>
                  <a:gd name="T38" fmla="*/ 289 w 326"/>
                  <a:gd name="T39" fmla="*/ 266 h 326"/>
                  <a:gd name="T40" fmla="*/ 6 w 326"/>
                  <a:gd name="T41" fmla="*/ 207 h 326"/>
                  <a:gd name="T42" fmla="*/ 18 w 326"/>
                  <a:gd name="T43" fmla="*/ 226 h 326"/>
                  <a:gd name="T44" fmla="*/ 313 w 326"/>
                  <a:gd name="T45" fmla="*/ 228 h 326"/>
                  <a:gd name="T46" fmla="*/ 315 w 326"/>
                  <a:gd name="T47" fmla="*/ 206 h 326"/>
                  <a:gd name="T48" fmla="*/ 313 w 326"/>
                  <a:gd name="T49" fmla="*/ 228 h 326"/>
                  <a:gd name="T50" fmla="*/ 0 w 326"/>
                  <a:gd name="T51" fmla="*/ 164 h 326"/>
                  <a:gd name="T52" fmla="*/ 7 w 326"/>
                  <a:gd name="T53" fmla="*/ 185 h 326"/>
                  <a:gd name="T54" fmla="*/ 324 w 326"/>
                  <a:gd name="T55" fmla="*/ 185 h 326"/>
                  <a:gd name="T56" fmla="*/ 321 w 326"/>
                  <a:gd name="T57" fmla="*/ 163 h 326"/>
                  <a:gd name="T58" fmla="*/ 326 w 326"/>
                  <a:gd name="T59" fmla="*/ 163 h 326"/>
                  <a:gd name="T60" fmla="*/ 324 w 326"/>
                  <a:gd name="T61" fmla="*/ 185 h 326"/>
                  <a:gd name="T62" fmla="*/ 1 w 326"/>
                  <a:gd name="T63" fmla="*/ 141 h 326"/>
                  <a:gd name="T64" fmla="*/ 11 w 326"/>
                  <a:gd name="T65" fmla="*/ 121 h 326"/>
                  <a:gd name="T66" fmla="*/ 319 w 326"/>
                  <a:gd name="T67" fmla="*/ 141 h 326"/>
                  <a:gd name="T68" fmla="*/ 320 w 326"/>
                  <a:gd name="T69" fmla="*/ 119 h 326"/>
                  <a:gd name="T70" fmla="*/ 319 w 326"/>
                  <a:gd name="T71" fmla="*/ 141 h 326"/>
                  <a:gd name="T72" fmla="*/ 13 w 326"/>
                  <a:gd name="T73" fmla="*/ 99 h 326"/>
                  <a:gd name="T74" fmla="*/ 28 w 326"/>
                  <a:gd name="T75" fmla="*/ 82 h 326"/>
                  <a:gd name="T76" fmla="*/ 307 w 326"/>
                  <a:gd name="T77" fmla="*/ 100 h 326"/>
                  <a:gd name="T78" fmla="*/ 302 w 326"/>
                  <a:gd name="T79" fmla="*/ 78 h 326"/>
                  <a:gd name="T80" fmla="*/ 307 w 326"/>
                  <a:gd name="T81" fmla="*/ 100 h 326"/>
                  <a:gd name="T82" fmla="*/ 36 w 326"/>
                  <a:gd name="T83" fmla="*/ 61 h 326"/>
                  <a:gd name="T84" fmla="*/ 55 w 326"/>
                  <a:gd name="T85" fmla="*/ 48 h 326"/>
                  <a:gd name="T86" fmla="*/ 285 w 326"/>
                  <a:gd name="T87" fmla="*/ 63 h 326"/>
                  <a:gd name="T88" fmla="*/ 274 w 326"/>
                  <a:gd name="T89" fmla="*/ 44 h 326"/>
                  <a:gd name="T90" fmla="*/ 285 w 326"/>
                  <a:gd name="T91" fmla="*/ 63 h 326"/>
                  <a:gd name="T92" fmla="*/ 69 w 326"/>
                  <a:gd name="T93" fmla="*/ 30 h 326"/>
                  <a:gd name="T94" fmla="*/ 90 w 326"/>
                  <a:gd name="T95" fmla="*/ 23 h 326"/>
                  <a:gd name="T96" fmla="*/ 254 w 326"/>
                  <a:gd name="T97" fmla="*/ 34 h 326"/>
                  <a:gd name="T98" fmla="*/ 238 w 326"/>
                  <a:gd name="T99" fmla="*/ 18 h 326"/>
                  <a:gd name="T100" fmla="*/ 254 w 326"/>
                  <a:gd name="T101" fmla="*/ 34 h 326"/>
                  <a:gd name="T102" fmla="*/ 108 w 326"/>
                  <a:gd name="T103" fmla="*/ 10 h 326"/>
                  <a:gd name="T104" fmla="*/ 130 w 326"/>
                  <a:gd name="T105" fmla="*/ 9 h 326"/>
                  <a:gd name="T106" fmla="*/ 215 w 326"/>
                  <a:gd name="T107" fmla="*/ 15 h 326"/>
                  <a:gd name="T108" fmla="*/ 196 w 326"/>
                  <a:gd name="T109" fmla="*/ 3 h 326"/>
                  <a:gd name="T110" fmla="*/ 215 w 326"/>
                  <a:gd name="T111" fmla="*/ 15 h 326"/>
                  <a:gd name="T112" fmla="*/ 151 w 326"/>
                  <a:gd name="T113" fmla="*/ 1 h 326"/>
                  <a:gd name="T114" fmla="*/ 173 w 326"/>
                  <a:gd name="T115" fmla="*/ 6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26" h="326">
                    <a:moveTo>
                      <a:pt x="152" y="326"/>
                    </a:moveTo>
                    <a:cubicBezTo>
                      <a:pt x="145" y="325"/>
                      <a:pt x="137" y="324"/>
                      <a:pt x="130" y="323"/>
                    </a:cubicBezTo>
                    <a:cubicBezTo>
                      <a:pt x="131" y="318"/>
                      <a:pt x="131" y="318"/>
                      <a:pt x="131" y="318"/>
                    </a:cubicBezTo>
                    <a:cubicBezTo>
                      <a:pt x="138" y="319"/>
                      <a:pt x="145" y="320"/>
                      <a:pt x="152" y="321"/>
                    </a:cubicBezTo>
                    <a:lnTo>
                      <a:pt x="152" y="326"/>
                    </a:lnTo>
                    <a:close/>
                    <a:moveTo>
                      <a:pt x="174" y="326"/>
                    </a:moveTo>
                    <a:cubicBezTo>
                      <a:pt x="174" y="321"/>
                      <a:pt x="174" y="321"/>
                      <a:pt x="174" y="321"/>
                    </a:cubicBezTo>
                    <a:cubicBezTo>
                      <a:pt x="181" y="320"/>
                      <a:pt x="188" y="319"/>
                      <a:pt x="195" y="318"/>
                    </a:cubicBezTo>
                    <a:cubicBezTo>
                      <a:pt x="196" y="323"/>
                      <a:pt x="196" y="323"/>
                      <a:pt x="196" y="323"/>
                    </a:cubicBezTo>
                    <a:cubicBezTo>
                      <a:pt x="189" y="324"/>
                      <a:pt x="182" y="325"/>
                      <a:pt x="174" y="326"/>
                    </a:cubicBezTo>
                    <a:close/>
                    <a:moveTo>
                      <a:pt x="108" y="317"/>
                    </a:moveTo>
                    <a:cubicBezTo>
                      <a:pt x="101" y="314"/>
                      <a:pt x="95" y="312"/>
                      <a:pt x="88" y="308"/>
                    </a:cubicBezTo>
                    <a:cubicBezTo>
                      <a:pt x="91" y="303"/>
                      <a:pt x="91" y="303"/>
                      <a:pt x="91" y="303"/>
                    </a:cubicBezTo>
                    <a:cubicBezTo>
                      <a:pt x="97" y="307"/>
                      <a:pt x="104" y="309"/>
                      <a:pt x="110" y="312"/>
                    </a:cubicBezTo>
                    <a:lnTo>
                      <a:pt x="108" y="317"/>
                    </a:lnTo>
                    <a:close/>
                    <a:moveTo>
                      <a:pt x="218" y="317"/>
                    </a:moveTo>
                    <a:cubicBezTo>
                      <a:pt x="216" y="312"/>
                      <a:pt x="216" y="312"/>
                      <a:pt x="216" y="312"/>
                    </a:cubicBezTo>
                    <a:cubicBezTo>
                      <a:pt x="223" y="309"/>
                      <a:pt x="229" y="306"/>
                      <a:pt x="236" y="303"/>
                    </a:cubicBezTo>
                    <a:cubicBezTo>
                      <a:pt x="238" y="308"/>
                      <a:pt x="238" y="308"/>
                      <a:pt x="238" y="308"/>
                    </a:cubicBezTo>
                    <a:cubicBezTo>
                      <a:pt x="231" y="311"/>
                      <a:pt x="225" y="314"/>
                      <a:pt x="218" y="317"/>
                    </a:cubicBezTo>
                    <a:close/>
                    <a:moveTo>
                      <a:pt x="69" y="297"/>
                    </a:moveTo>
                    <a:cubicBezTo>
                      <a:pt x="63" y="292"/>
                      <a:pt x="57" y="288"/>
                      <a:pt x="52" y="283"/>
                    </a:cubicBezTo>
                    <a:cubicBezTo>
                      <a:pt x="55" y="279"/>
                      <a:pt x="55" y="279"/>
                      <a:pt x="55" y="279"/>
                    </a:cubicBezTo>
                    <a:cubicBezTo>
                      <a:pt x="61" y="283"/>
                      <a:pt x="66" y="288"/>
                      <a:pt x="72" y="292"/>
                    </a:cubicBezTo>
                    <a:lnTo>
                      <a:pt x="69" y="297"/>
                    </a:lnTo>
                    <a:close/>
                    <a:moveTo>
                      <a:pt x="257" y="296"/>
                    </a:moveTo>
                    <a:cubicBezTo>
                      <a:pt x="254" y="292"/>
                      <a:pt x="254" y="292"/>
                      <a:pt x="254" y="292"/>
                    </a:cubicBezTo>
                    <a:cubicBezTo>
                      <a:pt x="260" y="288"/>
                      <a:pt x="265" y="283"/>
                      <a:pt x="271" y="278"/>
                    </a:cubicBezTo>
                    <a:cubicBezTo>
                      <a:pt x="274" y="282"/>
                      <a:pt x="274" y="282"/>
                      <a:pt x="274" y="282"/>
                    </a:cubicBezTo>
                    <a:cubicBezTo>
                      <a:pt x="269" y="287"/>
                      <a:pt x="263" y="292"/>
                      <a:pt x="257" y="296"/>
                    </a:cubicBezTo>
                    <a:close/>
                    <a:moveTo>
                      <a:pt x="37" y="266"/>
                    </a:moveTo>
                    <a:cubicBezTo>
                      <a:pt x="32" y="261"/>
                      <a:pt x="28" y="254"/>
                      <a:pt x="24" y="248"/>
                    </a:cubicBezTo>
                    <a:cubicBezTo>
                      <a:pt x="28" y="245"/>
                      <a:pt x="28" y="245"/>
                      <a:pt x="28" y="245"/>
                    </a:cubicBezTo>
                    <a:cubicBezTo>
                      <a:pt x="32" y="251"/>
                      <a:pt x="36" y="257"/>
                      <a:pt x="41" y="263"/>
                    </a:cubicBezTo>
                    <a:lnTo>
                      <a:pt x="37" y="266"/>
                    </a:lnTo>
                    <a:close/>
                    <a:moveTo>
                      <a:pt x="289" y="266"/>
                    </a:moveTo>
                    <a:cubicBezTo>
                      <a:pt x="285" y="263"/>
                      <a:pt x="285" y="263"/>
                      <a:pt x="285" y="263"/>
                    </a:cubicBezTo>
                    <a:cubicBezTo>
                      <a:pt x="290" y="257"/>
                      <a:pt x="294" y="251"/>
                      <a:pt x="298" y="245"/>
                    </a:cubicBezTo>
                    <a:cubicBezTo>
                      <a:pt x="302" y="248"/>
                      <a:pt x="302" y="248"/>
                      <a:pt x="302" y="248"/>
                    </a:cubicBezTo>
                    <a:cubicBezTo>
                      <a:pt x="298" y="254"/>
                      <a:pt x="294" y="260"/>
                      <a:pt x="289" y="266"/>
                    </a:cubicBezTo>
                    <a:close/>
                    <a:moveTo>
                      <a:pt x="13" y="228"/>
                    </a:moveTo>
                    <a:cubicBezTo>
                      <a:pt x="10" y="222"/>
                      <a:pt x="8" y="215"/>
                      <a:pt x="6" y="207"/>
                    </a:cubicBezTo>
                    <a:cubicBezTo>
                      <a:pt x="11" y="206"/>
                      <a:pt x="11" y="206"/>
                      <a:pt x="11" y="206"/>
                    </a:cubicBezTo>
                    <a:cubicBezTo>
                      <a:pt x="13" y="213"/>
                      <a:pt x="16" y="220"/>
                      <a:pt x="18" y="226"/>
                    </a:cubicBezTo>
                    <a:lnTo>
                      <a:pt x="13" y="228"/>
                    </a:lnTo>
                    <a:close/>
                    <a:moveTo>
                      <a:pt x="313" y="228"/>
                    </a:moveTo>
                    <a:cubicBezTo>
                      <a:pt x="308" y="226"/>
                      <a:pt x="308" y="226"/>
                      <a:pt x="308" y="226"/>
                    </a:cubicBezTo>
                    <a:cubicBezTo>
                      <a:pt x="310" y="219"/>
                      <a:pt x="313" y="213"/>
                      <a:pt x="315" y="206"/>
                    </a:cubicBezTo>
                    <a:cubicBezTo>
                      <a:pt x="320" y="207"/>
                      <a:pt x="320" y="207"/>
                      <a:pt x="320" y="207"/>
                    </a:cubicBezTo>
                    <a:cubicBezTo>
                      <a:pt x="318" y="214"/>
                      <a:pt x="315" y="221"/>
                      <a:pt x="313" y="228"/>
                    </a:cubicBezTo>
                    <a:close/>
                    <a:moveTo>
                      <a:pt x="1" y="186"/>
                    </a:moveTo>
                    <a:cubicBezTo>
                      <a:pt x="0" y="178"/>
                      <a:pt x="0" y="171"/>
                      <a:pt x="0" y="164"/>
                    </a:cubicBezTo>
                    <a:cubicBezTo>
                      <a:pt x="5" y="163"/>
                      <a:pt x="5" y="163"/>
                      <a:pt x="5" y="163"/>
                    </a:cubicBezTo>
                    <a:cubicBezTo>
                      <a:pt x="5" y="171"/>
                      <a:pt x="6" y="178"/>
                      <a:pt x="7" y="185"/>
                    </a:cubicBezTo>
                    <a:lnTo>
                      <a:pt x="1" y="186"/>
                    </a:lnTo>
                    <a:close/>
                    <a:moveTo>
                      <a:pt x="324" y="185"/>
                    </a:moveTo>
                    <a:cubicBezTo>
                      <a:pt x="319" y="185"/>
                      <a:pt x="319" y="185"/>
                      <a:pt x="319" y="185"/>
                    </a:cubicBezTo>
                    <a:cubicBezTo>
                      <a:pt x="320" y="178"/>
                      <a:pt x="321" y="170"/>
                      <a:pt x="321" y="163"/>
                    </a:cubicBezTo>
                    <a:cubicBezTo>
                      <a:pt x="321" y="163"/>
                      <a:pt x="321" y="163"/>
                      <a:pt x="321" y="163"/>
                    </a:cubicBezTo>
                    <a:cubicBezTo>
                      <a:pt x="326" y="163"/>
                      <a:pt x="326" y="163"/>
                      <a:pt x="326" y="163"/>
                    </a:cubicBezTo>
                    <a:cubicBezTo>
                      <a:pt x="326" y="163"/>
                      <a:pt x="326" y="163"/>
                      <a:pt x="326" y="163"/>
                    </a:cubicBezTo>
                    <a:cubicBezTo>
                      <a:pt x="326" y="171"/>
                      <a:pt x="325" y="178"/>
                      <a:pt x="324" y="185"/>
                    </a:cubicBezTo>
                    <a:close/>
                    <a:moveTo>
                      <a:pt x="7" y="142"/>
                    </a:moveTo>
                    <a:cubicBezTo>
                      <a:pt x="1" y="141"/>
                      <a:pt x="1" y="141"/>
                      <a:pt x="1" y="141"/>
                    </a:cubicBezTo>
                    <a:cubicBezTo>
                      <a:pt x="2" y="134"/>
                      <a:pt x="4" y="127"/>
                      <a:pt x="6" y="120"/>
                    </a:cubicBezTo>
                    <a:cubicBezTo>
                      <a:pt x="11" y="121"/>
                      <a:pt x="11" y="121"/>
                      <a:pt x="11" y="121"/>
                    </a:cubicBezTo>
                    <a:cubicBezTo>
                      <a:pt x="9" y="128"/>
                      <a:pt x="8" y="135"/>
                      <a:pt x="7" y="142"/>
                    </a:cubicBezTo>
                    <a:close/>
                    <a:moveTo>
                      <a:pt x="319" y="141"/>
                    </a:moveTo>
                    <a:cubicBezTo>
                      <a:pt x="318" y="134"/>
                      <a:pt x="317" y="127"/>
                      <a:pt x="315" y="120"/>
                    </a:cubicBezTo>
                    <a:cubicBezTo>
                      <a:pt x="320" y="119"/>
                      <a:pt x="320" y="119"/>
                      <a:pt x="320" y="119"/>
                    </a:cubicBezTo>
                    <a:cubicBezTo>
                      <a:pt x="322" y="126"/>
                      <a:pt x="323" y="133"/>
                      <a:pt x="324" y="140"/>
                    </a:cubicBezTo>
                    <a:lnTo>
                      <a:pt x="319" y="141"/>
                    </a:lnTo>
                    <a:close/>
                    <a:moveTo>
                      <a:pt x="18" y="101"/>
                    </a:moveTo>
                    <a:cubicBezTo>
                      <a:pt x="13" y="99"/>
                      <a:pt x="13" y="99"/>
                      <a:pt x="13" y="99"/>
                    </a:cubicBezTo>
                    <a:cubicBezTo>
                      <a:pt x="16" y="92"/>
                      <a:pt x="20" y="85"/>
                      <a:pt x="23" y="79"/>
                    </a:cubicBezTo>
                    <a:cubicBezTo>
                      <a:pt x="28" y="82"/>
                      <a:pt x="28" y="82"/>
                      <a:pt x="28" y="82"/>
                    </a:cubicBezTo>
                    <a:cubicBezTo>
                      <a:pt x="24" y="88"/>
                      <a:pt x="21" y="94"/>
                      <a:pt x="18" y="101"/>
                    </a:cubicBezTo>
                    <a:close/>
                    <a:moveTo>
                      <a:pt x="307" y="100"/>
                    </a:moveTo>
                    <a:cubicBezTo>
                      <a:pt x="305" y="93"/>
                      <a:pt x="301" y="87"/>
                      <a:pt x="297" y="81"/>
                    </a:cubicBezTo>
                    <a:cubicBezTo>
                      <a:pt x="302" y="78"/>
                      <a:pt x="302" y="78"/>
                      <a:pt x="302" y="78"/>
                    </a:cubicBezTo>
                    <a:cubicBezTo>
                      <a:pt x="306" y="84"/>
                      <a:pt x="309" y="91"/>
                      <a:pt x="312" y="98"/>
                    </a:cubicBezTo>
                    <a:lnTo>
                      <a:pt x="307" y="100"/>
                    </a:lnTo>
                    <a:close/>
                    <a:moveTo>
                      <a:pt x="40" y="64"/>
                    </a:moveTo>
                    <a:cubicBezTo>
                      <a:pt x="36" y="61"/>
                      <a:pt x="36" y="61"/>
                      <a:pt x="36" y="61"/>
                    </a:cubicBezTo>
                    <a:cubicBezTo>
                      <a:pt x="41" y="55"/>
                      <a:pt x="46" y="49"/>
                      <a:pt x="51" y="44"/>
                    </a:cubicBezTo>
                    <a:cubicBezTo>
                      <a:pt x="55" y="48"/>
                      <a:pt x="55" y="48"/>
                      <a:pt x="55" y="48"/>
                    </a:cubicBezTo>
                    <a:cubicBezTo>
                      <a:pt x="50" y="53"/>
                      <a:pt x="45" y="58"/>
                      <a:pt x="40" y="64"/>
                    </a:cubicBezTo>
                    <a:close/>
                    <a:moveTo>
                      <a:pt x="285" y="63"/>
                    </a:moveTo>
                    <a:cubicBezTo>
                      <a:pt x="280" y="58"/>
                      <a:pt x="275" y="53"/>
                      <a:pt x="270" y="48"/>
                    </a:cubicBezTo>
                    <a:cubicBezTo>
                      <a:pt x="274" y="44"/>
                      <a:pt x="274" y="44"/>
                      <a:pt x="274" y="44"/>
                    </a:cubicBezTo>
                    <a:cubicBezTo>
                      <a:pt x="279" y="49"/>
                      <a:pt x="284" y="54"/>
                      <a:pt x="289" y="60"/>
                    </a:cubicBezTo>
                    <a:lnTo>
                      <a:pt x="285" y="63"/>
                    </a:lnTo>
                    <a:close/>
                    <a:moveTo>
                      <a:pt x="72" y="35"/>
                    </a:moveTo>
                    <a:cubicBezTo>
                      <a:pt x="69" y="30"/>
                      <a:pt x="69" y="30"/>
                      <a:pt x="69" y="30"/>
                    </a:cubicBezTo>
                    <a:cubicBezTo>
                      <a:pt x="75" y="26"/>
                      <a:pt x="81" y="22"/>
                      <a:pt x="88" y="19"/>
                    </a:cubicBezTo>
                    <a:cubicBezTo>
                      <a:pt x="90" y="23"/>
                      <a:pt x="90" y="23"/>
                      <a:pt x="90" y="23"/>
                    </a:cubicBezTo>
                    <a:cubicBezTo>
                      <a:pt x="84" y="27"/>
                      <a:pt x="78" y="30"/>
                      <a:pt x="72" y="35"/>
                    </a:cubicBezTo>
                    <a:close/>
                    <a:moveTo>
                      <a:pt x="254" y="34"/>
                    </a:moveTo>
                    <a:cubicBezTo>
                      <a:pt x="248" y="30"/>
                      <a:pt x="241" y="26"/>
                      <a:pt x="235" y="23"/>
                    </a:cubicBezTo>
                    <a:cubicBezTo>
                      <a:pt x="238" y="18"/>
                      <a:pt x="238" y="18"/>
                      <a:pt x="238" y="18"/>
                    </a:cubicBezTo>
                    <a:cubicBezTo>
                      <a:pt x="244" y="22"/>
                      <a:pt x="251" y="26"/>
                      <a:pt x="257" y="30"/>
                    </a:cubicBezTo>
                    <a:lnTo>
                      <a:pt x="254" y="34"/>
                    </a:lnTo>
                    <a:close/>
                    <a:moveTo>
                      <a:pt x="110" y="15"/>
                    </a:moveTo>
                    <a:cubicBezTo>
                      <a:pt x="108" y="10"/>
                      <a:pt x="108" y="10"/>
                      <a:pt x="108" y="10"/>
                    </a:cubicBezTo>
                    <a:cubicBezTo>
                      <a:pt x="115" y="7"/>
                      <a:pt x="122" y="5"/>
                      <a:pt x="129" y="4"/>
                    </a:cubicBezTo>
                    <a:cubicBezTo>
                      <a:pt x="130" y="9"/>
                      <a:pt x="130" y="9"/>
                      <a:pt x="130" y="9"/>
                    </a:cubicBezTo>
                    <a:cubicBezTo>
                      <a:pt x="123" y="10"/>
                      <a:pt x="117" y="12"/>
                      <a:pt x="110" y="15"/>
                    </a:cubicBezTo>
                    <a:close/>
                    <a:moveTo>
                      <a:pt x="215" y="15"/>
                    </a:moveTo>
                    <a:cubicBezTo>
                      <a:pt x="209" y="12"/>
                      <a:pt x="202" y="10"/>
                      <a:pt x="195" y="9"/>
                    </a:cubicBezTo>
                    <a:cubicBezTo>
                      <a:pt x="196" y="3"/>
                      <a:pt x="196" y="3"/>
                      <a:pt x="196" y="3"/>
                    </a:cubicBezTo>
                    <a:cubicBezTo>
                      <a:pt x="203" y="5"/>
                      <a:pt x="210" y="7"/>
                      <a:pt x="217" y="9"/>
                    </a:cubicBezTo>
                    <a:lnTo>
                      <a:pt x="215" y="15"/>
                    </a:lnTo>
                    <a:close/>
                    <a:moveTo>
                      <a:pt x="152" y="6"/>
                    </a:moveTo>
                    <a:cubicBezTo>
                      <a:pt x="151" y="1"/>
                      <a:pt x="151" y="1"/>
                      <a:pt x="151" y="1"/>
                    </a:cubicBezTo>
                    <a:cubicBezTo>
                      <a:pt x="159" y="0"/>
                      <a:pt x="166" y="0"/>
                      <a:pt x="174" y="1"/>
                    </a:cubicBezTo>
                    <a:cubicBezTo>
                      <a:pt x="173" y="6"/>
                      <a:pt x="173" y="6"/>
                      <a:pt x="173" y="6"/>
                    </a:cubicBezTo>
                    <a:cubicBezTo>
                      <a:pt x="166" y="5"/>
                      <a:pt x="159" y="5"/>
                      <a:pt x="152" y="6"/>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160" name="Oval 159"/>
              <p:cNvSpPr>
                <a:spLocks noChangeArrowheads="1"/>
              </p:cNvSpPr>
              <p:nvPr/>
            </p:nvSpPr>
            <p:spPr bwMode="auto">
              <a:xfrm>
                <a:off x="7720932" y="2176464"/>
                <a:ext cx="502249" cy="504898"/>
              </a:xfrm>
              <a:prstGeom prst="ellipse">
                <a:avLst/>
              </a:prstGeom>
              <a:solidFill>
                <a:srgbClr val="E6E6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161" name="Freeform 160"/>
              <p:cNvSpPr>
                <a:spLocks noEditPoints="1"/>
              </p:cNvSpPr>
              <p:nvPr/>
            </p:nvSpPr>
            <p:spPr bwMode="auto">
              <a:xfrm>
                <a:off x="7715631" y="2171163"/>
                <a:ext cx="514175" cy="514175"/>
              </a:xfrm>
              <a:custGeom>
                <a:avLst/>
                <a:gdLst>
                  <a:gd name="T0" fmla="*/ 138 w 277"/>
                  <a:gd name="T1" fmla="*/ 277 h 277"/>
                  <a:gd name="T2" fmla="*/ 118 w 277"/>
                  <a:gd name="T3" fmla="*/ 270 h 277"/>
                  <a:gd name="T4" fmla="*/ 139 w 277"/>
                  <a:gd name="T5" fmla="*/ 277 h 277"/>
                  <a:gd name="T6" fmla="*/ 159 w 277"/>
                  <a:gd name="T7" fmla="*/ 270 h 277"/>
                  <a:gd name="T8" fmla="*/ 181 w 277"/>
                  <a:gd name="T9" fmla="*/ 270 h 277"/>
                  <a:gd name="T10" fmla="*/ 96 w 277"/>
                  <a:gd name="T11" fmla="*/ 271 h 277"/>
                  <a:gd name="T12" fmla="*/ 78 w 277"/>
                  <a:gd name="T13" fmla="*/ 257 h 277"/>
                  <a:gd name="T14" fmla="*/ 96 w 277"/>
                  <a:gd name="T15" fmla="*/ 271 h 277"/>
                  <a:gd name="T16" fmla="*/ 199 w 277"/>
                  <a:gd name="T17" fmla="*/ 257 h 277"/>
                  <a:gd name="T18" fmla="*/ 220 w 277"/>
                  <a:gd name="T19" fmla="*/ 251 h 277"/>
                  <a:gd name="T20" fmla="*/ 57 w 277"/>
                  <a:gd name="T21" fmla="*/ 251 h 277"/>
                  <a:gd name="T22" fmla="*/ 44 w 277"/>
                  <a:gd name="T23" fmla="*/ 233 h 277"/>
                  <a:gd name="T24" fmla="*/ 57 w 277"/>
                  <a:gd name="T25" fmla="*/ 251 h 277"/>
                  <a:gd name="T26" fmla="*/ 233 w 277"/>
                  <a:gd name="T27" fmla="*/ 233 h 277"/>
                  <a:gd name="T28" fmla="*/ 251 w 277"/>
                  <a:gd name="T29" fmla="*/ 220 h 277"/>
                  <a:gd name="T30" fmla="*/ 26 w 277"/>
                  <a:gd name="T31" fmla="*/ 220 h 277"/>
                  <a:gd name="T32" fmla="*/ 20 w 277"/>
                  <a:gd name="T33" fmla="*/ 199 h 277"/>
                  <a:gd name="T34" fmla="*/ 26 w 277"/>
                  <a:gd name="T35" fmla="*/ 220 h 277"/>
                  <a:gd name="T36" fmla="*/ 257 w 277"/>
                  <a:gd name="T37" fmla="*/ 199 h 277"/>
                  <a:gd name="T38" fmla="*/ 270 w 277"/>
                  <a:gd name="T39" fmla="*/ 182 h 277"/>
                  <a:gd name="T40" fmla="*/ 7 w 277"/>
                  <a:gd name="T41" fmla="*/ 182 h 277"/>
                  <a:gd name="T42" fmla="*/ 7 w 277"/>
                  <a:gd name="T43" fmla="*/ 160 h 277"/>
                  <a:gd name="T44" fmla="*/ 7 w 277"/>
                  <a:gd name="T45" fmla="*/ 182 h 277"/>
                  <a:gd name="T46" fmla="*/ 270 w 277"/>
                  <a:gd name="T47" fmla="*/ 160 h 277"/>
                  <a:gd name="T48" fmla="*/ 272 w 277"/>
                  <a:gd name="T49" fmla="*/ 138 h 277"/>
                  <a:gd name="T50" fmla="*/ 277 w 277"/>
                  <a:gd name="T51" fmla="*/ 139 h 277"/>
                  <a:gd name="T52" fmla="*/ 5 w 277"/>
                  <a:gd name="T53" fmla="*/ 139 h 277"/>
                  <a:gd name="T54" fmla="*/ 0 w 277"/>
                  <a:gd name="T55" fmla="*/ 139 h 277"/>
                  <a:gd name="T56" fmla="*/ 7 w 277"/>
                  <a:gd name="T57" fmla="*/ 118 h 277"/>
                  <a:gd name="T58" fmla="*/ 270 w 277"/>
                  <a:gd name="T59" fmla="*/ 117 h 277"/>
                  <a:gd name="T60" fmla="*/ 270 w 277"/>
                  <a:gd name="T61" fmla="*/ 95 h 277"/>
                  <a:gd name="T62" fmla="*/ 270 w 277"/>
                  <a:gd name="T63" fmla="*/ 117 h 277"/>
                  <a:gd name="T64" fmla="*/ 7 w 277"/>
                  <a:gd name="T65" fmla="*/ 96 h 277"/>
                  <a:gd name="T66" fmla="*/ 20 w 277"/>
                  <a:gd name="T67" fmla="*/ 79 h 277"/>
                  <a:gd name="T68" fmla="*/ 257 w 277"/>
                  <a:gd name="T69" fmla="*/ 78 h 277"/>
                  <a:gd name="T70" fmla="*/ 250 w 277"/>
                  <a:gd name="T71" fmla="*/ 57 h 277"/>
                  <a:gd name="T72" fmla="*/ 257 w 277"/>
                  <a:gd name="T73" fmla="*/ 78 h 277"/>
                  <a:gd name="T74" fmla="*/ 26 w 277"/>
                  <a:gd name="T75" fmla="*/ 58 h 277"/>
                  <a:gd name="T76" fmla="*/ 44 w 277"/>
                  <a:gd name="T77" fmla="*/ 45 h 277"/>
                  <a:gd name="T78" fmla="*/ 232 w 277"/>
                  <a:gd name="T79" fmla="*/ 44 h 277"/>
                  <a:gd name="T80" fmla="*/ 219 w 277"/>
                  <a:gd name="T81" fmla="*/ 26 h 277"/>
                  <a:gd name="T82" fmla="*/ 232 w 277"/>
                  <a:gd name="T83" fmla="*/ 44 h 277"/>
                  <a:gd name="T84" fmla="*/ 57 w 277"/>
                  <a:gd name="T85" fmla="*/ 27 h 277"/>
                  <a:gd name="T86" fmla="*/ 78 w 277"/>
                  <a:gd name="T87" fmla="*/ 20 h 277"/>
                  <a:gd name="T88" fmla="*/ 198 w 277"/>
                  <a:gd name="T89" fmla="*/ 20 h 277"/>
                  <a:gd name="T90" fmla="*/ 181 w 277"/>
                  <a:gd name="T91" fmla="*/ 7 h 277"/>
                  <a:gd name="T92" fmla="*/ 198 w 277"/>
                  <a:gd name="T93" fmla="*/ 20 h 277"/>
                  <a:gd name="T94" fmla="*/ 95 w 277"/>
                  <a:gd name="T95" fmla="*/ 7 h 277"/>
                  <a:gd name="T96" fmla="*/ 117 w 277"/>
                  <a:gd name="T97" fmla="*/ 7 h 277"/>
                  <a:gd name="T98" fmla="*/ 159 w 277"/>
                  <a:gd name="T99" fmla="*/ 7 h 277"/>
                  <a:gd name="T100" fmla="*/ 138 w 277"/>
                  <a:gd name="T101" fmla="*/ 6 h 277"/>
                  <a:gd name="T102" fmla="*/ 138 w 277"/>
                  <a:gd name="T103" fmla="*/ 0 h 277"/>
                  <a:gd name="T104" fmla="*/ 159 w 277"/>
                  <a:gd name="T105" fmla="*/ 7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77" h="277">
                    <a:moveTo>
                      <a:pt x="139" y="277"/>
                    </a:moveTo>
                    <a:cubicBezTo>
                      <a:pt x="138" y="277"/>
                      <a:pt x="138" y="277"/>
                      <a:pt x="138" y="277"/>
                    </a:cubicBezTo>
                    <a:cubicBezTo>
                      <a:pt x="131" y="277"/>
                      <a:pt x="124" y="277"/>
                      <a:pt x="117" y="276"/>
                    </a:cubicBezTo>
                    <a:cubicBezTo>
                      <a:pt x="118" y="270"/>
                      <a:pt x="118" y="270"/>
                      <a:pt x="118" y="270"/>
                    </a:cubicBezTo>
                    <a:cubicBezTo>
                      <a:pt x="125" y="271"/>
                      <a:pt x="131" y="272"/>
                      <a:pt x="138" y="272"/>
                    </a:cubicBezTo>
                    <a:lnTo>
                      <a:pt x="139" y="277"/>
                    </a:lnTo>
                    <a:close/>
                    <a:moveTo>
                      <a:pt x="160" y="276"/>
                    </a:moveTo>
                    <a:cubicBezTo>
                      <a:pt x="159" y="270"/>
                      <a:pt x="159" y="270"/>
                      <a:pt x="159" y="270"/>
                    </a:cubicBezTo>
                    <a:cubicBezTo>
                      <a:pt x="166" y="269"/>
                      <a:pt x="173" y="268"/>
                      <a:pt x="180" y="265"/>
                    </a:cubicBezTo>
                    <a:cubicBezTo>
                      <a:pt x="181" y="270"/>
                      <a:pt x="181" y="270"/>
                      <a:pt x="181" y="270"/>
                    </a:cubicBezTo>
                    <a:cubicBezTo>
                      <a:pt x="174" y="273"/>
                      <a:pt x="167" y="274"/>
                      <a:pt x="160" y="276"/>
                    </a:cubicBezTo>
                    <a:close/>
                    <a:moveTo>
                      <a:pt x="96" y="271"/>
                    </a:moveTo>
                    <a:cubicBezTo>
                      <a:pt x="89" y="268"/>
                      <a:pt x="82" y="266"/>
                      <a:pt x="76" y="262"/>
                    </a:cubicBezTo>
                    <a:cubicBezTo>
                      <a:pt x="78" y="257"/>
                      <a:pt x="78" y="257"/>
                      <a:pt x="78" y="257"/>
                    </a:cubicBezTo>
                    <a:cubicBezTo>
                      <a:pt x="84" y="261"/>
                      <a:pt x="91" y="263"/>
                      <a:pt x="97" y="265"/>
                    </a:cubicBezTo>
                    <a:lnTo>
                      <a:pt x="96" y="271"/>
                    </a:lnTo>
                    <a:close/>
                    <a:moveTo>
                      <a:pt x="201" y="262"/>
                    </a:moveTo>
                    <a:cubicBezTo>
                      <a:pt x="199" y="257"/>
                      <a:pt x="199" y="257"/>
                      <a:pt x="199" y="257"/>
                    </a:cubicBezTo>
                    <a:cubicBezTo>
                      <a:pt x="205" y="254"/>
                      <a:pt x="211" y="251"/>
                      <a:pt x="217" y="246"/>
                    </a:cubicBezTo>
                    <a:cubicBezTo>
                      <a:pt x="220" y="251"/>
                      <a:pt x="220" y="251"/>
                      <a:pt x="220" y="251"/>
                    </a:cubicBezTo>
                    <a:cubicBezTo>
                      <a:pt x="214" y="255"/>
                      <a:pt x="208" y="259"/>
                      <a:pt x="201" y="262"/>
                    </a:cubicBezTo>
                    <a:close/>
                    <a:moveTo>
                      <a:pt x="57" y="251"/>
                    </a:moveTo>
                    <a:cubicBezTo>
                      <a:pt x="51" y="247"/>
                      <a:pt x="46" y="242"/>
                      <a:pt x="41" y="237"/>
                    </a:cubicBezTo>
                    <a:cubicBezTo>
                      <a:pt x="44" y="233"/>
                      <a:pt x="44" y="233"/>
                      <a:pt x="44" y="233"/>
                    </a:cubicBezTo>
                    <a:cubicBezTo>
                      <a:pt x="49" y="238"/>
                      <a:pt x="55" y="242"/>
                      <a:pt x="60" y="247"/>
                    </a:cubicBezTo>
                    <a:lnTo>
                      <a:pt x="57" y="251"/>
                    </a:lnTo>
                    <a:close/>
                    <a:moveTo>
                      <a:pt x="236" y="237"/>
                    </a:moveTo>
                    <a:cubicBezTo>
                      <a:pt x="233" y="233"/>
                      <a:pt x="233" y="233"/>
                      <a:pt x="233" y="233"/>
                    </a:cubicBezTo>
                    <a:cubicBezTo>
                      <a:pt x="238" y="228"/>
                      <a:pt x="242" y="223"/>
                      <a:pt x="246" y="217"/>
                    </a:cubicBezTo>
                    <a:cubicBezTo>
                      <a:pt x="251" y="220"/>
                      <a:pt x="251" y="220"/>
                      <a:pt x="251" y="220"/>
                    </a:cubicBezTo>
                    <a:cubicBezTo>
                      <a:pt x="246" y="226"/>
                      <a:pt x="242" y="232"/>
                      <a:pt x="236" y="237"/>
                    </a:cubicBezTo>
                    <a:close/>
                    <a:moveTo>
                      <a:pt x="26" y="220"/>
                    </a:moveTo>
                    <a:cubicBezTo>
                      <a:pt x="22" y="215"/>
                      <a:pt x="18" y="208"/>
                      <a:pt x="15" y="202"/>
                    </a:cubicBezTo>
                    <a:cubicBezTo>
                      <a:pt x="20" y="199"/>
                      <a:pt x="20" y="199"/>
                      <a:pt x="20" y="199"/>
                    </a:cubicBezTo>
                    <a:cubicBezTo>
                      <a:pt x="23" y="206"/>
                      <a:pt x="27" y="212"/>
                      <a:pt x="31" y="217"/>
                    </a:cubicBezTo>
                    <a:lnTo>
                      <a:pt x="26" y="220"/>
                    </a:lnTo>
                    <a:close/>
                    <a:moveTo>
                      <a:pt x="262" y="202"/>
                    </a:moveTo>
                    <a:cubicBezTo>
                      <a:pt x="257" y="199"/>
                      <a:pt x="257" y="199"/>
                      <a:pt x="257" y="199"/>
                    </a:cubicBezTo>
                    <a:cubicBezTo>
                      <a:pt x="260" y="193"/>
                      <a:pt x="263" y="186"/>
                      <a:pt x="265" y="180"/>
                    </a:cubicBezTo>
                    <a:cubicBezTo>
                      <a:pt x="270" y="182"/>
                      <a:pt x="270" y="182"/>
                      <a:pt x="270" y="182"/>
                    </a:cubicBezTo>
                    <a:cubicBezTo>
                      <a:pt x="268" y="188"/>
                      <a:pt x="265" y="195"/>
                      <a:pt x="262" y="202"/>
                    </a:cubicBezTo>
                    <a:close/>
                    <a:moveTo>
                      <a:pt x="7" y="182"/>
                    </a:moveTo>
                    <a:cubicBezTo>
                      <a:pt x="4" y="175"/>
                      <a:pt x="3" y="168"/>
                      <a:pt x="2" y="161"/>
                    </a:cubicBezTo>
                    <a:cubicBezTo>
                      <a:pt x="7" y="160"/>
                      <a:pt x="7" y="160"/>
                      <a:pt x="7" y="160"/>
                    </a:cubicBezTo>
                    <a:cubicBezTo>
                      <a:pt x="8" y="167"/>
                      <a:pt x="10" y="174"/>
                      <a:pt x="12" y="180"/>
                    </a:cubicBezTo>
                    <a:lnTo>
                      <a:pt x="7" y="182"/>
                    </a:lnTo>
                    <a:close/>
                    <a:moveTo>
                      <a:pt x="275" y="160"/>
                    </a:moveTo>
                    <a:cubicBezTo>
                      <a:pt x="270" y="160"/>
                      <a:pt x="270" y="160"/>
                      <a:pt x="270" y="160"/>
                    </a:cubicBezTo>
                    <a:cubicBezTo>
                      <a:pt x="271" y="153"/>
                      <a:pt x="272" y="146"/>
                      <a:pt x="272" y="139"/>
                    </a:cubicBezTo>
                    <a:cubicBezTo>
                      <a:pt x="272" y="138"/>
                      <a:pt x="272" y="138"/>
                      <a:pt x="272" y="138"/>
                    </a:cubicBezTo>
                    <a:cubicBezTo>
                      <a:pt x="277" y="138"/>
                      <a:pt x="277" y="138"/>
                      <a:pt x="277" y="138"/>
                    </a:cubicBezTo>
                    <a:cubicBezTo>
                      <a:pt x="277" y="139"/>
                      <a:pt x="277" y="139"/>
                      <a:pt x="277" y="139"/>
                    </a:cubicBezTo>
                    <a:cubicBezTo>
                      <a:pt x="277" y="146"/>
                      <a:pt x="276" y="153"/>
                      <a:pt x="275" y="160"/>
                    </a:cubicBezTo>
                    <a:close/>
                    <a:moveTo>
                      <a:pt x="5" y="139"/>
                    </a:moveTo>
                    <a:cubicBezTo>
                      <a:pt x="0" y="139"/>
                      <a:pt x="0" y="139"/>
                      <a:pt x="0" y="139"/>
                    </a:cubicBezTo>
                    <a:cubicBezTo>
                      <a:pt x="0" y="139"/>
                      <a:pt x="0" y="139"/>
                      <a:pt x="0" y="139"/>
                    </a:cubicBezTo>
                    <a:cubicBezTo>
                      <a:pt x="0" y="132"/>
                      <a:pt x="0" y="124"/>
                      <a:pt x="2" y="117"/>
                    </a:cubicBezTo>
                    <a:cubicBezTo>
                      <a:pt x="7" y="118"/>
                      <a:pt x="7" y="118"/>
                      <a:pt x="7" y="118"/>
                    </a:cubicBezTo>
                    <a:cubicBezTo>
                      <a:pt x="6" y="125"/>
                      <a:pt x="5" y="132"/>
                      <a:pt x="5" y="139"/>
                    </a:cubicBezTo>
                    <a:close/>
                    <a:moveTo>
                      <a:pt x="270" y="117"/>
                    </a:moveTo>
                    <a:cubicBezTo>
                      <a:pt x="269" y="111"/>
                      <a:pt x="267" y="104"/>
                      <a:pt x="265" y="97"/>
                    </a:cubicBezTo>
                    <a:cubicBezTo>
                      <a:pt x="270" y="95"/>
                      <a:pt x="270" y="95"/>
                      <a:pt x="270" y="95"/>
                    </a:cubicBezTo>
                    <a:cubicBezTo>
                      <a:pt x="272" y="102"/>
                      <a:pt x="274" y="109"/>
                      <a:pt x="275" y="117"/>
                    </a:cubicBezTo>
                    <a:lnTo>
                      <a:pt x="270" y="117"/>
                    </a:lnTo>
                    <a:close/>
                    <a:moveTo>
                      <a:pt x="12" y="98"/>
                    </a:moveTo>
                    <a:cubicBezTo>
                      <a:pt x="7" y="96"/>
                      <a:pt x="7" y="96"/>
                      <a:pt x="7" y="96"/>
                    </a:cubicBezTo>
                    <a:cubicBezTo>
                      <a:pt x="9" y="89"/>
                      <a:pt x="12" y="83"/>
                      <a:pt x="15" y="76"/>
                    </a:cubicBezTo>
                    <a:cubicBezTo>
                      <a:pt x="20" y="79"/>
                      <a:pt x="20" y="79"/>
                      <a:pt x="20" y="79"/>
                    </a:cubicBezTo>
                    <a:cubicBezTo>
                      <a:pt x="16" y="85"/>
                      <a:pt x="14" y="91"/>
                      <a:pt x="12" y="98"/>
                    </a:cubicBezTo>
                    <a:close/>
                    <a:moveTo>
                      <a:pt x="257" y="78"/>
                    </a:moveTo>
                    <a:cubicBezTo>
                      <a:pt x="254" y="72"/>
                      <a:pt x="250" y="66"/>
                      <a:pt x="246" y="60"/>
                    </a:cubicBezTo>
                    <a:cubicBezTo>
                      <a:pt x="250" y="57"/>
                      <a:pt x="250" y="57"/>
                      <a:pt x="250" y="57"/>
                    </a:cubicBezTo>
                    <a:cubicBezTo>
                      <a:pt x="254" y="63"/>
                      <a:pt x="258" y="69"/>
                      <a:pt x="262" y="75"/>
                    </a:cubicBezTo>
                    <a:lnTo>
                      <a:pt x="257" y="78"/>
                    </a:lnTo>
                    <a:close/>
                    <a:moveTo>
                      <a:pt x="31" y="61"/>
                    </a:moveTo>
                    <a:cubicBezTo>
                      <a:pt x="26" y="58"/>
                      <a:pt x="26" y="58"/>
                      <a:pt x="26" y="58"/>
                    </a:cubicBezTo>
                    <a:cubicBezTo>
                      <a:pt x="30" y="52"/>
                      <a:pt x="35" y="46"/>
                      <a:pt x="40" y="41"/>
                    </a:cubicBezTo>
                    <a:cubicBezTo>
                      <a:pt x="44" y="45"/>
                      <a:pt x="44" y="45"/>
                      <a:pt x="44" y="45"/>
                    </a:cubicBezTo>
                    <a:cubicBezTo>
                      <a:pt x="39" y="50"/>
                      <a:pt x="35" y="55"/>
                      <a:pt x="31" y="61"/>
                    </a:cubicBezTo>
                    <a:close/>
                    <a:moveTo>
                      <a:pt x="232" y="44"/>
                    </a:moveTo>
                    <a:cubicBezTo>
                      <a:pt x="227" y="39"/>
                      <a:pt x="222" y="35"/>
                      <a:pt x="216" y="31"/>
                    </a:cubicBezTo>
                    <a:cubicBezTo>
                      <a:pt x="219" y="26"/>
                      <a:pt x="219" y="26"/>
                      <a:pt x="219" y="26"/>
                    </a:cubicBezTo>
                    <a:cubicBezTo>
                      <a:pt x="225" y="31"/>
                      <a:pt x="231" y="35"/>
                      <a:pt x="236" y="40"/>
                    </a:cubicBezTo>
                    <a:lnTo>
                      <a:pt x="232" y="44"/>
                    </a:lnTo>
                    <a:close/>
                    <a:moveTo>
                      <a:pt x="60" y="31"/>
                    </a:moveTo>
                    <a:cubicBezTo>
                      <a:pt x="57" y="27"/>
                      <a:pt x="57" y="27"/>
                      <a:pt x="57" y="27"/>
                    </a:cubicBezTo>
                    <a:cubicBezTo>
                      <a:pt x="63" y="23"/>
                      <a:pt x="69" y="19"/>
                      <a:pt x="75" y="15"/>
                    </a:cubicBezTo>
                    <a:cubicBezTo>
                      <a:pt x="78" y="20"/>
                      <a:pt x="78" y="20"/>
                      <a:pt x="78" y="20"/>
                    </a:cubicBezTo>
                    <a:cubicBezTo>
                      <a:pt x="71" y="23"/>
                      <a:pt x="65" y="27"/>
                      <a:pt x="60" y="31"/>
                    </a:cubicBezTo>
                    <a:close/>
                    <a:moveTo>
                      <a:pt x="198" y="20"/>
                    </a:moveTo>
                    <a:cubicBezTo>
                      <a:pt x="192" y="17"/>
                      <a:pt x="186" y="14"/>
                      <a:pt x="179" y="12"/>
                    </a:cubicBezTo>
                    <a:cubicBezTo>
                      <a:pt x="181" y="7"/>
                      <a:pt x="181" y="7"/>
                      <a:pt x="181" y="7"/>
                    </a:cubicBezTo>
                    <a:cubicBezTo>
                      <a:pt x="188" y="9"/>
                      <a:pt x="194" y="12"/>
                      <a:pt x="201" y="15"/>
                    </a:cubicBezTo>
                    <a:lnTo>
                      <a:pt x="198" y="20"/>
                    </a:lnTo>
                    <a:close/>
                    <a:moveTo>
                      <a:pt x="97" y="12"/>
                    </a:moveTo>
                    <a:cubicBezTo>
                      <a:pt x="95" y="7"/>
                      <a:pt x="95" y="7"/>
                      <a:pt x="95" y="7"/>
                    </a:cubicBezTo>
                    <a:cubicBezTo>
                      <a:pt x="102" y="5"/>
                      <a:pt x="109" y="3"/>
                      <a:pt x="116" y="2"/>
                    </a:cubicBezTo>
                    <a:cubicBezTo>
                      <a:pt x="117" y="7"/>
                      <a:pt x="117" y="7"/>
                      <a:pt x="117" y="7"/>
                    </a:cubicBezTo>
                    <a:cubicBezTo>
                      <a:pt x="110" y="8"/>
                      <a:pt x="103" y="10"/>
                      <a:pt x="97" y="12"/>
                    </a:cubicBezTo>
                    <a:close/>
                    <a:moveTo>
                      <a:pt x="159" y="7"/>
                    </a:moveTo>
                    <a:cubicBezTo>
                      <a:pt x="152" y="6"/>
                      <a:pt x="145" y="6"/>
                      <a:pt x="138" y="6"/>
                    </a:cubicBezTo>
                    <a:cubicBezTo>
                      <a:pt x="138" y="6"/>
                      <a:pt x="138" y="6"/>
                      <a:pt x="138" y="6"/>
                    </a:cubicBezTo>
                    <a:cubicBezTo>
                      <a:pt x="138" y="0"/>
                      <a:pt x="138" y="0"/>
                      <a:pt x="138" y="0"/>
                    </a:cubicBezTo>
                    <a:cubicBezTo>
                      <a:pt x="138" y="0"/>
                      <a:pt x="138" y="0"/>
                      <a:pt x="138" y="0"/>
                    </a:cubicBezTo>
                    <a:cubicBezTo>
                      <a:pt x="146" y="0"/>
                      <a:pt x="153" y="1"/>
                      <a:pt x="160" y="2"/>
                    </a:cubicBezTo>
                    <a:lnTo>
                      <a:pt x="159" y="7"/>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162" name="Oval 161"/>
              <p:cNvSpPr>
                <a:spLocks noChangeArrowheads="1"/>
              </p:cNvSpPr>
              <p:nvPr/>
            </p:nvSpPr>
            <p:spPr bwMode="auto">
              <a:xfrm>
                <a:off x="7720932" y="2273203"/>
                <a:ext cx="406835" cy="408160"/>
              </a:xfrm>
              <a:prstGeom prst="ellipse">
                <a:avLst/>
              </a:pr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163" name="Freeform 162"/>
              <p:cNvSpPr>
                <a:spLocks noEditPoints="1"/>
              </p:cNvSpPr>
              <p:nvPr/>
            </p:nvSpPr>
            <p:spPr bwMode="auto">
              <a:xfrm>
                <a:off x="7715631" y="2269228"/>
                <a:ext cx="417436" cy="416111"/>
              </a:xfrm>
              <a:custGeom>
                <a:avLst/>
                <a:gdLst>
                  <a:gd name="T0" fmla="*/ 112 w 225"/>
                  <a:gd name="T1" fmla="*/ 224 h 224"/>
                  <a:gd name="T2" fmla="*/ 92 w 225"/>
                  <a:gd name="T3" fmla="*/ 217 h 224"/>
                  <a:gd name="T4" fmla="*/ 112 w 225"/>
                  <a:gd name="T5" fmla="*/ 224 h 224"/>
                  <a:gd name="T6" fmla="*/ 133 w 225"/>
                  <a:gd name="T7" fmla="*/ 217 h 224"/>
                  <a:gd name="T8" fmla="*/ 155 w 225"/>
                  <a:gd name="T9" fmla="*/ 216 h 224"/>
                  <a:gd name="T10" fmla="*/ 69 w 225"/>
                  <a:gd name="T11" fmla="*/ 216 h 224"/>
                  <a:gd name="T12" fmla="*/ 53 w 225"/>
                  <a:gd name="T13" fmla="*/ 201 h 224"/>
                  <a:gd name="T14" fmla="*/ 69 w 225"/>
                  <a:gd name="T15" fmla="*/ 216 h 224"/>
                  <a:gd name="T16" fmla="*/ 172 w 225"/>
                  <a:gd name="T17" fmla="*/ 201 h 224"/>
                  <a:gd name="T18" fmla="*/ 192 w 225"/>
                  <a:gd name="T19" fmla="*/ 191 h 224"/>
                  <a:gd name="T20" fmla="*/ 33 w 225"/>
                  <a:gd name="T21" fmla="*/ 191 h 224"/>
                  <a:gd name="T22" fmla="*/ 23 w 225"/>
                  <a:gd name="T23" fmla="*/ 171 h 224"/>
                  <a:gd name="T24" fmla="*/ 33 w 225"/>
                  <a:gd name="T25" fmla="*/ 191 h 224"/>
                  <a:gd name="T26" fmla="*/ 201 w 225"/>
                  <a:gd name="T27" fmla="*/ 171 h 224"/>
                  <a:gd name="T28" fmla="*/ 216 w 225"/>
                  <a:gd name="T29" fmla="*/ 155 h 224"/>
                  <a:gd name="T30" fmla="*/ 8 w 225"/>
                  <a:gd name="T31" fmla="*/ 155 h 224"/>
                  <a:gd name="T32" fmla="*/ 7 w 225"/>
                  <a:gd name="T33" fmla="*/ 133 h 224"/>
                  <a:gd name="T34" fmla="*/ 8 w 225"/>
                  <a:gd name="T35" fmla="*/ 155 h 224"/>
                  <a:gd name="T36" fmla="*/ 217 w 225"/>
                  <a:gd name="T37" fmla="*/ 133 h 224"/>
                  <a:gd name="T38" fmla="*/ 219 w 225"/>
                  <a:gd name="T39" fmla="*/ 111 h 224"/>
                  <a:gd name="T40" fmla="*/ 225 w 225"/>
                  <a:gd name="T41" fmla="*/ 112 h 224"/>
                  <a:gd name="T42" fmla="*/ 0 w 225"/>
                  <a:gd name="T43" fmla="*/ 112 h 224"/>
                  <a:gd name="T44" fmla="*/ 2 w 225"/>
                  <a:gd name="T45" fmla="*/ 90 h 224"/>
                  <a:gd name="T46" fmla="*/ 5 w 225"/>
                  <a:gd name="T47" fmla="*/ 112 h 224"/>
                  <a:gd name="T48" fmla="*/ 217 w 225"/>
                  <a:gd name="T49" fmla="*/ 91 h 224"/>
                  <a:gd name="T50" fmla="*/ 216 w 225"/>
                  <a:gd name="T51" fmla="*/ 68 h 224"/>
                  <a:gd name="T52" fmla="*/ 217 w 225"/>
                  <a:gd name="T53" fmla="*/ 91 h 224"/>
                  <a:gd name="T54" fmla="*/ 8 w 225"/>
                  <a:gd name="T55" fmla="*/ 69 h 224"/>
                  <a:gd name="T56" fmla="*/ 23 w 225"/>
                  <a:gd name="T57" fmla="*/ 53 h 224"/>
                  <a:gd name="T58" fmla="*/ 201 w 225"/>
                  <a:gd name="T59" fmla="*/ 52 h 224"/>
                  <a:gd name="T60" fmla="*/ 191 w 225"/>
                  <a:gd name="T61" fmla="*/ 32 h 224"/>
                  <a:gd name="T62" fmla="*/ 201 w 225"/>
                  <a:gd name="T63" fmla="*/ 52 h 224"/>
                  <a:gd name="T64" fmla="*/ 33 w 225"/>
                  <a:gd name="T65" fmla="*/ 33 h 224"/>
                  <a:gd name="T66" fmla="*/ 53 w 225"/>
                  <a:gd name="T67" fmla="*/ 23 h 224"/>
                  <a:gd name="T68" fmla="*/ 171 w 225"/>
                  <a:gd name="T69" fmla="*/ 23 h 224"/>
                  <a:gd name="T70" fmla="*/ 155 w 225"/>
                  <a:gd name="T71" fmla="*/ 8 h 224"/>
                  <a:gd name="T72" fmla="*/ 171 w 225"/>
                  <a:gd name="T73" fmla="*/ 23 h 224"/>
                  <a:gd name="T74" fmla="*/ 69 w 225"/>
                  <a:gd name="T75" fmla="*/ 8 h 224"/>
                  <a:gd name="T76" fmla="*/ 91 w 225"/>
                  <a:gd name="T77" fmla="*/ 7 h 224"/>
                  <a:gd name="T78" fmla="*/ 133 w 225"/>
                  <a:gd name="T79" fmla="*/ 7 h 224"/>
                  <a:gd name="T80" fmla="*/ 112 w 225"/>
                  <a:gd name="T81" fmla="*/ 5 h 224"/>
                  <a:gd name="T82" fmla="*/ 112 w 225"/>
                  <a:gd name="T83" fmla="*/ 0 h 224"/>
                  <a:gd name="T84" fmla="*/ 133 w 225"/>
                  <a:gd name="T85" fmla="*/ 7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25" h="224">
                    <a:moveTo>
                      <a:pt x="112" y="224"/>
                    </a:moveTo>
                    <a:cubicBezTo>
                      <a:pt x="112" y="224"/>
                      <a:pt x="112" y="224"/>
                      <a:pt x="112" y="224"/>
                    </a:cubicBezTo>
                    <a:cubicBezTo>
                      <a:pt x="105" y="224"/>
                      <a:pt x="98" y="224"/>
                      <a:pt x="90" y="222"/>
                    </a:cubicBezTo>
                    <a:cubicBezTo>
                      <a:pt x="92" y="217"/>
                      <a:pt x="92" y="217"/>
                      <a:pt x="92" y="217"/>
                    </a:cubicBezTo>
                    <a:cubicBezTo>
                      <a:pt x="98" y="218"/>
                      <a:pt x="105" y="219"/>
                      <a:pt x="112" y="219"/>
                    </a:cubicBezTo>
                    <a:lnTo>
                      <a:pt x="112" y="224"/>
                    </a:lnTo>
                    <a:close/>
                    <a:moveTo>
                      <a:pt x="134" y="222"/>
                    </a:moveTo>
                    <a:cubicBezTo>
                      <a:pt x="133" y="217"/>
                      <a:pt x="133" y="217"/>
                      <a:pt x="133" y="217"/>
                    </a:cubicBezTo>
                    <a:cubicBezTo>
                      <a:pt x="140" y="215"/>
                      <a:pt x="147" y="213"/>
                      <a:pt x="153" y="211"/>
                    </a:cubicBezTo>
                    <a:cubicBezTo>
                      <a:pt x="155" y="216"/>
                      <a:pt x="155" y="216"/>
                      <a:pt x="155" y="216"/>
                    </a:cubicBezTo>
                    <a:cubicBezTo>
                      <a:pt x="149" y="219"/>
                      <a:pt x="141" y="221"/>
                      <a:pt x="134" y="222"/>
                    </a:cubicBezTo>
                    <a:close/>
                    <a:moveTo>
                      <a:pt x="69" y="216"/>
                    </a:moveTo>
                    <a:cubicBezTo>
                      <a:pt x="63" y="213"/>
                      <a:pt x="56" y="210"/>
                      <a:pt x="50" y="205"/>
                    </a:cubicBezTo>
                    <a:cubicBezTo>
                      <a:pt x="53" y="201"/>
                      <a:pt x="53" y="201"/>
                      <a:pt x="53" y="201"/>
                    </a:cubicBezTo>
                    <a:cubicBezTo>
                      <a:pt x="59" y="205"/>
                      <a:pt x="65" y="208"/>
                      <a:pt x="71" y="211"/>
                    </a:cubicBezTo>
                    <a:lnTo>
                      <a:pt x="69" y="216"/>
                    </a:lnTo>
                    <a:close/>
                    <a:moveTo>
                      <a:pt x="175" y="205"/>
                    </a:moveTo>
                    <a:cubicBezTo>
                      <a:pt x="172" y="201"/>
                      <a:pt x="172" y="201"/>
                      <a:pt x="172" y="201"/>
                    </a:cubicBezTo>
                    <a:cubicBezTo>
                      <a:pt x="178" y="197"/>
                      <a:pt x="183" y="192"/>
                      <a:pt x="188" y="188"/>
                    </a:cubicBezTo>
                    <a:cubicBezTo>
                      <a:pt x="192" y="191"/>
                      <a:pt x="192" y="191"/>
                      <a:pt x="192" y="191"/>
                    </a:cubicBezTo>
                    <a:cubicBezTo>
                      <a:pt x="187" y="197"/>
                      <a:pt x="181" y="201"/>
                      <a:pt x="175" y="205"/>
                    </a:cubicBezTo>
                    <a:close/>
                    <a:moveTo>
                      <a:pt x="33" y="191"/>
                    </a:moveTo>
                    <a:cubicBezTo>
                      <a:pt x="28" y="186"/>
                      <a:pt x="23" y="181"/>
                      <a:pt x="19" y="174"/>
                    </a:cubicBezTo>
                    <a:cubicBezTo>
                      <a:pt x="23" y="171"/>
                      <a:pt x="23" y="171"/>
                      <a:pt x="23" y="171"/>
                    </a:cubicBezTo>
                    <a:cubicBezTo>
                      <a:pt x="27" y="177"/>
                      <a:pt x="32" y="183"/>
                      <a:pt x="37" y="188"/>
                    </a:cubicBezTo>
                    <a:lnTo>
                      <a:pt x="33" y="191"/>
                    </a:lnTo>
                    <a:close/>
                    <a:moveTo>
                      <a:pt x="206" y="174"/>
                    </a:moveTo>
                    <a:cubicBezTo>
                      <a:pt x="201" y="171"/>
                      <a:pt x="201" y="171"/>
                      <a:pt x="201" y="171"/>
                    </a:cubicBezTo>
                    <a:cubicBezTo>
                      <a:pt x="205" y="165"/>
                      <a:pt x="208" y="159"/>
                      <a:pt x="211" y="153"/>
                    </a:cubicBezTo>
                    <a:cubicBezTo>
                      <a:pt x="216" y="155"/>
                      <a:pt x="216" y="155"/>
                      <a:pt x="216" y="155"/>
                    </a:cubicBezTo>
                    <a:cubicBezTo>
                      <a:pt x="213" y="162"/>
                      <a:pt x="210" y="168"/>
                      <a:pt x="206" y="174"/>
                    </a:cubicBezTo>
                    <a:close/>
                    <a:moveTo>
                      <a:pt x="8" y="155"/>
                    </a:moveTo>
                    <a:cubicBezTo>
                      <a:pt x="6" y="148"/>
                      <a:pt x="4" y="141"/>
                      <a:pt x="2" y="134"/>
                    </a:cubicBezTo>
                    <a:cubicBezTo>
                      <a:pt x="7" y="133"/>
                      <a:pt x="7" y="133"/>
                      <a:pt x="7" y="133"/>
                    </a:cubicBezTo>
                    <a:cubicBezTo>
                      <a:pt x="9" y="140"/>
                      <a:pt x="11" y="147"/>
                      <a:pt x="13" y="153"/>
                    </a:cubicBezTo>
                    <a:lnTo>
                      <a:pt x="8" y="155"/>
                    </a:lnTo>
                    <a:close/>
                    <a:moveTo>
                      <a:pt x="223" y="134"/>
                    </a:moveTo>
                    <a:cubicBezTo>
                      <a:pt x="217" y="133"/>
                      <a:pt x="217" y="133"/>
                      <a:pt x="217" y="133"/>
                    </a:cubicBezTo>
                    <a:cubicBezTo>
                      <a:pt x="219" y="126"/>
                      <a:pt x="219" y="119"/>
                      <a:pt x="219" y="112"/>
                    </a:cubicBezTo>
                    <a:cubicBezTo>
                      <a:pt x="219" y="111"/>
                      <a:pt x="219" y="111"/>
                      <a:pt x="219" y="111"/>
                    </a:cubicBezTo>
                    <a:cubicBezTo>
                      <a:pt x="225" y="111"/>
                      <a:pt x="225" y="111"/>
                      <a:pt x="225" y="111"/>
                    </a:cubicBezTo>
                    <a:cubicBezTo>
                      <a:pt x="225" y="112"/>
                      <a:pt x="225" y="112"/>
                      <a:pt x="225" y="112"/>
                    </a:cubicBezTo>
                    <a:cubicBezTo>
                      <a:pt x="225" y="119"/>
                      <a:pt x="224" y="127"/>
                      <a:pt x="223" y="134"/>
                    </a:cubicBezTo>
                    <a:close/>
                    <a:moveTo>
                      <a:pt x="0" y="112"/>
                    </a:moveTo>
                    <a:cubicBezTo>
                      <a:pt x="0" y="112"/>
                      <a:pt x="0" y="112"/>
                      <a:pt x="0" y="112"/>
                    </a:cubicBezTo>
                    <a:cubicBezTo>
                      <a:pt x="0" y="105"/>
                      <a:pt x="1" y="97"/>
                      <a:pt x="2" y="90"/>
                    </a:cubicBezTo>
                    <a:cubicBezTo>
                      <a:pt x="7" y="91"/>
                      <a:pt x="7" y="91"/>
                      <a:pt x="7" y="91"/>
                    </a:cubicBezTo>
                    <a:cubicBezTo>
                      <a:pt x="6" y="98"/>
                      <a:pt x="5" y="105"/>
                      <a:pt x="5" y="112"/>
                    </a:cubicBezTo>
                    <a:lnTo>
                      <a:pt x="0" y="112"/>
                    </a:lnTo>
                    <a:close/>
                    <a:moveTo>
                      <a:pt x="217" y="91"/>
                    </a:moveTo>
                    <a:cubicBezTo>
                      <a:pt x="216" y="84"/>
                      <a:pt x="214" y="77"/>
                      <a:pt x="211" y="71"/>
                    </a:cubicBezTo>
                    <a:cubicBezTo>
                      <a:pt x="216" y="68"/>
                      <a:pt x="216" y="68"/>
                      <a:pt x="216" y="68"/>
                    </a:cubicBezTo>
                    <a:cubicBezTo>
                      <a:pt x="219" y="75"/>
                      <a:pt x="221" y="82"/>
                      <a:pt x="222" y="90"/>
                    </a:cubicBezTo>
                    <a:lnTo>
                      <a:pt x="217" y="91"/>
                    </a:lnTo>
                    <a:close/>
                    <a:moveTo>
                      <a:pt x="13" y="71"/>
                    </a:moveTo>
                    <a:cubicBezTo>
                      <a:pt x="8" y="69"/>
                      <a:pt x="8" y="69"/>
                      <a:pt x="8" y="69"/>
                    </a:cubicBezTo>
                    <a:cubicBezTo>
                      <a:pt x="11" y="62"/>
                      <a:pt x="15" y="56"/>
                      <a:pt x="19" y="50"/>
                    </a:cubicBezTo>
                    <a:cubicBezTo>
                      <a:pt x="23" y="53"/>
                      <a:pt x="23" y="53"/>
                      <a:pt x="23" y="53"/>
                    </a:cubicBezTo>
                    <a:cubicBezTo>
                      <a:pt x="19" y="58"/>
                      <a:pt x="16" y="65"/>
                      <a:pt x="13" y="71"/>
                    </a:cubicBezTo>
                    <a:close/>
                    <a:moveTo>
                      <a:pt x="201" y="52"/>
                    </a:moveTo>
                    <a:cubicBezTo>
                      <a:pt x="197" y="46"/>
                      <a:pt x="193" y="41"/>
                      <a:pt x="188" y="36"/>
                    </a:cubicBezTo>
                    <a:cubicBezTo>
                      <a:pt x="191" y="32"/>
                      <a:pt x="191" y="32"/>
                      <a:pt x="191" y="32"/>
                    </a:cubicBezTo>
                    <a:cubicBezTo>
                      <a:pt x="197" y="37"/>
                      <a:pt x="201" y="43"/>
                      <a:pt x="205" y="49"/>
                    </a:cubicBezTo>
                    <a:lnTo>
                      <a:pt x="201" y="52"/>
                    </a:lnTo>
                    <a:close/>
                    <a:moveTo>
                      <a:pt x="36" y="36"/>
                    </a:moveTo>
                    <a:cubicBezTo>
                      <a:pt x="33" y="33"/>
                      <a:pt x="33" y="33"/>
                      <a:pt x="33" y="33"/>
                    </a:cubicBezTo>
                    <a:cubicBezTo>
                      <a:pt x="38" y="27"/>
                      <a:pt x="43" y="23"/>
                      <a:pt x="50" y="19"/>
                    </a:cubicBezTo>
                    <a:cubicBezTo>
                      <a:pt x="53" y="23"/>
                      <a:pt x="53" y="23"/>
                      <a:pt x="53" y="23"/>
                    </a:cubicBezTo>
                    <a:cubicBezTo>
                      <a:pt x="47" y="27"/>
                      <a:pt x="41" y="31"/>
                      <a:pt x="36" y="36"/>
                    </a:cubicBezTo>
                    <a:close/>
                    <a:moveTo>
                      <a:pt x="171" y="23"/>
                    </a:moveTo>
                    <a:cubicBezTo>
                      <a:pt x="166" y="19"/>
                      <a:pt x="159" y="16"/>
                      <a:pt x="153" y="13"/>
                    </a:cubicBezTo>
                    <a:cubicBezTo>
                      <a:pt x="155" y="8"/>
                      <a:pt x="155" y="8"/>
                      <a:pt x="155" y="8"/>
                    </a:cubicBezTo>
                    <a:cubicBezTo>
                      <a:pt x="162" y="11"/>
                      <a:pt x="168" y="14"/>
                      <a:pt x="174" y="18"/>
                    </a:cubicBezTo>
                    <a:lnTo>
                      <a:pt x="171" y="23"/>
                    </a:lnTo>
                    <a:close/>
                    <a:moveTo>
                      <a:pt x="71" y="13"/>
                    </a:moveTo>
                    <a:cubicBezTo>
                      <a:pt x="69" y="8"/>
                      <a:pt x="69" y="8"/>
                      <a:pt x="69" y="8"/>
                    </a:cubicBezTo>
                    <a:cubicBezTo>
                      <a:pt x="76" y="5"/>
                      <a:pt x="83" y="3"/>
                      <a:pt x="90" y="2"/>
                    </a:cubicBezTo>
                    <a:cubicBezTo>
                      <a:pt x="91" y="7"/>
                      <a:pt x="91" y="7"/>
                      <a:pt x="91" y="7"/>
                    </a:cubicBezTo>
                    <a:cubicBezTo>
                      <a:pt x="84" y="8"/>
                      <a:pt x="77" y="10"/>
                      <a:pt x="71" y="13"/>
                    </a:cubicBezTo>
                    <a:close/>
                    <a:moveTo>
                      <a:pt x="133" y="7"/>
                    </a:moveTo>
                    <a:cubicBezTo>
                      <a:pt x="126" y="6"/>
                      <a:pt x="119" y="5"/>
                      <a:pt x="112" y="5"/>
                    </a:cubicBezTo>
                    <a:cubicBezTo>
                      <a:pt x="112" y="5"/>
                      <a:pt x="112" y="5"/>
                      <a:pt x="112" y="5"/>
                    </a:cubicBezTo>
                    <a:cubicBezTo>
                      <a:pt x="112" y="0"/>
                      <a:pt x="112" y="0"/>
                      <a:pt x="112" y="0"/>
                    </a:cubicBezTo>
                    <a:cubicBezTo>
                      <a:pt x="112" y="0"/>
                      <a:pt x="112" y="0"/>
                      <a:pt x="112" y="0"/>
                    </a:cubicBezTo>
                    <a:cubicBezTo>
                      <a:pt x="120" y="0"/>
                      <a:pt x="127" y="0"/>
                      <a:pt x="134" y="2"/>
                    </a:cubicBezTo>
                    <a:lnTo>
                      <a:pt x="133" y="7"/>
                    </a:ln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164" name="Oval 163"/>
              <p:cNvSpPr>
                <a:spLocks noChangeArrowheads="1"/>
              </p:cNvSpPr>
              <p:nvPr/>
            </p:nvSpPr>
            <p:spPr bwMode="auto">
              <a:xfrm>
                <a:off x="7722256" y="2360665"/>
                <a:ext cx="319372" cy="320697"/>
              </a:xfrm>
              <a:prstGeom prst="ellipse">
                <a:avLst/>
              </a:pr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165" name="Oval 164"/>
              <p:cNvSpPr>
                <a:spLocks noChangeArrowheads="1"/>
              </p:cNvSpPr>
              <p:nvPr/>
            </p:nvSpPr>
            <p:spPr bwMode="auto">
              <a:xfrm>
                <a:off x="7720932" y="2360665"/>
                <a:ext cx="319372" cy="320697"/>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166" name="Freeform 165"/>
              <p:cNvSpPr>
                <a:spLocks noEditPoints="1"/>
              </p:cNvSpPr>
              <p:nvPr/>
            </p:nvSpPr>
            <p:spPr bwMode="auto">
              <a:xfrm>
                <a:off x="7803094" y="2453429"/>
                <a:ext cx="159023" cy="135170"/>
              </a:xfrm>
              <a:custGeom>
                <a:avLst/>
                <a:gdLst>
                  <a:gd name="T0" fmla="*/ 82 w 86"/>
                  <a:gd name="T1" fmla="*/ 69 h 73"/>
                  <a:gd name="T2" fmla="*/ 0 w 86"/>
                  <a:gd name="T3" fmla="*/ 13 h 73"/>
                  <a:gd name="T4" fmla="*/ 0 w 86"/>
                  <a:gd name="T5" fmla="*/ 73 h 73"/>
                  <a:gd name="T6" fmla="*/ 86 w 86"/>
                  <a:gd name="T7" fmla="*/ 0 h 73"/>
                  <a:gd name="T8" fmla="*/ 0 w 86"/>
                  <a:gd name="T9" fmla="*/ 0 h 73"/>
                  <a:gd name="T10" fmla="*/ 50 w 86"/>
                  <a:gd name="T11" fmla="*/ 41 h 73"/>
                  <a:gd name="T12" fmla="*/ 48 w 86"/>
                  <a:gd name="T13" fmla="*/ 37 h 73"/>
                  <a:gd name="T14" fmla="*/ 45 w 86"/>
                  <a:gd name="T15" fmla="*/ 35 h 73"/>
                  <a:gd name="T16" fmla="*/ 40 w 86"/>
                  <a:gd name="T17" fmla="*/ 32 h 73"/>
                  <a:gd name="T18" fmla="*/ 36 w 86"/>
                  <a:gd name="T19" fmla="*/ 32 h 73"/>
                  <a:gd name="T20" fmla="*/ 32 w 86"/>
                  <a:gd name="T21" fmla="*/ 35 h 73"/>
                  <a:gd name="T22" fmla="*/ 29 w 86"/>
                  <a:gd name="T23" fmla="*/ 37 h 73"/>
                  <a:gd name="T24" fmla="*/ 27 w 86"/>
                  <a:gd name="T25" fmla="*/ 41 h 73"/>
                  <a:gd name="T26" fmla="*/ 26 w 86"/>
                  <a:gd name="T27" fmla="*/ 45 h 73"/>
                  <a:gd name="T28" fmla="*/ 27 w 86"/>
                  <a:gd name="T29" fmla="*/ 50 h 73"/>
                  <a:gd name="T30" fmla="*/ 28 w 86"/>
                  <a:gd name="T31" fmla="*/ 53 h 73"/>
                  <a:gd name="T32" fmla="*/ 32 w 86"/>
                  <a:gd name="T33" fmla="*/ 56 h 73"/>
                  <a:gd name="T34" fmla="*/ 36 w 86"/>
                  <a:gd name="T35" fmla="*/ 58 h 73"/>
                  <a:gd name="T36" fmla="*/ 39 w 86"/>
                  <a:gd name="T37" fmla="*/ 54 h 73"/>
                  <a:gd name="T38" fmla="*/ 44 w 86"/>
                  <a:gd name="T39" fmla="*/ 57 h 73"/>
                  <a:gd name="T40" fmla="*/ 45 w 86"/>
                  <a:gd name="T41" fmla="*/ 52 h 73"/>
                  <a:gd name="T42" fmla="*/ 50 w 86"/>
                  <a:gd name="T43" fmla="*/ 51 h 73"/>
                  <a:gd name="T44" fmla="*/ 47 w 86"/>
                  <a:gd name="T45" fmla="*/ 46 h 73"/>
                  <a:gd name="T46" fmla="*/ 43 w 86"/>
                  <a:gd name="T47" fmla="*/ 45 h 73"/>
                  <a:gd name="T48" fmla="*/ 35 w 86"/>
                  <a:gd name="T49" fmla="*/ 49 h 73"/>
                  <a:gd name="T50" fmla="*/ 38 w 86"/>
                  <a:gd name="T51" fmla="*/ 40 h 73"/>
                  <a:gd name="T52" fmla="*/ 36 w 86"/>
                  <a:gd name="T53" fmla="*/ 45 h 73"/>
                  <a:gd name="T54" fmla="*/ 38 w 86"/>
                  <a:gd name="T55" fmla="*/ 48 h 73"/>
                  <a:gd name="T56" fmla="*/ 59 w 86"/>
                  <a:gd name="T57" fmla="*/ 36 h 73"/>
                  <a:gd name="T58" fmla="*/ 61 w 86"/>
                  <a:gd name="T59" fmla="*/ 33 h 73"/>
                  <a:gd name="T60" fmla="*/ 59 w 86"/>
                  <a:gd name="T61" fmla="*/ 32 h 73"/>
                  <a:gd name="T62" fmla="*/ 56 w 86"/>
                  <a:gd name="T63" fmla="*/ 31 h 73"/>
                  <a:gd name="T64" fmla="*/ 53 w 86"/>
                  <a:gd name="T65" fmla="*/ 29 h 73"/>
                  <a:gd name="T66" fmla="*/ 51 w 86"/>
                  <a:gd name="T67" fmla="*/ 32 h 73"/>
                  <a:gd name="T68" fmla="*/ 48 w 86"/>
                  <a:gd name="T69" fmla="*/ 32 h 73"/>
                  <a:gd name="T70" fmla="*/ 48 w 86"/>
                  <a:gd name="T71" fmla="*/ 34 h 73"/>
                  <a:gd name="T72" fmla="*/ 49 w 86"/>
                  <a:gd name="T73" fmla="*/ 37 h 73"/>
                  <a:gd name="T74" fmla="*/ 48 w 86"/>
                  <a:gd name="T75" fmla="*/ 39 h 73"/>
                  <a:gd name="T76" fmla="*/ 49 w 86"/>
                  <a:gd name="T77" fmla="*/ 40 h 73"/>
                  <a:gd name="T78" fmla="*/ 53 w 86"/>
                  <a:gd name="T79" fmla="*/ 43 h 73"/>
                  <a:gd name="T80" fmla="*/ 55 w 86"/>
                  <a:gd name="T81" fmla="*/ 43 h 73"/>
                  <a:gd name="T82" fmla="*/ 59 w 86"/>
                  <a:gd name="T83" fmla="*/ 40 h 73"/>
                  <a:gd name="T84" fmla="*/ 61 w 86"/>
                  <a:gd name="T85" fmla="*/ 39 h 73"/>
                  <a:gd name="T86" fmla="*/ 59 w 86"/>
                  <a:gd name="T87" fmla="*/ 37 h 73"/>
                  <a:gd name="T88" fmla="*/ 54 w 86"/>
                  <a:gd name="T89" fmla="*/ 38 h 73"/>
                  <a:gd name="T90" fmla="*/ 56 w 86"/>
                  <a:gd name="T91" fmla="*/ 36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6" h="73">
                    <a:moveTo>
                      <a:pt x="4" y="17"/>
                    </a:moveTo>
                    <a:cubicBezTo>
                      <a:pt x="4" y="69"/>
                      <a:pt x="4" y="69"/>
                      <a:pt x="4" y="69"/>
                    </a:cubicBezTo>
                    <a:cubicBezTo>
                      <a:pt x="82" y="69"/>
                      <a:pt x="82" y="69"/>
                      <a:pt x="82" y="69"/>
                    </a:cubicBezTo>
                    <a:cubicBezTo>
                      <a:pt x="82" y="17"/>
                      <a:pt x="82" y="17"/>
                      <a:pt x="82" y="17"/>
                    </a:cubicBezTo>
                    <a:cubicBezTo>
                      <a:pt x="4" y="17"/>
                      <a:pt x="4" y="17"/>
                      <a:pt x="4" y="17"/>
                    </a:cubicBezTo>
                    <a:close/>
                    <a:moveTo>
                      <a:pt x="0" y="13"/>
                    </a:moveTo>
                    <a:cubicBezTo>
                      <a:pt x="86" y="13"/>
                      <a:pt x="86" y="13"/>
                      <a:pt x="86" y="13"/>
                    </a:cubicBezTo>
                    <a:cubicBezTo>
                      <a:pt x="86" y="73"/>
                      <a:pt x="86" y="73"/>
                      <a:pt x="86" y="73"/>
                    </a:cubicBezTo>
                    <a:cubicBezTo>
                      <a:pt x="0" y="73"/>
                      <a:pt x="0" y="73"/>
                      <a:pt x="0" y="73"/>
                    </a:cubicBezTo>
                    <a:cubicBezTo>
                      <a:pt x="0" y="13"/>
                      <a:pt x="0" y="13"/>
                      <a:pt x="0" y="13"/>
                    </a:cubicBezTo>
                    <a:close/>
                    <a:moveTo>
                      <a:pt x="0" y="0"/>
                    </a:moveTo>
                    <a:cubicBezTo>
                      <a:pt x="86" y="0"/>
                      <a:pt x="86" y="0"/>
                      <a:pt x="86" y="0"/>
                    </a:cubicBezTo>
                    <a:cubicBezTo>
                      <a:pt x="86" y="9"/>
                      <a:pt x="86" y="9"/>
                      <a:pt x="86" y="9"/>
                    </a:cubicBezTo>
                    <a:cubicBezTo>
                      <a:pt x="0" y="9"/>
                      <a:pt x="0" y="9"/>
                      <a:pt x="0" y="9"/>
                    </a:cubicBezTo>
                    <a:cubicBezTo>
                      <a:pt x="0" y="0"/>
                      <a:pt x="0" y="0"/>
                      <a:pt x="0" y="0"/>
                    </a:cubicBezTo>
                    <a:close/>
                    <a:moveTo>
                      <a:pt x="51" y="44"/>
                    </a:moveTo>
                    <a:cubicBezTo>
                      <a:pt x="51" y="42"/>
                      <a:pt x="51" y="42"/>
                      <a:pt x="51" y="42"/>
                    </a:cubicBezTo>
                    <a:cubicBezTo>
                      <a:pt x="51" y="42"/>
                      <a:pt x="51" y="41"/>
                      <a:pt x="50" y="41"/>
                    </a:cubicBezTo>
                    <a:cubicBezTo>
                      <a:pt x="46" y="41"/>
                      <a:pt x="46" y="41"/>
                      <a:pt x="46" y="41"/>
                    </a:cubicBezTo>
                    <a:cubicBezTo>
                      <a:pt x="46" y="41"/>
                      <a:pt x="46" y="40"/>
                      <a:pt x="46" y="40"/>
                    </a:cubicBezTo>
                    <a:cubicBezTo>
                      <a:pt x="48" y="37"/>
                      <a:pt x="48" y="37"/>
                      <a:pt x="48" y="37"/>
                    </a:cubicBezTo>
                    <a:cubicBezTo>
                      <a:pt x="48" y="37"/>
                      <a:pt x="48" y="36"/>
                      <a:pt x="47" y="36"/>
                    </a:cubicBezTo>
                    <a:cubicBezTo>
                      <a:pt x="46" y="35"/>
                      <a:pt x="46" y="35"/>
                      <a:pt x="46" y="35"/>
                    </a:cubicBezTo>
                    <a:cubicBezTo>
                      <a:pt x="45" y="34"/>
                      <a:pt x="45" y="34"/>
                      <a:pt x="45" y="35"/>
                    </a:cubicBezTo>
                    <a:cubicBezTo>
                      <a:pt x="42" y="37"/>
                      <a:pt x="42" y="37"/>
                      <a:pt x="42" y="37"/>
                    </a:cubicBezTo>
                    <a:cubicBezTo>
                      <a:pt x="42" y="37"/>
                      <a:pt x="41" y="37"/>
                      <a:pt x="41" y="36"/>
                    </a:cubicBezTo>
                    <a:cubicBezTo>
                      <a:pt x="40" y="32"/>
                      <a:pt x="40" y="32"/>
                      <a:pt x="40" y="32"/>
                    </a:cubicBezTo>
                    <a:cubicBezTo>
                      <a:pt x="40" y="32"/>
                      <a:pt x="40" y="32"/>
                      <a:pt x="39" y="32"/>
                    </a:cubicBezTo>
                    <a:cubicBezTo>
                      <a:pt x="37" y="32"/>
                      <a:pt x="37" y="32"/>
                      <a:pt x="37" y="32"/>
                    </a:cubicBezTo>
                    <a:cubicBezTo>
                      <a:pt x="37" y="32"/>
                      <a:pt x="37" y="32"/>
                      <a:pt x="36" y="32"/>
                    </a:cubicBezTo>
                    <a:cubicBezTo>
                      <a:pt x="36" y="36"/>
                      <a:pt x="36" y="36"/>
                      <a:pt x="36" y="36"/>
                    </a:cubicBezTo>
                    <a:cubicBezTo>
                      <a:pt x="35" y="37"/>
                      <a:pt x="35" y="37"/>
                      <a:pt x="35" y="37"/>
                    </a:cubicBezTo>
                    <a:cubicBezTo>
                      <a:pt x="32" y="35"/>
                      <a:pt x="32" y="35"/>
                      <a:pt x="32" y="35"/>
                    </a:cubicBezTo>
                    <a:cubicBezTo>
                      <a:pt x="31" y="34"/>
                      <a:pt x="31" y="34"/>
                      <a:pt x="31" y="35"/>
                    </a:cubicBezTo>
                    <a:cubicBezTo>
                      <a:pt x="29" y="36"/>
                      <a:pt x="29" y="36"/>
                      <a:pt x="29" y="36"/>
                    </a:cubicBezTo>
                    <a:cubicBezTo>
                      <a:pt x="29" y="36"/>
                      <a:pt x="29" y="37"/>
                      <a:pt x="29" y="37"/>
                    </a:cubicBezTo>
                    <a:cubicBezTo>
                      <a:pt x="31" y="40"/>
                      <a:pt x="31" y="40"/>
                      <a:pt x="31" y="40"/>
                    </a:cubicBezTo>
                    <a:cubicBezTo>
                      <a:pt x="30" y="40"/>
                      <a:pt x="30" y="41"/>
                      <a:pt x="30" y="41"/>
                    </a:cubicBezTo>
                    <a:cubicBezTo>
                      <a:pt x="27" y="41"/>
                      <a:pt x="27" y="41"/>
                      <a:pt x="27" y="41"/>
                    </a:cubicBezTo>
                    <a:cubicBezTo>
                      <a:pt x="26" y="41"/>
                      <a:pt x="26" y="42"/>
                      <a:pt x="26" y="42"/>
                    </a:cubicBezTo>
                    <a:cubicBezTo>
                      <a:pt x="25" y="44"/>
                      <a:pt x="25" y="44"/>
                      <a:pt x="25" y="44"/>
                    </a:cubicBezTo>
                    <a:cubicBezTo>
                      <a:pt x="25" y="44"/>
                      <a:pt x="25" y="45"/>
                      <a:pt x="26" y="45"/>
                    </a:cubicBezTo>
                    <a:cubicBezTo>
                      <a:pt x="29" y="46"/>
                      <a:pt x="29" y="46"/>
                      <a:pt x="29" y="46"/>
                    </a:cubicBezTo>
                    <a:cubicBezTo>
                      <a:pt x="29" y="47"/>
                      <a:pt x="29" y="47"/>
                      <a:pt x="29" y="47"/>
                    </a:cubicBezTo>
                    <a:cubicBezTo>
                      <a:pt x="27" y="50"/>
                      <a:pt x="27" y="50"/>
                      <a:pt x="27" y="50"/>
                    </a:cubicBezTo>
                    <a:cubicBezTo>
                      <a:pt x="27" y="50"/>
                      <a:pt x="26" y="50"/>
                      <a:pt x="27" y="51"/>
                    </a:cubicBezTo>
                    <a:cubicBezTo>
                      <a:pt x="28" y="53"/>
                      <a:pt x="28" y="53"/>
                      <a:pt x="28" y="53"/>
                    </a:cubicBezTo>
                    <a:cubicBezTo>
                      <a:pt x="28" y="53"/>
                      <a:pt x="28" y="53"/>
                      <a:pt x="28" y="53"/>
                    </a:cubicBezTo>
                    <a:cubicBezTo>
                      <a:pt x="32" y="52"/>
                      <a:pt x="32" y="52"/>
                      <a:pt x="32" y="52"/>
                    </a:cubicBezTo>
                    <a:cubicBezTo>
                      <a:pt x="32" y="52"/>
                      <a:pt x="32" y="52"/>
                      <a:pt x="33" y="53"/>
                    </a:cubicBezTo>
                    <a:cubicBezTo>
                      <a:pt x="32" y="56"/>
                      <a:pt x="32" y="56"/>
                      <a:pt x="32" y="56"/>
                    </a:cubicBezTo>
                    <a:cubicBezTo>
                      <a:pt x="32" y="56"/>
                      <a:pt x="32" y="57"/>
                      <a:pt x="33" y="57"/>
                    </a:cubicBezTo>
                    <a:cubicBezTo>
                      <a:pt x="35" y="58"/>
                      <a:pt x="35" y="58"/>
                      <a:pt x="35" y="58"/>
                    </a:cubicBezTo>
                    <a:cubicBezTo>
                      <a:pt x="35" y="58"/>
                      <a:pt x="36" y="58"/>
                      <a:pt x="36" y="58"/>
                    </a:cubicBezTo>
                    <a:cubicBezTo>
                      <a:pt x="38" y="54"/>
                      <a:pt x="38" y="54"/>
                      <a:pt x="38" y="54"/>
                    </a:cubicBezTo>
                    <a:cubicBezTo>
                      <a:pt x="38" y="54"/>
                      <a:pt x="38" y="54"/>
                      <a:pt x="38" y="54"/>
                    </a:cubicBezTo>
                    <a:cubicBezTo>
                      <a:pt x="38" y="54"/>
                      <a:pt x="39" y="54"/>
                      <a:pt x="39" y="54"/>
                    </a:cubicBezTo>
                    <a:cubicBezTo>
                      <a:pt x="41" y="58"/>
                      <a:pt x="41" y="58"/>
                      <a:pt x="41" y="58"/>
                    </a:cubicBezTo>
                    <a:cubicBezTo>
                      <a:pt x="41" y="58"/>
                      <a:pt x="41" y="58"/>
                      <a:pt x="42" y="58"/>
                    </a:cubicBezTo>
                    <a:cubicBezTo>
                      <a:pt x="44" y="57"/>
                      <a:pt x="44" y="57"/>
                      <a:pt x="44" y="57"/>
                    </a:cubicBezTo>
                    <a:cubicBezTo>
                      <a:pt x="44" y="57"/>
                      <a:pt x="44" y="56"/>
                      <a:pt x="44" y="56"/>
                    </a:cubicBezTo>
                    <a:cubicBezTo>
                      <a:pt x="44" y="53"/>
                      <a:pt x="44" y="53"/>
                      <a:pt x="44" y="53"/>
                    </a:cubicBezTo>
                    <a:cubicBezTo>
                      <a:pt x="44" y="52"/>
                      <a:pt x="44" y="52"/>
                      <a:pt x="45" y="52"/>
                    </a:cubicBezTo>
                    <a:cubicBezTo>
                      <a:pt x="48" y="53"/>
                      <a:pt x="48" y="53"/>
                      <a:pt x="48" y="53"/>
                    </a:cubicBezTo>
                    <a:cubicBezTo>
                      <a:pt x="48" y="53"/>
                      <a:pt x="49" y="53"/>
                      <a:pt x="49" y="53"/>
                    </a:cubicBezTo>
                    <a:cubicBezTo>
                      <a:pt x="50" y="51"/>
                      <a:pt x="50" y="51"/>
                      <a:pt x="50" y="51"/>
                    </a:cubicBezTo>
                    <a:cubicBezTo>
                      <a:pt x="50" y="50"/>
                      <a:pt x="50" y="50"/>
                      <a:pt x="50" y="50"/>
                    </a:cubicBezTo>
                    <a:cubicBezTo>
                      <a:pt x="47" y="47"/>
                      <a:pt x="47" y="47"/>
                      <a:pt x="47" y="47"/>
                    </a:cubicBezTo>
                    <a:cubicBezTo>
                      <a:pt x="47" y="47"/>
                      <a:pt x="47" y="47"/>
                      <a:pt x="47" y="46"/>
                    </a:cubicBezTo>
                    <a:cubicBezTo>
                      <a:pt x="51" y="45"/>
                      <a:pt x="51" y="45"/>
                      <a:pt x="51" y="45"/>
                    </a:cubicBezTo>
                    <a:cubicBezTo>
                      <a:pt x="51" y="45"/>
                      <a:pt x="51" y="45"/>
                      <a:pt x="51" y="44"/>
                    </a:cubicBezTo>
                    <a:close/>
                    <a:moveTo>
                      <a:pt x="43" y="45"/>
                    </a:moveTo>
                    <a:cubicBezTo>
                      <a:pt x="43" y="47"/>
                      <a:pt x="43" y="48"/>
                      <a:pt x="42" y="49"/>
                    </a:cubicBezTo>
                    <a:cubicBezTo>
                      <a:pt x="41" y="50"/>
                      <a:pt x="40" y="50"/>
                      <a:pt x="38" y="50"/>
                    </a:cubicBezTo>
                    <a:cubicBezTo>
                      <a:pt x="37" y="50"/>
                      <a:pt x="36" y="50"/>
                      <a:pt x="35" y="49"/>
                    </a:cubicBezTo>
                    <a:cubicBezTo>
                      <a:pt x="34" y="48"/>
                      <a:pt x="33" y="47"/>
                      <a:pt x="33" y="45"/>
                    </a:cubicBezTo>
                    <a:cubicBezTo>
                      <a:pt x="33" y="44"/>
                      <a:pt x="34" y="42"/>
                      <a:pt x="35" y="42"/>
                    </a:cubicBezTo>
                    <a:cubicBezTo>
                      <a:pt x="36" y="41"/>
                      <a:pt x="37" y="40"/>
                      <a:pt x="38" y="40"/>
                    </a:cubicBezTo>
                    <a:cubicBezTo>
                      <a:pt x="40" y="40"/>
                      <a:pt x="41" y="41"/>
                      <a:pt x="42" y="42"/>
                    </a:cubicBezTo>
                    <a:cubicBezTo>
                      <a:pt x="43" y="42"/>
                      <a:pt x="43" y="44"/>
                      <a:pt x="43" y="45"/>
                    </a:cubicBezTo>
                    <a:close/>
                    <a:moveTo>
                      <a:pt x="36" y="45"/>
                    </a:moveTo>
                    <a:cubicBezTo>
                      <a:pt x="36" y="44"/>
                      <a:pt x="37" y="43"/>
                      <a:pt x="38" y="43"/>
                    </a:cubicBezTo>
                    <a:cubicBezTo>
                      <a:pt x="40" y="43"/>
                      <a:pt x="41" y="44"/>
                      <a:pt x="41" y="45"/>
                    </a:cubicBezTo>
                    <a:cubicBezTo>
                      <a:pt x="41" y="46"/>
                      <a:pt x="40" y="48"/>
                      <a:pt x="38" y="48"/>
                    </a:cubicBezTo>
                    <a:cubicBezTo>
                      <a:pt x="37" y="48"/>
                      <a:pt x="36" y="46"/>
                      <a:pt x="36" y="45"/>
                    </a:cubicBezTo>
                    <a:close/>
                    <a:moveTo>
                      <a:pt x="59" y="37"/>
                    </a:moveTo>
                    <a:cubicBezTo>
                      <a:pt x="59" y="37"/>
                      <a:pt x="59" y="36"/>
                      <a:pt x="59" y="36"/>
                    </a:cubicBezTo>
                    <a:cubicBezTo>
                      <a:pt x="59" y="36"/>
                      <a:pt x="59" y="35"/>
                      <a:pt x="59" y="35"/>
                    </a:cubicBezTo>
                    <a:cubicBezTo>
                      <a:pt x="60" y="34"/>
                      <a:pt x="60" y="34"/>
                      <a:pt x="60" y="34"/>
                    </a:cubicBezTo>
                    <a:cubicBezTo>
                      <a:pt x="61" y="34"/>
                      <a:pt x="61" y="33"/>
                      <a:pt x="61" y="33"/>
                    </a:cubicBezTo>
                    <a:cubicBezTo>
                      <a:pt x="61" y="33"/>
                      <a:pt x="61" y="33"/>
                      <a:pt x="61" y="33"/>
                    </a:cubicBezTo>
                    <a:cubicBezTo>
                      <a:pt x="60" y="32"/>
                      <a:pt x="60" y="32"/>
                      <a:pt x="60" y="32"/>
                    </a:cubicBezTo>
                    <a:cubicBezTo>
                      <a:pt x="60" y="32"/>
                      <a:pt x="60" y="32"/>
                      <a:pt x="59" y="32"/>
                    </a:cubicBezTo>
                    <a:cubicBezTo>
                      <a:pt x="59" y="32"/>
                      <a:pt x="59" y="32"/>
                      <a:pt x="59" y="32"/>
                    </a:cubicBezTo>
                    <a:cubicBezTo>
                      <a:pt x="57" y="32"/>
                      <a:pt x="57" y="32"/>
                      <a:pt x="57" y="32"/>
                    </a:cubicBezTo>
                    <a:cubicBezTo>
                      <a:pt x="57" y="32"/>
                      <a:pt x="56" y="32"/>
                      <a:pt x="56" y="31"/>
                    </a:cubicBezTo>
                    <a:cubicBezTo>
                      <a:pt x="55" y="29"/>
                      <a:pt x="55" y="29"/>
                      <a:pt x="55" y="29"/>
                    </a:cubicBezTo>
                    <a:cubicBezTo>
                      <a:pt x="55" y="29"/>
                      <a:pt x="55" y="29"/>
                      <a:pt x="55" y="29"/>
                    </a:cubicBezTo>
                    <a:cubicBezTo>
                      <a:pt x="53" y="29"/>
                      <a:pt x="53" y="29"/>
                      <a:pt x="53" y="29"/>
                    </a:cubicBezTo>
                    <a:cubicBezTo>
                      <a:pt x="53" y="29"/>
                      <a:pt x="53" y="29"/>
                      <a:pt x="53" y="29"/>
                    </a:cubicBezTo>
                    <a:cubicBezTo>
                      <a:pt x="52" y="31"/>
                      <a:pt x="52" y="31"/>
                      <a:pt x="52" y="31"/>
                    </a:cubicBezTo>
                    <a:cubicBezTo>
                      <a:pt x="52" y="32"/>
                      <a:pt x="51" y="32"/>
                      <a:pt x="51" y="32"/>
                    </a:cubicBezTo>
                    <a:cubicBezTo>
                      <a:pt x="49" y="32"/>
                      <a:pt x="49" y="32"/>
                      <a:pt x="49" y="32"/>
                    </a:cubicBezTo>
                    <a:cubicBezTo>
                      <a:pt x="49" y="32"/>
                      <a:pt x="49" y="32"/>
                      <a:pt x="49" y="32"/>
                    </a:cubicBezTo>
                    <a:cubicBezTo>
                      <a:pt x="49" y="32"/>
                      <a:pt x="48" y="32"/>
                      <a:pt x="48" y="32"/>
                    </a:cubicBezTo>
                    <a:cubicBezTo>
                      <a:pt x="48" y="33"/>
                      <a:pt x="48" y="33"/>
                      <a:pt x="48" y="33"/>
                    </a:cubicBezTo>
                    <a:cubicBezTo>
                      <a:pt x="48" y="33"/>
                      <a:pt x="48" y="33"/>
                      <a:pt x="48" y="33"/>
                    </a:cubicBezTo>
                    <a:cubicBezTo>
                      <a:pt x="48" y="33"/>
                      <a:pt x="48" y="34"/>
                      <a:pt x="48" y="34"/>
                    </a:cubicBezTo>
                    <a:cubicBezTo>
                      <a:pt x="49" y="35"/>
                      <a:pt x="49" y="35"/>
                      <a:pt x="49" y="35"/>
                    </a:cubicBezTo>
                    <a:cubicBezTo>
                      <a:pt x="49" y="35"/>
                      <a:pt x="49" y="36"/>
                      <a:pt x="49" y="36"/>
                    </a:cubicBezTo>
                    <a:cubicBezTo>
                      <a:pt x="49" y="36"/>
                      <a:pt x="49" y="37"/>
                      <a:pt x="49" y="37"/>
                    </a:cubicBezTo>
                    <a:cubicBezTo>
                      <a:pt x="48" y="38"/>
                      <a:pt x="48" y="38"/>
                      <a:pt x="48" y="38"/>
                    </a:cubicBezTo>
                    <a:cubicBezTo>
                      <a:pt x="48" y="38"/>
                      <a:pt x="48" y="39"/>
                      <a:pt x="48" y="39"/>
                    </a:cubicBezTo>
                    <a:cubicBezTo>
                      <a:pt x="48" y="39"/>
                      <a:pt x="48" y="39"/>
                      <a:pt x="48" y="39"/>
                    </a:cubicBezTo>
                    <a:cubicBezTo>
                      <a:pt x="48" y="40"/>
                      <a:pt x="48" y="40"/>
                      <a:pt x="48" y="40"/>
                    </a:cubicBezTo>
                    <a:cubicBezTo>
                      <a:pt x="48" y="40"/>
                      <a:pt x="49" y="40"/>
                      <a:pt x="49" y="40"/>
                    </a:cubicBezTo>
                    <a:cubicBezTo>
                      <a:pt x="49" y="40"/>
                      <a:pt x="49" y="40"/>
                      <a:pt x="49" y="40"/>
                    </a:cubicBezTo>
                    <a:cubicBezTo>
                      <a:pt x="51" y="40"/>
                      <a:pt x="51" y="40"/>
                      <a:pt x="51" y="40"/>
                    </a:cubicBezTo>
                    <a:cubicBezTo>
                      <a:pt x="51" y="40"/>
                      <a:pt x="52" y="40"/>
                      <a:pt x="52" y="41"/>
                    </a:cubicBezTo>
                    <a:cubicBezTo>
                      <a:pt x="53" y="43"/>
                      <a:pt x="53" y="43"/>
                      <a:pt x="53" y="43"/>
                    </a:cubicBezTo>
                    <a:cubicBezTo>
                      <a:pt x="53" y="43"/>
                      <a:pt x="53" y="43"/>
                      <a:pt x="53" y="43"/>
                    </a:cubicBezTo>
                    <a:cubicBezTo>
                      <a:pt x="55" y="43"/>
                      <a:pt x="55" y="43"/>
                      <a:pt x="55" y="43"/>
                    </a:cubicBezTo>
                    <a:cubicBezTo>
                      <a:pt x="55" y="43"/>
                      <a:pt x="55" y="43"/>
                      <a:pt x="55" y="43"/>
                    </a:cubicBezTo>
                    <a:cubicBezTo>
                      <a:pt x="56" y="41"/>
                      <a:pt x="56" y="41"/>
                      <a:pt x="56" y="41"/>
                    </a:cubicBezTo>
                    <a:cubicBezTo>
                      <a:pt x="56" y="40"/>
                      <a:pt x="57" y="40"/>
                      <a:pt x="57" y="40"/>
                    </a:cubicBezTo>
                    <a:cubicBezTo>
                      <a:pt x="59" y="40"/>
                      <a:pt x="59" y="40"/>
                      <a:pt x="59" y="40"/>
                    </a:cubicBezTo>
                    <a:cubicBezTo>
                      <a:pt x="59" y="40"/>
                      <a:pt x="59" y="40"/>
                      <a:pt x="59" y="40"/>
                    </a:cubicBezTo>
                    <a:cubicBezTo>
                      <a:pt x="60" y="40"/>
                      <a:pt x="60" y="40"/>
                      <a:pt x="60" y="40"/>
                    </a:cubicBezTo>
                    <a:cubicBezTo>
                      <a:pt x="61" y="39"/>
                      <a:pt x="61" y="39"/>
                      <a:pt x="61" y="39"/>
                    </a:cubicBezTo>
                    <a:cubicBezTo>
                      <a:pt x="61" y="39"/>
                      <a:pt x="61" y="39"/>
                      <a:pt x="61" y="39"/>
                    </a:cubicBezTo>
                    <a:cubicBezTo>
                      <a:pt x="61" y="39"/>
                      <a:pt x="61" y="38"/>
                      <a:pt x="60" y="38"/>
                    </a:cubicBezTo>
                    <a:cubicBezTo>
                      <a:pt x="59" y="37"/>
                      <a:pt x="59" y="37"/>
                      <a:pt x="59" y="37"/>
                    </a:cubicBezTo>
                    <a:cubicBezTo>
                      <a:pt x="59" y="37"/>
                      <a:pt x="59" y="37"/>
                      <a:pt x="59" y="37"/>
                    </a:cubicBezTo>
                    <a:close/>
                    <a:moveTo>
                      <a:pt x="56" y="36"/>
                    </a:moveTo>
                    <a:cubicBezTo>
                      <a:pt x="56" y="37"/>
                      <a:pt x="55" y="38"/>
                      <a:pt x="54" y="38"/>
                    </a:cubicBezTo>
                    <a:cubicBezTo>
                      <a:pt x="53" y="38"/>
                      <a:pt x="52" y="37"/>
                      <a:pt x="52" y="36"/>
                    </a:cubicBezTo>
                    <a:cubicBezTo>
                      <a:pt x="52" y="35"/>
                      <a:pt x="53" y="34"/>
                      <a:pt x="54" y="34"/>
                    </a:cubicBezTo>
                    <a:cubicBezTo>
                      <a:pt x="55" y="34"/>
                      <a:pt x="56" y="35"/>
                      <a:pt x="56" y="36"/>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505050"/>
                  </a:solidFill>
                  <a:effectLst/>
                  <a:uLnTx/>
                  <a:uFillTx/>
                  <a:latin typeface="Segoe UI"/>
                  <a:ea typeface="+mn-ea"/>
                  <a:cs typeface="+mn-cs"/>
                </a:endParaRPr>
              </a:p>
            </p:txBody>
          </p:sp>
        </p:grpSp>
        <p:grpSp>
          <p:nvGrpSpPr>
            <p:cNvPr id="131" name="Group 130"/>
            <p:cNvGrpSpPr/>
            <p:nvPr/>
          </p:nvGrpSpPr>
          <p:grpSpPr>
            <a:xfrm flipH="1">
              <a:off x="2514048" y="3110436"/>
              <a:ext cx="764414" cy="763089"/>
              <a:chOff x="7715631" y="2919897"/>
              <a:chExt cx="764637" cy="763312"/>
            </a:xfrm>
          </p:grpSpPr>
          <p:sp>
            <p:nvSpPr>
              <p:cNvPr id="151" name="Freeform 150"/>
              <p:cNvSpPr>
                <a:spLocks noEditPoints="1"/>
              </p:cNvSpPr>
              <p:nvPr/>
            </p:nvSpPr>
            <p:spPr bwMode="auto">
              <a:xfrm>
                <a:off x="7715631" y="2919897"/>
                <a:ext cx="764637" cy="763312"/>
              </a:xfrm>
              <a:custGeom>
                <a:avLst/>
                <a:gdLst>
                  <a:gd name="T0" fmla="*/ 227 w 412"/>
                  <a:gd name="T1" fmla="*/ 406 h 412"/>
                  <a:gd name="T2" fmla="*/ 185 w 412"/>
                  <a:gd name="T3" fmla="*/ 411 h 412"/>
                  <a:gd name="T4" fmla="*/ 185 w 412"/>
                  <a:gd name="T5" fmla="*/ 406 h 412"/>
                  <a:gd name="T6" fmla="*/ 248 w 412"/>
                  <a:gd name="T7" fmla="*/ 402 h 412"/>
                  <a:gd name="T8" fmla="*/ 249 w 412"/>
                  <a:gd name="T9" fmla="*/ 408 h 412"/>
                  <a:gd name="T10" fmla="*/ 125 w 412"/>
                  <a:gd name="T11" fmla="*/ 390 h 412"/>
                  <a:gd name="T12" fmla="*/ 290 w 412"/>
                  <a:gd name="T13" fmla="*/ 394 h 412"/>
                  <a:gd name="T14" fmla="*/ 309 w 412"/>
                  <a:gd name="T15" fmla="*/ 385 h 412"/>
                  <a:gd name="T16" fmla="*/ 85 w 412"/>
                  <a:gd name="T17" fmla="*/ 373 h 412"/>
                  <a:gd name="T18" fmla="*/ 103 w 412"/>
                  <a:gd name="T19" fmla="*/ 385 h 412"/>
                  <a:gd name="T20" fmla="*/ 341 w 412"/>
                  <a:gd name="T21" fmla="*/ 355 h 412"/>
                  <a:gd name="T22" fmla="*/ 68 w 412"/>
                  <a:gd name="T23" fmla="*/ 359 h 412"/>
                  <a:gd name="T24" fmla="*/ 72 w 412"/>
                  <a:gd name="T25" fmla="*/ 355 h 412"/>
                  <a:gd name="T26" fmla="*/ 355 w 412"/>
                  <a:gd name="T27" fmla="*/ 340 h 412"/>
                  <a:gd name="T28" fmla="*/ 359 w 412"/>
                  <a:gd name="T29" fmla="*/ 344 h 412"/>
                  <a:gd name="T30" fmla="*/ 32 w 412"/>
                  <a:gd name="T31" fmla="*/ 307 h 412"/>
                  <a:gd name="T32" fmla="*/ 385 w 412"/>
                  <a:gd name="T33" fmla="*/ 309 h 412"/>
                  <a:gd name="T34" fmla="*/ 395 w 412"/>
                  <a:gd name="T35" fmla="*/ 290 h 412"/>
                  <a:gd name="T36" fmla="*/ 10 w 412"/>
                  <a:gd name="T37" fmla="*/ 270 h 412"/>
                  <a:gd name="T38" fmla="*/ 18 w 412"/>
                  <a:gd name="T39" fmla="*/ 290 h 412"/>
                  <a:gd name="T40" fmla="*/ 403 w 412"/>
                  <a:gd name="T41" fmla="*/ 248 h 412"/>
                  <a:gd name="T42" fmla="*/ 4 w 412"/>
                  <a:gd name="T43" fmla="*/ 249 h 412"/>
                  <a:gd name="T44" fmla="*/ 10 w 412"/>
                  <a:gd name="T45" fmla="*/ 248 h 412"/>
                  <a:gd name="T46" fmla="*/ 406 w 412"/>
                  <a:gd name="T47" fmla="*/ 227 h 412"/>
                  <a:gd name="T48" fmla="*/ 412 w 412"/>
                  <a:gd name="T49" fmla="*/ 206 h 412"/>
                  <a:gd name="T50" fmla="*/ 0 w 412"/>
                  <a:gd name="T51" fmla="*/ 206 h 412"/>
                  <a:gd name="T52" fmla="*/ 6 w 412"/>
                  <a:gd name="T53" fmla="*/ 185 h 412"/>
                  <a:gd name="T54" fmla="*/ 406 w 412"/>
                  <a:gd name="T55" fmla="*/ 185 h 412"/>
                  <a:gd name="T56" fmla="*/ 411 w 412"/>
                  <a:gd name="T57" fmla="*/ 184 h 412"/>
                  <a:gd name="T58" fmla="*/ 4 w 412"/>
                  <a:gd name="T59" fmla="*/ 163 h 412"/>
                  <a:gd name="T60" fmla="*/ 10 w 412"/>
                  <a:gd name="T61" fmla="*/ 164 h 412"/>
                  <a:gd name="T62" fmla="*/ 394 w 412"/>
                  <a:gd name="T63" fmla="*/ 122 h 412"/>
                  <a:gd name="T64" fmla="*/ 22 w 412"/>
                  <a:gd name="T65" fmla="*/ 124 h 412"/>
                  <a:gd name="T66" fmla="*/ 32 w 412"/>
                  <a:gd name="T67" fmla="*/ 106 h 412"/>
                  <a:gd name="T68" fmla="*/ 368 w 412"/>
                  <a:gd name="T69" fmla="*/ 88 h 412"/>
                  <a:gd name="T70" fmla="*/ 380 w 412"/>
                  <a:gd name="T71" fmla="*/ 105 h 412"/>
                  <a:gd name="T72" fmla="*/ 53 w 412"/>
                  <a:gd name="T73" fmla="*/ 68 h 412"/>
                  <a:gd name="T74" fmla="*/ 355 w 412"/>
                  <a:gd name="T75" fmla="*/ 71 h 412"/>
                  <a:gd name="T76" fmla="*/ 359 w 412"/>
                  <a:gd name="T77" fmla="*/ 68 h 412"/>
                  <a:gd name="T78" fmla="*/ 68 w 412"/>
                  <a:gd name="T79" fmla="*/ 53 h 412"/>
                  <a:gd name="T80" fmla="*/ 72 w 412"/>
                  <a:gd name="T81" fmla="*/ 57 h 412"/>
                  <a:gd name="T82" fmla="*/ 309 w 412"/>
                  <a:gd name="T83" fmla="*/ 27 h 412"/>
                  <a:gd name="T84" fmla="*/ 105 w 412"/>
                  <a:gd name="T85" fmla="*/ 32 h 412"/>
                  <a:gd name="T86" fmla="*/ 124 w 412"/>
                  <a:gd name="T87" fmla="*/ 23 h 412"/>
                  <a:gd name="T88" fmla="*/ 268 w 412"/>
                  <a:gd name="T89" fmla="*/ 15 h 412"/>
                  <a:gd name="T90" fmla="*/ 287 w 412"/>
                  <a:gd name="T91" fmla="*/ 22 h 412"/>
                  <a:gd name="T92" fmla="*/ 163 w 412"/>
                  <a:gd name="T93" fmla="*/ 4 h 412"/>
                  <a:gd name="T94" fmla="*/ 248 w 412"/>
                  <a:gd name="T95" fmla="*/ 9 h 412"/>
                  <a:gd name="T96" fmla="*/ 249 w 412"/>
                  <a:gd name="T97" fmla="*/ 4 h 412"/>
                  <a:gd name="T98" fmla="*/ 184 w 412"/>
                  <a:gd name="T99" fmla="*/ 1 h 412"/>
                  <a:gd name="T100" fmla="*/ 185 w 412"/>
                  <a:gd name="T101" fmla="*/ 6 h 4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12" h="412">
                    <a:moveTo>
                      <a:pt x="206" y="412"/>
                    </a:moveTo>
                    <a:cubicBezTo>
                      <a:pt x="206" y="407"/>
                      <a:pt x="206" y="407"/>
                      <a:pt x="206" y="407"/>
                    </a:cubicBezTo>
                    <a:cubicBezTo>
                      <a:pt x="213" y="407"/>
                      <a:pt x="220" y="406"/>
                      <a:pt x="227" y="406"/>
                    </a:cubicBezTo>
                    <a:cubicBezTo>
                      <a:pt x="228" y="411"/>
                      <a:pt x="228" y="411"/>
                      <a:pt x="228" y="411"/>
                    </a:cubicBezTo>
                    <a:cubicBezTo>
                      <a:pt x="221" y="412"/>
                      <a:pt x="213" y="412"/>
                      <a:pt x="206" y="412"/>
                    </a:cubicBezTo>
                    <a:close/>
                    <a:moveTo>
                      <a:pt x="185" y="411"/>
                    </a:moveTo>
                    <a:cubicBezTo>
                      <a:pt x="178" y="410"/>
                      <a:pt x="170" y="409"/>
                      <a:pt x="163" y="408"/>
                    </a:cubicBezTo>
                    <a:cubicBezTo>
                      <a:pt x="164" y="402"/>
                      <a:pt x="164" y="402"/>
                      <a:pt x="164" y="402"/>
                    </a:cubicBezTo>
                    <a:cubicBezTo>
                      <a:pt x="171" y="404"/>
                      <a:pt x="178" y="405"/>
                      <a:pt x="185" y="406"/>
                    </a:cubicBezTo>
                    <a:lnTo>
                      <a:pt x="185" y="411"/>
                    </a:lnTo>
                    <a:close/>
                    <a:moveTo>
                      <a:pt x="249" y="408"/>
                    </a:moveTo>
                    <a:cubicBezTo>
                      <a:pt x="248" y="402"/>
                      <a:pt x="248" y="402"/>
                      <a:pt x="248" y="402"/>
                    </a:cubicBezTo>
                    <a:cubicBezTo>
                      <a:pt x="255" y="401"/>
                      <a:pt x="262" y="399"/>
                      <a:pt x="268" y="397"/>
                    </a:cubicBezTo>
                    <a:cubicBezTo>
                      <a:pt x="270" y="402"/>
                      <a:pt x="270" y="402"/>
                      <a:pt x="270" y="402"/>
                    </a:cubicBezTo>
                    <a:cubicBezTo>
                      <a:pt x="263" y="404"/>
                      <a:pt x="256" y="406"/>
                      <a:pt x="249" y="408"/>
                    </a:cubicBezTo>
                    <a:close/>
                    <a:moveTo>
                      <a:pt x="142" y="402"/>
                    </a:moveTo>
                    <a:cubicBezTo>
                      <a:pt x="136" y="400"/>
                      <a:pt x="129" y="397"/>
                      <a:pt x="122" y="394"/>
                    </a:cubicBezTo>
                    <a:cubicBezTo>
                      <a:pt x="125" y="390"/>
                      <a:pt x="125" y="390"/>
                      <a:pt x="125" y="390"/>
                    </a:cubicBezTo>
                    <a:cubicBezTo>
                      <a:pt x="131" y="392"/>
                      <a:pt x="138" y="395"/>
                      <a:pt x="144" y="397"/>
                    </a:cubicBezTo>
                    <a:lnTo>
                      <a:pt x="142" y="402"/>
                    </a:lnTo>
                    <a:close/>
                    <a:moveTo>
                      <a:pt x="290" y="394"/>
                    </a:moveTo>
                    <a:cubicBezTo>
                      <a:pt x="288" y="389"/>
                      <a:pt x="288" y="389"/>
                      <a:pt x="288" y="389"/>
                    </a:cubicBezTo>
                    <a:cubicBezTo>
                      <a:pt x="294" y="387"/>
                      <a:pt x="301" y="383"/>
                      <a:pt x="307" y="380"/>
                    </a:cubicBezTo>
                    <a:cubicBezTo>
                      <a:pt x="309" y="385"/>
                      <a:pt x="309" y="385"/>
                      <a:pt x="309" y="385"/>
                    </a:cubicBezTo>
                    <a:cubicBezTo>
                      <a:pt x="303" y="388"/>
                      <a:pt x="297" y="391"/>
                      <a:pt x="290" y="394"/>
                    </a:cubicBezTo>
                    <a:close/>
                    <a:moveTo>
                      <a:pt x="103" y="385"/>
                    </a:moveTo>
                    <a:cubicBezTo>
                      <a:pt x="97" y="381"/>
                      <a:pt x="91" y="377"/>
                      <a:pt x="85" y="373"/>
                    </a:cubicBezTo>
                    <a:cubicBezTo>
                      <a:pt x="88" y="369"/>
                      <a:pt x="88" y="369"/>
                      <a:pt x="88" y="369"/>
                    </a:cubicBezTo>
                    <a:cubicBezTo>
                      <a:pt x="94" y="373"/>
                      <a:pt x="100" y="377"/>
                      <a:pt x="106" y="380"/>
                    </a:cubicBezTo>
                    <a:lnTo>
                      <a:pt x="103" y="385"/>
                    </a:lnTo>
                    <a:close/>
                    <a:moveTo>
                      <a:pt x="327" y="373"/>
                    </a:moveTo>
                    <a:cubicBezTo>
                      <a:pt x="324" y="368"/>
                      <a:pt x="324" y="368"/>
                      <a:pt x="324" y="368"/>
                    </a:cubicBezTo>
                    <a:cubicBezTo>
                      <a:pt x="330" y="364"/>
                      <a:pt x="335" y="360"/>
                      <a:pt x="341" y="355"/>
                    </a:cubicBezTo>
                    <a:cubicBezTo>
                      <a:pt x="344" y="359"/>
                      <a:pt x="344" y="359"/>
                      <a:pt x="344" y="359"/>
                    </a:cubicBezTo>
                    <a:cubicBezTo>
                      <a:pt x="339" y="364"/>
                      <a:pt x="333" y="369"/>
                      <a:pt x="327" y="373"/>
                    </a:cubicBezTo>
                    <a:close/>
                    <a:moveTo>
                      <a:pt x="68" y="359"/>
                    </a:moveTo>
                    <a:cubicBezTo>
                      <a:pt x="63" y="355"/>
                      <a:pt x="58" y="349"/>
                      <a:pt x="53" y="344"/>
                    </a:cubicBezTo>
                    <a:cubicBezTo>
                      <a:pt x="57" y="340"/>
                      <a:pt x="57" y="340"/>
                      <a:pt x="57" y="340"/>
                    </a:cubicBezTo>
                    <a:cubicBezTo>
                      <a:pt x="62" y="346"/>
                      <a:pt x="67" y="351"/>
                      <a:pt x="72" y="355"/>
                    </a:cubicBezTo>
                    <a:lnTo>
                      <a:pt x="68" y="359"/>
                    </a:lnTo>
                    <a:close/>
                    <a:moveTo>
                      <a:pt x="359" y="344"/>
                    </a:moveTo>
                    <a:cubicBezTo>
                      <a:pt x="355" y="340"/>
                      <a:pt x="355" y="340"/>
                      <a:pt x="355" y="340"/>
                    </a:cubicBezTo>
                    <a:cubicBezTo>
                      <a:pt x="360" y="335"/>
                      <a:pt x="365" y="330"/>
                      <a:pt x="369" y="324"/>
                    </a:cubicBezTo>
                    <a:cubicBezTo>
                      <a:pt x="373" y="327"/>
                      <a:pt x="373" y="327"/>
                      <a:pt x="373" y="327"/>
                    </a:cubicBezTo>
                    <a:cubicBezTo>
                      <a:pt x="369" y="333"/>
                      <a:pt x="364" y="339"/>
                      <a:pt x="359" y="344"/>
                    </a:cubicBezTo>
                    <a:close/>
                    <a:moveTo>
                      <a:pt x="39" y="327"/>
                    </a:moveTo>
                    <a:cubicBezTo>
                      <a:pt x="35" y="322"/>
                      <a:pt x="31" y="315"/>
                      <a:pt x="28" y="309"/>
                    </a:cubicBezTo>
                    <a:cubicBezTo>
                      <a:pt x="32" y="307"/>
                      <a:pt x="32" y="307"/>
                      <a:pt x="32" y="307"/>
                    </a:cubicBezTo>
                    <a:cubicBezTo>
                      <a:pt x="36" y="313"/>
                      <a:pt x="40" y="319"/>
                      <a:pt x="44" y="324"/>
                    </a:cubicBezTo>
                    <a:lnTo>
                      <a:pt x="39" y="327"/>
                    </a:lnTo>
                    <a:close/>
                    <a:moveTo>
                      <a:pt x="385" y="309"/>
                    </a:moveTo>
                    <a:cubicBezTo>
                      <a:pt x="380" y="306"/>
                      <a:pt x="380" y="306"/>
                      <a:pt x="380" y="306"/>
                    </a:cubicBezTo>
                    <a:cubicBezTo>
                      <a:pt x="384" y="300"/>
                      <a:pt x="387" y="294"/>
                      <a:pt x="390" y="288"/>
                    </a:cubicBezTo>
                    <a:cubicBezTo>
                      <a:pt x="395" y="290"/>
                      <a:pt x="395" y="290"/>
                      <a:pt x="395" y="290"/>
                    </a:cubicBezTo>
                    <a:cubicBezTo>
                      <a:pt x="392" y="296"/>
                      <a:pt x="388" y="303"/>
                      <a:pt x="385" y="309"/>
                    </a:cubicBezTo>
                    <a:close/>
                    <a:moveTo>
                      <a:pt x="18" y="290"/>
                    </a:moveTo>
                    <a:cubicBezTo>
                      <a:pt x="15" y="283"/>
                      <a:pt x="12" y="277"/>
                      <a:pt x="10" y="270"/>
                    </a:cubicBezTo>
                    <a:cubicBezTo>
                      <a:pt x="15" y="268"/>
                      <a:pt x="15" y="268"/>
                      <a:pt x="15" y="268"/>
                    </a:cubicBezTo>
                    <a:cubicBezTo>
                      <a:pt x="17" y="275"/>
                      <a:pt x="20" y="281"/>
                      <a:pt x="23" y="288"/>
                    </a:cubicBezTo>
                    <a:lnTo>
                      <a:pt x="18" y="290"/>
                    </a:lnTo>
                    <a:close/>
                    <a:moveTo>
                      <a:pt x="402" y="270"/>
                    </a:moveTo>
                    <a:cubicBezTo>
                      <a:pt x="397" y="268"/>
                      <a:pt x="397" y="268"/>
                      <a:pt x="397" y="268"/>
                    </a:cubicBezTo>
                    <a:cubicBezTo>
                      <a:pt x="399" y="261"/>
                      <a:pt x="401" y="255"/>
                      <a:pt x="403" y="248"/>
                    </a:cubicBezTo>
                    <a:cubicBezTo>
                      <a:pt x="408" y="249"/>
                      <a:pt x="408" y="249"/>
                      <a:pt x="408" y="249"/>
                    </a:cubicBezTo>
                    <a:cubicBezTo>
                      <a:pt x="406" y="256"/>
                      <a:pt x="405" y="263"/>
                      <a:pt x="402" y="270"/>
                    </a:cubicBezTo>
                    <a:close/>
                    <a:moveTo>
                      <a:pt x="4" y="249"/>
                    </a:moveTo>
                    <a:cubicBezTo>
                      <a:pt x="3" y="242"/>
                      <a:pt x="2" y="235"/>
                      <a:pt x="1" y="228"/>
                    </a:cubicBezTo>
                    <a:cubicBezTo>
                      <a:pt x="6" y="227"/>
                      <a:pt x="6" y="227"/>
                      <a:pt x="6" y="227"/>
                    </a:cubicBezTo>
                    <a:cubicBezTo>
                      <a:pt x="7" y="234"/>
                      <a:pt x="8" y="241"/>
                      <a:pt x="10" y="248"/>
                    </a:cubicBezTo>
                    <a:lnTo>
                      <a:pt x="4" y="249"/>
                    </a:lnTo>
                    <a:close/>
                    <a:moveTo>
                      <a:pt x="411" y="228"/>
                    </a:moveTo>
                    <a:cubicBezTo>
                      <a:pt x="406" y="227"/>
                      <a:pt x="406" y="227"/>
                      <a:pt x="406" y="227"/>
                    </a:cubicBezTo>
                    <a:cubicBezTo>
                      <a:pt x="407" y="220"/>
                      <a:pt x="407" y="213"/>
                      <a:pt x="407" y="206"/>
                    </a:cubicBezTo>
                    <a:cubicBezTo>
                      <a:pt x="407" y="206"/>
                      <a:pt x="407" y="206"/>
                      <a:pt x="407" y="206"/>
                    </a:cubicBezTo>
                    <a:cubicBezTo>
                      <a:pt x="412" y="206"/>
                      <a:pt x="412" y="206"/>
                      <a:pt x="412" y="206"/>
                    </a:cubicBezTo>
                    <a:cubicBezTo>
                      <a:pt x="412" y="206"/>
                      <a:pt x="412" y="206"/>
                      <a:pt x="412" y="206"/>
                    </a:cubicBezTo>
                    <a:cubicBezTo>
                      <a:pt x="412" y="213"/>
                      <a:pt x="412" y="220"/>
                      <a:pt x="411" y="228"/>
                    </a:cubicBezTo>
                    <a:close/>
                    <a:moveTo>
                      <a:pt x="0" y="206"/>
                    </a:moveTo>
                    <a:cubicBezTo>
                      <a:pt x="0" y="206"/>
                      <a:pt x="0" y="206"/>
                      <a:pt x="0" y="206"/>
                    </a:cubicBezTo>
                    <a:cubicBezTo>
                      <a:pt x="0" y="199"/>
                      <a:pt x="0" y="192"/>
                      <a:pt x="1" y="185"/>
                    </a:cubicBezTo>
                    <a:cubicBezTo>
                      <a:pt x="6" y="185"/>
                      <a:pt x="6" y="185"/>
                      <a:pt x="6" y="185"/>
                    </a:cubicBezTo>
                    <a:cubicBezTo>
                      <a:pt x="6" y="192"/>
                      <a:pt x="5" y="199"/>
                      <a:pt x="5" y="206"/>
                    </a:cubicBezTo>
                    <a:lnTo>
                      <a:pt x="0" y="206"/>
                    </a:lnTo>
                    <a:close/>
                    <a:moveTo>
                      <a:pt x="406" y="185"/>
                    </a:moveTo>
                    <a:cubicBezTo>
                      <a:pt x="405" y="178"/>
                      <a:pt x="404" y="171"/>
                      <a:pt x="403" y="164"/>
                    </a:cubicBezTo>
                    <a:cubicBezTo>
                      <a:pt x="408" y="163"/>
                      <a:pt x="408" y="163"/>
                      <a:pt x="408" y="163"/>
                    </a:cubicBezTo>
                    <a:cubicBezTo>
                      <a:pt x="409" y="170"/>
                      <a:pt x="410" y="177"/>
                      <a:pt x="411" y="184"/>
                    </a:cubicBezTo>
                    <a:lnTo>
                      <a:pt x="406" y="185"/>
                    </a:lnTo>
                    <a:close/>
                    <a:moveTo>
                      <a:pt x="10" y="164"/>
                    </a:moveTo>
                    <a:cubicBezTo>
                      <a:pt x="4" y="163"/>
                      <a:pt x="4" y="163"/>
                      <a:pt x="4" y="163"/>
                    </a:cubicBezTo>
                    <a:cubicBezTo>
                      <a:pt x="6" y="156"/>
                      <a:pt x="8" y="149"/>
                      <a:pt x="10" y="142"/>
                    </a:cubicBezTo>
                    <a:cubicBezTo>
                      <a:pt x="15" y="144"/>
                      <a:pt x="15" y="144"/>
                      <a:pt x="15" y="144"/>
                    </a:cubicBezTo>
                    <a:cubicBezTo>
                      <a:pt x="13" y="151"/>
                      <a:pt x="11" y="158"/>
                      <a:pt x="10" y="164"/>
                    </a:cubicBezTo>
                    <a:close/>
                    <a:moveTo>
                      <a:pt x="397" y="143"/>
                    </a:moveTo>
                    <a:cubicBezTo>
                      <a:pt x="395" y="137"/>
                      <a:pt x="392" y="130"/>
                      <a:pt x="389" y="124"/>
                    </a:cubicBezTo>
                    <a:cubicBezTo>
                      <a:pt x="394" y="122"/>
                      <a:pt x="394" y="122"/>
                      <a:pt x="394" y="122"/>
                    </a:cubicBezTo>
                    <a:cubicBezTo>
                      <a:pt x="397" y="128"/>
                      <a:pt x="400" y="135"/>
                      <a:pt x="402" y="142"/>
                    </a:cubicBezTo>
                    <a:lnTo>
                      <a:pt x="397" y="143"/>
                    </a:lnTo>
                    <a:close/>
                    <a:moveTo>
                      <a:pt x="22" y="124"/>
                    </a:moveTo>
                    <a:cubicBezTo>
                      <a:pt x="18" y="122"/>
                      <a:pt x="18" y="122"/>
                      <a:pt x="18" y="122"/>
                    </a:cubicBezTo>
                    <a:cubicBezTo>
                      <a:pt x="20" y="116"/>
                      <a:pt x="24" y="109"/>
                      <a:pt x="27" y="103"/>
                    </a:cubicBezTo>
                    <a:cubicBezTo>
                      <a:pt x="32" y="106"/>
                      <a:pt x="32" y="106"/>
                      <a:pt x="32" y="106"/>
                    </a:cubicBezTo>
                    <a:cubicBezTo>
                      <a:pt x="29" y="112"/>
                      <a:pt x="25" y="118"/>
                      <a:pt x="22" y="124"/>
                    </a:cubicBezTo>
                    <a:close/>
                    <a:moveTo>
                      <a:pt x="380" y="105"/>
                    </a:moveTo>
                    <a:cubicBezTo>
                      <a:pt x="376" y="99"/>
                      <a:pt x="373" y="93"/>
                      <a:pt x="368" y="88"/>
                    </a:cubicBezTo>
                    <a:cubicBezTo>
                      <a:pt x="373" y="84"/>
                      <a:pt x="373" y="84"/>
                      <a:pt x="373" y="84"/>
                    </a:cubicBezTo>
                    <a:cubicBezTo>
                      <a:pt x="377" y="90"/>
                      <a:pt x="381" y="96"/>
                      <a:pt x="385" y="102"/>
                    </a:cubicBezTo>
                    <a:lnTo>
                      <a:pt x="380" y="105"/>
                    </a:lnTo>
                    <a:close/>
                    <a:moveTo>
                      <a:pt x="43" y="88"/>
                    </a:moveTo>
                    <a:cubicBezTo>
                      <a:pt x="39" y="85"/>
                      <a:pt x="39" y="85"/>
                      <a:pt x="39" y="85"/>
                    </a:cubicBezTo>
                    <a:cubicBezTo>
                      <a:pt x="43" y="79"/>
                      <a:pt x="48" y="74"/>
                      <a:pt x="53" y="68"/>
                    </a:cubicBezTo>
                    <a:cubicBezTo>
                      <a:pt x="57" y="72"/>
                      <a:pt x="57" y="72"/>
                      <a:pt x="57" y="72"/>
                    </a:cubicBezTo>
                    <a:cubicBezTo>
                      <a:pt x="52" y="77"/>
                      <a:pt x="48" y="82"/>
                      <a:pt x="43" y="88"/>
                    </a:cubicBezTo>
                    <a:close/>
                    <a:moveTo>
                      <a:pt x="355" y="71"/>
                    </a:moveTo>
                    <a:cubicBezTo>
                      <a:pt x="350" y="66"/>
                      <a:pt x="345" y="61"/>
                      <a:pt x="340" y="56"/>
                    </a:cubicBezTo>
                    <a:cubicBezTo>
                      <a:pt x="344" y="52"/>
                      <a:pt x="344" y="52"/>
                      <a:pt x="344" y="52"/>
                    </a:cubicBezTo>
                    <a:cubicBezTo>
                      <a:pt x="349" y="57"/>
                      <a:pt x="354" y="62"/>
                      <a:pt x="359" y="68"/>
                    </a:cubicBezTo>
                    <a:lnTo>
                      <a:pt x="355" y="71"/>
                    </a:lnTo>
                    <a:close/>
                    <a:moveTo>
                      <a:pt x="72" y="57"/>
                    </a:moveTo>
                    <a:cubicBezTo>
                      <a:pt x="68" y="53"/>
                      <a:pt x="68" y="53"/>
                      <a:pt x="68" y="53"/>
                    </a:cubicBezTo>
                    <a:cubicBezTo>
                      <a:pt x="73" y="48"/>
                      <a:pt x="79" y="43"/>
                      <a:pt x="85" y="39"/>
                    </a:cubicBezTo>
                    <a:cubicBezTo>
                      <a:pt x="88" y="44"/>
                      <a:pt x="88" y="44"/>
                      <a:pt x="88" y="44"/>
                    </a:cubicBezTo>
                    <a:cubicBezTo>
                      <a:pt x="82" y="48"/>
                      <a:pt x="77" y="52"/>
                      <a:pt x="72" y="57"/>
                    </a:cubicBezTo>
                    <a:close/>
                    <a:moveTo>
                      <a:pt x="324" y="43"/>
                    </a:moveTo>
                    <a:cubicBezTo>
                      <a:pt x="318" y="39"/>
                      <a:pt x="312" y="35"/>
                      <a:pt x="306" y="32"/>
                    </a:cubicBezTo>
                    <a:cubicBezTo>
                      <a:pt x="309" y="27"/>
                      <a:pt x="309" y="27"/>
                      <a:pt x="309" y="27"/>
                    </a:cubicBezTo>
                    <a:cubicBezTo>
                      <a:pt x="315" y="31"/>
                      <a:pt x="321" y="35"/>
                      <a:pt x="327" y="39"/>
                    </a:cubicBezTo>
                    <a:lnTo>
                      <a:pt x="324" y="43"/>
                    </a:lnTo>
                    <a:close/>
                    <a:moveTo>
                      <a:pt x="105" y="32"/>
                    </a:moveTo>
                    <a:cubicBezTo>
                      <a:pt x="103" y="27"/>
                      <a:pt x="103" y="27"/>
                      <a:pt x="103" y="27"/>
                    </a:cubicBezTo>
                    <a:cubicBezTo>
                      <a:pt x="109" y="24"/>
                      <a:pt x="115" y="21"/>
                      <a:pt x="122" y="18"/>
                    </a:cubicBezTo>
                    <a:cubicBezTo>
                      <a:pt x="124" y="23"/>
                      <a:pt x="124" y="23"/>
                      <a:pt x="124" y="23"/>
                    </a:cubicBezTo>
                    <a:cubicBezTo>
                      <a:pt x="118" y="25"/>
                      <a:pt x="111" y="29"/>
                      <a:pt x="105" y="32"/>
                    </a:cubicBezTo>
                    <a:close/>
                    <a:moveTo>
                      <a:pt x="287" y="22"/>
                    </a:moveTo>
                    <a:cubicBezTo>
                      <a:pt x="281" y="19"/>
                      <a:pt x="274" y="17"/>
                      <a:pt x="268" y="15"/>
                    </a:cubicBezTo>
                    <a:cubicBezTo>
                      <a:pt x="270" y="10"/>
                      <a:pt x="270" y="10"/>
                      <a:pt x="270" y="10"/>
                    </a:cubicBezTo>
                    <a:cubicBezTo>
                      <a:pt x="276" y="12"/>
                      <a:pt x="283" y="14"/>
                      <a:pt x="290" y="17"/>
                    </a:cubicBezTo>
                    <a:lnTo>
                      <a:pt x="287" y="22"/>
                    </a:lnTo>
                    <a:close/>
                    <a:moveTo>
                      <a:pt x="144" y="15"/>
                    </a:moveTo>
                    <a:cubicBezTo>
                      <a:pt x="142" y="10"/>
                      <a:pt x="142" y="10"/>
                      <a:pt x="142" y="10"/>
                    </a:cubicBezTo>
                    <a:cubicBezTo>
                      <a:pt x="149" y="8"/>
                      <a:pt x="156" y="6"/>
                      <a:pt x="163" y="4"/>
                    </a:cubicBezTo>
                    <a:cubicBezTo>
                      <a:pt x="164" y="10"/>
                      <a:pt x="164" y="10"/>
                      <a:pt x="164" y="10"/>
                    </a:cubicBezTo>
                    <a:cubicBezTo>
                      <a:pt x="157" y="11"/>
                      <a:pt x="150" y="13"/>
                      <a:pt x="144" y="15"/>
                    </a:cubicBezTo>
                    <a:close/>
                    <a:moveTo>
                      <a:pt x="248" y="9"/>
                    </a:moveTo>
                    <a:cubicBezTo>
                      <a:pt x="241" y="8"/>
                      <a:pt x="234" y="7"/>
                      <a:pt x="227" y="6"/>
                    </a:cubicBezTo>
                    <a:cubicBezTo>
                      <a:pt x="227" y="1"/>
                      <a:pt x="227" y="1"/>
                      <a:pt x="227" y="1"/>
                    </a:cubicBezTo>
                    <a:cubicBezTo>
                      <a:pt x="234" y="2"/>
                      <a:pt x="242" y="3"/>
                      <a:pt x="249" y="4"/>
                    </a:cubicBezTo>
                    <a:lnTo>
                      <a:pt x="248" y="9"/>
                    </a:lnTo>
                    <a:close/>
                    <a:moveTo>
                      <a:pt x="185" y="6"/>
                    </a:moveTo>
                    <a:cubicBezTo>
                      <a:pt x="184" y="1"/>
                      <a:pt x="184" y="1"/>
                      <a:pt x="184" y="1"/>
                    </a:cubicBezTo>
                    <a:cubicBezTo>
                      <a:pt x="191" y="0"/>
                      <a:pt x="199" y="0"/>
                      <a:pt x="206" y="0"/>
                    </a:cubicBezTo>
                    <a:cubicBezTo>
                      <a:pt x="206" y="5"/>
                      <a:pt x="206" y="5"/>
                      <a:pt x="206" y="5"/>
                    </a:cubicBezTo>
                    <a:cubicBezTo>
                      <a:pt x="199" y="5"/>
                      <a:pt x="192" y="6"/>
                      <a:pt x="185" y="6"/>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152" name="Oval 151"/>
              <p:cNvSpPr>
                <a:spLocks noChangeArrowheads="1"/>
              </p:cNvSpPr>
              <p:nvPr/>
            </p:nvSpPr>
            <p:spPr bwMode="auto">
              <a:xfrm>
                <a:off x="7720932" y="3040490"/>
                <a:ext cx="638743" cy="637418"/>
              </a:xfrm>
              <a:prstGeom prst="ellipse">
                <a:avLst/>
              </a:prstGeom>
              <a:solidFill>
                <a:srgbClr val="E6E6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153" name="Freeform 152"/>
              <p:cNvSpPr>
                <a:spLocks noEditPoints="1"/>
              </p:cNvSpPr>
              <p:nvPr/>
            </p:nvSpPr>
            <p:spPr bwMode="auto">
              <a:xfrm>
                <a:off x="7715631" y="3033864"/>
                <a:ext cx="649345" cy="649345"/>
              </a:xfrm>
              <a:custGeom>
                <a:avLst/>
                <a:gdLst>
                  <a:gd name="T0" fmla="*/ 164 w 350"/>
                  <a:gd name="T1" fmla="*/ 344 h 350"/>
                  <a:gd name="T2" fmla="*/ 175 w 350"/>
                  <a:gd name="T3" fmla="*/ 350 h 350"/>
                  <a:gd name="T4" fmla="*/ 123 w 350"/>
                  <a:gd name="T5" fmla="*/ 337 h 350"/>
                  <a:gd name="T6" fmla="*/ 208 w 350"/>
                  <a:gd name="T7" fmla="*/ 347 h 350"/>
                  <a:gd name="T8" fmla="*/ 229 w 350"/>
                  <a:gd name="T9" fmla="*/ 342 h 350"/>
                  <a:gd name="T10" fmla="*/ 81 w 350"/>
                  <a:gd name="T11" fmla="*/ 323 h 350"/>
                  <a:gd name="T12" fmla="*/ 101 w 350"/>
                  <a:gd name="T13" fmla="*/ 334 h 350"/>
                  <a:gd name="T14" fmla="*/ 266 w 350"/>
                  <a:gd name="T15" fmla="*/ 318 h 350"/>
                  <a:gd name="T16" fmla="*/ 63 w 350"/>
                  <a:gd name="T17" fmla="*/ 310 h 350"/>
                  <a:gd name="T18" fmla="*/ 67 w 350"/>
                  <a:gd name="T19" fmla="*/ 306 h 350"/>
                  <a:gd name="T20" fmla="*/ 283 w 350"/>
                  <a:gd name="T21" fmla="*/ 306 h 350"/>
                  <a:gd name="T22" fmla="*/ 287 w 350"/>
                  <a:gd name="T23" fmla="*/ 310 h 350"/>
                  <a:gd name="T24" fmla="*/ 26 w 350"/>
                  <a:gd name="T25" fmla="*/ 257 h 350"/>
                  <a:gd name="T26" fmla="*/ 317 w 350"/>
                  <a:gd name="T27" fmla="*/ 278 h 350"/>
                  <a:gd name="T28" fmla="*/ 328 w 350"/>
                  <a:gd name="T29" fmla="*/ 259 h 350"/>
                  <a:gd name="T30" fmla="*/ 5 w 350"/>
                  <a:gd name="T31" fmla="*/ 219 h 350"/>
                  <a:gd name="T32" fmla="*/ 12 w 350"/>
                  <a:gd name="T33" fmla="*/ 240 h 350"/>
                  <a:gd name="T34" fmla="*/ 339 w 350"/>
                  <a:gd name="T35" fmla="*/ 217 h 350"/>
                  <a:gd name="T36" fmla="*/ 1 w 350"/>
                  <a:gd name="T37" fmla="*/ 197 h 350"/>
                  <a:gd name="T38" fmla="*/ 7 w 350"/>
                  <a:gd name="T39" fmla="*/ 197 h 350"/>
                  <a:gd name="T40" fmla="*/ 343 w 350"/>
                  <a:gd name="T41" fmla="*/ 196 h 350"/>
                  <a:gd name="T42" fmla="*/ 350 w 350"/>
                  <a:gd name="T43" fmla="*/ 175 h 350"/>
                  <a:gd name="T44" fmla="*/ 7 w 350"/>
                  <a:gd name="T45" fmla="*/ 154 h 350"/>
                  <a:gd name="T46" fmla="*/ 10 w 350"/>
                  <a:gd name="T47" fmla="*/ 133 h 350"/>
                  <a:gd name="T48" fmla="*/ 339 w 350"/>
                  <a:gd name="T49" fmla="*/ 132 h 350"/>
                  <a:gd name="T50" fmla="*/ 343 w 350"/>
                  <a:gd name="T51" fmla="*/ 153 h 350"/>
                  <a:gd name="T52" fmla="*/ 21 w 350"/>
                  <a:gd name="T53" fmla="*/ 91 h 350"/>
                  <a:gd name="T54" fmla="*/ 333 w 350"/>
                  <a:gd name="T55" fmla="*/ 112 h 350"/>
                  <a:gd name="T56" fmla="*/ 338 w 350"/>
                  <a:gd name="T57" fmla="*/ 110 h 350"/>
                  <a:gd name="T58" fmla="*/ 33 w 350"/>
                  <a:gd name="T59" fmla="*/ 72 h 350"/>
                  <a:gd name="T60" fmla="*/ 38 w 350"/>
                  <a:gd name="T61" fmla="*/ 76 h 350"/>
                  <a:gd name="T62" fmla="*/ 302 w 350"/>
                  <a:gd name="T63" fmla="*/ 55 h 350"/>
                  <a:gd name="T64" fmla="*/ 67 w 350"/>
                  <a:gd name="T65" fmla="*/ 45 h 350"/>
                  <a:gd name="T66" fmla="*/ 84 w 350"/>
                  <a:gd name="T67" fmla="*/ 32 h 350"/>
                  <a:gd name="T68" fmla="*/ 266 w 350"/>
                  <a:gd name="T69" fmla="*/ 32 h 350"/>
                  <a:gd name="T70" fmla="*/ 283 w 350"/>
                  <a:gd name="T71" fmla="*/ 44 h 350"/>
                  <a:gd name="T72" fmla="*/ 121 w 350"/>
                  <a:gd name="T73" fmla="*/ 9 h 350"/>
                  <a:gd name="T74" fmla="*/ 247 w 350"/>
                  <a:gd name="T75" fmla="*/ 21 h 350"/>
                  <a:gd name="T76" fmla="*/ 249 w 350"/>
                  <a:gd name="T77" fmla="*/ 16 h 350"/>
                  <a:gd name="T78" fmla="*/ 142 w 350"/>
                  <a:gd name="T79" fmla="*/ 3 h 350"/>
                  <a:gd name="T80" fmla="*/ 143 w 350"/>
                  <a:gd name="T81" fmla="*/ 8 h 350"/>
                  <a:gd name="T82" fmla="*/ 186 w 350"/>
                  <a:gd name="T83" fmla="*/ 0 h 3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50" h="350">
                    <a:moveTo>
                      <a:pt x="175" y="350"/>
                    </a:moveTo>
                    <a:cubicBezTo>
                      <a:pt x="171" y="350"/>
                      <a:pt x="168" y="350"/>
                      <a:pt x="164" y="350"/>
                    </a:cubicBezTo>
                    <a:cubicBezTo>
                      <a:pt x="164" y="344"/>
                      <a:pt x="164" y="344"/>
                      <a:pt x="164" y="344"/>
                    </a:cubicBezTo>
                    <a:cubicBezTo>
                      <a:pt x="171" y="345"/>
                      <a:pt x="179" y="345"/>
                      <a:pt x="186" y="344"/>
                    </a:cubicBezTo>
                    <a:cubicBezTo>
                      <a:pt x="186" y="350"/>
                      <a:pt x="186" y="350"/>
                      <a:pt x="186" y="350"/>
                    </a:cubicBezTo>
                    <a:cubicBezTo>
                      <a:pt x="182" y="350"/>
                      <a:pt x="179" y="350"/>
                      <a:pt x="175" y="350"/>
                    </a:cubicBezTo>
                    <a:close/>
                    <a:moveTo>
                      <a:pt x="142" y="347"/>
                    </a:moveTo>
                    <a:cubicBezTo>
                      <a:pt x="135" y="346"/>
                      <a:pt x="128" y="344"/>
                      <a:pt x="121" y="342"/>
                    </a:cubicBezTo>
                    <a:cubicBezTo>
                      <a:pt x="123" y="337"/>
                      <a:pt x="123" y="337"/>
                      <a:pt x="123" y="337"/>
                    </a:cubicBezTo>
                    <a:cubicBezTo>
                      <a:pt x="129" y="339"/>
                      <a:pt x="136" y="341"/>
                      <a:pt x="143" y="342"/>
                    </a:cubicBezTo>
                    <a:lnTo>
                      <a:pt x="142" y="347"/>
                    </a:lnTo>
                    <a:close/>
                    <a:moveTo>
                      <a:pt x="208" y="347"/>
                    </a:moveTo>
                    <a:cubicBezTo>
                      <a:pt x="207" y="342"/>
                      <a:pt x="207" y="342"/>
                      <a:pt x="207" y="342"/>
                    </a:cubicBezTo>
                    <a:cubicBezTo>
                      <a:pt x="214" y="340"/>
                      <a:pt x="221" y="339"/>
                      <a:pt x="228" y="336"/>
                    </a:cubicBezTo>
                    <a:cubicBezTo>
                      <a:pt x="229" y="342"/>
                      <a:pt x="229" y="342"/>
                      <a:pt x="229" y="342"/>
                    </a:cubicBezTo>
                    <a:cubicBezTo>
                      <a:pt x="222" y="344"/>
                      <a:pt x="215" y="346"/>
                      <a:pt x="208" y="347"/>
                    </a:cubicBezTo>
                    <a:close/>
                    <a:moveTo>
                      <a:pt x="101" y="334"/>
                    </a:moveTo>
                    <a:cubicBezTo>
                      <a:pt x="94" y="331"/>
                      <a:pt x="87" y="327"/>
                      <a:pt x="81" y="323"/>
                    </a:cubicBezTo>
                    <a:cubicBezTo>
                      <a:pt x="84" y="318"/>
                      <a:pt x="84" y="318"/>
                      <a:pt x="84" y="318"/>
                    </a:cubicBezTo>
                    <a:cubicBezTo>
                      <a:pt x="90" y="322"/>
                      <a:pt x="96" y="326"/>
                      <a:pt x="103" y="329"/>
                    </a:cubicBezTo>
                    <a:lnTo>
                      <a:pt x="101" y="334"/>
                    </a:lnTo>
                    <a:close/>
                    <a:moveTo>
                      <a:pt x="250" y="334"/>
                    </a:moveTo>
                    <a:cubicBezTo>
                      <a:pt x="247" y="329"/>
                      <a:pt x="247" y="329"/>
                      <a:pt x="247" y="329"/>
                    </a:cubicBezTo>
                    <a:cubicBezTo>
                      <a:pt x="254" y="326"/>
                      <a:pt x="260" y="322"/>
                      <a:pt x="266" y="318"/>
                    </a:cubicBezTo>
                    <a:cubicBezTo>
                      <a:pt x="269" y="323"/>
                      <a:pt x="269" y="323"/>
                      <a:pt x="269" y="323"/>
                    </a:cubicBezTo>
                    <a:cubicBezTo>
                      <a:pt x="263" y="327"/>
                      <a:pt x="256" y="330"/>
                      <a:pt x="250" y="334"/>
                    </a:cubicBezTo>
                    <a:close/>
                    <a:moveTo>
                      <a:pt x="63" y="310"/>
                    </a:moveTo>
                    <a:cubicBezTo>
                      <a:pt x="58" y="305"/>
                      <a:pt x="52" y="300"/>
                      <a:pt x="47" y="295"/>
                    </a:cubicBezTo>
                    <a:cubicBezTo>
                      <a:pt x="51" y="291"/>
                      <a:pt x="51" y="291"/>
                      <a:pt x="51" y="291"/>
                    </a:cubicBezTo>
                    <a:cubicBezTo>
                      <a:pt x="56" y="297"/>
                      <a:pt x="61" y="301"/>
                      <a:pt x="67" y="306"/>
                    </a:cubicBezTo>
                    <a:lnTo>
                      <a:pt x="63" y="310"/>
                    </a:lnTo>
                    <a:close/>
                    <a:moveTo>
                      <a:pt x="287" y="310"/>
                    </a:moveTo>
                    <a:cubicBezTo>
                      <a:pt x="283" y="306"/>
                      <a:pt x="283" y="306"/>
                      <a:pt x="283" y="306"/>
                    </a:cubicBezTo>
                    <a:cubicBezTo>
                      <a:pt x="289" y="301"/>
                      <a:pt x="294" y="296"/>
                      <a:pt x="299" y="291"/>
                    </a:cubicBezTo>
                    <a:cubicBezTo>
                      <a:pt x="303" y="295"/>
                      <a:pt x="303" y="295"/>
                      <a:pt x="303" y="295"/>
                    </a:cubicBezTo>
                    <a:cubicBezTo>
                      <a:pt x="298" y="300"/>
                      <a:pt x="292" y="305"/>
                      <a:pt x="287" y="310"/>
                    </a:cubicBezTo>
                    <a:close/>
                    <a:moveTo>
                      <a:pt x="33" y="278"/>
                    </a:moveTo>
                    <a:cubicBezTo>
                      <a:pt x="29" y="272"/>
                      <a:pt x="25" y="266"/>
                      <a:pt x="22" y="260"/>
                    </a:cubicBezTo>
                    <a:cubicBezTo>
                      <a:pt x="26" y="257"/>
                      <a:pt x="26" y="257"/>
                      <a:pt x="26" y="257"/>
                    </a:cubicBezTo>
                    <a:cubicBezTo>
                      <a:pt x="30" y="263"/>
                      <a:pt x="34" y="269"/>
                      <a:pt x="38" y="275"/>
                    </a:cubicBezTo>
                    <a:lnTo>
                      <a:pt x="33" y="278"/>
                    </a:lnTo>
                    <a:close/>
                    <a:moveTo>
                      <a:pt x="317" y="278"/>
                    </a:moveTo>
                    <a:cubicBezTo>
                      <a:pt x="312" y="275"/>
                      <a:pt x="312" y="275"/>
                      <a:pt x="312" y="275"/>
                    </a:cubicBezTo>
                    <a:cubicBezTo>
                      <a:pt x="316" y="269"/>
                      <a:pt x="320" y="263"/>
                      <a:pt x="324" y="257"/>
                    </a:cubicBezTo>
                    <a:cubicBezTo>
                      <a:pt x="328" y="259"/>
                      <a:pt x="328" y="259"/>
                      <a:pt x="328" y="259"/>
                    </a:cubicBezTo>
                    <a:cubicBezTo>
                      <a:pt x="325" y="266"/>
                      <a:pt x="321" y="272"/>
                      <a:pt x="317" y="278"/>
                    </a:cubicBezTo>
                    <a:close/>
                    <a:moveTo>
                      <a:pt x="12" y="240"/>
                    </a:moveTo>
                    <a:cubicBezTo>
                      <a:pt x="10" y="233"/>
                      <a:pt x="7" y="226"/>
                      <a:pt x="5" y="219"/>
                    </a:cubicBezTo>
                    <a:cubicBezTo>
                      <a:pt x="11" y="218"/>
                      <a:pt x="11" y="218"/>
                      <a:pt x="11" y="218"/>
                    </a:cubicBezTo>
                    <a:cubicBezTo>
                      <a:pt x="12" y="224"/>
                      <a:pt x="15" y="231"/>
                      <a:pt x="17" y="238"/>
                    </a:cubicBezTo>
                    <a:lnTo>
                      <a:pt x="12" y="240"/>
                    </a:lnTo>
                    <a:close/>
                    <a:moveTo>
                      <a:pt x="338" y="240"/>
                    </a:moveTo>
                    <a:cubicBezTo>
                      <a:pt x="333" y="238"/>
                      <a:pt x="333" y="238"/>
                      <a:pt x="333" y="238"/>
                    </a:cubicBezTo>
                    <a:cubicBezTo>
                      <a:pt x="335" y="231"/>
                      <a:pt x="338" y="224"/>
                      <a:pt x="339" y="217"/>
                    </a:cubicBezTo>
                    <a:cubicBezTo>
                      <a:pt x="345" y="219"/>
                      <a:pt x="345" y="219"/>
                      <a:pt x="345" y="219"/>
                    </a:cubicBezTo>
                    <a:cubicBezTo>
                      <a:pt x="343" y="226"/>
                      <a:pt x="341" y="233"/>
                      <a:pt x="338" y="240"/>
                    </a:cubicBezTo>
                    <a:close/>
                    <a:moveTo>
                      <a:pt x="1" y="197"/>
                    </a:moveTo>
                    <a:cubicBezTo>
                      <a:pt x="0" y="190"/>
                      <a:pt x="0" y="183"/>
                      <a:pt x="0" y="175"/>
                    </a:cubicBezTo>
                    <a:cubicBezTo>
                      <a:pt x="5" y="175"/>
                      <a:pt x="5" y="175"/>
                      <a:pt x="5" y="175"/>
                    </a:cubicBezTo>
                    <a:cubicBezTo>
                      <a:pt x="5" y="182"/>
                      <a:pt x="6" y="190"/>
                      <a:pt x="7" y="197"/>
                    </a:cubicBezTo>
                    <a:lnTo>
                      <a:pt x="1" y="197"/>
                    </a:lnTo>
                    <a:close/>
                    <a:moveTo>
                      <a:pt x="349" y="197"/>
                    </a:moveTo>
                    <a:cubicBezTo>
                      <a:pt x="343" y="196"/>
                      <a:pt x="343" y="196"/>
                      <a:pt x="343" y="196"/>
                    </a:cubicBezTo>
                    <a:cubicBezTo>
                      <a:pt x="344" y="189"/>
                      <a:pt x="345" y="182"/>
                      <a:pt x="345" y="175"/>
                    </a:cubicBezTo>
                    <a:cubicBezTo>
                      <a:pt x="345" y="175"/>
                      <a:pt x="345" y="175"/>
                      <a:pt x="345" y="175"/>
                    </a:cubicBezTo>
                    <a:cubicBezTo>
                      <a:pt x="350" y="175"/>
                      <a:pt x="350" y="175"/>
                      <a:pt x="350" y="175"/>
                    </a:cubicBezTo>
                    <a:cubicBezTo>
                      <a:pt x="350" y="175"/>
                      <a:pt x="350" y="175"/>
                      <a:pt x="350" y="175"/>
                    </a:cubicBezTo>
                    <a:cubicBezTo>
                      <a:pt x="350" y="182"/>
                      <a:pt x="350" y="190"/>
                      <a:pt x="349" y="197"/>
                    </a:cubicBezTo>
                    <a:close/>
                    <a:moveTo>
                      <a:pt x="7" y="154"/>
                    </a:moveTo>
                    <a:cubicBezTo>
                      <a:pt x="1" y="153"/>
                      <a:pt x="1" y="153"/>
                      <a:pt x="1" y="153"/>
                    </a:cubicBezTo>
                    <a:cubicBezTo>
                      <a:pt x="2" y="146"/>
                      <a:pt x="3" y="139"/>
                      <a:pt x="5" y="132"/>
                    </a:cubicBezTo>
                    <a:cubicBezTo>
                      <a:pt x="10" y="133"/>
                      <a:pt x="10" y="133"/>
                      <a:pt x="10" y="133"/>
                    </a:cubicBezTo>
                    <a:cubicBezTo>
                      <a:pt x="9" y="140"/>
                      <a:pt x="7" y="147"/>
                      <a:pt x="7" y="154"/>
                    </a:cubicBezTo>
                    <a:close/>
                    <a:moveTo>
                      <a:pt x="343" y="153"/>
                    </a:moveTo>
                    <a:cubicBezTo>
                      <a:pt x="342" y="146"/>
                      <a:pt x="341" y="139"/>
                      <a:pt x="339" y="132"/>
                    </a:cubicBezTo>
                    <a:cubicBezTo>
                      <a:pt x="345" y="131"/>
                      <a:pt x="345" y="131"/>
                      <a:pt x="345" y="131"/>
                    </a:cubicBezTo>
                    <a:cubicBezTo>
                      <a:pt x="346" y="138"/>
                      <a:pt x="348" y="145"/>
                      <a:pt x="349" y="153"/>
                    </a:cubicBezTo>
                    <a:lnTo>
                      <a:pt x="343" y="153"/>
                    </a:lnTo>
                    <a:close/>
                    <a:moveTo>
                      <a:pt x="17" y="113"/>
                    </a:moveTo>
                    <a:cubicBezTo>
                      <a:pt x="12" y="111"/>
                      <a:pt x="12" y="111"/>
                      <a:pt x="12" y="111"/>
                    </a:cubicBezTo>
                    <a:cubicBezTo>
                      <a:pt x="15" y="104"/>
                      <a:pt x="18" y="97"/>
                      <a:pt x="21" y="91"/>
                    </a:cubicBezTo>
                    <a:cubicBezTo>
                      <a:pt x="26" y="94"/>
                      <a:pt x="26" y="94"/>
                      <a:pt x="26" y="94"/>
                    </a:cubicBezTo>
                    <a:cubicBezTo>
                      <a:pt x="23" y="100"/>
                      <a:pt x="20" y="106"/>
                      <a:pt x="17" y="113"/>
                    </a:cubicBezTo>
                    <a:close/>
                    <a:moveTo>
                      <a:pt x="333" y="112"/>
                    </a:moveTo>
                    <a:cubicBezTo>
                      <a:pt x="330" y="106"/>
                      <a:pt x="327" y="99"/>
                      <a:pt x="324" y="93"/>
                    </a:cubicBezTo>
                    <a:cubicBezTo>
                      <a:pt x="328" y="90"/>
                      <a:pt x="328" y="90"/>
                      <a:pt x="328" y="90"/>
                    </a:cubicBezTo>
                    <a:cubicBezTo>
                      <a:pt x="332" y="97"/>
                      <a:pt x="335" y="103"/>
                      <a:pt x="338" y="110"/>
                    </a:cubicBezTo>
                    <a:lnTo>
                      <a:pt x="333" y="112"/>
                    </a:lnTo>
                    <a:close/>
                    <a:moveTo>
                      <a:pt x="38" y="76"/>
                    </a:moveTo>
                    <a:cubicBezTo>
                      <a:pt x="33" y="72"/>
                      <a:pt x="33" y="72"/>
                      <a:pt x="33" y="72"/>
                    </a:cubicBezTo>
                    <a:cubicBezTo>
                      <a:pt x="37" y="66"/>
                      <a:pt x="42" y="61"/>
                      <a:pt x="47" y="55"/>
                    </a:cubicBezTo>
                    <a:cubicBezTo>
                      <a:pt x="51" y="59"/>
                      <a:pt x="51" y="59"/>
                      <a:pt x="51" y="59"/>
                    </a:cubicBezTo>
                    <a:cubicBezTo>
                      <a:pt x="46" y="64"/>
                      <a:pt x="42" y="70"/>
                      <a:pt x="38" y="76"/>
                    </a:cubicBezTo>
                    <a:close/>
                    <a:moveTo>
                      <a:pt x="312" y="75"/>
                    </a:moveTo>
                    <a:cubicBezTo>
                      <a:pt x="308" y="69"/>
                      <a:pt x="303" y="64"/>
                      <a:pt x="298" y="59"/>
                    </a:cubicBezTo>
                    <a:cubicBezTo>
                      <a:pt x="302" y="55"/>
                      <a:pt x="302" y="55"/>
                      <a:pt x="302" y="55"/>
                    </a:cubicBezTo>
                    <a:cubicBezTo>
                      <a:pt x="307" y="60"/>
                      <a:pt x="312" y="66"/>
                      <a:pt x="316" y="72"/>
                    </a:cubicBezTo>
                    <a:lnTo>
                      <a:pt x="312" y="75"/>
                    </a:lnTo>
                    <a:close/>
                    <a:moveTo>
                      <a:pt x="67" y="45"/>
                    </a:moveTo>
                    <a:cubicBezTo>
                      <a:pt x="63" y="40"/>
                      <a:pt x="63" y="40"/>
                      <a:pt x="63" y="40"/>
                    </a:cubicBezTo>
                    <a:cubicBezTo>
                      <a:pt x="69" y="36"/>
                      <a:pt x="75" y="31"/>
                      <a:pt x="81" y="27"/>
                    </a:cubicBezTo>
                    <a:cubicBezTo>
                      <a:pt x="84" y="32"/>
                      <a:pt x="84" y="32"/>
                      <a:pt x="84" y="32"/>
                    </a:cubicBezTo>
                    <a:cubicBezTo>
                      <a:pt x="78" y="36"/>
                      <a:pt x="72" y="40"/>
                      <a:pt x="67" y="45"/>
                    </a:cubicBezTo>
                    <a:close/>
                    <a:moveTo>
                      <a:pt x="283" y="44"/>
                    </a:moveTo>
                    <a:cubicBezTo>
                      <a:pt x="277" y="40"/>
                      <a:pt x="272" y="35"/>
                      <a:pt x="266" y="32"/>
                    </a:cubicBezTo>
                    <a:cubicBezTo>
                      <a:pt x="268" y="27"/>
                      <a:pt x="268" y="27"/>
                      <a:pt x="268" y="27"/>
                    </a:cubicBezTo>
                    <a:cubicBezTo>
                      <a:pt x="275" y="31"/>
                      <a:pt x="281" y="35"/>
                      <a:pt x="286" y="40"/>
                    </a:cubicBezTo>
                    <a:lnTo>
                      <a:pt x="283" y="44"/>
                    </a:lnTo>
                    <a:close/>
                    <a:moveTo>
                      <a:pt x="102" y="22"/>
                    </a:moveTo>
                    <a:cubicBezTo>
                      <a:pt x="100" y="17"/>
                      <a:pt x="100" y="17"/>
                      <a:pt x="100" y="17"/>
                    </a:cubicBezTo>
                    <a:cubicBezTo>
                      <a:pt x="107" y="14"/>
                      <a:pt x="114" y="11"/>
                      <a:pt x="121" y="9"/>
                    </a:cubicBezTo>
                    <a:cubicBezTo>
                      <a:pt x="122" y="14"/>
                      <a:pt x="122" y="14"/>
                      <a:pt x="122" y="14"/>
                    </a:cubicBezTo>
                    <a:cubicBezTo>
                      <a:pt x="115" y="16"/>
                      <a:pt x="109" y="19"/>
                      <a:pt x="102" y="22"/>
                    </a:cubicBezTo>
                    <a:close/>
                    <a:moveTo>
                      <a:pt x="247" y="21"/>
                    </a:moveTo>
                    <a:cubicBezTo>
                      <a:pt x="240" y="18"/>
                      <a:pt x="234" y="16"/>
                      <a:pt x="227" y="14"/>
                    </a:cubicBezTo>
                    <a:cubicBezTo>
                      <a:pt x="229" y="8"/>
                      <a:pt x="229" y="8"/>
                      <a:pt x="229" y="8"/>
                    </a:cubicBezTo>
                    <a:cubicBezTo>
                      <a:pt x="236" y="11"/>
                      <a:pt x="243" y="13"/>
                      <a:pt x="249" y="16"/>
                    </a:cubicBezTo>
                    <a:lnTo>
                      <a:pt x="247" y="21"/>
                    </a:lnTo>
                    <a:close/>
                    <a:moveTo>
                      <a:pt x="143" y="8"/>
                    </a:moveTo>
                    <a:cubicBezTo>
                      <a:pt x="142" y="3"/>
                      <a:pt x="142" y="3"/>
                      <a:pt x="142" y="3"/>
                    </a:cubicBezTo>
                    <a:cubicBezTo>
                      <a:pt x="149" y="2"/>
                      <a:pt x="156" y="1"/>
                      <a:pt x="164" y="0"/>
                    </a:cubicBezTo>
                    <a:cubicBezTo>
                      <a:pt x="164" y="6"/>
                      <a:pt x="164" y="6"/>
                      <a:pt x="164" y="6"/>
                    </a:cubicBezTo>
                    <a:cubicBezTo>
                      <a:pt x="157" y="6"/>
                      <a:pt x="150" y="7"/>
                      <a:pt x="143" y="8"/>
                    </a:cubicBezTo>
                    <a:close/>
                    <a:moveTo>
                      <a:pt x="206" y="8"/>
                    </a:moveTo>
                    <a:cubicBezTo>
                      <a:pt x="199" y="7"/>
                      <a:pt x="192" y="6"/>
                      <a:pt x="185" y="6"/>
                    </a:cubicBezTo>
                    <a:cubicBezTo>
                      <a:pt x="186" y="0"/>
                      <a:pt x="186" y="0"/>
                      <a:pt x="186" y="0"/>
                    </a:cubicBezTo>
                    <a:cubicBezTo>
                      <a:pt x="193" y="1"/>
                      <a:pt x="200" y="2"/>
                      <a:pt x="207" y="3"/>
                    </a:cubicBezTo>
                    <a:lnTo>
                      <a:pt x="206" y="8"/>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154" name="Oval 153"/>
              <p:cNvSpPr>
                <a:spLocks noChangeArrowheads="1"/>
              </p:cNvSpPr>
              <p:nvPr/>
            </p:nvSpPr>
            <p:spPr bwMode="auto">
              <a:xfrm>
                <a:off x="7720932" y="3162408"/>
                <a:ext cx="515501" cy="515500"/>
              </a:xfrm>
              <a:prstGeom prst="ellipse">
                <a:avLst/>
              </a:pr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155" name="Freeform 154"/>
              <p:cNvSpPr>
                <a:spLocks noEditPoints="1"/>
              </p:cNvSpPr>
              <p:nvPr/>
            </p:nvSpPr>
            <p:spPr bwMode="auto">
              <a:xfrm>
                <a:off x="7715631" y="3157107"/>
                <a:ext cx="526102" cy="526102"/>
              </a:xfrm>
              <a:custGeom>
                <a:avLst/>
                <a:gdLst>
                  <a:gd name="T0" fmla="*/ 142 w 284"/>
                  <a:gd name="T1" fmla="*/ 284 h 284"/>
                  <a:gd name="T2" fmla="*/ 121 w 284"/>
                  <a:gd name="T3" fmla="*/ 277 h 284"/>
                  <a:gd name="T4" fmla="*/ 142 w 284"/>
                  <a:gd name="T5" fmla="*/ 284 h 284"/>
                  <a:gd name="T6" fmla="*/ 163 w 284"/>
                  <a:gd name="T7" fmla="*/ 277 h 284"/>
                  <a:gd name="T8" fmla="*/ 186 w 284"/>
                  <a:gd name="T9" fmla="*/ 277 h 284"/>
                  <a:gd name="T10" fmla="*/ 98 w 284"/>
                  <a:gd name="T11" fmla="*/ 277 h 284"/>
                  <a:gd name="T12" fmla="*/ 80 w 284"/>
                  <a:gd name="T13" fmla="*/ 264 h 284"/>
                  <a:gd name="T14" fmla="*/ 98 w 284"/>
                  <a:gd name="T15" fmla="*/ 277 h 284"/>
                  <a:gd name="T16" fmla="*/ 204 w 284"/>
                  <a:gd name="T17" fmla="*/ 264 h 284"/>
                  <a:gd name="T18" fmla="*/ 225 w 284"/>
                  <a:gd name="T19" fmla="*/ 257 h 284"/>
                  <a:gd name="T20" fmla="*/ 59 w 284"/>
                  <a:gd name="T21" fmla="*/ 257 h 284"/>
                  <a:gd name="T22" fmla="*/ 45 w 284"/>
                  <a:gd name="T23" fmla="*/ 239 h 284"/>
                  <a:gd name="T24" fmla="*/ 59 w 284"/>
                  <a:gd name="T25" fmla="*/ 257 h 284"/>
                  <a:gd name="T26" fmla="*/ 238 w 284"/>
                  <a:gd name="T27" fmla="*/ 239 h 284"/>
                  <a:gd name="T28" fmla="*/ 257 w 284"/>
                  <a:gd name="T29" fmla="*/ 226 h 284"/>
                  <a:gd name="T30" fmla="*/ 27 w 284"/>
                  <a:gd name="T31" fmla="*/ 226 h 284"/>
                  <a:gd name="T32" fmla="*/ 20 w 284"/>
                  <a:gd name="T33" fmla="*/ 204 h 284"/>
                  <a:gd name="T34" fmla="*/ 27 w 284"/>
                  <a:gd name="T35" fmla="*/ 226 h 284"/>
                  <a:gd name="T36" fmla="*/ 263 w 284"/>
                  <a:gd name="T37" fmla="*/ 204 h 284"/>
                  <a:gd name="T38" fmla="*/ 277 w 284"/>
                  <a:gd name="T39" fmla="*/ 186 h 284"/>
                  <a:gd name="T40" fmla="*/ 7 w 284"/>
                  <a:gd name="T41" fmla="*/ 186 h 284"/>
                  <a:gd name="T42" fmla="*/ 7 w 284"/>
                  <a:gd name="T43" fmla="*/ 164 h 284"/>
                  <a:gd name="T44" fmla="*/ 7 w 284"/>
                  <a:gd name="T45" fmla="*/ 186 h 284"/>
                  <a:gd name="T46" fmla="*/ 277 w 284"/>
                  <a:gd name="T47" fmla="*/ 164 h 284"/>
                  <a:gd name="T48" fmla="*/ 278 w 284"/>
                  <a:gd name="T49" fmla="*/ 142 h 284"/>
                  <a:gd name="T50" fmla="*/ 284 w 284"/>
                  <a:gd name="T51" fmla="*/ 142 h 284"/>
                  <a:gd name="T52" fmla="*/ 5 w 284"/>
                  <a:gd name="T53" fmla="*/ 143 h 284"/>
                  <a:gd name="T54" fmla="*/ 0 w 284"/>
                  <a:gd name="T55" fmla="*/ 142 h 284"/>
                  <a:gd name="T56" fmla="*/ 7 w 284"/>
                  <a:gd name="T57" fmla="*/ 121 h 284"/>
                  <a:gd name="T58" fmla="*/ 5 w 284"/>
                  <a:gd name="T59" fmla="*/ 143 h 284"/>
                  <a:gd name="T60" fmla="*/ 272 w 284"/>
                  <a:gd name="T61" fmla="*/ 100 h 284"/>
                  <a:gd name="T62" fmla="*/ 282 w 284"/>
                  <a:gd name="T63" fmla="*/ 120 h 284"/>
                  <a:gd name="T64" fmla="*/ 12 w 284"/>
                  <a:gd name="T65" fmla="*/ 100 h 284"/>
                  <a:gd name="T66" fmla="*/ 15 w 284"/>
                  <a:gd name="T67" fmla="*/ 78 h 284"/>
                  <a:gd name="T68" fmla="*/ 12 w 284"/>
                  <a:gd name="T69" fmla="*/ 100 h 284"/>
                  <a:gd name="T70" fmla="*/ 252 w 284"/>
                  <a:gd name="T71" fmla="*/ 62 h 284"/>
                  <a:gd name="T72" fmla="*/ 268 w 284"/>
                  <a:gd name="T73" fmla="*/ 77 h 284"/>
                  <a:gd name="T74" fmla="*/ 31 w 284"/>
                  <a:gd name="T75" fmla="*/ 62 h 284"/>
                  <a:gd name="T76" fmla="*/ 41 w 284"/>
                  <a:gd name="T77" fmla="*/ 42 h 284"/>
                  <a:gd name="T78" fmla="*/ 31 w 284"/>
                  <a:gd name="T79" fmla="*/ 62 h 284"/>
                  <a:gd name="T80" fmla="*/ 222 w 284"/>
                  <a:gd name="T81" fmla="*/ 32 h 284"/>
                  <a:gd name="T82" fmla="*/ 242 w 284"/>
                  <a:gd name="T83" fmla="*/ 42 h 284"/>
                  <a:gd name="T84" fmla="*/ 61 w 284"/>
                  <a:gd name="T85" fmla="*/ 32 h 284"/>
                  <a:gd name="T86" fmla="*/ 77 w 284"/>
                  <a:gd name="T87" fmla="*/ 16 h 284"/>
                  <a:gd name="T88" fmla="*/ 61 w 284"/>
                  <a:gd name="T89" fmla="*/ 32 h 284"/>
                  <a:gd name="T90" fmla="*/ 184 w 284"/>
                  <a:gd name="T91" fmla="*/ 12 h 284"/>
                  <a:gd name="T92" fmla="*/ 206 w 284"/>
                  <a:gd name="T93" fmla="*/ 16 h 284"/>
                  <a:gd name="T94" fmla="*/ 99 w 284"/>
                  <a:gd name="T95" fmla="*/ 13 h 284"/>
                  <a:gd name="T96" fmla="*/ 119 w 284"/>
                  <a:gd name="T97" fmla="*/ 2 h 284"/>
                  <a:gd name="T98" fmla="*/ 99 w 284"/>
                  <a:gd name="T99" fmla="*/ 13 h 284"/>
                  <a:gd name="T100" fmla="*/ 142 w 284"/>
                  <a:gd name="T101" fmla="*/ 6 h 284"/>
                  <a:gd name="T102" fmla="*/ 141 w 284"/>
                  <a:gd name="T103" fmla="*/ 0 h 284"/>
                  <a:gd name="T104" fmla="*/ 164 w 284"/>
                  <a:gd name="T105" fmla="*/ 2 h 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84" h="284">
                    <a:moveTo>
                      <a:pt x="142" y="284"/>
                    </a:moveTo>
                    <a:cubicBezTo>
                      <a:pt x="142" y="284"/>
                      <a:pt x="142" y="284"/>
                      <a:pt x="142" y="284"/>
                    </a:cubicBezTo>
                    <a:cubicBezTo>
                      <a:pt x="134" y="284"/>
                      <a:pt x="127" y="284"/>
                      <a:pt x="120" y="282"/>
                    </a:cubicBezTo>
                    <a:cubicBezTo>
                      <a:pt x="121" y="277"/>
                      <a:pt x="121" y="277"/>
                      <a:pt x="121" y="277"/>
                    </a:cubicBezTo>
                    <a:cubicBezTo>
                      <a:pt x="128" y="278"/>
                      <a:pt x="135" y="279"/>
                      <a:pt x="142" y="279"/>
                    </a:cubicBezTo>
                    <a:lnTo>
                      <a:pt x="142" y="284"/>
                    </a:lnTo>
                    <a:close/>
                    <a:moveTo>
                      <a:pt x="164" y="282"/>
                    </a:moveTo>
                    <a:cubicBezTo>
                      <a:pt x="163" y="277"/>
                      <a:pt x="163" y="277"/>
                      <a:pt x="163" y="277"/>
                    </a:cubicBezTo>
                    <a:cubicBezTo>
                      <a:pt x="170" y="276"/>
                      <a:pt x="177" y="274"/>
                      <a:pt x="184" y="272"/>
                    </a:cubicBezTo>
                    <a:cubicBezTo>
                      <a:pt x="186" y="277"/>
                      <a:pt x="186" y="277"/>
                      <a:pt x="186" y="277"/>
                    </a:cubicBezTo>
                    <a:cubicBezTo>
                      <a:pt x="179" y="280"/>
                      <a:pt x="171" y="281"/>
                      <a:pt x="164" y="282"/>
                    </a:cubicBezTo>
                    <a:close/>
                    <a:moveTo>
                      <a:pt x="98" y="277"/>
                    </a:moveTo>
                    <a:cubicBezTo>
                      <a:pt x="91" y="275"/>
                      <a:pt x="84" y="272"/>
                      <a:pt x="78" y="269"/>
                    </a:cubicBezTo>
                    <a:cubicBezTo>
                      <a:pt x="80" y="264"/>
                      <a:pt x="80" y="264"/>
                      <a:pt x="80" y="264"/>
                    </a:cubicBezTo>
                    <a:cubicBezTo>
                      <a:pt x="86" y="267"/>
                      <a:pt x="93" y="270"/>
                      <a:pt x="100" y="272"/>
                    </a:cubicBezTo>
                    <a:lnTo>
                      <a:pt x="98" y="277"/>
                    </a:lnTo>
                    <a:close/>
                    <a:moveTo>
                      <a:pt x="206" y="269"/>
                    </a:moveTo>
                    <a:cubicBezTo>
                      <a:pt x="204" y="264"/>
                      <a:pt x="204" y="264"/>
                      <a:pt x="204" y="264"/>
                    </a:cubicBezTo>
                    <a:cubicBezTo>
                      <a:pt x="210" y="261"/>
                      <a:pt x="216" y="257"/>
                      <a:pt x="222" y="253"/>
                    </a:cubicBezTo>
                    <a:cubicBezTo>
                      <a:pt x="225" y="257"/>
                      <a:pt x="225" y="257"/>
                      <a:pt x="225" y="257"/>
                    </a:cubicBezTo>
                    <a:cubicBezTo>
                      <a:pt x="219" y="261"/>
                      <a:pt x="213" y="265"/>
                      <a:pt x="206" y="269"/>
                    </a:cubicBezTo>
                    <a:close/>
                    <a:moveTo>
                      <a:pt x="59" y="257"/>
                    </a:moveTo>
                    <a:cubicBezTo>
                      <a:pt x="53" y="253"/>
                      <a:pt x="47" y="248"/>
                      <a:pt x="42" y="243"/>
                    </a:cubicBezTo>
                    <a:cubicBezTo>
                      <a:pt x="45" y="239"/>
                      <a:pt x="45" y="239"/>
                      <a:pt x="45" y="239"/>
                    </a:cubicBezTo>
                    <a:cubicBezTo>
                      <a:pt x="50" y="244"/>
                      <a:pt x="56" y="249"/>
                      <a:pt x="62" y="253"/>
                    </a:cubicBezTo>
                    <a:lnTo>
                      <a:pt x="59" y="257"/>
                    </a:lnTo>
                    <a:close/>
                    <a:moveTo>
                      <a:pt x="242" y="243"/>
                    </a:moveTo>
                    <a:cubicBezTo>
                      <a:pt x="238" y="239"/>
                      <a:pt x="238" y="239"/>
                      <a:pt x="238" y="239"/>
                    </a:cubicBezTo>
                    <a:cubicBezTo>
                      <a:pt x="243" y="234"/>
                      <a:pt x="248" y="228"/>
                      <a:pt x="252" y="222"/>
                    </a:cubicBezTo>
                    <a:cubicBezTo>
                      <a:pt x="257" y="226"/>
                      <a:pt x="257" y="226"/>
                      <a:pt x="257" y="226"/>
                    </a:cubicBezTo>
                    <a:cubicBezTo>
                      <a:pt x="252" y="232"/>
                      <a:pt x="247" y="237"/>
                      <a:pt x="242" y="243"/>
                    </a:cubicBezTo>
                    <a:close/>
                    <a:moveTo>
                      <a:pt x="27" y="226"/>
                    </a:moveTo>
                    <a:cubicBezTo>
                      <a:pt x="23" y="220"/>
                      <a:pt x="19" y="214"/>
                      <a:pt x="15" y="207"/>
                    </a:cubicBezTo>
                    <a:cubicBezTo>
                      <a:pt x="20" y="204"/>
                      <a:pt x="20" y="204"/>
                      <a:pt x="20" y="204"/>
                    </a:cubicBezTo>
                    <a:cubicBezTo>
                      <a:pt x="23" y="211"/>
                      <a:pt x="27" y="217"/>
                      <a:pt x="31" y="223"/>
                    </a:cubicBezTo>
                    <a:lnTo>
                      <a:pt x="27" y="226"/>
                    </a:lnTo>
                    <a:close/>
                    <a:moveTo>
                      <a:pt x="268" y="207"/>
                    </a:moveTo>
                    <a:cubicBezTo>
                      <a:pt x="263" y="204"/>
                      <a:pt x="263" y="204"/>
                      <a:pt x="263" y="204"/>
                    </a:cubicBezTo>
                    <a:cubicBezTo>
                      <a:pt x="267" y="198"/>
                      <a:pt x="269" y="191"/>
                      <a:pt x="272" y="184"/>
                    </a:cubicBezTo>
                    <a:cubicBezTo>
                      <a:pt x="277" y="186"/>
                      <a:pt x="277" y="186"/>
                      <a:pt x="277" y="186"/>
                    </a:cubicBezTo>
                    <a:cubicBezTo>
                      <a:pt x="275" y="193"/>
                      <a:pt x="272" y="200"/>
                      <a:pt x="268" y="207"/>
                    </a:cubicBezTo>
                    <a:close/>
                    <a:moveTo>
                      <a:pt x="7" y="186"/>
                    </a:moveTo>
                    <a:cubicBezTo>
                      <a:pt x="5" y="179"/>
                      <a:pt x="3" y="172"/>
                      <a:pt x="2" y="165"/>
                    </a:cubicBezTo>
                    <a:cubicBezTo>
                      <a:pt x="7" y="164"/>
                      <a:pt x="7" y="164"/>
                      <a:pt x="7" y="164"/>
                    </a:cubicBezTo>
                    <a:cubicBezTo>
                      <a:pt x="8" y="171"/>
                      <a:pt x="10" y="178"/>
                      <a:pt x="12" y="185"/>
                    </a:cubicBezTo>
                    <a:lnTo>
                      <a:pt x="7" y="186"/>
                    </a:lnTo>
                    <a:close/>
                    <a:moveTo>
                      <a:pt x="282" y="164"/>
                    </a:moveTo>
                    <a:cubicBezTo>
                      <a:pt x="277" y="164"/>
                      <a:pt x="277" y="164"/>
                      <a:pt x="277" y="164"/>
                    </a:cubicBezTo>
                    <a:cubicBezTo>
                      <a:pt x="278" y="157"/>
                      <a:pt x="278" y="149"/>
                      <a:pt x="278" y="142"/>
                    </a:cubicBezTo>
                    <a:cubicBezTo>
                      <a:pt x="278" y="142"/>
                      <a:pt x="278" y="142"/>
                      <a:pt x="278" y="142"/>
                    </a:cubicBezTo>
                    <a:cubicBezTo>
                      <a:pt x="284" y="142"/>
                      <a:pt x="284" y="142"/>
                      <a:pt x="284" y="142"/>
                    </a:cubicBezTo>
                    <a:cubicBezTo>
                      <a:pt x="284" y="142"/>
                      <a:pt x="284" y="142"/>
                      <a:pt x="284" y="142"/>
                    </a:cubicBezTo>
                    <a:cubicBezTo>
                      <a:pt x="284" y="150"/>
                      <a:pt x="283" y="157"/>
                      <a:pt x="282" y="164"/>
                    </a:cubicBezTo>
                    <a:close/>
                    <a:moveTo>
                      <a:pt x="5" y="143"/>
                    </a:moveTo>
                    <a:cubicBezTo>
                      <a:pt x="0" y="143"/>
                      <a:pt x="0" y="143"/>
                      <a:pt x="0" y="143"/>
                    </a:cubicBezTo>
                    <a:cubicBezTo>
                      <a:pt x="0" y="142"/>
                      <a:pt x="0" y="142"/>
                      <a:pt x="0" y="142"/>
                    </a:cubicBezTo>
                    <a:cubicBezTo>
                      <a:pt x="0" y="135"/>
                      <a:pt x="0" y="128"/>
                      <a:pt x="2" y="120"/>
                    </a:cubicBezTo>
                    <a:cubicBezTo>
                      <a:pt x="7" y="121"/>
                      <a:pt x="7" y="121"/>
                      <a:pt x="7" y="121"/>
                    </a:cubicBezTo>
                    <a:cubicBezTo>
                      <a:pt x="6" y="128"/>
                      <a:pt x="5" y="135"/>
                      <a:pt x="5" y="142"/>
                    </a:cubicBezTo>
                    <a:lnTo>
                      <a:pt x="5" y="143"/>
                    </a:lnTo>
                    <a:close/>
                    <a:moveTo>
                      <a:pt x="277" y="120"/>
                    </a:moveTo>
                    <a:cubicBezTo>
                      <a:pt x="275" y="113"/>
                      <a:pt x="274" y="106"/>
                      <a:pt x="272" y="100"/>
                    </a:cubicBezTo>
                    <a:cubicBezTo>
                      <a:pt x="277" y="98"/>
                      <a:pt x="277" y="98"/>
                      <a:pt x="277" y="98"/>
                    </a:cubicBezTo>
                    <a:cubicBezTo>
                      <a:pt x="279" y="105"/>
                      <a:pt x="281" y="112"/>
                      <a:pt x="282" y="120"/>
                    </a:cubicBezTo>
                    <a:lnTo>
                      <a:pt x="277" y="120"/>
                    </a:lnTo>
                    <a:close/>
                    <a:moveTo>
                      <a:pt x="12" y="100"/>
                    </a:moveTo>
                    <a:cubicBezTo>
                      <a:pt x="7" y="99"/>
                      <a:pt x="7" y="99"/>
                      <a:pt x="7" y="99"/>
                    </a:cubicBezTo>
                    <a:cubicBezTo>
                      <a:pt x="9" y="92"/>
                      <a:pt x="12" y="85"/>
                      <a:pt x="15" y="78"/>
                    </a:cubicBezTo>
                    <a:cubicBezTo>
                      <a:pt x="20" y="81"/>
                      <a:pt x="20" y="81"/>
                      <a:pt x="20" y="81"/>
                    </a:cubicBezTo>
                    <a:cubicBezTo>
                      <a:pt x="17" y="87"/>
                      <a:pt x="14" y="94"/>
                      <a:pt x="12" y="100"/>
                    </a:cubicBezTo>
                    <a:close/>
                    <a:moveTo>
                      <a:pt x="263" y="80"/>
                    </a:moveTo>
                    <a:cubicBezTo>
                      <a:pt x="260" y="74"/>
                      <a:pt x="256" y="67"/>
                      <a:pt x="252" y="62"/>
                    </a:cubicBezTo>
                    <a:cubicBezTo>
                      <a:pt x="256" y="58"/>
                      <a:pt x="256" y="58"/>
                      <a:pt x="256" y="58"/>
                    </a:cubicBezTo>
                    <a:cubicBezTo>
                      <a:pt x="261" y="64"/>
                      <a:pt x="265" y="71"/>
                      <a:pt x="268" y="77"/>
                    </a:cubicBezTo>
                    <a:lnTo>
                      <a:pt x="263" y="80"/>
                    </a:lnTo>
                    <a:close/>
                    <a:moveTo>
                      <a:pt x="31" y="62"/>
                    </a:moveTo>
                    <a:cubicBezTo>
                      <a:pt x="27" y="59"/>
                      <a:pt x="27" y="59"/>
                      <a:pt x="27" y="59"/>
                    </a:cubicBezTo>
                    <a:cubicBezTo>
                      <a:pt x="31" y="53"/>
                      <a:pt x="36" y="47"/>
                      <a:pt x="41" y="42"/>
                    </a:cubicBezTo>
                    <a:cubicBezTo>
                      <a:pt x="45" y="46"/>
                      <a:pt x="45" y="46"/>
                      <a:pt x="45" y="46"/>
                    </a:cubicBezTo>
                    <a:cubicBezTo>
                      <a:pt x="40" y="51"/>
                      <a:pt x="35" y="57"/>
                      <a:pt x="31" y="62"/>
                    </a:cubicBezTo>
                    <a:close/>
                    <a:moveTo>
                      <a:pt x="238" y="45"/>
                    </a:moveTo>
                    <a:cubicBezTo>
                      <a:pt x="233" y="40"/>
                      <a:pt x="227" y="36"/>
                      <a:pt x="222" y="32"/>
                    </a:cubicBezTo>
                    <a:cubicBezTo>
                      <a:pt x="225" y="27"/>
                      <a:pt x="225" y="27"/>
                      <a:pt x="225" y="27"/>
                    </a:cubicBezTo>
                    <a:cubicBezTo>
                      <a:pt x="231" y="32"/>
                      <a:pt x="237" y="36"/>
                      <a:pt x="242" y="42"/>
                    </a:cubicBezTo>
                    <a:lnTo>
                      <a:pt x="238" y="45"/>
                    </a:lnTo>
                    <a:close/>
                    <a:moveTo>
                      <a:pt x="61" y="32"/>
                    </a:moveTo>
                    <a:cubicBezTo>
                      <a:pt x="58" y="28"/>
                      <a:pt x="58" y="28"/>
                      <a:pt x="58" y="28"/>
                    </a:cubicBezTo>
                    <a:cubicBezTo>
                      <a:pt x="64" y="23"/>
                      <a:pt x="70" y="19"/>
                      <a:pt x="77" y="16"/>
                    </a:cubicBezTo>
                    <a:cubicBezTo>
                      <a:pt x="79" y="21"/>
                      <a:pt x="79" y="21"/>
                      <a:pt x="79" y="21"/>
                    </a:cubicBezTo>
                    <a:cubicBezTo>
                      <a:pt x="73" y="24"/>
                      <a:pt x="67" y="28"/>
                      <a:pt x="61" y="32"/>
                    </a:cubicBezTo>
                    <a:close/>
                    <a:moveTo>
                      <a:pt x="203" y="20"/>
                    </a:moveTo>
                    <a:cubicBezTo>
                      <a:pt x="197" y="17"/>
                      <a:pt x="190" y="14"/>
                      <a:pt x="184" y="12"/>
                    </a:cubicBezTo>
                    <a:cubicBezTo>
                      <a:pt x="185" y="7"/>
                      <a:pt x="185" y="7"/>
                      <a:pt x="185" y="7"/>
                    </a:cubicBezTo>
                    <a:cubicBezTo>
                      <a:pt x="192" y="9"/>
                      <a:pt x="199" y="12"/>
                      <a:pt x="206" y="16"/>
                    </a:cubicBezTo>
                    <a:lnTo>
                      <a:pt x="203" y="20"/>
                    </a:lnTo>
                    <a:close/>
                    <a:moveTo>
                      <a:pt x="99" y="13"/>
                    </a:moveTo>
                    <a:cubicBezTo>
                      <a:pt x="98" y="7"/>
                      <a:pt x="98" y="7"/>
                      <a:pt x="98" y="7"/>
                    </a:cubicBezTo>
                    <a:cubicBezTo>
                      <a:pt x="105" y="5"/>
                      <a:pt x="112" y="3"/>
                      <a:pt x="119" y="2"/>
                    </a:cubicBezTo>
                    <a:cubicBezTo>
                      <a:pt x="120" y="7"/>
                      <a:pt x="120" y="7"/>
                      <a:pt x="120" y="7"/>
                    </a:cubicBezTo>
                    <a:cubicBezTo>
                      <a:pt x="113" y="9"/>
                      <a:pt x="106" y="10"/>
                      <a:pt x="99" y="13"/>
                    </a:cubicBezTo>
                    <a:close/>
                    <a:moveTo>
                      <a:pt x="163" y="7"/>
                    </a:moveTo>
                    <a:cubicBezTo>
                      <a:pt x="156" y="6"/>
                      <a:pt x="149" y="6"/>
                      <a:pt x="142" y="6"/>
                    </a:cubicBezTo>
                    <a:cubicBezTo>
                      <a:pt x="141" y="6"/>
                      <a:pt x="141" y="6"/>
                      <a:pt x="141" y="6"/>
                    </a:cubicBezTo>
                    <a:cubicBezTo>
                      <a:pt x="141" y="0"/>
                      <a:pt x="141" y="0"/>
                      <a:pt x="141" y="0"/>
                    </a:cubicBezTo>
                    <a:cubicBezTo>
                      <a:pt x="142" y="0"/>
                      <a:pt x="142" y="0"/>
                      <a:pt x="142" y="0"/>
                    </a:cubicBezTo>
                    <a:cubicBezTo>
                      <a:pt x="149" y="0"/>
                      <a:pt x="156" y="1"/>
                      <a:pt x="164" y="2"/>
                    </a:cubicBezTo>
                    <a:lnTo>
                      <a:pt x="163" y="7"/>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156" name="Oval 155"/>
              <p:cNvSpPr>
                <a:spLocks noChangeArrowheads="1"/>
              </p:cNvSpPr>
              <p:nvPr/>
            </p:nvSpPr>
            <p:spPr bwMode="auto">
              <a:xfrm>
                <a:off x="7722256" y="3273725"/>
                <a:ext cx="406835" cy="404184"/>
              </a:xfrm>
              <a:prstGeom prst="ellipse">
                <a:avLst/>
              </a:pr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157" name="Oval 156"/>
              <p:cNvSpPr>
                <a:spLocks noChangeArrowheads="1"/>
              </p:cNvSpPr>
              <p:nvPr/>
            </p:nvSpPr>
            <p:spPr bwMode="auto">
              <a:xfrm>
                <a:off x="7720932" y="3273725"/>
                <a:ext cx="404184" cy="404184"/>
              </a:xfrm>
              <a:prstGeom prst="ellipse">
                <a:avLst/>
              </a:pr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158" name="Freeform 157"/>
              <p:cNvSpPr>
                <a:spLocks noEditPoints="1"/>
              </p:cNvSpPr>
              <p:nvPr/>
            </p:nvSpPr>
            <p:spPr bwMode="auto">
              <a:xfrm>
                <a:off x="7824297" y="3390342"/>
                <a:ext cx="202755" cy="172275"/>
              </a:xfrm>
              <a:custGeom>
                <a:avLst/>
                <a:gdLst>
                  <a:gd name="T0" fmla="*/ 104 w 109"/>
                  <a:gd name="T1" fmla="*/ 87 h 93"/>
                  <a:gd name="T2" fmla="*/ 0 w 109"/>
                  <a:gd name="T3" fmla="*/ 16 h 93"/>
                  <a:gd name="T4" fmla="*/ 0 w 109"/>
                  <a:gd name="T5" fmla="*/ 93 h 93"/>
                  <a:gd name="T6" fmla="*/ 109 w 109"/>
                  <a:gd name="T7" fmla="*/ 0 h 93"/>
                  <a:gd name="T8" fmla="*/ 0 w 109"/>
                  <a:gd name="T9" fmla="*/ 0 h 93"/>
                  <a:gd name="T10" fmla="*/ 64 w 109"/>
                  <a:gd name="T11" fmla="*/ 52 h 93"/>
                  <a:gd name="T12" fmla="*/ 60 w 109"/>
                  <a:gd name="T13" fmla="*/ 47 h 93"/>
                  <a:gd name="T14" fmla="*/ 57 w 109"/>
                  <a:gd name="T15" fmla="*/ 44 h 93"/>
                  <a:gd name="T16" fmla="*/ 51 w 109"/>
                  <a:gd name="T17" fmla="*/ 41 h 93"/>
                  <a:gd name="T18" fmla="*/ 46 w 109"/>
                  <a:gd name="T19" fmla="*/ 41 h 93"/>
                  <a:gd name="T20" fmla="*/ 40 w 109"/>
                  <a:gd name="T21" fmla="*/ 44 h 93"/>
                  <a:gd name="T22" fmla="*/ 37 w 109"/>
                  <a:gd name="T23" fmla="*/ 47 h 93"/>
                  <a:gd name="T24" fmla="*/ 34 w 109"/>
                  <a:gd name="T25" fmla="*/ 52 h 93"/>
                  <a:gd name="T26" fmla="*/ 33 w 109"/>
                  <a:gd name="T27" fmla="*/ 57 h 93"/>
                  <a:gd name="T28" fmla="*/ 34 w 109"/>
                  <a:gd name="T29" fmla="*/ 63 h 93"/>
                  <a:gd name="T30" fmla="*/ 36 w 109"/>
                  <a:gd name="T31" fmla="*/ 67 h 93"/>
                  <a:gd name="T32" fmla="*/ 41 w 109"/>
                  <a:gd name="T33" fmla="*/ 71 h 93"/>
                  <a:gd name="T34" fmla="*/ 45 w 109"/>
                  <a:gd name="T35" fmla="*/ 73 h 93"/>
                  <a:gd name="T36" fmla="*/ 49 w 109"/>
                  <a:gd name="T37" fmla="*/ 69 h 93"/>
                  <a:gd name="T38" fmla="*/ 56 w 109"/>
                  <a:gd name="T39" fmla="*/ 72 h 93"/>
                  <a:gd name="T40" fmla="*/ 57 w 109"/>
                  <a:gd name="T41" fmla="*/ 66 h 93"/>
                  <a:gd name="T42" fmla="*/ 64 w 109"/>
                  <a:gd name="T43" fmla="*/ 64 h 93"/>
                  <a:gd name="T44" fmla="*/ 60 w 109"/>
                  <a:gd name="T45" fmla="*/ 59 h 93"/>
                  <a:gd name="T46" fmla="*/ 55 w 109"/>
                  <a:gd name="T47" fmla="*/ 57 h 93"/>
                  <a:gd name="T48" fmla="*/ 44 w 109"/>
                  <a:gd name="T49" fmla="*/ 62 h 93"/>
                  <a:gd name="T50" fmla="*/ 49 w 109"/>
                  <a:gd name="T51" fmla="*/ 51 h 93"/>
                  <a:gd name="T52" fmla="*/ 46 w 109"/>
                  <a:gd name="T53" fmla="*/ 57 h 93"/>
                  <a:gd name="T54" fmla="*/ 49 w 109"/>
                  <a:gd name="T55" fmla="*/ 60 h 93"/>
                  <a:gd name="T56" fmla="*/ 75 w 109"/>
                  <a:gd name="T57" fmla="*/ 46 h 93"/>
                  <a:gd name="T58" fmla="*/ 77 w 109"/>
                  <a:gd name="T59" fmla="*/ 42 h 93"/>
                  <a:gd name="T60" fmla="*/ 75 w 109"/>
                  <a:gd name="T61" fmla="*/ 40 h 93"/>
                  <a:gd name="T62" fmla="*/ 71 w 109"/>
                  <a:gd name="T63" fmla="*/ 40 h 93"/>
                  <a:gd name="T64" fmla="*/ 68 w 109"/>
                  <a:gd name="T65" fmla="*/ 37 h 93"/>
                  <a:gd name="T66" fmla="*/ 64 w 109"/>
                  <a:gd name="T67" fmla="*/ 41 h 93"/>
                  <a:gd name="T68" fmla="*/ 61 w 109"/>
                  <a:gd name="T69" fmla="*/ 40 h 93"/>
                  <a:gd name="T70" fmla="*/ 60 w 109"/>
                  <a:gd name="T71" fmla="*/ 43 h 93"/>
                  <a:gd name="T72" fmla="*/ 63 w 109"/>
                  <a:gd name="T73" fmla="*/ 47 h 93"/>
                  <a:gd name="T74" fmla="*/ 60 w 109"/>
                  <a:gd name="T75" fmla="*/ 49 h 93"/>
                  <a:gd name="T76" fmla="*/ 62 w 109"/>
                  <a:gd name="T77" fmla="*/ 51 h 93"/>
                  <a:gd name="T78" fmla="*/ 67 w 109"/>
                  <a:gd name="T79" fmla="*/ 54 h 93"/>
                  <a:gd name="T80" fmla="*/ 70 w 109"/>
                  <a:gd name="T81" fmla="*/ 54 h 93"/>
                  <a:gd name="T82" fmla="*/ 75 w 109"/>
                  <a:gd name="T83" fmla="*/ 51 h 93"/>
                  <a:gd name="T84" fmla="*/ 77 w 109"/>
                  <a:gd name="T85" fmla="*/ 49 h 93"/>
                  <a:gd name="T86" fmla="*/ 75 w 109"/>
                  <a:gd name="T87" fmla="*/ 47 h 93"/>
                  <a:gd name="T88" fmla="*/ 69 w 109"/>
                  <a:gd name="T89" fmla="*/ 48 h 93"/>
                  <a:gd name="T90" fmla="*/ 71 w 109"/>
                  <a:gd name="T91" fmla="*/ 46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09" h="93">
                    <a:moveTo>
                      <a:pt x="5" y="22"/>
                    </a:moveTo>
                    <a:cubicBezTo>
                      <a:pt x="5" y="87"/>
                      <a:pt x="5" y="87"/>
                      <a:pt x="5" y="87"/>
                    </a:cubicBezTo>
                    <a:cubicBezTo>
                      <a:pt x="104" y="87"/>
                      <a:pt x="104" y="87"/>
                      <a:pt x="104" y="87"/>
                    </a:cubicBezTo>
                    <a:cubicBezTo>
                      <a:pt x="104" y="22"/>
                      <a:pt x="104" y="22"/>
                      <a:pt x="104" y="22"/>
                    </a:cubicBezTo>
                    <a:cubicBezTo>
                      <a:pt x="5" y="22"/>
                      <a:pt x="5" y="22"/>
                      <a:pt x="5" y="22"/>
                    </a:cubicBezTo>
                    <a:close/>
                    <a:moveTo>
                      <a:pt x="0" y="16"/>
                    </a:moveTo>
                    <a:cubicBezTo>
                      <a:pt x="109" y="16"/>
                      <a:pt x="109" y="16"/>
                      <a:pt x="109" y="16"/>
                    </a:cubicBezTo>
                    <a:cubicBezTo>
                      <a:pt x="109" y="93"/>
                      <a:pt x="109" y="93"/>
                      <a:pt x="109" y="93"/>
                    </a:cubicBezTo>
                    <a:cubicBezTo>
                      <a:pt x="0" y="93"/>
                      <a:pt x="0" y="93"/>
                      <a:pt x="0" y="93"/>
                    </a:cubicBezTo>
                    <a:cubicBezTo>
                      <a:pt x="0" y="16"/>
                      <a:pt x="0" y="16"/>
                      <a:pt x="0" y="16"/>
                    </a:cubicBezTo>
                    <a:close/>
                    <a:moveTo>
                      <a:pt x="0" y="0"/>
                    </a:moveTo>
                    <a:cubicBezTo>
                      <a:pt x="109" y="0"/>
                      <a:pt x="109" y="0"/>
                      <a:pt x="109" y="0"/>
                    </a:cubicBezTo>
                    <a:cubicBezTo>
                      <a:pt x="109" y="11"/>
                      <a:pt x="109" y="11"/>
                      <a:pt x="109" y="11"/>
                    </a:cubicBezTo>
                    <a:cubicBezTo>
                      <a:pt x="0" y="11"/>
                      <a:pt x="0" y="11"/>
                      <a:pt x="0" y="11"/>
                    </a:cubicBezTo>
                    <a:cubicBezTo>
                      <a:pt x="0" y="0"/>
                      <a:pt x="0" y="0"/>
                      <a:pt x="0" y="0"/>
                    </a:cubicBezTo>
                    <a:close/>
                    <a:moveTo>
                      <a:pt x="65" y="56"/>
                    </a:moveTo>
                    <a:cubicBezTo>
                      <a:pt x="64" y="53"/>
                      <a:pt x="64" y="53"/>
                      <a:pt x="64" y="53"/>
                    </a:cubicBezTo>
                    <a:cubicBezTo>
                      <a:pt x="64" y="53"/>
                      <a:pt x="64" y="52"/>
                      <a:pt x="64" y="52"/>
                    </a:cubicBezTo>
                    <a:cubicBezTo>
                      <a:pt x="59" y="52"/>
                      <a:pt x="59" y="52"/>
                      <a:pt x="59" y="52"/>
                    </a:cubicBezTo>
                    <a:cubicBezTo>
                      <a:pt x="59" y="52"/>
                      <a:pt x="59" y="51"/>
                      <a:pt x="58" y="51"/>
                    </a:cubicBezTo>
                    <a:cubicBezTo>
                      <a:pt x="60" y="47"/>
                      <a:pt x="60" y="47"/>
                      <a:pt x="60" y="47"/>
                    </a:cubicBezTo>
                    <a:cubicBezTo>
                      <a:pt x="61" y="46"/>
                      <a:pt x="60" y="46"/>
                      <a:pt x="60" y="46"/>
                    </a:cubicBezTo>
                    <a:cubicBezTo>
                      <a:pt x="58" y="44"/>
                      <a:pt x="58" y="44"/>
                      <a:pt x="58" y="44"/>
                    </a:cubicBezTo>
                    <a:cubicBezTo>
                      <a:pt x="58" y="44"/>
                      <a:pt x="57" y="44"/>
                      <a:pt x="57" y="44"/>
                    </a:cubicBezTo>
                    <a:cubicBezTo>
                      <a:pt x="53" y="47"/>
                      <a:pt x="53" y="47"/>
                      <a:pt x="53" y="47"/>
                    </a:cubicBezTo>
                    <a:cubicBezTo>
                      <a:pt x="53" y="46"/>
                      <a:pt x="53" y="46"/>
                      <a:pt x="52" y="46"/>
                    </a:cubicBezTo>
                    <a:cubicBezTo>
                      <a:pt x="51" y="41"/>
                      <a:pt x="51" y="41"/>
                      <a:pt x="51" y="41"/>
                    </a:cubicBezTo>
                    <a:cubicBezTo>
                      <a:pt x="51" y="40"/>
                      <a:pt x="50" y="40"/>
                      <a:pt x="50" y="40"/>
                    </a:cubicBezTo>
                    <a:cubicBezTo>
                      <a:pt x="47" y="40"/>
                      <a:pt x="47" y="40"/>
                      <a:pt x="47" y="40"/>
                    </a:cubicBezTo>
                    <a:cubicBezTo>
                      <a:pt x="47" y="40"/>
                      <a:pt x="46" y="40"/>
                      <a:pt x="46" y="41"/>
                    </a:cubicBezTo>
                    <a:cubicBezTo>
                      <a:pt x="45" y="46"/>
                      <a:pt x="45" y="46"/>
                      <a:pt x="45" y="46"/>
                    </a:cubicBezTo>
                    <a:cubicBezTo>
                      <a:pt x="45" y="46"/>
                      <a:pt x="44" y="46"/>
                      <a:pt x="44" y="47"/>
                    </a:cubicBezTo>
                    <a:cubicBezTo>
                      <a:pt x="40" y="44"/>
                      <a:pt x="40" y="44"/>
                      <a:pt x="40" y="44"/>
                    </a:cubicBezTo>
                    <a:cubicBezTo>
                      <a:pt x="40" y="44"/>
                      <a:pt x="39" y="44"/>
                      <a:pt x="39" y="44"/>
                    </a:cubicBezTo>
                    <a:cubicBezTo>
                      <a:pt x="37" y="46"/>
                      <a:pt x="37" y="46"/>
                      <a:pt x="37" y="46"/>
                    </a:cubicBezTo>
                    <a:cubicBezTo>
                      <a:pt x="37" y="46"/>
                      <a:pt x="37" y="46"/>
                      <a:pt x="37" y="47"/>
                    </a:cubicBezTo>
                    <a:cubicBezTo>
                      <a:pt x="39" y="51"/>
                      <a:pt x="39" y="51"/>
                      <a:pt x="39" y="51"/>
                    </a:cubicBezTo>
                    <a:cubicBezTo>
                      <a:pt x="39" y="51"/>
                      <a:pt x="38" y="52"/>
                      <a:pt x="38" y="52"/>
                    </a:cubicBezTo>
                    <a:cubicBezTo>
                      <a:pt x="34" y="52"/>
                      <a:pt x="34" y="52"/>
                      <a:pt x="34" y="52"/>
                    </a:cubicBezTo>
                    <a:cubicBezTo>
                      <a:pt x="33" y="52"/>
                      <a:pt x="33" y="53"/>
                      <a:pt x="33" y="53"/>
                    </a:cubicBezTo>
                    <a:cubicBezTo>
                      <a:pt x="32" y="56"/>
                      <a:pt x="32" y="56"/>
                      <a:pt x="32" y="56"/>
                    </a:cubicBezTo>
                    <a:cubicBezTo>
                      <a:pt x="32" y="56"/>
                      <a:pt x="32" y="57"/>
                      <a:pt x="33" y="57"/>
                    </a:cubicBezTo>
                    <a:cubicBezTo>
                      <a:pt x="37" y="59"/>
                      <a:pt x="37" y="59"/>
                      <a:pt x="37" y="59"/>
                    </a:cubicBezTo>
                    <a:cubicBezTo>
                      <a:pt x="37" y="59"/>
                      <a:pt x="37" y="59"/>
                      <a:pt x="37" y="60"/>
                    </a:cubicBezTo>
                    <a:cubicBezTo>
                      <a:pt x="34" y="63"/>
                      <a:pt x="34" y="63"/>
                      <a:pt x="34" y="63"/>
                    </a:cubicBezTo>
                    <a:cubicBezTo>
                      <a:pt x="34" y="63"/>
                      <a:pt x="33" y="64"/>
                      <a:pt x="34" y="64"/>
                    </a:cubicBezTo>
                    <a:cubicBezTo>
                      <a:pt x="35" y="67"/>
                      <a:pt x="35" y="67"/>
                      <a:pt x="35" y="67"/>
                    </a:cubicBezTo>
                    <a:cubicBezTo>
                      <a:pt x="35" y="67"/>
                      <a:pt x="36" y="67"/>
                      <a:pt x="36" y="67"/>
                    </a:cubicBezTo>
                    <a:cubicBezTo>
                      <a:pt x="41" y="66"/>
                      <a:pt x="41" y="66"/>
                      <a:pt x="41" y="66"/>
                    </a:cubicBezTo>
                    <a:cubicBezTo>
                      <a:pt x="41" y="66"/>
                      <a:pt x="41" y="66"/>
                      <a:pt x="42" y="67"/>
                    </a:cubicBezTo>
                    <a:cubicBezTo>
                      <a:pt x="41" y="71"/>
                      <a:pt x="41" y="71"/>
                      <a:pt x="41" y="71"/>
                    </a:cubicBezTo>
                    <a:cubicBezTo>
                      <a:pt x="41" y="72"/>
                      <a:pt x="41" y="72"/>
                      <a:pt x="42" y="72"/>
                    </a:cubicBezTo>
                    <a:cubicBezTo>
                      <a:pt x="44" y="73"/>
                      <a:pt x="44" y="73"/>
                      <a:pt x="44" y="73"/>
                    </a:cubicBezTo>
                    <a:cubicBezTo>
                      <a:pt x="45" y="73"/>
                      <a:pt x="45" y="73"/>
                      <a:pt x="45" y="73"/>
                    </a:cubicBezTo>
                    <a:cubicBezTo>
                      <a:pt x="48" y="69"/>
                      <a:pt x="48" y="69"/>
                      <a:pt x="48" y="69"/>
                    </a:cubicBezTo>
                    <a:cubicBezTo>
                      <a:pt x="48" y="69"/>
                      <a:pt x="48" y="69"/>
                      <a:pt x="49" y="69"/>
                    </a:cubicBezTo>
                    <a:cubicBezTo>
                      <a:pt x="49" y="69"/>
                      <a:pt x="49" y="69"/>
                      <a:pt x="49" y="69"/>
                    </a:cubicBezTo>
                    <a:cubicBezTo>
                      <a:pt x="52" y="73"/>
                      <a:pt x="52" y="73"/>
                      <a:pt x="52" y="73"/>
                    </a:cubicBezTo>
                    <a:cubicBezTo>
                      <a:pt x="52" y="73"/>
                      <a:pt x="52" y="73"/>
                      <a:pt x="53" y="73"/>
                    </a:cubicBezTo>
                    <a:cubicBezTo>
                      <a:pt x="56" y="72"/>
                      <a:pt x="56" y="72"/>
                      <a:pt x="56" y="72"/>
                    </a:cubicBezTo>
                    <a:cubicBezTo>
                      <a:pt x="56" y="72"/>
                      <a:pt x="56" y="72"/>
                      <a:pt x="56" y="71"/>
                    </a:cubicBezTo>
                    <a:cubicBezTo>
                      <a:pt x="56" y="67"/>
                      <a:pt x="56" y="67"/>
                      <a:pt x="56" y="67"/>
                    </a:cubicBezTo>
                    <a:cubicBezTo>
                      <a:pt x="56" y="66"/>
                      <a:pt x="56" y="66"/>
                      <a:pt x="57" y="66"/>
                    </a:cubicBezTo>
                    <a:cubicBezTo>
                      <a:pt x="61" y="67"/>
                      <a:pt x="61" y="67"/>
                      <a:pt x="61" y="67"/>
                    </a:cubicBezTo>
                    <a:cubicBezTo>
                      <a:pt x="61" y="67"/>
                      <a:pt x="62" y="67"/>
                      <a:pt x="62" y="67"/>
                    </a:cubicBezTo>
                    <a:cubicBezTo>
                      <a:pt x="64" y="64"/>
                      <a:pt x="64" y="64"/>
                      <a:pt x="64" y="64"/>
                    </a:cubicBezTo>
                    <a:cubicBezTo>
                      <a:pt x="64" y="64"/>
                      <a:pt x="64" y="63"/>
                      <a:pt x="63" y="63"/>
                    </a:cubicBezTo>
                    <a:cubicBezTo>
                      <a:pt x="60" y="60"/>
                      <a:pt x="60" y="60"/>
                      <a:pt x="60" y="60"/>
                    </a:cubicBezTo>
                    <a:cubicBezTo>
                      <a:pt x="60" y="59"/>
                      <a:pt x="60" y="59"/>
                      <a:pt x="60" y="59"/>
                    </a:cubicBezTo>
                    <a:cubicBezTo>
                      <a:pt x="64" y="57"/>
                      <a:pt x="64" y="57"/>
                      <a:pt x="64" y="57"/>
                    </a:cubicBezTo>
                    <a:cubicBezTo>
                      <a:pt x="65" y="57"/>
                      <a:pt x="65" y="56"/>
                      <a:pt x="65" y="56"/>
                    </a:cubicBezTo>
                    <a:close/>
                    <a:moveTo>
                      <a:pt x="55" y="57"/>
                    </a:moveTo>
                    <a:cubicBezTo>
                      <a:pt x="55" y="59"/>
                      <a:pt x="54" y="61"/>
                      <a:pt x="53" y="62"/>
                    </a:cubicBezTo>
                    <a:cubicBezTo>
                      <a:pt x="52" y="63"/>
                      <a:pt x="50" y="64"/>
                      <a:pt x="49" y="64"/>
                    </a:cubicBezTo>
                    <a:cubicBezTo>
                      <a:pt x="47" y="64"/>
                      <a:pt x="45" y="63"/>
                      <a:pt x="44" y="62"/>
                    </a:cubicBezTo>
                    <a:cubicBezTo>
                      <a:pt x="43" y="61"/>
                      <a:pt x="42" y="59"/>
                      <a:pt x="42" y="57"/>
                    </a:cubicBezTo>
                    <a:cubicBezTo>
                      <a:pt x="42" y="55"/>
                      <a:pt x="43" y="54"/>
                      <a:pt x="44" y="53"/>
                    </a:cubicBezTo>
                    <a:cubicBezTo>
                      <a:pt x="45" y="51"/>
                      <a:pt x="47" y="51"/>
                      <a:pt x="49" y="51"/>
                    </a:cubicBezTo>
                    <a:cubicBezTo>
                      <a:pt x="50" y="51"/>
                      <a:pt x="52" y="51"/>
                      <a:pt x="53" y="53"/>
                    </a:cubicBezTo>
                    <a:cubicBezTo>
                      <a:pt x="54" y="54"/>
                      <a:pt x="55" y="55"/>
                      <a:pt x="55" y="57"/>
                    </a:cubicBezTo>
                    <a:close/>
                    <a:moveTo>
                      <a:pt x="46" y="57"/>
                    </a:moveTo>
                    <a:cubicBezTo>
                      <a:pt x="46" y="56"/>
                      <a:pt x="47" y="54"/>
                      <a:pt x="49" y="54"/>
                    </a:cubicBezTo>
                    <a:cubicBezTo>
                      <a:pt x="50" y="54"/>
                      <a:pt x="52" y="56"/>
                      <a:pt x="52" y="57"/>
                    </a:cubicBezTo>
                    <a:cubicBezTo>
                      <a:pt x="52" y="59"/>
                      <a:pt x="50" y="60"/>
                      <a:pt x="49" y="60"/>
                    </a:cubicBezTo>
                    <a:cubicBezTo>
                      <a:pt x="47" y="60"/>
                      <a:pt x="46" y="59"/>
                      <a:pt x="46" y="57"/>
                    </a:cubicBezTo>
                    <a:close/>
                    <a:moveTo>
                      <a:pt x="75" y="47"/>
                    </a:moveTo>
                    <a:cubicBezTo>
                      <a:pt x="75" y="47"/>
                      <a:pt x="75" y="46"/>
                      <a:pt x="75" y="46"/>
                    </a:cubicBezTo>
                    <a:cubicBezTo>
                      <a:pt x="75" y="45"/>
                      <a:pt x="75" y="45"/>
                      <a:pt x="75" y="44"/>
                    </a:cubicBezTo>
                    <a:cubicBezTo>
                      <a:pt x="77" y="43"/>
                      <a:pt x="77" y="43"/>
                      <a:pt x="77" y="43"/>
                    </a:cubicBezTo>
                    <a:cubicBezTo>
                      <a:pt x="77" y="43"/>
                      <a:pt x="77" y="42"/>
                      <a:pt x="77" y="42"/>
                    </a:cubicBezTo>
                    <a:cubicBezTo>
                      <a:pt x="77" y="42"/>
                      <a:pt x="77" y="42"/>
                      <a:pt x="77" y="42"/>
                    </a:cubicBezTo>
                    <a:cubicBezTo>
                      <a:pt x="76" y="40"/>
                      <a:pt x="76" y="40"/>
                      <a:pt x="76" y="40"/>
                    </a:cubicBezTo>
                    <a:cubicBezTo>
                      <a:pt x="76" y="40"/>
                      <a:pt x="76" y="40"/>
                      <a:pt x="75" y="40"/>
                    </a:cubicBezTo>
                    <a:cubicBezTo>
                      <a:pt x="75" y="40"/>
                      <a:pt x="75" y="40"/>
                      <a:pt x="75" y="40"/>
                    </a:cubicBezTo>
                    <a:cubicBezTo>
                      <a:pt x="73" y="41"/>
                      <a:pt x="73" y="41"/>
                      <a:pt x="73" y="41"/>
                    </a:cubicBezTo>
                    <a:cubicBezTo>
                      <a:pt x="72" y="40"/>
                      <a:pt x="71" y="40"/>
                      <a:pt x="71" y="40"/>
                    </a:cubicBezTo>
                    <a:cubicBezTo>
                      <a:pt x="70" y="37"/>
                      <a:pt x="70" y="37"/>
                      <a:pt x="70" y="37"/>
                    </a:cubicBezTo>
                    <a:cubicBezTo>
                      <a:pt x="70" y="37"/>
                      <a:pt x="70" y="37"/>
                      <a:pt x="69" y="37"/>
                    </a:cubicBezTo>
                    <a:cubicBezTo>
                      <a:pt x="68" y="37"/>
                      <a:pt x="68" y="37"/>
                      <a:pt x="68" y="37"/>
                    </a:cubicBezTo>
                    <a:cubicBezTo>
                      <a:pt x="67" y="37"/>
                      <a:pt x="67" y="37"/>
                      <a:pt x="67" y="37"/>
                    </a:cubicBezTo>
                    <a:cubicBezTo>
                      <a:pt x="67" y="40"/>
                      <a:pt x="67" y="40"/>
                      <a:pt x="67" y="40"/>
                    </a:cubicBezTo>
                    <a:cubicBezTo>
                      <a:pt x="66" y="40"/>
                      <a:pt x="65" y="40"/>
                      <a:pt x="64" y="41"/>
                    </a:cubicBezTo>
                    <a:cubicBezTo>
                      <a:pt x="62" y="40"/>
                      <a:pt x="62" y="40"/>
                      <a:pt x="62" y="40"/>
                    </a:cubicBezTo>
                    <a:cubicBezTo>
                      <a:pt x="62" y="40"/>
                      <a:pt x="62" y="40"/>
                      <a:pt x="62" y="40"/>
                    </a:cubicBezTo>
                    <a:cubicBezTo>
                      <a:pt x="62" y="40"/>
                      <a:pt x="61" y="40"/>
                      <a:pt x="61" y="40"/>
                    </a:cubicBezTo>
                    <a:cubicBezTo>
                      <a:pt x="60" y="42"/>
                      <a:pt x="60" y="42"/>
                      <a:pt x="60" y="42"/>
                    </a:cubicBezTo>
                    <a:cubicBezTo>
                      <a:pt x="60" y="42"/>
                      <a:pt x="60" y="42"/>
                      <a:pt x="60" y="42"/>
                    </a:cubicBezTo>
                    <a:cubicBezTo>
                      <a:pt x="60" y="42"/>
                      <a:pt x="60" y="43"/>
                      <a:pt x="60" y="43"/>
                    </a:cubicBezTo>
                    <a:cubicBezTo>
                      <a:pt x="63" y="44"/>
                      <a:pt x="63" y="44"/>
                      <a:pt x="63" y="44"/>
                    </a:cubicBezTo>
                    <a:cubicBezTo>
                      <a:pt x="62" y="45"/>
                      <a:pt x="62" y="45"/>
                      <a:pt x="62" y="46"/>
                    </a:cubicBezTo>
                    <a:cubicBezTo>
                      <a:pt x="62" y="46"/>
                      <a:pt x="62" y="46"/>
                      <a:pt x="63" y="47"/>
                    </a:cubicBezTo>
                    <a:cubicBezTo>
                      <a:pt x="60" y="48"/>
                      <a:pt x="60" y="48"/>
                      <a:pt x="60" y="48"/>
                    </a:cubicBezTo>
                    <a:cubicBezTo>
                      <a:pt x="60" y="49"/>
                      <a:pt x="60" y="49"/>
                      <a:pt x="60" y="49"/>
                    </a:cubicBezTo>
                    <a:cubicBezTo>
                      <a:pt x="60" y="49"/>
                      <a:pt x="60" y="49"/>
                      <a:pt x="60" y="49"/>
                    </a:cubicBezTo>
                    <a:cubicBezTo>
                      <a:pt x="61" y="51"/>
                      <a:pt x="61" y="51"/>
                      <a:pt x="61" y="51"/>
                    </a:cubicBezTo>
                    <a:cubicBezTo>
                      <a:pt x="61" y="51"/>
                      <a:pt x="62" y="51"/>
                      <a:pt x="62" y="51"/>
                    </a:cubicBezTo>
                    <a:cubicBezTo>
                      <a:pt x="62" y="51"/>
                      <a:pt x="62" y="51"/>
                      <a:pt x="62" y="51"/>
                    </a:cubicBezTo>
                    <a:cubicBezTo>
                      <a:pt x="64" y="50"/>
                      <a:pt x="64" y="50"/>
                      <a:pt x="64" y="50"/>
                    </a:cubicBezTo>
                    <a:cubicBezTo>
                      <a:pt x="65" y="51"/>
                      <a:pt x="66" y="51"/>
                      <a:pt x="67" y="51"/>
                    </a:cubicBezTo>
                    <a:cubicBezTo>
                      <a:pt x="67" y="54"/>
                      <a:pt x="67" y="54"/>
                      <a:pt x="67" y="54"/>
                    </a:cubicBezTo>
                    <a:cubicBezTo>
                      <a:pt x="67" y="54"/>
                      <a:pt x="67" y="55"/>
                      <a:pt x="68" y="55"/>
                    </a:cubicBezTo>
                    <a:cubicBezTo>
                      <a:pt x="69" y="55"/>
                      <a:pt x="69" y="55"/>
                      <a:pt x="69" y="55"/>
                    </a:cubicBezTo>
                    <a:cubicBezTo>
                      <a:pt x="70" y="55"/>
                      <a:pt x="70" y="54"/>
                      <a:pt x="70" y="54"/>
                    </a:cubicBezTo>
                    <a:cubicBezTo>
                      <a:pt x="71" y="52"/>
                      <a:pt x="71" y="52"/>
                      <a:pt x="71" y="52"/>
                    </a:cubicBezTo>
                    <a:cubicBezTo>
                      <a:pt x="71" y="51"/>
                      <a:pt x="72" y="51"/>
                      <a:pt x="73" y="50"/>
                    </a:cubicBezTo>
                    <a:cubicBezTo>
                      <a:pt x="75" y="51"/>
                      <a:pt x="75" y="51"/>
                      <a:pt x="75" y="51"/>
                    </a:cubicBezTo>
                    <a:cubicBezTo>
                      <a:pt x="75" y="51"/>
                      <a:pt x="75" y="51"/>
                      <a:pt x="75" y="51"/>
                    </a:cubicBezTo>
                    <a:cubicBezTo>
                      <a:pt x="76" y="51"/>
                      <a:pt x="76" y="51"/>
                      <a:pt x="76" y="51"/>
                    </a:cubicBezTo>
                    <a:cubicBezTo>
                      <a:pt x="77" y="49"/>
                      <a:pt x="77" y="49"/>
                      <a:pt x="77" y="49"/>
                    </a:cubicBezTo>
                    <a:cubicBezTo>
                      <a:pt x="77" y="49"/>
                      <a:pt x="77" y="49"/>
                      <a:pt x="77" y="49"/>
                    </a:cubicBezTo>
                    <a:cubicBezTo>
                      <a:pt x="77" y="49"/>
                      <a:pt x="77" y="49"/>
                      <a:pt x="77" y="48"/>
                    </a:cubicBezTo>
                    <a:cubicBezTo>
                      <a:pt x="75" y="47"/>
                      <a:pt x="75" y="47"/>
                      <a:pt x="75" y="47"/>
                    </a:cubicBezTo>
                    <a:cubicBezTo>
                      <a:pt x="75" y="47"/>
                      <a:pt x="75" y="47"/>
                      <a:pt x="75" y="47"/>
                    </a:cubicBezTo>
                    <a:close/>
                    <a:moveTo>
                      <a:pt x="71" y="46"/>
                    </a:moveTo>
                    <a:cubicBezTo>
                      <a:pt x="71" y="47"/>
                      <a:pt x="70" y="48"/>
                      <a:pt x="69" y="48"/>
                    </a:cubicBezTo>
                    <a:cubicBezTo>
                      <a:pt x="67" y="48"/>
                      <a:pt x="66" y="47"/>
                      <a:pt x="66" y="46"/>
                    </a:cubicBezTo>
                    <a:cubicBezTo>
                      <a:pt x="66" y="44"/>
                      <a:pt x="67" y="43"/>
                      <a:pt x="69" y="43"/>
                    </a:cubicBezTo>
                    <a:cubicBezTo>
                      <a:pt x="70" y="43"/>
                      <a:pt x="71" y="44"/>
                      <a:pt x="71" y="46"/>
                    </a:cubicBez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505050"/>
                  </a:solidFill>
                  <a:effectLst/>
                  <a:uLnTx/>
                  <a:uFillTx/>
                  <a:latin typeface="Segoe UI"/>
                  <a:ea typeface="+mn-ea"/>
                  <a:cs typeface="+mn-cs"/>
                </a:endParaRPr>
              </a:p>
            </p:txBody>
          </p:sp>
        </p:grpSp>
        <p:grpSp>
          <p:nvGrpSpPr>
            <p:cNvPr id="132" name="Group 131"/>
            <p:cNvGrpSpPr/>
            <p:nvPr/>
          </p:nvGrpSpPr>
          <p:grpSpPr>
            <a:xfrm flipH="1">
              <a:off x="2300460" y="3960543"/>
              <a:ext cx="1189945" cy="1001525"/>
              <a:chOff x="7659909" y="3778912"/>
              <a:chExt cx="1187629" cy="999576"/>
            </a:xfrm>
          </p:grpSpPr>
          <p:sp>
            <p:nvSpPr>
              <p:cNvPr id="143" name="Freeform 142"/>
              <p:cNvSpPr>
                <a:spLocks/>
              </p:cNvSpPr>
              <p:nvPr/>
            </p:nvSpPr>
            <p:spPr bwMode="auto">
              <a:xfrm>
                <a:off x="8159063" y="3778912"/>
                <a:ext cx="688475" cy="453910"/>
              </a:xfrm>
              <a:custGeom>
                <a:avLst/>
                <a:gdLst>
                  <a:gd name="T0" fmla="*/ 462 w 550"/>
                  <a:gd name="T1" fmla="*/ 159 h 362"/>
                  <a:gd name="T2" fmla="*/ 462 w 550"/>
                  <a:gd name="T3" fmla="*/ 152 h 362"/>
                  <a:gd name="T4" fmla="*/ 311 w 550"/>
                  <a:gd name="T5" fmla="*/ 0 h 362"/>
                  <a:gd name="T6" fmla="*/ 184 w 550"/>
                  <a:gd name="T7" fmla="*/ 68 h 362"/>
                  <a:gd name="T8" fmla="*/ 143 w 550"/>
                  <a:gd name="T9" fmla="*/ 57 h 362"/>
                  <a:gd name="T10" fmla="*/ 94 w 550"/>
                  <a:gd name="T11" fmla="*/ 72 h 362"/>
                  <a:gd name="T12" fmla="*/ 55 w 550"/>
                  <a:gd name="T13" fmla="*/ 143 h 362"/>
                  <a:gd name="T14" fmla="*/ 0 w 550"/>
                  <a:gd name="T15" fmla="*/ 243 h 362"/>
                  <a:gd name="T16" fmla="*/ 106 w 550"/>
                  <a:gd name="T17" fmla="*/ 362 h 362"/>
                  <a:gd name="T18" fmla="*/ 119 w 550"/>
                  <a:gd name="T19" fmla="*/ 362 h 362"/>
                  <a:gd name="T20" fmla="*/ 131 w 550"/>
                  <a:gd name="T21" fmla="*/ 362 h 362"/>
                  <a:gd name="T22" fmla="*/ 379 w 550"/>
                  <a:gd name="T23" fmla="*/ 362 h 362"/>
                  <a:gd name="T24" fmla="*/ 384 w 550"/>
                  <a:gd name="T25" fmla="*/ 362 h 362"/>
                  <a:gd name="T26" fmla="*/ 390 w 550"/>
                  <a:gd name="T27" fmla="*/ 362 h 362"/>
                  <a:gd name="T28" fmla="*/ 409 w 550"/>
                  <a:gd name="T29" fmla="*/ 362 h 362"/>
                  <a:gd name="T30" fmla="*/ 448 w 550"/>
                  <a:gd name="T31" fmla="*/ 362 h 362"/>
                  <a:gd name="T32" fmla="*/ 550 w 550"/>
                  <a:gd name="T33" fmla="*/ 260 h 362"/>
                  <a:gd name="T34" fmla="*/ 462 w 550"/>
                  <a:gd name="T35" fmla="*/ 159 h 3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50" h="362">
                    <a:moveTo>
                      <a:pt x="462" y="159"/>
                    </a:moveTo>
                    <a:cubicBezTo>
                      <a:pt x="462" y="157"/>
                      <a:pt x="462" y="154"/>
                      <a:pt x="462" y="152"/>
                    </a:cubicBezTo>
                    <a:cubicBezTo>
                      <a:pt x="462" y="68"/>
                      <a:pt x="395" y="0"/>
                      <a:pt x="311" y="0"/>
                    </a:cubicBezTo>
                    <a:cubicBezTo>
                      <a:pt x="258" y="0"/>
                      <a:pt x="211" y="28"/>
                      <a:pt x="184" y="68"/>
                    </a:cubicBezTo>
                    <a:cubicBezTo>
                      <a:pt x="172" y="61"/>
                      <a:pt x="158" y="57"/>
                      <a:pt x="143" y="57"/>
                    </a:cubicBezTo>
                    <a:cubicBezTo>
                      <a:pt x="124" y="57"/>
                      <a:pt x="108" y="62"/>
                      <a:pt x="94" y="72"/>
                    </a:cubicBezTo>
                    <a:cubicBezTo>
                      <a:pt x="70" y="87"/>
                      <a:pt x="55" y="113"/>
                      <a:pt x="55" y="143"/>
                    </a:cubicBezTo>
                    <a:cubicBezTo>
                      <a:pt x="22" y="164"/>
                      <a:pt x="0" y="201"/>
                      <a:pt x="0" y="243"/>
                    </a:cubicBezTo>
                    <a:cubicBezTo>
                      <a:pt x="0" y="305"/>
                      <a:pt x="46" y="355"/>
                      <a:pt x="106" y="362"/>
                    </a:cubicBezTo>
                    <a:cubicBezTo>
                      <a:pt x="110" y="362"/>
                      <a:pt x="115" y="362"/>
                      <a:pt x="119" y="362"/>
                    </a:cubicBezTo>
                    <a:cubicBezTo>
                      <a:pt x="123" y="362"/>
                      <a:pt x="127" y="362"/>
                      <a:pt x="131" y="362"/>
                    </a:cubicBezTo>
                    <a:cubicBezTo>
                      <a:pt x="187" y="362"/>
                      <a:pt x="318" y="362"/>
                      <a:pt x="379" y="362"/>
                    </a:cubicBezTo>
                    <a:cubicBezTo>
                      <a:pt x="381" y="362"/>
                      <a:pt x="383" y="362"/>
                      <a:pt x="384" y="362"/>
                    </a:cubicBezTo>
                    <a:cubicBezTo>
                      <a:pt x="390" y="362"/>
                      <a:pt x="390" y="362"/>
                      <a:pt x="390" y="362"/>
                    </a:cubicBezTo>
                    <a:cubicBezTo>
                      <a:pt x="394" y="362"/>
                      <a:pt x="403" y="362"/>
                      <a:pt x="409" y="362"/>
                    </a:cubicBezTo>
                    <a:cubicBezTo>
                      <a:pt x="448" y="362"/>
                      <a:pt x="448" y="362"/>
                      <a:pt x="448" y="362"/>
                    </a:cubicBezTo>
                    <a:cubicBezTo>
                      <a:pt x="505" y="361"/>
                      <a:pt x="550" y="316"/>
                      <a:pt x="550" y="260"/>
                    </a:cubicBezTo>
                    <a:cubicBezTo>
                      <a:pt x="550" y="209"/>
                      <a:pt x="512" y="166"/>
                      <a:pt x="462" y="15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144" name="Freeform 143"/>
              <p:cNvSpPr>
                <a:spLocks noEditPoints="1"/>
              </p:cNvSpPr>
              <p:nvPr/>
            </p:nvSpPr>
            <p:spPr bwMode="auto">
              <a:xfrm>
                <a:off x="7659909" y="4013874"/>
                <a:ext cx="766883" cy="764614"/>
              </a:xfrm>
              <a:custGeom>
                <a:avLst/>
                <a:gdLst>
                  <a:gd name="T0" fmla="*/ 266 w 483"/>
                  <a:gd name="T1" fmla="*/ 475 h 482"/>
                  <a:gd name="T2" fmla="*/ 216 w 483"/>
                  <a:gd name="T3" fmla="*/ 481 h 482"/>
                  <a:gd name="T4" fmla="*/ 217 w 483"/>
                  <a:gd name="T5" fmla="*/ 475 h 482"/>
                  <a:gd name="T6" fmla="*/ 290 w 483"/>
                  <a:gd name="T7" fmla="*/ 471 h 482"/>
                  <a:gd name="T8" fmla="*/ 292 w 483"/>
                  <a:gd name="T9" fmla="*/ 477 h 482"/>
                  <a:gd name="T10" fmla="*/ 146 w 483"/>
                  <a:gd name="T11" fmla="*/ 456 h 482"/>
                  <a:gd name="T12" fmla="*/ 340 w 483"/>
                  <a:gd name="T13" fmla="*/ 462 h 482"/>
                  <a:gd name="T14" fmla="*/ 362 w 483"/>
                  <a:gd name="T15" fmla="*/ 450 h 482"/>
                  <a:gd name="T16" fmla="*/ 100 w 483"/>
                  <a:gd name="T17" fmla="*/ 436 h 482"/>
                  <a:gd name="T18" fmla="*/ 121 w 483"/>
                  <a:gd name="T19" fmla="*/ 450 h 482"/>
                  <a:gd name="T20" fmla="*/ 399 w 483"/>
                  <a:gd name="T21" fmla="*/ 416 h 482"/>
                  <a:gd name="T22" fmla="*/ 80 w 483"/>
                  <a:gd name="T23" fmla="*/ 421 h 482"/>
                  <a:gd name="T24" fmla="*/ 84 w 483"/>
                  <a:gd name="T25" fmla="*/ 416 h 482"/>
                  <a:gd name="T26" fmla="*/ 416 w 483"/>
                  <a:gd name="T27" fmla="*/ 398 h 482"/>
                  <a:gd name="T28" fmla="*/ 421 w 483"/>
                  <a:gd name="T29" fmla="*/ 403 h 482"/>
                  <a:gd name="T30" fmla="*/ 38 w 483"/>
                  <a:gd name="T31" fmla="*/ 359 h 482"/>
                  <a:gd name="T32" fmla="*/ 450 w 483"/>
                  <a:gd name="T33" fmla="*/ 362 h 482"/>
                  <a:gd name="T34" fmla="*/ 462 w 483"/>
                  <a:gd name="T35" fmla="*/ 339 h 482"/>
                  <a:gd name="T36" fmla="*/ 12 w 483"/>
                  <a:gd name="T37" fmla="*/ 316 h 482"/>
                  <a:gd name="T38" fmla="*/ 21 w 483"/>
                  <a:gd name="T39" fmla="*/ 340 h 482"/>
                  <a:gd name="T40" fmla="*/ 471 w 483"/>
                  <a:gd name="T41" fmla="*/ 290 h 482"/>
                  <a:gd name="T42" fmla="*/ 5 w 483"/>
                  <a:gd name="T43" fmla="*/ 292 h 482"/>
                  <a:gd name="T44" fmla="*/ 11 w 483"/>
                  <a:gd name="T45" fmla="*/ 290 h 482"/>
                  <a:gd name="T46" fmla="*/ 475 w 483"/>
                  <a:gd name="T47" fmla="*/ 266 h 482"/>
                  <a:gd name="T48" fmla="*/ 483 w 483"/>
                  <a:gd name="T49" fmla="*/ 241 h 482"/>
                  <a:gd name="T50" fmla="*/ 0 w 483"/>
                  <a:gd name="T51" fmla="*/ 241 h 482"/>
                  <a:gd name="T52" fmla="*/ 8 w 483"/>
                  <a:gd name="T53" fmla="*/ 217 h 482"/>
                  <a:gd name="T54" fmla="*/ 475 w 483"/>
                  <a:gd name="T55" fmla="*/ 216 h 482"/>
                  <a:gd name="T56" fmla="*/ 481 w 483"/>
                  <a:gd name="T57" fmla="*/ 215 h 482"/>
                  <a:gd name="T58" fmla="*/ 5 w 483"/>
                  <a:gd name="T59" fmla="*/ 191 h 482"/>
                  <a:gd name="T60" fmla="*/ 11 w 483"/>
                  <a:gd name="T61" fmla="*/ 193 h 482"/>
                  <a:gd name="T62" fmla="*/ 462 w 483"/>
                  <a:gd name="T63" fmla="*/ 143 h 482"/>
                  <a:gd name="T64" fmla="*/ 27 w 483"/>
                  <a:gd name="T65" fmla="*/ 146 h 482"/>
                  <a:gd name="T66" fmla="*/ 38 w 483"/>
                  <a:gd name="T67" fmla="*/ 124 h 482"/>
                  <a:gd name="T68" fmla="*/ 431 w 483"/>
                  <a:gd name="T69" fmla="*/ 103 h 482"/>
                  <a:gd name="T70" fmla="*/ 445 w 483"/>
                  <a:gd name="T71" fmla="*/ 123 h 482"/>
                  <a:gd name="T72" fmla="*/ 62 w 483"/>
                  <a:gd name="T73" fmla="*/ 80 h 482"/>
                  <a:gd name="T74" fmla="*/ 416 w 483"/>
                  <a:gd name="T75" fmla="*/ 84 h 482"/>
                  <a:gd name="T76" fmla="*/ 420 w 483"/>
                  <a:gd name="T77" fmla="*/ 79 h 482"/>
                  <a:gd name="T78" fmla="*/ 80 w 483"/>
                  <a:gd name="T79" fmla="*/ 62 h 482"/>
                  <a:gd name="T80" fmla="*/ 84 w 483"/>
                  <a:gd name="T81" fmla="*/ 67 h 482"/>
                  <a:gd name="T82" fmla="*/ 362 w 483"/>
                  <a:gd name="T83" fmla="*/ 32 h 482"/>
                  <a:gd name="T84" fmla="*/ 124 w 483"/>
                  <a:gd name="T85" fmla="*/ 38 h 482"/>
                  <a:gd name="T86" fmla="*/ 145 w 483"/>
                  <a:gd name="T87" fmla="*/ 27 h 482"/>
                  <a:gd name="T88" fmla="*/ 314 w 483"/>
                  <a:gd name="T89" fmla="*/ 17 h 482"/>
                  <a:gd name="T90" fmla="*/ 337 w 483"/>
                  <a:gd name="T91" fmla="*/ 26 h 482"/>
                  <a:gd name="T92" fmla="*/ 191 w 483"/>
                  <a:gd name="T93" fmla="*/ 5 h 482"/>
                  <a:gd name="T94" fmla="*/ 290 w 483"/>
                  <a:gd name="T95" fmla="*/ 11 h 482"/>
                  <a:gd name="T96" fmla="*/ 291 w 483"/>
                  <a:gd name="T97" fmla="*/ 5 h 482"/>
                  <a:gd name="T98" fmla="*/ 216 w 483"/>
                  <a:gd name="T99" fmla="*/ 1 h 482"/>
                  <a:gd name="T100" fmla="*/ 216 w 483"/>
                  <a:gd name="T101" fmla="*/ 7 h 4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83" h="482">
                    <a:moveTo>
                      <a:pt x="241" y="482"/>
                    </a:moveTo>
                    <a:cubicBezTo>
                      <a:pt x="241" y="476"/>
                      <a:pt x="241" y="476"/>
                      <a:pt x="241" y="476"/>
                    </a:cubicBezTo>
                    <a:cubicBezTo>
                      <a:pt x="250" y="476"/>
                      <a:pt x="258" y="476"/>
                      <a:pt x="266" y="475"/>
                    </a:cubicBezTo>
                    <a:cubicBezTo>
                      <a:pt x="267" y="481"/>
                      <a:pt x="267" y="481"/>
                      <a:pt x="267" y="481"/>
                    </a:cubicBezTo>
                    <a:cubicBezTo>
                      <a:pt x="258" y="482"/>
                      <a:pt x="250" y="482"/>
                      <a:pt x="241" y="482"/>
                    </a:cubicBezTo>
                    <a:close/>
                    <a:moveTo>
                      <a:pt x="216" y="481"/>
                    </a:moveTo>
                    <a:cubicBezTo>
                      <a:pt x="208" y="480"/>
                      <a:pt x="200" y="479"/>
                      <a:pt x="191" y="477"/>
                    </a:cubicBezTo>
                    <a:cubicBezTo>
                      <a:pt x="193" y="471"/>
                      <a:pt x="193" y="471"/>
                      <a:pt x="193" y="471"/>
                    </a:cubicBezTo>
                    <a:cubicBezTo>
                      <a:pt x="201" y="473"/>
                      <a:pt x="209" y="474"/>
                      <a:pt x="217" y="475"/>
                    </a:cubicBezTo>
                    <a:lnTo>
                      <a:pt x="216" y="481"/>
                    </a:lnTo>
                    <a:close/>
                    <a:moveTo>
                      <a:pt x="292" y="477"/>
                    </a:moveTo>
                    <a:cubicBezTo>
                      <a:pt x="290" y="471"/>
                      <a:pt x="290" y="471"/>
                      <a:pt x="290" y="471"/>
                    </a:cubicBezTo>
                    <a:cubicBezTo>
                      <a:pt x="298" y="469"/>
                      <a:pt x="306" y="467"/>
                      <a:pt x="314" y="465"/>
                    </a:cubicBezTo>
                    <a:cubicBezTo>
                      <a:pt x="316" y="471"/>
                      <a:pt x="316" y="471"/>
                      <a:pt x="316" y="471"/>
                    </a:cubicBezTo>
                    <a:cubicBezTo>
                      <a:pt x="308" y="473"/>
                      <a:pt x="300" y="475"/>
                      <a:pt x="292" y="477"/>
                    </a:cubicBezTo>
                    <a:close/>
                    <a:moveTo>
                      <a:pt x="167" y="471"/>
                    </a:moveTo>
                    <a:cubicBezTo>
                      <a:pt x="159" y="468"/>
                      <a:pt x="151" y="465"/>
                      <a:pt x="143" y="462"/>
                    </a:cubicBezTo>
                    <a:cubicBezTo>
                      <a:pt x="146" y="456"/>
                      <a:pt x="146" y="456"/>
                      <a:pt x="146" y="456"/>
                    </a:cubicBezTo>
                    <a:cubicBezTo>
                      <a:pt x="153" y="459"/>
                      <a:pt x="161" y="462"/>
                      <a:pt x="169" y="465"/>
                    </a:cubicBezTo>
                    <a:lnTo>
                      <a:pt x="167" y="471"/>
                    </a:lnTo>
                    <a:close/>
                    <a:moveTo>
                      <a:pt x="340" y="462"/>
                    </a:moveTo>
                    <a:cubicBezTo>
                      <a:pt x="337" y="456"/>
                      <a:pt x="337" y="456"/>
                      <a:pt x="337" y="456"/>
                    </a:cubicBezTo>
                    <a:cubicBezTo>
                      <a:pt x="344" y="453"/>
                      <a:pt x="352" y="449"/>
                      <a:pt x="359" y="445"/>
                    </a:cubicBezTo>
                    <a:cubicBezTo>
                      <a:pt x="362" y="450"/>
                      <a:pt x="362" y="450"/>
                      <a:pt x="362" y="450"/>
                    </a:cubicBezTo>
                    <a:cubicBezTo>
                      <a:pt x="355" y="454"/>
                      <a:pt x="347" y="458"/>
                      <a:pt x="340" y="462"/>
                    </a:cubicBezTo>
                    <a:close/>
                    <a:moveTo>
                      <a:pt x="121" y="450"/>
                    </a:moveTo>
                    <a:cubicBezTo>
                      <a:pt x="114" y="446"/>
                      <a:pt x="106" y="441"/>
                      <a:pt x="100" y="436"/>
                    </a:cubicBezTo>
                    <a:cubicBezTo>
                      <a:pt x="103" y="431"/>
                      <a:pt x="103" y="431"/>
                      <a:pt x="103" y="431"/>
                    </a:cubicBezTo>
                    <a:cubicBezTo>
                      <a:pt x="110" y="436"/>
                      <a:pt x="117" y="441"/>
                      <a:pt x="124" y="445"/>
                    </a:cubicBezTo>
                    <a:lnTo>
                      <a:pt x="121" y="450"/>
                    </a:lnTo>
                    <a:close/>
                    <a:moveTo>
                      <a:pt x="383" y="436"/>
                    </a:moveTo>
                    <a:cubicBezTo>
                      <a:pt x="380" y="431"/>
                      <a:pt x="380" y="431"/>
                      <a:pt x="380" y="431"/>
                    </a:cubicBezTo>
                    <a:cubicBezTo>
                      <a:pt x="386" y="426"/>
                      <a:pt x="393" y="421"/>
                      <a:pt x="399" y="416"/>
                    </a:cubicBezTo>
                    <a:cubicBezTo>
                      <a:pt x="403" y="420"/>
                      <a:pt x="403" y="420"/>
                      <a:pt x="403" y="420"/>
                    </a:cubicBezTo>
                    <a:cubicBezTo>
                      <a:pt x="397" y="426"/>
                      <a:pt x="390" y="431"/>
                      <a:pt x="383" y="436"/>
                    </a:cubicBezTo>
                    <a:close/>
                    <a:moveTo>
                      <a:pt x="80" y="421"/>
                    </a:moveTo>
                    <a:cubicBezTo>
                      <a:pt x="74" y="415"/>
                      <a:pt x="68" y="409"/>
                      <a:pt x="62" y="403"/>
                    </a:cubicBezTo>
                    <a:cubicBezTo>
                      <a:pt x="67" y="399"/>
                      <a:pt x="67" y="399"/>
                      <a:pt x="67" y="399"/>
                    </a:cubicBezTo>
                    <a:cubicBezTo>
                      <a:pt x="72" y="405"/>
                      <a:pt x="78" y="410"/>
                      <a:pt x="84" y="416"/>
                    </a:cubicBezTo>
                    <a:lnTo>
                      <a:pt x="80" y="421"/>
                    </a:lnTo>
                    <a:close/>
                    <a:moveTo>
                      <a:pt x="421" y="403"/>
                    </a:moveTo>
                    <a:cubicBezTo>
                      <a:pt x="416" y="398"/>
                      <a:pt x="416" y="398"/>
                      <a:pt x="416" y="398"/>
                    </a:cubicBezTo>
                    <a:cubicBezTo>
                      <a:pt x="421" y="392"/>
                      <a:pt x="427" y="386"/>
                      <a:pt x="431" y="379"/>
                    </a:cubicBezTo>
                    <a:cubicBezTo>
                      <a:pt x="437" y="383"/>
                      <a:pt x="437" y="383"/>
                      <a:pt x="437" y="383"/>
                    </a:cubicBezTo>
                    <a:cubicBezTo>
                      <a:pt x="432" y="390"/>
                      <a:pt x="426" y="396"/>
                      <a:pt x="421" y="403"/>
                    </a:cubicBezTo>
                    <a:close/>
                    <a:moveTo>
                      <a:pt x="46" y="383"/>
                    </a:moveTo>
                    <a:cubicBezTo>
                      <a:pt x="41" y="376"/>
                      <a:pt x="37" y="369"/>
                      <a:pt x="32" y="362"/>
                    </a:cubicBezTo>
                    <a:cubicBezTo>
                      <a:pt x="38" y="359"/>
                      <a:pt x="38" y="359"/>
                      <a:pt x="38" y="359"/>
                    </a:cubicBezTo>
                    <a:cubicBezTo>
                      <a:pt x="42" y="366"/>
                      <a:pt x="47" y="373"/>
                      <a:pt x="51" y="379"/>
                    </a:cubicBezTo>
                    <a:lnTo>
                      <a:pt x="46" y="383"/>
                    </a:lnTo>
                    <a:close/>
                    <a:moveTo>
                      <a:pt x="450" y="362"/>
                    </a:moveTo>
                    <a:cubicBezTo>
                      <a:pt x="445" y="359"/>
                      <a:pt x="445" y="359"/>
                      <a:pt x="445" y="359"/>
                    </a:cubicBezTo>
                    <a:cubicBezTo>
                      <a:pt x="449" y="352"/>
                      <a:pt x="453" y="344"/>
                      <a:pt x="456" y="337"/>
                    </a:cubicBezTo>
                    <a:cubicBezTo>
                      <a:pt x="462" y="339"/>
                      <a:pt x="462" y="339"/>
                      <a:pt x="462" y="339"/>
                    </a:cubicBezTo>
                    <a:cubicBezTo>
                      <a:pt x="458" y="347"/>
                      <a:pt x="455" y="355"/>
                      <a:pt x="450" y="362"/>
                    </a:cubicBezTo>
                    <a:close/>
                    <a:moveTo>
                      <a:pt x="21" y="340"/>
                    </a:moveTo>
                    <a:cubicBezTo>
                      <a:pt x="18" y="332"/>
                      <a:pt x="14" y="324"/>
                      <a:pt x="12" y="316"/>
                    </a:cubicBezTo>
                    <a:cubicBezTo>
                      <a:pt x="18" y="314"/>
                      <a:pt x="18" y="314"/>
                      <a:pt x="18" y="314"/>
                    </a:cubicBezTo>
                    <a:cubicBezTo>
                      <a:pt x="20" y="322"/>
                      <a:pt x="23" y="329"/>
                      <a:pt x="27" y="337"/>
                    </a:cubicBezTo>
                    <a:lnTo>
                      <a:pt x="21" y="340"/>
                    </a:lnTo>
                    <a:close/>
                    <a:moveTo>
                      <a:pt x="471" y="316"/>
                    </a:moveTo>
                    <a:cubicBezTo>
                      <a:pt x="465" y="314"/>
                      <a:pt x="465" y="314"/>
                      <a:pt x="465" y="314"/>
                    </a:cubicBezTo>
                    <a:cubicBezTo>
                      <a:pt x="467" y="306"/>
                      <a:pt x="470" y="298"/>
                      <a:pt x="471" y="290"/>
                    </a:cubicBezTo>
                    <a:cubicBezTo>
                      <a:pt x="477" y="291"/>
                      <a:pt x="477" y="291"/>
                      <a:pt x="477" y="291"/>
                    </a:cubicBezTo>
                    <a:cubicBezTo>
                      <a:pt x="476" y="300"/>
                      <a:pt x="473" y="308"/>
                      <a:pt x="471" y="316"/>
                    </a:cubicBezTo>
                    <a:close/>
                    <a:moveTo>
                      <a:pt x="5" y="292"/>
                    </a:moveTo>
                    <a:cubicBezTo>
                      <a:pt x="4" y="283"/>
                      <a:pt x="2" y="275"/>
                      <a:pt x="1" y="267"/>
                    </a:cubicBezTo>
                    <a:cubicBezTo>
                      <a:pt x="8" y="266"/>
                      <a:pt x="8" y="266"/>
                      <a:pt x="8" y="266"/>
                    </a:cubicBezTo>
                    <a:cubicBezTo>
                      <a:pt x="9" y="274"/>
                      <a:pt x="10" y="282"/>
                      <a:pt x="11" y="290"/>
                    </a:cubicBezTo>
                    <a:lnTo>
                      <a:pt x="5" y="292"/>
                    </a:lnTo>
                    <a:close/>
                    <a:moveTo>
                      <a:pt x="481" y="266"/>
                    </a:moveTo>
                    <a:cubicBezTo>
                      <a:pt x="475" y="266"/>
                      <a:pt x="475" y="266"/>
                      <a:pt x="475" y="266"/>
                    </a:cubicBezTo>
                    <a:cubicBezTo>
                      <a:pt x="476" y="258"/>
                      <a:pt x="476" y="249"/>
                      <a:pt x="476" y="241"/>
                    </a:cubicBezTo>
                    <a:cubicBezTo>
                      <a:pt x="476" y="241"/>
                      <a:pt x="476" y="241"/>
                      <a:pt x="476" y="241"/>
                    </a:cubicBezTo>
                    <a:cubicBezTo>
                      <a:pt x="483" y="241"/>
                      <a:pt x="483" y="241"/>
                      <a:pt x="483" y="241"/>
                    </a:cubicBezTo>
                    <a:cubicBezTo>
                      <a:pt x="483" y="241"/>
                      <a:pt x="483" y="241"/>
                      <a:pt x="483" y="241"/>
                    </a:cubicBezTo>
                    <a:cubicBezTo>
                      <a:pt x="483" y="250"/>
                      <a:pt x="482" y="258"/>
                      <a:pt x="481" y="266"/>
                    </a:cubicBezTo>
                    <a:close/>
                    <a:moveTo>
                      <a:pt x="0" y="241"/>
                    </a:moveTo>
                    <a:cubicBezTo>
                      <a:pt x="0" y="241"/>
                      <a:pt x="0" y="241"/>
                      <a:pt x="0" y="241"/>
                    </a:cubicBezTo>
                    <a:cubicBezTo>
                      <a:pt x="0" y="233"/>
                      <a:pt x="0" y="224"/>
                      <a:pt x="1" y="216"/>
                    </a:cubicBezTo>
                    <a:cubicBezTo>
                      <a:pt x="8" y="217"/>
                      <a:pt x="8" y="217"/>
                      <a:pt x="8" y="217"/>
                    </a:cubicBezTo>
                    <a:cubicBezTo>
                      <a:pt x="7" y="225"/>
                      <a:pt x="6" y="233"/>
                      <a:pt x="6" y="241"/>
                    </a:cubicBezTo>
                    <a:lnTo>
                      <a:pt x="0" y="241"/>
                    </a:lnTo>
                    <a:close/>
                    <a:moveTo>
                      <a:pt x="475" y="216"/>
                    </a:moveTo>
                    <a:cubicBezTo>
                      <a:pt x="474" y="208"/>
                      <a:pt x="473" y="200"/>
                      <a:pt x="471" y="192"/>
                    </a:cubicBezTo>
                    <a:cubicBezTo>
                      <a:pt x="477" y="190"/>
                      <a:pt x="477" y="190"/>
                      <a:pt x="477" y="190"/>
                    </a:cubicBezTo>
                    <a:cubicBezTo>
                      <a:pt x="479" y="199"/>
                      <a:pt x="480" y="207"/>
                      <a:pt x="481" y="215"/>
                    </a:cubicBezTo>
                    <a:lnTo>
                      <a:pt x="475" y="216"/>
                    </a:lnTo>
                    <a:close/>
                    <a:moveTo>
                      <a:pt x="11" y="193"/>
                    </a:moveTo>
                    <a:cubicBezTo>
                      <a:pt x="5" y="191"/>
                      <a:pt x="5" y="191"/>
                      <a:pt x="5" y="191"/>
                    </a:cubicBezTo>
                    <a:cubicBezTo>
                      <a:pt x="7" y="183"/>
                      <a:pt x="9" y="175"/>
                      <a:pt x="12" y="167"/>
                    </a:cubicBezTo>
                    <a:cubicBezTo>
                      <a:pt x="18" y="169"/>
                      <a:pt x="18" y="169"/>
                      <a:pt x="18" y="169"/>
                    </a:cubicBezTo>
                    <a:cubicBezTo>
                      <a:pt x="15" y="177"/>
                      <a:pt x="13" y="185"/>
                      <a:pt x="11" y="193"/>
                    </a:cubicBezTo>
                    <a:close/>
                    <a:moveTo>
                      <a:pt x="465" y="168"/>
                    </a:moveTo>
                    <a:cubicBezTo>
                      <a:pt x="462" y="160"/>
                      <a:pt x="459" y="153"/>
                      <a:pt x="456" y="145"/>
                    </a:cubicBezTo>
                    <a:cubicBezTo>
                      <a:pt x="462" y="143"/>
                      <a:pt x="462" y="143"/>
                      <a:pt x="462" y="143"/>
                    </a:cubicBezTo>
                    <a:cubicBezTo>
                      <a:pt x="465" y="150"/>
                      <a:pt x="468" y="158"/>
                      <a:pt x="471" y="166"/>
                    </a:cubicBezTo>
                    <a:lnTo>
                      <a:pt x="465" y="168"/>
                    </a:lnTo>
                    <a:close/>
                    <a:moveTo>
                      <a:pt x="27" y="146"/>
                    </a:moveTo>
                    <a:cubicBezTo>
                      <a:pt x="21" y="143"/>
                      <a:pt x="21" y="143"/>
                      <a:pt x="21" y="143"/>
                    </a:cubicBezTo>
                    <a:cubicBezTo>
                      <a:pt x="24" y="136"/>
                      <a:pt x="28" y="128"/>
                      <a:pt x="32" y="121"/>
                    </a:cubicBezTo>
                    <a:cubicBezTo>
                      <a:pt x="38" y="124"/>
                      <a:pt x="38" y="124"/>
                      <a:pt x="38" y="124"/>
                    </a:cubicBezTo>
                    <a:cubicBezTo>
                      <a:pt x="34" y="131"/>
                      <a:pt x="30" y="138"/>
                      <a:pt x="27" y="146"/>
                    </a:cubicBezTo>
                    <a:close/>
                    <a:moveTo>
                      <a:pt x="445" y="123"/>
                    </a:moveTo>
                    <a:cubicBezTo>
                      <a:pt x="441" y="116"/>
                      <a:pt x="436" y="109"/>
                      <a:pt x="431" y="103"/>
                    </a:cubicBezTo>
                    <a:cubicBezTo>
                      <a:pt x="436" y="99"/>
                      <a:pt x="436" y="99"/>
                      <a:pt x="436" y="99"/>
                    </a:cubicBezTo>
                    <a:cubicBezTo>
                      <a:pt x="441" y="106"/>
                      <a:pt x="446" y="113"/>
                      <a:pt x="450" y="120"/>
                    </a:cubicBezTo>
                    <a:lnTo>
                      <a:pt x="445" y="123"/>
                    </a:lnTo>
                    <a:close/>
                    <a:moveTo>
                      <a:pt x="51" y="103"/>
                    </a:moveTo>
                    <a:cubicBezTo>
                      <a:pt x="46" y="100"/>
                      <a:pt x="46" y="100"/>
                      <a:pt x="46" y="100"/>
                    </a:cubicBezTo>
                    <a:cubicBezTo>
                      <a:pt x="51" y="93"/>
                      <a:pt x="56" y="86"/>
                      <a:pt x="62" y="80"/>
                    </a:cubicBezTo>
                    <a:cubicBezTo>
                      <a:pt x="67" y="84"/>
                      <a:pt x="67" y="84"/>
                      <a:pt x="67" y="84"/>
                    </a:cubicBezTo>
                    <a:cubicBezTo>
                      <a:pt x="61" y="90"/>
                      <a:pt x="56" y="97"/>
                      <a:pt x="51" y="103"/>
                    </a:cubicBezTo>
                    <a:close/>
                    <a:moveTo>
                      <a:pt x="416" y="84"/>
                    </a:moveTo>
                    <a:cubicBezTo>
                      <a:pt x="410" y="78"/>
                      <a:pt x="404" y="72"/>
                      <a:pt x="398" y="66"/>
                    </a:cubicBezTo>
                    <a:cubicBezTo>
                      <a:pt x="402" y="62"/>
                      <a:pt x="402" y="62"/>
                      <a:pt x="402" y="62"/>
                    </a:cubicBezTo>
                    <a:cubicBezTo>
                      <a:pt x="409" y="67"/>
                      <a:pt x="415" y="73"/>
                      <a:pt x="420" y="79"/>
                    </a:cubicBezTo>
                    <a:lnTo>
                      <a:pt x="416" y="84"/>
                    </a:lnTo>
                    <a:close/>
                    <a:moveTo>
                      <a:pt x="84" y="67"/>
                    </a:moveTo>
                    <a:cubicBezTo>
                      <a:pt x="80" y="62"/>
                      <a:pt x="80" y="62"/>
                      <a:pt x="80" y="62"/>
                    </a:cubicBezTo>
                    <a:cubicBezTo>
                      <a:pt x="86" y="56"/>
                      <a:pt x="92" y="51"/>
                      <a:pt x="99" y="46"/>
                    </a:cubicBezTo>
                    <a:cubicBezTo>
                      <a:pt x="103" y="51"/>
                      <a:pt x="103" y="51"/>
                      <a:pt x="103" y="51"/>
                    </a:cubicBezTo>
                    <a:cubicBezTo>
                      <a:pt x="96" y="56"/>
                      <a:pt x="90" y="61"/>
                      <a:pt x="84" y="67"/>
                    </a:cubicBezTo>
                    <a:close/>
                    <a:moveTo>
                      <a:pt x="379" y="51"/>
                    </a:moveTo>
                    <a:cubicBezTo>
                      <a:pt x="372" y="46"/>
                      <a:pt x="366" y="41"/>
                      <a:pt x="358" y="37"/>
                    </a:cubicBezTo>
                    <a:cubicBezTo>
                      <a:pt x="362" y="32"/>
                      <a:pt x="362" y="32"/>
                      <a:pt x="362" y="32"/>
                    </a:cubicBezTo>
                    <a:cubicBezTo>
                      <a:pt x="369" y="36"/>
                      <a:pt x="376" y="41"/>
                      <a:pt x="383" y="46"/>
                    </a:cubicBezTo>
                    <a:lnTo>
                      <a:pt x="379" y="51"/>
                    </a:lnTo>
                    <a:close/>
                    <a:moveTo>
                      <a:pt x="124" y="38"/>
                    </a:moveTo>
                    <a:cubicBezTo>
                      <a:pt x="120" y="32"/>
                      <a:pt x="120" y="32"/>
                      <a:pt x="120" y="32"/>
                    </a:cubicBezTo>
                    <a:cubicBezTo>
                      <a:pt x="128" y="28"/>
                      <a:pt x="135" y="24"/>
                      <a:pt x="143" y="21"/>
                    </a:cubicBezTo>
                    <a:cubicBezTo>
                      <a:pt x="145" y="27"/>
                      <a:pt x="145" y="27"/>
                      <a:pt x="145" y="27"/>
                    </a:cubicBezTo>
                    <a:cubicBezTo>
                      <a:pt x="138" y="30"/>
                      <a:pt x="131" y="34"/>
                      <a:pt x="124" y="38"/>
                    </a:cubicBezTo>
                    <a:close/>
                    <a:moveTo>
                      <a:pt x="337" y="26"/>
                    </a:moveTo>
                    <a:cubicBezTo>
                      <a:pt x="329" y="23"/>
                      <a:pt x="321" y="20"/>
                      <a:pt x="314" y="17"/>
                    </a:cubicBezTo>
                    <a:cubicBezTo>
                      <a:pt x="316" y="11"/>
                      <a:pt x="316" y="11"/>
                      <a:pt x="316" y="11"/>
                    </a:cubicBezTo>
                    <a:cubicBezTo>
                      <a:pt x="324" y="14"/>
                      <a:pt x="331" y="17"/>
                      <a:pt x="339" y="20"/>
                    </a:cubicBezTo>
                    <a:lnTo>
                      <a:pt x="337" y="26"/>
                    </a:lnTo>
                    <a:close/>
                    <a:moveTo>
                      <a:pt x="168" y="18"/>
                    </a:moveTo>
                    <a:cubicBezTo>
                      <a:pt x="166" y="12"/>
                      <a:pt x="166" y="12"/>
                      <a:pt x="166" y="12"/>
                    </a:cubicBezTo>
                    <a:cubicBezTo>
                      <a:pt x="174" y="9"/>
                      <a:pt x="183" y="7"/>
                      <a:pt x="191" y="5"/>
                    </a:cubicBezTo>
                    <a:cubicBezTo>
                      <a:pt x="192" y="11"/>
                      <a:pt x="192" y="11"/>
                      <a:pt x="192" y="11"/>
                    </a:cubicBezTo>
                    <a:cubicBezTo>
                      <a:pt x="184" y="13"/>
                      <a:pt x="176" y="15"/>
                      <a:pt x="168" y="18"/>
                    </a:cubicBezTo>
                    <a:close/>
                    <a:moveTo>
                      <a:pt x="290" y="11"/>
                    </a:moveTo>
                    <a:cubicBezTo>
                      <a:pt x="282" y="10"/>
                      <a:pt x="274" y="8"/>
                      <a:pt x="266" y="7"/>
                    </a:cubicBezTo>
                    <a:cubicBezTo>
                      <a:pt x="266" y="1"/>
                      <a:pt x="266" y="1"/>
                      <a:pt x="266" y="1"/>
                    </a:cubicBezTo>
                    <a:cubicBezTo>
                      <a:pt x="275" y="2"/>
                      <a:pt x="283" y="3"/>
                      <a:pt x="291" y="5"/>
                    </a:cubicBezTo>
                    <a:lnTo>
                      <a:pt x="290" y="11"/>
                    </a:lnTo>
                    <a:close/>
                    <a:moveTo>
                      <a:pt x="216" y="7"/>
                    </a:moveTo>
                    <a:cubicBezTo>
                      <a:pt x="216" y="1"/>
                      <a:pt x="216" y="1"/>
                      <a:pt x="216" y="1"/>
                    </a:cubicBezTo>
                    <a:cubicBezTo>
                      <a:pt x="224" y="0"/>
                      <a:pt x="233" y="0"/>
                      <a:pt x="241" y="0"/>
                    </a:cubicBezTo>
                    <a:cubicBezTo>
                      <a:pt x="241" y="6"/>
                      <a:pt x="241" y="6"/>
                      <a:pt x="241" y="6"/>
                    </a:cubicBezTo>
                    <a:cubicBezTo>
                      <a:pt x="233" y="6"/>
                      <a:pt x="224" y="7"/>
                      <a:pt x="216" y="7"/>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145" name="Oval 144"/>
              <p:cNvSpPr>
                <a:spLocks noChangeArrowheads="1"/>
              </p:cNvSpPr>
              <p:nvPr/>
            </p:nvSpPr>
            <p:spPr bwMode="auto">
              <a:xfrm>
                <a:off x="7665581" y="4134125"/>
                <a:ext cx="640960" cy="639825"/>
              </a:xfrm>
              <a:prstGeom prst="ellipse">
                <a:avLst/>
              </a:prstGeom>
              <a:solidFill>
                <a:srgbClr val="E6E6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146" name="Freeform 145"/>
              <p:cNvSpPr>
                <a:spLocks noEditPoints="1"/>
              </p:cNvSpPr>
              <p:nvPr/>
            </p:nvSpPr>
            <p:spPr bwMode="auto">
              <a:xfrm>
                <a:off x="7659909" y="4129587"/>
                <a:ext cx="651170" cy="648901"/>
              </a:xfrm>
              <a:custGeom>
                <a:avLst/>
                <a:gdLst>
                  <a:gd name="T0" fmla="*/ 193 w 410"/>
                  <a:gd name="T1" fmla="*/ 403 h 409"/>
                  <a:gd name="T2" fmla="*/ 205 w 410"/>
                  <a:gd name="T3" fmla="*/ 409 h 409"/>
                  <a:gd name="T4" fmla="*/ 144 w 410"/>
                  <a:gd name="T5" fmla="*/ 394 h 409"/>
                  <a:gd name="T6" fmla="*/ 243 w 410"/>
                  <a:gd name="T7" fmla="*/ 406 h 409"/>
                  <a:gd name="T8" fmla="*/ 268 w 410"/>
                  <a:gd name="T9" fmla="*/ 399 h 409"/>
                  <a:gd name="T10" fmla="*/ 95 w 410"/>
                  <a:gd name="T11" fmla="*/ 378 h 409"/>
                  <a:gd name="T12" fmla="*/ 118 w 410"/>
                  <a:gd name="T13" fmla="*/ 390 h 409"/>
                  <a:gd name="T14" fmla="*/ 311 w 410"/>
                  <a:gd name="T15" fmla="*/ 372 h 409"/>
                  <a:gd name="T16" fmla="*/ 74 w 410"/>
                  <a:gd name="T17" fmla="*/ 363 h 409"/>
                  <a:gd name="T18" fmla="*/ 79 w 410"/>
                  <a:gd name="T19" fmla="*/ 358 h 409"/>
                  <a:gd name="T20" fmla="*/ 332 w 410"/>
                  <a:gd name="T21" fmla="*/ 358 h 409"/>
                  <a:gd name="T22" fmla="*/ 336 w 410"/>
                  <a:gd name="T23" fmla="*/ 362 h 409"/>
                  <a:gd name="T24" fmla="*/ 31 w 410"/>
                  <a:gd name="T25" fmla="*/ 300 h 409"/>
                  <a:gd name="T26" fmla="*/ 371 w 410"/>
                  <a:gd name="T27" fmla="*/ 325 h 409"/>
                  <a:gd name="T28" fmla="*/ 385 w 410"/>
                  <a:gd name="T29" fmla="*/ 303 h 409"/>
                  <a:gd name="T30" fmla="*/ 7 w 410"/>
                  <a:gd name="T31" fmla="*/ 256 h 409"/>
                  <a:gd name="T32" fmla="*/ 14 w 410"/>
                  <a:gd name="T33" fmla="*/ 280 h 409"/>
                  <a:gd name="T34" fmla="*/ 397 w 410"/>
                  <a:gd name="T35" fmla="*/ 254 h 409"/>
                  <a:gd name="T36" fmla="*/ 2 w 410"/>
                  <a:gd name="T37" fmla="*/ 231 h 409"/>
                  <a:gd name="T38" fmla="*/ 8 w 410"/>
                  <a:gd name="T39" fmla="*/ 230 h 409"/>
                  <a:gd name="T40" fmla="*/ 402 w 410"/>
                  <a:gd name="T41" fmla="*/ 229 h 409"/>
                  <a:gd name="T42" fmla="*/ 410 w 410"/>
                  <a:gd name="T43" fmla="*/ 204 h 409"/>
                  <a:gd name="T44" fmla="*/ 8 w 410"/>
                  <a:gd name="T45" fmla="*/ 180 h 409"/>
                  <a:gd name="T46" fmla="*/ 12 w 410"/>
                  <a:gd name="T47" fmla="*/ 156 h 409"/>
                  <a:gd name="T48" fmla="*/ 397 w 410"/>
                  <a:gd name="T49" fmla="*/ 155 h 409"/>
                  <a:gd name="T50" fmla="*/ 402 w 410"/>
                  <a:gd name="T51" fmla="*/ 179 h 409"/>
                  <a:gd name="T52" fmla="*/ 25 w 410"/>
                  <a:gd name="T53" fmla="*/ 106 h 409"/>
                  <a:gd name="T54" fmla="*/ 389 w 410"/>
                  <a:gd name="T55" fmla="*/ 131 h 409"/>
                  <a:gd name="T56" fmla="*/ 395 w 410"/>
                  <a:gd name="T57" fmla="*/ 129 h 409"/>
                  <a:gd name="T58" fmla="*/ 39 w 410"/>
                  <a:gd name="T59" fmla="*/ 84 h 409"/>
                  <a:gd name="T60" fmla="*/ 44 w 410"/>
                  <a:gd name="T61" fmla="*/ 88 h 409"/>
                  <a:gd name="T62" fmla="*/ 354 w 410"/>
                  <a:gd name="T63" fmla="*/ 64 h 409"/>
                  <a:gd name="T64" fmla="*/ 78 w 410"/>
                  <a:gd name="T65" fmla="*/ 52 h 409"/>
                  <a:gd name="T66" fmla="*/ 98 w 410"/>
                  <a:gd name="T67" fmla="*/ 37 h 409"/>
                  <a:gd name="T68" fmla="*/ 311 w 410"/>
                  <a:gd name="T69" fmla="*/ 37 h 409"/>
                  <a:gd name="T70" fmla="*/ 331 w 410"/>
                  <a:gd name="T71" fmla="*/ 51 h 409"/>
                  <a:gd name="T72" fmla="*/ 141 w 410"/>
                  <a:gd name="T73" fmla="*/ 10 h 409"/>
                  <a:gd name="T74" fmla="*/ 289 w 410"/>
                  <a:gd name="T75" fmla="*/ 25 h 409"/>
                  <a:gd name="T76" fmla="*/ 292 w 410"/>
                  <a:gd name="T77" fmla="*/ 19 h 409"/>
                  <a:gd name="T78" fmla="*/ 166 w 410"/>
                  <a:gd name="T79" fmla="*/ 3 h 409"/>
                  <a:gd name="T80" fmla="*/ 167 w 410"/>
                  <a:gd name="T81" fmla="*/ 10 h 409"/>
                  <a:gd name="T82" fmla="*/ 217 w 410"/>
                  <a:gd name="T83" fmla="*/ 0 h 4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10" h="409">
                    <a:moveTo>
                      <a:pt x="205" y="409"/>
                    </a:moveTo>
                    <a:cubicBezTo>
                      <a:pt x="201" y="409"/>
                      <a:pt x="196" y="409"/>
                      <a:pt x="192" y="409"/>
                    </a:cubicBezTo>
                    <a:cubicBezTo>
                      <a:pt x="193" y="403"/>
                      <a:pt x="193" y="403"/>
                      <a:pt x="193" y="403"/>
                    </a:cubicBezTo>
                    <a:cubicBezTo>
                      <a:pt x="201" y="403"/>
                      <a:pt x="209" y="403"/>
                      <a:pt x="218" y="403"/>
                    </a:cubicBezTo>
                    <a:cubicBezTo>
                      <a:pt x="218" y="409"/>
                      <a:pt x="218" y="409"/>
                      <a:pt x="218" y="409"/>
                    </a:cubicBezTo>
                    <a:cubicBezTo>
                      <a:pt x="214" y="409"/>
                      <a:pt x="209" y="409"/>
                      <a:pt x="205" y="409"/>
                    </a:cubicBezTo>
                    <a:close/>
                    <a:moveTo>
                      <a:pt x="167" y="406"/>
                    </a:moveTo>
                    <a:cubicBezTo>
                      <a:pt x="158" y="404"/>
                      <a:pt x="150" y="402"/>
                      <a:pt x="142" y="400"/>
                    </a:cubicBezTo>
                    <a:cubicBezTo>
                      <a:pt x="144" y="394"/>
                      <a:pt x="144" y="394"/>
                      <a:pt x="144" y="394"/>
                    </a:cubicBezTo>
                    <a:cubicBezTo>
                      <a:pt x="152" y="396"/>
                      <a:pt x="160" y="398"/>
                      <a:pt x="168" y="400"/>
                    </a:cubicBezTo>
                    <a:lnTo>
                      <a:pt x="167" y="406"/>
                    </a:lnTo>
                    <a:close/>
                    <a:moveTo>
                      <a:pt x="243" y="406"/>
                    </a:moveTo>
                    <a:cubicBezTo>
                      <a:pt x="242" y="400"/>
                      <a:pt x="242" y="400"/>
                      <a:pt x="242" y="400"/>
                    </a:cubicBezTo>
                    <a:cubicBezTo>
                      <a:pt x="250" y="398"/>
                      <a:pt x="259" y="396"/>
                      <a:pt x="266" y="393"/>
                    </a:cubicBezTo>
                    <a:cubicBezTo>
                      <a:pt x="268" y="399"/>
                      <a:pt x="268" y="399"/>
                      <a:pt x="268" y="399"/>
                    </a:cubicBezTo>
                    <a:cubicBezTo>
                      <a:pt x="260" y="402"/>
                      <a:pt x="252" y="404"/>
                      <a:pt x="243" y="406"/>
                    </a:cubicBezTo>
                    <a:close/>
                    <a:moveTo>
                      <a:pt x="118" y="390"/>
                    </a:moveTo>
                    <a:cubicBezTo>
                      <a:pt x="110" y="386"/>
                      <a:pt x="103" y="382"/>
                      <a:pt x="95" y="378"/>
                    </a:cubicBezTo>
                    <a:cubicBezTo>
                      <a:pt x="99" y="372"/>
                      <a:pt x="99" y="372"/>
                      <a:pt x="99" y="372"/>
                    </a:cubicBezTo>
                    <a:cubicBezTo>
                      <a:pt x="106" y="377"/>
                      <a:pt x="113" y="381"/>
                      <a:pt x="121" y="384"/>
                    </a:cubicBezTo>
                    <a:lnTo>
                      <a:pt x="118" y="390"/>
                    </a:lnTo>
                    <a:close/>
                    <a:moveTo>
                      <a:pt x="292" y="390"/>
                    </a:moveTo>
                    <a:cubicBezTo>
                      <a:pt x="290" y="384"/>
                      <a:pt x="290" y="384"/>
                      <a:pt x="290" y="384"/>
                    </a:cubicBezTo>
                    <a:cubicBezTo>
                      <a:pt x="297" y="381"/>
                      <a:pt x="304" y="377"/>
                      <a:pt x="311" y="372"/>
                    </a:cubicBezTo>
                    <a:cubicBezTo>
                      <a:pt x="315" y="378"/>
                      <a:pt x="315" y="378"/>
                      <a:pt x="315" y="378"/>
                    </a:cubicBezTo>
                    <a:cubicBezTo>
                      <a:pt x="308" y="382"/>
                      <a:pt x="300" y="386"/>
                      <a:pt x="292" y="390"/>
                    </a:cubicBezTo>
                    <a:close/>
                    <a:moveTo>
                      <a:pt x="74" y="363"/>
                    </a:moveTo>
                    <a:cubicBezTo>
                      <a:pt x="68" y="357"/>
                      <a:pt x="62" y="351"/>
                      <a:pt x="56" y="345"/>
                    </a:cubicBezTo>
                    <a:cubicBezTo>
                      <a:pt x="60" y="341"/>
                      <a:pt x="60" y="341"/>
                      <a:pt x="60" y="341"/>
                    </a:cubicBezTo>
                    <a:cubicBezTo>
                      <a:pt x="66" y="347"/>
                      <a:pt x="72" y="352"/>
                      <a:pt x="79" y="358"/>
                    </a:cubicBezTo>
                    <a:lnTo>
                      <a:pt x="74" y="363"/>
                    </a:lnTo>
                    <a:close/>
                    <a:moveTo>
                      <a:pt x="336" y="362"/>
                    </a:moveTo>
                    <a:cubicBezTo>
                      <a:pt x="332" y="358"/>
                      <a:pt x="332" y="358"/>
                      <a:pt x="332" y="358"/>
                    </a:cubicBezTo>
                    <a:cubicBezTo>
                      <a:pt x="338" y="352"/>
                      <a:pt x="344" y="346"/>
                      <a:pt x="350" y="340"/>
                    </a:cubicBezTo>
                    <a:cubicBezTo>
                      <a:pt x="354" y="345"/>
                      <a:pt x="354" y="345"/>
                      <a:pt x="354" y="345"/>
                    </a:cubicBezTo>
                    <a:cubicBezTo>
                      <a:pt x="348" y="351"/>
                      <a:pt x="342" y="357"/>
                      <a:pt x="336" y="362"/>
                    </a:cubicBezTo>
                    <a:close/>
                    <a:moveTo>
                      <a:pt x="39" y="325"/>
                    </a:moveTo>
                    <a:cubicBezTo>
                      <a:pt x="34" y="318"/>
                      <a:pt x="30" y="311"/>
                      <a:pt x="25" y="304"/>
                    </a:cubicBezTo>
                    <a:cubicBezTo>
                      <a:pt x="31" y="300"/>
                      <a:pt x="31" y="300"/>
                      <a:pt x="31" y="300"/>
                    </a:cubicBezTo>
                    <a:cubicBezTo>
                      <a:pt x="35" y="308"/>
                      <a:pt x="40" y="315"/>
                      <a:pt x="44" y="321"/>
                    </a:cubicBezTo>
                    <a:lnTo>
                      <a:pt x="39" y="325"/>
                    </a:lnTo>
                    <a:close/>
                    <a:moveTo>
                      <a:pt x="371" y="325"/>
                    </a:moveTo>
                    <a:cubicBezTo>
                      <a:pt x="366" y="321"/>
                      <a:pt x="366" y="321"/>
                      <a:pt x="366" y="321"/>
                    </a:cubicBezTo>
                    <a:cubicBezTo>
                      <a:pt x="370" y="315"/>
                      <a:pt x="375" y="307"/>
                      <a:pt x="379" y="300"/>
                    </a:cubicBezTo>
                    <a:cubicBezTo>
                      <a:pt x="385" y="303"/>
                      <a:pt x="385" y="303"/>
                      <a:pt x="385" y="303"/>
                    </a:cubicBezTo>
                    <a:cubicBezTo>
                      <a:pt x="380" y="311"/>
                      <a:pt x="376" y="318"/>
                      <a:pt x="371" y="325"/>
                    </a:cubicBezTo>
                    <a:close/>
                    <a:moveTo>
                      <a:pt x="14" y="280"/>
                    </a:moveTo>
                    <a:cubicBezTo>
                      <a:pt x="11" y="272"/>
                      <a:pt x="9" y="264"/>
                      <a:pt x="7" y="256"/>
                    </a:cubicBezTo>
                    <a:cubicBezTo>
                      <a:pt x="13" y="254"/>
                      <a:pt x="13" y="254"/>
                      <a:pt x="13" y="254"/>
                    </a:cubicBezTo>
                    <a:cubicBezTo>
                      <a:pt x="15" y="262"/>
                      <a:pt x="17" y="270"/>
                      <a:pt x="20" y="278"/>
                    </a:cubicBezTo>
                    <a:lnTo>
                      <a:pt x="14" y="280"/>
                    </a:lnTo>
                    <a:close/>
                    <a:moveTo>
                      <a:pt x="395" y="280"/>
                    </a:moveTo>
                    <a:cubicBezTo>
                      <a:pt x="390" y="278"/>
                      <a:pt x="390" y="278"/>
                      <a:pt x="390" y="278"/>
                    </a:cubicBezTo>
                    <a:cubicBezTo>
                      <a:pt x="393" y="270"/>
                      <a:pt x="395" y="262"/>
                      <a:pt x="397" y="254"/>
                    </a:cubicBezTo>
                    <a:cubicBezTo>
                      <a:pt x="403" y="255"/>
                      <a:pt x="403" y="255"/>
                      <a:pt x="403" y="255"/>
                    </a:cubicBezTo>
                    <a:cubicBezTo>
                      <a:pt x="401" y="264"/>
                      <a:pt x="399" y="272"/>
                      <a:pt x="395" y="280"/>
                    </a:cubicBezTo>
                    <a:close/>
                    <a:moveTo>
                      <a:pt x="2" y="231"/>
                    </a:moveTo>
                    <a:cubicBezTo>
                      <a:pt x="1" y="222"/>
                      <a:pt x="0" y="213"/>
                      <a:pt x="0" y="205"/>
                    </a:cubicBezTo>
                    <a:cubicBezTo>
                      <a:pt x="6" y="205"/>
                      <a:pt x="6" y="205"/>
                      <a:pt x="6" y="205"/>
                    </a:cubicBezTo>
                    <a:cubicBezTo>
                      <a:pt x="6" y="213"/>
                      <a:pt x="7" y="222"/>
                      <a:pt x="8" y="230"/>
                    </a:cubicBezTo>
                    <a:lnTo>
                      <a:pt x="2" y="231"/>
                    </a:lnTo>
                    <a:close/>
                    <a:moveTo>
                      <a:pt x="408" y="230"/>
                    </a:moveTo>
                    <a:cubicBezTo>
                      <a:pt x="402" y="229"/>
                      <a:pt x="402" y="229"/>
                      <a:pt x="402" y="229"/>
                    </a:cubicBezTo>
                    <a:cubicBezTo>
                      <a:pt x="403" y="221"/>
                      <a:pt x="404" y="213"/>
                      <a:pt x="404" y="205"/>
                    </a:cubicBezTo>
                    <a:cubicBezTo>
                      <a:pt x="404" y="204"/>
                      <a:pt x="404" y="204"/>
                      <a:pt x="404" y="204"/>
                    </a:cubicBezTo>
                    <a:cubicBezTo>
                      <a:pt x="410" y="204"/>
                      <a:pt x="410" y="204"/>
                      <a:pt x="410" y="204"/>
                    </a:cubicBezTo>
                    <a:cubicBezTo>
                      <a:pt x="410" y="205"/>
                      <a:pt x="410" y="205"/>
                      <a:pt x="410" y="205"/>
                    </a:cubicBezTo>
                    <a:cubicBezTo>
                      <a:pt x="410" y="213"/>
                      <a:pt x="409" y="222"/>
                      <a:pt x="408" y="230"/>
                    </a:cubicBezTo>
                    <a:close/>
                    <a:moveTo>
                      <a:pt x="8" y="180"/>
                    </a:moveTo>
                    <a:cubicBezTo>
                      <a:pt x="2" y="179"/>
                      <a:pt x="2" y="179"/>
                      <a:pt x="2" y="179"/>
                    </a:cubicBezTo>
                    <a:cubicBezTo>
                      <a:pt x="3" y="171"/>
                      <a:pt x="4" y="162"/>
                      <a:pt x="6" y="154"/>
                    </a:cubicBezTo>
                    <a:cubicBezTo>
                      <a:pt x="12" y="156"/>
                      <a:pt x="12" y="156"/>
                      <a:pt x="12" y="156"/>
                    </a:cubicBezTo>
                    <a:cubicBezTo>
                      <a:pt x="10" y="164"/>
                      <a:pt x="9" y="172"/>
                      <a:pt x="8" y="180"/>
                    </a:cubicBezTo>
                    <a:close/>
                    <a:moveTo>
                      <a:pt x="402" y="179"/>
                    </a:moveTo>
                    <a:cubicBezTo>
                      <a:pt x="401" y="171"/>
                      <a:pt x="399" y="163"/>
                      <a:pt x="397" y="155"/>
                    </a:cubicBezTo>
                    <a:cubicBezTo>
                      <a:pt x="403" y="153"/>
                      <a:pt x="403" y="153"/>
                      <a:pt x="403" y="153"/>
                    </a:cubicBezTo>
                    <a:cubicBezTo>
                      <a:pt x="405" y="161"/>
                      <a:pt x="407" y="170"/>
                      <a:pt x="408" y="178"/>
                    </a:cubicBezTo>
                    <a:lnTo>
                      <a:pt x="402" y="179"/>
                    </a:lnTo>
                    <a:close/>
                    <a:moveTo>
                      <a:pt x="20" y="132"/>
                    </a:moveTo>
                    <a:cubicBezTo>
                      <a:pt x="14" y="129"/>
                      <a:pt x="14" y="129"/>
                      <a:pt x="14" y="129"/>
                    </a:cubicBezTo>
                    <a:cubicBezTo>
                      <a:pt x="17" y="122"/>
                      <a:pt x="21" y="114"/>
                      <a:pt x="25" y="106"/>
                    </a:cubicBezTo>
                    <a:cubicBezTo>
                      <a:pt x="31" y="109"/>
                      <a:pt x="31" y="109"/>
                      <a:pt x="31" y="109"/>
                    </a:cubicBezTo>
                    <a:cubicBezTo>
                      <a:pt x="27" y="116"/>
                      <a:pt x="23" y="124"/>
                      <a:pt x="20" y="132"/>
                    </a:cubicBezTo>
                    <a:close/>
                    <a:moveTo>
                      <a:pt x="389" y="131"/>
                    </a:moveTo>
                    <a:cubicBezTo>
                      <a:pt x="386" y="123"/>
                      <a:pt x="383" y="116"/>
                      <a:pt x="379" y="108"/>
                    </a:cubicBezTo>
                    <a:cubicBezTo>
                      <a:pt x="384" y="105"/>
                      <a:pt x="384" y="105"/>
                      <a:pt x="384" y="105"/>
                    </a:cubicBezTo>
                    <a:cubicBezTo>
                      <a:pt x="388" y="113"/>
                      <a:pt x="392" y="121"/>
                      <a:pt x="395" y="129"/>
                    </a:cubicBezTo>
                    <a:lnTo>
                      <a:pt x="389" y="131"/>
                    </a:lnTo>
                    <a:close/>
                    <a:moveTo>
                      <a:pt x="44" y="88"/>
                    </a:moveTo>
                    <a:cubicBezTo>
                      <a:pt x="39" y="84"/>
                      <a:pt x="39" y="84"/>
                      <a:pt x="39" y="84"/>
                    </a:cubicBezTo>
                    <a:cubicBezTo>
                      <a:pt x="44" y="77"/>
                      <a:pt x="49" y="71"/>
                      <a:pt x="55" y="65"/>
                    </a:cubicBezTo>
                    <a:cubicBezTo>
                      <a:pt x="60" y="69"/>
                      <a:pt x="60" y="69"/>
                      <a:pt x="60" y="69"/>
                    </a:cubicBezTo>
                    <a:cubicBezTo>
                      <a:pt x="54" y="75"/>
                      <a:pt x="49" y="81"/>
                      <a:pt x="44" y="88"/>
                    </a:cubicBezTo>
                    <a:close/>
                    <a:moveTo>
                      <a:pt x="365" y="87"/>
                    </a:moveTo>
                    <a:cubicBezTo>
                      <a:pt x="360" y="81"/>
                      <a:pt x="355" y="74"/>
                      <a:pt x="349" y="68"/>
                    </a:cubicBezTo>
                    <a:cubicBezTo>
                      <a:pt x="354" y="64"/>
                      <a:pt x="354" y="64"/>
                      <a:pt x="354" y="64"/>
                    </a:cubicBezTo>
                    <a:cubicBezTo>
                      <a:pt x="360" y="70"/>
                      <a:pt x="365" y="77"/>
                      <a:pt x="370" y="84"/>
                    </a:cubicBezTo>
                    <a:lnTo>
                      <a:pt x="365" y="87"/>
                    </a:lnTo>
                    <a:close/>
                    <a:moveTo>
                      <a:pt x="78" y="52"/>
                    </a:moveTo>
                    <a:cubicBezTo>
                      <a:pt x="74" y="47"/>
                      <a:pt x="74" y="47"/>
                      <a:pt x="74" y="47"/>
                    </a:cubicBezTo>
                    <a:cubicBezTo>
                      <a:pt x="81" y="41"/>
                      <a:pt x="88" y="36"/>
                      <a:pt x="95" y="32"/>
                    </a:cubicBezTo>
                    <a:cubicBezTo>
                      <a:pt x="98" y="37"/>
                      <a:pt x="98" y="37"/>
                      <a:pt x="98" y="37"/>
                    </a:cubicBezTo>
                    <a:cubicBezTo>
                      <a:pt x="91" y="42"/>
                      <a:pt x="84" y="46"/>
                      <a:pt x="78" y="52"/>
                    </a:cubicBezTo>
                    <a:close/>
                    <a:moveTo>
                      <a:pt x="331" y="51"/>
                    </a:moveTo>
                    <a:cubicBezTo>
                      <a:pt x="325" y="46"/>
                      <a:pt x="318" y="41"/>
                      <a:pt x="311" y="37"/>
                    </a:cubicBezTo>
                    <a:cubicBezTo>
                      <a:pt x="314" y="31"/>
                      <a:pt x="314" y="31"/>
                      <a:pt x="314" y="31"/>
                    </a:cubicBezTo>
                    <a:cubicBezTo>
                      <a:pt x="322" y="36"/>
                      <a:pt x="329" y="41"/>
                      <a:pt x="335" y="46"/>
                    </a:cubicBezTo>
                    <a:lnTo>
                      <a:pt x="331" y="51"/>
                    </a:lnTo>
                    <a:close/>
                    <a:moveTo>
                      <a:pt x="120" y="25"/>
                    </a:moveTo>
                    <a:cubicBezTo>
                      <a:pt x="117" y="19"/>
                      <a:pt x="117" y="19"/>
                      <a:pt x="117" y="19"/>
                    </a:cubicBezTo>
                    <a:cubicBezTo>
                      <a:pt x="125" y="16"/>
                      <a:pt x="133" y="12"/>
                      <a:pt x="141" y="10"/>
                    </a:cubicBezTo>
                    <a:cubicBezTo>
                      <a:pt x="143" y="16"/>
                      <a:pt x="143" y="16"/>
                      <a:pt x="143" y="16"/>
                    </a:cubicBezTo>
                    <a:cubicBezTo>
                      <a:pt x="135" y="18"/>
                      <a:pt x="127" y="21"/>
                      <a:pt x="120" y="25"/>
                    </a:cubicBezTo>
                    <a:close/>
                    <a:moveTo>
                      <a:pt x="289" y="25"/>
                    </a:moveTo>
                    <a:cubicBezTo>
                      <a:pt x="282" y="21"/>
                      <a:pt x="274" y="18"/>
                      <a:pt x="266" y="16"/>
                    </a:cubicBezTo>
                    <a:cubicBezTo>
                      <a:pt x="268" y="10"/>
                      <a:pt x="268" y="10"/>
                      <a:pt x="268" y="10"/>
                    </a:cubicBezTo>
                    <a:cubicBezTo>
                      <a:pt x="276" y="12"/>
                      <a:pt x="284" y="15"/>
                      <a:pt x="292" y="19"/>
                    </a:cubicBezTo>
                    <a:lnTo>
                      <a:pt x="289" y="25"/>
                    </a:lnTo>
                    <a:close/>
                    <a:moveTo>
                      <a:pt x="167" y="10"/>
                    </a:moveTo>
                    <a:cubicBezTo>
                      <a:pt x="166" y="3"/>
                      <a:pt x="166" y="3"/>
                      <a:pt x="166" y="3"/>
                    </a:cubicBezTo>
                    <a:cubicBezTo>
                      <a:pt x="174" y="2"/>
                      <a:pt x="183" y="1"/>
                      <a:pt x="192" y="0"/>
                    </a:cubicBezTo>
                    <a:cubicBezTo>
                      <a:pt x="192" y="6"/>
                      <a:pt x="192" y="6"/>
                      <a:pt x="192" y="6"/>
                    </a:cubicBezTo>
                    <a:cubicBezTo>
                      <a:pt x="184" y="7"/>
                      <a:pt x="175" y="8"/>
                      <a:pt x="167" y="10"/>
                    </a:cubicBezTo>
                    <a:close/>
                    <a:moveTo>
                      <a:pt x="242" y="9"/>
                    </a:moveTo>
                    <a:cubicBezTo>
                      <a:pt x="234" y="8"/>
                      <a:pt x="225" y="7"/>
                      <a:pt x="217" y="6"/>
                    </a:cubicBezTo>
                    <a:cubicBezTo>
                      <a:pt x="217" y="0"/>
                      <a:pt x="217" y="0"/>
                      <a:pt x="217" y="0"/>
                    </a:cubicBezTo>
                    <a:cubicBezTo>
                      <a:pt x="226" y="1"/>
                      <a:pt x="234" y="2"/>
                      <a:pt x="243" y="3"/>
                    </a:cubicBezTo>
                    <a:lnTo>
                      <a:pt x="242" y="9"/>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147" name="Oval 146"/>
              <p:cNvSpPr>
                <a:spLocks noChangeArrowheads="1"/>
              </p:cNvSpPr>
              <p:nvPr/>
            </p:nvSpPr>
            <p:spPr bwMode="auto">
              <a:xfrm>
                <a:off x="7665581" y="4257779"/>
                <a:ext cx="517306" cy="516172"/>
              </a:xfrm>
              <a:prstGeom prst="ellipse">
                <a:avLst/>
              </a:pr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148" name="Freeform 147"/>
              <p:cNvSpPr>
                <a:spLocks noEditPoints="1"/>
              </p:cNvSpPr>
              <p:nvPr/>
            </p:nvSpPr>
            <p:spPr bwMode="auto">
              <a:xfrm>
                <a:off x="7659909" y="4252107"/>
                <a:ext cx="527516" cy="526381"/>
              </a:xfrm>
              <a:custGeom>
                <a:avLst/>
                <a:gdLst>
                  <a:gd name="T0" fmla="*/ 166 w 332"/>
                  <a:gd name="T1" fmla="*/ 332 h 332"/>
                  <a:gd name="T2" fmla="*/ 141 w 332"/>
                  <a:gd name="T3" fmla="*/ 324 h 332"/>
                  <a:gd name="T4" fmla="*/ 166 w 332"/>
                  <a:gd name="T5" fmla="*/ 332 h 332"/>
                  <a:gd name="T6" fmla="*/ 191 w 332"/>
                  <a:gd name="T7" fmla="*/ 324 h 332"/>
                  <a:gd name="T8" fmla="*/ 218 w 332"/>
                  <a:gd name="T9" fmla="*/ 324 h 332"/>
                  <a:gd name="T10" fmla="*/ 115 w 332"/>
                  <a:gd name="T11" fmla="*/ 324 h 332"/>
                  <a:gd name="T12" fmla="*/ 94 w 332"/>
                  <a:gd name="T13" fmla="*/ 309 h 332"/>
                  <a:gd name="T14" fmla="*/ 115 w 332"/>
                  <a:gd name="T15" fmla="*/ 324 h 332"/>
                  <a:gd name="T16" fmla="*/ 239 w 332"/>
                  <a:gd name="T17" fmla="*/ 309 h 332"/>
                  <a:gd name="T18" fmla="*/ 264 w 332"/>
                  <a:gd name="T19" fmla="*/ 301 h 332"/>
                  <a:gd name="T20" fmla="*/ 69 w 332"/>
                  <a:gd name="T21" fmla="*/ 301 h 332"/>
                  <a:gd name="T22" fmla="*/ 53 w 332"/>
                  <a:gd name="T23" fmla="*/ 280 h 332"/>
                  <a:gd name="T24" fmla="*/ 69 w 332"/>
                  <a:gd name="T25" fmla="*/ 301 h 332"/>
                  <a:gd name="T26" fmla="*/ 279 w 332"/>
                  <a:gd name="T27" fmla="*/ 279 h 332"/>
                  <a:gd name="T28" fmla="*/ 300 w 332"/>
                  <a:gd name="T29" fmla="*/ 264 h 332"/>
                  <a:gd name="T30" fmla="*/ 32 w 332"/>
                  <a:gd name="T31" fmla="*/ 264 h 332"/>
                  <a:gd name="T32" fmla="*/ 24 w 332"/>
                  <a:gd name="T33" fmla="*/ 239 h 332"/>
                  <a:gd name="T34" fmla="*/ 32 w 332"/>
                  <a:gd name="T35" fmla="*/ 264 h 332"/>
                  <a:gd name="T36" fmla="*/ 308 w 332"/>
                  <a:gd name="T37" fmla="*/ 239 h 332"/>
                  <a:gd name="T38" fmla="*/ 324 w 332"/>
                  <a:gd name="T39" fmla="*/ 218 h 332"/>
                  <a:gd name="T40" fmla="*/ 8 w 332"/>
                  <a:gd name="T41" fmla="*/ 218 h 332"/>
                  <a:gd name="T42" fmla="*/ 8 w 332"/>
                  <a:gd name="T43" fmla="*/ 192 h 332"/>
                  <a:gd name="T44" fmla="*/ 8 w 332"/>
                  <a:gd name="T45" fmla="*/ 218 h 332"/>
                  <a:gd name="T46" fmla="*/ 324 w 332"/>
                  <a:gd name="T47" fmla="*/ 191 h 332"/>
                  <a:gd name="T48" fmla="*/ 326 w 332"/>
                  <a:gd name="T49" fmla="*/ 166 h 332"/>
                  <a:gd name="T50" fmla="*/ 332 w 332"/>
                  <a:gd name="T51" fmla="*/ 166 h 332"/>
                  <a:gd name="T52" fmla="*/ 6 w 332"/>
                  <a:gd name="T53" fmla="*/ 167 h 332"/>
                  <a:gd name="T54" fmla="*/ 0 w 332"/>
                  <a:gd name="T55" fmla="*/ 166 h 332"/>
                  <a:gd name="T56" fmla="*/ 8 w 332"/>
                  <a:gd name="T57" fmla="*/ 142 h 332"/>
                  <a:gd name="T58" fmla="*/ 6 w 332"/>
                  <a:gd name="T59" fmla="*/ 167 h 332"/>
                  <a:gd name="T60" fmla="*/ 318 w 332"/>
                  <a:gd name="T61" fmla="*/ 116 h 332"/>
                  <a:gd name="T62" fmla="*/ 330 w 332"/>
                  <a:gd name="T63" fmla="*/ 140 h 332"/>
                  <a:gd name="T64" fmla="*/ 14 w 332"/>
                  <a:gd name="T65" fmla="*/ 117 h 332"/>
                  <a:gd name="T66" fmla="*/ 18 w 332"/>
                  <a:gd name="T67" fmla="*/ 91 h 332"/>
                  <a:gd name="T68" fmla="*/ 14 w 332"/>
                  <a:gd name="T69" fmla="*/ 117 h 332"/>
                  <a:gd name="T70" fmla="*/ 295 w 332"/>
                  <a:gd name="T71" fmla="*/ 72 h 332"/>
                  <a:gd name="T72" fmla="*/ 314 w 332"/>
                  <a:gd name="T73" fmla="*/ 90 h 332"/>
                  <a:gd name="T74" fmla="*/ 37 w 332"/>
                  <a:gd name="T75" fmla="*/ 73 h 332"/>
                  <a:gd name="T76" fmla="*/ 48 w 332"/>
                  <a:gd name="T77" fmla="*/ 49 h 332"/>
                  <a:gd name="T78" fmla="*/ 37 w 332"/>
                  <a:gd name="T79" fmla="*/ 73 h 332"/>
                  <a:gd name="T80" fmla="*/ 260 w 332"/>
                  <a:gd name="T81" fmla="*/ 37 h 332"/>
                  <a:gd name="T82" fmla="*/ 283 w 332"/>
                  <a:gd name="T83" fmla="*/ 49 h 332"/>
                  <a:gd name="T84" fmla="*/ 72 w 332"/>
                  <a:gd name="T85" fmla="*/ 37 h 332"/>
                  <a:gd name="T86" fmla="*/ 90 w 332"/>
                  <a:gd name="T87" fmla="*/ 19 h 332"/>
                  <a:gd name="T88" fmla="*/ 72 w 332"/>
                  <a:gd name="T89" fmla="*/ 37 h 332"/>
                  <a:gd name="T90" fmla="*/ 215 w 332"/>
                  <a:gd name="T91" fmla="*/ 14 h 332"/>
                  <a:gd name="T92" fmla="*/ 241 w 332"/>
                  <a:gd name="T93" fmla="*/ 18 h 332"/>
                  <a:gd name="T94" fmla="*/ 116 w 332"/>
                  <a:gd name="T95" fmla="*/ 15 h 332"/>
                  <a:gd name="T96" fmla="*/ 140 w 332"/>
                  <a:gd name="T97" fmla="*/ 2 h 332"/>
                  <a:gd name="T98" fmla="*/ 116 w 332"/>
                  <a:gd name="T99" fmla="*/ 15 h 332"/>
                  <a:gd name="T100" fmla="*/ 166 w 332"/>
                  <a:gd name="T101" fmla="*/ 7 h 332"/>
                  <a:gd name="T102" fmla="*/ 166 w 332"/>
                  <a:gd name="T103" fmla="*/ 0 h 332"/>
                  <a:gd name="T104" fmla="*/ 192 w 332"/>
                  <a:gd name="T105" fmla="*/ 2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32" h="332">
                    <a:moveTo>
                      <a:pt x="166" y="332"/>
                    </a:moveTo>
                    <a:cubicBezTo>
                      <a:pt x="166" y="332"/>
                      <a:pt x="166" y="332"/>
                      <a:pt x="166" y="332"/>
                    </a:cubicBezTo>
                    <a:cubicBezTo>
                      <a:pt x="157" y="332"/>
                      <a:pt x="149" y="332"/>
                      <a:pt x="140" y="330"/>
                    </a:cubicBezTo>
                    <a:cubicBezTo>
                      <a:pt x="141" y="324"/>
                      <a:pt x="141" y="324"/>
                      <a:pt x="141" y="324"/>
                    </a:cubicBezTo>
                    <a:cubicBezTo>
                      <a:pt x="149" y="325"/>
                      <a:pt x="158" y="326"/>
                      <a:pt x="166" y="326"/>
                    </a:cubicBezTo>
                    <a:lnTo>
                      <a:pt x="166" y="332"/>
                    </a:lnTo>
                    <a:close/>
                    <a:moveTo>
                      <a:pt x="192" y="330"/>
                    </a:moveTo>
                    <a:cubicBezTo>
                      <a:pt x="191" y="324"/>
                      <a:pt x="191" y="324"/>
                      <a:pt x="191" y="324"/>
                    </a:cubicBezTo>
                    <a:cubicBezTo>
                      <a:pt x="199" y="323"/>
                      <a:pt x="208" y="321"/>
                      <a:pt x="216" y="318"/>
                    </a:cubicBezTo>
                    <a:cubicBezTo>
                      <a:pt x="218" y="324"/>
                      <a:pt x="218" y="324"/>
                      <a:pt x="218" y="324"/>
                    </a:cubicBezTo>
                    <a:cubicBezTo>
                      <a:pt x="209" y="327"/>
                      <a:pt x="201" y="329"/>
                      <a:pt x="192" y="330"/>
                    </a:cubicBezTo>
                    <a:close/>
                    <a:moveTo>
                      <a:pt x="115" y="324"/>
                    </a:moveTo>
                    <a:cubicBezTo>
                      <a:pt x="107" y="322"/>
                      <a:pt x="99" y="318"/>
                      <a:pt x="91" y="314"/>
                    </a:cubicBezTo>
                    <a:cubicBezTo>
                      <a:pt x="94" y="309"/>
                      <a:pt x="94" y="309"/>
                      <a:pt x="94" y="309"/>
                    </a:cubicBezTo>
                    <a:cubicBezTo>
                      <a:pt x="101" y="313"/>
                      <a:pt x="109" y="316"/>
                      <a:pt x="117" y="318"/>
                    </a:cubicBezTo>
                    <a:lnTo>
                      <a:pt x="115" y="324"/>
                    </a:lnTo>
                    <a:close/>
                    <a:moveTo>
                      <a:pt x="242" y="314"/>
                    </a:moveTo>
                    <a:cubicBezTo>
                      <a:pt x="239" y="309"/>
                      <a:pt x="239" y="309"/>
                      <a:pt x="239" y="309"/>
                    </a:cubicBezTo>
                    <a:cubicBezTo>
                      <a:pt x="246" y="305"/>
                      <a:pt x="253" y="300"/>
                      <a:pt x="260" y="296"/>
                    </a:cubicBezTo>
                    <a:cubicBezTo>
                      <a:pt x="264" y="301"/>
                      <a:pt x="264" y="301"/>
                      <a:pt x="264" y="301"/>
                    </a:cubicBezTo>
                    <a:cubicBezTo>
                      <a:pt x="257" y="306"/>
                      <a:pt x="249" y="310"/>
                      <a:pt x="242" y="314"/>
                    </a:cubicBezTo>
                    <a:close/>
                    <a:moveTo>
                      <a:pt x="69" y="301"/>
                    </a:moveTo>
                    <a:cubicBezTo>
                      <a:pt x="62" y="296"/>
                      <a:pt x="55" y="290"/>
                      <a:pt x="49" y="284"/>
                    </a:cubicBezTo>
                    <a:cubicBezTo>
                      <a:pt x="53" y="280"/>
                      <a:pt x="53" y="280"/>
                      <a:pt x="53" y="280"/>
                    </a:cubicBezTo>
                    <a:cubicBezTo>
                      <a:pt x="59" y="285"/>
                      <a:pt x="66" y="291"/>
                      <a:pt x="72" y="296"/>
                    </a:cubicBezTo>
                    <a:lnTo>
                      <a:pt x="69" y="301"/>
                    </a:lnTo>
                    <a:close/>
                    <a:moveTo>
                      <a:pt x="284" y="284"/>
                    </a:moveTo>
                    <a:cubicBezTo>
                      <a:pt x="279" y="279"/>
                      <a:pt x="279" y="279"/>
                      <a:pt x="279" y="279"/>
                    </a:cubicBezTo>
                    <a:cubicBezTo>
                      <a:pt x="285" y="273"/>
                      <a:pt x="290" y="267"/>
                      <a:pt x="295" y="260"/>
                    </a:cubicBezTo>
                    <a:cubicBezTo>
                      <a:pt x="300" y="264"/>
                      <a:pt x="300" y="264"/>
                      <a:pt x="300" y="264"/>
                    </a:cubicBezTo>
                    <a:cubicBezTo>
                      <a:pt x="295" y="271"/>
                      <a:pt x="290" y="278"/>
                      <a:pt x="284" y="284"/>
                    </a:cubicBezTo>
                    <a:close/>
                    <a:moveTo>
                      <a:pt x="32" y="264"/>
                    </a:moveTo>
                    <a:cubicBezTo>
                      <a:pt x="27" y="257"/>
                      <a:pt x="22" y="250"/>
                      <a:pt x="18" y="242"/>
                    </a:cubicBezTo>
                    <a:cubicBezTo>
                      <a:pt x="24" y="239"/>
                      <a:pt x="24" y="239"/>
                      <a:pt x="24" y="239"/>
                    </a:cubicBezTo>
                    <a:cubicBezTo>
                      <a:pt x="28" y="247"/>
                      <a:pt x="32" y="254"/>
                      <a:pt x="37" y="260"/>
                    </a:cubicBezTo>
                    <a:lnTo>
                      <a:pt x="32" y="264"/>
                    </a:lnTo>
                    <a:close/>
                    <a:moveTo>
                      <a:pt x="314" y="242"/>
                    </a:moveTo>
                    <a:cubicBezTo>
                      <a:pt x="308" y="239"/>
                      <a:pt x="308" y="239"/>
                      <a:pt x="308" y="239"/>
                    </a:cubicBezTo>
                    <a:cubicBezTo>
                      <a:pt x="312" y="231"/>
                      <a:pt x="316" y="224"/>
                      <a:pt x="318" y="216"/>
                    </a:cubicBezTo>
                    <a:cubicBezTo>
                      <a:pt x="324" y="218"/>
                      <a:pt x="324" y="218"/>
                      <a:pt x="324" y="218"/>
                    </a:cubicBezTo>
                    <a:cubicBezTo>
                      <a:pt x="321" y="226"/>
                      <a:pt x="318" y="234"/>
                      <a:pt x="314" y="242"/>
                    </a:cubicBezTo>
                    <a:close/>
                    <a:moveTo>
                      <a:pt x="8" y="218"/>
                    </a:moveTo>
                    <a:cubicBezTo>
                      <a:pt x="6" y="210"/>
                      <a:pt x="3" y="201"/>
                      <a:pt x="2" y="193"/>
                    </a:cubicBezTo>
                    <a:cubicBezTo>
                      <a:pt x="8" y="192"/>
                      <a:pt x="8" y="192"/>
                      <a:pt x="8" y="192"/>
                    </a:cubicBezTo>
                    <a:cubicBezTo>
                      <a:pt x="10" y="200"/>
                      <a:pt x="12" y="208"/>
                      <a:pt x="14" y="216"/>
                    </a:cubicBezTo>
                    <a:lnTo>
                      <a:pt x="8" y="218"/>
                    </a:lnTo>
                    <a:close/>
                    <a:moveTo>
                      <a:pt x="330" y="192"/>
                    </a:moveTo>
                    <a:cubicBezTo>
                      <a:pt x="324" y="191"/>
                      <a:pt x="324" y="191"/>
                      <a:pt x="324" y="191"/>
                    </a:cubicBezTo>
                    <a:cubicBezTo>
                      <a:pt x="325" y="183"/>
                      <a:pt x="326" y="175"/>
                      <a:pt x="326" y="166"/>
                    </a:cubicBezTo>
                    <a:cubicBezTo>
                      <a:pt x="326" y="166"/>
                      <a:pt x="326" y="166"/>
                      <a:pt x="326" y="166"/>
                    </a:cubicBezTo>
                    <a:cubicBezTo>
                      <a:pt x="332" y="166"/>
                      <a:pt x="332" y="166"/>
                      <a:pt x="332" y="166"/>
                    </a:cubicBezTo>
                    <a:cubicBezTo>
                      <a:pt x="332" y="166"/>
                      <a:pt x="332" y="166"/>
                      <a:pt x="332" y="166"/>
                    </a:cubicBezTo>
                    <a:cubicBezTo>
                      <a:pt x="332" y="175"/>
                      <a:pt x="331" y="184"/>
                      <a:pt x="330" y="192"/>
                    </a:cubicBezTo>
                    <a:close/>
                    <a:moveTo>
                      <a:pt x="6" y="167"/>
                    </a:moveTo>
                    <a:cubicBezTo>
                      <a:pt x="0" y="167"/>
                      <a:pt x="0" y="167"/>
                      <a:pt x="0" y="167"/>
                    </a:cubicBezTo>
                    <a:cubicBezTo>
                      <a:pt x="0" y="166"/>
                      <a:pt x="0" y="166"/>
                      <a:pt x="0" y="166"/>
                    </a:cubicBezTo>
                    <a:cubicBezTo>
                      <a:pt x="0" y="158"/>
                      <a:pt x="1" y="149"/>
                      <a:pt x="2" y="141"/>
                    </a:cubicBezTo>
                    <a:cubicBezTo>
                      <a:pt x="8" y="142"/>
                      <a:pt x="8" y="142"/>
                      <a:pt x="8" y="142"/>
                    </a:cubicBezTo>
                    <a:cubicBezTo>
                      <a:pt x="7" y="150"/>
                      <a:pt x="6" y="158"/>
                      <a:pt x="6" y="166"/>
                    </a:cubicBezTo>
                    <a:lnTo>
                      <a:pt x="6" y="167"/>
                    </a:lnTo>
                    <a:close/>
                    <a:moveTo>
                      <a:pt x="324" y="141"/>
                    </a:moveTo>
                    <a:cubicBezTo>
                      <a:pt x="322" y="133"/>
                      <a:pt x="320" y="124"/>
                      <a:pt x="318" y="116"/>
                    </a:cubicBezTo>
                    <a:cubicBezTo>
                      <a:pt x="324" y="114"/>
                      <a:pt x="324" y="114"/>
                      <a:pt x="324" y="114"/>
                    </a:cubicBezTo>
                    <a:cubicBezTo>
                      <a:pt x="327" y="123"/>
                      <a:pt x="329" y="131"/>
                      <a:pt x="330" y="140"/>
                    </a:cubicBezTo>
                    <a:lnTo>
                      <a:pt x="324" y="141"/>
                    </a:lnTo>
                    <a:close/>
                    <a:moveTo>
                      <a:pt x="14" y="117"/>
                    </a:moveTo>
                    <a:cubicBezTo>
                      <a:pt x="8" y="115"/>
                      <a:pt x="8" y="115"/>
                      <a:pt x="8" y="115"/>
                    </a:cubicBezTo>
                    <a:cubicBezTo>
                      <a:pt x="11" y="107"/>
                      <a:pt x="14" y="99"/>
                      <a:pt x="18" y="91"/>
                    </a:cubicBezTo>
                    <a:cubicBezTo>
                      <a:pt x="24" y="94"/>
                      <a:pt x="24" y="94"/>
                      <a:pt x="24" y="94"/>
                    </a:cubicBezTo>
                    <a:cubicBezTo>
                      <a:pt x="20" y="102"/>
                      <a:pt x="17" y="109"/>
                      <a:pt x="14" y="117"/>
                    </a:cubicBezTo>
                    <a:close/>
                    <a:moveTo>
                      <a:pt x="308" y="93"/>
                    </a:moveTo>
                    <a:cubicBezTo>
                      <a:pt x="304" y="86"/>
                      <a:pt x="300" y="79"/>
                      <a:pt x="295" y="72"/>
                    </a:cubicBezTo>
                    <a:cubicBezTo>
                      <a:pt x="300" y="68"/>
                      <a:pt x="300" y="68"/>
                      <a:pt x="300" y="68"/>
                    </a:cubicBezTo>
                    <a:cubicBezTo>
                      <a:pt x="305" y="75"/>
                      <a:pt x="310" y="83"/>
                      <a:pt x="314" y="90"/>
                    </a:cubicBezTo>
                    <a:lnTo>
                      <a:pt x="308" y="93"/>
                    </a:lnTo>
                    <a:close/>
                    <a:moveTo>
                      <a:pt x="37" y="73"/>
                    </a:moveTo>
                    <a:cubicBezTo>
                      <a:pt x="32" y="69"/>
                      <a:pt x="32" y="69"/>
                      <a:pt x="32" y="69"/>
                    </a:cubicBezTo>
                    <a:cubicBezTo>
                      <a:pt x="37" y="62"/>
                      <a:pt x="42" y="55"/>
                      <a:pt x="48" y="49"/>
                    </a:cubicBezTo>
                    <a:cubicBezTo>
                      <a:pt x="53" y="54"/>
                      <a:pt x="53" y="54"/>
                      <a:pt x="53" y="54"/>
                    </a:cubicBezTo>
                    <a:cubicBezTo>
                      <a:pt x="47" y="60"/>
                      <a:pt x="42" y="66"/>
                      <a:pt x="37" y="73"/>
                    </a:cubicBezTo>
                    <a:close/>
                    <a:moveTo>
                      <a:pt x="279" y="53"/>
                    </a:moveTo>
                    <a:cubicBezTo>
                      <a:pt x="273" y="47"/>
                      <a:pt x="266" y="42"/>
                      <a:pt x="260" y="37"/>
                    </a:cubicBezTo>
                    <a:cubicBezTo>
                      <a:pt x="263" y="32"/>
                      <a:pt x="263" y="32"/>
                      <a:pt x="263" y="32"/>
                    </a:cubicBezTo>
                    <a:cubicBezTo>
                      <a:pt x="270" y="37"/>
                      <a:pt x="277" y="42"/>
                      <a:pt x="283" y="49"/>
                    </a:cubicBezTo>
                    <a:lnTo>
                      <a:pt x="279" y="53"/>
                    </a:lnTo>
                    <a:close/>
                    <a:moveTo>
                      <a:pt x="72" y="37"/>
                    </a:moveTo>
                    <a:cubicBezTo>
                      <a:pt x="68" y="32"/>
                      <a:pt x="68" y="32"/>
                      <a:pt x="68" y="32"/>
                    </a:cubicBezTo>
                    <a:cubicBezTo>
                      <a:pt x="75" y="27"/>
                      <a:pt x="83" y="23"/>
                      <a:pt x="90" y="19"/>
                    </a:cubicBezTo>
                    <a:cubicBezTo>
                      <a:pt x="93" y="24"/>
                      <a:pt x="93" y="24"/>
                      <a:pt x="93" y="24"/>
                    </a:cubicBezTo>
                    <a:cubicBezTo>
                      <a:pt x="86" y="28"/>
                      <a:pt x="79" y="32"/>
                      <a:pt x="72" y="37"/>
                    </a:cubicBezTo>
                    <a:close/>
                    <a:moveTo>
                      <a:pt x="238" y="24"/>
                    </a:moveTo>
                    <a:cubicBezTo>
                      <a:pt x="231" y="20"/>
                      <a:pt x="223" y="17"/>
                      <a:pt x="215" y="14"/>
                    </a:cubicBezTo>
                    <a:cubicBezTo>
                      <a:pt x="217" y="8"/>
                      <a:pt x="217" y="8"/>
                      <a:pt x="217" y="8"/>
                    </a:cubicBezTo>
                    <a:cubicBezTo>
                      <a:pt x="225" y="11"/>
                      <a:pt x="233" y="14"/>
                      <a:pt x="241" y="18"/>
                    </a:cubicBezTo>
                    <a:lnTo>
                      <a:pt x="238" y="24"/>
                    </a:lnTo>
                    <a:close/>
                    <a:moveTo>
                      <a:pt x="116" y="15"/>
                    </a:moveTo>
                    <a:cubicBezTo>
                      <a:pt x="114" y="9"/>
                      <a:pt x="114" y="9"/>
                      <a:pt x="114" y="9"/>
                    </a:cubicBezTo>
                    <a:cubicBezTo>
                      <a:pt x="123" y="6"/>
                      <a:pt x="131" y="4"/>
                      <a:pt x="140" y="2"/>
                    </a:cubicBezTo>
                    <a:cubicBezTo>
                      <a:pt x="141" y="9"/>
                      <a:pt x="141" y="9"/>
                      <a:pt x="141" y="9"/>
                    </a:cubicBezTo>
                    <a:cubicBezTo>
                      <a:pt x="132" y="10"/>
                      <a:pt x="124" y="12"/>
                      <a:pt x="116" y="15"/>
                    </a:cubicBezTo>
                    <a:close/>
                    <a:moveTo>
                      <a:pt x="191" y="9"/>
                    </a:moveTo>
                    <a:cubicBezTo>
                      <a:pt x="183" y="7"/>
                      <a:pt x="174" y="7"/>
                      <a:pt x="166" y="7"/>
                    </a:cubicBezTo>
                    <a:cubicBezTo>
                      <a:pt x="166" y="7"/>
                      <a:pt x="166" y="7"/>
                      <a:pt x="166" y="7"/>
                    </a:cubicBezTo>
                    <a:cubicBezTo>
                      <a:pt x="166" y="0"/>
                      <a:pt x="166" y="0"/>
                      <a:pt x="166" y="0"/>
                    </a:cubicBezTo>
                    <a:cubicBezTo>
                      <a:pt x="166" y="0"/>
                      <a:pt x="166" y="0"/>
                      <a:pt x="166" y="0"/>
                    </a:cubicBezTo>
                    <a:cubicBezTo>
                      <a:pt x="175" y="0"/>
                      <a:pt x="183" y="1"/>
                      <a:pt x="192" y="2"/>
                    </a:cubicBezTo>
                    <a:lnTo>
                      <a:pt x="191" y="9"/>
                    </a:lnTo>
                    <a:close/>
                  </a:path>
                </a:pathLst>
              </a:custGeom>
              <a:solidFill>
                <a:srgbClr val="008D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149" name="Oval 148"/>
              <p:cNvSpPr>
                <a:spLocks noChangeArrowheads="1"/>
              </p:cNvSpPr>
              <p:nvPr/>
            </p:nvSpPr>
            <p:spPr bwMode="auto">
              <a:xfrm>
                <a:off x="7665581" y="4367820"/>
                <a:ext cx="406130" cy="406130"/>
              </a:xfrm>
              <a:prstGeom prst="ellipse">
                <a:avLst/>
              </a:prstGeom>
              <a:solidFill>
                <a:srgbClr val="008D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150" name="Freeform 149"/>
              <p:cNvSpPr>
                <a:spLocks noEditPoints="1"/>
              </p:cNvSpPr>
              <p:nvPr/>
            </p:nvSpPr>
            <p:spPr bwMode="auto">
              <a:xfrm>
                <a:off x="7765412" y="4488071"/>
                <a:ext cx="203066" cy="171301"/>
              </a:xfrm>
              <a:custGeom>
                <a:avLst/>
                <a:gdLst>
                  <a:gd name="T0" fmla="*/ 121 w 128"/>
                  <a:gd name="T1" fmla="*/ 102 h 108"/>
                  <a:gd name="T2" fmla="*/ 0 w 128"/>
                  <a:gd name="T3" fmla="*/ 19 h 108"/>
                  <a:gd name="T4" fmla="*/ 0 w 128"/>
                  <a:gd name="T5" fmla="*/ 108 h 108"/>
                  <a:gd name="T6" fmla="*/ 128 w 128"/>
                  <a:gd name="T7" fmla="*/ 0 h 108"/>
                  <a:gd name="T8" fmla="*/ 0 w 128"/>
                  <a:gd name="T9" fmla="*/ 0 h 108"/>
                  <a:gd name="T10" fmla="*/ 75 w 128"/>
                  <a:gd name="T11" fmla="*/ 61 h 108"/>
                  <a:gd name="T12" fmla="*/ 71 w 128"/>
                  <a:gd name="T13" fmla="*/ 55 h 108"/>
                  <a:gd name="T14" fmla="*/ 67 w 128"/>
                  <a:gd name="T15" fmla="*/ 51 h 108"/>
                  <a:gd name="T16" fmla="*/ 60 w 128"/>
                  <a:gd name="T17" fmla="*/ 48 h 108"/>
                  <a:gd name="T18" fmla="*/ 54 w 128"/>
                  <a:gd name="T19" fmla="*/ 48 h 108"/>
                  <a:gd name="T20" fmla="*/ 47 w 128"/>
                  <a:gd name="T21" fmla="*/ 51 h 108"/>
                  <a:gd name="T22" fmla="*/ 43 w 128"/>
                  <a:gd name="T23" fmla="*/ 55 h 108"/>
                  <a:gd name="T24" fmla="*/ 40 w 128"/>
                  <a:gd name="T25" fmla="*/ 61 h 108"/>
                  <a:gd name="T26" fmla="*/ 38 w 128"/>
                  <a:gd name="T27" fmla="*/ 66 h 108"/>
                  <a:gd name="T28" fmla="*/ 40 w 128"/>
                  <a:gd name="T29" fmla="*/ 74 h 108"/>
                  <a:gd name="T30" fmla="*/ 42 w 128"/>
                  <a:gd name="T31" fmla="*/ 78 h 108"/>
                  <a:gd name="T32" fmla="*/ 48 w 128"/>
                  <a:gd name="T33" fmla="*/ 83 h 108"/>
                  <a:gd name="T34" fmla="*/ 53 w 128"/>
                  <a:gd name="T35" fmla="*/ 85 h 108"/>
                  <a:gd name="T36" fmla="*/ 58 w 128"/>
                  <a:gd name="T37" fmla="*/ 80 h 108"/>
                  <a:gd name="T38" fmla="*/ 65 w 128"/>
                  <a:gd name="T39" fmla="*/ 84 h 108"/>
                  <a:gd name="T40" fmla="*/ 66 w 128"/>
                  <a:gd name="T41" fmla="*/ 77 h 108"/>
                  <a:gd name="T42" fmla="*/ 75 w 128"/>
                  <a:gd name="T43" fmla="*/ 75 h 108"/>
                  <a:gd name="T44" fmla="*/ 71 w 128"/>
                  <a:gd name="T45" fmla="*/ 69 h 108"/>
                  <a:gd name="T46" fmla="*/ 65 w 128"/>
                  <a:gd name="T47" fmla="*/ 67 h 108"/>
                  <a:gd name="T48" fmla="*/ 52 w 128"/>
                  <a:gd name="T49" fmla="*/ 72 h 108"/>
                  <a:gd name="T50" fmla="*/ 57 w 128"/>
                  <a:gd name="T51" fmla="*/ 59 h 108"/>
                  <a:gd name="T52" fmla="*/ 54 w 128"/>
                  <a:gd name="T53" fmla="*/ 67 h 108"/>
                  <a:gd name="T54" fmla="*/ 57 w 128"/>
                  <a:gd name="T55" fmla="*/ 70 h 108"/>
                  <a:gd name="T56" fmla="*/ 88 w 128"/>
                  <a:gd name="T57" fmla="*/ 53 h 108"/>
                  <a:gd name="T58" fmla="*/ 90 w 128"/>
                  <a:gd name="T59" fmla="*/ 49 h 108"/>
                  <a:gd name="T60" fmla="*/ 88 w 128"/>
                  <a:gd name="T61" fmla="*/ 47 h 108"/>
                  <a:gd name="T62" fmla="*/ 83 w 128"/>
                  <a:gd name="T63" fmla="*/ 46 h 108"/>
                  <a:gd name="T64" fmla="*/ 80 w 128"/>
                  <a:gd name="T65" fmla="*/ 43 h 108"/>
                  <a:gd name="T66" fmla="*/ 76 w 128"/>
                  <a:gd name="T67" fmla="*/ 48 h 108"/>
                  <a:gd name="T68" fmla="*/ 72 w 128"/>
                  <a:gd name="T69" fmla="*/ 47 h 108"/>
                  <a:gd name="T70" fmla="*/ 71 w 128"/>
                  <a:gd name="T71" fmla="*/ 50 h 108"/>
                  <a:gd name="T72" fmla="*/ 73 w 128"/>
                  <a:gd name="T73" fmla="*/ 55 h 108"/>
                  <a:gd name="T74" fmla="*/ 71 w 128"/>
                  <a:gd name="T75" fmla="*/ 58 h 108"/>
                  <a:gd name="T76" fmla="*/ 73 w 128"/>
                  <a:gd name="T77" fmla="*/ 60 h 108"/>
                  <a:gd name="T78" fmla="*/ 79 w 128"/>
                  <a:gd name="T79" fmla="*/ 63 h 108"/>
                  <a:gd name="T80" fmla="*/ 82 w 128"/>
                  <a:gd name="T81" fmla="*/ 63 h 108"/>
                  <a:gd name="T82" fmla="*/ 88 w 128"/>
                  <a:gd name="T83" fmla="*/ 60 h 108"/>
                  <a:gd name="T84" fmla="*/ 90 w 128"/>
                  <a:gd name="T85" fmla="*/ 58 h 108"/>
                  <a:gd name="T86" fmla="*/ 88 w 128"/>
                  <a:gd name="T87" fmla="*/ 55 h 108"/>
                  <a:gd name="T88" fmla="*/ 81 w 128"/>
                  <a:gd name="T89" fmla="*/ 56 h 108"/>
                  <a:gd name="T90" fmla="*/ 83 w 128"/>
                  <a:gd name="T91" fmla="*/ 53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28" h="108">
                    <a:moveTo>
                      <a:pt x="7" y="25"/>
                    </a:moveTo>
                    <a:cubicBezTo>
                      <a:pt x="7" y="102"/>
                      <a:pt x="7" y="102"/>
                      <a:pt x="7" y="102"/>
                    </a:cubicBezTo>
                    <a:cubicBezTo>
                      <a:pt x="121" y="102"/>
                      <a:pt x="121" y="102"/>
                      <a:pt x="121" y="102"/>
                    </a:cubicBezTo>
                    <a:cubicBezTo>
                      <a:pt x="121" y="25"/>
                      <a:pt x="121" y="25"/>
                      <a:pt x="121" y="25"/>
                    </a:cubicBezTo>
                    <a:cubicBezTo>
                      <a:pt x="7" y="25"/>
                      <a:pt x="7" y="25"/>
                      <a:pt x="7" y="25"/>
                    </a:cubicBezTo>
                    <a:close/>
                    <a:moveTo>
                      <a:pt x="0" y="19"/>
                    </a:moveTo>
                    <a:cubicBezTo>
                      <a:pt x="128" y="19"/>
                      <a:pt x="128" y="19"/>
                      <a:pt x="128" y="19"/>
                    </a:cubicBezTo>
                    <a:cubicBezTo>
                      <a:pt x="128" y="108"/>
                      <a:pt x="128" y="108"/>
                      <a:pt x="128" y="108"/>
                    </a:cubicBezTo>
                    <a:cubicBezTo>
                      <a:pt x="0" y="108"/>
                      <a:pt x="0" y="108"/>
                      <a:pt x="0" y="108"/>
                    </a:cubicBezTo>
                    <a:cubicBezTo>
                      <a:pt x="0" y="19"/>
                      <a:pt x="0" y="19"/>
                      <a:pt x="0" y="19"/>
                    </a:cubicBezTo>
                    <a:close/>
                    <a:moveTo>
                      <a:pt x="0" y="0"/>
                    </a:moveTo>
                    <a:cubicBezTo>
                      <a:pt x="128" y="0"/>
                      <a:pt x="128" y="0"/>
                      <a:pt x="128" y="0"/>
                    </a:cubicBezTo>
                    <a:cubicBezTo>
                      <a:pt x="128" y="12"/>
                      <a:pt x="128" y="12"/>
                      <a:pt x="128" y="12"/>
                    </a:cubicBezTo>
                    <a:cubicBezTo>
                      <a:pt x="0" y="12"/>
                      <a:pt x="0" y="12"/>
                      <a:pt x="0" y="12"/>
                    </a:cubicBezTo>
                    <a:cubicBezTo>
                      <a:pt x="0" y="0"/>
                      <a:pt x="0" y="0"/>
                      <a:pt x="0" y="0"/>
                    </a:cubicBezTo>
                    <a:close/>
                    <a:moveTo>
                      <a:pt x="76" y="65"/>
                    </a:moveTo>
                    <a:cubicBezTo>
                      <a:pt x="75" y="62"/>
                      <a:pt x="75" y="62"/>
                      <a:pt x="75" y="62"/>
                    </a:cubicBezTo>
                    <a:cubicBezTo>
                      <a:pt x="75" y="61"/>
                      <a:pt x="75" y="61"/>
                      <a:pt x="75" y="61"/>
                    </a:cubicBezTo>
                    <a:cubicBezTo>
                      <a:pt x="69" y="61"/>
                      <a:pt x="69" y="61"/>
                      <a:pt x="69" y="61"/>
                    </a:cubicBezTo>
                    <a:cubicBezTo>
                      <a:pt x="69" y="60"/>
                      <a:pt x="69" y="60"/>
                      <a:pt x="68" y="59"/>
                    </a:cubicBezTo>
                    <a:cubicBezTo>
                      <a:pt x="71" y="55"/>
                      <a:pt x="71" y="55"/>
                      <a:pt x="71" y="55"/>
                    </a:cubicBezTo>
                    <a:cubicBezTo>
                      <a:pt x="71" y="54"/>
                      <a:pt x="71" y="54"/>
                      <a:pt x="71" y="53"/>
                    </a:cubicBezTo>
                    <a:cubicBezTo>
                      <a:pt x="68" y="51"/>
                      <a:pt x="68" y="51"/>
                      <a:pt x="68" y="51"/>
                    </a:cubicBezTo>
                    <a:cubicBezTo>
                      <a:pt x="68" y="51"/>
                      <a:pt x="67" y="51"/>
                      <a:pt x="67" y="51"/>
                    </a:cubicBezTo>
                    <a:cubicBezTo>
                      <a:pt x="62" y="54"/>
                      <a:pt x="62" y="54"/>
                      <a:pt x="62" y="54"/>
                    </a:cubicBezTo>
                    <a:cubicBezTo>
                      <a:pt x="62" y="54"/>
                      <a:pt x="62" y="54"/>
                      <a:pt x="61" y="54"/>
                    </a:cubicBezTo>
                    <a:cubicBezTo>
                      <a:pt x="60" y="48"/>
                      <a:pt x="60" y="48"/>
                      <a:pt x="60" y="48"/>
                    </a:cubicBezTo>
                    <a:cubicBezTo>
                      <a:pt x="60" y="47"/>
                      <a:pt x="59" y="47"/>
                      <a:pt x="59" y="47"/>
                    </a:cubicBezTo>
                    <a:cubicBezTo>
                      <a:pt x="55" y="47"/>
                      <a:pt x="55" y="47"/>
                      <a:pt x="55" y="47"/>
                    </a:cubicBezTo>
                    <a:cubicBezTo>
                      <a:pt x="55" y="47"/>
                      <a:pt x="54" y="47"/>
                      <a:pt x="54" y="48"/>
                    </a:cubicBezTo>
                    <a:cubicBezTo>
                      <a:pt x="53" y="54"/>
                      <a:pt x="53" y="54"/>
                      <a:pt x="53" y="54"/>
                    </a:cubicBezTo>
                    <a:cubicBezTo>
                      <a:pt x="52" y="54"/>
                      <a:pt x="52" y="54"/>
                      <a:pt x="52" y="54"/>
                    </a:cubicBezTo>
                    <a:cubicBezTo>
                      <a:pt x="47" y="51"/>
                      <a:pt x="47" y="51"/>
                      <a:pt x="47" y="51"/>
                    </a:cubicBezTo>
                    <a:cubicBezTo>
                      <a:pt x="47" y="51"/>
                      <a:pt x="46" y="51"/>
                      <a:pt x="46" y="51"/>
                    </a:cubicBezTo>
                    <a:cubicBezTo>
                      <a:pt x="43" y="53"/>
                      <a:pt x="43" y="53"/>
                      <a:pt x="43" y="53"/>
                    </a:cubicBezTo>
                    <a:cubicBezTo>
                      <a:pt x="43" y="54"/>
                      <a:pt x="43" y="54"/>
                      <a:pt x="43" y="55"/>
                    </a:cubicBezTo>
                    <a:cubicBezTo>
                      <a:pt x="46" y="59"/>
                      <a:pt x="46" y="59"/>
                      <a:pt x="46" y="59"/>
                    </a:cubicBezTo>
                    <a:cubicBezTo>
                      <a:pt x="45" y="60"/>
                      <a:pt x="45" y="60"/>
                      <a:pt x="45" y="61"/>
                    </a:cubicBezTo>
                    <a:cubicBezTo>
                      <a:pt x="40" y="61"/>
                      <a:pt x="40" y="61"/>
                      <a:pt x="40" y="61"/>
                    </a:cubicBezTo>
                    <a:cubicBezTo>
                      <a:pt x="39" y="61"/>
                      <a:pt x="39" y="61"/>
                      <a:pt x="38" y="62"/>
                    </a:cubicBezTo>
                    <a:cubicBezTo>
                      <a:pt x="38" y="65"/>
                      <a:pt x="38" y="65"/>
                      <a:pt x="38" y="65"/>
                    </a:cubicBezTo>
                    <a:cubicBezTo>
                      <a:pt x="38" y="66"/>
                      <a:pt x="38" y="66"/>
                      <a:pt x="38" y="66"/>
                    </a:cubicBezTo>
                    <a:cubicBezTo>
                      <a:pt x="44" y="69"/>
                      <a:pt x="44" y="69"/>
                      <a:pt x="44" y="69"/>
                    </a:cubicBezTo>
                    <a:cubicBezTo>
                      <a:pt x="44" y="69"/>
                      <a:pt x="44" y="69"/>
                      <a:pt x="44" y="70"/>
                    </a:cubicBezTo>
                    <a:cubicBezTo>
                      <a:pt x="40" y="74"/>
                      <a:pt x="40" y="74"/>
                      <a:pt x="40" y="74"/>
                    </a:cubicBezTo>
                    <a:cubicBezTo>
                      <a:pt x="40" y="74"/>
                      <a:pt x="39" y="74"/>
                      <a:pt x="40" y="75"/>
                    </a:cubicBezTo>
                    <a:cubicBezTo>
                      <a:pt x="41" y="78"/>
                      <a:pt x="41" y="78"/>
                      <a:pt x="41" y="78"/>
                    </a:cubicBezTo>
                    <a:cubicBezTo>
                      <a:pt x="42" y="78"/>
                      <a:pt x="42" y="78"/>
                      <a:pt x="42" y="78"/>
                    </a:cubicBezTo>
                    <a:cubicBezTo>
                      <a:pt x="48" y="77"/>
                      <a:pt x="48" y="77"/>
                      <a:pt x="48" y="77"/>
                    </a:cubicBezTo>
                    <a:cubicBezTo>
                      <a:pt x="48" y="77"/>
                      <a:pt x="48" y="77"/>
                      <a:pt x="49" y="78"/>
                    </a:cubicBezTo>
                    <a:cubicBezTo>
                      <a:pt x="48" y="83"/>
                      <a:pt x="48" y="83"/>
                      <a:pt x="48" y="83"/>
                    </a:cubicBezTo>
                    <a:cubicBezTo>
                      <a:pt x="48" y="84"/>
                      <a:pt x="48" y="84"/>
                      <a:pt x="49" y="84"/>
                    </a:cubicBezTo>
                    <a:cubicBezTo>
                      <a:pt x="52" y="85"/>
                      <a:pt x="52" y="85"/>
                      <a:pt x="52" y="85"/>
                    </a:cubicBezTo>
                    <a:cubicBezTo>
                      <a:pt x="53" y="85"/>
                      <a:pt x="53" y="85"/>
                      <a:pt x="53" y="85"/>
                    </a:cubicBezTo>
                    <a:cubicBezTo>
                      <a:pt x="56" y="80"/>
                      <a:pt x="56" y="80"/>
                      <a:pt x="56" y="80"/>
                    </a:cubicBezTo>
                    <a:cubicBezTo>
                      <a:pt x="56" y="80"/>
                      <a:pt x="57" y="80"/>
                      <a:pt x="57" y="80"/>
                    </a:cubicBezTo>
                    <a:cubicBezTo>
                      <a:pt x="57" y="80"/>
                      <a:pt x="58" y="80"/>
                      <a:pt x="58" y="80"/>
                    </a:cubicBezTo>
                    <a:cubicBezTo>
                      <a:pt x="61" y="85"/>
                      <a:pt x="61" y="85"/>
                      <a:pt x="61" y="85"/>
                    </a:cubicBezTo>
                    <a:cubicBezTo>
                      <a:pt x="61" y="85"/>
                      <a:pt x="61" y="85"/>
                      <a:pt x="62" y="85"/>
                    </a:cubicBezTo>
                    <a:cubicBezTo>
                      <a:pt x="65" y="84"/>
                      <a:pt x="65" y="84"/>
                      <a:pt x="65" y="84"/>
                    </a:cubicBezTo>
                    <a:cubicBezTo>
                      <a:pt x="66" y="84"/>
                      <a:pt x="66" y="84"/>
                      <a:pt x="66" y="83"/>
                    </a:cubicBezTo>
                    <a:cubicBezTo>
                      <a:pt x="65" y="78"/>
                      <a:pt x="65" y="78"/>
                      <a:pt x="65" y="78"/>
                    </a:cubicBezTo>
                    <a:cubicBezTo>
                      <a:pt x="65" y="77"/>
                      <a:pt x="66" y="77"/>
                      <a:pt x="66" y="77"/>
                    </a:cubicBezTo>
                    <a:cubicBezTo>
                      <a:pt x="72" y="78"/>
                      <a:pt x="72" y="78"/>
                      <a:pt x="72" y="78"/>
                    </a:cubicBezTo>
                    <a:cubicBezTo>
                      <a:pt x="72" y="78"/>
                      <a:pt x="73" y="78"/>
                      <a:pt x="73" y="78"/>
                    </a:cubicBezTo>
                    <a:cubicBezTo>
                      <a:pt x="75" y="75"/>
                      <a:pt x="75" y="75"/>
                      <a:pt x="75" y="75"/>
                    </a:cubicBezTo>
                    <a:cubicBezTo>
                      <a:pt x="75" y="74"/>
                      <a:pt x="75" y="74"/>
                      <a:pt x="74" y="74"/>
                    </a:cubicBezTo>
                    <a:cubicBezTo>
                      <a:pt x="70" y="70"/>
                      <a:pt x="70" y="70"/>
                      <a:pt x="70" y="70"/>
                    </a:cubicBezTo>
                    <a:cubicBezTo>
                      <a:pt x="70" y="69"/>
                      <a:pt x="70" y="69"/>
                      <a:pt x="71" y="69"/>
                    </a:cubicBezTo>
                    <a:cubicBezTo>
                      <a:pt x="76" y="66"/>
                      <a:pt x="76" y="66"/>
                      <a:pt x="76" y="66"/>
                    </a:cubicBezTo>
                    <a:cubicBezTo>
                      <a:pt x="76" y="66"/>
                      <a:pt x="76" y="66"/>
                      <a:pt x="76" y="65"/>
                    </a:cubicBezTo>
                    <a:close/>
                    <a:moveTo>
                      <a:pt x="65" y="67"/>
                    </a:moveTo>
                    <a:cubicBezTo>
                      <a:pt x="65" y="69"/>
                      <a:pt x="64" y="71"/>
                      <a:pt x="62" y="72"/>
                    </a:cubicBezTo>
                    <a:cubicBezTo>
                      <a:pt x="61" y="74"/>
                      <a:pt x="59" y="74"/>
                      <a:pt x="57" y="74"/>
                    </a:cubicBezTo>
                    <a:cubicBezTo>
                      <a:pt x="55" y="74"/>
                      <a:pt x="53" y="74"/>
                      <a:pt x="52" y="72"/>
                    </a:cubicBezTo>
                    <a:cubicBezTo>
                      <a:pt x="50" y="71"/>
                      <a:pt x="50" y="69"/>
                      <a:pt x="50" y="67"/>
                    </a:cubicBezTo>
                    <a:cubicBezTo>
                      <a:pt x="50" y="65"/>
                      <a:pt x="50" y="63"/>
                      <a:pt x="52" y="61"/>
                    </a:cubicBezTo>
                    <a:cubicBezTo>
                      <a:pt x="53" y="60"/>
                      <a:pt x="55" y="59"/>
                      <a:pt x="57" y="59"/>
                    </a:cubicBezTo>
                    <a:cubicBezTo>
                      <a:pt x="59" y="59"/>
                      <a:pt x="61" y="60"/>
                      <a:pt x="62" y="61"/>
                    </a:cubicBezTo>
                    <a:cubicBezTo>
                      <a:pt x="64" y="63"/>
                      <a:pt x="65" y="65"/>
                      <a:pt x="65" y="67"/>
                    </a:cubicBezTo>
                    <a:close/>
                    <a:moveTo>
                      <a:pt x="54" y="67"/>
                    </a:moveTo>
                    <a:cubicBezTo>
                      <a:pt x="54" y="65"/>
                      <a:pt x="55" y="63"/>
                      <a:pt x="57" y="63"/>
                    </a:cubicBezTo>
                    <a:cubicBezTo>
                      <a:pt x="59" y="63"/>
                      <a:pt x="61" y="65"/>
                      <a:pt x="61" y="67"/>
                    </a:cubicBezTo>
                    <a:cubicBezTo>
                      <a:pt x="61" y="69"/>
                      <a:pt x="59" y="70"/>
                      <a:pt x="57" y="70"/>
                    </a:cubicBezTo>
                    <a:cubicBezTo>
                      <a:pt x="55" y="70"/>
                      <a:pt x="54" y="69"/>
                      <a:pt x="54" y="67"/>
                    </a:cubicBezTo>
                    <a:close/>
                    <a:moveTo>
                      <a:pt x="88" y="55"/>
                    </a:moveTo>
                    <a:cubicBezTo>
                      <a:pt x="88" y="54"/>
                      <a:pt x="88" y="54"/>
                      <a:pt x="88" y="53"/>
                    </a:cubicBezTo>
                    <a:cubicBezTo>
                      <a:pt x="88" y="53"/>
                      <a:pt x="88" y="52"/>
                      <a:pt x="88" y="52"/>
                    </a:cubicBezTo>
                    <a:cubicBezTo>
                      <a:pt x="90" y="50"/>
                      <a:pt x="90" y="50"/>
                      <a:pt x="90" y="50"/>
                    </a:cubicBezTo>
                    <a:cubicBezTo>
                      <a:pt x="90" y="50"/>
                      <a:pt x="90" y="49"/>
                      <a:pt x="90" y="49"/>
                    </a:cubicBezTo>
                    <a:cubicBezTo>
                      <a:pt x="90" y="49"/>
                      <a:pt x="90" y="49"/>
                      <a:pt x="90" y="49"/>
                    </a:cubicBezTo>
                    <a:cubicBezTo>
                      <a:pt x="89" y="47"/>
                      <a:pt x="89" y="47"/>
                      <a:pt x="89" y="47"/>
                    </a:cubicBezTo>
                    <a:cubicBezTo>
                      <a:pt x="89" y="47"/>
                      <a:pt x="89" y="47"/>
                      <a:pt x="88" y="47"/>
                    </a:cubicBezTo>
                    <a:cubicBezTo>
                      <a:pt x="88" y="47"/>
                      <a:pt x="88" y="47"/>
                      <a:pt x="88" y="47"/>
                    </a:cubicBezTo>
                    <a:cubicBezTo>
                      <a:pt x="85" y="48"/>
                      <a:pt x="85" y="48"/>
                      <a:pt x="85" y="48"/>
                    </a:cubicBezTo>
                    <a:cubicBezTo>
                      <a:pt x="85" y="47"/>
                      <a:pt x="84" y="47"/>
                      <a:pt x="83" y="46"/>
                    </a:cubicBezTo>
                    <a:cubicBezTo>
                      <a:pt x="82" y="43"/>
                      <a:pt x="82" y="43"/>
                      <a:pt x="82" y="43"/>
                    </a:cubicBezTo>
                    <a:cubicBezTo>
                      <a:pt x="82" y="43"/>
                      <a:pt x="82" y="43"/>
                      <a:pt x="81" y="43"/>
                    </a:cubicBezTo>
                    <a:cubicBezTo>
                      <a:pt x="80" y="43"/>
                      <a:pt x="80" y="43"/>
                      <a:pt x="80" y="43"/>
                    </a:cubicBezTo>
                    <a:cubicBezTo>
                      <a:pt x="79" y="43"/>
                      <a:pt x="79" y="43"/>
                      <a:pt x="79" y="43"/>
                    </a:cubicBezTo>
                    <a:cubicBezTo>
                      <a:pt x="78" y="46"/>
                      <a:pt x="78" y="46"/>
                      <a:pt x="78" y="46"/>
                    </a:cubicBezTo>
                    <a:cubicBezTo>
                      <a:pt x="77" y="47"/>
                      <a:pt x="76" y="47"/>
                      <a:pt x="76" y="48"/>
                    </a:cubicBezTo>
                    <a:cubicBezTo>
                      <a:pt x="73" y="47"/>
                      <a:pt x="73" y="47"/>
                      <a:pt x="73" y="47"/>
                    </a:cubicBezTo>
                    <a:cubicBezTo>
                      <a:pt x="73" y="47"/>
                      <a:pt x="73" y="47"/>
                      <a:pt x="73" y="47"/>
                    </a:cubicBezTo>
                    <a:cubicBezTo>
                      <a:pt x="72" y="47"/>
                      <a:pt x="72" y="47"/>
                      <a:pt x="72" y="47"/>
                    </a:cubicBezTo>
                    <a:cubicBezTo>
                      <a:pt x="71" y="49"/>
                      <a:pt x="71" y="49"/>
                      <a:pt x="71" y="49"/>
                    </a:cubicBezTo>
                    <a:cubicBezTo>
                      <a:pt x="71" y="49"/>
                      <a:pt x="71" y="49"/>
                      <a:pt x="71" y="49"/>
                    </a:cubicBezTo>
                    <a:cubicBezTo>
                      <a:pt x="71" y="49"/>
                      <a:pt x="71" y="50"/>
                      <a:pt x="71" y="50"/>
                    </a:cubicBezTo>
                    <a:cubicBezTo>
                      <a:pt x="73" y="52"/>
                      <a:pt x="73" y="52"/>
                      <a:pt x="73" y="52"/>
                    </a:cubicBezTo>
                    <a:cubicBezTo>
                      <a:pt x="73" y="52"/>
                      <a:pt x="73" y="53"/>
                      <a:pt x="73" y="53"/>
                    </a:cubicBezTo>
                    <a:cubicBezTo>
                      <a:pt x="73" y="54"/>
                      <a:pt x="73" y="54"/>
                      <a:pt x="73" y="55"/>
                    </a:cubicBezTo>
                    <a:cubicBezTo>
                      <a:pt x="71" y="57"/>
                      <a:pt x="71" y="57"/>
                      <a:pt x="71" y="57"/>
                    </a:cubicBezTo>
                    <a:cubicBezTo>
                      <a:pt x="71" y="57"/>
                      <a:pt x="71" y="57"/>
                      <a:pt x="71" y="57"/>
                    </a:cubicBezTo>
                    <a:cubicBezTo>
                      <a:pt x="71" y="57"/>
                      <a:pt x="71" y="57"/>
                      <a:pt x="71" y="58"/>
                    </a:cubicBezTo>
                    <a:cubicBezTo>
                      <a:pt x="72" y="59"/>
                      <a:pt x="72" y="59"/>
                      <a:pt x="72" y="59"/>
                    </a:cubicBezTo>
                    <a:cubicBezTo>
                      <a:pt x="72" y="60"/>
                      <a:pt x="72" y="60"/>
                      <a:pt x="73" y="60"/>
                    </a:cubicBezTo>
                    <a:cubicBezTo>
                      <a:pt x="73" y="60"/>
                      <a:pt x="73" y="60"/>
                      <a:pt x="73" y="60"/>
                    </a:cubicBezTo>
                    <a:cubicBezTo>
                      <a:pt x="76" y="59"/>
                      <a:pt x="76" y="59"/>
                      <a:pt x="76" y="59"/>
                    </a:cubicBezTo>
                    <a:cubicBezTo>
                      <a:pt x="76" y="59"/>
                      <a:pt x="77" y="60"/>
                      <a:pt x="78" y="60"/>
                    </a:cubicBezTo>
                    <a:cubicBezTo>
                      <a:pt x="79" y="63"/>
                      <a:pt x="79" y="63"/>
                      <a:pt x="79" y="63"/>
                    </a:cubicBezTo>
                    <a:cubicBezTo>
                      <a:pt x="79" y="63"/>
                      <a:pt x="79" y="64"/>
                      <a:pt x="80" y="64"/>
                    </a:cubicBezTo>
                    <a:cubicBezTo>
                      <a:pt x="81" y="64"/>
                      <a:pt x="81" y="64"/>
                      <a:pt x="81" y="64"/>
                    </a:cubicBezTo>
                    <a:cubicBezTo>
                      <a:pt x="82" y="64"/>
                      <a:pt x="82" y="63"/>
                      <a:pt x="82" y="63"/>
                    </a:cubicBezTo>
                    <a:cubicBezTo>
                      <a:pt x="83" y="60"/>
                      <a:pt x="83" y="60"/>
                      <a:pt x="83" y="60"/>
                    </a:cubicBezTo>
                    <a:cubicBezTo>
                      <a:pt x="84" y="60"/>
                      <a:pt x="85" y="59"/>
                      <a:pt x="85" y="59"/>
                    </a:cubicBezTo>
                    <a:cubicBezTo>
                      <a:pt x="88" y="60"/>
                      <a:pt x="88" y="60"/>
                      <a:pt x="88" y="60"/>
                    </a:cubicBezTo>
                    <a:cubicBezTo>
                      <a:pt x="88" y="60"/>
                      <a:pt x="88" y="60"/>
                      <a:pt x="88" y="60"/>
                    </a:cubicBezTo>
                    <a:cubicBezTo>
                      <a:pt x="89" y="60"/>
                      <a:pt x="89" y="60"/>
                      <a:pt x="89" y="59"/>
                    </a:cubicBezTo>
                    <a:cubicBezTo>
                      <a:pt x="90" y="58"/>
                      <a:pt x="90" y="58"/>
                      <a:pt x="90" y="58"/>
                    </a:cubicBezTo>
                    <a:cubicBezTo>
                      <a:pt x="90" y="57"/>
                      <a:pt x="90" y="57"/>
                      <a:pt x="90" y="57"/>
                    </a:cubicBezTo>
                    <a:cubicBezTo>
                      <a:pt x="90" y="57"/>
                      <a:pt x="90" y="57"/>
                      <a:pt x="90" y="57"/>
                    </a:cubicBezTo>
                    <a:cubicBezTo>
                      <a:pt x="88" y="55"/>
                      <a:pt x="88" y="55"/>
                      <a:pt x="88" y="55"/>
                    </a:cubicBezTo>
                    <a:cubicBezTo>
                      <a:pt x="88" y="55"/>
                      <a:pt x="88" y="55"/>
                      <a:pt x="88" y="55"/>
                    </a:cubicBezTo>
                    <a:close/>
                    <a:moveTo>
                      <a:pt x="83" y="53"/>
                    </a:moveTo>
                    <a:cubicBezTo>
                      <a:pt x="83" y="55"/>
                      <a:pt x="82" y="56"/>
                      <a:pt x="81" y="56"/>
                    </a:cubicBezTo>
                    <a:cubicBezTo>
                      <a:pt x="79" y="56"/>
                      <a:pt x="78" y="55"/>
                      <a:pt x="78" y="53"/>
                    </a:cubicBezTo>
                    <a:cubicBezTo>
                      <a:pt x="78" y="52"/>
                      <a:pt x="79" y="50"/>
                      <a:pt x="81" y="50"/>
                    </a:cubicBezTo>
                    <a:cubicBezTo>
                      <a:pt x="82" y="50"/>
                      <a:pt x="83" y="52"/>
                      <a:pt x="83" y="53"/>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505050"/>
                  </a:solidFill>
                  <a:effectLst/>
                  <a:uLnTx/>
                  <a:uFillTx/>
                  <a:latin typeface="Segoe UI"/>
                  <a:ea typeface="+mn-ea"/>
                  <a:cs typeface="+mn-cs"/>
                </a:endParaRPr>
              </a:p>
            </p:txBody>
          </p:sp>
        </p:grpSp>
        <p:grpSp>
          <p:nvGrpSpPr>
            <p:cNvPr id="133" name="Group 132"/>
            <p:cNvGrpSpPr/>
            <p:nvPr/>
          </p:nvGrpSpPr>
          <p:grpSpPr>
            <a:xfrm flipH="1">
              <a:off x="1242328" y="3236893"/>
              <a:ext cx="464883" cy="464078"/>
              <a:chOff x="7715631" y="2919897"/>
              <a:chExt cx="764637" cy="763312"/>
            </a:xfrm>
          </p:grpSpPr>
          <p:sp>
            <p:nvSpPr>
              <p:cNvPr id="135" name="Freeform 134"/>
              <p:cNvSpPr>
                <a:spLocks noEditPoints="1"/>
              </p:cNvSpPr>
              <p:nvPr/>
            </p:nvSpPr>
            <p:spPr bwMode="auto">
              <a:xfrm>
                <a:off x="7715631" y="2919897"/>
                <a:ext cx="764637" cy="763312"/>
              </a:xfrm>
              <a:custGeom>
                <a:avLst/>
                <a:gdLst>
                  <a:gd name="T0" fmla="*/ 227 w 412"/>
                  <a:gd name="T1" fmla="*/ 406 h 412"/>
                  <a:gd name="T2" fmla="*/ 185 w 412"/>
                  <a:gd name="T3" fmla="*/ 411 h 412"/>
                  <a:gd name="T4" fmla="*/ 185 w 412"/>
                  <a:gd name="T5" fmla="*/ 406 h 412"/>
                  <a:gd name="T6" fmla="*/ 248 w 412"/>
                  <a:gd name="T7" fmla="*/ 402 h 412"/>
                  <a:gd name="T8" fmla="*/ 249 w 412"/>
                  <a:gd name="T9" fmla="*/ 408 h 412"/>
                  <a:gd name="T10" fmla="*/ 125 w 412"/>
                  <a:gd name="T11" fmla="*/ 390 h 412"/>
                  <a:gd name="T12" fmla="*/ 290 w 412"/>
                  <a:gd name="T13" fmla="*/ 394 h 412"/>
                  <a:gd name="T14" fmla="*/ 309 w 412"/>
                  <a:gd name="T15" fmla="*/ 385 h 412"/>
                  <a:gd name="T16" fmla="*/ 85 w 412"/>
                  <a:gd name="T17" fmla="*/ 373 h 412"/>
                  <a:gd name="T18" fmla="*/ 103 w 412"/>
                  <a:gd name="T19" fmla="*/ 385 h 412"/>
                  <a:gd name="T20" fmla="*/ 341 w 412"/>
                  <a:gd name="T21" fmla="*/ 355 h 412"/>
                  <a:gd name="T22" fmla="*/ 68 w 412"/>
                  <a:gd name="T23" fmla="*/ 359 h 412"/>
                  <a:gd name="T24" fmla="*/ 72 w 412"/>
                  <a:gd name="T25" fmla="*/ 355 h 412"/>
                  <a:gd name="T26" fmla="*/ 355 w 412"/>
                  <a:gd name="T27" fmla="*/ 340 h 412"/>
                  <a:gd name="T28" fmla="*/ 359 w 412"/>
                  <a:gd name="T29" fmla="*/ 344 h 412"/>
                  <a:gd name="T30" fmla="*/ 32 w 412"/>
                  <a:gd name="T31" fmla="*/ 307 h 412"/>
                  <a:gd name="T32" fmla="*/ 385 w 412"/>
                  <a:gd name="T33" fmla="*/ 309 h 412"/>
                  <a:gd name="T34" fmla="*/ 395 w 412"/>
                  <a:gd name="T35" fmla="*/ 290 h 412"/>
                  <a:gd name="T36" fmla="*/ 10 w 412"/>
                  <a:gd name="T37" fmla="*/ 270 h 412"/>
                  <a:gd name="T38" fmla="*/ 18 w 412"/>
                  <a:gd name="T39" fmla="*/ 290 h 412"/>
                  <a:gd name="T40" fmla="*/ 403 w 412"/>
                  <a:gd name="T41" fmla="*/ 248 h 412"/>
                  <a:gd name="T42" fmla="*/ 4 w 412"/>
                  <a:gd name="T43" fmla="*/ 249 h 412"/>
                  <a:gd name="T44" fmla="*/ 10 w 412"/>
                  <a:gd name="T45" fmla="*/ 248 h 412"/>
                  <a:gd name="T46" fmla="*/ 406 w 412"/>
                  <a:gd name="T47" fmla="*/ 227 h 412"/>
                  <a:gd name="T48" fmla="*/ 412 w 412"/>
                  <a:gd name="T49" fmla="*/ 206 h 412"/>
                  <a:gd name="T50" fmla="*/ 0 w 412"/>
                  <a:gd name="T51" fmla="*/ 206 h 412"/>
                  <a:gd name="T52" fmla="*/ 6 w 412"/>
                  <a:gd name="T53" fmla="*/ 185 h 412"/>
                  <a:gd name="T54" fmla="*/ 406 w 412"/>
                  <a:gd name="T55" fmla="*/ 185 h 412"/>
                  <a:gd name="T56" fmla="*/ 411 w 412"/>
                  <a:gd name="T57" fmla="*/ 184 h 412"/>
                  <a:gd name="T58" fmla="*/ 4 w 412"/>
                  <a:gd name="T59" fmla="*/ 163 h 412"/>
                  <a:gd name="T60" fmla="*/ 10 w 412"/>
                  <a:gd name="T61" fmla="*/ 164 h 412"/>
                  <a:gd name="T62" fmla="*/ 394 w 412"/>
                  <a:gd name="T63" fmla="*/ 122 h 412"/>
                  <a:gd name="T64" fmla="*/ 22 w 412"/>
                  <a:gd name="T65" fmla="*/ 124 h 412"/>
                  <a:gd name="T66" fmla="*/ 32 w 412"/>
                  <a:gd name="T67" fmla="*/ 106 h 412"/>
                  <a:gd name="T68" fmla="*/ 368 w 412"/>
                  <a:gd name="T69" fmla="*/ 88 h 412"/>
                  <a:gd name="T70" fmla="*/ 380 w 412"/>
                  <a:gd name="T71" fmla="*/ 105 h 412"/>
                  <a:gd name="T72" fmla="*/ 53 w 412"/>
                  <a:gd name="T73" fmla="*/ 68 h 412"/>
                  <a:gd name="T74" fmla="*/ 355 w 412"/>
                  <a:gd name="T75" fmla="*/ 71 h 412"/>
                  <a:gd name="T76" fmla="*/ 359 w 412"/>
                  <a:gd name="T77" fmla="*/ 68 h 412"/>
                  <a:gd name="T78" fmla="*/ 68 w 412"/>
                  <a:gd name="T79" fmla="*/ 53 h 412"/>
                  <a:gd name="T80" fmla="*/ 72 w 412"/>
                  <a:gd name="T81" fmla="*/ 57 h 412"/>
                  <a:gd name="T82" fmla="*/ 309 w 412"/>
                  <a:gd name="T83" fmla="*/ 27 h 412"/>
                  <a:gd name="T84" fmla="*/ 105 w 412"/>
                  <a:gd name="T85" fmla="*/ 32 h 412"/>
                  <a:gd name="T86" fmla="*/ 124 w 412"/>
                  <a:gd name="T87" fmla="*/ 23 h 412"/>
                  <a:gd name="T88" fmla="*/ 268 w 412"/>
                  <a:gd name="T89" fmla="*/ 15 h 412"/>
                  <a:gd name="T90" fmla="*/ 287 w 412"/>
                  <a:gd name="T91" fmla="*/ 22 h 412"/>
                  <a:gd name="T92" fmla="*/ 163 w 412"/>
                  <a:gd name="T93" fmla="*/ 4 h 412"/>
                  <a:gd name="T94" fmla="*/ 248 w 412"/>
                  <a:gd name="T95" fmla="*/ 9 h 412"/>
                  <a:gd name="T96" fmla="*/ 249 w 412"/>
                  <a:gd name="T97" fmla="*/ 4 h 412"/>
                  <a:gd name="T98" fmla="*/ 184 w 412"/>
                  <a:gd name="T99" fmla="*/ 1 h 412"/>
                  <a:gd name="T100" fmla="*/ 185 w 412"/>
                  <a:gd name="T101" fmla="*/ 6 h 4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12" h="412">
                    <a:moveTo>
                      <a:pt x="206" y="412"/>
                    </a:moveTo>
                    <a:cubicBezTo>
                      <a:pt x="206" y="407"/>
                      <a:pt x="206" y="407"/>
                      <a:pt x="206" y="407"/>
                    </a:cubicBezTo>
                    <a:cubicBezTo>
                      <a:pt x="213" y="407"/>
                      <a:pt x="220" y="406"/>
                      <a:pt x="227" y="406"/>
                    </a:cubicBezTo>
                    <a:cubicBezTo>
                      <a:pt x="228" y="411"/>
                      <a:pt x="228" y="411"/>
                      <a:pt x="228" y="411"/>
                    </a:cubicBezTo>
                    <a:cubicBezTo>
                      <a:pt x="221" y="412"/>
                      <a:pt x="213" y="412"/>
                      <a:pt x="206" y="412"/>
                    </a:cubicBezTo>
                    <a:close/>
                    <a:moveTo>
                      <a:pt x="185" y="411"/>
                    </a:moveTo>
                    <a:cubicBezTo>
                      <a:pt x="178" y="410"/>
                      <a:pt x="170" y="409"/>
                      <a:pt x="163" y="408"/>
                    </a:cubicBezTo>
                    <a:cubicBezTo>
                      <a:pt x="164" y="402"/>
                      <a:pt x="164" y="402"/>
                      <a:pt x="164" y="402"/>
                    </a:cubicBezTo>
                    <a:cubicBezTo>
                      <a:pt x="171" y="404"/>
                      <a:pt x="178" y="405"/>
                      <a:pt x="185" y="406"/>
                    </a:cubicBezTo>
                    <a:lnTo>
                      <a:pt x="185" y="411"/>
                    </a:lnTo>
                    <a:close/>
                    <a:moveTo>
                      <a:pt x="249" y="408"/>
                    </a:moveTo>
                    <a:cubicBezTo>
                      <a:pt x="248" y="402"/>
                      <a:pt x="248" y="402"/>
                      <a:pt x="248" y="402"/>
                    </a:cubicBezTo>
                    <a:cubicBezTo>
                      <a:pt x="255" y="401"/>
                      <a:pt x="262" y="399"/>
                      <a:pt x="268" y="397"/>
                    </a:cubicBezTo>
                    <a:cubicBezTo>
                      <a:pt x="270" y="402"/>
                      <a:pt x="270" y="402"/>
                      <a:pt x="270" y="402"/>
                    </a:cubicBezTo>
                    <a:cubicBezTo>
                      <a:pt x="263" y="404"/>
                      <a:pt x="256" y="406"/>
                      <a:pt x="249" y="408"/>
                    </a:cubicBezTo>
                    <a:close/>
                    <a:moveTo>
                      <a:pt x="142" y="402"/>
                    </a:moveTo>
                    <a:cubicBezTo>
                      <a:pt x="136" y="400"/>
                      <a:pt x="129" y="397"/>
                      <a:pt x="122" y="394"/>
                    </a:cubicBezTo>
                    <a:cubicBezTo>
                      <a:pt x="125" y="390"/>
                      <a:pt x="125" y="390"/>
                      <a:pt x="125" y="390"/>
                    </a:cubicBezTo>
                    <a:cubicBezTo>
                      <a:pt x="131" y="392"/>
                      <a:pt x="138" y="395"/>
                      <a:pt x="144" y="397"/>
                    </a:cubicBezTo>
                    <a:lnTo>
                      <a:pt x="142" y="402"/>
                    </a:lnTo>
                    <a:close/>
                    <a:moveTo>
                      <a:pt x="290" y="394"/>
                    </a:moveTo>
                    <a:cubicBezTo>
                      <a:pt x="288" y="389"/>
                      <a:pt x="288" y="389"/>
                      <a:pt x="288" y="389"/>
                    </a:cubicBezTo>
                    <a:cubicBezTo>
                      <a:pt x="294" y="387"/>
                      <a:pt x="301" y="383"/>
                      <a:pt x="307" y="380"/>
                    </a:cubicBezTo>
                    <a:cubicBezTo>
                      <a:pt x="309" y="385"/>
                      <a:pt x="309" y="385"/>
                      <a:pt x="309" y="385"/>
                    </a:cubicBezTo>
                    <a:cubicBezTo>
                      <a:pt x="303" y="388"/>
                      <a:pt x="297" y="391"/>
                      <a:pt x="290" y="394"/>
                    </a:cubicBezTo>
                    <a:close/>
                    <a:moveTo>
                      <a:pt x="103" y="385"/>
                    </a:moveTo>
                    <a:cubicBezTo>
                      <a:pt x="97" y="381"/>
                      <a:pt x="91" y="377"/>
                      <a:pt x="85" y="373"/>
                    </a:cubicBezTo>
                    <a:cubicBezTo>
                      <a:pt x="88" y="369"/>
                      <a:pt x="88" y="369"/>
                      <a:pt x="88" y="369"/>
                    </a:cubicBezTo>
                    <a:cubicBezTo>
                      <a:pt x="94" y="373"/>
                      <a:pt x="100" y="377"/>
                      <a:pt x="106" y="380"/>
                    </a:cubicBezTo>
                    <a:lnTo>
                      <a:pt x="103" y="385"/>
                    </a:lnTo>
                    <a:close/>
                    <a:moveTo>
                      <a:pt x="327" y="373"/>
                    </a:moveTo>
                    <a:cubicBezTo>
                      <a:pt x="324" y="368"/>
                      <a:pt x="324" y="368"/>
                      <a:pt x="324" y="368"/>
                    </a:cubicBezTo>
                    <a:cubicBezTo>
                      <a:pt x="330" y="364"/>
                      <a:pt x="335" y="360"/>
                      <a:pt x="341" y="355"/>
                    </a:cubicBezTo>
                    <a:cubicBezTo>
                      <a:pt x="344" y="359"/>
                      <a:pt x="344" y="359"/>
                      <a:pt x="344" y="359"/>
                    </a:cubicBezTo>
                    <a:cubicBezTo>
                      <a:pt x="339" y="364"/>
                      <a:pt x="333" y="369"/>
                      <a:pt x="327" y="373"/>
                    </a:cubicBezTo>
                    <a:close/>
                    <a:moveTo>
                      <a:pt x="68" y="359"/>
                    </a:moveTo>
                    <a:cubicBezTo>
                      <a:pt x="63" y="355"/>
                      <a:pt x="58" y="349"/>
                      <a:pt x="53" y="344"/>
                    </a:cubicBezTo>
                    <a:cubicBezTo>
                      <a:pt x="57" y="340"/>
                      <a:pt x="57" y="340"/>
                      <a:pt x="57" y="340"/>
                    </a:cubicBezTo>
                    <a:cubicBezTo>
                      <a:pt x="62" y="346"/>
                      <a:pt x="67" y="351"/>
                      <a:pt x="72" y="355"/>
                    </a:cubicBezTo>
                    <a:lnTo>
                      <a:pt x="68" y="359"/>
                    </a:lnTo>
                    <a:close/>
                    <a:moveTo>
                      <a:pt x="359" y="344"/>
                    </a:moveTo>
                    <a:cubicBezTo>
                      <a:pt x="355" y="340"/>
                      <a:pt x="355" y="340"/>
                      <a:pt x="355" y="340"/>
                    </a:cubicBezTo>
                    <a:cubicBezTo>
                      <a:pt x="360" y="335"/>
                      <a:pt x="365" y="330"/>
                      <a:pt x="369" y="324"/>
                    </a:cubicBezTo>
                    <a:cubicBezTo>
                      <a:pt x="373" y="327"/>
                      <a:pt x="373" y="327"/>
                      <a:pt x="373" y="327"/>
                    </a:cubicBezTo>
                    <a:cubicBezTo>
                      <a:pt x="369" y="333"/>
                      <a:pt x="364" y="339"/>
                      <a:pt x="359" y="344"/>
                    </a:cubicBezTo>
                    <a:close/>
                    <a:moveTo>
                      <a:pt x="39" y="327"/>
                    </a:moveTo>
                    <a:cubicBezTo>
                      <a:pt x="35" y="322"/>
                      <a:pt x="31" y="315"/>
                      <a:pt x="28" y="309"/>
                    </a:cubicBezTo>
                    <a:cubicBezTo>
                      <a:pt x="32" y="307"/>
                      <a:pt x="32" y="307"/>
                      <a:pt x="32" y="307"/>
                    </a:cubicBezTo>
                    <a:cubicBezTo>
                      <a:pt x="36" y="313"/>
                      <a:pt x="40" y="319"/>
                      <a:pt x="44" y="324"/>
                    </a:cubicBezTo>
                    <a:lnTo>
                      <a:pt x="39" y="327"/>
                    </a:lnTo>
                    <a:close/>
                    <a:moveTo>
                      <a:pt x="385" y="309"/>
                    </a:moveTo>
                    <a:cubicBezTo>
                      <a:pt x="380" y="306"/>
                      <a:pt x="380" y="306"/>
                      <a:pt x="380" y="306"/>
                    </a:cubicBezTo>
                    <a:cubicBezTo>
                      <a:pt x="384" y="300"/>
                      <a:pt x="387" y="294"/>
                      <a:pt x="390" y="288"/>
                    </a:cubicBezTo>
                    <a:cubicBezTo>
                      <a:pt x="395" y="290"/>
                      <a:pt x="395" y="290"/>
                      <a:pt x="395" y="290"/>
                    </a:cubicBezTo>
                    <a:cubicBezTo>
                      <a:pt x="392" y="296"/>
                      <a:pt x="388" y="303"/>
                      <a:pt x="385" y="309"/>
                    </a:cubicBezTo>
                    <a:close/>
                    <a:moveTo>
                      <a:pt x="18" y="290"/>
                    </a:moveTo>
                    <a:cubicBezTo>
                      <a:pt x="15" y="283"/>
                      <a:pt x="12" y="277"/>
                      <a:pt x="10" y="270"/>
                    </a:cubicBezTo>
                    <a:cubicBezTo>
                      <a:pt x="15" y="268"/>
                      <a:pt x="15" y="268"/>
                      <a:pt x="15" y="268"/>
                    </a:cubicBezTo>
                    <a:cubicBezTo>
                      <a:pt x="17" y="275"/>
                      <a:pt x="20" y="281"/>
                      <a:pt x="23" y="288"/>
                    </a:cubicBezTo>
                    <a:lnTo>
                      <a:pt x="18" y="290"/>
                    </a:lnTo>
                    <a:close/>
                    <a:moveTo>
                      <a:pt x="402" y="270"/>
                    </a:moveTo>
                    <a:cubicBezTo>
                      <a:pt x="397" y="268"/>
                      <a:pt x="397" y="268"/>
                      <a:pt x="397" y="268"/>
                    </a:cubicBezTo>
                    <a:cubicBezTo>
                      <a:pt x="399" y="261"/>
                      <a:pt x="401" y="255"/>
                      <a:pt x="403" y="248"/>
                    </a:cubicBezTo>
                    <a:cubicBezTo>
                      <a:pt x="408" y="249"/>
                      <a:pt x="408" y="249"/>
                      <a:pt x="408" y="249"/>
                    </a:cubicBezTo>
                    <a:cubicBezTo>
                      <a:pt x="406" y="256"/>
                      <a:pt x="405" y="263"/>
                      <a:pt x="402" y="270"/>
                    </a:cubicBezTo>
                    <a:close/>
                    <a:moveTo>
                      <a:pt x="4" y="249"/>
                    </a:moveTo>
                    <a:cubicBezTo>
                      <a:pt x="3" y="242"/>
                      <a:pt x="2" y="235"/>
                      <a:pt x="1" y="228"/>
                    </a:cubicBezTo>
                    <a:cubicBezTo>
                      <a:pt x="6" y="227"/>
                      <a:pt x="6" y="227"/>
                      <a:pt x="6" y="227"/>
                    </a:cubicBezTo>
                    <a:cubicBezTo>
                      <a:pt x="7" y="234"/>
                      <a:pt x="8" y="241"/>
                      <a:pt x="10" y="248"/>
                    </a:cubicBezTo>
                    <a:lnTo>
                      <a:pt x="4" y="249"/>
                    </a:lnTo>
                    <a:close/>
                    <a:moveTo>
                      <a:pt x="411" y="228"/>
                    </a:moveTo>
                    <a:cubicBezTo>
                      <a:pt x="406" y="227"/>
                      <a:pt x="406" y="227"/>
                      <a:pt x="406" y="227"/>
                    </a:cubicBezTo>
                    <a:cubicBezTo>
                      <a:pt x="407" y="220"/>
                      <a:pt x="407" y="213"/>
                      <a:pt x="407" y="206"/>
                    </a:cubicBezTo>
                    <a:cubicBezTo>
                      <a:pt x="407" y="206"/>
                      <a:pt x="407" y="206"/>
                      <a:pt x="407" y="206"/>
                    </a:cubicBezTo>
                    <a:cubicBezTo>
                      <a:pt x="412" y="206"/>
                      <a:pt x="412" y="206"/>
                      <a:pt x="412" y="206"/>
                    </a:cubicBezTo>
                    <a:cubicBezTo>
                      <a:pt x="412" y="206"/>
                      <a:pt x="412" y="206"/>
                      <a:pt x="412" y="206"/>
                    </a:cubicBezTo>
                    <a:cubicBezTo>
                      <a:pt x="412" y="213"/>
                      <a:pt x="412" y="220"/>
                      <a:pt x="411" y="228"/>
                    </a:cubicBezTo>
                    <a:close/>
                    <a:moveTo>
                      <a:pt x="0" y="206"/>
                    </a:moveTo>
                    <a:cubicBezTo>
                      <a:pt x="0" y="206"/>
                      <a:pt x="0" y="206"/>
                      <a:pt x="0" y="206"/>
                    </a:cubicBezTo>
                    <a:cubicBezTo>
                      <a:pt x="0" y="199"/>
                      <a:pt x="0" y="192"/>
                      <a:pt x="1" y="185"/>
                    </a:cubicBezTo>
                    <a:cubicBezTo>
                      <a:pt x="6" y="185"/>
                      <a:pt x="6" y="185"/>
                      <a:pt x="6" y="185"/>
                    </a:cubicBezTo>
                    <a:cubicBezTo>
                      <a:pt x="6" y="192"/>
                      <a:pt x="5" y="199"/>
                      <a:pt x="5" y="206"/>
                    </a:cubicBezTo>
                    <a:lnTo>
                      <a:pt x="0" y="206"/>
                    </a:lnTo>
                    <a:close/>
                    <a:moveTo>
                      <a:pt x="406" y="185"/>
                    </a:moveTo>
                    <a:cubicBezTo>
                      <a:pt x="405" y="178"/>
                      <a:pt x="404" y="171"/>
                      <a:pt x="403" y="164"/>
                    </a:cubicBezTo>
                    <a:cubicBezTo>
                      <a:pt x="408" y="163"/>
                      <a:pt x="408" y="163"/>
                      <a:pt x="408" y="163"/>
                    </a:cubicBezTo>
                    <a:cubicBezTo>
                      <a:pt x="409" y="170"/>
                      <a:pt x="410" y="177"/>
                      <a:pt x="411" y="184"/>
                    </a:cubicBezTo>
                    <a:lnTo>
                      <a:pt x="406" y="185"/>
                    </a:lnTo>
                    <a:close/>
                    <a:moveTo>
                      <a:pt x="10" y="164"/>
                    </a:moveTo>
                    <a:cubicBezTo>
                      <a:pt x="4" y="163"/>
                      <a:pt x="4" y="163"/>
                      <a:pt x="4" y="163"/>
                    </a:cubicBezTo>
                    <a:cubicBezTo>
                      <a:pt x="6" y="156"/>
                      <a:pt x="8" y="149"/>
                      <a:pt x="10" y="142"/>
                    </a:cubicBezTo>
                    <a:cubicBezTo>
                      <a:pt x="15" y="144"/>
                      <a:pt x="15" y="144"/>
                      <a:pt x="15" y="144"/>
                    </a:cubicBezTo>
                    <a:cubicBezTo>
                      <a:pt x="13" y="151"/>
                      <a:pt x="11" y="158"/>
                      <a:pt x="10" y="164"/>
                    </a:cubicBezTo>
                    <a:close/>
                    <a:moveTo>
                      <a:pt x="397" y="143"/>
                    </a:moveTo>
                    <a:cubicBezTo>
                      <a:pt x="395" y="137"/>
                      <a:pt x="392" y="130"/>
                      <a:pt x="389" y="124"/>
                    </a:cubicBezTo>
                    <a:cubicBezTo>
                      <a:pt x="394" y="122"/>
                      <a:pt x="394" y="122"/>
                      <a:pt x="394" y="122"/>
                    </a:cubicBezTo>
                    <a:cubicBezTo>
                      <a:pt x="397" y="128"/>
                      <a:pt x="400" y="135"/>
                      <a:pt x="402" y="142"/>
                    </a:cubicBezTo>
                    <a:lnTo>
                      <a:pt x="397" y="143"/>
                    </a:lnTo>
                    <a:close/>
                    <a:moveTo>
                      <a:pt x="22" y="124"/>
                    </a:moveTo>
                    <a:cubicBezTo>
                      <a:pt x="18" y="122"/>
                      <a:pt x="18" y="122"/>
                      <a:pt x="18" y="122"/>
                    </a:cubicBezTo>
                    <a:cubicBezTo>
                      <a:pt x="20" y="116"/>
                      <a:pt x="24" y="109"/>
                      <a:pt x="27" y="103"/>
                    </a:cubicBezTo>
                    <a:cubicBezTo>
                      <a:pt x="32" y="106"/>
                      <a:pt x="32" y="106"/>
                      <a:pt x="32" y="106"/>
                    </a:cubicBezTo>
                    <a:cubicBezTo>
                      <a:pt x="29" y="112"/>
                      <a:pt x="25" y="118"/>
                      <a:pt x="22" y="124"/>
                    </a:cubicBezTo>
                    <a:close/>
                    <a:moveTo>
                      <a:pt x="380" y="105"/>
                    </a:moveTo>
                    <a:cubicBezTo>
                      <a:pt x="376" y="99"/>
                      <a:pt x="373" y="93"/>
                      <a:pt x="368" y="88"/>
                    </a:cubicBezTo>
                    <a:cubicBezTo>
                      <a:pt x="373" y="84"/>
                      <a:pt x="373" y="84"/>
                      <a:pt x="373" y="84"/>
                    </a:cubicBezTo>
                    <a:cubicBezTo>
                      <a:pt x="377" y="90"/>
                      <a:pt x="381" y="96"/>
                      <a:pt x="385" y="102"/>
                    </a:cubicBezTo>
                    <a:lnTo>
                      <a:pt x="380" y="105"/>
                    </a:lnTo>
                    <a:close/>
                    <a:moveTo>
                      <a:pt x="43" y="88"/>
                    </a:moveTo>
                    <a:cubicBezTo>
                      <a:pt x="39" y="85"/>
                      <a:pt x="39" y="85"/>
                      <a:pt x="39" y="85"/>
                    </a:cubicBezTo>
                    <a:cubicBezTo>
                      <a:pt x="43" y="79"/>
                      <a:pt x="48" y="74"/>
                      <a:pt x="53" y="68"/>
                    </a:cubicBezTo>
                    <a:cubicBezTo>
                      <a:pt x="57" y="72"/>
                      <a:pt x="57" y="72"/>
                      <a:pt x="57" y="72"/>
                    </a:cubicBezTo>
                    <a:cubicBezTo>
                      <a:pt x="52" y="77"/>
                      <a:pt x="48" y="82"/>
                      <a:pt x="43" y="88"/>
                    </a:cubicBezTo>
                    <a:close/>
                    <a:moveTo>
                      <a:pt x="355" y="71"/>
                    </a:moveTo>
                    <a:cubicBezTo>
                      <a:pt x="350" y="66"/>
                      <a:pt x="345" y="61"/>
                      <a:pt x="340" y="56"/>
                    </a:cubicBezTo>
                    <a:cubicBezTo>
                      <a:pt x="344" y="52"/>
                      <a:pt x="344" y="52"/>
                      <a:pt x="344" y="52"/>
                    </a:cubicBezTo>
                    <a:cubicBezTo>
                      <a:pt x="349" y="57"/>
                      <a:pt x="354" y="62"/>
                      <a:pt x="359" y="68"/>
                    </a:cubicBezTo>
                    <a:lnTo>
                      <a:pt x="355" y="71"/>
                    </a:lnTo>
                    <a:close/>
                    <a:moveTo>
                      <a:pt x="72" y="57"/>
                    </a:moveTo>
                    <a:cubicBezTo>
                      <a:pt x="68" y="53"/>
                      <a:pt x="68" y="53"/>
                      <a:pt x="68" y="53"/>
                    </a:cubicBezTo>
                    <a:cubicBezTo>
                      <a:pt x="73" y="48"/>
                      <a:pt x="79" y="43"/>
                      <a:pt x="85" y="39"/>
                    </a:cubicBezTo>
                    <a:cubicBezTo>
                      <a:pt x="88" y="44"/>
                      <a:pt x="88" y="44"/>
                      <a:pt x="88" y="44"/>
                    </a:cubicBezTo>
                    <a:cubicBezTo>
                      <a:pt x="82" y="48"/>
                      <a:pt x="77" y="52"/>
                      <a:pt x="72" y="57"/>
                    </a:cubicBezTo>
                    <a:close/>
                    <a:moveTo>
                      <a:pt x="324" y="43"/>
                    </a:moveTo>
                    <a:cubicBezTo>
                      <a:pt x="318" y="39"/>
                      <a:pt x="312" y="35"/>
                      <a:pt x="306" y="32"/>
                    </a:cubicBezTo>
                    <a:cubicBezTo>
                      <a:pt x="309" y="27"/>
                      <a:pt x="309" y="27"/>
                      <a:pt x="309" y="27"/>
                    </a:cubicBezTo>
                    <a:cubicBezTo>
                      <a:pt x="315" y="31"/>
                      <a:pt x="321" y="35"/>
                      <a:pt x="327" y="39"/>
                    </a:cubicBezTo>
                    <a:lnTo>
                      <a:pt x="324" y="43"/>
                    </a:lnTo>
                    <a:close/>
                    <a:moveTo>
                      <a:pt x="105" y="32"/>
                    </a:moveTo>
                    <a:cubicBezTo>
                      <a:pt x="103" y="27"/>
                      <a:pt x="103" y="27"/>
                      <a:pt x="103" y="27"/>
                    </a:cubicBezTo>
                    <a:cubicBezTo>
                      <a:pt x="109" y="24"/>
                      <a:pt x="115" y="21"/>
                      <a:pt x="122" y="18"/>
                    </a:cubicBezTo>
                    <a:cubicBezTo>
                      <a:pt x="124" y="23"/>
                      <a:pt x="124" y="23"/>
                      <a:pt x="124" y="23"/>
                    </a:cubicBezTo>
                    <a:cubicBezTo>
                      <a:pt x="118" y="25"/>
                      <a:pt x="111" y="29"/>
                      <a:pt x="105" y="32"/>
                    </a:cubicBezTo>
                    <a:close/>
                    <a:moveTo>
                      <a:pt x="287" y="22"/>
                    </a:moveTo>
                    <a:cubicBezTo>
                      <a:pt x="281" y="19"/>
                      <a:pt x="274" y="17"/>
                      <a:pt x="268" y="15"/>
                    </a:cubicBezTo>
                    <a:cubicBezTo>
                      <a:pt x="270" y="10"/>
                      <a:pt x="270" y="10"/>
                      <a:pt x="270" y="10"/>
                    </a:cubicBezTo>
                    <a:cubicBezTo>
                      <a:pt x="276" y="12"/>
                      <a:pt x="283" y="14"/>
                      <a:pt x="290" y="17"/>
                    </a:cubicBezTo>
                    <a:lnTo>
                      <a:pt x="287" y="22"/>
                    </a:lnTo>
                    <a:close/>
                    <a:moveTo>
                      <a:pt x="144" y="15"/>
                    </a:moveTo>
                    <a:cubicBezTo>
                      <a:pt x="142" y="10"/>
                      <a:pt x="142" y="10"/>
                      <a:pt x="142" y="10"/>
                    </a:cubicBezTo>
                    <a:cubicBezTo>
                      <a:pt x="149" y="8"/>
                      <a:pt x="156" y="6"/>
                      <a:pt x="163" y="4"/>
                    </a:cubicBezTo>
                    <a:cubicBezTo>
                      <a:pt x="164" y="10"/>
                      <a:pt x="164" y="10"/>
                      <a:pt x="164" y="10"/>
                    </a:cubicBezTo>
                    <a:cubicBezTo>
                      <a:pt x="157" y="11"/>
                      <a:pt x="150" y="13"/>
                      <a:pt x="144" y="15"/>
                    </a:cubicBezTo>
                    <a:close/>
                    <a:moveTo>
                      <a:pt x="248" y="9"/>
                    </a:moveTo>
                    <a:cubicBezTo>
                      <a:pt x="241" y="8"/>
                      <a:pt x="234" y="7"/>
                      <a:pt x="227" y="6"/>
                    </a:cubicBezTo>
                    <a:cubicBezTo>
                      <a:pt x="227" y="1"/>
                      <a:pt x="227" y="1"/>
                      <a:pt x="227" y="1"/>
                    </a:cubicBezTo>
                    <a:cubicBezTo>
                      <a:pt x="234" y="2"/>
                      <a:pt x="242" y="3"/>
                      <a:pt x="249" y="4"/>
                    </a:cubicBezTo>
                    <a:lnTo>
                      <a:pt x="248" y="9"/>
                    </a:lnTo>
                    <a:close/>
                    <a:moveTo>
                      <a:pt x="185" y="6"/>
                    </a:moveTo>
                    <a:cubicBezTo>
                      <a:pt x="184" y="1"/>
                      <a:pt x="184" y="1"/>
                      <a:pt x="184" y="1"/>
                    </a:cubicBezTo>
                    <a:cubicBezTo>
                      <a:pt x="191" y="0"/>
                      <a:pt x="199" y="0"/>
                      <a:pt x="206" y="0"/>
                    </a:cubicBezTo>
                    <a:cubicBezTo>
                      <a:pt x="206" y="5"/>
                      <a:pt x="206" y="5"/>
                      <a:pt x="206" y="5"/>
                    </a:cubicBezTo>
                    <a:cubicBezTo>
                      <a:pt x="199" y="5"/>
                      <a:pt x="192" y="6"/>
                      <a:pt x="185" y="6"/>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136" name="Oval 135"/>
              <p:cNvSpPr>
                <a:spLocks noChangeArrowheads="1"/>
              </p:cNvSpPr>
              <p:nvPr/>
            </p:nvSpPr>
            <p:spPr bwMode="auto">
              <a:xfrm>
                <a:off x="7720932" y="3040490"/>
                <a:ext cx="638743" cy="637418"/>
              </a:xfrm>
              <a:prstGeom prst="ellipse">
                <a:avLst/>
              </a:prstGeom>
              <a:solidFill>
                <a:srgbClr val="E6E6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137" name="Freeform 136"/>
              <p:cNvSpPr>
                <a:spLocks noEditPoints="1"/>
              </p:cNvSpPr>
              <p:nvPr/>
            </p:nvSpPr>
            <p:spPr bwMode="auto">
              <a:xfrm>
                <a:off x="7715631" y="3033864"/>
                <a:ext cx="649345" cy="649345"/>
              </a:xfrm>
              <a:custGeom>
                <a:avLst/>
                <a:gdLst>
                  <a:gd name="T0" fmla="*/ 164 w 350"/>
                  <a:gd name="T1" fmla="*/ 344 h 350"/>
                  <a:gd name="T2" fmla="*/ 175 w 350"/>
                  <a:gd name="T3" fmla="*/ 350 h 350"/>
                  <a:gd name="T4" fmla="*/ 123 w 350"/>
                  <a:gd name="T5" fmla="*/ 337 h 350"/>
                  <a:gd name="T6" fmla="*/ 208 w 350"/>
                  <a:gd name="T7" fmla="*/ 347 h 350"/>
                  <a:gd name="T8" fmla="*/ 229 w 350"/>
                  <a:gd name="T9" fmla="*/ 342 h 350"/>
                  <a:gd name="T10" fmla="*/ 81 w 350"/>
                  <a:gd name="T11" fmla="*/ 323 h 350"/>
                  <a:gd name="T12" fmla="*/ 101 w 350"/>
                  <a:gd name="T13" fmla="*/ 334 h 350"/>
                  <a:gd name="T14" fmla="*/ 266 w 350"/>
                  <a:gd name="T15" fmla="*/ 318 h 350"/>
                  <a:gd name="T16" fmla="*/ 63 w 350"/>
                  <a:gd name="T17" fmla="*/ 310 h 350"/>
                  <a:gd name="T18" fmla="*/ 67 w 350"/>
                  <a:gd name="T19" fmla="*/ 306 h 350"/>
                  <a:gd name="T20" fmla="*/ 283 w 350"/>
                  <a:gd name="T21" fmla="*/ 306 h 350"/>
                  <a:gd name="T22" fmla="*/ 287 w 350"/>
                  <a:gd name="T23" fmla="*/ 310 h 350"/>
                  <a:gd name="T24" fmla="*/ 26 w 350"/>
                  <a:gd name="T25" fmla="*/ 257 h 350"/>
                  <a:gd name="T26" fmla="*/ 317 w 350"/>
                  <a:gd name="T27" fmla="*/ 278 h 350"/>
                  <a:gd name="T28" fmla="*/ 328 w 350"/>
                  <a:gd name="T29" fmla="*/ 259 h 350"/>
                  <a:gd name="T30" fmla="*/ 5 w 350"/>
                  <a:gd name="T31" fmla="*/ 219 h 350"/>
                  <a:gd name="T32" fmla="*/ 12 w 350"/>
                  <a:gd name="T33" fmla="*/ 240 h 350"/>
                  <a:gd name="T34" fmla="*/ 339 w 350"/>
                  <a:gd name="T35" fmla="*/ 217 h 350"/>
                  <a:gd name="T36" fmla="*/ 1 w 350"/>
                  <a:gd name="T37" fmla="*/ 197 h 350"/>
                  <a:gd name="T38" fmla="*/ 7 w 350"/>
                  <a:gd name="T39" fmla="*/ 197 h 350"/>
                  <a:gd name="T40" fmla="*/ 343 w 350"/>
                  <a:gd name="T41" fmla="*/ 196 h 350"/>
                  <a:gd name="T42" fmla="*/ 350 w 350"/>
                  <a:gd name="T43" fmla="*/ 175 h 350"/>
                  <a:gd name="T44" fmla="*/ 7 w 350"/>
                  <a:gd name="T45" fmla="*/ 154 h 350"/>
                  <a:gd name="T46" fmla="*/ 10 w 350"/>
                  <a:gd name="T47" fmla="*/ 133 h 350"/>
                  <a:gd name="T48" fmla="*/ 339 w 350"/>
                  <a:gd name="T49" fmla="*/ 132 h 350"/>
                  <a:gd name="T50" fmla="*/ 343 w 350"/>
                  <a:gd name="T51" fmla="*/ 153 h 350"/>
                  <a:gd name="T52" fmla="*/ 21 w 350"/>
                  <a:gd name="T53" fmla="*/ 91 h 350"/>
                  <a:gd name="T54" fmla="*/ 333 w 350"/>
                  <a:gd name="T55" fmla="*/ 112 h 350"/>
                  <a:gd name="T56" fmla="*/ 338 w 350"/>
                  <a:gd name="T57" fmla="*/ 110 h 350"/>
                  <a:gd name="T58" fmla="*/ 33 w 350"/>
                  <a:gd name="T59" fmla="*/ 72 h 350"/>
                  <a:gd name="T60" fmla="*/ 38 w 350"/>
                  <a:gd name="T61" fmla="*/ 76 h 350"/>
                  <a:gd name="T62" fmla="*/ 302 w 350"/>
                  <a:gd name="T63" fmla="*/ 55 h 350"/>
                  <a:gd name="T64" fmla="*/ 67 w 350"/>
                  <a:gd name="T65" fmla="*/ 45 h 350"/>
                  <a:gd name="T66" fmla="*/ 84 w 350"/>
                  <a:gd name="T67" fmla="*/ 32 h 350"/>
                  <a:gd name="T68" fmla="*/ 266 w 350"/>
                  <a:gd name="T69" fmla="*/ 32 h 350"/>
                  <a:gd name="T70" fmla="*/ 283 w 350"/>
                  <a:gd name="T71" fmla="*/ 44 h 350"/>
                  <a:gd name="T72" fmla="*/ 121 w 350"/>
                  <a:gd name="T73" fmla="*/ 9 h 350"/>
                  <a:gd name="T74" fmla="*/ 247 w 350"/>
                  <a:gd name="T75" fmla="*/ 21 h 350"/>
                  <a:gd name="T76" fmla="*/ 249 w 350"/>
                  <a:gd name="T77" fmla="*/ 16 h 350"/>
                  <a:gd name="T78" fmla="*/ 142 w 350"/>
                  <a:gd name="T79" fmla="*/ 3 h 350"/>
                  <a:gd name="T80" fmla="*/ 143 w 350"/>
                  <a:gd name="T81" fmla="*/ 8 h 350"/>
                  <a:gd name="T82" fmla="*/ 186 w 350"/>
                  <a:gd name="T83" fmla="*/ 0 h 3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50" h="350">
                    <a:moveTo>
                      <a:pt x="175" y="350"/>
                    </a:moveTo>
                    <a:cubicBezTo>
                      <a:pt x="171" y="350"/>
                      <a:pt x="168" y="350"/>
                      <a:pt x="164" y="350"/>
                    </a:cubicBezTo>
                    <a:cubicBezTo>
                      <a:pt x="164" y="344"/>
                      <a:pt x="164" y="344"/>
                      <a:pt x="164" y="344"/>
                    </a:cubicBezTo>
                    <a:cubicBezTo>
                      <a:pt x="171" y="345"/>
                      <a:pt x="179" y="345"/>
                      <a:pt x="186" y="344"/>
                    </a:cubicBezTo>
                    <a:cubicBezTo>
                      <a:pt x="186" y="350"/>
                      <a:pt x="186" y="350"/>
                      <a:pt x="186" y="350"/>
                    </a:cubicBezTo>
                    <a:cubicBezTo>
                      <a:pt x="182" y="350"/>
                      <a:pt x="179" y="350"/>
                      <a:pt x="175" y="350"/>
                    </a:cubicBezTo>
                    <a:close/>
                    <a:moveTo>
                      <a:pt x="142" y="347"/>
                    </a:moveTo>
                    <a:cubicBezTo>
                      <a:pt x="135" y="346"/>
                      <a:pt x="128" y="344"/>
                      <a:pt x="121" y="342"/>
                    </a:cubicBezTo>
                    <a:cubicBezTo>
                      <a:pt x="123" y="337"/>
                      <a:pt x="123" y="337"/>
                      <a:pt x="123" y="337"/>
                    </a:cubicBezTo>
                    <a:cubicBezTo>
                      <a:pt x="129" y="339"/>
                      <a:pt x="136" y="341"/>
                      <a:pt x="143" y="342"/>
                    </a:cubicBezTo>
                    <a:lnTo>
                      <a:pt x="142" y="347"/>
                    </a:lnTo>
                    <a:close/>
                    <a:moveTo>
                      <a:pt x="208" y="347"/>
                    </a:moveTo>
                    <a:cubicBezTo>
                      <a:pt x="207" y="342"/>
                      <a:pt x="207" y="342"/>
                      <a:pt x="207" y="342"/>
                    </a:cubicBezTo>
                    <a:cubicBezTo>
                      <a:pt x="214" y="340"/>
                      <a:pt x="221" y="339"/>
                      <a:pt x="228" y="336"/>
                    </a:cubicBezTo>
                    <a:cubicBezTo>
                      <a:pt x="229" y="342"/>
                      <a:pt x="229" y="342"/>
                      <a:pt x="229" y="342"/>
                    </a:cubicBezTo>
                    <a:cubicBezTo>
                      <a:pt x="222" y="344"/>
                      <a:pt x="215" y="346"/>
                      <a:pt x="208" y="347"/>
                    </a:cubicBezTo>
                    <a:close/>
                    <a:moveTo>
                      <a:pt x="101" y="334"/>
                    </a:moveTo>
                    <a:cubicBezTo>
                      <a:pt x="94" y="331"/>
                      <a:pt x="87" y="327"/>
                      <a:pt x="81" y="323"/>
                    </a:cubicBezTo>
                    <a:cubicBezTo>
                      <a:pt x="84" y="318"/>
                      <a:pt x="84" y="318"/>
                      <a:pt x="84" y="318"/>
                    </a:cubicBezTo>
                    <a:cubicBezTo>
                      <a:pt x="90" y="322"/>
                      <a:pt x="96" y="326"/>
                      <a:pt x="103" y="329"/>
                    </a:cubicBezTo>
                    <a:lnTo>
                      <a:pt x="101" y="334"/>
                    </a:lnTo>
                    <a:close/>
                    <a:moveTo>
                      <a:pt x="250" y="334"/>
                    </a:moveTo>
                    <a:cubicBezTo>
                      <a:pt x="247" y="329"/>
                      <a:pt x="247" y="329"/>
                      <a:pt x="247" y="329"/>
                    </a:cubicBezTo>
                    <a:cubicBezTo>
                      <a:pt x="254" y="326"/>
                      <a:pt x="260" y="322"/>
                      <a:pt x="266" y="318"/>
                    </a:cubicBezTo>
                    <a:cubicBezTo>
                      <a:pt x="269" y="323"/>
                      <a:pt x="269" y="323"/>
                      <a:pt x="269" y="323"/>
                    </a:cubicBezTo>
                    <a:cubicBezTo>
                      <a:pt x="263" y="327"/>
                      <a:pt x="256" y="330"/>
                      <a:pt x="250" y="334"/>
                    </a:cubicBezTo>
                    <a:close/>
                    <a:moveTo>
                      <a:pt x="63" y="310"/>
                    </a:moveTo>
                    <a:cubicBezTo>
                      <a:pt x="58" y="305"/>
                      <a:pt x="52" y="300"/>
                      <a:pt x="47" y="295"/>
                    </a:cubicBezTo>
                    <a:cubicBezTo>
                      <a:pt x="51" y="291"/>
                      <a:pt x="51" y="291"/>
                      <a:pt x="51" y="291"/>
                    </a:cubicBezTo>
                    <a:cubicBezTo>
                      <a:pt x="56" y="297"/>
                      <a:pt x="61" y="301"/>
                      <a:pt x="67" y="306"/>
                    </a:cubicBezTo>
                    <a:lnTo>
                      <a:pt x="63" y="310"/>
                    </a:lnTo>
                    <a:close/>
                    <a:moveTo>
                      <a:pt x="287" y="310"/>
                    </a:moveTo>
                    <a:cubicBezTo>
                      <a:pt x="283" y="306"/>
                      <a:pt x="283" y="306"/>
                      <a:pt x="283" y="306"/>
                    </a:cubicBezTo>
                    <a:cubicBezTo>
                      <a:pt x="289" y="301"/>
                      <a:pt x="294" y="296"/>
                      <a:pt x="299" y="291"/>
                    </a:cubicBezTo>
                    <a:cubicBezTo>
                      <a:pt x="303" y="295"/>
                      <a:pt x="303" y="295"/>
                      <a:pt x="303" y="295"/>
                    </a:cubicBezTo>
                    <a:cubicBezTo>
                      <a:pt x="298" y="300"/>
                      <a:pt x="292" y="305"/>
                      <a:pt x="287" y="310"/>
                    </a:cubicBezTo>
                    <a:close/>
                    <a:moveTo>
                      <a:pt x="33" y="278"/>
                    </a:moveTo>
                    <a:cubicBezTo>
                      <a:pt x="29" y="272"/>
                      <a:pt x="25" y="266"/>
                      <a:pt x="22" y="260"/>
                    </a:cubicBezTo>
                    <a:cubicBezTo>
                      <a:pt x="26" y="257"/>
                      <a:pt x="26" y="257"/>
                      <a:pt x="26" y="257"/>
                    </a:cubicBezTo>
                    <a:cubicBezTo>
                      <a:pt x="30" y="263"/>
                      <a:pt x="34" y="269"/>
                      <a:pt x="38" y="275"/>
                    </a:cubicBezTo>
                    <a:lnTo>
                      <a:pt x="33" y="278"/>
                    </a:lnTo>
                    <a:close/>
                    <a:moveTo>
                      <a:pt x="317" y="278"/>
                    </a:moveTo>
                    <a:cubicBezTo>
                      <a:pt x="312" y="275"/>
                      <a:pt x="312" y="275"/>
                      <a:pt x="312" y="275"/>
                    </a:cubicBezTo>
                    <a:cubicBezTo>
                      <a:pt x="316" y="269"/>
                      <a:pt x="320" y="263"/>
                      <a:pt x="324" y="257"/>
                    </a:cubicBezTo>
                    <a:cubicBezTo>
                      <a:pt x="328" y="259"/>
                      <a:pt x="328" y="259"/>
                      <a:pt x="328" y="259"/>
                    </a:cubicBezTo>
                    <a:cubicBezTo>
                      <a:pt x="325" y="266"/>
                      <a:pt x="321" y="272"/>
                      <a:pt x="317" y="278"/>
                    </a:cubicBezTo>
                    <a:close/>
                    <a:moveTo>
                      <a:pt x="12" y="240"/>
                    </a:moveTo>
                    <a:cubicBezTo>
                      <a:pt x="10" y="233"/>
                      <a:pt x="7" y="226"/>
                      <a:pt x="5" y="219"/>
                    </a:cubicBezTo>
                    <a:cubicBezTo>
                      <a:pt x="11" y="218"/>
                      <a:pt x="11" y="218"/>
                      <a:pt x="11" y="218"/>
                    </a:cubicBezTo>
                    <a:cubicBezTo>
                      <a:pt x="12" y="224"/>
                      <a:pt x="15" y="231"/>
                      <a:pt x="17" y="238"/>
                    </a:cubicBezTo>
                    <a:lnTo>
                      <a:pt x="12" y="240"/>
                    </a:lnTo>
                    <a:close/>
                    <a:moveTo>
                      <a:pt x="338" y="240"/>
                    </a:moveTo>
                    <a:cubicBezTo>
                      <a:pt x="333" y="238"/>
                      <a:pt x="333" y="238"/>
                      <a:pt x="333" y="238"/>
                    </a:cubicBezTo>
                    <a:cubicBezTo>
                      <a:pt x="335" y="231"/>
                      <a:pt x="338" y="224"/>
                      <a:pt x="339" y="217"/>
                    </a:cubicBezTo>
                    <a:cubicBezTo>
                      <a:pt x="345" y="219"/>
                      <a:pt x="345" y="219"/>
                      <a:pt x="345" y="219"/>
                    </a:cubicBezTo>
                    <a:cubicBezTo>
                      <a:pt x="343" y="226"/>
                      <a:pt x="341" y="233"/>
                      <a:pt x="338" y="240"/>
                    </a:cubicBezTo>
                    <a:close/>
                    <a:moveTo>
                      <a:pt x="1" y="197"/>
                    </a:moveTo>
                    <a:cubicBezTo>
                      <a:pt x="0" y="190"/>
                      <a:pt x="0" y="183"/>
                      <a:pt x="0" y="175"/>
                    </a:cubicBezTo>
                    <a:cubicBezTo>
                      <a:pt x="5" y="175"/>
                      <a:pt x="5" y="175"/>
                      <a:pt x="5" y="175"/>
                    </a:cubicBezTo>
                    <a:cubicBezTo>
                      <a:pt x="5" y="182"/>
                      <a:pt x="6" y="190"/>
                      <a:pt x="7" y="197"/>
                    </a:cubicBezTo>
                    <a:lnTo>
                      <a:pt x="1" y="197"/>
                    </a:lnTo>
                    <a:close/>
                    <a:moveTo>
                      <a:pt x="349" y="197"/>
                    </a:moveTo>
                    <a:cubicBezTo>
                      <a:pt x="343" y="196"/>
                      <a:pt x="343" y="196"/>
                      <a:pt x="343" y="196"/>
                    </a:cubicBezTo>
                    <a:cubicBezTo>
                      <a:pt x="344" y="189"/>
                      <a:pt x="345" y="182"/>
                      <a:pt x="345" y="175"/>
                    </a:cubicBezTo>
                    <a:cubicBezTo>
                      <a:pt x="345" y="175"/>
                      <a:pt x="345" y="175"/>
                      <a:pt x="345" y="175"/>
                    </a:cubicBezTo>
                    <a:cubicBezTo>
                      <a:pt x="350" y="175"/>
                      <a:pt x="350" y="175"/>
                      <a:pt x="350" y="175"/>
                    </a:cubicBezTo>
                    <a:cubicBezTo>
                      <a:pt x="350" y="175"/>
                      <a:pt x="350" y="175"/>
                      <a:pt x="350" y="175"/>
                    </a:cubicBezTo>
                    <a:cubicBezTo>
                      <a:pt x="350" y="182"/>
                      <a:pt x="350" y="190"/>
                      <a:pt x="349" y="197"/>
                    </a:cubicBezTo>
                    <a:close/>
                    <a:moveTo>
                      <a:pt x="7" y="154"/>
                    </a:moveTo>
                    <a:cubicBezTo>
                      <a:pt x="1" y="153"/>
                      <a:pt x="1" y="153"/>
                      <a:pt x="1" y="153"/>
                    </a:cubicBezTo>
                    <a:cubicBezTo>
                      <a:pt x="2" y="146"/>
                      <a:pt x="3" y="139"/>
                      <a:pt x="5" y="132"/>
                    </a:cubicBezTo>
                    <a:cubicBezTo>
                      <a:pt x="10" y="133"/>
                      <a:pt x="10" y="133"/>
                      <a:pt x="10" y="133"/>
                    </a:cubicBezTo>
                    <a:cubicBezTo>
                      <a:pt x="9" y="140"/>
                      <a:pt x="7" y="147"/>
                      <a:pt x="7" y="154"/>
                    </a:cubicBezTo>
                    <a:close/>
                    <a:moveTo>
                      <a:pt x="343" y="153"/>
                    </a:moveTo>
                    <a:cubicBezTo>
                      <a:pt x="342" y="146"/>
                      <a:pt x="341" y="139"/>
                      <a:pt x="339" y="132"/>
                    </a:cubicBezTo>
                    <a:cubicBezTo>
                      <a:pt x="345" y="131"/>
                      <a:pt x="345" y="131"/>
                      <a:pt x="345" y="131"/>
                    </a:cubicBezTo>
                    <a:cubicBezTo>
                      <a:pt x="346" y="138"/>
                      <a:pt x="348" y="145"/>
                      <a:pt x="349" y="153"/>
                    </a:cubicBezTo>
                    <a:lnTo>
                      <a:pt x="343" y="153"/>
                    </a:lnTo>
                    <a:close/>
                    <a:moveTo>
                      <a:pt x="17" y="113"/>
                    </a:moveTo>
                    <a:cubicBezTo>
                      <a:pt x="12" y="111"/>
                      <a:pt x="12" y="111"/>
                      <a:pt x="12" y="111"/>
                    </a:cubicBezTo>
                    <a:cubicBezTo>
                      <a:pt x="15" y="104"/>
                      <a:pt x="18" y="97"/>
                      <a:pt x="21" y="91"/>
                    </a:cubicBezTo>
                    <a:cubicBezTo>
                      <a:pt x="26" y="94"/>
                      <a:pt x="26" y="94"/>
                      <a:pt x="26" y="94"/>
                    </a:cubicBezTo>
                    <a:cubicBezTo>
                      <a:pt x="23" y="100"/>
                      <a:pt x="20" y="106"/>
                      <a:pt x="17" y="113"/>
                    </a:cubicBezTo>
                    <a:close/>
                    <a:moveTo>
                      <a:pt x="333" y="112"/>
                    </a:moveTo>
                    <a:cubicBezTo>
                      <a:pt x="330" y="106"/>
                      <a:pt x="327" y="99"/>
                      <a:pt x="324" y="93"/>
                    </a:cubicBezTo>
                    <a:cubicBezTo>
                      <a:pt x="328" y="90"/>
                      <a:pt x="328" y="90"/>
                      <a:pt x="328" y="90"/>
                    </a:cubicBezTo>
                    <a:cubicBezTo>
                      <a:pt x="332" y="97"/>
                      <a:pt x="335" y="103"/>
                      <a:pt x="338" y="110"/>
                    </a:cubicBezTo>
                    <a:lnTo>
                      <a:pt x="333" y="112"/>
                    </a:lnTo>
                    <a:close/>
                    <a:moveTo>
                      <a:pt x="38" y="76"/>
                    </a:moveTo>
                    <a:cubicBezTo>
                      <a:pt x="33" y="72"/>
                      <a:pt x="33" y="72"/>
                      <a:pt x="33" y="72"/>
                    </a:cubicBezTo>
                    <a:cubicBezTo>
                      <a:pt x="37" y="66"/>
                      <a:pt x="42" y="61"/>
                      <a:pt x="47" y="55"/>
                    </a:cubicBezTo>
                    <a:cubicBezTo>
                      <a:pt x="51" y="59"/>
                      <a:pt x="51" y="59"/>
                      <a:pt x="51" y="59"/>
                    </a:cubicBezTo>
                    <a:cubicBezTo>
                      <a:pt x="46" y="64"/>
                      <a:pt x="42" y="70"/>
                      <a:pt x="38" y="76"/>
                    </a:cubicBezTo>
                    <a:close/>
                    <a:moveTo>
                      <a:pt x="312" y="75"/>
                    </a:moveTo>
                    <a:cubicBezTo>
                      <a:pt x="308" y="69"/>
                      <a:pt x="303" y="64"/>
                      <a:pt x="298" y="59"/>
                    </a:cubicBezTo>
                    <a:cubicBezTo>
                      <a:pt x="302" y="55"/>
                      <a:pt x="302" y="55"/>
                      <a:pt x="302" y="55"/>
                    </a:cubicBezTo>
                    <a:cubicBezTo>
                      <a:pt x="307" y="60"/>
                      <a:pt x="312" y="66"/>
                      <a:pt x="316" y="72"/>
                    </a:cubicBezTo>
                    <a:lnTo>
                      <a:pt x="312" y="75"/>
                    </a:lnTo>
                    <a:close/>
                    <a:moveTo>
                      <a:pt x="67" y="45"/>
                    </a:moveTo>
                    <a:cubicBezTo>
                      <a:pt x="63" y="40"/>
                      <a:pt x="63" y="40"/>
                      <a:pt x="63" y="40"/>
                    </a:cubicBezTo>
                    <a:cubicBezTo>
                      <a:pt x="69" y="36"/>
                      <a:pt x="75" y="31"/>
                      <a:pt x="81" y="27"/>
                    </a:cubicBezTo>
                    <a:cubicBezTo>
                      <a:pt x="84" y="32"/>
                      <a:pt x="84" y="32"/>
                      <a:pt x="84" y="32"/>
                    </a:cubicBezTo>
                    <a:cubicBezTo>
                      <a:pt x="78" y="36"/>
                      <a:pt x="72" y="40"/>
                      <a:pt x="67" y="45"/>
                    </a:cubicBezTo>
                    <a:close/>
                    <a:moveTo>
                      <a:pt x="283" y="44"/>
                    </a:moveTo>
                    <a:cubicBezTo>
                      <a:pt x="277" y="40"/>
                      <a:pt x="272" y="35"/>
                      <a:pt x="266" y="32"/>
                    </a:cubicBezTo>
                    <a:cubicBezTo>
                      <a:pt x="268" y="27"/>
                      <a:pt x="268" y="27"/>
                      <a:pt x="268" y="27"/>
                    </a:cubicBezTo>
                    <a:cubicBezTo>
                      <a:pt x="275" y="31"/>
                      <a:pt x="281" y="35"/>
                      <a:pt x="286" y="40"/>
                    </a:cubicBezTo>
                    <a:lnTo>
                      <a:pt x="283" y="44"/>
                    </a:lnTo>
                    <a:close/>
                    <a:moveTo>
                      <a:pt x="102" y="22"/>
                    </a:moveTo>
                    <a:cubicBezTo>
                      <a:pt x="100" y="17"/>
                      <a:pt x="100" y="17"/>
                      <a:pt x="100" y="17"/>
                    </a:cubicBezTo>
                    <a:cubicBezTo>
                      <a:pt x="107" y="14"/>
                      <a:pt x="114" y="11"/>
                      <a:pt x="121" y="9"/>
                    </a:cubicBezTo>
                    <a:cubicBezTo>
                      <a:pt x="122" y="14"/>
                      <a:pt x="122" y="14"/>
                      <a:pt x="122" y="14"/>
                    </a:cubicBezTo>
                    <a:cubicBezTo>
                      <a:pt x="115" y="16"/>
                      <a:pt x="109" y="19"/>
                      <a:pt x="102" y="22"/>
                    </a:cubicBezTo>
                    <a:close/>
                    <a:moveTo>
                      <a:pt x="247" y="21"/>
                    </a:moveTo>
                    <a:cubicBezTo>
                      <a:pt x="240" y="18"/>
                      <a:pt x="234" y="16"/>
                      <a:pt x="227" y="14"/>
                    </a:cubicBezTo>
                    <a:cubicBezTo>
                      <a:pt x="229" y="8"/>
                      <a:pt x="229" y="8"/>
                      <a:pt x="229" y="8"/>
                    </a:cubicBezTo>
                    <a:cubicBezTo>
                      <a:pt x="236" y="11"/>
                      <a:pt x="243" y="13"/>
                      <a:pt x="249" y="16"/>
                    </a:cubicBezTo>
                    <a:lnTo>
                      <a:pt x="247" y="21"/>
                    </a:lnTo>
                    <a:close/>
                    <a:moveTo>
                      <a:pt x="143" y="8"/>
                    </a:moveTo>
                    <a:cubicBezTo>
                      <a:pt x="142" y="3"/>
                      <a:pt x="142" y="3"/>
                      <a:pt x="142" y="3"/>
                    </a:cubicBezTo>
                    <a:cubicBezTo>
                      <a:pt x="149" y="2"/>
                      <a:pt x="156" y="1"/>
                      <a:pt x="164" y="0"/>
                    </a:cubicBezTo>
                    <a:cubicBezTo>
                      <a:pt x="164" y="6"/>
                      <a:pt x="164" y="6"/>
                      <a:pt x="164" y="6"/>
                    </a:cubicBezTo>
                    <a:cubicBezTo>
                      <a:pt x="157" y="6"/>
                      <a:pt x="150" y="7"/>
                      <a:pt x="143" y="8"/>
                    </a:cubicBezTo>
                    <a:close/>
                    <a:moveTo>
                      <a:pt x="206" y="8"/>
                    </a:moveTo>
                    <a:cubicBezTo>
                      <a:pt x="199" y="7"/>
                      <a:pt x="192" y="6"/>
                      <a:pt x="185" y="6"/>
                    </a:cubicBezTo>
                    <a:cubicBezTo>
                      <a:pt x="186" y="0"/>
                      <a:pt x="186" y="0"/>
                      <a:pt x="186" y="0"/>
                    </a:cubicBezTo>
                    <a:cubicBezTo>
                      <a:pt x="193" y="1"/>
                      <a:pt x="200" y="2"/>
                      <a:pt x="207" y="3"/>
                    </a:cubicBezTo>
                    <a:lnTo>
                      <a:pt x="206" y="8"/>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138" name="Oval 137"/>
              <p:cNvSpPr>
                <a:spLocks noChangeArrowheads="1"/>
              </p:cNvSpPr>
              <p:nvPr/>
            </p:nvSpPr>
            <p:spPr bwMode="auto">
              <a:xfrm>
                <a:off x="7720932" y="3162408"/>
                <a:ext cx="515501" cy="515500"/>
              </a:xfrm>
              <a:prstGeom prst="ellipse">
                <a:avLst/>
              </a:pr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139" name="Freeform 138"/>
              <p:cNvSpPr>
                <a:spLocks noEditPoints="1"/>
              </p:cNvSpPr>
              <p:nvPr/>
            </p:nvSpPr>
            <p:spPr bwMode="auto">
              <a:xfrm>
                <a:off x="7715631" y="3157107"/>
                <a:ext cx="526102" cy="526102"/>
              </a:xfrm>
              <a:custGeom>
                <a:avLst/>
                <a:gdLst>
                  <a:gd name="T0" fmla="*/ 142 w 284"/>
                  <a:gd name="T1" fmla="*/ 284 h 284"/>
                  <a:gd name="T2" fmla="*/ 121 w 284"/>
                  <a:gd name="T3" fmla="*/ 277 h 284"/>
                  <a:gd name="T4" fmla="*/ 142 w 284"/>
                  <a:gd name="T5" fmla="*/ 284 h 284"/>
                  <a:gd name="T6" fmla="*/ 163 w 284"/>
                  <a:gd name="T7" fmla="*/ 277 h 284"/>
                  <a:gd name="T8" fmla="*/ 186 w 284"/>
                  <a:gd name="T9" fmla="*/ 277 h 284"/>
                  <a:gd name="T10" fmla="*/ 98 w 284"/>
                  <a:gd name="T11" fmla="*/ 277 h 284"/>
                  <a:gd name="T12" fmla="*/ 80 w 284"/>
                  <a:gd name="T13" fmla="*/ 264 h 284"/>
                  <a:gd name="T14" fmla="*/ 98 w 284"/>
                  <a:gd name="T15" fmla="*/ 277 h 284"/>
                  <a:gd name="T16" fmla="*/ 204 w 284"/>
                  <a:gd name="T17" fmla="*/ 264 h 284"/>
                  <a:gd name="T18" fmla="*/ 225 w 284"/>
                  <a:gd name="T19" fmla="*/ 257 h 284"/>
                  <a:gd name="T20" fmla="*/ 59 w 284"/>
                  <a:gd name="T21" fmla="*/ 257 h 284"/>
                  <a:gd name="T22" fmla="*/ 45 w 284"/>
                  <a:gd name="T23" fmla="*/ 239 h 284"/>
                  <a:gd name="T24" fmla="*/ 59 w 284"/>
                  <a:gd name="T25" fmla="*/ 257 h 284"/>
                  <a:gd name="T26" fmla="*/ 238 w 284"/>
                  <a:gd name="T27" fmla="*/ 239 h 284"/>
                  <a:gd name="T28" fmla="*/ 257 w 284"/>
                  <a:gd name="T29" fmla="*/ 226 h 284"/>
                  <a:gd name="T30" fmla="*/ 27 w 284"/>
                  <a:gd name="T31" fmla="*/ 226 h 284"/>
                  <a:gd name="T32" fmla="*/ 20 w 284"/>
                  <a:gd name="T33" fmla="*/ 204 h 284"/>
                  <a:gd name="T34" fmla="*/ 27 w 284"/>
                  <a:gd name="T35" fmla="*/ 226 h 284"/>
                  <a:gd name="T36" fmla="*/ 263 w 284"/>
                  <a:gd name="T37" fmla="*/ 204 h 284"/>
                  <a:gd name="T38" fmla="*/ 277 w 284"/>
                  <a:gd name="T39" fmla="*/ 186 h 284"/>
                  <a:gd name="T40" fmla="*/ 7 w 284"/>
                  <a:gd name="T41" fmla="*/ 186 h 284"/>
                  <a:gd name="T42" fmla="*/ 7 w 284"/>
                  <a:gd name="T43" fmla="*/ 164 h 284"/>
                  <a:gd name="T44" fmla="*/ 7 w 284"/>
                  <a:gd name="T45" fmla="*/ 186 h 284"/>
                  <a:gd name="T46" fmla="*/ 277 w 284"/>
                  <a:gd name="T47" fmla="*/ 164 h 284"/>
                  <a:gd name="T48" fmla="*/ 278 w 284"/>
                  <a:gd name="T49" fmla="*/ 142 h 284"/>
                  <a:gd name="T50" fmla="*/ 284 w 284"/>
                  <a:gd name="T51" fmla="*/ 142 h 284"/>
                  <a:gd name="T52" fmla="*/ 5 w 284"/>
                  <a:gd name="T53" fmla="*/ 143 h 284"/>
                  <a:gd name="T54" fmla="*/ 0 w 284"/>
                  <a:gd name="T55" fmla="*/ 142 h 284"/>
                  <a:gd name="T56" fmla="*/ 7 w 284"/>
                  <a:gd name="T57" fmla="*/ 121 h 284"/>
                  <a:gd name="T58" fmla="*/ 5 w 284"/>
                  <a:gd name="T59" fmla="*/ 143 h 284"/>
                  <a:gd name="T60" fmla="*/ 272 w 284"/>
                  <a:gd name="T61" fmla="*/ 100 h 284"/>
                  <a:gd name="T62" fmla="*/ 282 w 284"/>
                  <a:gd name="T63" fmla="*/ 120 h 284"/>
                  <a:gd name="T64" fmla="*/ 12 w 284"/>
                  <a:gd name="T65" fmla="*/ 100 h 284"/>
                  <a:gd name="T66" fmla="*/ 15 w 284"/>
                  <a:gd name="T67" fmla="*/ 78 h 284"/>
                  <a:gd name="T68" fmla="*/ 12 w 284"/>
                  <a:gd name="T69" fmla="*/ 100 h 284"/>
                  <a:gd name="T70" fmla="*/ 252 w 284"/>
                  <a:gd name="T71" fmla="*/ 62 h 284"/>
                  <a:gd name="T72" fmla="*/ 268 w 284"/>
                  <a:gd name="T73" fmla="*/ 77 h 284"/>
                  <a:gd name="T74" fmla="*/ 31 w 284"/>
                  <a:gd name="T75" fmla="*/ 62 h 284"/>
                  <a:gd name="T76" fmla="*/ 41 w 284"/>
                  <a:gd name="T77" fmla="*/ 42 h 284"/>
                  <a:gd name="T78" fmla="*/ 31 w 284"/>
                  <a:gd name="T79" fmla="*/ 62 h 284"/>
                  <a:gd name="T80" fmla="*/ 222 w 284"/>
                  <a:gd name="T81" fmla="*/ 32 h 284"/>
                  <a:gd name="T82" fmla="*/ 242 w 284"/>
                  <a:gd name="T83" fmla="*/ 42 h 284"/>
                  <a:gd name="T84" fmla="*/ 61 w 284"/>
                  <a:gd name="T85" fmla="*/ 32 h 284"/>
                  <a:gd name="T86" fmla="*/ 77 w 284"/>
                  <a:gd name="T87" fmla="*/ 16 h 284"/>
                  <a:gd name="T88" fmla="*/ 61 w 284"/>
                  <a:gd name="T89" fmla="*/ 32 h 284"/>
                  <a:gd name="T90" fmla="*/ 184 w 284"/>
                  <a:gd name="T91" fmla="*/ 12 h 284"/>
                  <a:gd name="T92" fmla="*/ 206 w 284"/>
                  <a:gd name="T93" fmla="*/ 16 h 284"/>
                  <a:gd name="T94" fmla="*/ 99 w 284"/>
                  <a:gd name="T95" fmla="*/ 13 h 284"/>
                  <a:gd name="T96" fmla="*/ 119 w 284"/>
                  <a:gd name="T97" fmla="*/ 2 h 284"/>
                  <a:gd name="T98" fmla="*/ 99 w 284"/>
                  <a:gd name="T99" fmla="*/ 13 h 284"/>
                  <a:gd name="T100" fmla="*/ 142 w 284"/>
                  <a:gd name="T101" fmla="*/ 6 h 284"/>
                  <a:gd name="T102" fmla="*/ 141 w 284"/>
                  <a:gd name="T103" fmla="*/ 0 h 284"/>
                  <a:gd name="T104" fmla="*/ 164 w 284"/>
                  <a:gd name="T105" fmla="*/ 2 h 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84" h="284">
                    <a:moveTo>
                      <a:pt x="142" y="284"/>
                    </a:moveTo>
                    <a:cubicBezTo>
                      <a:pt x="142" y="284"/>
                      <a:pt x="142" y="284"/>
                      <a:pt x="142" y="284"/>
                    </a:cubicBezTo>
                    <a:cubicBezTo>
                      <a:pt x="134" y="284"/>
                      <a:pt x="127" y="284"/>
                      <a:pt x="120" y="282"/>
                    </a:cubicBezTo>
                    <a:cubicBezTo>
                      <a:pt x="121" y="277"/>
                      <a:pt x="121" y="277"/>
                      <a:pt x="121" y="277"/>
                    </a:cubicBezTo>
                    <a:cubicBezTo>
                      <a:pt x="128" y="278"/>
                      <a:pt x="135" y="279"/>
                      <a:pt x="142" y="279"/>
                    </a:cubicBezTo>
                    <a:lnTo>
                      <a:pt x="142" y="284"/>
                    </a:lnTo>
                    <a:close/>
                    <a:moveTo>
                      <a:pt x="164" y="282"/>
                    </a:moveTo>
                    <a:cubicBezTo>
                      <a:pt x="163" y="277"/>
                      <a:pt x="163" y="277"/>
                      <a:pt x="163" y="277"/>
                    </a:cubicBezTo>
                    <a:cubicBezTo>
                      <a:pt x="170" y="276"/>
                      <a:pt x="177" y="274"/>
                      <a:pt x="184" y="272"/>
                    </a:cubicBezTo>
                    <a:cubicBezTo>
                      <a:pt x="186" y="277"/>
                      <a:pt x="186" y="277"/>
                      <a:pt x="186" y="277"/>
                    </a:cubicBezTo>
                    <a:cubicBezTo>
                      <a:pt x="179" y="280"/>
                      <a:pt x="171" y="281"/>
                      <a:pt x="164" y="282"/>
                    </a:cubicBezTo>
                    <a:close/>
                    <a:moveTo>
                      <a:pt x="98" y="277"/>
                    </a:moveTo>
                    <a:cubicBezTo>
                      <a:pt x="91" y="275"/>
                      <a:pt x="84" y="272"/>
                      <a:pt x="78" y="269"/>
                    </a:cubicBezTo>
                    <a:cubicBezTo>
                      <a:pt x="80" y="264"/>
                      <a:pt x="80" y="264"/>
                      <a:pt x="80" y="264"/>
                    </a:cubicBezTo>
                    <a:cubicBezTo>
                      <a:pt x="86" y="267"/>
                      <a:pt x="93" y="270"/>
                      <a:pt x="100" y="272"/>
                    </a:cubicBezTo>
                    <a:lnTo>
                      <a:pt x="98" y="277"/>
                    </a:lnTo>
                    <a:close/>
                    <a:moveTo>
                      <a:pt x="206" y="269"/>
                    </a:moveTo>
                    <a:cubicBezTo>
                      <a:pt x="204" y="264"/>
                      <a:pt x="204" y="264"/>
                      <a:pt x="204" y="264"/>
                    </a:cubicBezTo>
                    <a:cubicBezTo>
                      <a:pt x="210" y="261"/>
                      <a:pt x="216" y="257"/>
                      <a:pt x="222" y="253"/>
                    </a:cubicBezTo>
                    <a:cubicBezTo>
                      <a:pt x="225" y="257"/>
                      <a:pt x="225" y="257"/>
                      <a:pt x="225" y="257"/>
                    </a:cubicBezTo>
                    <a:cubicBezTo>
                      <a:pt x="219" y="261"/>
                      <a:pt x="213" y="265"/>
                      <a:pt x="206" y="269"/>
                    </a:cubicBezTo>
                    <a:close/>
                    <a:moveTo>
                      <a:pt x="59" y="257"/>
                    </a:moveTo>
                    <a:cubicBezTo>
                      <a:pt x="53" y="253"/>
                      <a:pt x="47" y="248"/>
                      <a:pt x="42" y="243"/>
                    </a:cubicBezTo>
                    <a:cubicBezTo>
                      <a:pt x="45" y="239"/>
                      <a:pt x="45" y="239"/>
                      <a:pt x="45" y="239"/>
                    </a:cubicBezTo>
                    <a:cubicBezTo>
                      <a:pt x="50" y="244"/>
                      <a:pt x="56" y="249"/>
                      <a:pt x="62" y="253"/>
                    </a:cubicBezTo>
                    <a:lnTo>
                      <a:pt x="59" y="257"/>
                    </a:lnTo>
                    <a:close/>
                    <a:moveTo>
                      <a:pt x="242" y="243"/>
                    </a:moveTo>
                    <a:cubicBezTo>
                      <a:pt x="238" y="239"/>
                      <a:pt x="238" y="239"/>
                      <a:pt x="238" y="239"/>
                    </a:cubicBezTo>
                    <a:cubicBezTo>
                      <a:pt x="243" y="234"/>
                      <a:pt x="248" y="228"/>
                      <a:pt x="252" y="222"/>
                    </a:cubicBezTo>
                    <a:cubicBezTo>
                      <a:pt x="257" y="226"/>
                      <a:pt x="257" y="226"/>
                      <a:pt x="257" y="226"/>
                    </a:cubicBezTo>
                    <a:cubicBezTo>
                      <a:pt x="252" y="232"/>
                      <a:pt x="247" y="237"/>
                      <a:pt x="242" y="243"/>
                    </a:cubicBezTo>
                    <a:close/>
                    <a:moveTo>
                      <a:pt x="27" y="226"/>
                    </a:moveTo>
                    <a:cubicBezTo>
                      <a:pt x="23" y="220"/>
                      <a:pt x="19" y="214"/>
                      <a:pt x="15" y="207"/>
                    </a:cubicBezTo>
                    <a:cubicBezTo>
                      <a:pt x="20" y="204"/>
                      <a:pt x="20" y="204"/>
                      <a:pt x="20" y="204"/>
                    </a:cubicBezTo>
                    <a:cubicBezTo>
                      <a:pt x="23" y="211"/>
                      <a:pt x="27" y="217"/>
                      <a:pt x="31" y="223"/>
                    </a:cubicBezTo>
                    <a:lnTo>
                      <a:pt x="27" y="226"/>
                    </a:lnTo>
                    <a:close/>
                    <a:moveTo>
                      <a:pt x="268" y="207"/>
                    </a:moveTo>
                    <a:cubicBezTo>
                      <a:pt x="263" y="204"/>
                      <a:pt x="263" y="204"/>
                      <a:pt x="263" y="204"/>
                    </a:cubicBezTo>
                    <a:cubicBezTo>
                      <a:pt x="267" y="198"/>
                      <a:pt x="269" y="191"/>
                      <a:pt x="272" y="184"/>
                    </a:cubicBezTo>
                    <a:cubicBezTo>
                      <a:pt x="277" y="186"/>
                      <a:pt x="277" y="186"/>
                      <a:pt x="277" y="186"/>
                    </a:cubicBezTo>
                    <a:cubicBezTo>
                      <a:pt x="275" y="193"/>
                      <a:pt x="272" y="200"/>
                      <a:pt x="268" y="207"/>
                    </a:cubicBezTo>
                    <a:close/>
                    <a:moveTo>
                      <a:pt x="7" y="186"/>
                    </a:moveTo>
                    <a:cubicBezTo>
                      <a:pt x="5" y="179"/>
                      <a:pt x="3" y="172"/>
                      <a:pt x="2" y="165"/>
                    </a:cubicBezTo>
                    <a:cubicBezTo>
                      <a:pt x="7" y="164"/>
                      <a:pt x="7" y="164"/>
                      <a:pt x="7" y="164"/>
                    </a:cubicBezTo>
                    <a:cubicBezTo>
                      <a:pt x="8" y="171"/>
                      <a:pt x="10" y="178"/>
                      <a:pt x="12" y="185"/>
                    </a:cubicBezTo>
                    <a:lnTo>
                      <a:pt x="7" y="186"/>
                    </a:lnTo>
                    <a:close/>
                    <a:moveTo>
                      <a:pt x="282" y="164"/>
                    </a:moveTo>
                    <a:cubicBezTo>
                      <a:pt x="277" y="164"/>
                      <a:pt x="277" y="164"/>
                      <a:pt x="277" y="164"/>
                    </a:cubicBezTo>
                    <a:cubicBezTo>
                      <a:pt x="278" y="157"/>
                      <a:pt x="278" y="149"/>
                      <a:pt x="278" y="142"/>
                    </a:cubicBezTo>
                    <a:cubicBezTo>
                      <a:pt x="278" y="142"/>
                      <a:pt x="278" y="142"/>
                      <a:pt x="278" y="142"/>
                    </a:cubicBezTo>
                    <a:cubicBezTo>
                      <a:pt x="284" y="142"/>
                      <a:pt x="284" y="142"/>
                      <a:pt x="284" y="142"/>
                    </a:cubicBezTo>
                    <a:cubicBezTo>
                      <a:pt x="284" y="142"/>
                      <a:pt x="284" y="142"/>
                      <a:pt x="284" y="142"/>
                    </a:cubicBezTo>
                    <a:cubicBezTo>
                      <a:pt x="284" y="150"/>
                      <a:pt x="283" y="157"/>
                      <a:pt x="282" y="164"/>
                    </a:cubicBezTo>
                    <a:close/>
                    <a:moveTo>
                      <a:pt x="5" y="143"/>
                    </a:moveTo>
                    <a:cubicBezTo>
                      <a:pt x="0" y="143"/>
                      <a:pt x="0" y="143"/>
                      <a:pt x="0" y="143"/>
                    </a:cubicBezTo>
                    <a:cubicBezTo>
                      <a:pt x="0" y="142"/>
                      <a:pt x="0" y="142"/>
                      <a:pt x="0" y="142"/>
                    </a:cubicBezTo>
                    <a:cubicBezTo>
                      <a:pt x="0" y="135"/>
                      <a:pt x="0" y="128"/>
                      <a:pt x="2" y="120"/>
                    </a:cubicBezTo>
                    <a:cubicBezTo>
                      <a:pt x="7" y="121"/>
                      <a:pt x="7" y="121"/>
                      <a:pt x="7" y="121"/>
                    </a:cubicBezTo>
                    <a:cubicBezTo>
                      <a:pt x="6" y="128"/>
                      <a:pt x="5" y="135"/>
                      <a:pt x="5" y="142"/>
                    </a:cubicBezTo>
                    <a:lnTo>
                      <a:pt x="5" y="143"/>
                    </a:lnTo>
                    <a:close/>
                    <a:moveTo>
                      <a:pt x="277" y="120"/>
                    </a:moveTo>
                    <a:cubicBezTo>
                      <a:pt x="275" y="113"/>
                      <a:pt x="274" y="106"/>
                      <a:pt x="272" y="100"/>
                    </a:cubicBezTo>
                    <a:cubicBezTo>
                      <a:pt x="277" y="98"/>
                      <a:pt x="277" y="98"/>
                      <a:pt x="277" y="98"/>
                    </a:cubicBezTo>
                    <a:cubicBezTo>
                      <a:pt x="279" y="105"/>
                      <a:pt x="281" y="112"/>
                      <a:pt x="282" y="120"/>
                    </a:cubicBezTo>
                    <a:lnTo>
                      <a:pt x="277" y="120"/>
                    </a:lnTo>
                    <a:close/>
                    <a:moveTo>
                      <a:pt x="12" y="100"/>
                    </a:moveTo>
                    <a:cubicBezTo>
                      <a:pt x="7" y="99"/>
                      <a:pt x="7" y="99"/>
                      <a:pt x="7" y="99"/>
                    </a:cubicBezTo>
                    <a:cubicBezTo>
                      <a:pt x="9" y="92"/>
                      <a:pt x="12" y="85"/>
                      <a:pt x="15" y="78"/>
                    </a:cubicBezTo>
                    <a:cubicBezTo>
                      <a:pt x="20" y="81"/>
                      <a:pt x="20" y="81"/>
                      <a:pt x="20" y="81"/>
                    </a:cubicBezTo>
                    <a:cubicBezTo>
                      <a:pt x="17" y="87"/>
                      <a:pt x="14" y="94"/>
                      <a:pt x="12" y="100"/>
                    </a:cubicBezTo>
                    <a:close/>
                    <a:moveTo>
                      <a:pt x="263" y="80"/>
                    </a:moveTo>
                    <a:cubicBezTo>
                      <a:pt x="260" y="74"/>
                      <a:pt x="256" y="67"/>
                      <a:pt x="252" y="62"/>
                    </a:cubicBezTo>
                    <a:cubicBezTo>
                      <a:pt x="256" y="58"/>
                      <a:pt x="256" y="58"/>
                      <a:pt x="256" y="58"/>
                    </a:cubicBezTo>
                    <a:cubicBezTo>
                      <a:pt x="261" y="64"/>
                      <a:pt x="265" y="71"/>
                      <a:pt x="268" y="77"/>
                    </a:cubicBezTo>
                    <a:lnTo>
                      <a:pt x="263" y="80"/>
                    </a:lnTo>
                    <a:close/>
                    <a:moveTo>
                      <a:pt x="31" y="62"/>
                    </a:moveTo>
                    <a:cubicBezTo>
                      <a:pt x="27" y="59"/>
                      <a:pt x="27" y="59"/>
                      <a:pt x="27" y="59"/>
                    </a:cubicBezTo>
                    <a:cubicBezTo>
                      <a:pt x="31" y="53"/>
                      <a:pt x="36" y="47"/>
                      <a:pt x="41" y="42"/>
                    </a:cubicBezTo>
                    <a:cubicBezTo>
                      <a:pt x="45" y="46"/>
                      <a:pt x="45" y="46"/>
                      <a:pt x="45" y="46"/>
                    </a:cubicBezTo>
                    <a:cubicBezTo>
                      <a:pt x="40" y="51"/>
                      <a:pt x="35" y="57"/>
                      <a:pt x="31" y="62"/>
                    </a:cubicBezTo>
                    <a:close/>
                    <a:moveTo>
                      <a:pt x="238" y="45"/>
                    </a:moveTo>
                    <a:cubicBezTo>
                      <a:pt x="233" y="40"/>
                      <a:pt x="227" y="36"/>
                      <a:pt x="222" y="32"/>
                    </a:cubicBezTo>
                    <a:cubicBezTo>
                      <a:pt x="225" y="27"/>
                      <a:pt x="225" y="27"/>
                      <a:pt x="225" y="27"/>
                    </a:cubicBezTo>
                    <a:cubicBezTo>
                      <a:pt x="231" y="32"/>
                      <a:pt x="237" y="36"/>
                      <a:pt x="242" y="42"/>
                    </a:cubicBezTo>
                    <a:lnTo>
                      <a:pt x="238" y="45"/>
                    </a:lnTo>
                    <a:close/>
                    <a:moveTo>
                      <a:pt x="61" y="32"/>
                    </a:moveTo>
                    <a:cubicBezTo>
                      <a:pt x="58" y="28"/>
                      <a:pt x="58" y="28"/>
                      <a:pt x="58" y="28"/>
                    </a:cubicBezTo>
                    <a:cubicBezTo>
                      <a:pt x="64" y="23"/>
                      <a:pt x="70" y="19"/>
                      <a:pt x="77" y="16"/>
                    </a:cubicBezTo>
                    <a:cubicBezTo>
                      <a:pt x="79" y="21"/>
                      <a:pt x="79" y="21"/>
                      <a:pt x="79" y="21"/>
                    </a:cubicBezTo>
                    <a:cubicBezTo>
                      <a:pt x="73" y="24"/>
                      <a:pt x="67" y="28"/>
                      <a:pt x="61" y="32"/>
                    </a:cubicBezTo>
                    <a:close/>
                    <a:moveTo>
                      <a:pt x="203" y="20"/>
                    </a:moveTo>
                    <a:cubicBezTo>
                      <a:pt x="197" y="17"/>
                      <a:pt x="190" y="14"/>
                      <a:pt x="184" y="12"/>
                    </a:cubicBezTo>
                    <a:cubicBezTo>
                      <a:pt x="185" y="7"/>
                      <a:pt x="185" y="7"/>
                      <a:pt x="185" y="7"/>
                    </a:cubicBezTo>
                    <a:cubicBezTo>
                      <a:pt x="192" y="9"/>
                      <a:pt x="199" y="12"/>
                      <a:pt x="206" y="16"/>
                    </a:cubicBezTo>
                    <a:lnTo>
                      <a:pt x="203" y="20"/>
                    </a:lnTo>
                    <a:close/>
                    <a:moveTo>
                      <a:pt x="99" y="13"/>
                    </a:moveTo>
                    <a:cubicBezTo>
                      <a:pt x="98" y="7"/>
                      <a:pt x="98" y="7"/>
                      <a:pt x="98" y="7"/>
                    </a:cubicBezTo>
                    <a:cubicBezTo>
                      <a:pt x="105" y="5"/>
                      <a:pt x="112" y="3"/>
                      <a:pt x="119" y="2"/>
                    </a:cubicBezTo>
                    <a:cubicBezTo>
                      <a:pt x="120" y="7"/>
                      <a:pt x="120" y="7"/>
                      <a:pt x="120" y="7"/>
                    </a:cubicBezTo>
                    <a:cubicBezTo>
                      <a:pt x="113" y="9"/>
                      <a:pt x="106" y="10"/>
                      <a:pt x="99" y="13"/>
                    </a:cubicBezTo>
                    <a:close/>
                    <a:moveTo>
                      <a:pt x="163" y="7"/>
                    </a:moveTo>
                    <a:cubicBezTo>
                      <a:pt x="156" y="6"/>
                      <a:pt x="149" y="6"/>
                      <a:pt x="142" y="6"/>
                    </a:cubicBezTo>
                    <a:cubicBezTo>
                      <a:pt x="141" y="6"/>
                      <a:pt x="141" y="6"/>
                      <a:pt x="141" y="6"/>
                    </a:cubicBezTo>
                    <a:cubicBezTo>
                      <a:pt x="141" y="0"/>
                      <a:pt x="141" y="0"/>
                      <a:pt x="141" y="0"/>
                    </a:cubicBezTo>
                    <a:cubicBezTo>
                      <a:pt x="142" y="0"/>
                      <a:pt x="142" y="0"/>
                      <a:pt x="142" y="0"/>
                    </a:cubicBezTo>
                    <a:cubicBezTo>
                      <a:pt x="149" y="0"/>
                      <a:pt x="156" y="1"/>
                      <a:pt x="164" y="2"/>
                    </a:cubicBezTo>
                    <a:lnTo>
                      <a:pt x="163" y="7"/>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140" name="Oval 139"/>
              <p:cNvSpPr>
                <a:spLocks noChangeArrowheads="1"/>
              </p:cNvSpPr>
              <p:nvPr/>
            </p:nvSpPr>
            <p:spPr bwMode="auto">
              <a:xfrm>
                <a:off x="7722256" y="3273725"/>
                <a:ext cx="406835" cy="404184"/>
              </a:xfrm>
              <a:prstGeom prst="ellipse">
                <a:avLst/>
              </a:pr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141" name="Oval 140"/>
              <p:cNvSpPr>
                <a:spLocks noChangeArrowheads="1"/>
              </p:cNvSpPr>
              <p:nvPr/>
            </p:nvSpPr>
            <p:spPr bwMode="auto">
              <a:xfrm>
                <a:off x="7720932" y="3273725"/>
                <a:ext cx="404184" cy="404184"/>
              </a:xfrm>
              <a:prstGeom prst="ellipse">
                <a:avLst/>
              </a:pr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142" name="Freeform 141"/>
              <p:cNvSpPr>
                <a:spLocks noEditPoints="1"/>
              </p:cNvSpPr>
              <p:nvPr/>
            </p:nvSpPr>
            <p:spPr bwMode="auto">
              <a:xfrm>
                <a:off x="7824297" y="3390342"/>
                <a:ext cx="202755" cy="172275"/>
              </a:xfrm>
              <a:custGeom>
                <a:avLst/>
                <a:gdLst>
                  <a:gd name="T0" fmla="*/ 104 w 109"/>
                  <a:gd name="T1" fmla="*/ 87 h 93"/>
                  <a:gd name="T2" fmla="*/ 0 w 109"/>
                  <a:gd name="T3" fmla="*/ 16 h 93"/>
                  <a:gd name="T4" fmla="*/ 0 w 109"/>
                  <a:gd name="T5" fmla="*/ 93 h 93"/>
                  <a:gd name="T6" fmla="*/ 109 w 109"/>
                  <a:gd name="T7" fmla="*/ 0 h 93"/>
                  <a:gd name="T8" fmla="*/ 0 w 109"/>
                  <a:gd name="T9" fmla="*/ 0 h 93"/>
                  <a:gd name="T10" fmla="*/ 64 w 109"/>
                  <a:gd name="T11" fmla="*/ 52 h 93"/>
                  <a:gd name="T12" fmla="*/ 60 w 109"/>
                  <a:gd name="T13" fmla="*/ 47 h 93"/>
                  <a:gd name="T14" fmla="*/ 57 w 109"/>
                  <a:gd name="T15" fmla="*/ 44 h 93"/>
                  <a:gd name="T16" fmla="*/ 51 w 109"/>
                  <a:gd name="T17" fmla="*/ 41 h 93"/>
                  <a:gd name="T18" fmla="*/ 46 w 109"/>
                  <a:gd name="T19" fmla="*/ 41 h 93"/>
                  <a:gd name="T20" fmla="*/ 40 w 109"/>
                  <a:gd name="T21" fmla="*/ 44 h 93"/>
                  <a:gd name="T22" fmla="*/ 37 w 109"/>
                  <a:gd name="T23" fmla="*/ 47 h 93"/>
                  <a:gd name="T24" fmla="*/ 34 w 109"/>
                  <a:gd name="T25" fmla="*/ 52 h 93"/>
                  <a:gd name="T26" fmla="*/ 33 w 109"/>
                  <a:gd name="T27" fmla="*/ 57 h 93"/>
                  <a:gd name="T28" fmla="*/ 34 w 109"/>
                  <a:gd name="T29" fmla="*/ 63 h 93"/>
                  <a:gd name="T30" fmla="*/ 36 w 109"/>
                  <a:gd name="T31" fmla="*/ 67 h 93"/>
                  <a:gd name="T32" fmla="*/ 41 w 109"/>
                  <a:gd name="T33" fmla="*/ 71 h 93"/>
                  <a:gd name="T34" fmla="*/ 45 w 109"/>
                  <a:gd name="T35" fmla="*/ 73 h 93"/>
                  <a:gd name="T36" fmla="*/ 49 w 109"/>
                  <a:gd name="T37" fmla="*/ 69 h 93"/>
                  <a:gd name="T38" fmla="*/ 56 w 109"/>
                  <a:gd name="T39" fmla="*/ 72 h 93"/>
                  <a:gd name="T40" fmla="*/ 57 w 109"/>
                  <a:gd name="T41" fmla="*/ 66 h 93"/>
                  <a:gd name="T42" fmla="*/ 64 w 109"/>
                  <a:gd name="T43" fmla="*/ 64 h 93"/>
                  <a:gd name="T44" fmla="*/ 60 w 109"/>
                  <a:gd name="T45" fmla="*/ 59 h 93"/>
                  <a:gd name="T46" fmla="*/ 55 w 109"/>
                  <a:gd name="T47" fmla="*/ 57 h 93"/>
                  <a:gd name="T48" fmla="*/ 44 w 109"/>
                  <a:gd name="T49" fmla="*/ 62 h 93"/>
                  <a:gd name="T50" fmla="*/ 49 w 109"/>
                  <a:gd name="T51" fmla="*/ 51 h 93"/>
                  <a:gd name="T52" fmla="*/ 46 w 109"/>
                  <a:gd name="T53" fmla="*/ 57 h 93"/>
                  <a:gd name="T54" fmla="*/ 49 w 109"/>
                  <a:gd name="T55" fmla="*/ 60 h 93"/>
                  <a:gd name="T56" fmla="*/ 75 w 109"/>
                  <a:gd name="T57" fmla="*/ 46 h 93"/>
                  <a:gd name="T58" fmla="*/ 77 w 109"/>
                  <a:gd name="T59" fmla="*/ 42 h 93"/>
                  <a:gd name="T60" fmla="*/ 75 w 109"/>
                  <a:gd name="T61" fmla="*/ 40 h 93"/>
                  <a:gd name="T62" fmla="*/ 71 w 109"/>
                  <a:gd name="T63" fmla="*/ 40 h 93"/>
                  <a:gd name="T64" fmla="*/ 68 w 109"/>
                  <a:gd name="T65" fmla="*/ 37 h 93"/>
                  <a:gd name="T66" fmla="*/ 64 w 109"/>
                  <a:gd name="T67" fmla="*/ 41 h 93"/>
                  <a:gd name="T68" fmla="*/ 61 w 109"/>
                  <a:gd name="T69" fmla="*/ 40 h 93"/>
                  <a:gd name="T70" fmla="*/ 60 w 109"/>
                  <a:gd name="T71" fmla="*/ 43 h 93"/>
                  <a:gd name="T72" fmla="*/ 63 w 109"/>
                  <a:gd name="T73" fmla="*/ 47 h 93"/>
                  <a:gd name="T74" fmla="*/ 60 w 109"/>
                  <a:gd name="T75" fmla="*/ 49 h 93"/>
                  <a:gd name="T76" fmla="*/ 62 w 109"/>
                  <a:gd name="T77" fmla="*/ 51 h 93"/>
                  <a:gd name="T78" fmla="*/ 67 w 109"/>
                  <a:gd name="T79" fmla="*/ 54 h 93"/>
                  <a:gd name="T80" fmla="*/ 70 w 109"/>
                  <a:gd name="T81" fmla="*/ 54 h 93"/>
                  <a:gd name="T82" fmla="*/ 75 w 109"/>
                  <a:gd name="T83" fmla="*/ 51 h 93"/>
                  <a:gd name="T84" fmla="*/ 77 w 109"/>
                  <a:gd name="T85" fmla="*/ 49 h 93"/>
                  <a:gd name="T86" fmla="*/ 75 w 109"/>
                  <a:gd name="T87" fmla="*/ 47 h 93"/>
                  <a:gd name="T88" fmla="*/ 69 w 109"/>
                  <a:gd name="T89" fmla="*/ 48 h 93"/>
                  <a:gd name="T90" fmla="*/ 71 w 109"/>
                  <a:gd name="T91" fmla="*/ 46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09" h="93">
                    <a:moveTo>
                      <a:pt x="5" y="22"/>
                    </a:moveTo>
                    <a:cubicBezTo>
                      <a:pt x="5" y="87"/>
                      <a:pt x="5" y="87"/>
                      <a:pt x="5" y="87"/>
                    </a:cubicBezTo>
                    <a:cubicBezTo>
                      <a:pt x="104" y="87"/>
                      <a:pt x="104" y="87"/>
                      <a:pt x="104" y="87"/>
                    </a:cubicBezTo>
                    <a:cubicBezTo>
                      <a:pt x="104" y="22"/>
                      <a:pt x="104" y="22"/>
                      <a:pt x="104" y="22"/>
                    </a:cubicBezTo>
                    <a:cubicBezTo>
                      <a:pt x="5" y="22"/>
                      <a:pt x="5" y="22"/>
                      <a:pt x="5" y="22"/>
                    </a:cubicBezTo>
                    <a:close/>
                    <a:moveTo>
                      <a:pt x="0" y="16"/>
                    </a:moveTo>
                    <a:cubicBezTo>
                      <a:pt x="109" y="16"/>
                      <a:pt x="109" y="16"/>
                      <a:pt x="109" y="16"/>
                    </a:cubicBezTo>
                    <a:cubicBezTo>
                      <a:pt x="109" y="93"/>
                      <a:pt x="109" y="93"/>
                      <a:pt x="109" y="93"/>
                    </a:cubicBezTo>
                    <a:cubicBezTo>
                      <a:pt x="0" y="93"/>
                      <a:pt x="0" y="93"/>
                      <a:pt x="0" y="93"/>
                    </a:cubicBezTo>
                    <a:cubicBezTo>
                      <a:pt x="0" y="16"/>
                      <a:pt x="0" y="16"/>
                      <a:pt x="0" y="16"/>
                    </a:cubicBezTo>
                    <a:close/>
                    <a:moveTo>
                      <a:pt x="0" y="0"/>
                    </a:moveTo>
                    <a:cubicBezTo>
                      <a:pt x="109" y="0"/>
                      <a:pt x="109" y="0"/>
                      <a:pt x="109" y="0"/>
                    </a:cubicBezTo>
                    <a:cubicBezTo>
                      <a:pt x="109" y="11"/>
                      <a:pt x="109" y="11"/>
                      <a:pt x="109" y="11"/>
                    </a:cubicBezTo>
                    <a:cubicBezTo>
                      <a:pt x="0" y="11"/>
                      <a:pt x="0" y="11"/>
                      <a:pt x="0" y="11"/>
                    </a:cubicBezTo>
                    <a:cubicBezTo>
                      <a:pt x="0" y="0"/>
                      <a:pt x="0" y="0"/>
                      <a:pt x="0" y="0"/>
                    </a:cubicBezTo>
                    <a:close/>
                    <a:moveTo>
                      <a:pt x="65" y="56"/>
                    </a:moveTo>
                    <a:cubicBezTo>
                      <a:pt x="64" y="53"/>
                      <a:pt x="64" y="53"/>
                      <a:pt x="64" y="53"/>
                    </a:cubicBezTo>
                    <a:cubicBezTo>
                      <a:pt x="64" y="53"/>
                      <a:pt x="64" y="52"/>
                      <a:pt x="64" y="52"/>
                    </a:cubicBezTo>
                    <a:cubicBezTo>
                      <a:pt x="59" y="52"/>
                      <a:pt x="59" y="52"/>
                      <a:pt x="59" y="52"/>
                    </a:cubicBezTo>
                    <a:cubicBezTo>
                      <a:pt x="59" y="52"/>
                      <a:pt x="59" y="51"/>
                      <a:pt x="58" y="51"/>
                    </a:cubicBezTo>
                    <a:cubicBezTo>
                      <a:pt x="60" y="47"/>
                      <a:pt x="60" y="47"/>
                      <a:pt x="60" y="47"/>
                    </a:cubicBezTo>
                    <a:cubicBezTo>
                      <a:pt x="61" y="46"/>
                      <a:pt x="60" y="46"/>
                      <a:pt x="60" y="46"/>
                    </a:cubicBezTo>
                    <a:cubicBezTo>
                      <a:pt x="58" y="44"/>
                      <a:pt x="58" y="44"/>
                      <a:pt x="58" y="44"/>
                    </a:cubicBezTo>
                    <a:cubicBezTo>
                      <a:pt x="58" y="44"/>
                      <a:pt x="57" y="44"/>
                      <a:pt x="57" y="44"/>
                    </a:cubicBezTo>
                    <a:cubicBezTo>
                      <a:pt x="53" y="47"/>
                      <a:pt x="53" y="47"/>
                      <a:pt x="53" y="47"/>
                    </a:cubicBezTo>
                    <a:cubicBezTo>
                      <a:pt x="53" y="46"/>
                      <a:pt x="53" y="46"/>
                      <a:pt x="52" y="46"/>
                    </a:cubicBezTo>
                    <a:cubicBezTo>
                      <a:pt x="51" y="41"/>
                      <a:pt x="51" y="41"/>
                      <a:pt x="51" y="41"/>
                    </a:cubicBezTo>
                    <a:cubicBezTo>
                      <a:pt x="51" y="40"/>
                      <a:pt x="50" y="40"/>
                      <a:pt x="50" y="40"/>
                    </a:cubicBezTo>
                    <a:cubicBezTo>
                      <a:pt x="47" y="40"/>
                      <a:pt x="47" y="40"/>
                      <a:pt x="47" y="40"/>
                    </a:cubicBezTo>
                    <a:cubicBezTo>
                      <a:pt x="47" y="40"/>
                      <a:pt x="46" y="40"/>
                      <a:pt x="46" y="41"/>
                    </a:cubicBezTo>
                    <a:cubicBezTo>
                      <a:pt x="45" y="46"/>
                      <a:pt x="45" y="46"/>
                      <a:pt x="45" y="46"/>
                    </a:cubicBezTo>
                    <a:cubicBezTo>
                      <a:pt x="45" y="46"/>
                      <a:pt x="44" y="46"/>
                      <a:pt x="44" y="47"/>
                    </a:cubicBezTo>
                    <a:cubicBezTo>
                      <a:pt x="40" y="44"/>
                      <a:pt x="40" y="44"/>
                      <a:pt x="40" y="44"/>
                    </a:cubicBezTo>
                    <a:cubicBezTo>
                      <a:pt x="40" y="44"/>
                      <a:pt x="39" y="44"/>
                      <a:pt x="39" y="44"/>
                    </a:cubicBezTo>
                    <a:cubicBezTo>
                      <a:pt x="37" y="46"/>
                      <a:pt x="37" y="46"/>
                      <a:pt x="37" y="46"/>
                    </a:cubicBezTo>
                    <a:cubicBezTo>
                      <a:pt x="37" y="46"/>
                      <a:pt x="37" y="46"/>
                      <a:pt x="37" y="47"/>
                    </a:cubicBezTo>
                    <a:cubicBezTo>
                      <a:pt x="39" y="51"/>
                      <a:pt x="39" y="51"/>
                      <a:pt x="39" y="51"/>
                    </a:cubicBezTo>
                    <a:cubicBezTo>
                      <a:pt x="39" y="51"/>
                      <a:pt x="38" y="52"/>
                      <a:pt x="38" y="52"/>
                    </a:cubicBezTo>
                    <a:cubicBezTo>
                      <a:pt x="34" y="52"/>
                      <a:pt x="34" y="52"/>
                      <a:pt x="34" y="52"/>
                    </a:cubicBezTo>
                    <a:cubicBezTo>
                      <a:pt x="33" y="52"/>
                      <a:pt x="33" y="53"/>
                      <a:pt x="33" y="53"/>
                    </a:cubicBezTo>
                    <a:cubicBezTo>
                      <a:pt x="32" y="56"/>
                      <a:pt x="32" y="56"/>
                      <a:pt x="32" y="56"/>
                    </a:cubicBezTo>
                    <a:cubicBezTo>
                      <a:pt x="32" y="56"/>
                      <a:pt x="32" y="57"/>
                      <a:pt x="33" y="57"/>
                    </a:cubicBezTo>
                    <a:cubicBezTo>
                      <a:pt x="37" y="59"/>
                      <a:pt x="37" y="59"/>
                      <a:pt x="37" y="59"/>
                    </a:cubicBezTo>
                    <a:cubicBezTo>
                      <a:pt x="37" y="59"/>
                      <a:pt x="37" y="59"/>
                      <a:pt x="37" y="60"/>
                    </a:cubicBezTo>
                    <a:cubicBezTo>
                      <a:pt x="34" y="63"/>
                      <a:pt x="34" y="63"/>
                      <a:pt x="34" y="63"/>
                    </a:cubicBezTo>
                    <a:cubicBezTo>
                      <a:pt x="34" y="63"/>
                      <a:pt x="33" y="64"/>
                      <a:pt x="34" y="64"/>
                    </a:cubicBezTo>
                    <a:cubicBezTo>
                      <a:pt x="35" y="67"/>
                      <a:pt x="35" y="67"/>
                      <a:pt x="35" y="67"/>
                    </a:cubicBezTo>
                    <a:cubicBezTo>
                      <a:pt x="35" y="67"/>
                      <a:pt x="36" y="67"/>
                      <a:pt x="36" y="67"/>
                    </a:cubicBezTo>
                    <a:cubicBezTo>
                      <a:pt x="41" y="66"/>
                      <a:pt x="41" y="66"/>
                      <a:pt x="41" y="66"/>
                    </a:cubicBezTo>
                    <a:cubicBezTo>
                      <a:pt x="41" y="66"/>
                      <a:pt x="41" y="66"/>
                      <a:pt x="42" y="67"/>
                    </a:cubicBezTo>
                    <a:cubicBezTo>
                      <a:pt x="41" y="71"/>
                      <a:pt x="41" y="71"/>
                      <a:pt x="41" y="71"/>
                    </a:cubicBezTo>
                    <a:cubicBezTo>
                      <a:pt x="41" y="72"/>
                      <a:pt x="41" y="72"/>
                      <a:pt x="42" y="72"/>
                    </a:cubicBezTo>
                    <a:cubicBezTo>
                      <a:pt x="44" y="73"/>
                      <a:pt x="44" y="73"/>
                      <a:pt x="44" y="73"/>
                    </a:cubicBezTo>
                    <a:cubicBezTo>
                      <a:pt x="45" y="73"/>
                      <a:pt x="45" y="73"/>
                      <a:pt x="45" y="73"/>
                    </a:cubicBezTo>
                    <a:cubicBezTo>
                      <a:pt x="48" y="69"/>
                      <a:pt x="48" y="69"/>
                      <a:pt x="48" y="69"/>
                    </a:cubicBezTo>
                    <a:cubicBezTo>
                      <a:pt x="48" y="69"/>
                      <a:pt x="48" y="69"/>
                      <a:pt x="49" y="69"/>
                    </a:cubicBezTo>
                    <a:cubicBezTo>
                      <a:pt x="49" y="69"/>
                      <a:pt x="49" y="69"/>
                      <a:pt x="49" y="69"/>
                    </a:cubicBezTo>
                    <a:cubicBezTo>
                      <a:pt x="52" y="73"/>
                      <a:pt x="52" y="73"/>
                      <a:pt x="52" y="73"/>
                    </a:cubicBezTo>
                    <a:cubicBezTo>
                      <a:pt x="52" y="73"/>
                      <a:pt x="52" y="73"/>
                      <a:pt x="53" y="73"/>
                    </a:cubicBezTo>
                    <a:cubicBezTo>
                      <a:pt x="56" y="72"/>
                      <a:pt x="56" y="72"/>
                      <a:pt x="56" y="72"/>
                    </a:cubicBezTo>
                    <a:cubicBezTo>
                      <a:pt x="56" y="72"/>
                      <a:pt x="56" y="72"/>
                      <a:pt x="56" y="71"/>
                    </a:cubicBezTo>
                    <a:cubicBezTo>
                      <a:pt x="56" y="67"/>
                      <a:pt x="56" y="67"/>
                      <a:pt x="56" y="67"/>
                    </a:cubicBezTo>
                    <a:cubicBezTo>
                      <a:pt x="56" y="66"/>
                      <a:pt x="56" y="66"/>
                      <a:pt x="57" y="66"/>
                    </a:cubicBezTo>
                    <a:cubicBezTo>
                      <a:pt x="61" y="67"/>
                      <a:pt x="61" y="67"/>
                      <a:pt x="61" y="67"/>
                    </a:cubicBezTo>
                    <a:cubicBezTo>
                      <a:pt x="61" y="67"/>
                      <a:pt x="62" y="67"/>
                      <a:pt x="62" y="67"/>
                    </a:cubicBezTo>
                    <a:cubicBezTo>
                      <a:pt x="64" y="64"/>
                      <a:pt x="64" y="64"/>
                      <a:pt x="64" y="64"/>
                    </a:cubicBezTo>
                    <a:cubicBezTo>
                      <a:pt x="64" y="64"/>
                      <a:pt x="64" y="63"/>
                      <a:pt x="63" y="63"/>
                    </a:cubicBezTo>
                    <a:cubicBezTo>
                      <a:pt x="60" y="60"/>
                      <a:pt x="60" y="60"/>
                      <a:pt x="60" y="60"/>
                    </a:cubicBezTo>
                    <a:cubicBezTo>
                      <a:pt x="60" y="59"/>
                      <a:pt x="60" y="59"/>
                      <a:pt x="60" y="59"/>
                    </a:cubicBezTo>
                    <a:cubicBezTo>
                      <a:pt x="64" y="57"/>
                      <a:pt x="64" y="57"/>
                      <a:pt x="64" y="57"/>
                    </a:cubicBezTo>
                    <a:cubicBezTo>
                      <a:pt x="65" y="57"/>
                      <a:pt x="65" y="56"/>
                      <a:pt x="65" y="56"/>
                    </a:cubicBezTo>
                    <a:close/>
                    <a:moveTo>
                      <a:pt x="55" y="57"/>
                    </a:moveTo>
                    <a:cubicBezTo>
                      <a:pt x="55" y="59"/>
                      <a:pt x="54" y="61"/>
                      <a:pt x="53" y="62"/>
                    </a:cubicBezTo>
                    <a:cubicBezTo>
                      <a:pt x="52" y="63"/>
                      <a:pt x="50" y="64"/>
                      <a:pt x="49" y="64"/>
                    </a:cubicBezTo>
                    <a:cubicBezTo>
                      <a:pt x="47" y="64"/>
                      <a:pt x="45" y="63"/>
                      <a:pt x="44" y="62"/>
                    </a:cubicBezTo>
                    <a:cubicBezTo>
                      <a:pt x="43" y="61"/>
                      <a:pt x="42" y="59"/>
                      <a:pt x="42" y="57"/>
                    </a:cubicBezTo>
                    <a:cubicBezTo>
                      <a:pt x="42" y="55"/>
                      <a:pt x="43" y="54"/>
                      <a:pt x="44" y="53"/>
                    </a:cubicBezTo>
                    <a:cubicBezTo>
                      <a:pt x="45" y="51"/>
                      <a:pt x="47" y="51"/>
                      <a:pt x="49" y="51"/>
                    </a:cubicBezTo>
                    <a:cubicBezTo>
                      <a:pt x="50" y="51"/>
                      <a:pt x="52" y="51"/>
                      <a:pt x="53" y="53"/>
                    </a:cubicBezTo>
                    <a:cubicBezTo>
                      <a:pt x="54" y="54"/>
                      <a:pt x="55" y="55"/>
                      <a:pt x="55" y="57"/>
                    </a:cubicBezTo>
                    <a:close/>
                    <a:moveTo>
                      <a:pt x="46" y="57"/>
                    </a:moveTo>
                    <a:cubicBezTo>
                      <a:pt x="46" y="56"/>
                      <a:pt x="47" y="54"/>
                      <a:pt x="49" y="54"/>
                    </a:cubicBezTo>
                    <a:cubicBezTo>
                      <a:pt x="50" y="54"/>
                      <a:pt x="52" y="56"/>
                      <a:pt x="52" y="57"/>
                    </a:cubicBezTo>
                    <a:cubicBezTo>
                      <a:pt x="52" y="59"/>
                      <a:pt x="50" y="60"/>
                      <a:pt x="49" y="60"/>
                    </a:cubicBezTo>
                    <a:cubicBezTo>
                      <a:pt x="47" y="60"/>
                      <a:pt x="46" y="59"/>
                      <a:pt x="46" y="57"/>
                    </a:cubicBezTo>
                    <a:close/>
                    <a:moveTo>
                      <a:pt x="75" y="47"/>
                    </a:moveTo>
                    <a:cubicBezTo>
                      <a:pt x="75" y="47"/>
                      <a:pt x="75" y="46"/>
                      <a:pt x="75" y="46"/>
                    </a:cubicBezTo>
                    <a:cubicBezTo>
                      <a:pt x="75" y="45"/>
                      <a:pt x="75" y="45"/>
                      <a:pt x="75" y="44"/>
                    </a:cubicBezTo>
                    <a:cubicBezTo>
                      <a:pt x="77" y="43"/>
                      <a:pt x="77" y="43"/>
                      <a:pt x="77" y="43"/>
                    </a:cubicBezTo>
                    <a:cubicBezTo>
                      <a:pt x="77" y="43"/>
                      <a:pt x="77" y="42"/>
                      <a:pt x="77" y="42"/>
                    </a:cubicBezTo>
                    <a:cubicBezTo>
                      <a:pt x="77" y="42"/>
                      <a:pt x="77" y="42"/>
                      <a:pt x="77" y="42"/>
                    </a:cubicBezTo>
                    <a:cubicBezTo>
                      <a:pt x="76" y="40"/>
                      <a:pt x="76" y="40"/>
                      <a:pt x="76" y="40"/>
                    </a:cubicBezTo>
                    <a:cubicBezTo>
                      <a:pt x="76" y="40"/>
                      <a:pt x="76" y="40"/>
                      <a:pt x="75" y="40"/>
                    </a:cubicBezTo>
                    <a:cubicBezTo>
                      <a:pt x="75" y="40"/>
                      <a:pt x="75" y="40"/>
                      <a:pt x="75" y="40"/>
                    </a:cubicBezTo>
                    <a:cubicBezTo>
                      <a:pt x="73" y="41"/>
                      <a:pt x="73" y="41"/>
                      <a:pt x="73" y="41"/>
                    </a:cubicBezTo>
                    <a:cubicBezTo>
                      <a:pt x="72" y="40"/>
                      <a:pt x="71" y="40"/>
                      <a:pt x="71" y="40"/>
                    </a:cubicBezTo>
                    <a:cubicBezTo>
                      <a:pt x="70" y="37"/>
                      <a:pt x="70" y="37"/>
                      <a:pt x="70" y="37"/>
                    </a:cubicBezTo>
                    <a:cubicBezTo>
                      <a:pt x="70" y="37"/>
                      <a:pt x="70" y="37"/>
                      <a:pt x="69" y="37"/>
                    </a:cubicBezTo>
                    <a:cubicBezTo>
                      <a:pt x="68" y="37"/>
                      <a:pt x="68" y="37"/>
                      <a:pt x="68" y="37"/>
                    </a:cubicBezTo>
                    <a:cubicBezTo>
                      <a:pt x="67" y="37"/>
                      <a:pt x="67" y="37"/>
                      <a:pt x="67" y="37"/>
                    </a:cubicBezTo>
                    <a:cubicBezTo>
                      <a:pt x="67" y="40"/>
                      <a:pt x="67" y="40"/>
                      <a:pt x="67" y="40"/>
                    </a:cubicBezTo>
                    <a:cubicBezTo>
                      <a:pt x="66" y="40"/>
                      <a:pt x="65" y="40"/>
                      <a:pt x="64" y="41"/>
                    </a:cubicBezTo>
                    <a:cubicBezTo>
                      <a:pt x="62" y="40"/>
                      <a:pt x="62" y="40"/>
                      <a:pt x="62" y="40"/>
                    </a:cubicBezTo>
                    <a:cubicBezTo>
                      <a:pt x="62" y="40"/>
                      <a:pt x="62" y="40"/>
                      <a:pt x="62" y="40"/>
                    </a:cubicBezTo>
                    <a:cubicBezTo>
                      <a:pt x="62" y="40"/>
                      <a:pt x="61" y="40"/>
                      <a:pt x="61" y="40"/>
                    </a:cubicBezTo>
                    <a:cubicBezTo>
                      <a:pt x="60" y="42"/>
                      <a:pt x="60" y="42"/>
                      <a:pt x="60" y="42"/>
                    </a:cubicBezTo>
                    <a:cubicBezTo>
                      <a:pt x="60" y="42"/>
                      <a:pt x="60" y="42"/>
                      <a:pt x="60" y="42"/>
                    </a:cubicBezTo>
                    <a:cubicBezTo>
                      <a:pt x="60" y="42"/>
                      <a:pt x="60" y="43"/>
                      <a:pt x="60" y="43"/>
                    </a:cubicBezTo>
                    <a:cubicBezTo>
                      <a:pt x="63" y="44"/>
                      <a:pt x="63" y="44"/>
                      <a:pt x="63" y="44"/>
                    </a:cubicBezTo>
                    <a:cubicBezTo>
                      <a:pt x="62" y="45"/>
                      <a:pt x="62" y="45"/>
                      <a:pt x="62" y="46"/>
                    </a:cubicBezTo>
                    <a:cubicBezTo>
                      <a:pt x="62" y="46"/>
                      <a:pt x="62" y="46"/>
                      <a:pt x="63" y="47"/>
                    </a:cubicBezTo>
                    <a:cubicBezTo>
                      <a:pt x="60" y="48"/>
                      <a:pt x="60" y="48"/>
                      <a:pt x="60" y="48"/>
                    </a:cubicBezTo>
                    <a:cubicBezTo>
                      <a:pt x="60" y="49"/>
                      <a:pt x="60" y="49"/>
                      <a:pt x="60" y="49"/>
                    </a:cubicBezTo>
                    <a:cubicBezTo>
                      <a:pt x="60" y="49"/>
                      <a:pt x="60" y="49"/>
                      <a:pt x="60" y="49"/>
                    </a:cubicBezTo>
                    <a:cubicBezTo>
                      <a:pt x="61" y="51"/>
                      <a:pt x="61" y="51"/>
                      <a:pt x="61" y="51"/>
                    </a:cubicBezTo>
                    <a:cubicBezTo>
                      <a:pt x="61" y="51"/>
                      <a:pt x="62" y="51"/>
                      <a:pt x="62" y="51"/>
                    </a:cubicBezTo>
                    <a:cubicBezTo>
                      <a:pt x="62" y="51"/>
                      <a:pt x="62" y="51"/>
                      <a:pt x="62" y="51"/>
                    </a:cubicBezTo>
                    <a:cubicBezTo>
                      <a:pt x="64" y="50"/>
                      <a:pt x="64" y="50"/>
                      <a:pt x="64" y="50"/>
                    </a:cubicBezTo>
                    <a:cubicBezTo>
                      <a:pt x="65" y="51"/>
                      <a:pt x="66" y="51"/>
                      <a:pt x="67" y="51"/>
                    </a:cubicBezTo>
                    <a:cubicBezTo>
                      <a:pt x="67" y="54"/>
                      <a:pt x="67" y="54"/>
                      <a:pt x="67" y="54"/>
                    </a:cubicBezTo>
                    <a:cubicBezTo>
                      <a:pt x="67" y="54"/>
                      <a:pt x="67" y="55"/>
                      <a:pt x="68" y="55"/>
                    </a:cubicBezTo>
                    <a:cubicBezTo>
                      <a:pt x="69" y="55"/>
                      <a:pt x="69" y="55"/>
                      <a:pt x="69" y="55"/>
                    </a:cubicBezTo>
                    <a:cubicBezTo>
                      <a:pt x="70" y="55"/>
                      <a:pt x="70" y="54"/>
                      <a:pt x="70" y="54"/>
                    </a:cubicBezTo>
                    <a:cubicBezTo>
                      <a:pt x="71" y="52"/>
                      <a:pt x="71" y="52"/>
                      <a:pt x="71" y="52"/>
                    </a:cubicBezTo>
                    <a:cubicBezTo>
                      <a:pt x="71" y="51"/>
                      <a:pt x="72" y="51"/>
                      <a:pt x="73" y="50"/>
                    </a:cubicBezTo>
                    <a:cubicBezTo>
                      <a:pt x="75" y="51"/>
                      <a:pt x="75" y="51"/>
                      <a:pt x="75" y="51"/>
                    </a:cubicBezTo>
                    <a:cubicBezTo>
                      <a:pt x="75" y="51"/>
                      <a:pt x="75" y="51"/>
                      <a:pt x="75" y="51"/>
                    </a:cubicBezTo>
                    <a:cubicBezTo>
                      <a:pt x="76" y="51"/>
                      <a:pt x="76" y="51"/>
                      <a:pt x="76" y="51"/>
                    </a:cubicBezTo>
                    <a:cubicBezTo>
                      <a:pt x="77" y="49"/>
                      <a:pt x="77" y="49"/>
                      <a:pt x="77" y="49"/>
                    </a:cubicBezTo>
                    <a:cubicBezTo>
                      <a:pt x="77" y="49"/>
                      <a:pt x="77" y="49"/>
                      <a:pt x="77" y="49"/>
                    </a:cubicBezTo>
                    <a:cubicBezTo>
                      <a:pt x="77" y="49"/>
                      <a:pt x="77" y="49"/>
                      <a:pt x="77" y="48"/>
                    </a:cubicBezTo>
                    <a:cubicBezTo>
                      <a:pt x="75" y="47"/>
                      <a:pt x="75" y="47"/>
                      <a:pt x="75" y="47"/>
                    </a:cubicBezTo>
                    <a:cubicBezTo>
                      <a:pt x="75" y="47"/>
                      <a:pt x="75" y="47"/>
                      <a:pt x="75" y="47"/>
                    </a:cubicBezTo>
                    <a:close/>
                    <a:moveTo>
                      <a:pt x="71" y="46"/>
                    </a:moveTo>
                    <a:cubicBezTo>
                      <a:pt x="71" y="47"/>
                      <a:pt x="70" y="48"/>
                      <a:pt x="69" y="48"/>
                    </a:cubicBezTo>
                    <a:cubicBezTo>
                      <a:pt x="67" y="48"/>
                      <a:pt x="66" y="47"/>
                      <a:pt x="66" y="46"/>
                    </a:cubicBezTo>
                    <a:cubicBezTo>
                      <a:pt x="66" y="44"/>
                      <a:pt x="67" y="43"/>
                      <a:pt x="69" y="43"/>
                    </a:cubicBezTo>
                    <a:cubicBezTo>
                      <a:pt x="70" y="43"/>
                      <a:pt x="71" y="44"/>
                      <a:pt x="71" y="46"/>
                    </a:cubicBez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505050"/>
                  </a:solidFill>
                  <a:effectLst/>
                  <a:uLnTx/>
                  <a:uFillTx/>
                  <a:latin typeface="Segoe UI"/>
                  <a:ea typeface="+mn-ea"/>
                  <a:cs typeface="+mn-cs"/>
                </a:endParaRPr>
              </a:p>
            </p:txBody>
          </p:sp>
        </p:grpSp>
        <p:sp>
          <p:nvSpPr>
            <p:cNvPr id="134" name="Freeform 133"/>
            <p:cNvSpPr>
              <a:spLocks/>
            </p:cNvSpPr>
            <p:nvPr/>
          </p:nvSpPr>
          <p:spPr bwMode="auto">
            <a:xfrm flipH="1">
              <a:off x="1049401" y="1991332"/>
              <a:ext cx="641394" cy="422870"/>
            </a:xfrm>
            <a:custGeom>
              <a:avLst/>
              <a:gdLst>
                <a:gd name="T0" fmla="*/ 462 w 550"/>
                <a:gd name="T1" fmla="*/ 159 h 362"/>
                <a:gd name="T2" fmla="*/ 462 w 550"/>
                <a:gd name="T3" fmla="*/ 152 h 362"/>
                <a:gd name="T4" fmla="*/ 311 w 550"/>
                <a:gd name="T5" fmla="*/ 0 h 362"/>
                <a:gd name="T6" fmla="*/ 184 w 550"/>
                <a:gd name="T7" fmla="*/ 68 h 362"/>
                <a:gd name="T8" fmla="*/ 143 w 550"/>
                <a:gd name="T9" fmla="*/ 57 h 362"/>
                <a:gd name="T10" fmla="*/ 94 w 550"/>
                <a:gd name="T11" fmla="*/ 72 h 362"/>
                <a:gd name="T12" fmla="*/ 55 w 550"/>
                <a:gd name="T13" fmla="*/ 143 h 362"/>
                <a:gd name="T14" fmla="*/ 0 w 550"/>
                <a:gd name="T15" fmla="*/ 243 h 362"/>
                <a:gd name="T16" fmla="*/ 106 w 550"/>
                <a:gd name="T17" fmla="*/ 362 h 362"/>
                <a:gd name="T18" fmla="*/ 119 w 550"/>
                <a:gd name="T19" fmla="*/ 362 h 362"/>
                <a:gd name="T20" fmla="*/ 131 w 550"/>
                <a:gd name="T21" fmla="*/ 362 h 362"/>
                <a:gd name="T22" fmla="*/ 379 w 550"/>
                <a:gd name="T23" fmla="*/ 362 h 362"/>
                <a:gd name="T24" fmla="*/ 384 w 550"/>
                <a:gd name="T25" fmla="*/ 362 h 362"/>
                <a:gd name="T26" fmla="*/ 390 w 550"/>
                <a:gd name="T27" fmla="*/ 362 h 362"/>
                <a:gd name="T28" fmla="*/ 409 w 550"/>
                <a:gd name="T29" fmla="*/ 362 h 362"/>
                <a:gd name="T30" fmla="*/ 448 w 550"/>
                <a:gd name="T31" fmla="*/ 362 h 362"/>
                <a:gd name="T32" fmla="*/ 550 w 550"/>
                <a:gd name="T33" fmla="*/ 260 h 362"/>
                <a:gd name="T34" fmla="*/ 462 w 550"/>
                <a:gd name="T35" fmla="*/ 159 h 3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50" h="362">
                  <a:moveTo>
                    <a:pt x="462" y="159"/>
                  </a:moveTo>
                  <a:cubicBezTo>
                    <a:pt x="462" y="157"/>
                    <a:pt x="462" y="154"/>
                    <a:pt x="462" y="152"/>
                  </a:cubicBezTo>
                  <a:cubicBezTo>
                    <a:pt x="462" y="68"/>
                    <a:pt x="395" y="0"/>
                    <a:pt x="311" y="0"/>
                  </a:cubicBezTo>
                  <a:cubicBezTo>
                    <a:pt x="258" y="0"/>
                    <a:pt x="211" y="28"/>
                    <a:pt x="184" y="68"/>
                  </a:cubicBezTo>
                  <a:cubicBezTo>
                    <a:pt x="172" y="61"/>
                    <a:pt x="158" y="57"/>
                    <a:pt x="143" y="57"/>
                  </a:cubicBezTo>
                  <a:cubicBezTo>
                    <a:pt x="124" y="57"/>
                    <a:pt x="108" y="62"/>
                    <a:pt x="94" y="72"/>
                  </a:cubicBezTo>
                  <a:cubicBezTo>
                    <a:pt x="70" y="87"/>
                    <a:pt x="55" y="113"/>
                    <a:pt x="55" y="143"/>
                  </a:cubicBezTo>
                  <a:cubicBezTo>
                    <a:pt x="22" y="164"/>
                    <a:pt x="0" y="201"/>
                    <a:pt x="0" y="243"/>
                  </a:cubicBezTo>
                  <a:cubicBezTo>
                    <a:pt x="0" y="305"/>
                    <a:pt x="46" y="355"/>
                    <a:pt x="106" y="362"/>
                  </a:cubicBezTo>
                  <a:cubicBezTo>
                    <a:pt x="110" y="362"/>
                    <a:pt x="115" y="362"/>
                    <a:pt x="119" y="362"/>
                  </a:cubicBezTo>
                  <a:cubicBezTo>
                    <a:pt x="123" y="362"/>
                    <a:pt x="127" y="362"/>
                    <a:pt x="131" y="362"/>
                  </a:cubicBezTo>
                  <a:cubicBezTo>
                    <a:pt x="187" y="362"/>
                    <a:pt x="318" y="362"/>
                    <a:pt x="379" y="362"/>
                  </a:cubicBezTo>
                  <a:cubicBezTo>
                    <a:pt x="381" y="362"/>
                    <a:pt x="383" y="362"/>
                    <a:pt x="384" y="362"/>
                  </a:cubicBezTo>
                  <a:cubicBezTo>
                    <a:pt x="390" y="362"/>
                    <a:pt x="390" y="362"/>
                    <a:pt x="390" y="362"/>
                  </a:cubicBezTo>
                  <a:cubicBezTo>
                    <a:pt x="394" y="362"/>
                    <a:pt x="403" y="362"/>
                    <a:pt x="409" y="362"/>
                  </a:cubicBezTo>
                  <a:cubicBezTo>
                    <a:pt x="448" y="362"/>
                    <a:pt x="448" y="362"/>
                    <a:pt x="448" y="362"/>
                  </a:cubicBezTo>
                  <a:cubicBezTo>
                    <a:pt x="505" y="361"/>
                    <a:pt x="550" y="316"/>
                    <a:pt x="550" y="260"/>
                  </a:cubicBezTo>
                  <a:cubicBezTo>
                    <a:pt x="550" y="209"/>
                    <a:pt x="512" y="166"/>
                    <a:pt x="462" y="15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54" name="Freeform 53"/>
            <p:cNvSpPr/>
            <p:nvPr/>
          </p:nvSpPr>
          <p:spPr>
            <a:xfrm flipH="1">
              <a:off x="3482082" y="3831646"/>
              <a:ext cx="421402" cy="432260"/>
            </a:xfrm>
            <a:custGeom>
              <a:avLst/>
              <a:gdLst>
                <a:gd name="connsiteX0" fmla="*/ 260828 w 900424"/>
                <a:gd name="connsiteY0" fmla="*/ 764648 h 923624"/>
                <a:gd name="connsiteX1" fmla="*/ 260828 w 900424"/>
                <a:gd name="connsiteY1" fmla="*/ 794160 h 923624"/>
                <a:gd name="connsiteX2" fmla="*/ 752690 w 900424"/>
                <a:gd name="connsiteY2" fmla="*/ 794160 h 923624"/>
                <a:gd name="connsiteX3" fmla="*/ 752690 w 900424"/>
                <a:gd name="connsiteY3" fmla="*/ 764648 h 923624"/>
                <a:gd name="connsiteX4" fmla="*/ 523025 w 900424"/>
                <a:gd name="connsiteY4" fmla="*/ 689333 h 923624"/>
                <a:gd name="connsiteX5" fmla="*/ 529392 w 900424"/>
                <a:gd name="connsiteY5" fmla="*/ 718845 h 923624"/>
                <a:gd name="connsiteX6" fmla="*/ 752690 w 900424"/>
                <a:gd name="connsiteY6" fmla="*/ 718845 h 923624"/>
                <a:gd name="connsiteX7" fmla="*/ 752690 w 900424"/>
                <a:gd name="connsiteY7" fmla="*/ 689333 h 923624"/>
                <a:gd name="connsiteX8" fmla="*/ 260828 w 900424"/>
                <a:gd name="connsiteY8" fmla="*/ 689333 h 923624"/>
                <a:gd name="connsiteX9" fmla="*/ 260828 w 900424"/>
                <a:gd name="connsiteY9" fmla="*/ 718845 h 923624"/>
                <a:gd name="connsiteX10" fmla="*/ 520342 w 900424"/>
                <a:gd name="connsiteY10" fmla="*/ 718845 h 923624"/>
                <a:gd name="connsiteX11" fmla="*/ 427300 w 900424"/>
                <a:gd name="connsiteY11" fmla="*/ 689333 h 923624"/>
                <a:gd name="connsiteX12" fmla="*/ 506777 w 900424"/>
                <a:gd name="connsiteY12" fmla="*/ 614015 h 923624"/>
                <a:gd name="connsiteX13" fmla="*/ 513144 w 900424"/>
                <a:gd name="connsiteY13" fmla="*/ 643527 h 923624"/>
                <a:gd name="connsiteX14" fmla="*/ 752690 w 900424"/>
                <a:gd name="connsiteY14" fmla="*/ 643527 h 923624"/>
                <a:gd name="connsiteX15" fmla="*/ 752690 w 900424"/>
                <a:gd name="connsiteY15" fmla="*/ 614015 h 923624"/>
                <a:gd name="connsiteX16" fmla="*/ 260828 w 900424"/>
                <a:gd name="connsiteY16" fmla="*/ 614015 h 923624"/>
                <a:gd name="connsiteX17" fmla="*/ 260828 w 900424"/>
                <a:gd name="connsiteY17" fmla="*/ 643527 h 923624"/>
                <a:gd name="connsiteX18" fmla="*/ 334546 w 900424"/>
                <a:gd name="connsiteY18" fmla="*/ 643527 h 923624"/>
                <a:gd name="connsiteX19" fmla="*/ 307478 w 900424"/>
                <a:gd name="connsiteY19" fmla="*/ 614015 h 923624"/>
                <a:gd name="connsiteX20" fmla="*/ 467940 w 900424"/>
                <a:gd name="connsiteY20" fmla="*/ 571407 h 923624"/>
                <a:gd name="connsiteX21" fmla="*/ 385032 w 900424"/>
                <a:gd name="connsiteY21" fmla="*/ 646669 h 923624"/>
                <a:gd name="connsiteX22" fmla="*/ 506739 w 900424"/>
                <a:gd name="connsiteY22" fmla="*/ 697133 h 923624"/>
                <a:gd name="connsiteX23" fmla="*/ 260828 w 900424"/>
                <a:gd name="connsiteY23" fmla="*/ 563154 h 923624"/>
                <a:gd name="connsiteX24" fmla="*/ 260828 w 900424"/>
                <a:gd name="connsiteY24" fmla="*/ 568210 h 923624"/>
                <a:gd name="connsiteX25" fmla="*/ 265465 w 900424"/>
                <a:gd name="connsiteY25" fmla="*/ 568210 h 923624"/>
                <a:gd name="connsiteX26" fmla="*/ 477023 w 900424"/>
                <a:gd name="connsiteY26" fmla="*/ 538699 h 923624"/>
                <a:gd name="connsiteX27" fmla="*/ 477810 w 900424"/>
                <a:gd name="connsiteY27" fmla="*/ 539556 h 923624"/>
                <a:gd name="connsiteX28" fmla="*/ 481962 w 900424"/>
                <a:gd name="connsiteY28" fmla="*/ 568210 h 923624"/>
                <a:gd name="connsiteX29" fmla="*/ 752690 w 900424"/>
                <a:gd name="connsiteY29" fmla="*/ 568210 h 923624"/>
                <a:gd name="connsiteX30" fmla="*/ 752690 w 900424"/>
                <a:gd name="connsiteY30" fmla="*/ 538699 h 923624"/>
                <a:gd name="connsiteX31" fmla="*/ 407941 w 900424"/>
                <a:gd name="connsiteY31" fmla="*/ 463381 h 923624"/>
                <a:gd name="connsiteX32" fmla="*/ 435010 w 900424"/>
                <a:gd name="connsiteY32" fmla="*/ 492893 h 923624"/>
                <a:gd name="connsiteX33" fmla="*/ 752690 w 900424"/>
                <a:gd name="connsiteY33" fmla="*/ 492893 h 923624"/>
                <a:gd name="connsiteX34" fmla="*/ 752690 w 900424"/>
                <a:gd name="connsiteY34" fmla="*/ 463381 h 923624"/>
                <a:gd name="connsiteX35" fmla="*/ 338860 w 900424"/>
                <a:gd name="connsiteY35" fmla="*/ 388063 h 923624"/>
                <a:gd name="connsiteX36" fmla="*/ 365929 w 900424"/>
                <a:gd name="connsiteY36" fmla="*/ 417575 h 923624"/>
                <a:gd name="connsiteX37" fmla="*/ 752690 w 900424"/>
                <a:gd name="connsiteY37" fmla="*/ 417575 h 923624"/>
                <a:gd name="connsiteX38" fmla="*/ 752690 w 900424"/>
                <a:gd name="connsiteY38" fmla="*/ 388063 h 923624"/>
                <a:gd name="connsiteX39" fmla="*/ 208773 w 900424"/>
                <a:gd name="connsiteY39" fmla="*/ 287934 h 923624"/>
                <a:gd name="connsiteX40" fmla="*/ 191984 w 900424"/>
                <a:gd name="connsiteY40" fmla="*/ 292572 h 923624"/>
                <a:gd name="connsiteX41" fmla="*/ 127335 w 900424"/>
                <a:gd name="connsiteY41" fmla="*/ 351868 h 923624"/>
                <a:gd name="connsiteX42" fmla="*/ 129474 w 900424"/>
                <a:gd name="connsiteY42" fmla="*/ 386647 h 923624"/>
                <a:gd name="connsiteX43" fmla="*/ 350534 w 900424"/>
                <a:gd name="connsiteY43" fmla="*/ 627663 h 923624"/>
                <a:gd name="connsiteX44" fmla="*/ 384998 w 900424"/>
                <a:gd name="connsiteY44" fmla="*/ 632793 h 923624"/>
                <a:gd name="connsiteX45" fmla="*/ 449647 w 900424"/>
                <a:gd name="connsiteY45" fmla="*/ 573497 h 923624"/>
                <a:gd name="connsiteX46" fmla="*/ 447509 w 900424"/>
                <a:gd name="connsiteY46" fmla="*/ 538719 h 923624"/>
                <a:gd name="connsiteX47" fmla="*/ 226448 w 900424"/>
                <a:gd name="connsiteY47" fmla="*/ 297702 h 923624"/>
                <a:gd name="connsiteX48" fmla="*/ 208773 w 900424"/>
                <a:gd name="connsiteY48" fmla="*/ 287934 h 923624"/>
                <a:gd name="connsiteX49" fmla="*/ 260828 w 900424"/>
                <a:gd name="connsiteY49" fmla="*/ 270220 h 923624"/>
                <a:gd name="connsiteX50" fmla="*/ 260828 w 900424"/>
                <a:gd name="connsiteY50" fmla="*/ 302986 h 923624"/>
                <a:gd name="connsiteX51" fmla="*/ 266867 w 900424"/>
                <a:gd name="connsiteY51" fmla="*/ 309569 h 923624"/>
                <a:gd name="connsiteX52" fmla="*/ 555945 w 900424"/>
                <a:gd name="connsiteY52" fmla="*/ 309569 h 923624"/>
                <a:gd name="connsiteX53" fmla="*/ 555945 w 900424"/>
                <a:gd name="connsiteY53" fmla="*/ 270220 h 923624"/>
                <a:gd name="connsiteX54" fmla="*/ 593007 w 900424"/>
                <a:gd name="connsiteY54" fmla="*/ 119089 h 923624"/>
                <a:gd name="connsiteX55" fmla="*/ 593004 w 900424"/>
                <a:gd name="connsiteY55" fmla="*/ 272798 h 923624"/>
                <a:gd name="connsiteX56" fmla="*/ 636152 w 900424"/>
                <a:gd name="connsiteY56" fmla="*/ 321336 h 923624"/>
                <a:gd name="connsiteX57" fmla="*/ 797949 w 900424"/>
                <a:gd name="connsiteY57" fmla="*/ 324032 h 923624"/>
                <a:gd name="connsiteX58" fmla="*/ 655342 w 900424"/>
                <a:gd name="connsiteY58" fmla="*/ 99448 h 923624"/>
                <a:gd name="connsiteX59" fmla="*/ 721150 w 900424"/>
                <a:gd name="connsiteY59" fmla="*/ 99448 h 923624"/>
                <a:gd name="connsiteX60" fmla="*/ 900424 w 900424"/>
                <a:gd name="connsiteY60" fmla="*/ 281060 h 923624"/>
                <a:gd name="connsiteX61" fmla="*/ 900424 w 900424"/>
                <a:gd name="connsiteY61" fmla="*/ 853516 h 923624"/>
                <a:gd name="connsiteX62" fmla="*/ 852052 w 900424"/>
                <a:gd name="connsiteY62" fmla="*/ 905556 h 923624"/>
                <a:gd name="connsiteX63" fmla="*/ 828360 w 900424"/>
                <a:gd name="connsiteY63" fmla="*/ 905556 h 923624"/>
                <a:gd name="connsiteX64" fmla="*/ 849187 w 900424"/>
                <a:gd name="connsiteY64" fmla="*/ 863467 h 923624"/>
                <a:gd name="connsiteX65" fmla="*/ 849187 w 900424"/>
                <a:gd name="connsiteY65" fmla="*/ 293293 h 923624"/>
                <a:gd name="connsiteX66" fmla="*/ 284672 w 900424"/>
                <a:gd name="connsiteY66" fmla="*/ 26544 h 923624"/>
                <a:gd name="connsiteX67" fmla="*/ 306902 w 900424"/>
                <a:gd name="connsiteY67" fmla="*/ 26544 h 923624"/>
                <a:gd name="connsiteX68" fmla="*/ 312459 w 900424"/>
                <a:gd name="connsiteY68" fmla="*/ 32101 h 923624"/>
                <a:gd name="connsiteX69" fmla="*/ 312459 w 900424"/>
                <a:gd name="connsiteY69" fmla="*/ 71134 h 923624"/>
                <a:gd name="connsiteX70" fmla="*/ 341829 w 900424"/>
                <a:gd name="connsiteY70" fmla="*/ 71134 h 923624"/>
                <a:gd name="connsiteX71" fmla="*/ 341829 w 900424"/>
                <a:gd name="connsiteY71" fmla="*/ 32101 h 923624"/>
                <a:gd name="connsiteX72" fmla="*/ 347386 w 900424"/>
                <a:gd name="connsiteY72" fmla="*/ 26544 h 923624"/>
                <a:gd name="connsiteX73" fmla="*/ 369616 w 900424"/>
                <a:gd name="connsiteY73" fmla="*/ 26544 h 923624"/>
                <a:gd name="connsiteX74" fmla="*/ 375173 w 900424"/>
                <a:gd name="connsiteY74" fmla="*/ 32101 h 923624"/>
                <a:gd name="connsiteX75" fmla="*/ 375173 w 900424"/>
                <a:gd name="connsiteY75" fmla="*/ 71134 h 923624"/>
                <a:gd name="connsiteX76" fmla="*/ 404543 w 900424"/>
                <a:gd name="connsiteY76" fmla="*/ 71134 h 923624"/>
                <a:gd name="connsiteX77" fmla="*/ 404543 w 900424"/>
                <a:gd name="connsiteY77" fmla="*/ 32101 h 923624"/>
                <a:gd name="connsiteX78" fmla="*/ 410100 w 900424"/>
                <a:gd name="connsiteY78" fmla="*/ 26544 h 923624"/>
                <a:gd name="connsiteX79" fmla="*/ 432330 w 900424"/>
                <a:gd name="connsiteY79" fmla="*/ 26544 h 923624"/>
                <a:gd name="connsiteX80" fmla="*/ 437887 w 900424"/>
                <a:gd name="connsiteY80" fmla="*/ 32101 h 923624"/>
                <a:gd name="connsiteX81" fmla="*/ 437887 w 900424"/>
                <a:gd name="connsiteY81" fmla="*/ 71134 h 923624"/>
                <a:gd name="connsiteX82" fmla="*/ 467255 w 900424"/>
                <a:gd name="connsiteY82" fmla="*/ 71134 h 923624"/>
                <a:gd name="connsiteX83" fmla="*/ 467255 w 900424"/>
                <a:gd name="connsiteY83" fmla="*/ 32101 h 923624"/>
                <a:gd name="connsiteX84" fmla="*/ 472813 w 900424"/>
                <a:gd name="connsiteY84" fmla="*/ 26544 h 923624"/>
                <a:gd name="connsiteX85" fmla="*/ 495042 w 900424"/>
                <a:gd name="connsiteY85" fmla="*/ 26544 h 923624"/>
                <a:gd name="connsiteX86" fmla="*/ 500600 w 900424"/>
                <a:gd name="connsiteY86" fmla="*/ 32101 h 923624"/>
                <a:gd name="connsiteX87" fmla="*/ 500600 w 900424"/>
                <a:gd name="connsiteY87" fmla="*/ 71134 h 923624"/>
                <a:gd name="connsiteX88" fmla="*/ 606532 w 900424"/>
                <a:gd name="connsiteY88" fmla="*/ 71134 h 923624"/>
                <a:gd name="connsiteX89" fmla="*/ 833814 w 900424"/>
                <a:gd name="connsiteY89" fmla="*/ 298416 h 923624"/>
                <a:gd name="connsiteX90" fmla="*/ 833814 w 900424"/>
                <a:gd name="connsiteY90" fmla="*/ 868590 h 923624"/>
                <a:gd name="connsiteX91" fmla="*/ 778780 w 900424"/>
                <a:gd name="connsiteY91" fmla="*/ 923624 h 923624"/>
                <a:gd name="connsiteX92" fmla="*/ 239864 w 900424"/>
                <a:gd name="connsiteY92" fmla="*/ 923624 h 923624"/>
                <a:gd name="connsiteX93" fmla="*/ 184830 w 900424"/>
                <a:gd name="connsiteY93" fmla="*/ 868590 h 923624"/>
                <a:gd name="connsiteX94" fmla="*/ 184830 w 900424"/>
                <a:gd name="connsiteY94" fmla="*/ 480294 h 923624"/>
                <a:gd name="connsiteX95" fmla="*/ 108913 w 900424"/>
                <a:gd name="connsiteY95" fmla="*/ 397523 h 923624"/>
                <a:gd name="connsiteX96" fmla="*/ 110701 w 900424"/>
                <a:gd name="connsiteY96" fmla="*/ 356111 h 923624"/>
                <a:gd name="connsiteX97" fmla="*/ 184830 w 900424"/>
                <a:gd name="connsiteY97" fmla="*/ 288121 h 923624"/>
                <a:gd name="connsiteX98" fmla="*/ 184830 w 900424"/>
                <a:gd name="connsiteY98" fmla="*/ 255779 h 923624"/>
                <a:gd name="connsiteX99" fmla="*/ 182259 w 900424"/>
                <a:gd name="connsiteY99" fmla="*/ 258139 h 923624"/>
                <a:gd name="connsiteX100" fmla="*/ 181841 w 900424"/>
                <a:gd name="connsiteY100" fmla="*/ 251347 h 923624"/>
                <a:gd name="connsiteX101" fmla="*/ 140694 w 900424"/>
                <a:gd name="connsiteY101" fmla="*/ 206486 h 923624"/>
                <a:gd name="connsiteX102" fmla="*/ 121321 w 900424"/>
                <a:gd name="connsiteY102" fmla="*/ 203601 h 923624"/>
                <a:gd name="connsiteX103" fmla="*/ 42515 w 900424"/>
                <a:gd name="connsiteY103" fmla="*/ 275879 h 923624"/>
                <a:gd name="connsiteX104" fmla="*/ 43718 w 900424"/>
                <a:gd name="connsiteY104" fmla="*/ 295429 h 923624"/>
                <a:gd name="connsiteX105" fmla="*/ 84866 w 900424"/>
                <a:gd name="connsiteY105" fmla="*/ 340291 h 923624"/>
                <a:gd name="connsiteX106" fmla="*/ 91596 w 900424"/>
                <a:gd name="connsiteY106" fmla="*/ 341293 h 923624"/>
                <a:gd name="connsiteX107" fmla="*/ 83614 w 900424"/>
                <a:gd name="connsiteY107" fmla="*/ 348614 h 923624"/>
                <a:gd name="connsiteX108" fmla="*/ 60335 w 900424"/>
                <a:gd name="connsiteY108" fmla="*/ 347609 h 923624"/>
                <a:gd name="connsiteX109" fmla="*/ 15793 w 900424"/>
                <a:gd name="connsiteY109" fmla="*/ 299045 h 923624"/>
                <a:gd name="connsiteX110" fmla="*/ 16799 w 900424"/>
                <a:gd name="connsiteY110" fmla="*/ 275766 h 923624"/>
                <a:gd name="connsiteX111" fmla="*/ 122114 w 900424"/>
                <a:gd name="connsiteY111" fmla="*/ 179172 h 923624"/>
                <a:gd name="connsiteX112" fmla="*/ 145393 w 900424"/>
                <a:gd name="connsiteY112" fmla="*/ 180177 h 923624"/>
                <a:gd name="connsiteX113" fmla="*/ 184830 w 900424"/>
                <a:gd name="connsiteY113" fmla="*/ 223174 h 923624"/>
                <a:gd name="connsiteX114" fmla="*/ 184830 w 900424"/>
                <a:gd name="connsiteY114" fmla="*/ 126169 h 923624"/>
                <a:gd name="connsiteX115" fmla="*/ 239864 w 900424"/>
                <a:gd name="connsiteY115" fmla="*/ 71134 h 923624"/>
                <a:gd name="connsiteX116" fmla="*/ 279115 w 900424"/>
                <a:gd name="connsiteY116" fmla="*/ 71134 h 923624"/>
                <a:gd name="connsiteX117" fmla="*/ 279115 w 900424"/>
                <a:gd name="connsiteY117" fmla="*/ 32101 h 923624"/>
                <a:gd name="connsiteX118" fmla="*/ 284672 w 900424"/>
                <a:gd name="connsiteY118" fmla="*/ 26544 h 923624"/>
                <a:gd name="connsiteX119" fmla="*/ 185348 w 900424"/>
                <a:gd name="connsiteY119" fmla="*/ 0 h 923624"/>
                <a:gd name="connsiteX120" fmla="*/ 185239 w 900424"/>
                <a:gd name="connsiteY120" fmla="*/ 90 h 923624"/>
                <a:gd name="connsiteX121" fmla="*/ 177024 w 900424"/>
                <a:gd name="connsiteY121" fmla="*/ 4549 h 923624"/>
                <a:gd name="connsiteX122" fmla="*/ 69385 w 900424"/>
                <a:gd name="connsiteY122" fmla="*/ 97763 h 923624"/>
                <a:gd name="connsiteX123" fmla="*/ 0 w 900424"/>
                <a:gd name="connsiteY123" fmla="*/ 195399 h 923624"/>
                <a:gd name="connsiteX124" fmla="*/ 0 w 900424"/>
                <a:gd name="connsiteY124" fmla="*/ 195353 h 923624"/>
                <a:gd name="connsiteX125" fmla="*/ 69366 w 900424"/>
                <a:gd name="connsiteY125" fmla="*/ 97745 h 923624"/>
                <a:gd name="connsiteX126" fmla="*/ 177009 w 900424"/>
                <a:gd name="connsiteY126" fmla="*/ 4526 h 9236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Lst>
              <a:rect l="l" t="t" r="r" b="b"/>
              <a:pathLst>
                <a:path w="900424" h="923624">
                  <a:moveTo>
                    <a:pt x="260828" y="764648"/>
                  </a:moveTo>
                  <a:lnTo>
                    <a:pt x="260828" y="794160"/>
                  </a:lnTo>
                  <a:lnTo>
                    <a:pt x="752690" y="794160"/>
                  </a:lnTo>
                  <a:lnTo>
                    <a:pt x="752690" y="764648"/>
                  </a:lnTo>
                  <a:close/>
                  <a:moveTo>
                    <a:pt x="523025" y="689333"/>
                  </a:moveTo>
                  <a:lnTo>
                    <a:pt x="529392" y="718845"/>
                  </a:lnTo>
                  <a:lnTo>
                    <a:pt x="752690" y="718845"/>
                  </a:lnTo>
                  <a:lnTo>
                    <a:pt x="752690" y="689333"/>
                  </a:lnTo>
                  <a:close/>
                  <a:moveTo>
                    <a:pt x="260828" y="689333"/>
                  </a:moveTo>
                  <a:lnTo>
                    <a:pt x="260828" y="718845"/>
                  </a:lnTo>
                  <a:lnTo>
                    <a:pt x="520342" y="718845"/>
                  </a:lnTo>
                  <a:lnTo>
                    <a:pt x="427300" y="689333"/>
                  </a:lnTo>
                  <a:close/>
                  <a:moveTo>
                    <a:pt x="506777" y="614015"/>
                  </a:moveTo>
                  <a:lnTo>
                    <a:pt x="513144" y="643527"/>
                  </a:lnTo>
                  <a:lnTo>
                    <a:pt x="752690" y="643527"/>
                  </a:lnTo>
                  <a:lnTo>
                    <a:pt x="752690" y="614015"/>
                  </a:lnTo>
                  <a:close/>
                  <a:moveTo>
                    <a:pt x="260828" y="614015"/>
                  </a:moveTo>
                  <a:lnTo>
                    <a:pt x="260828" y="643527"/>
                  </a:lnTo>
                  <a:lnTo>
                    <a:pt x="334546" y="643527"/>
                  </a:lnTo>
                  <a:lnTo>
                    <a:pt x="307478" y="614015"/>
                  </a:lnTo>
                  <a:close/>
                  <a:moveTo>
                    <a:pt x="467940" y="571407"/>
                  </a:moveTo>
                  <a:lnTo>
                    <a:pt x="385032" y="646669"/>
                  </a:lnTo>
                  <a:lnTo>
                    <a:pt x="506739" y="697133"/>
                  </a:lnTo>
                  <a:close/>
                  <a:moveTo>
                    <a:pt x="260828" y="563154"/>
                  </a:moveTo>
                  <a:lnTo>
                    <a:pt x="260828" y="568210"/>
                  </a:lnTo>
                  <a:lnTo>
                    <a:pt x="265465" y="568210"/>
                  </a:lnTo>
                  <a:close/>
                  <a:moveTo>
                    <a:pt x="477023" y="538699"/>
                  </a:moveTo>
                  <a:lnTo>
                    <a:pt x="477810" y="539556"/>
                  </a:lnTo>
                  <a:cubicBezTo>
                    <a:pt x="485324" y="547748"/>
                    <a:pt x="487299" y="559060"/>
                    <a:pt x="481962" y="568210"/>
                  </a:cubicBezTo>
                  <a:lnTo>
                    <a:pt x="752690" y="568210"/>
                  </a:lnTo>
                  <a:lnTo>
                    <a:pt x="752690" y="538699"/>
                  </a:lnTo>
                  <a:close/>
                  <a:moveTo>
                    <a:pt x="407941" y="463381"/>
                  </a:moveTo>
                  <a:lnTo>
                    <a:pt x="435010" y="492893"/>
                  </a:lnTo>
                  <a:lnTo>
                    <a:pt x="752690" y="492893"/>
                  </a:lnTo>
                  <a:lnTo>
                    <a:pt x="752690" y="463381"/>
                  </a:lnTo>
                  <a:close/>
                  <a:moveTo>
                    <a:pt x="338860" y="388063"/>
                  </a:moveTo>
                  <a:lnTo>
                    <a:pt x="365929" y="417575"/>
                  </a:lnTo>
                  <a:lnTo>
                    <a:pt x="752690" y="417575"/>
                  </a:lnTo>
                  <a:lnTo>
                    <a:pt x="752690" y="388063"/>
                  </a:lnTo>
                  <a:close/>
                  <a:moveTo>
                    <a:pt x="208773" y="287934"/>
                  </a:moveTo>
                  <a:cubicBezTo>
                    <a:pt x="202536" y="287006"/>
                    <a:pt x="196448" y="288478"/>
                    <a:pt x="191984" y="292572"/>
                  </a:cubicBezTo>
                  <a:lnTo>
                    <a:pt x="127335" y="351868"/>
                  </a:lnTo>
                  <a:cubicBezTo>
                    <a:pt x="118408" y="360056"/>
                    <a:pt x="119366" y="375627"/>
                    <a:pt x="129474" y="386647"/>
                  </a:cubicBezTo>
                  <a:lnTo>
                    <a:pt x="350534" y="627663"/>
                  </a:lnTo>
                  <a:cubicBezTo>
                    <a:pt x="360643" y="638684"/>
                    <a:pt x="376072" y="640981"/>
                    <a:pt x="384998" y="632793"/>
                  </a:cubicBezTo>
                  <a:lnTo>
                    <a:pt x="449647" y="573497"/>
                  </a:lnTo>
                  <a:cubicBezTo>
                    <a:pt x="458574" y="565310"/>
                    <a:pt x="457616" y="549739"/>
                    <a:pt x="447509" y="538719"/>
                  </a:cubicBezTo>
                  <a:lnTo>
                    <a:pt x="226448" y="297702"/>
                  </a:lnTo>
                  <a:cubicBezTo>
                    <a:pt x="221394" y="292192"/>
                    <a:pt x="215010" y="288864"/>
                    <a:pt x="208773" y="287934"/>
                  </a:cubicBezTo>
                  <a:close/>
                  <a:moveTo>
                    <a:pt x="260828" y="270220"/>
                  </a:moveTo>
                  <a:lnTo>
                    <a:pt x="260828" y="302986"/>
                  </a:lnTo>
                  <a:lnTo>
                    <a:pt x="266867" y="309569"/>
                  </a:lnTo>
                  <a:lnTo>
                    <a:pt x="555945" y="309569"/>
                  </a:lnTo>
                  <a:lnTo>
                    <a:pt x="555945" y="270220"/>
                  </a:lnTo>
                  <a:close/>
                  <a:moveTo>
                    <a:pt x="593007" y="119089"/>
                  </a:moveTo>
                  <a:cubicBezTo>
                    <a:pt x="593007" y="170326"/>
                    <a:pt x="593004" y="221561"/>
                    <a:pt x="593004" y="272798"/>
                  </a:cubicBezTo>
                  <a:cubicBezTo>
                    <a:pt x="592019" y="301786"/>
                    <a:pt x="619210" y="317966"/>
                    <a:pt x="636152" y="321336"/>
                  </a:cubicBezTo>
                  <a:lnTo>
                    <a:pt x="797949" y="324032"/>
                  </a:lnTo>
                  <a:close/>
                  <a:moveTo>
                    <a:pt x="655342" y="99448"/>
                  </a:moveTo>
                  <a:lnTo>
                    <a:pt x="721150" y="99448"/>
                  </a:lnTo>
                  <a:lnTo>
                    <a:pt x="900424" y="281060"/>
                  </a:lnTo>
                  <a:lnTo>
                    <a:pt x="900424" y="853516"/>
                  </a:lnTo>
                  <a:cubicBezTo>
                    <a:pt x="900424" y="882257"/>
                    <a:pt x="878768" y="905556"/>
                    <a:pt x="852052" y="905556"/>
                  </a:cubicBezTo>
                  <a:lnTo>
                    <a:pt x="828360" y="905556"/>
                  </a:lnTo>
                  <a:cubicBezTo>
                    <a:pt x="841265" y="896085"/>
                    <a:pt x="849187" y="880701"/>
                    <a:pt x="849187" y="863467"/>
                  </a:cubicBezTo>
                  <a:lnTo>
                    <a:pt x="849187" y="293293"/>
                  </a:lnTo>
                  <a:close/>
                  <a:moveTo>
                    <a:pt x="284672" y="26544"/>
                  </a:moveTo>
                  <a:lnTo>
                    <a:pt x="306902" y="26544"/>
                  </a:lnTo>
                  <a:cubicBezTo>
                    <a:pt x="309971" y="26544"/>
                    <a:pt x="312459" y="29032"/>
                    <a:pt x="312459" y="32101"/>
                  </a:cubicBezTo>
                  <a:lnTo>
                    <a:pt x="312459" y="71134"/>
                  </a:lnTo>
                  <a:lnTo>
                    <a:pt x="341829" y="71134"/>
                  </a:lnTo>
                  <a:lnTo>
                    <a:pt x="341829" y="32101"/>
                  </a:lnTo>
                  <a:lnTo>
                    <a:pt x="347386" y="26544"/>
                  </a:lnTo>
                  <a:lnTo>
                    <a:pt x="369616" y="26544"/>
                  </a:lnTo>
                  <a:cubicBezTo>
                    <a:pt x="372685" y="26544"/>
                    <a:pt x="375173" y="29032"/>
                    <a:pt x="375173" y="32101"/>
                  </a:cubicBezTo>
                  <a:lnTo>
                    <a:pt x="375173" y="71134"/>
                  </a:lnTo>
                  <a:lnTo>
                    <a:pt x="404543" y="71134"/>
                  </a:lnTo>
                  <a:lnTo>
                    <a:pt x="404543" y="32101"/>
                  </a:lnTo>
                  <a:lnTo>
                    <a:pt x="410100" y="26544"/>
                  </a:lnTo>
                  <a:lnTo>
                    <a:pt x="432330" y="26544"/>
                  </a:lnTo>
                  <a:cubicBezTo>
                    <a:pt x="435399" y="26544"/>
                    <a:pt x="437887" y="29032"/>
                    <a:pt x="437887" y="32101"/>
                  </a:cubicBezTo>
                  <a:lnTo>
                    <a:pt x="437887" y="71134"/>
                  </a:lnTo>
                  <a:lnTo>
                    <a:pt x="467255" y="71134"/>
                  </a:lnTo>
                  <a:lnTo>
                    <a:pt x="467255" y="32101"/>
                  </a:lnTo>
                  <a:lnTo>
                    <a:pt x="472813" y="26544"/>
                  </a:lnTo>
                  <a:lnTo>
                    <a:pt x="495042" y="26544"/>
                  </a:lnTo>
                  <a:cubicBezTo>
                    <a:pt x="498112" y="26544"/>
                    <a:pt x="500600" y="29032"/>
                    <a:pt x="500600" y="32101"/>
                  </a:cubicBezTo>
                  <a:lnTo>
                    <a:pt x="500600" y="71134"/>
                  </a:lnTo>
                  <a:lnTo>
                    <a:pt x="606532" y="71134"/>
                  </a:lnTo>
                  <a:lnTo>
                    <a:pt x="833814" y="298416"/>
                  </a:lnTo>
                  <a:lnTo>
                    <a:pt x="833814" y="868590"/>
                  </a:lnTo>
                  <a:cubicBezTo>
                    <a:pt x="833814" y="898985"/>
                    <a:pt x="809174" y="923624"/>
                    <a:pt x="778780" y="923624"/>
                  </a:cubicBezTo>
                  <a:lnTo>
                    <a:pt x="239864" y="923624"/>
                  </a:lnTo>
                  <a:cubicBezTo>
                    <a:pt x="209468" y="923624"/>
                    <a:pt x="184830" y="898985"/>
                    <a:pt x="184830" y="868590"/>
                  </a:cubicBezTo>
                  <a:lnTo>
                    <a:pt x="184830" y="480294"/>
                  </a:lnTo>
                  <a:lnTo>
                    <a:pt x="108913" y="397523"/>
                  </a:lnTo>
                  <a:cubicBezTo>
                    <a:pt x="97970" y="385594"/>
                    <a:pt x="98771" y="367054"/>
                    <a:pt x="110701" y="356111"/>
                  </a:cubicBezTo>
                  <a:lnTo>
                    <a:pt x="184830" y="288121"/>
                  </a:lnTo>
                  <a:lnTo>
                    <a:pt x="184830" y="255779"/>
                  </a:lnTo>
                  <a:lnTo>
                    <a:pt x="182259" y="258139"/>
                  </a:lnTo>
                  <a:lnTo>
                    <a:pt x="181841" y="251347"/>
                  </a:lnTo>
                  <a:lnTo>
                    <a:pt x="140694" y="206486"/>
                  </a:lnTo>
                  <a:cubicBezTo>
                    <a:pt x="135010" y="200289"/>
                    <a:pt x="126337" y="198998"/>
                    <a:pt x="121321" y="203601"/>
                  </a:cubicBezTo>
                  <a:lnTo>
                    <a:pt x="42515" y="275879"/>
                  </a:lnTo>
                  <a:cubicBezTo>
                    <a:pt x="37498" y="280481"/>
                    <a:pt x="38036" y="289234"/>
                    <a:pt x="43718" y="295429"/>
                  </a:cubicBezTo>
                  <a:lnTo>
                    <a:pt x="84866" y="340291"/>
                  </a:lnTo>
                  <a:cubicBezTo>
                    <a:pt x="86431" y="341998"/>
                    <a:pt x="88223" y="343333"/>
                    <a:pt x="91596" y="341293"/>
                  </a:cubicBezTo>
                  <a:lnTo>
                    <a:pt x="83614" y="348614"/>
                  </a:lnTo>
                  <a:cubicBezTo>
                    <a:pt x="76908" y="354765"/>
                    <a:pt x="66487" y="354315"/>
                    <a:pt x="60335" y="347609"/>
                  </a:cubicBezTo>
                  <a:lnTo>
                    <a:pt x="15793" y="299045"/>
                  </a:lnTo>
                  <a:cubicBezTo>
                    <a:pt x="9642" y="292339"/>
                    <a:pt x="10092" y="281917"/>
                    <a:pt x="16799" y="275766"/>
                  </a:cubicBezTo>
                  <a:lnTo>
                    <a:pt x="122114" y="179172"/>
                  </a:lnTo>
                  <a:cubicBezTo>
                    <a:pt x="128819" y="173020"/>
                    <a:pt x="139241" y="173471"/>
                    <a:pt x="145393" y="180177"/>
                  </a:cubicBezTo>
                  <a:lnTo>
                    <a:pt x="184830" y="223174"/>
                  </a:lnTo>
                  <a:lnTo>
                    <a:pt x="184830" y="126169"/>
                  </a:lnTo>
                  <a:cubicBezTo>
                    <a:pt x="184830" y="95774"/>
                    <a:pt x="209468" y="71134"/>
                    <a:pt x="239864" y="71134"/>
                  </a:cubicBezTo>
                  <a:lnTo>
                    <a:pt x="279115" y="71134"/>
                  </a:lnTo>
                  <a:lnTo>
                    <a:pt x="279115" y="32101"/>
                  </a:lnTo>
                  <a:cubicBezTo>
                    <a:pt x="279115" y="29032"/>
                    <a:pt x="281603" y="26544"/>
                    <a:pt x="284672" y="26544"/>
                  </a:cubicBezTo>
                  <a:close/>
                  <a:moveTo>
                    <a:pt x="185348" y="0"/>
                  </a:moveTo>
                  <a:lnTo>
                    <a:pt x="185239" y="90"/>
                  </a:lnTo>
                  <a:lnTo>
                    <a:pt x="177024" y="4549"/>
                  </a:lnTo>
                  <a:cubicBezTo>
                    <a:pt x="137501" y="31251"/>
                    <a:pt x="101362" y="62581"/>
                    <a:pt x="69385" y="97763"/>
                  </a:cubicBezTo>
                  <a:lnTo>
                    <a:pt x="0" y="195399"/>
                  </a:lnTo>
                  <a:lnTo>
                    <a:pt x="0" y="195353"/>
                  </a:lnTo>
                  <a:lnTo>
                    <a:pt x="69366" y="97745"/>
                  </a:lnTo>
                  <a:cubicBezTo>
                    <a:pt x="101344" y="62561"/>
                    <a:pt x="137484" y="31229"/>
                    <a:pt x="177009" y="4526"/>
                  </a:cubicBezTo>
                  <a:close/>
                </a:path>
              </a:pathLst>
            </a:custGeom>
            <a:solidFill>
              <a:srgbClr val="FFB900"/>
            </a:solidFill>
            <a:ln w="10795" cap="flat" cmpd="sng" algn="ctr">
              <a:noFill/>
              <a:prstDash val="solid"/>
            </a:ln>
            <a:effectLst/>
          </p:spPr>
          <p:txBody>
            <a:bodyPr wrap="square" rtlCol="0" anchor="ctr">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Segoe UI"/>
                <a:ea typeface="+mn-ea"/>
                <a:cs typeface="+mn-cs"/>
              </a:endParaRPr>
            </a:p>
          </p:txBody>
        </p:sp>
        <p:sp>
          <p:nvSpPr>
            <p:cNvPr id="55" name="Freeform 54"/>
            <p:cNvSpPr>
              <a:spLocks noEditPoints="1"/>
            </p:cNvSpPr>
            <p:nvPr/>
          </p:nvSpPr>
          <p:spPr bwMode="auto">
            <a:xfrm flipH="1">
              <a:off x="3782682" y="4354875"/>
              <a:ext cx="337748" cy="338784"/>
            </a:xfrm>
            <a:custGeom>
              <a:avLst/>
              <a:gdLst>
                <a:gd name="T0" fmla="*/ 238 w 265"/>
                <a:gd name="T1" fmla="*/ 106 h 265"/>
                <a:gd name="T2" fmla="*/ 253 w 265"/>
                <a:gd name="T3" fmla="*/ 77 h 265"/>
                <a:gd name="T4" fmla="*/ 219 w 265"/>
                <a:gd name="T5" fmla="*/ 67 h 265"/>
                <a:gd name="T6" fmla="*/ 221 w 265"/>
                <a:gd name="T7" fmla="*/ 34 h 265"/>
                <a:gd name="T8" fmla="*/ 188 w 265"/>
                <a:gd name="T9" fmla="*/ 39 h 265"/>
                <a:gd name="T10" fmla="*/ 177 w 265"/>
                <a:gd name="T11" fmla="*/ 8 h 265"/>
                <a:gd name="T12" fmla="*/ 147 w 265"/>
                <a:gd name="T13" fmla="*/ 25 h 265"/>
                <a:gd name="T14" fmla="*/ 126 w 265"/>
                <a:gd name="T15" fmla="*/ 0 h 265"/>
                <a:gd name="T16" fmla="*/ 105 w 265"/>
                <a:gd name="T17" fmla="*/ 27 h 265"/>
                <a:gd name="T18" fmla="*/ 76 w 265"/>
                <a:gd name="T19" fmla="*/ 13 h 265"/>
                <a:gd name="T20" fmla="*/ 66 w 265"/>
                <a:gd name="T21" fmla="*/ 46 h 265"/>
                <a:gd name="T22" fmla="*/ 34 w 265"/>
                <a:gd name="T23" fmla="*/ 44 h 265"/>
                <a:gd name="T24" fmla="*/ 38 w 265"/>
                <a:gd name="T25" fmla="*/ 77 h 265"/>
                <a:gd name="T26" fmla="*/ 8 w 265"/>
                <a:gd name="T27" fmla="*/ 88 h 265"/>
                <a:gd name="T28" fmla="*/ 24 w 265"/>
                <a:gd name="T29" fmla="*/ 118 h 265"/>
                <a:gd name="T30" fmla="*/ 0 w 265"/>
                <a:gd name="T31" fmla="*/ 140 h 265"/>
                <a:gd name="T32" fmla="*/ 27 w 265"/>
                <a:gd name="T33" fmla="*/ 160 h 265"/>
                <a:gd name="T34" fmla="*/ 12 w 265"/>
                <a:gd name="T35" fmla="*/ 189 h 265"/>
                <a:gd name="T36" fmla="*/ 46 w 265"/>
                <a:gd name="T37" fmla="*/ 199 h 265"/>
                <a:gd name="T38" fmla="*/ 43 w 265"/>
                <a:gd name="T39" fmla="*/ 231 h 265"/>
                <a:gd name="T40" fmla="*/ 77 w 265"/>
                <a:gd name="T41" fmla="*/ 227 h 265"/>
                <a:gd name="T42" fmla="*/ 87 w 265"/>
                <a:gd name="T43" fmla="*/ 258 h 265"/>
                <a:gd name="T44" fmla="*/ 118 w 265"/>
                <a:gd name="T45" fmla="*/ 241 h 265"/>
                <a:gd name="T46" fmla="*/ 139 w 265"/>
                <a:gd name="T47" fmla="*/ 265 h 265"/>
                <a:gd name="T48" fmla="*/ 160 w 265"/>
                <a:gd name="T49" fmla="*/ 239 h 265"/>
                <a:gd name="T50" fmla="*/ 189 w 265"/>
                <a:gd name="T51" fmla="*/ 253 h 265"/>
                <a:gd name="T52" fmla="*/ 198 w 265"/>
                <a:gd name="T53" fmla="*/ 220 h 265"/>
                <a:gd name="T54" fmla="*/ 231 w 265"/>
                <a:gd name="T55" fmla="*/ 222 h 265"/>
                <a:gd name="T56" fmla="*/ 226 w 265"/>
                <a:gd name="T57" fmla="*/ 188 h 265"/>
                <a:gd name="T58" fmla="*/ 257 w 265"/>
                <a:gd name="T59" fmla="*/ 178 h 265"/>
                <a:gd name="T60" fmla="*/ 241 w 265"/>
                <a:gd name="T61" fmla="*/ 148 h 265"/>
                <a:gd name="T62" fmla="*/ 265 w 265"/>
                <a:gd name="T63" fmla="*/ 126 h 265"/>
                <a:gd name="T64" fmla="*/ 204 w 265"/>
                <a:gd name="T65" fmla="*/ 158 h 265"/>
                <a:gd name="T66" fmla="*/ 204 w 265"/>
                <a:gd name="T67" fmla="*/ 108 h 265"/>
                <a:gd name="T68" fmla="*/ 214 w 265"/>
                <a:gd name="T69" fmla="*/ 154 h 265"/>
                <a:gd name="T70" fmla="*/ 163 w 265"/>
                <a:gd name="T71" fmla="*/ 109 h 265"/>
                <a:gd name="T72" fmla="*/ 175 w 265"/>
                <a:gd name="T73" fmla="*/ 60 h 265"/>
                <a:gd name="T74" fmla="*/ 111 w 265"/>
                <a:gd name="T75" fmla="*/ 50 h 265"/>
                <a:gd name="T76" fmla="*/ 158 w 265"/>
                <a:gd name="T77" fmla="*/ 60 h 265"/>
                <a:gd name="T78" fmla="*/ 107 w 265"/>
                <a:gd name="T79" fmla="*/ 60 h 265"/>
                <a:gd name="T80" fmla="*/ 132 w 265"/>
                <a:gd name="T81" fmla="*/ 154 h 265"/>
                <a:gd name="T82" fmla="*/ 153 w 265"/>
                <a:gd name="T83" fmla="*/ 133 h 265"/>
                <a:gd name="T84" fmla="*/ 108 w 265"/>
                <a:gd name="T85" fmla="*/ 101 h 265"/>
                <a:gd name="T86" fmla="*/ 59 w 265"/>
                <a:gd name="T87" fmla="*/ 89 h 265"/>
                <a:gd name="T88" fmla="*/ 50 w 265"/>
                <a:gd name="T89" fmla="*/ 153 h 265"/>
                <a:gd name="T90" fmla="*/ 60 w 265"/>
                <a:gd name="T91" fmla="*/ 107 h 265"/>
                <a:gd name="T92" fmla="*/ 60 w 265"/>
                <a:gd name="T93" fmla="*/ 157 h 265"/>
                <a:gd name="T94" fmla="*/ 63 w 265"/>
                <a:gd name="T95" fmla="*/ 165 h 265"/>
                <a:gd name="T96" fmla="*/ 98 w 265"/>
                <a:gd name="T97" fmla="*/ 201 h 265"/>
                <a:gd name="T98" fmla="*/ 58 w 265"/>
                <a:gd name="T99" fmla="*/ 175 h 265"/>
                <a:gd name="T100" fmla="*/ 110 w 265"/>
                <a:gd name="T101" fmla="*/ 214 h 265"/>
                <a:gd name="T102" fmla="*/ 136 w 265"/>
                <a:gd name="T103" fmla="*/ 171 h 265"/>
                <a:gd name="T104" fmla="*/ 174 w 265"/>
                <a:gd name="T105" fmla="*/ 206 h 265"/>
                <a:gd name="T106" fmla="*/ 162 w 265"/>
                <a:gd name="T107" fmla="*/ 157 h 265"/>
                <a:gd name="T108" fmla="*/ 192 w 265"/>
                <a:gd name="T109" fmla="*/ 193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65" h="265">
                  <a:moveTo>
                    <a:pt x="260" y="121"/>
                  </a:moveTo>
                  <a:cubicBezTo>
                    <a:pt x="241" y="118"/>
                    <a:pt x="241" y="118"/>
                    <a:pt x="241" y="118"/>
                  </a:cubicBezTo>
                  <a:cubicBezTo>
                    <a:pt x="240" y="114"/>
                    <a:pt x="239" y="110"/>
                    <a:pt x="238" y="106"/>
                  </a:cubicBezTo>
                  <a:cubicBezTo>
                    <a:pt x="255" y="95"/>
                    <a:pt x="255" y="95"/>
                    <a:pt x="255" y="95"/>
                  </a:cubicBezTo>
                  <a:cubicBezTo>
                    <a:pt x="258" y="94"/>
                    <a:pt x="259" y="91"/>
                    <a:pt x="258" y="89"/>
                  </a:cubicBezTo>
                  <a:cubicBezTo>
                    <a:pt x="253" y="77"/>
                    <a:pt x="253" y="77"/>
                    <a:pt x="253" y="77"/>
                  </a:cubicBezTo>
                  <a:cubicBezTo>
                    <a:pt x="252" y="74"/>
                    <a:pt x="249" y="73"/>
                    <a:pt x="246" y="74"/>
                  </a:cubicBezTo>
                  <a:cubicBezTo>
                    <a:pt x="227" y="78"/>
                    <a:pt x="227" y="78"/>
                    <a:pt x="227" y="78"/>
                  </a:cubicBezTo>
                  <a:cubicBezTo>
                    <a:pt x="225" y="74"/>
                    <a:pt x="222" y="71"/>
                    <a:pt x="219" y="67"/>
                  </a:cubicBezTo>
                  <a:cubicBezTo>
                    <a:pt x="231" y="51"/>
                    <a:pt x="231" y="51"/>
                    <a:pt x="231" y="51"/>
                  </a:cubicBezTo>
                  <a:cubicBezTo>
                    <a:pt x="233" y="49"/>
                    <a:pt x="233" y="46"/>
                    <a:pt x="231" y="44"/>
                  </a:cubicBezTo>
                  <a:cubicBezTo>
                    <a:pt x="221" y="34"/>
                    <a:pt x="221" y="34"/>
                    <a:pt x="221" y="34"/>
                  </a:cubicBezTo>
                  <a:cubicBezTo>
                    <a:pt x="220" y="33"/>
                    <a:pt x="217" y="33"/>
                    <a:pt x="215" y="34"/>
                  </a:cubicBezTo>
                  <a:cubicBezTo>
                    <a:pt x="198" y="46"/>
                    <a:pt x="198" y="46"/>
                    <a:pt x="198" y="46"/>
                  </a:cubicBezTo>
                  <a:cubicBezTo>
                    <a:pt x="195" y="43"/>
                    <a:pt x="192" y="41"/>
                    <a:pt x="188" y="39"/>
                  </a:cubicBezTo>
                  <a:cubicBezTo>
                    <a:pt x="193" y="19"/>
                    <a:pt x="193" y="19"/>
                    <a:pt x="193" y="19"/>
                  </a:cubicBezTo>
                  <a:cubicBezTo>
                    <a:pt x="193" y="17"/>
                    <a:pt x="192" y="14"/>
                    <a:pt x="190" y="13"/>
                  </a:cubicBezTo>
                  <a:cubicBezTo>
                    <a:pt x="177" y="8"/>
                    <a:pt x="177" y="8"/>
                    <a:pt x="177" y="8"/>
                  </a:cubicBezTo>
                  <a:cubicBezTo>
                    <a:pt x="175" y="7"/>
                    <a:pt x="172" y="8"/>
                    <a:pt x="171" y="10"/>
                  </a:cubicBezTo>
                  <a:cubicBezTo>
                    <a:pt x="161" y="28"/>
                    <a:pt x="161" y="28"/>
                    <a:pt x="161" y="28"/>
                  </a:cubicBezTo>
                  <a:cubicBezTo>
                    <a:pt x="156" y="26"/>
                    <a:pt x="152" y="25"/>
                    <a:pt x="147" y="25"/>
                  </a:cubicBezTo>
                  <a:cubicBezTo>
                    <a:pt x="144" y="5"/>
                    <a:pt x="144" y="5"/>
                    <a:pt x="144" y="5"/>
                  </a:cubicBezTo>
                  <a:cubicBezTo>
                    <a:pt x="144" y="2"/>
                    <a:pt x="142" y="0"/>
                    <a:pt x="139" y="0"/>
                  </a:cubicBezTo>
                  <a:cubicBezTo>
                    <a:pt x="126" y="0"/>
                    <a:pt x="126" y="0"/>
                    <a:pt x="126" y="0"/>
                  </a:cubicBezTo>
                  <a:cubicBezTo>
                    <a:pt x="123" y="0"/>
                    <a:pt x="121" y="2"/>
                    <a:pt x="121" y="5"/>
                  </a:cubicBezTo>
                  <a:cubicBezTo>
                    <a:pt x="118" y="25"/>
                    <a:pt x="118" y="25"/>
                    <a:pt x="118" y="25"/>
                  </a:cubicBezTo>
                  <a:cubicBezTo>
                    <a:pt x="113" y="25"/>
                    <a:pt x="109" y="26"/>
                    <a:pt x="105" y="27"/>
                  </a:cubicBezTo>
                  <a:cubicBezTo>
                    <a:pt x="95" y="10"/>
                    <a:pt x="95" y="10"/>
                    <a:pt x="95" y="10"/>
                  </a:cubicBezTo>
                  <a:cubicBezTo>
                    <a:pt x="94" y="8"/>
                    <a:pt x="91" y="7"/>
                    <a:pt x="88" y="8"/>
                  </a:cubicBezTo>
                  <a:cubicBezTo>
                    <a:pt x="76" y="13"/>
                    <a:pt x="76" y="13"/>
                    <a:pt x="76" y="13"/>
                  </a:cubicBezTo>
                  <a:cubicBezTo>
                    <a:pt x="74" y="14"/>
                    <a:pt x="72" y="16"/>
                    <a:pt x="73" y="19"/>
                  </a:cubicBezTo>
                  <a:cubicBezTo>
                    <a:pt x="78" y="38"/>
                    <a:pt x="78" y="38"/>
                    <a:pt x="78" y="38"/>
                  </a:cubicBezTo>
                  <a:cubicBezTo>
                    <a:pt x="74" y="41"/>
                    <a:pt x="70" y="43"/>
                    <a:pt x="66" y="46"/>
                  </a:cubicBezTo>
                  <a:cubicBezTo>
                    <a:pt x="50" y="34"/>
                    <a:pt x="50" y="34"/>
                    <a:pt x="50" y="34"/>
                  </a:cubicBezTo>
                  <a:cubicBezTo>
                    <a:pt x="48" y="33"/>
                    <a:pt x="45" y="33"/>
                    <a:pt x="43" y="34"/>
                  </a:cubicBezTo>
                  <a:cubicBezTo>
                    <a:pt x="34" y="44"/>
                    <a:pt x="34" y="44"/>
                    <a:pt x="34" y="44"/>
                  </a:cubicBezTo>
                  <a:cubicBezTo>
                    <a:pt x="32" y="46"/>
                    <a:pt x="32" y="49"/>
                    <a:pt x="33" y="51"/>
                  </a:cubicBezTo>
                  <a:cubicBezTo>
                    <a:pt x="46" y="67"/>
                    <a:pt x="46" y="67"/>
                    <a:pt x="46" y="67"/>
                  </a:cubicBezTo>
                  <a:cubicBezTo>
                    <a:pt x="43" y="70"/>
                    <a:pt x="41" y="74"/>
                    <a:pt x="38" y="77"/>
                  </a:cubicBezTo>
                  <a:cubicBezTo>
                    <a:pt x="19" y="72"/>
                    <a:pt x="19" y="72"/>
                    <a:pt x="19" y="72"/>
                  </a:cubicBezTo>
                  <a:cubicBezTo>
                    <a:pt x="16" y="72"/>
                    <a:pt x="14" y="73"/>
                    <a:pt x="13" y="75"/>
                  </a:cubicBezTo>
                  <a:cubicBezTo>
                    <a:pt x="8" y="88"/>
                    <a:pt x="8" y="88"/>
                    <a:pt x="8" y="88"/>
                  </a:cubicBezTo>
                  <a:cubicBezTo>
                    <a:pt x="7" y="90"/>
                    <a:pt x="8" y="93"/>
                    <a:pt x="10" y="94"/>
                  </a:cubicBezTo>
                  <a:cubicBezTo>
                    <a:pt x="27" y="105"/>
                    <a:pt x="27" y="105"/>
                    <a:pt x="27" y="105"/>
                  </a:cubicBezTo>
                  <a:cubicBezTo>
                    <a:pt x="26" y="109"/>
                    <a:pt x="25" y="114"/>
                    <a:pt x="24" y="118"/>
                  </a:cubicBezTo>
                  <a:cubicBezTo>
                    <a:pt x="4" y="121"/>
                    <a:pt x="4" y="121"/>
                    <a:pt x="4" y="121"/>
                  </a:cubicBezTo>
                  <a:cubicBezTo>
                    <a:pt x="2" y="121"/>
                    <a:pt x="0" y="124"/>
                    <a:pt x="0" y="126"/>
                  </a:cubicBezTo>
                  <a:cubicBezTo>
                    <a:pt x="0" y="140"/>
                    <a:pt x="0" y="140"/>
                    <a:pt x="0" y="140"/>
                  </a:cubicBezTo>
                  <a:cubicBezTo>
                    <a:pt x="0" y="142"/>
                    <a:pt x="2" y="144"/>
                    <a:pt x="4" y="145"/>
                  </a:cubicBezTo>
                  <a:cubicBezTo>
                    <a:pt x="24" y="148"/>
                    <a:pt x="24" y="148"/>
                    <a:pt x="24" y="148"/>
                  </a:cubicBezTo>
                  <a:cubicBezTo>
                    <a:pt x="25" y="152"/>
                    <a:pt x="26" y="156"/>
                    <a:pt x="27" y="160"/>
                  </a:cubicBezTo>
                  <a:cubicBezTo>
                    <a:pt x="9" y="170"/>
                    <a:pt x="9" y="170"/>
                    <a:pt x="9" y="170"/>
                  </a:cubicBezTo>
                  <a:cubicBezTo>
                    <a:pt x="7" y="172"/>
                    <a:pt x="6" y="175"/>
                    <a:pt x="7" y="177"/>
                  </a:cubicBezTo>
                  <a:cubicBezTo>
                    <a:pt x="12" y="189"/>
                    <a:pt x="12" y="189"/>
                    <a:pt x="12" y="189"/>
                  </a:cubicBezTo>
                  <a:cubicBezTo>
                    <a:pt x="13" y="192"/>
                    <a:pt x="16" y="193"/>
                    <a:pt x="18" y="192"/>
                  </a:cubicBezTo>
                  <a:cubicBezTo>
                    <a:pt x="38" y="187"/>
                    <a:pt x="38" y="187"/>
                    <a:pt x="38" y="187"/>
                  </a:cubicBezTo>
                  <a:cubicBezTo>
                    <a:pt x="40" y="191"/>
                    <a:pt x="43" y="195"/>
                    <a:pt x="46" y="199"/>
                  </a:cubicBezTo>
                  <a:cubicBezTo>
                    <a:pt x="33" y="215"/>
                    <a:pt x="33" y="215"/>
                    <a:pt x="33" y="215"/>
                  </a:cubicBezTo>
                  <a:cubicBezTo>
                    <a:pt x="32" y="217"/>
                    <a:pt x="32" y="220"/>
                    <a:pt x="34" y="222"/>
                  </a:cubicBezTo>
                  <a:cubicBezTo>
                    <a:pt x="43" y="231"/>
                    <a:pt x="43" y="231"/>
                    <a:pt x="43" y="231"/>
                  </a:cubicBezTo>
                  <a:cubicBezTo>
                    <a:pt x="45" y="233"/>
                    <a:pt x="48" y="233"/>
                    <a:pt x="50" y="232"/>
                  </a:cubicBezTo>
                  <a:cubicBezTo>
                    <a:pt x="66" y="220"/>
                    <a:pt x="66" y="220"/>
                    <a:pt x="66" y="220"/>
                  </a:cubicBezTo>
                  <a:cubicBezTo>
                    <a:pt x="70" y="222"/>
                    <a:pt x="73" y="225"/>
                    <a:pt x="77" y="227"/>
                  </a:cubicBezTo>
                  <a:cubicBezTo>
                    <a:pt x="72" y="246"/>
                    <a:pt x="72" y="246"/>
                    <a:pt x="72" y="246"/>
                  </a:cubicBezTo>
                  <a:cubicBezTo>
                    <a:pt x="71" y="249"/>
                    <a:pt x="73" y="252"/>
                    <a:pt x="75" y="253"/>
                  </a:cubicBezTo>
                  <a:cubicBezTo>
                    <a:pt x="87" y="258"/>
                    <a:pt x="87" y="258"/>
                    <a:pt x="87" y="258"/>
                  </a:cubicBezTo>
                  <a:cubicBezTo>
                    <a:pt x="90" y="259"/>
                    <a:pt x="92" y="258"/>
                    <a:pt x="94" y="256"/>
                  </a:cubicBezTo>
                  <a:cubicBezTo>
                    <a:pt x="104" y="238"/>
                    <a:pt x="104" y="238"/>
                    <a:pt x="104" y="238"/>
                  </a:cubicBezTo>
                  <a:cubicBezTo>
                    <a:pt x="108" y="240"/>
                    <a:pt x="113" y="240"/>
                    <a:pt x="118" y="241"/>
                  </a:cubicBezTo>
                  <a:cubicBezTo>
                    <a:pt x="121" y="261"/>
                    <a:pt x="121" y="261"/>
                    <a:pt x="121" y="261"/>
                  </a:cubicBezTo>
                  <a:cubicBezTo>
                    <a:pt x="121" y="263"/>
                    <a:pt x="123" y="265"/>
                    <a:pt x="126" y="265"/>
                  </a:cubicBezTo>
                  <a:cubicBezTo>
                    <a:pt x="139" y="265"/>
                    <a:pt x="139" y="265"/>
                    <a:pt x="139" y="265"/>
                  </a:cubicBezTo>
                  <a:cubicBezTo>
                    <a:pt x="142" y="265"/>
                    <a:pt x="144" y="263"/>
                    <a:pt x="144" y="261"/>
                  </a:cubicBezTo>
                  <a:cubicBezTo>
                    <a:pt x="147" y="241"/>
                    <a:pt x="147" y="241"/>
                    <a:pt x="147" y="241"/>
                  </a:cubicBezTo>
                  <a:cubicBezTo>
                    <a:pt x="151" y="240"/>
                    <a:pt x="156" y="240"/>
                    <a:pt x="160" y="239"/>
                  </a:cubicBezTo>
                  <a:cubicBezTo>
                    <a:pt x="170" y="256"/>
                    <a:pt x="170" y="256"/>
                    <a:pt x="170" y="256"/>
                  </a:cubicBezTo>
                  <a:cubicBezTo>
                    <a:pt x="171" y="258"/>
                    <a:pt x="174" y="259"/>
                    <a:pt x="176" y="258"/>
                  </a:cubicBezTo>
                  <a:cubicBezTo>
                    <a:pt x="189" y="253"/>
                    <a:pt x="189" y="253"/>
                    <a:pt x="189" y="253"/>
                  </a:cubicBezTo>
                  <a:cubicBezTo>
                    <a:pt x="191" y="252"/>
                    <a:pt x="192" y="249"/>
                    <a:pt x="192" y="247"/>
                  </a:cubicBezTo>
                  <a:cubicBezTo>
                    <a:pt x="187" y="227"/>
                    <a:pt x="187" y="227"/>
                    <a:pt x="187" y="227"/>
                  </a:cubicBezTo>
                  <a:cubicBezTo>
                    <a:pt x="191" y="225"/>
                    <a:pt x="195" y="223"/>
                    <a:pt x="198" y="220"/>
                  </a:cubicBezTo>
                  <a:cubicBezTo>
                    <a:pt x="215" y="232"/>
                    <a:pt x="215" y="232"/>
                    <a:pt x="215" y="232"/>
                  </a:cubicBezTo>
                  <a:cubicBezTo>
                    <a:pt x="217" y="233"/>
                    <a:pt x="220" y="233"/>
                    <a:pt x="221" y="231"/>
                  </a:cubicBezTo>
                  <a:cubicBezTo>
                    <a:pt x="231" y="222"/>
                    <a:pt x="231" y="222"/>
                    <a:pt x="231" y="222"/>
                  </a:cubicBezTo>
                  <a:cubicBezTo>
                    <a:pt x="233" y="220"/>
                    <a:pt x="233" y="217"/>
                    <a:pt x="231" y="215"/>
                  </a:cubicBezTo>
                  <a:cubicBezTo>
                    <a:pt x="219" y="199"/>
                    <a:pt x="219" y="199"/>
                    <a:pt x="219" y="199"/>
                  </a:cubicBezTo>
                  <a:cubicBezTo>
                    <a:pt x="222" y="196"/>
                    <a:pt x="224" y="192"/>
                    <a:pt x="226" y="188"/>
                  </a:cubicBezTo>
                  <a:cubicBezTo>
                    <a:pt x="246" y="193"/>
                    <a:pt x="246" y="193"/>
                    <a:pt x="246" y="193"/>
                  </a:cubicBezTo>
                  <a:cubicBezTo>
                    <a:pt x="248" y="194"/>
                    <a:pt x="251" y="193"/>
                    <a:pt x="252" y="190"/>
                  </a:cubicBezTo>
                  <a:cubicBezTo>
                    <a:pt x="257" y="178"/>
                    <a:pt x="257" y="178"/>
                    <a:pt x="257" y="178"/>
                  </a:cubicBezTo>
                  <a:cubicBezTo>
                    <a:pt x="258" y="176"/>
                    <a:pt x="257" y="173"/>
                    <a:pt x="255" y="172"/>
                  </a:cubicBezTo>
                  <a:cubicBezTo>
                    <a:pt x="238" y="161"/>
                    <a:pt x="238" y="161"/>
                    <a:pt x="238" y="161"/>
                  </a:cubicBezTo>
                  <a:cubicBezTo>
                    <a:pt x="239" y="157"/>
                    <a:pt x="240" y="152"/>
                    <a:pt x="241" y="148"/>
                  </a:cubicBezTo>
                  <a:cubicBezTo>
                    <a:pt x="260" y="145"/>
                    <a:pt x="260" y="145"/>
                    <a:pt x="260" y="145"/>
                  </a:cubicBezTo>
                  <a:cubicBezTo>
                    <a:pt x="263" y="144"/>
                    <a:pt x="265" y="142"/>
                    <a:pt x="265" y="140"/>
                  </a:cubicBezTo>
                  <a:cubicBezTo>
                    <a:pt x="265" y="126"/>
                    <a:pt x="265" y="126"/>
                    <a:pt x="265" y="126"/>
                  </a:cubicBezTo>
                  <a:cubicBezTo>
                    <a:pt x="265" y="124"/>
                    <a:pt x="263" y="121"/>
                    <a:pt x="260" y="121"/>
                  </a:cubicBezTo>
                  <a:close/>
                  <a:moveTo>
                    <a:pt x="214" y="154"/>
                  </a:moveTo>
                  <a:cubicBezTo>
                    <a:pt x="213" y="159"/>
                    <a:pt x="208" y="161"/>
                    <a:pt x="204" y="158"/>
                  </a:cubicBezTo>
                  <a:cubicBezTo>
                    <a:pt x="170" y="138"/>
                    <a:pt x="170" y="138"/>
                    <a:pt x="170" y="138"/>
                  </a:cubicBezTo>
                  <a:cubicBezTo>
                    <a:pt x="166" y="135"/>
                    <a:pt x="166" y="131"/>
                    <a:pt x="170" y="128"/>
                  </a:cubicBezTo>
                  <a:cubicBezTo>
                    <a:pt x="204" y="108"/>
                    <a:pt x="204" y="108"/>
                    <a:pt x="204" y="108"/>
                  </a:cubicBezTo>
                  <a:cubicBezTo>
                    <a:pt x="208" y="105"/>
                    <a:pt x="213" y="107"/>
                    <a:pt x="214" y="112"/>
                  </a:cubicBezTo>
                  <a:cubicBezTo>
                    <a:pt x="214" y="112"/>
                    <a:pt x="217" y="122"/>
                    <a:pt x="217" y="133"/>
                  </a:cubicBezTo>
                  <a:cubicBezTo>
                    <a:pt x="217" y="143"/>
                    <a:pt x="214" y="154"/>
                    <a:pt x="214" y="154"/>
                  </a:cubicBezTo>
                  <a:close/>
                  <a:moveTo>
                    <a:pt x="205" y="90"/>
                  </a:moveTo>
                  <a:cubicBezTo>
                    <a:pt x="208" y="94"/>
                    <a:pt x="206" y="99"/>
                    <a:pt x="201" y="100"/>
                  </a:cubicBezTo>
                  <a:cubicBezTo>
                    <a:pt x="163" y="109"/>
                    <a:pt x="163" y="109"/>
                    <a:pt x="163" y="109"/>
                  </a:cubicBezTo>
                  <a:cubicBezTo>
                    <a:pt x="158" y="110"/>
                    <a:pt x="155" y="107"/>
                    <a:pt x="156" y="102"/>
                  </a:cubicBezTo>
                  <a:cubicBezTo>
                    <a:pt x="165" y="64"/>
                    <a:pt x="165" y="64"/>
                    <a:pt x="165" y="64"/>
                  </a:cubicBezTo>
                  <a:cubicBezTo>
                    <a:pt x="166" y="59"/>
                    <a:pt x="171" y="57"/>
                    <a:pt x="175" y="60"/>
                  </a:cubicBezTo>
                  <a:cubicBezTo>
                    <a:pt x="175" y="60"/>
                    <a:pt x="185" y="65"/>
                    <a:pt x="192" y="73"/>
                  </a:cubicBezTo>
                  <a:cubicBezTo>
                    <a:pt x="200" y="80"/>
                    <a:pt x="205" y="90"/>
                    <a:pt x="205" y="90"/>
                  </a:cubicBezTo>
                  <a:close/>
                  <a:moveTo>
                    <a:pt x="111" y="50"/>
                  </a:moveTo>
                  <a:cubicBezTo>
                    <a:pt x="111" y="50"/>
                    <a:pt x="122" y="47"/>
                    <a:pt x="132" y="47"/>
                  </a:cubicBezTo>
                  <a:cubicBezTo>
                    <a:pt x="143" y="47"/>
                    <a:pt x="154" y="50"/>
                    <a:pt x="154" y="50"/>
                  </a:cubicBezTo>
                  <a:cubicBezTo>
                    <a:pt x="158" y="52"/>
                    <a:pt x="160" y="56"/>
                    <a:pt x="158" y="60"/>
                  </a:cubicBezTo>
                  <a:cubicBezTo>
                    <a:pt x="137" y="94"/>
                    <a:pt x="137" y="94"/>
                    <a:pt x="137" y="94"/>
                  </a:cubicBezTo>
                  <a:cubicBezTo>
                    <a:pt x="134" y="98"/>
                    <a:pt x="130" y="98"/>
                    <a:pt x="128" y="94"/>
                  </a:cubicBezTo>
                  <a:cubicBezTo>
                    <a:pt x="107" y="60"/>
                    <a:pt x="107" y="60"/>
                    <a:pt x="107" y="60"/>
                  </a:cubicBezTo>
                  <a:cubicBezTo>
                    <a:pt x="105" y="56"/>
                    <a:pt x="106" y="52"/>
                    <a:pt x="111" y="50"/>
                  </a:cubicBezTo>
                  <a:close/>
                  <a:moveTo>
                    <a:pt x="153" y="133"/>
                  </a:moveTo>
                  <a:cubicBezTo>
                    <a:pt x="153" y="144"/>
                    <a:pt x="144" y="154"/>
                    <a:pt x="132" y="154"/>
                  </a:cubicBezTo>
                  <a:cubicBezTo>
                    <a:pt x="121" y="154"/>
                    <a:pt x="112" y="144"/>
                    <a:pt x="112" y="133"/>
                  </a:cubicBezTo>
                  <a:cubicBezTo>
                    <a:pt x="112" y="121"/>
                    <a:pt x="121" y="112"/>
                    <a:pt x="132" y="112"/>
                  </a:cubicBezTo>
                  <a:cubicBezTo>
                    <a:pt x="144" y="112"/>
                    <a:pt x="153" y="121"/>
                    <a:pt x="153" y="133"/>
                  </a:cubicBezTo>
                  <a:close/>
                  <a:moveTo>
                    <a:pt x="89" y="59"/>
                  </a:moveTo>
                  <a:cubicBezTo>
                    <a:pt x="94" y="56"/>
                    <a:pt x="98" y="58"/>
                    <a:pt x="99" y="63"/>
                  </a:cubicBezTo>
                  <a:cubicBezTo>
                    <a:pt x="108" y="101"/>
                    <a:pt x="108" y="101"/>
                    <a:pt x="108" y="101"/>
                  </a:cubicBezTo>
                  <a:cubicBezTo>
                    <a:pt x="109" y="106"/>
                    <a:pt x="107" y="109"/>
                    <a:pt x="102" y="108"/>
                  </a:cubicBezTo>
                  <a:cubicBezTo>
                    <a:pt x="63" y="99"/>
                    <a:pt x="63" y="99"/>
                    <a:pt x="63" y="99"/>
                  </a:cubicBezTo>
                  <a:cubicBezTo>
                    <a:pt x="59" y="98"/>
                    <a:pt x="57" y="93"/>
                    <a:pt x="59" y="89"/>
                  </a:cubicBezTo>
                  <a:cubicBezTo>
                    <a:pt x="59" y="89"/>
                    <a:pt x="65" y="79"/>
                    <a:pt x="72" y="72"/>
                  </a:cubicBezTo>
                  <a:cubicBezTo>
                    <a:pt x="80" y="64"/>
                    <a:pt x="89" y="59"/>
                    <a:pt x="89" y="59"/>
                  </a:cubicBezTo>
                  <a:close/>
                  <a:moveTo>
                    <a:pt x="50" y="153"/>
                  </a:moveTo>
                  <a:cubicBezTo>
                    <a:pt x="50" y="153"/>
                    <a:pt x="47" y="142"/>
                    <a:pt x="47" y="132"/>
                  </a:cubicBezTo>
                  <a:cubicBezTo>
                    <a:pt x="47" y="121"/>
                    <a:pt x="50" y="110"/>
                    <a:pt x="50" y="110"/>
                  </a:cubicBezTo>
                  <a:cubicBezTo>
                    <a:pt x="51" y="106"/>
                    <a:pt x="56" y="104"/>
                    <a:pt x="60" y="107"/>
                  </a:cubicBezTo>
                  <a:cubicBezTo>
                    <a:pt x="93" y="127"/>
                    <a:pt x="93" y="127"/>
                    <a:pt x="93" y="127"/>
                  </a:cubicBezTo>
                  <a:cubicBezTo>
                    <a:pt x="98" y="130"/>
                    <a:pt x="98" y="134"/>
                    <a:pt x="93" y="136"/>
                  </a:cubicBezTo>
                  <a:cubicBezTo>
                    <a:pt x="60" y="157"/>
                    <a:pt x="60" y="157"/>
                    <a:pt x="60" y="157"/>
                  </a:cubicBezTo>
                  <a:cubicBezTo>
                    <a:pt x="56" y="160"/>
                    <a:pt x="51" y="158"/>
                    <a:pt x="50" y="153"/>
                  </a:cubicBezTo>
                  <a:close/>
                  <a:moveTo>
                    <a:pt x="58" y="175"/>
                  </a:moveTo>
                  <a:cubicBezTo>
                    <a:pt x="56" y="171"/>
                    <a:pt x="58" y="166"/>
                    <a:pt x="63" y="165"/>
                  </a:cubicBezTo>
                  <a:cubicBezTo>
                    <a:pt x="101" y="156"/>
                    <a:pt x="101" y="156"/>
                    <a:pt x="101" y="156"/>
                  </a:cubicBezTo>
                  <a:cubicBezTo>
                    <a:pt x="106" y="155"/>
                    <a:pt x="109" y="158"/>
                    <a:pt x="108" y="162"/>
                  </a:cubicBezTo>
                  <a:cubicBezTo>
                    <a:pt x="98" y="201"/>
                    <a:pt x="98" y="201"/>
                    <a:pt x="98" y="201"/>
                  </a:cubicBezTo>
                  <a:cubicBezTo>
                    <a:pt x="97" y="206"/>
                    <a:pt x="93" y="207"/>
                    <a:pt x="89" y="205"/>
                  </a:cubicBezTo>
                  <a:cubicBezTo>
                    <a:pt x="89" y="205"/>
                    <a:pt x="79" y="200"/>
                    <a:pt x="71" y="192"/>
                  </a:cubicBezTo>
                  <a:cubicBezTo>
                    <a:pt x="64" y="185"/>
                    <a:pt x="58" y="175"/>
                    <a:pt x="58" y="175"/>
                  </a:cubicBezTo>
                  <a:close/>
                  <a:moveTo>
                    <a:pt x="153" y="214"/>
                  </a:moveTo>
                  <a:cubicBezTo>
                    <a:pt x="153" y="214"/>
                    <a:pt x="142" y="217"/>
                    <a:pt x="131" y="217"/>
                  </a:cubicBezTo>
                  <a:cubicBezTo>
                    <a:pt x="121" y="217"/>
                    <a:pt x="110" y="214"/>
                    <a:pt x="110" y="214"/>
                  </a:cubicBezTo>
                  <a:cubicBezTo>
                    <a:pt x="105" y="213"/>
                    <a:pt x="103" y="209"/>
                    <a:pt x="106" y="204"/>
                  </a:cubicBezTo>
                  <a:cubicBezTo>
                    <a:pt x="127" y="171"/>
                    <a:pt x="127" y="171"/>
                    <a:pt x="127" y="171"/>
                  </a:cubicBezTo>
                  <a:cubicBezTo>
                    <a:pt x="129" y="167"/>
                    <a:pt x="133" y="167"/>
                    <a:pt x="136" y="171"/>
                  </a:cubicBezTo>
                  <a:cubicBezTo>
                    <a:pt x="157" y="204"/>
                    <a:pt x="157" y="204"/>
                    <a:pt x="157" y="204"/>
                  </a:cubicBezTo>
                  <a:cubicBezTo>
                    <a:pt x="159" y="209"/>
                    <a:pt x="157" y="213"/>
                    <a:pt x="153" y="214"/>
                  </a:cubicBezTo>
                  <a:close/>
                  <a:moveTo>
                    <a:pt x="174" y="206"/>
                  </a:moveTo>
                  <a:cubicBezTo>
                    <a:pt x="170" y="208"/>
                    <a:pt x="166" y="206"/>
                    <a:pt x="164" y="202"/>
                  </a:cubicBezTo>
                  <a:cubicBezTo>
                    <a:pt x="155" y="163"/>
                    <a:pt x="155" y="163"/>
                    <a:pt x="155" y="163"/>
                  </a:cubicBezTo>
                  <a:cubicBezTo>
                    <a:pt x="154" y="158"/>
                    <a:pt x="157" y="155"/>
                    <a:pt x="162" y="157"/>
                  </a:cubicBezTo>
                  <a:cubicBezTo>
                    <a:pt x="200" y="166"/>
                    <a:pt x="200" y="166"/>
                    <a:pt x="200" y="166"/>
                  </a:cubicBezTo>
                  <a:cubicBezTo>
                    <a:pt x="205" y="167"/>
                    <a:pt x="207" y="171"/>
                    <a:pt x="205" y="176"/>
                  </a:cubicBezTo>
                  <a:cubicBezTo>
                    <a:pt x="205" y="176"/>
                    <a:pt x="199" y="185"/>
                    <a:pt x="192" y="193"/>
                  </a:cubicBezTo>
                  <a:cubicBezTo>
                    <a:pt x="184" y="200"/>
                    <a:pt x="174" y="206"/>
                    <a:pt x="174" y="206"/>
                  </a:cubicBezTo>
                  <a:close/>
                </a:path>
              </a:pathLst>
            </a:custGeom>
            <a:solidFill>
              <a:srgbClr val="0070C0"/>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Segoe UI"/>
                <a:ea typeface="+mn-ea"/>
                <a:cs typeface="+mn-cs"/>
              </a:endParaRPr>
            </a:p>
          </p:txBody>
        </p:sp>
        <p:grpSp>
          <p:nvGrpSpPr>
            <p:cNvPr id="56" name="Group 55"/>
            <p:cNvGrpSpPr/>
            <p:nvPr/>
          </p:nvGrpSpPr>
          <p:grpSpPr>
            <a:xfrm flipH="1">
              <a:off x="2161699" y="2351478"/>
              <a:ext cx="582253" cy="370901"/>
              <a:chOff x="10423525" y="1774826"/>
              <a:chExt cx="892176" cy="568325"/>
            </a:xfrm>
          </p:grpSpPr>
          <p:sp>
            <p:nvSpPr>
              <p:cNvPr id="93" name="Freeform 92"/>
              <p:cNvSpPr>
                <a:spLocks/>
              </p:cNvSpPr>
              <p:nvPr/>
            </p:nvSpPr>
            <p:spPr bwMode="auto">
              <a:xfrm>
                <a:off x="11069638" y="1908176"/>
                <a:ext cx="246063" cy="69850"/>
              </a:xfrm>
              <a:custGeom>
                <a:avLst/>
                <a:gdLst>
                  <a:gd name="T0" fmla="*/ 113 w 126"/>
                  <a:gd name="T1" fmla="*/ 1 h 36"/>
                  <a:gd name="T2" fmla="*/ 125 w 126"/>
                  <a:gd name="T3" fmla="*/ 8 h 36"/>
                  <a:gd name="T4" fmla="*/ 125 w 126"/>
                  <a:gd name="T5" fmla="*/ 8 h 36"/>
                  <a:gd name="T6" fmla="*/ 115 w 126"/>
                  <a:gd name="T7" fmla="*/ 19 h 36"/>
                  <a:gd name="T8" fmla="*/ 13 w 126"/>
                  <a:gd name="T9" fmla="*/ 35 h 36"/>
                  <a:gd name="T10" fmla="*/ 1 w 126"/>
                  <a:gd name="T11" fmla="*/ 28 h 36"/>
                  <a:gd name="T12" fmla="*/ 1 w 126"/>
                  <a:gd name="T13" fmla="*/ 28 h 36"/>
                  <a:gd name="T14" fmla="*/ 10 w 126"/>
                  <a:gd name="T15" fmla="*/ 18 h 36"/>
                  <a:gd name="T16" fmla="*/ 113 w 126"/>
                  <a:gd name="T17" fmla="*/ 1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6" h="36">
                    <a:moveTo>
                      <a:pt x="113" y="1"/>
                    </a:moveTo>
                    <a:cubicBezTo>
                      <a:pt x="120" y="0"/>
                      <a:pt x="124" y="4"/>
                      <a:pt x="125" y="8"/>
                    </a:cubicBezTo>
                    <a:cubicBezTo>
                      <a:pt x="125" y="8"/>
                      <a:pt x="125" y="8"/>
                      <a:pt x="125" y="8"/>
                    </a:cubicBezTo>
                    <a:cubicBezTo>
                      <a:pt x="126" y="13"/>
                      <a:pt x="123" y="18"/>
                      <a:pt x="115" y="19"/>
                    </a:cubicBezTo>
                    <a:cubicBezTo>
                      <a:pt x="13" y="35"/>
                      <a:pt x="13" y="35"/>
                      <a:pt x="13" y="35"/>
                    </a:cubicBezTo>
                    <a:cubicBezTo>
                      <a:pt x="6" y="36"/>
                      <a:pt x="1" y="33"/>
                      <a:pt x="1" y="28"/>
                    </a:cubicBezTo>
                    <a:cubicBezTo>
                      <a:pt x="1" y="28"/>
                      <a:pt x="1" y="28"/>
                      <a:pt x="1" y="28"/>
                    </a:cubicBezTo>
                    <a:cubicBezTo>
                      <a:pt x="0" y="23"/>
                      <a:pt x="3" y="19"/>
                      <a:pt x="10" y="18"/>
                    </a:cubicBezTo>
                    <a:lnTo>
                      <a:pt x="113" y="1"/>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94" name="Freeform 93"/>
              <p:cNvSpPr>
                <a:spLocks/>
              </p:cNvSpPr>
              <p:nvPr/>
            </p:nvSpPr>
            <p:spPr bwMode="auto">
              <a:xfrm>
                <a:off x="11077575" y="1876426"/>
                <a:ext cx="228600" cy="134938"/>
              </a:xfrm>
              <a:custGeom>
                <a:avLst/>
                <a:gdLst>
                  <a:gd name="T0" fmla="*/ 109 w 117"/>
                  <a:gd name="T1" fmla="*/ 50 h 69"/>
                  <a:gd name="T2" fmla="*/ 115 w 117"/>
                  <a:gd name="T3" fmla="*/ 63 h 69"/>
                  <a:gd name="T4" fmla="*/ 115 w 117"/>
                  <a:gd name="T5" fmla="*/ 63 h 69"/>
                  <a:gd name="T6" fmla="*/ 101 w 117"/>
                  <a:gd name="T7" fmla="*/ 66 h 69"/>
                  <a:gd name="T8" fmla="*/ 9 w 117"/>
                  <a:gd name="T9" fmla="*/ 19 h 69"/>
                  <a:gd name="T10" fmla="*/ 3 w 117"/>
                  <a:gd name="T11" fmla="*/ 6 h 69"/>
                  <a:gd name="T12" fmla="*/ 3 w 117"/>
                  <a:gd name="T13" fmla="*/ 6 h 69"/>
                  <a:gd name="T14" fmla="*/ 17 w 117"/>
                  <a:gd name="T15" fmla="*/ 3 h 69"/>
                  <a:gd name="T16" fmla="*/ 109 w 117"/>
                  <a:gd name="T17" fmla="*/ 50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7" h="69">
                    <a:moveTo>
                      <a:pt x="109" y="50"/>
                    </a:moveTo>
                    <a:cubicBezTo>
                      <a:pt x="115" y="53"/>
                      <a:pt x="117" y="59"/>
                      <a:pt x="115" y="63"/>
                    </a:cubicBezTo>
                    <a:cubicBezTo>
                      <a:pt x="115" y="63"/>
                      <a:pt x="115" y="63"/>
                      <a:pt x="115" y="63"/>
                    </a:cubicBezTo>
                    <a:cubicBezTo>
                      <a:pt x="113" y="67"/>
                      <a:pt x="108" y="69"/>
                      <a:pt x="101" y="66"/>
                    </a:cubicBezTo>
                    <a:cubicBezTo>
                      <a:pt x="9" y="19"/>
                      <a:pt x="9" y="19"/>
                      <a:pt x="9" y="19"/>
                    </a:cubicBezTo>
                    <a:cubicBezTo>
                      <a:pt x="2" y="15"/>
                      <a:pt x="0" y="10"/>
                      <a:pt x="3" y="6"/>
                    </a:cubicBezTo>
                    <a:cubicBezTo>
                      <a:pt x="3" y="6"/>
                      <a:pt x="3" y="6"/>
                      <a:pt x="3" y="6"/>
                    </a:cubicBezTo>
                    <a:cubicBezTo>
                      <a:pt x="5" y="1"/>
                      <a:pt x="10" y="0"/>
                      <a:pt x="17" y="3"/>
                    </a:cubicBezTo>
                    <a:lnTo>
                      <a:pt x="109" y="5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95" name="Freeform 94"/>
              <p:cNvSpPr>
                <a:spLocks/>
              </p:cNvSpPr>
              <p:nvPr/>
            </p:nvSpPr>
            <p:spPr bwMode="auto">
              <a:xfrm>
                <a:off x="11125200" y="1828801"/>
                <a:ext cx="134938" cy="230188"/>
              </a:xfrm>
              <a:custGeom>
                <a:avLst/>
                <a:gdLst>
                  <a:gd name="T0" fmla="*/ 66 w 69"/>
                  <a:gd name="T1" fmla="*/ 100 h 117"/>
                  <a:gd name="T2" fmla="*/ 63 w 69"/>
                  <a:gd name="T3" fmla="*/ 114 h 117"/>
                  <a:gd name="T4" fmla="*/ 63 w 69"/>
                  <a:gd name="T5" fmla="*/ 114 h 117"/>
                  <a:gd name="T6" fmla="*/ 50 w 69"/>
                  <a:gd name="T7" fmla="*/ 108 h 117"/>
                  <a:gd name="T8" fmla="*/ 3 w 69"/>
                  <a:gd name="T9" fmla="*/ 16 h 117"/>
                  <a:gd name="T10" fmla="*/ 6 w 69"/>
                  <a:gd name="T11" fmla="*/ 2 h 117"/>
                  <a:gd name="T12" fmla="*/ 6 w 69"/>
                  <a:gd name="T13" fmla="*/ 2 h 117"/>
                  <a:gd name="T14" fmla="*/ 19 w 69"/>
                  <a:gd name="T15" fmla="*/ 8 h 117"/>
                  <a:gd name="T16" fmla="*/ 66 w 69"/>
                  <a:gd name="T17" fmla="*/ 100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9" h="117">
                    <a:moveTo>
                      <a:pt x="66" y="100"/>
                    </a:moveTo>
                    <a:cubicBezTo>
                      <a:pt x="69" y="107"/>
                      <a:pt x="68" y="112"/>
                      <a:pt x="63" y="114"/>
                    </a:cubicBezTo>
                    <a:cubicBezTo>
                      <a:pt x="63" y="114"/>
                      <a:pt x="63" y="114"/>
                      <a:pt x="63" y="114"/>
                    </a:cubicBezTo>
                    <a:cubicBezTo>
                      <a:pt x="59" y="117"/>
                      <a:pt x="54" y="115"/>
                      <a:pt x="50" y="108"/>
                    </a:cubicBezTo>
                    <a:cubicBezTo>
                      <a:pt x="3" y="16"/>
                      <a:pt x="3" y="16"/>
                      <a:pt x="3" y="16"/>
                    </a:cubicBezTo>
                    <a:cubicBezTo>
                      <a:pt x="0" y="9"/>
                      <a:pt x="2" y="4"/>
                      <a:pt x="6" y="2"/>
                    </a:cubicBezTo>
                    <a:cubicBezTo>
                      <a:pt x="6" y="2"/>
                      <a:pt x="6" y="2"/>
                      <a:pt x="6" y="2"/>
                    </a:cubicBezTo>
                    <a:cubicBezTo>
                      <a:pt x="10" y="0"/>
                      <a:pt x="16" y="2"/>
                      <a:pt x="19" y="8"/>
                    </a:cubicBezTo>
                    <a:lnTo>
                      <a:pt x="66" y="10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96" name="Freeform 95"/>
              <p:cNvSpPr>
                <a:spLocks/>
              </p:cNvSpPr>
              <p:nvPr/>
            </p:nvSpPr>
            <p:spPr bwMode="auto">
              <a:xfrm>
                <a:off x="11158538" y="1819276"/>
                <a:ext cx="69850" cy="247650"/>
              </a:xfrm>
              <a:custGeom>
                <a:avLst/>
                <a:gdLst>
                  <a:gd name="T0" fmla="*/ 18 w 36"/>
                  <a:gd name="T1" fmla="*/ 116 h 126"/>
                  <a:gd name="T2" fmla="*/ 8 w 36"/>
                  <a:gd name="T3" fmla="*/ 125 h 126"/>
                  <a:gd name="T4" fmla="*/ 8 w 36"/>
                  <a:gd name="T5" fmla="*/ 125 h 126"/>
                  <a:gd name="T6" fmla="*/ 1 w 36"/>
                  <a:gd name="T7" fmla="*/ 113 h 126"/>
                  <a:gd name="T8" fmla="*/ 17 w 36"/>
                  <a:gd name="T9" fmla="*/ 11 h 126"/>
                  <a:gd name="T10" fmla="*/ 28 w 36"/>
                  <a:gd name="T11" fmla="*/ 1 h 126"/>
                  <a:gd name="T12" fmla="*/ 28 w 36"/>
                  <a:gd name="T13" fmla="*/ 1 h 126"/>
                  <a:gd name="T14" fmla="*/ 35 w 36"/>
                  <a:gd name="T15" fmla="*/ 13 h 126"/>
                  <a:gd name="T16" fmla="*/ 18 w 36"/>
                  <a:gd name="T17" fmla="*/ 116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 h="126">
                    <a:moveTo>
                      <a:pt x="18" y="116"/>
                    </a:moveTo>
                    <a:cubicBezTo>
                      <a:pt x="17" y="123"/>
                      <a:pt x="13" y="126"/>
                      <a:pt x="8" y="125"/>
                    </a:cubicBezTo>
                    <a:cubicBezTo>
                      <a:pt x="8" y="125"/>
                      <a:pt x="8" y="125"/>
                      <a:pt x="8" y="125"/>
                    </a:cubicBezTo>
                    <a:cubicBezTo>
                      <a:pt x="3" y="125"/>
                      <a:pt x="0" y="120"/>
                      <a:pt x="1" y="113"/>
                    </a:cubicBezTo>
                    <a:cubicBezTo>
                      <a:pt x="17" y="11"/>
                      <a:pt x="17" y="11"/>
                      <a:pt x="17" y="11"/>
                    </a:cubicBezTo>
                    <a:cubicBezTo>
                      <a:pt x="18" y="3"/>
                      <a:pt x="23" y="0"/>
                      <a:pt x="28" y="1"/>
                    </a:cubicBezTo>
                    <a:cubicBezTo>
                      <a:pt x="28" y="1"/>
                      <a:pt x="28" y="1"/>
                      <a:pt x="28" y="1"/>
                    </a:cubicBezTo>
                    <a:cubicBezTo>
                      <a:pt x="32" y="2"/>
                      <a:pt x="36" y="6"/>
                      <a:pt x="35" y="13"/>
                    </a:cubicBezTo>
                    <a:lnTo>
                      <a:pt x="18" y="116"/>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97" name="Freeform 96"/>
              <p:cNvSpPr>
                <a:spLocks/>
              </p:cNvSpPr>
              <p:nvPr/>
            </p:nvSpPr>
            <p:spPr bwMode="auto">
              <a:xfrm>
                <a:off x="11099800" y="1849438"/>
                <a:ext cx="187325" cy="187325"/>
              </a:xfrm>
              <a:custGeom>
                <a:avLst/>
                <a:gdLst>
                  <a:gd name="T0" fmla="*/ 17 w 96"/>
                  <a:gd name="T1" fmla="*/ 91 h 96"/>
                  <a:gd name="T2" fmla="*/ 3 w 96"/>
                  <a:gd name="T3" fmla="*/ 93 h 96"/>
                  <a:gd name="T4" fmla="*/ 3 w 96"/>
                  <a:gd name="T5" fmla="*/ 93 h 96"/>
                  <a:gd name="T6" fmla="*/ 5 w 96"/>
                  <a:gd name="T7" fmla="*/ 79 h 96"/>
                  <a:gd name="T8" fmla="*/ 78 w 96"/>
                  <a:gd name="T9" fmla="*/ 5 h 96"/>
                  <a:gd name="T10" fmla="*/ 92 w 96"/>
                  <a:gd name="T11" fmla="*/ 4 h 96"/>
                  <a:gd name="T12" fmla="*/ 92 w 96"/>
                  <a:gd name="T13" fmla="*/ 4 h 96"/>
                  <a:gd name="T14" fmla="*/ 91 w 96"/>
                  <a:gd name="T15" fmla="*/ 18 h 96"/>
                  <a:gd name="T16" fmla="*/ 17 w 96"/>
                  <a:gd name="T17" fmla="*/ 91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6" h="96">
                    <a:moveTo>
                      <a:pt x="17" y="91"/>
                    </a:moveTo>
                    <a:cubicBezTo>
                      <a:pt x="12" y="96"/>
                      <a:pt x="7" y="96"/>
                      <a:pt x="3" y="93"/>
                    </a:cubicBezTo>
                    <a:cubicBezTo>
                      <a:pt x="3" y="93"/>
                      <a:pt x="3" y="93"/>
                      <a:pt x="3" y="93"/>
                    </a:cubicBezTo>
                    <a:cubicBezTo>
                      <a:pt x="0" y="89"/>
                      <a:pt x="0" y="84"/>
                      <a:pt x="5" y="79"/>
                    </a:cubicBezTo>
                    <a:cubicBezTo>
                      <a:pt x="78" y="5"/>
                      <a:pt x="78" y="5"/>
                      <a:pt x="78" y="5"/>
                    </a:cubicBezTo>
                    <a:cubicBezTo>
                      <a:pt x="83" y="0"/>
                      <a:pt x="89" y="0"/>
                      <a:pt x="92" y="4"/>
                    </a:cubicBezTo>
                    <a:cubicBezTo>
                      <a:pt x="92" y="4"/>
                      <a:pt x="92" y="4"/>
                      <a:pt x="92" y="4"/>
                    </a:cubicBezTo>
                    <a:cubicBezTo>
                      <a:pt x="96" y="7"/>
                      <a:pt x="96" y="13"/>
                      <a:pt x="91" y="18"/>
                    </a:cubicBezTo>
                    <a:lnTo>
                      <a:pt x="17" y="91"/>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98" name="Freeform 97"/>
              <p:cNvSpPr>
                <a:spLocks/>
              </p:cNvSpPr>
              <p:nvPr/>
            </p:nvSpPr>
            <p:spPr bwMode="auto">
              <a:xfrm>
                <a:off x="11087100" y="1839913"/>
                <a:ext cx="209550" cy="209550"/>
              </a:xfrm>
              <a:custGeom>
                <a:avLst/>
                <a:gdLst>
                  <a:gd name="T0" fmla="*/ 88 w 107"/>
                  <a:gd name="T1" fmla="*/ 88 h 107"/>
                  <a:gd name="T2" fmla="*/ 19 w 107"/>
                  <a:gd name="T3" fmla="*/ 88 h 107"/>
                  <a:gd name="T4" fmla="*/ 19 w 107"/>
                  <a:gd name="T5" fmla="*/ 19 h 107"/>
                  <a:gd name="T6" fmla="*/ 88 w 107"/>
                  <a:gd name="T7" fmla="*/ 19 h 107"/>
                  <a:gd name="T8" fmla="*/ 88 w 107"/>
                  <a:gd name="T9" fmla="*/ 88 h 107"/>
                </a:gdLst>
                <a:ahLst/>
                <a:cxnLst>
                  <a:cxn ang="0">
                    <a:pos x="T0" y="T1"/>
                  </a:cxn>
                  <a:cxn ang="0">
                    <a:pos x="T2" y="T3"/>
                  </a:cxn>
                  <a:cxn ang="0">
                    <a:pos x="T4" y="T5"/>
                  </a:cxn>
                  <a:cxn ang="0">
                    <a:pos x="T6" y="T7"/>
                  </a:cxn>
                  <a:cxn ang="0">
                    <a:pos x="T8" y="T9"/>
                  </a:cxn>
                </a:cxnLst>
                <a:rect l="0" t="0" r="r" b="b"/>
                <a:pathLst>
                  <a:path w="107" h="107">
                    <a:moveTo>
                      <a:pt x="88" y="88"/>
                    </a:moveTo>
                    <a:cubicBezTo>
                      <a:pt x="69" y="107"/>
                      <a:pt x="38" y="107"/>
                      <a:pt x="19" y="88"/>
                    </a:cubicBezTo>
                    <a:cubicBezTo>
                      <a:pt x="0" y="69"/>
                      <a:pt x="0" y="38"/>
                      <a:pt x="19" y="19"/>
                    </a:cubicBezTo>
                    <a:cubicBezTo>
                      <a:pt x="38" y="0"/>
                      <a:pt x="69" y="0"/>
                      <a:pt x="88" y="19"/>
                    </a:cubicBezTo>
                    <a:cubicBezTo>
                      <a:pt x="107" y="38"/>
                      <a:pt x="107" y="69"/>
                      <a:pt x="88" y="88"/>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99" name="Freeform 98"/>
              <p:cNvSpPr>
                <a:spLocks/>
              </p:cNvSpPr>
              <p:nvPr/>
            </p:nvSpPr>
            <p:spPr bwMode="auto">
              <a:xfrm>
                <a:off x="10561638" y="1862138"/>
                <a:ext cx="246063" cy="71438"/>
              </a:xfrm>
              <a:custGeom>
                <a:avLst/>
                <a:gdLst>
                  <a:gd name="T0" fmla="*/ 112 w 126"/>
                  <a:gd name="T1" fmla="*/ 2 h 36"/>
                  <a:gd name="T2" fmla="*/ 125 w 126"/>
                  <a:gd name="T3" fmla="*/ 8 h 36"/>
                  <a:gd name="T4" fmla="*/ 125 w 126"/>
                  <a:gd name="T5" fmla="*/ 8 h 36"/>
                  <a:gd name="T6" fmla="*/ 115 w 126"/>
                  <a:gd name="T7" fmla="*/ 19 h 36"/>
                  <a:gd name="T8" fmla="*/ 13 w 126"/>
                  <a:gd name="T9" fmla="*/ 35 h 36"/>
                  <a:gd name="T10" fmla="*/ 0 w 126"/>
                  <a:gd name="T11" fmla="*/ 28 h 36"/>
                  <a:gd name="T12" fmla="*/ 0 w 126"/>
                  <a:gd name="T13" fmla="*/ 28 h 36"/>
                  <a:gd name="T14" fmla="*/ 10 w 126"/>
                  <a:gd name="T15" fmla="*/ 18 h 36"/>
                  <a:gd name="T16" fmla="*/ 112 w 126"/>
                  <a:gd name="T17" fmla="*/ 2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6" h="36">
                    <a:moveTo>
                      <a:pt x="112" y="2"/>
                    </a:moveTo>
                    <a:cubicBezTo>
                      <a:pt x="120" y="0"/>
                      <a:pt x="124" y="4"/>
                      <a:pt x="125" y="8"/>
                    </a:cubicBezTo>
                    <a:cubicBezTo>
                      <a:pt x="125" y="8"/>
                      <a:pt x="125" y="8"/>
                      <a:pt x="125" y="8"/>
                    </a:cubicBezTo>
                    <a:cubicBezTo>
                      <a:pt x="126" y="13"/>
                      <a:pt x="123" y="18"/>
                      <a:pt x="115" y="19"/>
                    </a:cubicBezTo>
                    <a:cubicBezTo>
                      <a:pt x="13" y="35"/>
                      <a:pt x="13" y="35"/>
                      <a:pt x="13" y="35"/>
                    </a:cubicBezTo>
                    <a:cubicBezTo>
                      <a:pt x="6" y="36"/>
                      <a:pt x="1" y="33"/>
                      <a:pt x="0" y="28"/>
                    </a:cubicBezTo>
                    <a:cubicBezTo>
                      <a:pt x="0" y="28"/>
                      <a:pt x="0" y="28"/>
                      <a:pt x="0" y="28"/>
                    </a:cubicBezTo>
                    <a:cubicBezTo>
                      <a:pt x="0" y="23"/>
                      <a:pt x="3" y="19"/>
                      <a:pt x="10" y="18"/>
                    </a:cubicBezTo>
                    <a:lnTo>
                      <a:pt x="112" y="2"/>
                    </a:lnTo>
                    <a:close/>
                  </a:path>
                </a:pathLst>
              </a:custGeom>
              <a:solidFill>
                <a:srgbClr val="F472D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100" name="Freeform 99"/>
              <p:cNvSpPr>
                <a:spLocks/>
              </p:cNvSpPr>
              <p:nvPr/>
            </p:nvSpPr>
            <p:spPr bwMode="auto">
              <a:xfrm>
                <a:off x="10569575" y="1831976"/>
                <a:ext cx="228600" cy="134938"/>
              </a:xfrm>
              <a:custGeom>
                <a:avLst/>
                <a:gdLst>
                  <a:gd name="T0" fmla="*/ 109 w 117"/>
                  <a:gd name="T1" fmla="*/ 50 h 69"/>
                  <a:gd name="T2" fmla="*/ 115 w 117"/>
                  <a:gd name="T3" fmla="*/ 63 h 69"/>
                  <a:gd name="T4" fmla="*/ 115 w 117"/>
                  <a:gd name="T5" fmla="*/ 63 h 69"/>
                  <a:gd name="T6" fmla="*/ 101 w 117"/>
                  <a:gd name="T7" fmla="*/ 66 h 69"/>
                  <a:gd name="T8" fmla="*/ 9 w 117"/>
                  <a:gd name="T9" fmla="*/ 19 h 69"/>
                  <a:gd name="T10" fmla="*/ 3 w 117"/>
                  <a:gd name="T11" fmla="*/ 6 h 69"/>
                  <a:gd name="T12" fmla="*/ 3 w 117"/>
                  <a:gd name="T13" fmla="*/ 6 h 69"/>
                  <a:gd name="T14" fmla="*/ 17 w 117"/>
                  <a:gd name="T15" fmla="*/ 3 h 69"/>
                  <a:gd name="T16" fmla="*/ 109 w 117"/>
                  <a:gd name="T17" fmla="*/ 50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7" h="69">
                    <a:moveTo>
                      <a:pt x="109" y="50"/>
                    </a:moveTo>
                    <a:cubicBezTo>
                      <a:pt x="115" y="53"/>
                      <a:pt x="117" y="59"/>
                      <a:pt x="115" y="63"/>
                    </a:cubicBezTo>
                    <a:cubicBezTo>
                      <a:pt x="115" y="63"/>
                      <a:pt x="115" y="63"/>
                      <a:pt x="115" y="63"/>
                    </a:cubicBezTo>
                    <a:cubicBezTo>
                      <a:pt x="113" y="67"/>
                      <a:pt x="107" y="69"/>
                      <a:pt x="101" y="66"/>
                    </a:cubicBezTo>
                    <a:cubicBezTo>
                      <a:pt x="9" y="19"/>
                      <a:pt x="9" y="19"/>
                      <a:pt x="9" y="19"/>
                    </a:cubicBezTo>
                    <a:cubicBezTo>
                      <a:pt x="2" y="15"/>
                      <a:pt x="0" y="10"/>
                      <a:pt x="3" y="6"/>
                    </a:cubicBezTo>
                    <a:cubicBezTo>
                      <a:pt x="3" y="6"/>
                      <a:pt x="3" y="6"/>
                      <a:pt x="3" y="6"/>
                    </a:cubicBezTo>
                    <a:cubicBezTo>
                      <a:pt x="5" y="1"/>
                      <a:pt x="10" y="0"/>
                      <a:pt x="17" y="3"/>
                    </a:cubicBezTo>
                    <a:lnTo>
                      <a:pt x="109" y="50"/>
                    </a:lnTo>
                    <a:close/>
                  </a:path>
                </a:pathLst>
              </a:custGeom>
              <a:solidFill>
                <a:srgbClr val="F472D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101" name="Freeform 100"/>
              <p:cNvSpPr>
                <a:spLocks/>
              </p:cNvSpPr>
              <p:nvPr/>
            </p:nvSpPr>
            <p:spPr bwMode="auto">
              <a:xfrm>
                <a:off x="10617200" y="1784351"/>
                <a:ext cx="134938" cy="230188"/>
              </a:xfrm>
              <a:custGeom>
                <a:avLst/>
                <a:gdLst>
                  <a:gd name="T0" fmla="*/ 66 w 69"/>
                  <a:gd name="T1" fmla="*/ 100 h 117"/>
                  <a:gd name="T2" fmla="*/ 63 w 69"/>
                  <a:gd name="T3" fmla="*/ 114 h 117"/>
                  <a:gd name="T4" fmla="*/ 63 w 69"/>
                  <a:gd name="T5" fmla="*/ 114 h 117"/>
                  <a:gd name="T6" fmla="*/ 50 w 69"/>
                  <a:gd name="T7" fmla="*/ 108 h 117"/>
                  <a:gd name="T8" fmla="*/ 3 w 69"/>
                  <a:gd name="T9" fmla="*/ 16 h 117"/>
                  <a:gd name="T10" fmla="*/ 6 w 69"/>
                  <a:gd name="T11" fmla="*/ 2 h 117"/>
                  <a:gd name="T12" fmla="*/ 6 w 69"/>
                  <a:gd name="T13" fmla="*/ 2 h 117"/>
                  <a:gd name="T14" fmla="*/ 19 w 69"/>
                  <a:gd name="T15" fmla="*/ 8 h 117"/>
                  <a:gd name="T16" fmla="*/ 66 w 69"/>
                  <a:gd name="T17" fmla="*/ 100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9" h="117">
                    <a:moveTo>
                      <a:pt x="66" y="100"/>
                    </a:moveTo>
                    <a:cubicBezTo>
                      <a:pt x="69" y="107"/>
                      <a:pt x="68" y="112"/>
                      <a:pt x="63" y="114"/>
                    </a:cubicBezTo>
                    <a:cubicBezTo>
                      <a:pt x="63" y="114"/>
                      <a:pt x="63" y="114"/>
                      <a:pt x="63" y="114"/>
                    </a:cubicBezTo>
                    <a:cubicBezTo>
                      <a:pt x="59" y="117"/>
                      <a:pt x="54" y="115"/>
                      <a:pt x="50" y="108"/>
                    </a:cubicBezTo>
                    <a:cubicBezTo>
                      <a:pt x="3" y="16"/>
                      <a:pt x="3" y="16"/>
                      <a:pt x="3" y="16"/>
                    </a:cubicBezTo>
                    <a:cubicBezTo>
                      <a:pt x="0" y="10"/>
                      <a:pt x="2" y="4"/>
                      <a:pt x="6" y="2"/>
                    </a:cubicBezTo>
                    <a:cubicBezTo>
                      <a:pt x="6" y="2"/>
                      <a:pt x="6" y="2"/>
                      <a:pt x="6" y="2"/>
                    </a:cubicBezTo>
                    <a:cubicBezTo>
                      <a:pt x="10" y="0"/>
                      <a:pt x="16" y="2"/>
                      <a:pt x="19" y="8"/>
                    </a:cubicBezTo>
                    <a:lnTo>
                      <a:pt x="66" y="100"/>
                    </a:lnTo>
                    <a:close/>
                  </a:path>
                </a:pathLst>
              </a:custGeom>
              <a:solidFill>
                <a:srgbClr val="F472D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102" name="Freeform 101"/>
              <p:cNvSpPr>
                <a:spLocks/>
              </p:cNvSpPr>
              <p:nvPr/>
            </p:nvSpPr>
            <p:spPr bwMode="auto">
              <a:xfrm>
                <a:off x="10650538" y="1774826"/>
                <a:ext cx="69850" cy="247650"/>
              </a:xfrm>
              <a:custGeom>
                <a:avLst/>
                <a:gdLst>
                  <a:gd name="T0" fmla="*/ 18 w 36"/>
                  <a:gd name="T1" fmla="*/ 116 h 126"/>
                  <a:gd name="T2" fmla="*/ 8 w 36"/>
                  <a:gd name="T3" fmla="*/ 126 h 126"/>
                  <a:gd name="T4" fmla="*/ 8 w 36"/>
                  <a:gd name="T5" fmla="*/ 126 h 126"/>
                  <a:gd name="T6" fmla="*/ 1 w 36"/>
                  <a:gd name="T7" fmla="*/ 113 h 126"/>
                  <a:gd name="T8" fmla="*/ 17 w 36"/>
                  <a:gd name="T9" fmla="*/ 11 h 126"/>
                  <a:gd name="T10" fmla="*/ 28 w 36"/>
                  <a:gd name="T11" fmla="*/ 1 h 126"/>
                  <a:gd name="T12" fmla="*/ 28 w 36"/>
                  <a:gd name="T13" fmla="*/ 1 h 126"/>
                  <a:gd name="T14" fmla="*/ 34 w 36"/>
                  <a:gd name="T15" fmla="*/ 14 h 126"/>
                  <a:gd name="T16" fmla="*/ 18 w 36"/>
                  <a:gd name="T17" fmla="*/ 116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 h="126">
                    <a:moveTo>
                      <a:pt x="18" y="116"/>
                    </a:moveTo>
                    <a:cubicBezTo>
                      <a:pt x="17" y="123"/>
                      <a:pt x="13" y="126"/>
                      <a:pt x="8" y="126"/>
                    </a:cubicBezTo>
                    <a:cubicBezTo>
                      <a:pt x="8" y="126"/>
                      <a:pt x="8" y="126"/>
                      <a:pt x="8" y="126"/>
                    </a:cubicBezTo>
                    <a:cubicBezTo>
                      <a:pt x="3" y="125"/>
                      <a:pt x="0" y="120"/>
                      <a:pt x="1" y="113"/>
                    </a:cubicBezTo>
                    <a:cubicBezTo>
                      <a:pt x="17" y="11"/>
                      <a:pt x="17" y="11"/>
                      <a:pt x="17" y="11"/>
                    </a:cubicBezTo>
                    <a:cubicBezTo>
                      <a:pt x="18" y="4"/>
                      <a:pt x="23" y="0"/>
                      <a:pt x="28" y="1"/>
                    </a:cubicBezTo>
                    <a:cubicBezTo>
                      <a:pt x="28" y="1"/>
                      <a:pt x="28" y="1"/>
                      <a:pt x="28" y="1"/>
                    </a:cubicBezTo>
                    <a:cubicBezTo>
                      <a:pt x="32" y="2"/>
                      <a:pt x="36" y="6"/>
                      <a:pt x="34" y="14"/>
                    </a:cubicBezTo>
                    <a:lnTo>
                      <a:pt x="18" y="116"/>
                    </a:lnTo>
                    <a:close/>
                  </a:path>
                </a:pathLst>
              </a:custGeom>
              <a:solidFill>
                <a:srgbClr val="F472D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103" name="Freeform 102"/>
              <p:cNvSpPr>
                <a:spLocks/>
              </p:cNvSpPr>
              <p:nvPr/>
            </p:nvSpPr>
            <p:spPr bwMode="auto">
              <a:xfrm>
                <a:off x="10591800" y="1803401"/>
                <a:ext cx="187325" cy="188913"/>
              </a:xfrm>
              <a:custGeom>
                <a:avLst/>
                <a:gdLst>
                  <a:gd name="T0" fmla="*/ 17 w 96"/>
                  <a:gd name="T1" fmla="*/ 91 h 96"/>
                  <a:gd name="T2" fmla="*/ 3 w 96"/>
                  <a:gd name="T3" fmla="*/ 93 h 96"/>
                  <a:gd name="T4" fmla="*/ 3 w 96"/>
                  <a:gd name="T5" fmla="*/ 93 h 96"/>
                  <a:gd name="T6" fmla="*/ 5 w 96"/>
                  <a:gd name="T7" fmla="*/ 79 h 96"/>
                  <a:gd name="T8" fmla="*/ 78 w 96"/>
                  <a:gd name="T9" fmla="*/ 6 h 96"/>
                  <a:gd name="T10" fmla="*/ 92 w 96"/>
                  <a:gd name="T11" fmla="*/ 4 h 96"/>
                  <a:gd name="T12" fmla="*/ 92 w 96"/>
                  <a:gd name="T13" fmla="*/ 4 h 96"/>
                  <a:gd name="T14" fmla="*/ 90 w 96"/>
                  <a:gd name="T15" fmla="*/ 18 h 96"/>
                  <a:gd name="T16" fmla="*/ 17 w 96"/>
                  <a:gd name="T17" fmla="*/ 91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6" h="96">
                    <a:moveTo>
                      <a:pt x="17" y="91"/>
                    </a:moveTo>
                    <a:cubicBezTo>
                      <a:pt x="12" y="96"/>
                      <a:pt x="7" y="96"/>
                      <a:pt x="3" y="93"/>
                    </a:cubicBezTo>
                    <a:cubicBezTo>
                      <a:pt x="3" y="93"/>
                      <a:pt x="3" y="93"/>
                      <a:pt x="3" y="93"/>
                    </a:cubicBezTo>
                    <a:cubicBezTo>
                      <a:pt x="0" y="89"/>
                      <a:pt x="0" y="84"/>
                      <a:pt x="5" y="79"/>
                    </a:cubicBezTo>
                    <a:cubicBezTo>
                      <a:pt x="78" y="6"/>
                      <a:pt x="78" y="6"/>
                      <a:pt x="78" y="6"/>
                    </a:cubicBezTo>
                    <a:cubicBezTo>
                      <a:pt x="83" y="0"/>
                      <a:pt x="89" y="0"/>
                      <a:pt x="92" y="4"/>
                    </a:cubicBezTo>
                    <a:cubicBezTo>
                      <a:pt x="92" y="4"/>
                      <a:pt x="92" y="4"/>
                      <a:pt x="92" y="4"/>
                    </a:cubicBezTo>
                    <a:cubicBezTo>
                      <a:pt x="96" y="7"/>
                      <a:pt x="96" y="13"/>
                      <a:pt x="90" y="18"/>
                    </a:cubicBezTo>
                    <a:lnTo>
                      <a:pt x="17" y="91"/>
                    </a:lnTo>
                    <a:close/>
                  </a:path>
                </a:pathLst>
              </a:custGeom>
              <a:solidFill>
                <a:srgbClr val="F472D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104" name="Freeform 103"/>
              <p:cNvSpPr>
                <a:spLocks/>
              </p:cNvSpPr>
              <p:nvPr/>
            </p:nvSpPr>
            <p:spPr bwMode="auto">
              <a:xfrm>
                <a:off x="10579100" y="1793876"/>
                <a:ext cx="209550" cy="209550"/>
              </a:xfrm>
              <a:custGeom>
                <a:avLst/>
                <a:gdLst>
                  <a:gd name="T0" fmla="*/ 88 w 107"/>
                  <a:gd name="T1" fmla="*/ 88 h 107"/>
                  <a:gd name="T2" fmla="*/ 19 w 107"/>
                  <a:gd name="T3" fmla="*/ 88 h 107"/>
                  <a:gd name="T4" fmla="*/ 19 w 107"/>
                  <a:gd name="T5" fmla="*/ 19 h 107"/>
                  <a:gd name="T6" fmla="*/ 88 w 107"/>
                  <a:gd name="T7" fmla="*/ 19 h 107"/>
                  <a:gd name="T8" fmla="*/ 88 w 107"/>
                  <a:gd name="T9" fmla="*/ 88 h 107"/>
                </a:gdLst>
                <a:ahLst/>
                <a:cxnLst>
                  <a:cxn ang="0">
                    <a:pos x="T0" y="T1"/>
                  </a:cxn>
                  <a:cxn ang="0">
                    <a:pos x="T2" y="T3"/>
                  </a:cxn>
                  <a:cxn ang="0">
                    <a:pos x="T4" y="T5"/>
                  </a:cxn>
                  <a:cxn ang="0">
                    <a:pos x="T6" y="T7"/>
                  </a:cxn>
                  <a:cxn ang="0">
                    <a:pos x="T8" y="T9"/>
                  </a:cxn>
                </a:cxnLst>
                <a:rect l="0" t="0" r="r" b="b"/>
                <a:pathLst>
                  <a:path w="107" h="107">
                    <a:moveTo>
                      <a:pt x="88" y="88"/>
                    </a:moveTo>
                    <a:cubicBezTo>
                      <a:pt x="69" y="107"/>
                      <a:pt x="38" y="107"/>
                      <a:pt x="19" y="88"/>
                    </a:cubicBezTo>
                    <a:cubicBezTo>
                      <a:pt x="0" y="69"/>
                      <a:pt x="0" y="38"/>
                      <a:pt x="19" y="19"/>
                    </a:cubicBezTo>
                    <a:cubicBezTo>
                      <a:pt x="38" y="0"/>
                      <a:pt x="69" y="0"/>
                      <a:pt x="88" y="19"/>
                    </a:cubicBezTo>
                    <a:cubicBezTo>
                      <a:pt x="107" y="38"/>
                      <a:pt x="107" y="69"/>
                      <a:pt x="88" y="88"/>
                    </a:cubicBezTo>
                    <a:close/>
                  </a:path>
                </a:pathLst>
              </a:custGeom>
              <a:solidFill>
                <a:srgbClr val="F472D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105" name="Freeform 104"/>
              <p:cNvSpPr>
                <a:spLocks/>
              </p:cNvSpPr>
              <p:nvPr/>
            </p:nvSpPr>
            <p:spPr bwMode="auto">
              <a:xfrm>
                <a:off x="10615613" y="1828801"/>
                <a:ext cx="138113" cy="138113"/>
              </a:xfrm>
              <a:custGeom>
                <a:avLst/>
                <a:gdLst>
                  <a:gd name="T0" fmla="*/ 13 w 71"/>
                  <a:gd name="T1" fmla="*/ 13 h 70"/>
                  <a:gd name="T2" fmla="*/ 13 w 71"/>
                  <a:gd name="T3" fmla="*/ 58 h 70"/>
                  <a:gd name="T4" fmla="*/ 58 w 71"/>
                  <a:gd name="T5" fmla="*/ 58 h 70"/>
                  <a:gd name="T6" fmla="*/ 58 w 71"/>
                  <a:gd name="T7" fmla="*/ 13 h 70"/>
                  <a:gd name="T8" fmla="*/ 13 w 71"/>
                  <a:gd name="T9" fmla="*/ 13 h 70"/>
                </a:gdLst>
                <a:ahLst/>
                <a:cxnLst>
                  <a:cxn ang="0">
                    <a:pos x="T0" y="T1"/>
                  </a:cxn>
                  <a:cxn ang="0">
                    <a:pos x="T2" y="T3"/>
                  </a:cxn>
                  <a:cxn ang="0">
                    <a:pos x="T4" y="T5"/>
                  </a:cxn>
                  <a:cxn ang="0">
                    <a:pos x="T6" y="T7"/>
                  </a:cxn>
                  <a:cxn ang="0">
                    <a:pos x="T8" y="T9"/>
                  </a:cxn>
                </a:cxnLst>
                <a:rect l="0" t="0" r="r" b="b"/>
                <a:pathLst>
                  <a:path w="71" h="70">
                    <a:moveTo>
                      <a:pt x="13" y="13"/>
                    </a:moveTo>
                    <a:cubicBezTo>
                      <a:pt x="0" y="25"/>
                      <a:pt x="0" y="45"/>
                      <a:pt x="13" y="58"/>
                    </a:cubicBezTo>
                    <a:cubicBezTo>
                      <a:pt x="25" y="70"/>
                      <a:pt x="46" y="70"/>
                      <a:pt x="58" y="58"/>
                    </a:cubicBezTo>
                    <a:cubicBezTo>
                      <a:pt x="71" y="45"/>
                      <a:pt x="71" y="25"/>
                      <a:pt x="58" y="13"/>
                    </a:cubicBezTo>
                    <a:cubicBezTo>
                      <a:pt x="46" y="0"/>
                      <a:pt x="25" y="0"/>
                      <a:pt x="13" y="13"/>
                    </a:cubicBezTo>
                    <a:close/>
                  </a:path>
                </a:pathLst>
              </a:custGeom>
              <a:solidFill>
                <a:srgbClr val="F472D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106" name="Freeform 105"/>
              <p:cNvSpPr>
                <a:spLocks noEditPoints="1"/>
              </p:cNvSpPr>
              <p:nvPr/>
            </p:nvSpPr>
            <p:spPr bwMode="auto">
              <a:xfrm>
                <a:off x="10645775" y="1809751"/>
                <a:ext cx="101600" cy="49213"/>
              </a:xfrm>
              <a:custGeom>
                <a:avLst/>
                <a:gdLst>
                  <a:gd name="T0" fmla="*/ 50 w 52"/>
                  <a:gd name="T1" fmla="*/ 15 h 25"/>
                  <a:gd name="T2" fmla="*/ 5 w 52"/>
                  <a:gd name="T3" fmla="*/ 5 h 25"/>
                  <a:gd name="T4" fmla="*/ 4 w 52"/>
                  <a:gd name="T5" fmla="*/ 6 h 25"/>
                  <a:gd name="T6" fmla="*/ 2 w 52"/>
                  <a:gd name="T7" fmla="*/ 7 h 25"/>
                  <a:gd name="T8" fmla="*/ 2 w 52"/>
                  <a:gd name="T9" fmla="*/ 14 h 25"/>
                  <a:gd name="T10" fmla="*/ 7 w 52"/>
                  <a:gd name="T11" fmla="*/ 16 h 25"/>
                  <a:gd name="T12" fmla="*/ 7 w 52"/>
                  <a:gd name="T13" fmla="*/ 16 h 25"/>
                  <a:gd name="T14" fmla="*/ 7 w 52"/>
                  <a:gd name="T15" fmla="*/ 16 h 25"/>
                  <a:gd name="T16" fmla="*/ 42 w 52"/>
                  <a:gd name="T17" fmla="*/ 23 h 25"/>
                  <a:gd name="T18" fmla="*/ 50 w 52"/>
                  <a:gd name="T19" fmla="*/ 23 h 25"/>
                  <a:gd name="T20" fmla="*/ 50 w 52"/>
                  <a:gd name="T21" fmla="*/ 15 h 25"/>
                  <a:gd name="T22" fmla="*/ 9 w 52"/>
                  <a:gd name="T23" fmla="*/ 15 h 25"/>
                  <a:gd name="T24" fmla="*/ 9 w 52"/>
                  <a:gd name="T25" fmla="*/ 15 h 25"/>
                  <a:gd name="T26" fmla="*/ 9 w 52"/>
                  <a:gd name="T27" fmla="*/ 1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2" h="25">
                    <a:moveTo>
                      <a:pt x="50" y="15"/>
                    </a:moveTo>
                    <a:cubicBezTo>
                      <a:pt x="38" y="3"/>
                      <a:pt x="20" y="0"/>
                      <a:pt x="5" y="5"/>
                    </a:cubicBezTo>
                    <a:cubicBezTo>
                      <a:pt x="4" y="5"/>
                      <a:pt x="4" y="6"/>
                      <a:pt x="4" y="6"/>
                    </a:cubicBezTo>
                    <a:cubicBezTo>
                      <a:pt x="3" y="6"/>
                      <a:pt x="3" y="6"/>
                      <a:pt x="2" y="7"/>
                    </a:cubicBezTo>
                    <a:cubicBezTo>
                      <a:pt x="0" y="9"/>
                      <a:pt x="0" y="12"/>
                      <a:pt x="2" y="14"/>
                    </a:cubicBezTo>
                    <a:cubicBezTo>
                      <a:pt x="4" y="16"/>
                      <a:pt x="6" y="16"/>
                      <a:pt x="7" y="16"/>
                    </a:cubicBezTo>
                    <a:cubicBezTo>
                      <a:pt x="7" y="16"/>
                      <a:pt x="7" y="16"/>
                      <a:pt x="7" y="16"/>
                    </a:cubicBezTo>
                    <a:cubicBezTo>
                      <a:pt x="7" y="16"/>
                      <a:pt x="7" y="16"/>
                      <a:pt x="7" y="16"/>
                    </a:cubicBezTo>
                    <a:cubicBezTo>
                      <a:pt x="19" y="11"/>
                      <a:pt x="33" y="13"/>
                      <a:pt x="42" y="23"/>
                    </a:cubicBezTo>
                    <a:cubicBezTo>
                      <a:pt x="44" y="25"/>
                      <a:pt x="48" y="25"/>
                      <a:pt x="50" y="23"/>
                    </a:cubicBezTo>
                    <a:cubicBezTo>
                      <a:pt x="52" y="21"/>
                      <a:pt x="52" y="17"/>
                      <a:pt x="50" y="15"/>
                    </a:cubicBezTo>
                    <a:close/>
                    <a:moveTo>
                      <a:pt x="9" y="15"/>
                    </a:moveTo>
                    <a:cubicBezTo>
                      <a:pt x="9" y="15"/>
                      <a:pt x="9" y="15"/>
                      <a:pt x="9" y="15"/>
                    </a:cubicBezTo>
                    <a:cubicBezTo>
                      <a:pt x="9" y="15"/>
                      <a:pt x="9" y="15"/>
                      <a:pt x="9" y="15"/>
                    </a:cubicBezTo>
                    <a:close/>
                  </a:path>
                </a:pathLst>
              </a:custGeom>
              <a:solidFill>
                <a:srgbClr val="F472D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107" name="Freeform 106"/>
              <p:cNvSpPr>
                <a:spLocks/>
              </p:cNvSpPr>
              <p:nvPr/>
            </p:nvSpPr>
            <p:spPr bwMode="auto">
              <a:xfrm>
                <a:off x="10625138" y="1836738"/>
                <a:ext cx="20638" cy="23813"/>
              </a:xfrm>
              <a:custGeom>
                <a:avLst/>
                <a:gdLst>
                  <a:gd name="T0" fmla="*/ 2 w 11"/>
                  <a:gd name="T1" fmla="*/ 10 h 12"/>
                  <a:gd name="T2" fmla="*/ 9 w 11"/>
                  <a:gd name="T3" fmla="*/ 10 h 12"/>
                  <a:gd name="T4" fmla="*/ 9 w 11"/>
                  <a:gd name="T5" fmla="*/ 2 h 12"/>
                  <a:gd name="T6" fmla="*/ 4 w 11"/>
                  <a:gd name="T7" fmla="*/ 1 h 12"/>
                  <a:gd name="T8" fmla="*/ 3 w 11"/>
                  <a:gd name="T9" fmla="*/ 1 h 12"/>
                  <a:gd name="T10" fmla="*/ 2 w 11"/>
                  <a:gd name="T11" fmla="*/ 2 h 12"/>
                  <a:gd name="T12" fmla="*/ 2 w 11"/>
                  <a:gd name="T13" fmla="*/ 10 h 12"/>
                </a:gdLst>
                <a:ahLst/>
                <a:cxnLst>
                  <a:cxn ang="0">
                    <a:pos x="T0" y="T1"/>
                  </a:cxn>
                  <a:cxn ang="0">
                    <a:pos x="T2" y="T3"/>
                  </a:cxn>
                  <a:cxn ang="0">
                    <a:pos x="T4" y="T5"/>
                  </a:cxn>
                  <a:cxn ang="0">
                    <a:pos x="T6" y="T7"/>
                  </a:cxn>
                  <a:cxn ang="0">
                    <a:pos x="T8" y="T9"/>
                  </a:cxn>
                  <a:cxn ang="0">
                    <a:pos x="T10" y="T11"/>
                  </a:cxn>
                  <a:cxn ang="0">
                    <a:pos x="T12" y="T13"/>
                  </a:cxn>
                </a:cxnLst>
                <a:rect l="0" t="0" r="r" b="b"/>
                <a:pathLst>
                  <a:path w="11" h="12">
                    <a:moveTo>
                      <a:pt x="2" y="10"/>
                    </a:moveTo>
                    <a:cubicBezTo>
                      <a:pt x="4" y="12"/>
                      <a:pt x="7" y="12"/>
                      <a:pt x="9" y="10"/>
                    </a:cubicBezTo>
                    <a:cubicBezTo>
                      <a:pt x="11" y="8"/>
                      <a:pt x="11" y="4"/>
                      <a:pt x="9" y="2"/>
                    </a:cubicBezTo>
                    <a:cubicBezTo>
                      <a:pt x="8" y="1"/>
                      <a:pt x="6" y="0"/>
                      <a:pt x="4" y="1"/>
                    </a:cubicBezTo>
                    <a:cubicBezTo>
                      <a:pt x="4" y="1"/>
                      <a:pt x="3" y="1"/>
                      <a:pt x="3" y="1"/>
                    </a:cubicBezTo>
                    <a:cubicBezTo>
                      <a:pt x="3" y="1"/>
                      <a:pt x="2" y="2"/>
                      <a:pt x="2" y="2"/>
                    </a:cubicBezTo>
                    <a:cubicBezTo>
                      <a:pt x="0" y="4"/>
                      <a:pt x="0" y="8"/>
                      <a:pt x="2" y="10"/>
                    </a:cubicBezTo>
                    <a:close/>
                  </a:path>
                </a:pathLst>
              </a:custGeom>
              <a:solidFill>
                <a:srgbClr val="F472D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108" name="Freeform 107"/>
              <p:cNvSpPr>
                <a:spLocks/>
              </p:cNvSpPr>
              <p:nvPr/>
            </p:nvSpPr>
            <p:spPr bwMode="auto">
              <a:xfrm>
                <a:off x="10706100" y="2125663"/>
                <a:ext cx="369888" cy="66675"/>
              </a:xfrm>
              <a:custGeom>
                <a:avLst/>
                <a:gdLst>
                  <a:gd name="T0" fmla="*/ 11 w 189"/>
                  <a:gd name="T1" fmla="*/ 33 h 34"/>
                  <a:gd name="T2" fmla="*/ 1 w 189"/>
                  <a:gd name="T3" fmla="*/ 25 h 34"/>
                  <a:gd name="T4" fmla="*/ 1 w 189"/>
                  <a:gd name="T5" fmla="*/ 25 h 34"/>
                  <a:gd name="T6" fmla="*/ 9 w 189"/>
                  <a:gd name="T7" fmla="*/ 15 h 34"/>
                  <a:gd name="T8" fmla="*/ 178 w 189"/>
                  <a:gd name="T9" fmla="*/ 0 h 34"/>
                  <a:gd name="T10" fmla="*/ 188 w 189"/>
                  <a:gd name="T11" fmla="*/ 9 h 34"/>
                  <a:gd name="T12" fmla="*/ 188 w 189"/>
                  <a:gd name="T13" fmla="*/ 9 h 34"/>
                  <a:gd name="T14" fmla="*/ 180 w 189"/>
                  <a:gd name="T15" fmla="*/ 18 h 34"/>
                  <a:gd name="T16" fmla="*/ 11 w 189"/>
                  <a:gd name="T17" fmla="*/ 33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9" h="34">
                    <a:moveTo>
                      <a:pt x="11" y="33"/>
                    </a:moveTo>
                    <a:cubicBezTo>
                      <a:pt x="4" y="34"/>
                      <a:pt x="1" y="30"/>
                      <a:pt x="1" y="25"/>
                    </a:cubicBezTo>
                    <a:cubicBezTo>
                      <a:pt x="1" y="25"/>
                      <a:pt x="1" y="25"/>
                      <a:pt x="1" y="25"/>
                    </a:cubicBezTo>
                    <a:cubicBezTo>
                      <a:pt x="0" y="20"/>
                      <a:pt x="2" y="16"/>
                      <a:pt x="9" y="15"/>
                    </a:cubicBezTo>
                    <a:cubicBezTo>
                      <a:pt x="178" y="0"/>
                      <a:pt x="178" y="0"/>
                      <a:pt x="178" y="0"/>
                    </a:cubicBezTo>
                    <a:cubicBezTo>
                      <a:pt x="185" y="0"/>
                      <a:pt x="188" y="4"/>
                      <a:pt x="188" y="9"/>
                    </a:cubicBezTo>
                    <a:cubicBezTo>
                      <a:pt x="188" y="9"/>
                      <a:pt x="188" y="9"/>
                      <a:pt x="188" y="9"/>
                    </a:cubicBezTo>
                    <a:cubicBezTo>
                      <a:pt x="189" y="14"/>
                      <a:pt x="187" y="18"/>
                      <a:pt x="180" y="18"/>
                    </a:cubicBezTo>
                    <a:lnTo>
                      <a:pt x="11" y="33"/>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109" name="Freeform 108"/>
              <p:cNvSpPr>
                <a:spLocks/>
              </p:cNvSpPr>
              <p:nvPr/>
            </p:nvSpPr>
            <p:spPr bwMode="auto">
              <a:xfrm>
                <a:off x="10734675" y="2041526"/>
                <a:ext cx="314325" cy="234950"/>
              </a:xfrm>
              <a:custGeom>
                <a:avLst/>
                <a:gdLst>
                  <a:gd name="T0" fmla="*/ 6 w 161"/>
                  <a:gd name="T1" fmla="*/ 18 h 120"/>
                  <a:gd name="T2" fmla="*/ 3 w 161"/>
                  <a:gd name="T3" fmla="*/ 6 h 120"/>
                  <a:gd name="T4" fmla="*/ 3 w 161"/>
                  <a:gd name="T5" fmla="*/ 6 h 120"/>
                  <a:gd name="T6" fmla="*/ 16 w 161"/>
                  <a:gd name="T7" fmla="*/ 4 h 120"/>
                  <a:gd name="T8" fmla="*/ 155 w 161"/>
                  <a:gd name="T9" fmla="*/ 101 h 120"/>
                  <a:gd name="T10" fmla="*/ 158 w 161"/>
                  <a:gd name="T11" fmla="*/ 114 h 120"/>
                  <a:gd name="T12" fmla="*/ 158 w 161"/>
                  <a:gd name="T13" fmla="*/ 114 h 120"/>
                  <a:gd name="T14" fmla="*/ 145 w 161"/>
                  <a:gd name="T15" fmla="*/ 116 h 120"/>
                  <a:gd name="T16" fmla="*/ 6 w 161"/>
                  <a:gd name="T17" fmla="*/ 18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1" h="120">
                    <a:moveTo>
                      <a:pt x="6" y="18"/>
                    </a:moveTo>
                    <a:cubicBezTo>
                      <a:pt x="0" y="14"/>
                      <a:pt x="1" y="10"/>
                      <a:pt x="3" y="6"/>
                    </a:cubicBezTo>
                    <a:cubicBezTo>
                      <a:pt x="3" y="6"/>
                      <a:pt x="3" y="6"/>
                      <a:pt x="3" y="6"/>
                    </a:cubicBezTo>
                    <a:cubicBezTo>
                      <a:pt x="6" y="2"/>
                      <a:pt x="10" y="0"/>
                      <a:pt x="16" y="4"/>
                    </a:cubicBezTo>
                    <a:cubicBezTo>
                      <a:pt x="155" y="101"/>
                      <a:pt x="155" y="101"/>
                      <a:pt x="155" y="101"/>
                    </a:cubicBezTo>
                    <a:cubicBezTo>
                      <a:pt x="161" y="105"/>
                      <a:pt x="160" y="110"/>
                      <a:pt x="158" y="114"/>
                    </a:cubicBezTo>
                    <a:cubicBezTo>
                      <a:pt x="158" y="114"/>
                      <a:pt x="158" y="114"/>
                      <a:pt x="158" y="114"/>
                    </a:cubicBezTo>
                    <a:cubicBezTo>
                      <a:pt x="155" y="118"/>
                      <a:pt x="151" y="120"/>
                      <a:pt x="145" y="116"/>
                    </a:cubicBezTo>
                    <a:lnTo>
                      <a:pt x="6" y="18"/>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110" name="Freeform 109"/>
              <p:cNvSpPr>
                <a:spLocks/>
              </p:cNvSpPr>
              <p:nvPr/>
            </p:nvSpPr>
            <p:spPr bwMode="auto">
              <a:xfrm>
                <a:off x="10828338" y="1978026"/>
                <a:ext cx="127000" cy="361950"/>
              </a:xfrm>
              <a:custGeom>
                <a:avLst/>
                <a:gdLst>
                  <a:gd name="T0" fmla="*/ 2 w 65"/>
                  <a:gd name="T1" fmla="*/ 12 h 184"/>
                  <a:gd name="T2" fmla="*/ 8 w 65"/>
                  <a:gd name="T3" fmla="*/ 1 h 184"/>
                  <a:gd name="T4" fmla="*/ 8 w 65"/>
                  <a:gd name="T5" fmla="*/ 1 h 184"/>
                  <a:gd name="T6" fmla="*/ 19 w 65"/>
                  <a:gd name="T7" fmla="*/ 7 h 184"/>
                  <a:gd name="T8" fmla="*/ 63 w 65"/>
                  <a:gd name="T9" fmla="*/ 172 h 184"/>
                  <a:gd name="T10" fmla="*/ 57 w 65"/>
                  <a:gd name="T11" fmla="*/ 183 h 184"/>
                  <a:gd name="T12" fmla="*/ 57 w 65"/>
                  <a:gd name="T13" fmla="*/ 183 h 184"/>
                  <a:gd name="T14" fmla="*/ 46 w 65"/>
                  <a:gd name="T15" fmla="*/ 176 h 184"/>
                  <a:gd name="T16" fmla="*/ 2 w 65"/>
                  <a:gd name="T17" fmla="*/ 12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5" h="184">
                    <a:moveTo>
                      <a:pt x="2" y="12"/>
                    </a:moveTo>
                    <a:cubicBezTo>
                      <a:pt x="0" y="5"/>
                      <a:pt x="3" y="2"/>
                      <a:pt x="8" y="1"/>
                    </a:cubicBezTo>
                    <a:cubicBezTo>
                      <a:pt x="8" y="1"/>
                      <a:pt x="8" y="1"/>
                      <a:pt x="8" y="1"/>
                    </a:cubicBezTo>
                    <a:cubicBezTo>
                      <a:pt x="13" y="0"/>
                      <a:pt x="17" y="1"/>
                      <a:pt x="19" y="7"/>
                    </a:cubicBezTo>
                    <a:cubicBezTo>
                      <a:pt x="63" y="172"/>
                      <a:pt x="63" y="172"/>
                      <a:pt x="63" y="172"/>
                    </a:cubicBezTo>
                    <a:cubicBezTo>
                      <a:pt x="65" y="178"/>
                      <a:pt x="62" y="181"/>
                      <a:pt x="57" y="183"/>
                    </a:cubicBezTo>
                    <a:cubicBezTo>
                      <a:pt x="57" y="183"/>
                      <a:pt x="57" y="183"/>
                      <a:pt x="57" y="183"/>
                    </a:cubicBezTo>
                    <a:cubicBezTo>
                      <a:pt x="52" y="184"/>
                      <a:pt x="48" y="183"/>
                      <a:pt x="46" y="176"/>
                    </a:cubicBezTo>
                    <a:lnTo>
                      <a:pt x="2" y="12"/>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111" name="Freeform 110"/>
              <p:cNvSpPr>
                <a:spLocks/>
              </p:cNvSpPr>
              <p:nvPr/>
            </p:nvSpPr>
            <p:spPr bwMode="auto">
              <a:xfrm>
                <a:off x="10798175" y="1985963"/>
                <a:ext cx="185738" cy="344488"/>
              </a:xfrm>
              <a:custGeom>
                <a:avLst/>
                <a:gdLst>
                  <a:gd name="T0" fmla="*/ 75 w 95"/>
                  <a:gd name="T1" fmla="*/ 7 h 175"/>
                  <a:gd name="T2" fmla="*/ 87 w 95"/>
                  <a:gd name="T3" fmla="*/ 3 h 175"/>
                  <a:gd name="T4" fmla="*/ 87 w 95"/>
                  <a:gd name="T5" fmla="*/ 3 h 175"/>
                  <a:gd name="T6" fmla="*/ 92 w 95"/>
                  <a:gd name="T7" fmla="*/ 15 h 175"/>
                  <a:gd name="T8" fmla="*/ 20 w 95"/>
                  <a:gd name="T9" fmla="*/ 169 h 175"/>
                  <a:gd name="T10" fmla="*/ 8 w 95"/>
                  <a:gd name="T11" fmla="*/ 173 h 175"/>
                  <a:gd name="T12" fmla="*/ 8 w 95"/>
                  <a:gd name="T13" fmla="*/ 173 h 175"/>
                  <a:gd name="T14" fmla="*/ 3 w 95"/>
                  <a:gd name="T15" fmla="*/ 161 h 175"/>
                  <a:gd name="T16" fmla="*/ 75 w 95"/>
                  <a:gd name="T17" fmla="*/ 7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5" h="175">
                    <a:moveTo>
                      <a:pt x="75" y="7"/>
                    </a:moveTo>
                    <a:cubicBezTo>
                      <a:pt x="78" y="1"/>
                      <a:pt x="83" y="0"/>
                      <a:pt x="87" y="3"/>
                    </a:cubicBezTo>
                    <a:cubicBezTo>
                      <a:pt x="87" y="3"/>
                      <a:pt x="87" y="3"/>
                      <a:pt x="87" y="3"/>
                    </a:cubicBezTo>
                    <a:cubicBezTo>
                      <a:pt x="92" y="5"/>
                      <a:pt x="95" y="8"/>
                      <a:pt x="92" y="15"/>
                    </a:cubicBezTo>
                    <a:cubicBezTo>
                      <a:pt x="20" y="169"/>
                      <a:pt x="20" y="169"/>
                      <a:pt x="20" y="169"/>
                    </a:cubicBezTo>
                    <a:cubicBezTo>
                      <a:pt x="17" y="175"/>
                      <a:pt x="12" y="175"/>
                      <a:pt x="8" y="173"/>
                    </a:cubicBezTo>
                    <a:cubicBezTo>
                      <a:pt x="8" y="173"/>
                      <a:pt x="8" y="173"/>
                      <a:pt x="8" y="173"/>
                    </a:cubicBezTo>
                    <a:cubicBezTo>
                      <a:pt x="3" y="171"/>
                      <a:pt x="0" y="167"/>
                      <a:pt x="3" y="161"/>
                    </a:cubicBezTo>
                    <a:lnTo>
                      <a:pt x="75" y="7"/>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112" name="Freeform 111"/>
              <p:cNvSpPr>
                <a:spLocks/>
              </p:cNvSpPr>
              <p:nvPr/>
            </p:nvSpPr>
            <p:spPr bwMode="auto">
              <a:xfrm>
                <a:off x="10720388" y="2066926"/>
                <a:ext cx="341313" cy="184150"/>
              </a:xfrm>
              <a:custGeom>
                <a:avLst/>
                <a:gdLst>
                  <a:gd name="T0" fmla="*/ 161 w 175"/>
                  <a:gd name="T1" fmla="*/ 3 h 94"/>
                  <a:gd name="T2" fmla="*/ 173 w 175"/>
                  <a:gd name="T3" fmla="*/ 7 h 94"/>
                  <a:gd name="T4" fmla="*/ 173 w 175"/>
                  <a:gd name="T5" fmla="*/ 7 h 94"/>
                  <a:gd name="T6" fmla="*/ 168 w 175"/>
                  <a:gd name="T7" fmla="*/ 19 h 94"/>
                  <a:gd name="T8" fmla="*/ 14 w 175"/>
                  <a:gd name="T9" fmla="*/ 91 h 94"/>
                  <a:gd name="T10" fmla="*/ 2 w 175"/>
                  <a:gd name="T11" fmla="*/ 86 h 94"/>
                  <a:gd name="T12" fmla="*/ 2 w 175"/>
                  <a:gd name="T13" fmla="*/ 86 h 94"/>
                  <a:gd name="T14" fmla="*/ 7 w 175"/>
                  <a:gd name="T15" fmla="*/ 74 h 94"/>
                  <a:gd name="T16" fmla="*/ 161 w 175"/>
                  <a:gd name="T17" fmla="*/ 3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5" h="94">
                    <a:moveTo>
                      <a:pt x="161" y="3"/>
                    </a:moveTo>
                    <a:cubicBezTo>
                      <a:pt x="167" y="0"/>
                      <a:pt x="171" y="2"/>
                      <a:pt x="173" y="7"/>
                    </a:cubicBezTo>
                    <a:cubicBezTo>
                      <a:pt x="173" y="7"/>
                      <a:pt x="173" y="7"/>
                      <a:pt x="173" y="7"/>
                    </a:cubicBezTo>
                    <a:cubicBezTo>
                      <a:pt x="175" y="12"/>
                      <a:pt x="175" y="16"/>
                      <a:pt x="168" y="19"/>
                    </a:cubicBezTo>
                    <a:cubicBezTo>
                      <a:pt x="14" y="91"/>
                      <a:pt x="14" y="91"/>
                      <a:pt x="14" y="91"/>
                    </a:cubicBezTo>
                    <a:cubicBezTo>
                      <a:pt x="8" y="94"/>
                      <a:pt x="4" y="91"/>
                      <a:pt x="2" y="86"/>
                    </a:cubicBezTo>
                    <a:cubicBezTo>
                      <a:pt x="2" y="86"/>
                      <a:pt x="2" y="86"/>
                      <a:pt x="2" y="86"/>
                    </a:cubicBezTo>
                    <a:cubicBezTo>
                      <a:pt x="0" y="82"/>
                      <a:pt x="0" y="77"/>
                      <a:pt x="7" y="74"/>
                    </a:cubicBezTo>
                    <a:lnTo>
                      <a:pt x="161" y="3"/>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113" name="Freeform 112"/>
              <p:cNvSpPr>
                <a:spLocks/>
              </p:cNvSpPr>
              <p:nvPr/>
            </p:nvSpPr>
            <p:spPr bwMode="auto">
              <a:xfrm>
                <a:off x="10710863" y="2093913"/>
                <a:ext cx="360363" cy="128588"/>
              </a:xfrm>
              <a:custGeom>
                <a:avLst/>
                <a:gdLst>
                  <a:gd name="T0" fmla="*/ 177 w 185"/>
                  <a:gd name="T1" fmla="*/ 46 h 65"/>
                  <a:gd name="T2" fmla="*/ 183 w 185"/>
                  <a:gd name="T3" fmla="*/ 57 h 65"/>
                  <a:gd name="T4" fmla="*/ 183 w 185"/>
                  <a:gd name="T5" fmla="*/ 57 h 65"/>
                  <a:gd name="T6" fmla="*/ 172 w 185"/>
                  <a:gd name="T7" fmla="*/ 63 h 65"/>
                  <a:gd name="T8" fmla="*/ 8 w 185"/>
                  <a:gd name="T9" fmla="*/ 19 h 65"/>
                  <a:gd name="T10" fmla="*/ 2 w 185"/>
                  <a:gd name="T11" fmla="*/ 8 h 65"/>
                  <a:gd name="T12" fmla="*/ 2 w 185"/>
                  <a:gd name="T13" fmla="*/ 8 h 65"/>
                  <a:gd name="T14" fmla="*/ 13 w 185"/>
                  <a:gd name="T15" fmla="*/ 2 h 65"/>
                  <a:gd name="T16" fmla="*/ 177 w 185"/>
                  <a:gd name="T17" fmla="*/ 46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5" h="65">
                    <a:moveTo>
                      <a:pt x="177" y="46"/>
                    </a:moveTo>
                    <a:cubicBezTo>
                      <a:pt x="184" y="48"/>
                      <a:pt x="185" y="52"/>
                      <a:pt x="183" y="57"/>
                    </a:cubicBezTo>
                    <a:cubicBezTo>
                      <a:pt x="183" y="57"/>
                      <a:pt x="183" y="57"/>
                      <a:pt x="183" y="57"/>
                    </a:cubicBezTo>
                    <a:cubicBezTo>
                      <a:pt x="182" y="62"/>
                      <a:pt x="179" y="65"/>
                      <a:pt x="172" y="63"/>
                    </a:cubicBezTo>
                    <a:cubicBezTo>
                      <a:pt x="8" y="19"/>
                      <a:pt x="8" y="19"/>
                      <a:pt x="8" y="19"/>
                    </a:cubicBezTo>
                    <a:cubicBezTo>
                      <a:pt x="1" y="18"/>
                      <a:pt x="0" y="13"/>
                      <a:pt x="2" y="8"/>
                    </a:cubicBezTo>
                    <a:cubicBezTo>
                      <a:pt x="2" y="8"/>
                      <a:pt x="2" y="8"/>
                      <a:pt x="2" y="8"/>
                    </a:cubicBezTo>
                    <a:cubicBezTo>
                      <a:pt x="3" y="4"/>
                      <a:pt x="6" y="0"/>
                      <a:pt x="13" y="2"/>
                    </a:cubicBezTo>
                    <a:lnTo>
                      <a:pt x="177" y="46"/>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114" name="Freeform 113"/>
              <p:cNvSpPr>
                <a:spLocks/>
              </p:cNvSpPr>
              <p:nvPr/>
            </p:nvSpPr>
            <p:spPr bwMode="auto">
              <a:xfrm>
                <a:off x="10772775" y="2000251"/>
                <a:ext cx="236538" cy="315913"/>
              </a:xfrm>
              <a:custGeom>
                <a:avLst/>
                <a:gdLst>
                  <a:gd name="T0" fmla="*/ 117 w 121"/>
                  <a:gd name="T1" fmla="*/ 145 h 161"/>
                  <a:gd name="T2" fmla="*/ 114 w 121"/>
                  <a:gd name="T3" fmla="*/ 158 h 161"/>
                  <a:gd name="T4" fmla="*/ 114 w 121"/>
                  <a:gd name="T5" fmla="*/ 158 h 161"/>
                  <a:gd name="T6" fmla="*/ 102 w 121"/>
                  <a:gd name="T7" fmla="*/ 156 h 161"/>
                  <a:gd name="T8" fmla="*/ 4 w 121"/>
                  <a:gd name="T9" fmla="*/ 16 h 161"/>
                  <a:gd name="T10" fmla="*/ 7 w 121"/>
                  <a:gd name="T11" fmla="*/ 4 h 161"/>
                  <a:gd name="T12" fmla="*/ 7 w 121"/>
                  <a:gd name="T13" fmla="*/ 4 h 161"/>
                  <a:gd name="T14" fmla="*/ 19 w 121"/>
                  <a:gd name="T15" fmla="*/ 6 h 161"/>
                  <a:gd name="T16" fmla="*/ 117 w 121"/>
                  <a:gd name="T17" fmla="*/ 145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1" h="161">
                    <a:moveTo>
                      <a:pt x="117" y="145"/>
                    </a:moveTo>
                    <a:cubicBezTo>
                      <a:pt x="121" y="151"/>
                      <a:pt x="119" y="155"/>
                      <a:pt x="114" y="158"/>
                    </a:cubicBezTo>
                    <a:cubicBezTo>
                      <a:pt x="114" y="158"/>
                      <a:pt x="114" y="158"/>
                      <a:pt x="114" y="158"/>
                    </a:cubicBezTo>
                    <a:cubicBezTo>
                      <a:pt x="110" y="161"/>
                      <a:pt x="106" y="161"/>
                      <a:pt x="102" y="156"/>
                    </a:cubicBezTo>
                    <a:cubicBezTo>
                      <a:pt x="4" y="16"/>
                      <a:pt x="4" y="16"/>
                      <a:pt x="4" y="16"/>
                    </a:cubicBezTo>
                    <a:cubicBezTo>
                      <a:pt x="0" y="11"/>
                      <a:pt x="2" y="7"/>
                      <a:pt x="7" y="4"/>
                    </a:cubicBezTo>
                    <a:cubicBezTo>
                      <a:pt x="7" y="4"/>
                      <a:pt x="7" y="4"/>
                      <a:pt x="7" y="4"/>
                    </a:cubicBezTo>
                    <a:cubicBezTo>
                      <a:pt x="11" y="1"/>
                      <a:pt x="15" y="0"/>
                      <a:pt x="19" y="6"/>
                    </a:cubicBezTo>
                    <a:lnTo>
                      <a:pt x="117" y="145"/>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115" name="Freeform 114"/>
              <p:cNvSpPr>
                <a:spLocks/>
              </p:cNvSpPr>
              <p:nvPr/>
            </p:nvSpPr>
            <p:spPr bwMode="auto">
              <a:xfrm>
                <a:off x="10856913" y="1974851"/>
                <a:ext cx="68263" cy="368300"/>
              </a:xfrm>
              <a:custGeom>
                <a:avLst/>
                <a:gdLst>
                  <a:gd name="T0" fmla="*/ 19 w 35"/>
                  <a:gd name="T1" fmla="*/ 179 h 188"/>
                  <a:gd name="T2" fmla="*/ 9 w 35"/>
                  <a:gd name="T3" fmla="*/ 187 h 188"/>
                  <a:gd name="T4" fmla="*/ 9 w 35"/>
                  <a:gd name="T5" fmla="*/ 187 h 188"/>
                  <a:gd name="T6" fmla="*/ 1 w 35"/>
                  <a:gd name="T7" fmla="*/ 178 h 188"/>
                  <a:gd name="T8" fmla="*/ 16 w 35"/>
                  <a:gd name="T9" fmla="*/ 8 h 188"/>
                  <a:gd name="T10" fmla="*/ 26 w 35"/>
                  <a:gd name="T11" fmla="*/ 0 h 188"/>
                  <a:gd name="T12" fmla="*/ 26 w 35"/>
                  <a:gd name="T13" fmla="*/ 0 h 188"/>
                  <a:gd name="T14" fmla="*/ 34 w 35"/>
                  <a:gd name="T15" fmla="*/ 10 h 188"/>
                  <a:gd name="T16" fmla="*/ 19 w 35"/>
                  <a:gd name="T17" fmla="*/ 179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 h="188">
                    <a:moveTo>
                      <a:pt x="19" y="179"/>
                    </a:moveTo>
                    <a:cubicBezTo>
                      <a:pt x="18" y="186"/>
                      <a:pt x="14" y="188"/>
                      <a:pt x="9" y="187"/>
                    </a:cubicBezTo>
                    <a:cubicBezTo>
                      <a:pt x="9" y="187"/>
                      <a:pt x="9" y="187"/>
                      <a:pt x="9" y="187"/>
                    </a:cubicBezTo>
                    <a:cubicBezTo>
                      <a:pt x="4" y="187"/>
                      <a:pt x="0" y="185"/>
                      <a:pt x="1" y="178"/>
                    </a:cubicBezTo>
                    <a:cubicBezTo>
                      <a:pt x="16" y="8"/>
                      <a:pt x="16" y="8"/>
                      <a:pt x="16" y="8"/>
                    </a:cubicBezTo>
                    <a:cubicBezTo>
                      <a:pt x="17" y="1"/>
                      <a:pt x="21" y="0"/>
                      <a:pt x="26" y="0"/>
                    </a:cubicBezTo>
                    <a:cubicBezTo>
                      <a:pt x="26" y="0"/>
                      <a:pt x="26" y="0"/>
                      <a:pt x="26" y="0"/>
                    </a:cubicBezTo>
                    <a:cubicBezTo>
                      <a:pt x="31" y="0"/>
                      <a:pt x="35" y="3"/>
                      <a:pt x="34" y="10"/>
                    </a:cubicBezTo>
                    <a:lnTo>
                      <a:pt x="19" y="179"/>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116" name="Freeform 115"/>
              <p:cNvSpPr>
                <a:spLocks/>
              </p:cNvSpPr>
              <p:nvPr/>
            </p:nvSpPr>
            <p:spPr bwMode="auto">
              <a:xfrm>
                <a:off x="10752138" y="2017713"/>
                <a:ext cx="279400" cy="280988"/>
              </a:xfrm>
              <a:custGeom>
                <a:avLst/>
                <a:gdLst>
                  <a:gd name="T0" fmla="*/ 18 w 143"/>
                  <a:gd name="T1" fmla="*/ 138 h 143"/>
                  <a:gd name="T2" fmla="*/ 5 w 143"/>
                  <a:gd name="T3" fmla="*/ 138 h 143"/>
                  <a:gd name="T4" fmla="*/ 5 w 143"/>
                  <a:gd name="T5" fmla="*/ 138 h 143"/>
                  <a:gd name="T6" fmla="*/ 5 w 143"/>
                  <a:gd name="T7" fmla="*/ 125 h 143"/>
                  <a:gd name="T8" fmla="*/ 125 w 143"/>
                  <a:gd name="T9" fmla="*/ 5 h 143"/>
                  <a:gd name="T10" fmla="*/ 138 w 143"/>
                  <a:gd name="T11" fmla="*/ 5 h 143"/>
                  <a:gd name="T12" fmla="*/ 138 w 143"/>
                  <a:gd name="T13" fmla="*/ 5 h 143"/>
                  <a:gd name="T14" fmla="*/ 138 w 143"/>
                  <a:gd name="T15" fmla="*/ 18 h 143"/>
                  <a:gd name="T16" fmla="*/ 18 w 143"/>
                  <a:gd name="T17" fmla="*/ 138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3" h="143">
                    <a:moveTo>
                      <a:pt x="18" y="138"/>
                    </a:moveTo>
                    <a:cubicBezTo>
                      <a:pt x="13" y="143"/>
                      <a:pt x="9" y="142"/>
                      <a:pt x="5" y="138"/>
                    </a:cubicBezTo>
                    <a:cubicBezTo>
                      <a:pt x="5" y="138"/>
                      <a:pt x="5" y="138"/>
                      <a:pt x="5" y="138"/>
                    </a:cubicBezTo>
                    <a:cubicBezTo>
                      <a:pt x="1" y="135"/>
                      <a:pt x="0" y="130"/>
                      <a:pt x="5" y="125"/>
                    </a:cubicBezTo>
                    <a:cubicBezTo>
                      <a:pt x="125" y="5"/>
                      <a:pt x="125" y="5"/>
                      <a:pt x="125" y="5"/>
                    </a:cubicBezTo>
                    <a:cubicBezTo>
                      <a:pt x="130" y="0"/>
                      <a:pt x="134" y="2"/>
                      <a:pt x="138" y="5"/>
                    </a:cubicBezTo>
                    <a:cubicBezTo>
                      <a:pt x="138" y="5"/>
                      <a:pt x="138" y="5"/>
                      <a:pt x="138" y="5"/>
                    </a:cubicBezTo>
                    <a:cubicBezTo>
                      <a:pt x="142" y="9"/>
                      <a:pt x="143" y="13"/>
                      <a:pt x="138" y="18"/>
                    </a:cubicBezTo>
                    <a:lnTo>
                      <a:pt x="18" y="138"/>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117" name="Freeform 116"/>
              <p:cNvSpPr>
                <a:spLocks/>
              </p:cNvSpPr>
              <p:nvPr/>
            </p:nvSpPr>
            <p:spPr bwMode="auto">
              <a:xfrm>
                <a:off x="10714038" y="1981201"/>
                <a:ext cx="354013" cy="354013"/>
              </a:xfrm>
              <a:custGeom>
                <a:avLst/>
                <a:gdLst>
                  <a:gd name="T0" fmla="*/ 149 w 181"/>
                  <a:gd name="T1" fmla="*/ 149 h 181"/>
                  <a:gd name="T2" fmla="*/ 32 w 181"/>
                  <a:gd name="T3" fmla="*/ 149 h 181"/>
                  <a:gd name="T4" fmla="*/ 32 w 181"/>
                  <a:gd name="T5" fmla="*/ 32 h 181"/>
                  <a:gd name="T6" fmla="*/ 149 w 181"/>
                  <a:gd name="T7" fmla="*/ 32 h 181"/>
                  <a:gd name="T8" fmla="*/ 149 w 181"/>
                  <a:gd name="T9" fmla="*/ 149 h 181"/>
                </a:gdLst>
                <a:ahLst/>
                <a:cxnLst>
                  <a:cxn ang="0">
                    <a:pos x="T0" y="T1"/>
                  </a:cxn>
                  <a:cxn ang="0">
                    <a:pos x="T2" y="T3"/>
                  </a:cxn>
                  <a:cxn ang="0">
                    <a:pos x="T4" y="T5"/>
                  </a:cxn>
                  <a:cxn ang="0">
                    <a:pos x="T6" y="T7"/>
                  </a:cxn>
                  <a:cxn ang="0">
                    <a:pos x="T8" y="T9"/>
                  </a:cxn>
                </a:cxnLst>
                <a:rect l="0" t="0" r="r" b="b"/>
                <a:pathLst>
                  <a:path w="181" h="181">
                    <a:moveTo>
                      <a:pt x="149" y="149"/>
                    </a:moveTo>
                    <a:cubicBezTo>
                      <a:pt x="117" y="181"/>
                      <a:pt x="64" y="181"/>
                      <a:pt x="32" y="149"/>
                    </a:cubicBezTo>
                    <a:cubicBezTo>
                      <a:pt x="0" y="117"/>
                      <a:pt x="0" y="65"/>
                      <a:pt x="32" y="32"/>
                    </a:cubicBezTo>
                    <a:cubicBezTo>
                      <a:pt x="64" y="0"/>
                      <a:pt x="117" y="0"/>
                      <a:pt x="149" y="32"/>
                    </a:cubicBezTo>
                    <a:cubicBezTo>
                      <a:pt x="181" y="65"/>
                      <a:pt x="181" y="117"/>
                      <a:pt x="149" y="149"/>
                    </a:cubicBez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118" name="Freeform 117"/>
              <p:cNvSpPr>
                <a:spLocks/>
              </p:cNvSpPr>
              <p:nvPr/>
            </p:nvSpPr>
            <p:spPr bwMode="auto">
              <a:xfrm>
                <a:off x="10423525" y="2136776"/>
                <a:ext cx="242888" cy="44450"/>
              </a:xfrm>
              <a:custGeom>
                <a:avLst/>
                <a:gdLst>
                  <a:gd name="T0" fmla="*/ 7 w 124"/>
                  <a:gd name="T1" fmla="*/ 22 h 22"/>
                  <a:gd name="T2" fmla="*/ 0 w 124"/>
                  <a:gd name="T3" fmla="*/ 16 h 22"/>
                  <a:gd name="T4" fmla="*/ 0 w 124"/>
                  <a:gd name="T5" fmla="*/ 16 h 22"/>
                  <a:gd name="T6" fmla="*/ 6 w 124"/>
                  <a:gd name="T7" fmla="*/ 10 h 22"/>
                  <a:gd name="T8" fmla="*/ 117 w 124"/>
                  <a:gd name="T9" fmla="*/ 0 h 22"/>
                  <a:gd name="T10" fmla="*/ 124 w 124"/>
                  <a:gd name="T11" fmla="*/ 5 h 22"/>
                  <a:gd name="T12" fmla="*/ 124 w 124"/>
                  <a:gd name="T13" fmla="*/ 5 h 22"/>
                  <a:gd name="T14" fmla="*/ 118 w 124"/>
                  <a:gd name="T15" fmla="*/ 12 h 22"/>
                  <a:gd name="T16" fmla="*/ 7 w 124"/>
                  <a:gd name="T17"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4" h="22">
                    <a:moveTo>
                      <a:pt x="7" y="22"/>
                    </a:moveTo>
                    <a:cubicBezTo>
                      <a:pt x="2" y="22"/>
                      <a:pt x="0" y="19"/>
                      <a:pt x="0" y="16"/>
                    </a:cubicBezTo>
                    <a:cubicBezTo>
                      <a:pt x="0" y="16"/>
                      <a:pt x="0" y="16"/>
                      <a:pt x="0" y="16"/>
                    </a:cubicBezTo>
                    <a:cubicBezTo>
                      <a:pt x="0" y="13"/>
                      <a:pt x="1" y="10"/>
                      <a:pt x="6" y="10"/>
                    </a:cubicBezTo>
                    <a:cubicBezTo>
                      <a:pt x="117" y="0"/>
                      <a:pt x="117" y="0"/>
                      <a:pt x="117" y="0"/>
                    </a:cubicBezTo>
                    <a:cubicBezTo>
                      <a:pt x="122" y="0"/>
                      <a:pt x="123" y="2"/>
                      <a:pt x="124" y="5"/>
                    </a:cubicBezTo>
                    <a:cubicBezTo>
                      <a:pt x="124" y="5"/>
                      <a:pt x="124" y="5"/>
                      <a:pt x="124" y="5"/>
                    </a:cubicBezTo>
                    <a:cubicBezTo>
                      <a:pt x="124" y="9"/>
                      <a:pt x="123" y="11"/>
                      <a:pt x="118" y="12"/>
                    </a:cubicBezTo>
                    <a:lnTo>
                      <a:pt x="7" y="22"/>
                    </a:ln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119" name="Freeform 118"/>
              <p:cNvSpPr>
                <a:spLocks/>
              </p:cNvSpPr>
              <p:nvPr/>
            </p:nvSpPr>
            <p:spPr bwMode="auto">
              <a:xfrm>
                <a:off x="10440988" y="2081213"/>
                <a:ext cx="207963" cy="153988"/>
              </a:xfrm>
              <a:custGeom>
                <a:avLst/>
                <a:gdLst>
                  <a:gd name="T0" fmla="*/ 4 w 106"/>
                  <a:gd name="T1" fmla="*/ 12 h 79"/>
                  <a:gd name="T2" fmla="*/ 2 w 106"/>
                  <a:gd name="T3" fmla="*/ 4 h 79"/>
                  <a:gd name="T4" fmla="*/ 2 w 106"/>
                  <a:gd name="T5" fmla="*/ 4 h 79"/>
                  <a:gd name="T6" fmla="*/ 10 w 106"/>
                  <a:gd name="T7" fmla="*/ 3 h 79"/>
                  <a:gd name="T8" fmla="*/ 102 w 106"/>
                  <a:gd name="T9" fmla="*/ 67 h 79"/>
                  <a:gd name="T10" fmla="*/ 104 w 106"/>
                  <a:gd name="T11" fmla="*/ 75 h 79"/>
                  <a:gd name="T12" fmla="*/ 104 w 106"/>
                  <a:gd name="T13" fmla="*/ 75 h 79"/>
                  <a:gd name="T14" fmla="*/ 95 w 106"/>
                  <a:gd name="T15" fmla="*/ 77 h 79"/>
                  <a:gd name="T16" fmla="*/ 4 w 106"/>
                  <a:gd name="T17" fmla="*/ 12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6" h="79">
                    <a:moveTo>
                      <a:pt x="4" y="12"/>
                    </a:moveTo>
                    <a:cubicBezTo>
                      <a:pt x="0" y="10"/>
                      <a:pt x="0" y="7"/>
                      <a:pt x="2" y="4"/>
                    </a:cubicBezTo>
                    <a:cubicBezTo>
                      <a:pt x="2" y="4"/>
                      <a:pt x="2" y="4"/>
                      <a:pt x="2" y="4"/>
                    </a:cubicBezTo>
                    <a:cubicBezTo>
                      <a:pt x="4" y="2"/>
                      <a:pt x="7" y="0"/>
                      <a:pt x="10" y="3"/>
                    </a:cubicBezTo>
                    <a:cubicBezTo>
                      <a:pt x="102" y="67"/>
                      <a:pt x="102" y="67"/>
                      <a:pt x="102" y="67"/>
                    </a:cubicBezTo>
                    <a:cubicBezTo>
                      <a:pt x="106" y="70"/>
                      <a:pt x="105" y="73"/>
                      <a:pt x="104" y="75"/>
                    </a:cubicBezTo>
                    <a:cubicBezTo>
                      <a:pt x="104" y="75"/>
                      <a:pt x="104" y="75"/>
                      <a:pt x="104" y="75"/>
                    </a:cubicBezTo>
                    <a:cubicBezTo>
                      <a:pt x="102" y="78"/>
                      <a:pt x="99" y="79"/>
                      <a:pt x="95" y="77"/>
                    </a:cubicBezTo>
                    <a:lnTo>
                      <a:pt x="4" y="12"/>
                    </a:ln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120" name="Freeform 119"/>
              <p:cNvSpPr>
                <a:spLocks/>
              </p:cNvSpPr>
              <p:nvPr/>
            </p:nvSpPr>
            <p:spPr bwMode="auto">
              <a:xfrm>
                <a:off x="10501313" y="2039938"/>
                <a:ext cx="84138" cy="236538"/>
              </a:xfrm>
              <a:custGeom>
                <a:avLst/>
                <a:gdLst>
                  <a:gd name="T0" fmla="*/ 2 w 43"/>
                  <a:gd name="T1" fmla="*/ 8 h 121"/>
                  <a:gd name="T2" fmla="*/ 6 w 43"/>
                  <a:gd name="T3" fmla="*/ 1 h 121"/>
                  <a:gd name="T4" fmla="*/ 6 w 43"/>
                  <a:gd name="T5" fmla="*/ 1 h 121"/>
                  <a:gd name="T6" fmla="*/ 13 w 43"/>
                  <a:gd name="T7" fmla="*/ 5 h 121"/>
                  <a:gd name="T8" fmla="*/ 42 w 43"/>
                  <a:gd name="T9" fmla="*/ 113 h 121"/>
                  <a:gd name="T10" fmla="*/ 38 w 43"/>
                  <a:gd name="T11" fmla="*/ 121 h 121"/>
                  <a:gd name="T12" fmla="*/ 38 w 43"/>
                  <a:gd name="T13" fmla="*/ 121 h 121"/>
                  <a:gd name="T14" fmla="*/ 31 w 43"/>
                  <a:gd name="T15" fmla="*/ 116 h 121"/>
                  <a:gd name="T16" fmla="*/ 2 w 43"/>
                  <a:gd name="T17" fmla="*/ 8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3" h="121">
                    <a:moveTo>
                      <a:pt x="2" y="8"/>
                    </a:moveTo>
                    <a:cubicBezTo>
                      <a:pt x="0" y="4"/>
                      <a:pt x="3" y="2"/>
                      <a:pt x="6" y="1"/>
                    </a:cubicBezTo>
                    <a:cubicBezTo>
                      <a:pt x="6" y="1"/>
                      <a:pt x="6" y="1"/>
                      <a:pt x="6" y="1"/>
                    </a:cubicBezTo>
                    <a:cubicBezTo>
                      <a:pt x="9" y="0"/>
                      <a:pt x="12" y="1"/>
                      <a:pt x="13" y="5"/>
                    </a:cubicBezTo>
                    <a:cubicBezTo>
                      <a:pt x="42" y="113"/>
                      <a:pt x="42" y="113"/>
                      <a:pt x="42" y="113"/>
                    </a:cubicBezTo>
                    <a:cubicBezTo>
                      <a:pt x="43" y="118"/>
                      <a:pt x="41" y="120"/>
                      <a:pt x="38" y="121"/>
                    </a:cubicBezTo>
                    <a:cubicBezTo>
                      <a:pt x="38" y="121"/>
                      <a:pt x="38" y="121"/>
                      <a:pt x="38" y="121"/>
                    </a:cubicBezTo>
                    <a:cubicBezTo>
                      <a:pt x="35" y="121"/>
                      <a:pt x="32" y="121"/>
                      <a:pt x="31" y="116"/>
                    </a:cubicBezTo>
                    <a:lnTo>
                      <a:pt x="2" y="8"/>
                    </a:ln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121" name="Freeform 120"/>
              <p:cNvSpPr>
                <a:spLocks/>
              </p:cNvSpPr>
              <p:nvPr/>
            </p:nvSpPr>
            <p:spPr bwMode="auto">
              <a:xfrm>
                <a:off x="10483850" y="2044701"/>
                <a:ext cx="120650" cy="227013"/>
              </a:xfrm>
              <a:custGeom>
                <a:avLst/>
                <a:gdLst>
                  <a:gd name="T0" fmla="*/ 49 w 62"/>
                  <a:gd name="T1" fmla="*/ 4 h 115"/>
                  <a:gd name="T2" fmla="*/ 57 w 62"/>
                  <a:gd name="T3" fmla="*/ 2 h 115"/>
                  <a:gd name="T4" fmla="*/ 57 w 62"/>
                  <a:gd name="T5" fmla="*/ 2 h 115"/>
                  <a:gd name="T6" fmla="*/ 60 w 62"/>
                  <a:gd name="T7" fmla="*/ 10 h 115"/>
                  <a:gd name="T8" fmla="*/ 13 w 62"/>
                  <a:gd name="T9" fmla="*/ 111 h 115"/>
                  <a:gd name="T10" fmla="*/ 5 w 62"/>
                  <a:gd name="T11" fmla="*/ 114 h 115"/>
                  <a:gd name="T12" fmla="*/ 5 w 62"/>
                  <a:gd name="T13" fmla="*/ 114 h 115"/>
                  <a:gd name="T14" fmla="*/ 2 w 62"/>
                  <a:gd name="T15" fmla="*/ 106 h 115"/>
                  <a:gd name="T16" fmla="*/ 49 w 62"/>
                  <a:gd name="T17" fmla="*/ 4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 h="115">
                    <a:moveTo>
                      <a:pt x="49" y="4"/>
                    </a:moveTo>
                    <a:cubicBezTo>
                      <a:pt x="51" y="0"/>
                      <a:pt x="54" y="0"/>
                      <a:pt x="57" y="2"/>
                    </a:cubicBezTo>
                    <a:cubicBezTo>
                      <a:pt x="57" y="2"/>
                      <a:pt x="57" y="2"/>
                      <a:pt x="57" y="2"/>
                    </a:cubicBezTo>
                    <a:cubicBezTo>
                      <a:pt x="60" y="3"/>
                      <a:pt x="62" y="5"/>
                      <a:pt x="60" y="10"/>
                    </a:cubicBezTo>
                    <a:cubicBezTo>
                      <a:pt x="13" y="111"/>
                      <a:pt x="13" y="111"/>
                      <a:pt x="13" y="111"/>
                    </a:cubicBezTo>
                    <a:cubicBezTo>
                      <a:pt x="11" y="115"/>
                      <a:pt x="8" y="115"/>
                      <a:pt x="5" y="114"/>
                    </a:cubicBezTo>
                    <a:cubicBezTo>
                      <a:pt x="5" y="114"/>
                      <a:pt x="5" y="114"/>
                      <a:pt x="5" y="114"/>
                    </a:cubicBezTo>
                    <a:cubicBezTo>
                      <a:pt x="2" y="112"/>
                      <a:pt x="0" y="110"/>
                      <a:pt x="2" y="106"/>
                    </a:cubicBezTo>
                    <a:lnTo>
                      <a:pt x="49" y="4"/>
                    </a:ln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122" name="Freeform 121"/>
              <p:cNvSpPr>
                <a:spLocks/>
              </p:cNvSpPr>
              <p:nvPr/>
            </p:nvSpPr>
            <p:spPr bwMode="auto">
              <a:xfrm>
                <a:off x="10431463" y="2098676"/>
                <a:ext cx="223838" cy="120650"/>
              </a:xfrm>
              <a:custGeom>
                <a:avLst/>
                <a:gdLst>
                  <a:gd name="T0" fmla="*/ 106 w 115"/>
                  <a:gd name="T1" fmla="*/ 2 h 62"/>
                  <a:gd name="T2" fmla="*/ 114 w 115"/>
                  <a:gd name="T3" fmla="*/ 5 h 62"/>
                  <a:gd name="T4" fmla="*/ 114 w 115"/>
                  <a:gd name="T5" fmla="*/ 5 h 62"/>
                  <a:gd name="T6" fmla="*/ 111 w 115"/>
                  <a:gd name="T7" fmla="*/ 12 h 62"/>
                  <a:gd name="T8" fmla="*/ 10 w 115"/>
                  <a:gd name="T9" fmla="*/ 60 h 62"/>
                  <a:gd name="T10" fmla="*/ 2 w 115"/>
                  <a:gd name="T11" fmla="*/ 57 h 62"/>
                  <a:gd name="T12" fmla="*/ 2 w 115"/>
                  <a:gd name="T13" fmla="*/ 57 h 62"/>
                  <a:gd name="T14" fmla="*/ 5 w 115"/>
                  <a:gd name="T15" fmla="*/ 49 h 62"/>
                  <a:gd name="T16" fmla="*/ 106 w 115"/>
                  <a:gd name="T17" fmla="*/ 2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5" h="62">
                    <a:moveTo>
                      <a:pt x="106" y="2"/>
                    </a:moveTo>
                    <a:cubicBezTo>
                      <a:pt x="110" y="0"/>
                      <a:pt x="113" y="2"/>
                      <a:pt x="114" y="5"/>
                    </a:cubicBezTo>
                    <a:cubicBezTo>
                      <a:pt x="114" y="5"/>
                      <a:pt x="114" y="5"/>
                      <a:pt x="114" y="5"/>
                    </a:cubicBezTo>
                    <a:cubicBezTo>
                      <a:pt x="115" y="8"/>
                      <a:pt x="115" y="11"/>
                      <a:pt x="111" y="12"/>
                    </a:cubicBezTo>
                    <a:cubicBezTo>
                      <a:pt x="10" y="60"/>
                      <a:pt x="10" y="60"/>
                      <a:pt x="10" y="60"/>
                    </a:cubicBezTo>
                    <a:cubicBezTo>
                      <a:pt x="5" y="62"/>
                      <a:pt x="3" y="60"/>
                      <a:pt x="2" y="57"/>
                    </a:cubicBezTo>
                    <a:cubicBezTo>
                      <a:pt x="2" y="57"/>
                      <a:pt x="2" y="57"/>
                      <a:pt x="2" y="57"/>
                    </a:cubicBezTo>
                    <a:cubicBezTo>
                      <a:pt x="0" y="54"/>
                      <a:pt x="0" y="51"/>
                      <a:pt x="5" y="49"/>
                    </a:cubicBezTo>
                    <a:lnTo>
                      <a:pt x="106" y="2"/>
                    </a:ln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123" name="Freeform 122"/>
              <p:cNvSpPr>
                <a:spLocks/>
              </p:cNvSpPr>
              <p:nvPr/>
            </p:nvSpPr>
            <p:spPr bwMode="auto">
              <a:xfrm>
                <a:off x="10425113" y="2116138"/>
                <a:ext cx="238125" cy="84138"/>
              </a:xfrm>
              <a:custGeom>
                <a:avLst/>
                <a:gdLst>
                  <a:gd name="T0" fmla="*/ 116 w 122"/>
                  <a:gd name="T1" fmla="*/ 30 h 43"/>
                  <a:gd name="T2" fmla="*/ 121 w 122"/>
                  <a:gd name="T3" fmla="*/ 38 h 43"/>
                  <a:gd name="T4" fmla="*/ 121 w 122"/>
                  <a:gd name="T5" fmla="*/ 38 h 43"/>
                  <a:gd name="T6" fmla="*/ 113 w 122"/>
                  <a:gd name="T7" fmla="*/ 42 h 43"/>
                  <a:gd name="T8" fmla="*/ 5 w 122"/>
                  <a:gd name="T9" fmla="*/ 13 h 43"/>
                  <a:gd name="T10" fmla="*/ 1 w 122"/>
                  <a:gd name="T11" fmla="*/ 6 h 43"/>
                  <a:gd name="T12" fmla="*/ 1 w 122"/>
                  <a:gd name="T13" fmla="*/ 6 h 43"/>
                  <a:gd name="T14" fmla="*/ 8 w 122"/>
                  <a:gd name="T15" fmla="*/ 2 h 43"/>
                  <a:gd name="T16" fmla="*/ 116 w 122"/>
                  <a:gd name="T17" fmla="*/ 3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2" h="43">
                    <a:moveTo>
                      <a:pt x="116" y="30"/>
                    </a:moveTo>
                    <a:cubicBezTo>
                      <a:pt x="121" y="32"/>
                      <a:pt x="122" y="35"/>
                      <a:pt x="121" y="38"/>
                    </a:cubicBezTo>
                    <a:cubicBezTo>
                      <a:pt x="121" y="38"/>
                      <a:pt x="121" y="38"/>
                      <a:pt x="121" y="38"/>
                    </a:cubicBezTo>
                    <a:cubicBezTo>
                      <a:pt x="120" y="41"/>
                      <a:pt x="118" y="43"/>
                      <a:pt x="113" y="42"/>
                    </a:cubicBezTo>
                    <a:cubicBezTo>
                      <a:pt x="5" y="13"/>
                      <a:pt x="5" y="13"/>
                      <a:pt x="5" y="13"/>
                    </a:cubicBezTo>
                    <a:cubicBezTo>
                      <a:pt x="1" y="12"/>
                      <a:pt x="0" y="9"/>
                      <a:pt x="1" y="6"/>
                    </a:cubicBezTo>
                    <a:cubicBezTo>
                      <a:pt x="1" y="6"/>
                      <a:pt x="1" y="6"/>
                      <a:pt x="1" y="6"/>
                    </a:cubicBezTo>
                    <a:cubicBezTo>
                      <a:pt x="2" y="3"/>
                      <a:pt x="4" y="0"/>
                      <a:pt x="8" y="2"/>
                    </a:cubicBezTo>
                    <a:lnTo>
                      <a:pt x="116" y="30"/>
                    </a:ln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124" name="Freeform 123"/>
              <p:cNvSpPr>
                <a:spLocks/>
              </p:cNvSpPr>
              <p:nvPr/>
            </p:nvSpPr>
            <p:spPr bwMode="auto">
              <a:xfrm>
                <a:off x="10466388" y="2055813"/>
                <a:ext cx="153988" cy="207963"/>
              </a:xfrm>
              <a:custGeom>
                <a:avLst/>
                <a:gdLst>
                  <a:gd name="T0" fmla="*/ 77 w 79"/>
                  <a:gd name="T1" fmla="*/ 95 h 106"/>
                  <a:gd name="T2" fmla="*/ 75 w 79"/>
                  <a:gd name="T3" fmla="*/ 103 h 106"/>
                  <a:gd name="T4" fmla="*/ 75 w 79"/>
                  <a:gd name="T5" fmla="*/ 103 h 106"/>
                  <a:gd name="T6" fmla="*/ 67 w 79"/>
                  <a:gd name="T7" fmla="*/ 102 h 106"/>
                  <a:gd name="T8" fmla="*/ 3 w 79"/>
                  <a:gd name="T9" fmla="*/ 10 h 106"/>
                  <a:gd name="T10" fmla="*/ 4 w 79"/>
                  <a:gd name="T11" fmla="*/ 2 h 106"/>
                  <a:gd name="T12" fmla="*/ 4 w 79"/>
                  <a:gd name="T13" fmla="*/ 2 h 106"/>
                  <a:gd name="T14" fmla="*/ 13 w 79"/>
                  <a:gd name="T15" fmla="*/ 3 h 106"/>
                  <a:gd name="T16" fmla="*/ 77 w 79"/>
                  <a:gd name="T17" fmla="*/ 95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9" h="106">
                    <a:moveTo>
                      <a:pt x="77" y="95"/>
                    </a:moveTo>
                    <a:cubicBezTo>
                      <a:pt x="79" y="99"/>
                      <a:pt x="78" y="102"/>
                      <a:pt x="75" y="103"/>
                    </a:cubicBezTo>
                    <a:cubicBezTo>
                      <a:pt x="75" y="103"/>
                      <a:pt x="75" y="103"/>
                      <a:pt x="75" y="103"/>
                    </a:cubicBezTo>
                    <a:cubicBezTo>
                      <a:pt x="73" y="105"/>
                      <a:pt x="70" y="106"/>
                      <a:pt x="67" y="102"/>
                    </a:cubicBezTo>
                    <a:cubicBezTo>
                      <a:pt x="3" y="10"/>
                      <a:pt x="3" y="10"/>
                      <a:pt x="3" y="10"/>
                    </a:cubicBezTo>
                    <a:cubicBezTo>
                      <a:pt x="0" y="7"/>
                      <a:pt x="2" y="4"/>
                      <a:pt x="4" y="2"/>
                    </a:cubicBezTo>
                    <a:cubicBezTo>
                      <a:pt x="4" y="2"/>
                      <a:pt x="4" y="2"/>
                      <a:pt x="4" y="2"/>
                    </a:cubicBezTo>
                    <a:cubicBezTo>
                      <a:pt x="7" y="0"/>
                      <a:pt x="10" y="0"/>
                      <a:pt x="13" y="3"/>
                    </a:cubicBezTo>
                    <a:lnTo>
                      <a:pt x="77" y="95"/>
                    </a:ln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125" name="Freeform 124"/>
              <p:cNvSpPr>
                <a:spLocks/>
              </p:cNvSpPr>
              <p:nvPr/>
            </p:nvSpPr>
            <p:spPr bwMode="auto">
              <a:xfrm>
                <a:off x="10523538" y="2036763"/>
                <a:ext cx="42863" cy="244475"/>
              </a:xfrm>
              <a:custGeom>
                <a:avLst/>
                <a:gdLst>
                  <a:gd name="T0" fmla="*/ 12 w 22"/>
                  <a:gd name="T1" fmla="*/ 118 h 124"/>
                  <a:gd name="T2" fmla="*/ 5 w 22"/>
                  <a:gd name="T3" fmla="*/ 123 h 124"/>
                  <a:gd name="T4" fmla="*/ 5 w 22"/>
                  <a:gd name="T5" fmla="*/ 123 h 124"/>
                  <a:gd name="T6" fmla="*/ 0 w 22"/>
                  <a:gd name="T7" fmla="*/ 117 h 124"/>
                  <a:gd name="T8" fmla="*/ 10 w 22"/>
                  <a:gd name="T9" fmla="*/ 5 h 124"/>
                  <a:gd name="T10" fmla="*/ 16 w 22"/>
                  <a:gd name="T11" fmla="*/ 0 h 124"/>
                  <a:gd name="T12" fmla="*/ 16 w 22"/>
                  <a:gd name="T13" fmla="*/ 0 h 124"/>
                  <a:gd name="T14" fmla="*/ 22 w 22"/>
                  <a:gd name="T15" fmla="*/ 6 h 124"/>
                  <a:gd name="T16" fmla="*/ 12 w 22"/>
                  <a:gd name="T17" fmla="*/ 118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 h="124">
                    <a:moveTo>
                      <a:pt x="12" y="118"/>
                    </a:moveTo>
                    <a:cubicBezTo>
                      <a:pt x="11" y="123"/>
                      <a:pt x="9" y="124"/>
                      <a:pt x="5" y="123"/>
                    </a:cubicBezTo>
                    <a:cubicBezTo>
                      <a:pt x="5" y="123"/>
                      <a:pt x="5" y="123"/>
                      <a:pt x="5" y="123"/>
                    </a:cubicBezTo>
                    <a:cubicBezTo>
                      <a:pt x="2" y="123"/>
                      <a:pt x="0" y="122"/>
                      <a:pt x="0" y="117"/>
                    </a:cubicBezTo>
                    <a:cubicBezTo>
                      <a:pt x="10" y="5"/>
                      <a:pt x="10" y="5"/>
                      <a:pt x="10" y="5"/>
                    </a:cubicBezTo>
                    <a:cubicBezTo>
                      <a:pt x="10" y="1"/>
                      <a:pt x="13" y="0"/>
                      <a:pt x="16" y="0"/>
                    </a:cubicBezTo>
                    <a:cubicBezTo>
                      <a:pt x="16" y="0"/>
                      <a:pt x="16" y="0"/>
                      <a:pt x="16" y="0"/>
                    </a:cubicBezTo>
                    <a:cubicBezTo>
                      <a:pt x="20" y="0"/>
                      <a:pt x="22" y="2"/>
                      <a:pt x="22" y="6"/>
                    </a:cubicBezTo>
                    <a:lnTo>
                      <a:pt x="12" y="118"/>
                    </a:ln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126" name="Freeform 125"/>
              <p:cNvSpPr>
                <a:spLocks/>
              </p:cNvSpPr>
              <p:nvPr/>
            </p:nvSpPr>
            <p:spPr bwMode="auto">
              <a:xfrm>
                <a:off x="10453688" y="2066926"/>
                <a:ext cx="182563" cy="184150"/>
              </a:xfrm>
              <a:custGeom>
                <a:avLst/>
                <a:gdLst>
                  <a:gd name="T0" fmla="*/ 11 w 94"/>
                  <a:gd name="T1" fmla="*/ 91 h 94"/>
                  <a:gd name="T2" fmla="*/ 3 w 94"/>
                  <a:gd name="T3" fmla="*/ 91 h 94"/>
                  <a:gd name="T4" fmla="*/ 3 w 94"/>
                  <a:gd name="T5" fmla="*/ 91 h 94"/>
                  <a:gd name="T6" fmla="*/ 3 w 94"/>
                  <a:gd name="T7" fmla="*/ 82 h 94"/>
                  <a:gd name="T8" fmla="*/ 82 w 94"/>
                  <a:gd name="T9" fmla="*/ 3 h 94"/>
                  <a:gd name="T10" fmla="*/ 91 w 94"/>
                  <a:gd name="T11" fmla="*/ 3 h 94"/>
                  <a:gd name="T12" fmla="*/ 91 w 94"/>
                  <a:gd name="T13" fmla="*/ 3 h 94"/>
                  <a:gd name="T14" fmla="*/ 91 w 94"/>
                  <a:gd name="T15" fmla="*/ 11 h 94"/>
                  <a:gd name="T16" fmla="*/ 11 w 94"/>
                  <a:gd name="T17" fmla="*/ 91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4" h="94">
                    <a:moveTo>
                      <a:pt x="11" y="91"/>
                    </a:moveTo>
                    <a:cubicBezTo>
                      <a:pt x="8" y="94"/>
                      <a:pt x="5" y="93"/>
                      <a:pt x="3" y="91"/>
                    </a:cubicBezTo>
                    <a:cubicBezTo>
                      <a:pt x="3" y="91"/>
                      <a:pt x="3" y="91"/>
                      <a:pt x="3" y="91"/>
                    </a:cubicBezTo>
                    <a:cubicBezTo>
                      <a:pt x="1" y="88"/>
                      <a:pt x="0" y="85"/>
                      <a:pt x="3" y="82"/>
                    </a:cubicBezTo>
                    <a:cubicBezTo>
                      <a:pt x="82" y="3"/>
                      <a:pt x="82" y="3"/>
                      <a:pt x="82" y="3"/>
                    </a:cubicBezTo>
                    <a:cubicBezTo>
                      <a:pt x="85" y="0"/>
                      <a:pt x="88" y="1"/>
                      <a:pt x="91" y="3"/>
                    </a:cubicBezTo>
                    <a:cubicBezTo>
                      <a:pt x="91" y="3"/>
                      <a:pt x="91" y="3"/>
                      <a:pt x="91" y="3"/>
                    </a:cubicBezTo>
                    <a:cubicBezTo>
                      <a:pt x="93" y="5"/>
                      <a:pt x="94" y="8"/>
                      <a:pt x="91" y="11"/>
                    </a:cubicBezTo>
                    <a:lnTo>
                      <a:pt x="11" y="91"/>
                    </a:ln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127" name="Freeform 126"/>
              <p:cNvSpPr>
                <a:spLocks/>
              </p:cNvSpPr>
              <p:nvPr/>
            </p:nvSpPr>
            <p:spPr bwMode="auto">
              <a:xfrm>
                <a:off x="10428288" y="2041526"/>
                <a:ext cx="233363" cy="233363"/>
              </a:xfrm>
              <a:custGeom>
                <a:avLst/>
                <a:gdLst>
                  <a:gd name="T0" fmla="*/ 98 w 120"/>
                  <a:gd name="T1" fmla="*/ 98 h 119"/>
                  <a:gd name="T2" fmla="*/ 21 w 120"/>
                  <a:gd name="T3" fmla="*/ 98 h 119"/>
                  <a:gd name="T4" fmla="*/ 21 w 120"/>
                  <a:gd name="T5" fmla="*/ 21 h 119"/>
                  <a:gd name="T6" fmla="*/ 98 w 120"/>
                  <a:gd name="T7" fmla="*/ 21 h 119"/>
                  <a:gd name="T8" fmla="*/ 98 w 120"/>
                  <a:gd name="T9" fmla="*/ 98 h 119"/>
                </a:gdLst>
                <a:ahLst/>
                <a:cxnLst>
                  <a:cxn ang="0">
                    <a:pos x="T0" y="T1"/>
                  </a:cxn>
                  <a:cxn ang="0">
                    <a:pos x="T2" y="T3"/>
                  </a:cxn>
                  <a:cxn ang="0">
                    <a:pos x="T4" y="T5"/>
                  </a:cxn>
                  <a:cxn ang="0">
                    <a:pos x="T6" y="T7"/>
                  </a:cxn>
                  <a:cxn ang="0">
                    <a:pos x="T8" y="T9"/>
                  </a:cxn>
                </a:cxnLst>
                <a:rect l="0" t="0" r="r" b="b"/>
                <a:pathLst>
                  <a:path w="120" h="119">
                    <a:moveTo>
                      <a:pt x="98" y="98"/>
                    </a:moveTo>
                    <a:cubicBezTo>
                      <a:pt x="77" y="119"/>
                      <a:pt x="43" y="119"/>
                      <a:pt x="21" y="98"/>
                    </a:cubicBezTo>
                    <a:cubicBezTo>
                      <a:pt x="0" y="77"/>
                      <a:pt x="0" y="43"/>
                      <a:pt x="21" y="21"/>
                    </a:cubicBezTo>
                    <a:cubicBezTo>
                      <a:pt x="43" y="0"/>
                      <a:pt x="77" y="0"/>
                      <a:pt x="98" y="21"/>
                    </a:cubicBezTo>
                    <a:cubicBezTo>
                      <a:pt x="120" y="43"/>
                      <a:pt x="120" y="77"/>
                      <a:pt x="98" y="98"/>
                    </a:cubicBez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Segoe UI"/>
                  <a:ea typeface="+mn-ea"/>
                  <a:cs typeface="+mn-cs"/>
                </a:endParaRPr>
              </a:p>
            </p:txBody>
          </p:sp>
        </p:grpSp>
        <p:grpSp>
          <p:nvGrpSpPr>
            <p:cNvPr id="57" name="Group 56"/>
            <p:cNvGrpSpPr/>
            <p:nvPr/>
          </p:nvGrpSpPr>
          <p:grpSpPr>
            <a:xfrm flipH="1">
              <a:off x="2899286" y="5090169"/>
              <a:ext cx="582253" cy="370901"/>
              <a:chOff x="10423525" y="1774826"/>
              <a:chExt cx="892176" cy="568325"/>
            </a:xfrm>
          </p:grpSpPr>
          <p:sp>
            <p:nvSpPr>
              <p:cNvPr id="58" name="Freeform 57"/>
              <p:cNvSpPr>
                <a:spLocks/>
              </p:cNvSpPr>
              <p:nvPr/>
            </p:nvSpPr>
            <p:spPr bwMode="auto">
              <a:xfrm>
                <a:off x="11069638" y="1908176"/>
                <a:ext cx="246063" cy="69850"/>
              </a:xfrm>
              <a:custGeom>
                <a:avLst/>
                <a:gdLst>
                  <a:gd name="T0" fmla="*/ 113 w 126"/>
                  <a:gd name="T1" fmla="*/ 1 h 36"/>
                  <a:gd name="T2" fmla="*/ 125 w 126"/>
                  <a:gd name="T3" fmla="*/ 8 h 36"/>
                  <a:gd name="T4" fmla="*/ 125 w 126"/>
                  <a:gd name="T5" fmla="*/ 8 h 36"/>
                  <a:gd name="T6" fmla="*/ 115 w 126"/>
                  <a:gd name="T7" fmla="*/ 19 h 36"/>
                  <a:gd name="T8" fmla="*/ 13 w 126"/>
                  <a:gd name="T9" fmla="*/ 35 h 36"/>
                  <a:gd name="T10" fmla="*/ 1 w 126"/>
                  <a:gd name="T11" fmla="*/ 28 h 36"/>
                  <a:gd name="T12" fmla="*/ 1 w 126"/>
                  <a:gd name="T13" fmla="*/ 28 h 36"/>
                  <a:gd name="T14" fmla="*/ 10 w 126"/>
                  <a:gd name="T15" fmla="*/ 18 h 36"/>
                  <a:gd name="T16" fmla="*/ 113 w 126"/>
                  <a:gd name="T17" fmla="*/ 1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6" h="36">
                    <a:moveTo>
                      <a:pt x="113" y="1"/>
                    </a:moveTo>
                    <a:cubicBezTo>
                      <a:pt x="120" y="0"/>
                      <a:pt x="124" y="4"/>
                      <a:pt x="125" y="8"/>
                    </a:cubicBezTo>
                    <a:cubicBezTo>
                      <a:pt x="125" y="8"/>
                      <a:pt x="125" y="8"/>
                      <a:pt x="125" y="8"/>
                    </a:cubicBezTo>
                    <a:cubicBezTo>
                      <a:pt x="126" y="13"/>
                      <a:pt x="123" y="18"/>
                      <a:pt x="115" y="19"/>
                    </a:cubicBezTo>
                    <a:cubicBezTo>
                      <a:pt x="13" y="35"/>
                      <a:pt x="13" y="35"/>
                      <a:pt x="13" y="35"/>
                    </a:cubicBezTo>
                    <a:cubicBezTo>
                      <a:pt x="6" y="36"/>
                      <a:pt x="1" y="33"/>
                      <a:pt x="1" y="28"/>
                    </a:cubicBezTo>
                    <a:cubicBezTo>
                      <a:pt x="1" y="28"/>
                      <a:pt x="1" y="28"/>
                      <a:pt x="1" y="28"/>
                    </a:cubicBezTo>
                    <a:cubicBezTo>
                      <a:pt x="0" y="23"/>
                      <a:pt x="3" y="19"/>
                      <a:pt x="10" y="18"/>
                    </a:cubicBezTo>
                    <a:lnTo>
                      <a:pt x="113" y="1"/>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59" name="Freeform 58"/>
              <p:cNvSpPr>
                <a:spLocks/>
              </p:cNvSpPr>
              <p:nvPr/>
            </p:nvSpPr>
            <p:spPr bwMode="auto">
              <a:xfrm>
                <a:off x="11077575" y="1876426"/>
                <a:ext cx="228600" cy="134938"/>
              </a:xfrm>
              <a:custGeom>
                <a:avLst/>
                <a:gdLst>
                  <a:gd name="T0" fmla="*/ 109 w 117"/>
                  <a:gd name="T1" fmla="*/ 50 h 69"/>
                  <a:gd name="T2" fmla="*/ 115 w 117"/>
                  <a:gd name="T3" fmla="*/ 63 h 69"/>
                  <a:gd name="T4" fmla="*/ 115 w 117"/>
                  <a:gd name="T5" fmla="*/ 63 h 69"/>
                  <a:gd name="T6" fmla="*/ 101 w 117"/>
                  <a:gd name="T7" fmla="*/ 66 h 69"/>
                  <a:gd name="T8" fmla="*/ 9 w 117"/>
                  <a:gd name="T9" fmla="*/ 19 h 69"/>
                  <a:gd name="T10" fmla="*/ 3 w 117"/>
                  <a:gd name="T11" fmla="*/ 6 h 69"/>
                  <a:gd name="T12" fmla="*/ 3 w 117"/>
                  <a:gd name="T13" fmla="*/ 6 h 69"/>
                  <a:gd name="T14" fmla="*/ 17 w 117"/>
                  <a:gd name="T15" fmla="*/ 3 h 69"/>
                  <a:gd name="T16" fmla="*/ 109 w 117"/>
                  <a:gd name="T17" fmla="*/ 50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7" h="69">
                    <a:moveTo>
                      <a:pt x="109" y="50"/>
                    </a:moveTo>
                    <a:cubicBezTo>
                      <a:pt x="115" y="53"/>
                      <a:pt x="117" y="59"/>
                      <a:pt x="115" y="63"/>
                    </a:cubicBezTo>
                    <a:cubicBezTo>
                      <a:pt x="115" y="63"/>
                      <a:pt x="115" y="63"/>
                      <a:pt x="115" y="63"/>
                    </a:cubicBezTo>
                    <a:cubicBezTo>
                      <a:pt x="113" y="67"/>
                      <a:pt x="108" y="69"/>
                      <a:pt x="101" y="66"/>
                    </a:cubicBezTo>
                    <a:cubicBezTo>
                      <a:pt x="9" y="19"/>
                      <a:pt x="9" y="19"/>
                      <a:pt x="9" y="19"/>
                    </a:cubicBezTo>
                    <a:cubicBezTo>
                      <a:pt x="2" y="15"/>
                      <a:pt x="0" y="10"/>
                      <a:pt x="3" y="6"/>
                    </a:cubicBezTo>
                    <a:cubicBezTo>
                      <a:pt x="3" y="6"/>
                      <a:pt x="3" y="6"/>
                      <a:pt x="3" y="6"/>
                    </a:cubicBezTo>
                    <a:cubicBezTo>
                      <a:pt x="5" y="1"/>
                      <a:pt x="10" y="0"/>
                      <a:pt x="17" y="3"/>
                    </a:cubicBezTo>
                    <a:lnTo>
                      <a:pt x="109" y="5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60" name="Freeform 59"/>
              <p:cNvSpPr>
                <a:spLocks/>
              </p:cNvSpPr>
              <p:nvPr/>
            </p:nvSpPr>
            <p:spPr bwMode="auto">
              <a:xfrm>
                <a:off x="11125200" y="1828801"/>
                <a:ext cx="134938" cy="230188"/>
              </a:xfrm>
              <a:custGeom>
                <a:avLst/>
                <a:gdLst>
                  <a:gd name="T0" fmla="*/ 66 w 69"/>
                  <a:gd name="T1" fmla="*/ 100 h 117"/>
                  <a:gd name="T2" fmla="*/ 63 w 69"/>
                  <a:gd name="T3" fmla="*/ 114 h 117"/>
                  <a:gd name="T4" fmla="*/ 63 w 69"/>
                  <a:gd name="T5" fmla="*/ 114 h 117"/>
                  <a:gd name="T6" fmla="*/ 50 w 69"/>
                  <a:gd name="T7" fmla="*/ 108 h 117"/>
                  <a:gd name="T8" fmla="*/ 3 w 69"/>
                  <a:gd name="T9" fmla="*/ 16 h 117"/>
                  <a:gd name="T10" fmla="*/ 6 w 69"/>
                  <a:gd name="T11" fmla="*/ 2 h 117"/>
                  <a:gd name="T12" fmla="*/ 6 w 69"/>
                  <a:gd name="T13" fmla="*/ 2 h 117"/>
                  <a:gd name="T14" fmla="*/ 19 w 69"/>
                  <a:gd name="T15" fmla="*/ 8 h 117"/>
                  <a:gd name="T16" fmla="*/ 66 w 69"/>
                  <a:gd name="T17" fmla="*/ 100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9" h="117">
                    <a:moveTo>
                      <a:pt x="66" y="100"/>
                    </a:moveTo>
                    <a:cubicBezTo>
                      <a:pt x="69" y="107"/>
                      <a:pt x="68" y="112"/>
                      <a:pt x="63" y="114"/>
                    </a:cubicBezTo>
                    <a:cubicBezTo>
                      <a:pt x="63" y="114"/>
                      <a:pt x="63" y="114"/>
                      <a:pt x="63" y="114"/>
                    </a:cubicBezTo>
                    <a:cubicBezTo>
                      <a:pt x="59" y="117"/>
                      <a:pt x="54" y="115"/>
                      <a:pt x="50" y="108"/>
                    </a:cubicBezTo>
                    <a:cubicBezTo>
                      <a:pt x="3" y="16"/>
                      <a:pt x="3" y="16"/>
                      <a:pt x="3" y="16"/>
                    </a:cubicBezTo>
                    <a:cubicBezTo>
                      <a:pt x="0" y="9"/>
                      <a:pt x="2" y="4"/>
                      <a:pt x="6" y="2"/>
                    </a:cubicBezTo>
                    <a:cubicBezTo>
                      <a:pt x="6" y="2"/>
                      <a:pt x="6" y="2"/>
                      <a:pt x="6" y="2"/>
                    </a:cubicBezTo>
                    <a:cubicBezTo>
                      <a:pt x="10" y="0"/>
                      <a:pt x="16" y="2"/>
                      <a:pt x="19" y="8"/>
                    </a:cubicBezTo>
                    <a:lnTo>
                      <a:pt x="66" y="10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61" name="Freeform 60"/>
              <p:cNvSpPr>
                <a:spLocks/>
              </p:cNvSpPr>
              <p:nvPr/>
            </p:nvSpPr>
            <p:spPr bwMode="auto">
              <a:xfrm>
                <a:off x="11158538" y="1819276"/>
                <a:ext cx="69850" cy="247650"/>
              </a:xfrm>
              <a:custGeom>
                <a:avLst/>
                <a:gdLst>
                  <a:gd name="T0" fmla="*/ 18 w 36"/>
                  <a:gd name="T1" fmla="*/ 116 h 126"/>
                  <a:gd name="T2" fmla="*/ 8 w 36"/>
                  <a:gd name="T3" fmla="*/ 125 h 126"/>
                  <a:gd name="T4" fmla="*/ 8 w 36"/>
                  <a:gd name="T5" fmla="*/ 125 h 126"/>
                  <a:gd name="T6" fmla="*/ 1 w 36"/>
                  <a:gd name="T7" fmla="*/ 113 h 126"/>
                  <a:gd name="T8" fmla="*/ 17 w 36"/>
                  <a:gd name="T9" fmla="*/ 11 h 126"/>
                  <a:gd name="T10" fmla="*/ 28 w 36"/>
                  <a:gd name="T11" fmla="*/ 1 h 126"/>
                  <a:gd name="T12" fmla="*/ 28 w 36"/>
                  <a:gd name="T13" fmla="*/ 1 h 126"/>
                  <a:gd name="T14" fmla="*/ 35 w 36"/>
                  <a:gd name="T15" fmla="*/ 13 h 126"/>
                  <a:gd name="T16" fmla="*/ 18 w 36"/>
                  <a:gd name="T17" fmla="*/ 116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 h="126">
                    <a:moveTo>
                      <a:pt x="18" y="116"/>
                    </a:moveTo>
                    <a:cubicBezTo>
                      <a:pt x="17" y="123"/>
                      <a:pt x="13" y="126"/>
                      <a:pt x="8" y="125"/>
                    </a:cubicBezTo>
                    <a:cubicBezTo>
                      <a:pt x="8" y="125"/>
                      <a:pt x="8" y="125"/>
                      <a:pt x="8" y="125"/>
                    </a:cubicBezTo>
                    <a:cubicBezTo>
                      <a:pt x="3" y="125"/>
                      <a:pt x="0" y="120"/>
                      <a:pt x="1" y="113"/>
                    </a:cubicBezTo>
                    <a:cubicBezTo>
                      <a:pt x="17" y="11"/>
                      <a:pt x="17" y="11"/>
                      <a:pt x="17" y="11"/>
                    </a:cubicBezTo>
                    <a:cubicBezTo>
                      <a:pt x="18" y="3"/>
                      <a:pt x="23" y="0"/>
                      <a:pt x="28" y="1"/>
                    </a:cubicBezTo>
                    <a:cubicBezTo>
                      <a:pt x="28" y="1"/>
                      <a:pt x="28" y="1"/>
                      <a:pt x="28" y="1"/>
                    </a:cubicBezTo>
                    <a:cubicBezTo>
                      <a:pt x="32" y="2"/>
                      <a:pt x="36" y="6"/>
                      <a:pt x="35" y="13"/>
                    </a:cubicBezTo>
                    <a:lnTo>
                      <a:pt x="18" y="116"/>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62" name="Freeform 61"/>
              <p:cNvSpPr>
                <a:spLocks/>
              </p:cNvSpPr>
              <p:nvPr/>
            </p:nvSpPr>
            <p:spPr bwMode="auto">
              <a:xfrm>
                <a:off x="11099800" y="1849438"/>
                <a:ext cx="187325" cy="187325"/>
              </a:xfrm>
              <a:custGeom>
                <a:avLst/>
                <a:gdLst>
                  <a:gd name="T0" fmla="*/ 17 w 96"/>
                  <a:gd name="T1" fmla="*/ 91 h 96"/>
                  <a:gd name="T2" fmla="*/ 3 w 96"/>
                  <a:gd name="T3" fmla="*/ 93 h 96"/>
                  <a:gd name="T4" fmla="*/ 3 w 96"/>
                  <a:gd name="T5" fmla="*/ 93 h 96"/>
                  <a:gd name="T6" fmla="*/ 5 w 96"/>
                  <a:gd name="T7" fmla="*/ 79 h 96"/>
                  <a:gd name="T8" fmla="*/ 78 w 96"/>
                  <a:gd name="T9" fmla="*/ 5 h 96"/>
                  <a:gd name="T10" fmla="*/ 92 w 96"/>
                  <a:gd name="T11" fmla="*/ 4 h 96"/>
                  <a:gd name="T12" fmla="*/ 92 w 96"/>
                  <a:gd name="T13" fmla="*/ 4 h 96"/>
                  <a:gd name="T14" fmla="*/ 91 w 96"/>
                  <a:gd name="T15" fmla="*/ 18 h 96"/>
                  <a:gd name="T16" fmla="*/ 17 w 96"/>
                  <a:gd name="T17" fmla="*/ 91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6" h="96">
                    <a:moveTo>
                      <a:pt x="17" y="91"/>
                    </a:moveTo>
                    <a:cubicBezTo>
                      <a:pt x="12" y="96"/>
                      <a:pt x="7" y="96"/>
                      <a:pt x="3" y="93"/>
                    </a:cubicBezTo>
                    <a:cubicBezTo>
                      <a:pt x="3" y="93"/>
                      <a:pt x="3" y="93"/>
                      <a:pt x="3" y="93"/>
                    </a:cubicBezTo>
                    <a:cubicBezTo>
                      <a:pt x="0" y="89"/>
                      <a:pt x="0" y="84"/>
                      <a:pt x="5" y="79"/>
                    </a:cubicBezTo>
                    <a:cubicBezTo>
                      <a:pt x="78" y="5"/>
                      <a:pt x="78" y="5"/>
                      <a:pt x="78" y="5"/>
                    </a:cubicBezTo>
                    <a:cubicBezTo>
                      <a:pt x="83" y="0"/>
                      <a:pt x="89" y="0"/>
                      <a:pt x="92" y="4"/>
                    </a:cubicBezTo>
                    <a:cubicBezTo>
                      <a:pt x="92" y="4"/>
                      <a:pt x="92" y="4"/>
                      <a:pt x="92" y="4"/>
                    </a:cubicBezTo>
                    <a:cubicBezTo>
                      <a:pt x="96" y="7"/>
                      <a:pt x="96" y="13"/>
                      <a:pt x="91" y="18"/>
                    </a:cubicBezTo>
                    <a:lnTo>
                      <a:pt x="17" y="91"/>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63" name="Freeform 62"/>
              <p:cNvSpPr>
                <a:spLocks/>
              </p:cNvSpPr>
              <p:nvPr/>
            </p:nvSpPr>
            <p:spPr bwMode="auto">
              <a:xfrm>
                <a:off x="11087100" y="1839913"/>
                <a:ext cx="209550" cy="209550"/>
              </a:xfrm>
              <a:custGeom>
                <a:avLst/>
                <a:gdLst>
                  <a:gd name="T0" fmla="*/ 88 w 107"/>
                  <a:gd name="T1" fmla="*/ 88 h 107"/>
                  <a:gd name="T2" fmla="*/ 19 w 107"/>
                  <a:gd name="T3" fmla="*/ 88 h 107"/>
                  <a:gd name="T4" fmla="*/ 19 w 107"/>
                  <a:gd name="T5" fmla="*/ 19 h 107"/>
                  <a:gd name="T6" fmla="*/ 88 w 107"/>
                  <a:gd name="T7" fmla="*/ 19 h 107"/>
                  <a:gd name="T8" fmla="*/ 88 w 107"/>
                  <a:gd name="T9" fmla="*/ 88 h 107"/>
                </a:gdLst>
                <a:ahLst/>
                <a:cxnLst>
                  <a:cxn ang="0">
                    <a:pos x="T0" y="T1"/>
                  </a:cxn>
                  <a:cxn ang="0">
                    <a:pos x="T2" y="T3"/>
                  </a:cxn>
                  <a:cxn ang="0">
                    <a:pos x="T4" y="T5"/>
                  </a:cxn>
                  <a:cxn ang="0">
                    <a:pos x="T6" y="T7"/>
                  </a:cxn>
                  <a:cxn ang="0">
                    <a:pos x="T8" y="T9"/>
                  </a:cxn>
                </a:cxnLst>
                <a:rect l="0" t="0" r="r" b="b"/>
                <a:pathLst>
                  <a:path w="107" h="107">
                    <a:moveTo>
                      <a:pt x="88" y="88"/>
                    </a:moveTo>
                    <a:cubicBezTo>
                      <a:pt x="69" y="107"/>
                      <a:pt x="38" y="107"/>
                      <a:pt x="19" y="88"/>
                    </a:cubicBezTo>
                    <a:cubicBezTo>
                      <a:pt x="0" y="69"/>
                      <a:pt x="0" y="38"/>
                      <a:pt x="19" y="19"/>
                    </a:cubicBezTo>
                    <a:cubicBezTo>
                      <a:pt x="38" y="0"/>
                      <a:pt x="69" y="0"/>
                      <a:pt x="88" y="19"/>
                    </a:cubicBezTo>
                    <a:cubicBezTo>
                      <a:pt x="107" y="38"/>
                      <a:pt x="107" y="69"/>
                      <a:pt x="88" y="88"/>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64" name="Freeform 63"/>
              <p:cNvSpPr>
                <a:spLocks/>
              </p:cNvSpPr>
              <p:nvPr/>
            </p:nvSpPr>
            <p:spPr bwMode="auto">
              <a:xfrm>
                <a:off x="10561638" y="1862138"/>
                <a:ext cx="246063" cy="71438"/>
              </a:xfrm>
              <a:custGeom>
                <a:avLst/>
                <a:gdLst>
                  <a:gd name="T0" fmla="*/ 112 w 126"/>
                  <a:gd name="T1" fmla="*/ 2 h 36"/>
                  <a:gd name="T2" fmla="*/ 125 w 126"/>
                  <a:gd name="T3" fmla="*/ 8 h 36"/>
                  <a:gd name="T4" fmla="*/ 125 w 126"/>
                  <a:gd name="T5" fmla="*/ 8 h 36"/>
                  <a:gd name="T6" fmla="*/ 115 w 126"/>
                  <a:gd name="T7" fmla="*/ 19 h 36"/>
                  <a:gd name="T8" fmla="*/ 13 w 126"/>
                  <a:gd name="T9" fmla="*/ 35 h 36"/>
                  <a:gd name="T10" fmla="*/ 0 w 126"/>
                  <a:gd name="T11" fmla="*/ 28 h 36"/>
                  <a:gd name="T12" fmla="*/ 0 w 126"/>
                  <a:gd name="T13" fmla="*/ 28 h 36"/>
                  <a:gd name="T14" fmla="*/ 10 w 126"/>
                  <a:gd name="T15" fmla="*/ 18 h 36"/>
                  <a:gd name="T16" fmla="*/ 112 w 126"/>
                  <a:gd name="T17" fmla="*/ 2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6" h="36">
                    <a:moveTo>
                      <a:pt x="112" y="2"/>
                    </a:moveTo>
                    <a:cubicBezTo>
                      <a:pt x="120" y="0"/>
                      <a:pt x="124" y="4"/>
                      <a:pt x="125" y="8"/>
                    </a:cubicBezTo>
                    <a:cubicBezTo>
                      <a:pt x="125" y="8"/>
                      <a:pt x="125" y="8"/>
                      <a:pt x="125" y="8"/>
                    </a:cubicBezTo>
                    <a:cubicBezTo>
                      <a:pt x="126" y="13"/>
                      <a:pt x="123" y="18"/>
                      <a:pt x="115" y="19"/>
                    </a:cubicBezTo>
                    <a:cubicBezTo>
                      <a:pt x="13" y="35"/>
                      <a:pt x="13" y="35"/>
                      <a:pt x="13" y="35"/>
                    </a:cubicBezTo>
                    <a:cubicBezTo>
                      <a:pt x="6" y="36"/>
                      <a:pt x="1" y="33"/>
                      <a:pt x="0" y="28"/>
                    </a:cubicBezTo>
                    <a:cubicBezTo>
                      <a:pt x="0" y="28"/>
                      <a:pt x="0" y="28"/>
                      <a:pt x="0" y="28"/>
                    </a:cubicBezTo>
                    <a:cubicBezTo>
                      <a:pt x="0" y="23"/>
                      <a:pt x="3" y="19"/>
                      <a:pt x="10" y="18"/>
                    </a:cubicBezTo>
                    <a:lnTo>
                      <a:pt x="112" y="2"/>
                    </a:lnTo>
                    <a:close/>
                  </a:path>
                </a:pathLst>
              </a:custGeom>
              <a:solidFill>
                <a:srgbClr val="F472D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65" name="Freeform 64"/>
              <p:cNvSpPr>
                <a:spLocks/>
              </p:cNvSpPr>
              <p:nvPr/>
            </p:nvSpPr>
            <p:spPr bwMode="auto">
              <a:xfrm>
                <a:off x="10569575" y="1831976"/>
                <a:ext cx="228600" cy="134938"/>
              </a:xfrm>
              <a:custGeom>
                <a:avLst/>
                <a:gdLst>
                  <a:gd name="T0" fmla="*/ 109 w 117"/>
                  <a:gd name="T1" fmla="*/ 50 h 69"/>
                  <a:gd name="T2" fmla="*/ 115 w 117"/>
                  <a:gd name="T3" fmla="*/ 63 h 69"/>
                  <a:gd name="T4" fmla="*/ 115 w 117"/>
                  <a:gd name="T5" fmla="*/ 63 h 69"/>
                  <a:gd name="T6" fmla="*/ 101 w 117"/>
                  <a:gd name="T7" fmla="*/ 66 h 69"/>
                  <a:gd name="T8" fmla="*/ 9 w 117"/>
                  <a:gd name="T9" fmla="*/ 19 h 69"/>
                  <a:gd name="T10" fmla="*/ 3 w 117"/>
                  <a:gd name="T11" fmla="*/ 6 h 69"/>
                  <a:gd name="T12" fmla="*/ 3 w 117"/>
                  <a:gd name="T13" fmla="*/ 6 h 69"/>
                  <a:gd name="T14" fmla="*/ 17 w 117"/>
                  <a:gd name="T15" fmla="*/ 3 h 69"/>
                  <a:gd name="T16" fmla="*/ 109 w 117"/>
                  <a:gd name="T17" fmla="*/ 50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7" h="69">
                    <a:moveTo>
                      <a:pt x="109" y="50"/>
                    </a:moveTo>
                    <a:cubicBezTo>
                      <a:pt x="115" y="53"/>
                      <a:pt x="117" y="59"/>
                      <a:pt x="115" y="63"/>
                    </a:cubicBezTo>
                    <a:cubicBezTo>
                      <a:pt x="115" y="63"/>
                      <a:pt x="115" y="63"/>
                      <a:pt x="115" y="63"/>
                    </a:cubicBezTo>
                    <a:cubicBezTo>
                      <a:pt x="113" y="67"/>
                      <a:pt x="107" y="69"/>
                      <a:pt x="101" y="66"/>
                    </a:cubicBezTo>
                    <a:cubicBezTo>
                      <a:pt x="9" y="19"/>
                      <a:pt x="9" y="19"/>
                      <a:pt x="9" y="19"/>
                    </a:cubicBezTo>
                    <a:cubicBezTo>
                      <a:pt x="2" y="15"/>
                      <a:pt x="0" y="10"/>
                      <a:pt x="3" y="6"/>
                    </a:cubicBezTo>
                    <a:cubicBezTo>
                      <a:pt x="3" y="6"/>
                      <a:pt x="3" y="6"/>
                      <a:pt x="3" y="6"/>
                    </a:cubicBezTo>
                    <a:cubicBezTo>
                      <a:pt x="5" y="1"/>
                      <a:pt x="10" y="0"/>
                      <a:pt x="17" y="3"/>
                    </a:cubicBezTo>
                    <a:lnTo>
                      <a:pt x="109" y="50"/>
                    </a:lnTo>
                    <a:close/>
                  </a:path>
                </a:pathLst>
              </a:custGeom>
              <a:solidFill>
                <a:srgbClr val="F472D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66" name="Freeform 65"/>
              <p:cNvSpPr>
                <a:spLocks/>
              </p:cNvSpPr>
              <p:nvPr/>
            </p:nvSpPr>
            <p:spPr bwMode="auto">
              <a:xfrm>
                <a:off x="10617200" y="1784351"/>
                <a:ext cx="134938" cy="230188"/>
              </a:xfrm>
              <a:custGeom>
                <a:avLst/>
                <a:gdLst>
                  <a:gd name="T0" fmla="*/ 66 w 69"/>
                  <a:gd name="T1" fmla="*/ 100 h 117"/>
                  <a:gd name="T2" fmla="*/ 63 w 69"/>
                  <a:gd name="T3" fmla="*/ 114 h 117"/>
                  <a:gd name="T4" fmla="*/ 63 w 69"/>
                  <a:gd name="T5" fmla="*/ 114 h 117"/>
                  <a:gd name="T6" fmla="*/ 50 w 69"/>
                  <a:gd name="T7" fmla="*/ 108 h 117"/>
                  <a:gd name="T8" fmla="*/ 3 w 69"/>
                  <a:gd name="T9" fmla="*/ 16 h 117"/>
                  <a:gd name="T10" fmla="*/ 6 w 69"/>
                  <a:gd name="T11" fmla="*/ 2 h 117"/>
                  <a:gd name="T12" fmla="*/ 6 w 69"/>
                  <a:gd name="T13" fmla="*/ 2 h 117"/>
                  <a:gd name="T14" fmla="*/ 19 w 69"/>
                  <a:gd name="T15" fmla="*/ 8 h 117"/>
                  <a:gd name="T16" fmla="*/ 66 w 69"/>
                  <a:gd name="T17" fmla="*/ 100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9" h="117">
                    <a:moveTo>
                      <a:pt x="66" y="100"/>
                    </a:moveTo>
                    <a:cubicBezTo>
                      <a:pt x="69" y="107"/>
                      <a:pt x="68" y="112"/>
                      <a:pt x="63" y="114"/>
                    </a:cubicBezTo>
                    <a:cubicBezTo>
                      <a:pt x="63" y="114"/>
                      <a:pt x="63" y="114"/>
                      <a:pt x="63" y="114"/>
                    </a:cubicBezTo>
                    <a:cubicBezTo>
                      <a:pt x="59" y="117"/>
                      <a:pt x="54" y="115"/>
                      <a:pt x="50" y="108"/>
                    </a:cubicBezTo>
                    <a:cubicBezTo>
                      <a:pt x="3" y="16"/>
                      <a:pt x="3" y="16"/>
                      <a:pt x="3" y="16"/>
                    </a:cubicBezTo>
                    <a:cubicBezTo>
                      <a:pt x="0" y="10"/>
                      <a:pt x="2" y="4"/>
                      <a:pt x="6" y="2"/>
                    </a:cubicBezTo>
                    <a:cubicBezTo>
                      <a:pt x="6" y="2"/>
                      <a:pt x="6" y="2"/>
                      <a:pt x="6" y="2"/>
                    </a:cubicBezTo>
                    <a:cubicBezTo>
                      <a:pt x="10" y="0"/>
                      <a:pt x="16" y="2"/>
                      <a:pt x="19" y="8"/>
                    </a:cubicBezTo>
                    <a:lnTo>
                      <a:pt x="66" y="100"/>
                    </a:lnTo>
                    <a:close/>
                  </a:path>
                </a:pathLst>
              </a:custGeom>
              <a:solidFill>
                <a:srgbClr val="F472D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67" name="Freeform 66"/>
              <p:cNvSpPr>
                <a:spLocks/>
              </p:cNvSpPr>
              <p:nvPr/>
            </p:nvSpPr>
            <p:spPr bwMode="auto">
              <a:xfrm>
                <a:off x="10650538" y="1774826"/>
                <a:ext cx="69850" cy="247650"/>
              </a:xfrm>
              <a:custGeom>
                <a:avLst/>
                <a:gdLst>
                  <a:gd name="T0" fmla="*/ 18 w 36"/>
                  <a:gd name="T1" fmla="*/ 116 h 126"/>
                  <a:gd name="T2" fmla="*/ 8 w 36"/>
                  <a:gd name="T3" fmla="*/ 126 h 126"/>
                  <a:gd name="T4" fmla="*/ 8 w 36"/>
                  <a:gd name="T5" fmla="*/ 126 h 126"/>
                  <a:gd name="T6" fmla="*/ 1 w 36"/>
                  <a:gd name="T7" fmla="*/ 113 h 126"/>
                  <a:gd name="T8" fmla="*/ 17 w 36"/>
                  <a:gd name="T9" fmla="*/ 11 h 126"/>
                  <a:gd name="T10" fmla="*/ 28 w 36"/>
                  <a:gd name="T11" fmla="*/ 1 h 126"/>
                  <a:gd name="T12" fmla="*/ 28 w 36"/>
                  <a:gd name="T13" fmla="*/ 1 h 126"/>
                  <a:gd name="T14" fmla="*/ 34 w 36"/>
                  <a:gd name="T15" fmla="*/ 14 h 126"/>
                  <a:gd name="T16" fmla="*/ 18 w 36"/>
                  <a:gd name="T17" fmla="*/ 116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 h="126">
                    <a:moveTo>
                      <a:pt x="18" y="116"/>
                    </a:moveTo>
                    <a:cubicBezTo>
                      <a:pt x="17" y="123"/>
                      <a:pt x="13" y="126"/>
                      <a:pt x="8" y="126"/>
                    </a:cubicBezTo>
                    <a:cubicBezTo>
                      <a:pt x="8" y="126"/>
                      <a:pt x="8" y="126"/>
                      <a:pt x="8" y="126"/>
                    </a:cubicBezTo>
                    <a:cubicBezTo>
                      <a:pt x="3" y="125"/>
                      <a:pt x="0" y="120"/>
                      <a:pt x="1" y="113"/>
                    </a:cubicBezTo>
                    <a:cubicBezTo>
                      <a:pt x="17" y="11"/>
                      <a:pt x="17" y="11"/>
                      <a:pt x="17" y="11"/>
                    </a:cubicBezTo>
                    <a:cubicBezTo>
                      <a:pt x="18" y="4"/>
                      <a:pt x="23" y="0"/>
                      <a:pt x="28" y="1"/>
                    </a:cubicBezTo>
                    <a:cubicBezTo>
                      <a:pt x="28" y="1"/>
                      <a:pt x="28" y="1"/>
                      <a:pt x="28" y="1"/>
                    </a:cubicBezTo>
                    <a:cubicBezTo>
                      <a:pt x="32" y="2"/>
                      <a:pt x="36" y="6"/>
                      <a:pt x="34" y="14"/>
                    </a:cubicBezTo>
                    <a:lnTo>
                      <a:pt x="18" y="116"/>
                    </a:lnTo>
                    <a:close/>
                  </a:path>
                </a:pathLst>
              </a:custGeom>
              <a:solidFill>
                <a:srgbClr val="F472D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68" name="Freeform 67"/>
              <p:cNvSpPr>
                <a:spLocks/>
              </p:cNvSpPr>
              <p:nvPr/>
            </p:nvSpPr>
            <p:spPr bwMode="auto">
              <a:xfrm>
                <a:off x="10591800" y="1803401"/>
                <a:ext cx="187325" cy="188913"/>
              </a:xfrm>
              <a:custGeom>
                <a:avLst/>
                <a:gdLst>
                  <a:gd name="T0" fmla="*/ 17 w 96"/>
                  <a:gd name="T1" fmla="*/ 91 h 96"/>
                  <a:gd name="T2" fmla="*/ 3 w 96"/>
                  <a:gd name="T3" fmla="*/ 93 h 96"/>
                  <a:gd name="T4" fmla="*/ 3 w 96"/>
                  <a:gd name="T5" fmla="*/ 93 h 96"/>
                  <a:gd name="T6" fmla="*/ 5 w 96"/>
                  <a:gd name="T7" fmla="*/ 79 h 96"/>
                  <a:gd name="T8" fmla="*/ 78 w 96"/>
                  <a:gd name="T9" fmla="*/ 6 h 96"/>
                  <a:gd name="T10" fmla="*/ 92 w 96"/>
                  <a:gd name="T11" fmla="*/ 4 h 96"/>
                  <a:gd name="T12" fmla="*/ 92 w 96"/>
                  <a:gd name="T13" fmla="*/ 4 h 96"/>
                  <a:gd name="T14" fmla="*/ 90 w 96"/>
                  <a:gd name="T15" fmla="*/ 18 h 96"/>
                  <a:gd name="T16" fmla="*/ 17 w 96"/>
                  <a:gd name="T17" fmla="*/ 91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6" h="96">
                    <a:moveTo>
                      <a:pt x="17" y="91"/>
                    </a:moveTo>
                    <a:cubicBezTo>
                      <a:pt x="12" y="96"/>
                      <a:pt x="7" y="96"/>
                      <a:pt x="3" y="93"/>
                    </a:cubicBezTo>
                    <a:cubicBezTo>
                      <a:pt x="3" y="93"/>
                      <a:pt x="3" y="93"/>
                      <a:pt x="3" y="93"/>
                    </a:cubicBezTo>
                    <a:cubicBezTo>
                      <a:pt x="0" y="89"/>
                      <a:pt x="0" y="84"/>
                      <a:pt x="5" y="79"/>
                    </a:cubicBezTo>
                    <a:cubicBezTo>
                      <a:pt x="78" y="6"/>
                      <a:pt x="78" y="6"/>
                      <a:pt x="78" y="6"/>
                    </a:cubicBezTo>
                    <a:cubicBezTo>
                      <a:pt x="83" y="0"/>
                      <a:pt x="89" y="0"/>
                      <a:pt x="92" y="4"/>
                    </a:cubicBezTo>
                    <a:cubicBezTo>
                      <a:pt x="92" y="4"/>
                      <a:pt x="92" y="4"/>
                      <a:pt x="92" y="4"/>
                    </a:cubicBezTo>
                    <a:cubicBezTo>
                      <a:pt x="96" y="7"/>
                      <a:pt x="96" y="13"/>
                      <a:pt x="90" y="18"/>
                    </a:cubicBezTo>
                    <a:lnTo>
                      <a:pt x="17" y="91"/>
                    </a:lnTo>
                    <a:close/>
                  </a:path>
                </a:pathLst>
              </a:custGeom>
              <a:solidFill>
                <a:srgbClr val="F472D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69" name="Freeform 68"/>
              <p:cNvSpPr>
                <a:spLocks/>
              </p:cNvSpPr>
              <p:nvPr/>
            </p:nvSpPr>
            <p:spPr bwMode="auto">
              <a:xfrm>
                <a:off x="10579100" y="1793876"/>
                <a:ext cx="209550" cy="209550"/>
              </a:xfrm>
              <a:custGeom>
                <a:avLst/>
                <a:gdLst>
                  <a:gd name="T0" fmla="*/ 88 w 107"/>
                  <a:gd name="T1" fmla="*/ 88 h 107"/>
                  <a:gd name="T2" fmla="*/ 19 w 107"/>
                  <a:gd name="T3" fmla="*/ 88 h 107"/>
                  <a:gd name="T4" fmla="*/ 19 w 107"/>
                  <a:gd name="T5" fmla="*/ 19 h 107"/>
                  <a:gd name="T6" fmla="*/ 88 w 107"/>
                  <a:gd name="T7" fmla="*/ 19 h 107"/>
                  <a:gd name="T8" fmla="*/ 88 w 107"/>
                  <a:gd name="T9" fmla="*/ 88 h 107"/>
                </a:gdLst>
                <a:ahLst/>
                <a:cxnLst>
                  <a:cxn ang="0">
                    <a:pos x="T0" y="T1"/>
                  </a:cxn>
                  <a:cxn ang="0">
                    <a:pos x="T2" y="T3"/>
                  </a:cxn>
                  <a:cxn ang="0">
                    <a:pos x="T4" y="T5"/>
                  </a:cxn>
                  <a:cxn ang="0">
                    <a:pos x="T6" y="T7"/>
                  </a:cxn>
                  <a:cxn ang="0">
                    <a:pos x="T8" y="T9"/>
                  </a:cxn>
                </a:cxnLst>
                <a:rect l="0" t="0" r="r" b="b"/>
                <a:pathLst>
                  <a:path w="107" h="107">
                    <a:moveTo>
                      <a:pt x="88" y="88"/>
                    </a:moveTo>
                    <a:cubicBezTo>
                      <a:pt x="69" y="107"/>
                      <a:pt x="38" y="107"/>
                      <a:pt x="19" y="88"/>
                    </a:cubicBezTo>
                    <a:cubicBezTo>
                      <a:pt x="0" y="69"/>
                      <a:pt x="0" y="38"/>
                      <a:pt x="19" y="19"/>
                    </a:cubicBezTo>
                    <a:cubicBezTo>
                      <a:pt x="38" y="0"/>
                      <a:pt x="69" y="0"/>
                      <a:pt x="88" y="19"/>
                    </a:cubicBezTo>
                    <a:cubicBezTo>
                      <a:pt x="107" y="38"/>
                      <a:pt x="107" y="69"/>
                      <a:pt x="88" y="88"/>
                    </a:cubicBezTo>
                    <a:close/>
                  </a:path>
                </a:pathLst>
              </a:custGeom>
              <a:solidFill>
                <a:srgbClr val="F472D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70" name="Freeform 69"/>
              <p:cNvSpPr>
                <a:spLocks/>
              </p:cNvSpPr>
              <p:nvPr/>
            </p:nvSpPr>
            <p:spPr bwMode="auto">
              <a:xfrm>
                <a:off x="10615613" y="1828801"/>
                <a:ext cx="138113" cy="138113"/>
              </a:xfrm>
              <a:custGeom>
                <a:avLst/>
                <a:gdLst>
                  <a:gd name="T0" fmla="*/ 13 w 71"/>
                  <a:gd name="T1" fmla="*/ 13 h 70"/>
                  <a:gd name="T2" fmla="*/ 13 w 71"/>
                  <a:gd name="T3" fmla="*/ 58 h 70"/>
                  <a:gd name="T4" fmla="*/ 58 w 71"/>
                  <a:gd name="T5" fmla="*/ 58 h 70"/>
                  <a:gd name="T6" fmla="*/ 58 w 71"/>
                  <a:gd name="T7" fmla="*/ 13 h 70"/>
                  <a:gd name="T8" fmla="*/ 13 w 71"/>
                  <a:gd name="T9" fmla="*/ 13 h 70"/>
                </a:gdLst>
                <a:ahLst/>
                <a:cxnLst>
                  <a:cxn ang="0">
                    <a:pos x="T0" y="T1"/>
                  </a:cxn>
                  <a:cxn ang="0">
                    <a:pos x="T2" y="T3"/>
                  </a:cxn>
                  <a:cxn ang="0">
                    <a:pos x="T4" y="T5"/>
                  </a:cxn>
                  <a:cxn ang="0">
                    <a:pos x="T6" y="T7"/>
                  </a:cxn>
                  <a:cxn ang="0">
                    <a:pos x="T8" y="T9"/>
                  </a:cxn>
                </a:cxnLst>
                <a:rect l="0" t="0" r="r" b="b"/>
                <a:pathLst>
                  <a:path w="71" h="70">
                    <a:moveTo>
                      <a:pt x="13" y="13"/>
                    </a:moveTo>
                    <a:cubicBezTo>
                      <a:pt x="0" y="25"/>
                      <a:pt x="0" y="45"/>
                      <a:pt x="13" y="58"/>
                    </a:cubicBezTo>
                    <a:cubicBezTo>
                      <a:pt x="25" y="70"/>
                      <a:pt x="46" y="70"/>
                      <a:pt x="58" y="58"/>
                    </a:cubicBezTo>
                    <a:cubicBezTo>
                      <a:pt x="71" y="45"/>
                      <a:pt x="71" y="25"/>
                      <a:pt x="58" y="13"/>
                    </a:cubicBezTo>
                    <a:cubicBezTo>
                      <a:pt x="46" y="0"/>
                      <a:pt x="25" y="0"/>
                      <a:pt x="13" y="13"/>
                    </a:cubicBezTo>
                    <a:close/>
                  </a:path>
                </a:pathLst>
              </a:custGeom>
              <a:solidFill>
                <a:srgbClr val="F472D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71" name="Freeform 70"/>
              <p:cNvSpPr>
                <a:spLocks noEditPoints="1"/>
              </p:cNvSpPr>
              <p:nvPr/>
            </p:nvSpPr>
            <p:spPr bwMode="auto">
              <a:xfrm>
                <a:off x="10645775" y="1809751"/>
                <a:ext cx="101600" cy="49213"/>
              </a:xfrm>
              <a:custGeom>
                <a:avLst/>
                <a:gdLst>
                  <a:gd name="T0" fmla="*/ 50 w 52"/>
                  <a:gd name="T1" fmla="*/ 15 h 25"/>
                  <a:gd name="T2" fmla="*/ 5 w 52"/>
                  <a:gd name="T3" fmla="*/ 5 h 25"/>
                  <a:gd name="T4" fmla="*/ 4 w 52"/>
                  <a:gd name="T5" fmla="*/ 6 h 25"/>
                  <a:gd name="T6" fmla="*/ 2 w 52"/>
                  <a:gd name="T7" fmla="*/ 7 h 25"/>
                  <a:gd name="T8" fmla="*/ 2 w 52"/>
                  <a:gd name="T9" fmla="*/ 14 h 25"/>
                  <a:gd name="T10" fmla="*/ 7 w 52"/>
                  <a:gd name="T11" fmla="*/ 16 h 25"/>
                  <a:gd name="T12" fmla="*/ 7 w 52"/>
                  <a:gd name="T13" fmla="*/ 16 h 25"/>
                  <a:gd name="T14" fmla="*/ 7 w 52"/>
                  <a:gd name="T15" fmla="*/ 16 h 25"/>
                  <a:gd name="T16" fmla="*/ 42 w 52"/>
                  <a:gd name="T17" fmla="*/ 23 h 25"/>
                  <a:gd name="T18" fmla="*/ 50 w 52"/>
                  <a:gd name="T19" fmla="*/ 23 h 25"/>
                  <a:gd name="T20" fmla="*/ 50 w 52"/>
                  <a:gd name="T21" fmla="*/ 15 h 25"/>
                  <a:gd name="T22" fmla="*/ 9 w 52"/>
                  <a:gd name="T23" fmla="*/ 15 h 25"/>
                  <a:gd name="T24" fmla="*/ 9 w 52"/>
                  <a:gd name="T25" fmla="*/ 15 h 25"/>
                  <a:gd name="T26" fmla="*/ 9 w 52"/>
                  <a:gd name="T27" fmla="*/ 1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2" h="25">
                    <a:moveTo>
                      <a:pt x="50" y="15"/>
                    </a:moveTo>
                    <a:cubicBezTo>
                      <a:pt x="38" y="3"/>
                      <a:pt x="20" y="0"/>
                      <a:pt x="5" y="5"/>
                    </a:cubicBezTo>
                    <a:cubicBezTo>
                      <a:pt x="4" y="5"/>
                      <a:pt x="4" y="6"/>
                      <a:pt x="4" y="6"/>
                    </a:cubicBezTo>
                    <a:cubicBezTo>
                      <a:pt x="3" y="6"/>
                      <a:pt x="3" y="6"/>
                      <a:pt x="2" y="7"/>
                    </a:cubicBezTo>
                    <a:cubicBezTo>
                      <a:pt x="0" y="9"/>
                      <a:pt x="0" y="12"/>
                      <a:pt x="2" y="14"/>
                    </a:cubicBezTo>
                    <a:cubicBezTo>
                      <a:pt x="4" y="16"/>
                      <a:pt x="6" y="16"/>
                      <a:pt x="7" y="16"/>
                    </a:cubicBezTo>
                    <a:cubicBezTo>
                      <a:pt x="7" y="16"/>
                      <a:pt x="7" y="16"/>
                      <a:pt x="7" y="16"/>
                    </a:cubicBezTo>
                    <a:cubicBezTo>
                      <a:pt x="7" y="16"/>
                      <a:pt x="7" y="16"/>
                      <a:pt x="7" y="16"/>
                    </a:cubicBezTo>
                    <a:cubicBezTo>
                      <a:pt x="19" y="11"/>
                      <a:pt x="33" y="13"/>
                      <a:pt x="42" y="23"/>
                    </a:cubicBezTo>
                    <a:cubicBezTo>
                      <a:pt x="44" y="25"/>
                      <a:pt x="48" y="25"/>
                      <a:pt x="50" y="23"/>
                    </a:cubicBezTo>
                    <a:cubicBezTo>
                      <a:pt x="52" y="21"/>
                      <a:pt x="52" y="17"/>
                      <a:pt x="50" y="15"/>
                    </a:cubicBezTo>
                    <a:close/>
                    <a:moveTo>
                      <a:pt x="9" y="15"/>
                    </a:moveTo>
                    <a:cubicBezTo>
                      <a:pt x="9" y="15"/>
                      <a:pt x="9" y="15"/>
                      <a:pt x="9" y="15"/>
                    </a:cubicBezTo>
                    <a:cubicBezTo>
                      <a:pt x="9" y="15"/>
                      <a:pt x="9" y="15"/>
                      <a:pt x="9" y="15"/>
                    </a:cubicBezTo>
                    <a:close/>
                  </a:path>
                </a:pathLst>
              </a:custGeom>
              <a:solidFill>
                <a:srgbClr val="F472D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72" name="Freeform 71"/>
              <p:cNvSpPr>
                <a:spLocks/>
              </p:cNvSpPr>
              <p:nvPr/>
            </p:nvSpPr>
            <p:spPr bwMode="auto">
              <a:xfrm>
                <a:off x="10625138" y="1836738"/>
                <a:ext cx="20638" cy="23813"/>
              </a:xfrm>
              <a:custGeom>
                <a:avLst/>
                <a:gdLst>
                  <a:gd name="T0" fmla="*/ 2 w 11"/>
                  <a:gd name="T1" fmla="*/ 10 h 12"/>
                  <a:gd name="T2" fmla="*/ 9 w 11"/>
                  <a:gd name="T3" fmla="*/ 10 h 12"/>
                  <a:gd name="T4" fmla="*/ 9 w 11"/>
                  <a:gd name="T5" fmla="*/ 2 h 12"/>
                  <a:gd name="T6" fmla="*/ 4 w 11"/>
                  <a:gd name="T7" fmla="*/ 1 h 12"/>
                  <a:gd name="T8" fmla="*/ 3 w 11"/>
                  <a:gd name="T9" fmla="*/ 1 h 12"/>
                  <a:gd name="T10" fmla="*/ 2 w 11"/>
                  <a:gd name="T11" fmla="*/ 2 h 12"/>
                  <a:gd name="T12" fmla="*/ 2 w 11"/>
                  <a:gd name="T13" fmla="*/ 10 h 12"/>
                </a:gdLst>
                <a:ahLst/>
                <a:cxnLst>
                  <a:cxn ang="0">
                    <a:pos x="T0" y="T1"/>
                  </a:cxn>
                  <a:cxn ang="0">
                    <a:pos x="T2" y="T3"/>
                  </a:cxn>
                  <a:cxn ang="0">
                    <a:pos x="T4" y="T5"/>
                  </a:cxn>
                  <a:cxn ang="0">
                    <a:pos x="T6" y="T7"/>
                  </a:cxn>
                  <a:cxn ang="0">
                    <a:pos x="T8" y="T9"/>
                  </a:cxn>
                  <a:cxn ang="0">
                    <a:pos x="T10" y="T11"/>
                  </a:cxn>
                  <a:cxn ang="0">
                    <a:pos x="T12" y="T13"/>
                  </a:cxn>
                </a:cxnLst>
                <a:rect l="0" t="0" r="r" b="b"/>
                <a:pathLst>
                  <a:path w="11" h="12">
                    <a:moveTo>
                      <a:pt x="2" y="10"/>
                    </a:moveTo>
                    <a:cubicBezTo>
                      <a:pt x="4" y="12"/>
                      <a:pt x="7" y="12"/>
                      <a:pt x="9" y="10"/>
                    </a:cubicBezTo>
                    <a:cubicBezTo>
                      <a:pt x="11" y="8"/>
                      <a:pt x="11" y="4"/>
                      <a:pt x="9" y="2"/>
                    </a:cubicBezTo>
                    <a:cubicBezTo>
                      <a:pt x="8" y="1"/>
                      <a:pt x="6" y="0"/>
                      <a:pt x="4" y="1"/>
                    </a:cubicBezTo>
                    <a:cubicBezTo>
                      <a:pt x="4" y="1"/>
                      <a:pt x="3" y="1"/>
                      <a:pt x="3" y="1"/>
                    </a:cubicBezTo>
                    <a:cubicBezTo>
                      <a:pt x="3" y="1"/>
                      <a:pt x="2" y="2"/>
                      <a:pt x="2" y="2"/>
                    </a:cubicBezTo>
                    <a:cubicBezTo>
                      <a:pt x="0" y="4"/>
                      <a:pt x="0" y="8"/>
                      <a:pt x="2" y="10"/>
                    </a:cubicBezTo>
                    <a:close/>
                  </a:path>
                </a:pathLst>
              </a:custGeom>
              <a:solidFill>
                <a:srgbClr val="F472D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73" name="Freeform 72"/>
              <p:cNvSpPr>
                <a:spLocks/>
              </p:cNvSpPr>
              <p:nvPr/>
            </p:nvSpPr>
            <p:spPr bwMode="auto">
              <a:xfrm>
                <a:off x="10706100" y="2125663"/>
                <a:ext cx="369888" cy="66675"/>
              </a:xfrm>
              <a:custGeom>
                <a:avLst/>
                <a:gdLst>
                  <a:gd name="T0" fmla="*/ 11 w 189"/>
                  <a:gd name="T1" fmla="*/ 33 h 34"/>
                  <a:gd name="T2" fmla="*/ 1 w 189"/>
                  <a:gd name="T3" fmla="*/ 25 h 34"/>
                  <a:gd name="T4" fmla="*/ 1 w 189"/>
                  <a:gd name="T5" fmla="*/ 25 h 34"/>
                  <a:gd name="T6" fmla="*/ 9 w 189"/>
                  <a:gd name="T7" fmla="*/ 15 h 34"/>
                  <a:gd name="T8" fmla="*/ 178 w 189"/>
                  <a:gd name="T9" fmla="*/ 0 h 34"/>
                  <a:gd name="T10" fmla="*/ 188 w 189"/>
                  <a:gd name="T11" fmla="*/ 9 h 34"/>
                  <a:gd name="T12" fmla="*/ 188 w 189"/>
                  <a:gd name="T13" fmla="*/ 9 h 34"/>
                  <a:gd name="T14" fmla="*/ 180 w 189"/>
                  <a:gd name="T15" fmla="*/ 18 h 34"/>
                  <a:gd name="T16" fmla="*/ 11 w 189"/>
                  <a:gd name="T17" fmla="*/ 33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9" h="34">
                    <a:moveTo>
                      <a:pt x="11" y="33"/>
                    </a:moveTo>
                    <a:cubicBezTo>
                      <a:pt x="4" y="34"/>
                      <a:pt x="1" y="30"/>
                      <a:pt x="1" y="25"/>
                    </a:cubicBezTo>
                    <a:cubicBezTo>
                      <a:pt x="1" y="25"/>
                      <a:pt x="1" y="25"/>
                      <a:pt x="1" y="25"/>
                    </a:cubicBezTo>
                    <a:cubicBezTo>
                      <a:pt x="0" y="20"/>
                      <a:pt x="2" y="16"/>
                      <a:pt x="9" y="15"/>
                    </a:cubicBezTo>
                    <a:cubicBezTo>
                      <a:pt x="178" y="0"/>
                      <a:pt x="178" y="0"/>
                      <a:pt x="178" y="0"/>
                    </a:cubicBezTo>
                    <a:cubicBezTo>
                      <a:pt x="185" y="0"/>
                      <a:pt x="188" y="4"/>
                      <a:pt x="188" y="9"/>
                    </a:cubicBezTo>
                    <a:cubicBezTo>
                      <a:pt x="188" y="9"/>
                      <a:pt x="188" y="9"/>
                      <a:pt x="188" y="9"/>
                    </a:cubicBezTo>
                    <a:cubicBezTo>
                      <a:pt x="189" y="14"/>
                      <a:pt x="187" y="18"/>
                      <a:pt x="180" y="18"/>
                    </a:cubicBezTo>
                    <a:lnTo>
                      <a:pt x="11" y="33"/>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74" name="Freeform 73"/>
              <p:cNvSpPr>
                <a:spLocks/>
              </p:cNvSpPr>
              <p:nvPr/>
            </p:nvSpPr>
            <p:spPr bwMode="auto">
              <a:xfrm>
                <a:off x="10734675" y="2041526"/>
                <a:ext cx="314325" cy="234950"/>
              </a:xfrm>
              <a:custGeom>
                <a:avLst/>
                <a:gdLst>
                  <a:gd name="T0" fmla="*/ 6 w 161"/>
                  <a:gd name="T1" fmla="*/ 18 h 120"/>
                  <a:gd name="T2" fmla="*/ 3 w 161"/>
                  <a:gd name="T3" fmla="*/ 6 h 120"/>
                  <a:gd name="T4" fmla="*/ 3 w 161"/>
                  <a:gd name="T5" fmla="*/ 6 h 120"/>
                  <a:gd name="T6" fmla="*/ 16 w 161"/>
                  <a:gd name="T7" fmla="*/ 4 h 120"/>
                  <a:gd name="T8" fmla="*/ 155 w 161"/>
                  <a:gd name="T9" fmla="*/ 101 h 120"/>
                  <a:gd name="T10" fmla="*/ 158 w 161"/>
                  <a:gd name="T11" fmla="*/ 114 h 120"/>
                  <a:gd name="T12" fmla="*/ 158 w 161"/>
                  <a:gd name="T13" fmla="*/ 114 h 120"/>
                  <a:gd name="T14" fmla="*/ 145 w 161"/>
                  <a:gd name="T15" fmla="*/ 116 h 120"/>
                  <a:gd name="T16" fmla="*/ 6 w 161"/>
                  <a:gd name="T17" fmla="*/ 18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1" h="120">
                    <a:moveTo>
                      <a:pt x="6" y="18"/>
                    </a:moveTo>
                    <a:cubicBezTo>
                      <a:pt x="0" y="14"/>
                      <a:pt x="1" y="10"/>
                      <a:pt x="3" y="6"/>
                    </a:cubicBezTo>
                    <a:cubicBezTo>
                      <a:pt x="3" y="6"/>
                      <a:pt x="3" y="6"/>
                      <a:pt x="3" y="6"/>
                    </a:cubicBezTo>
                    <a:cubicBezTo>
                      <a:pt x="6" y="2"/>
                      <a:pt x="10" y="0"/>
                      <a:pt x="16" y="4"/>
                    </a:cubicBezTo>
                    <a:cubicBezTo>
                      <a:pt x="155" y="101"/>
                      <a:pt x="155" y="101"/>
                      <a:pt x="155" y="101"/>
                    </a:cubicBezTo>
                    <a:cubicBezTo>
                      <a:pt x="161" y="105"/>
                      <a:pt x="160" y="110"/>
                      <a:pt x="158" y="114"/>
                    </a:cubicBezTo>
                    <a:cubicBezTo>
                      <a:pt x="158" y="114"/>
                      <a:pt x="158" y="114"/>
                      <a:pt x="158" y="114"/>
                    </a:cubicBezTo>
                    <a:cubicBezTo>
                      <a:pt x="155" y="118"/>
                      <a:pt x="151" y="120"/>
                      <a:pt x="145" y="116"/>
                    </a:cubicBezTo>
                    <a:lnTo>
                      <a:pt x="6" y="18"/>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75" name="Freeform 74"/>
              <p:cNvSpPr>
                <a:spLocks/>
              </p:cNvSpPr>
              <p:nvPr/>
            </p:nvSpPr>
            <p:spPr bwMode="auto">
              <a:xfrm>
                <a:off x="10828338" y="1978026"/>
                <a:ext cx="127000" cy="361950"/>
              </a:xfrm>
              <a:custGeom>
                <a:avLst/>
                <a:gdLst>
                  <a:gd name="T0" fmla="*/ 2 w 65"/>
                  <a:gd name="T1" fmla="*/ 12 h 184"/>
                  <a:gd name="T2" fmla="*/ 8 w 65"/>
                  <a:gd name="T3" fmla="*/ 1 h 184"/>
                  <a:gd name="T4" fmla="*/ 8 w 65"/>
                  <a:gd name="T5" fmla="*/ 1 h 184"/>
                  <a:gd name="T6" fmla="*/ 19 w 65"/>
                  <a:gd name="T7" fmla="*/ 7 h 184"/>
                  <a:gd name="T8" fmla="*/ 63 w 65"/>
                  <a:gd name="T9" fmla="*/ 172 h 184"/>
                  <a:gd name="T10" fmla="*/ 57 w 65"/>
                  <a:gd name="T11" fmla="*/ 183 h 184"/>
                  <a:gd name="T12" fmla="*/ 57 w 65"/>
                  <a:gd name="T13" fmla="*/ 183 h 184"/>
                  <a:gd name="T14" fmla="*/ 46 w 65"/>
                  <a:gd name="T15" fmla="*/ 176 h 184"/>
                  <a:gd name="T16" fmla="*/ 2 w 65"/>
                  <a:gd name="T17" fmla="*/ 12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5" h="184">
                    <a:moveTo>
                      <a:pt x="2" y="12"/>
                    </a:moveTo>
                    <a:cubicBezTo>
                      <a:pt x="0" y="5"/>
                      <a:pt x="3" y="2"/>
                      <a:pt x="8" y="1"/>
                    </a:cubicBezTo>
                    <a:cubicBezTo>
                      <a:pt x="8" y="1"/>
                      <a:pt x="8" y="1"/>
                      <a:pt x="8" y="1"/>
                    </a:cubicBezTo>
                    <a:cubicBezTo>
                      <a:pt x="13" y="0"/>
                      <a:pt x="17" y="1"/>
                      <a:pt x="19" y="7"/>
                    </a:cubicBezTo>
                    <a:cubicBezTo>
                      <a:pt x="63" y="172"/>
                      <a:pt x="63" y="172"/>
                      <a:pt x="63" y="172"/>
                    </a:cubicBezTo>
                    <a:cubicBezTo>
                      <a:pt x="65" y="178"/>
                      <a:pt x="62" y="181"/>
                      <a:pt x="57" y="183"/>
                    </a:cubicBezTo>
                    <a:cubicBezTo>
                      <a:pt x="57" y="183"/>
                      <a:pt x="57" y="183"/>
                      <a:pt x="57" y="183"/>
                    </a:cubicBezTo>
                    <a:cubicBezTo>
                      <a:pt x="52" y="184"/>
                      <a:pt x="48" y="183"/>
                      <a:pt x="46" y="176"/>
                    </a:cubicBezTo>
                    <a:lnTo>
                      <a:pt x="2" y="12"/>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76" name="Freeform 75"/>
              <p:cNvSpPr>
                <a:spLocks/>
              </p:cNvSpPr>
              <p:nvPr/>
            </p:nvSpPr>
            <p:spPr bwMode="auto">
              <a:xfrm>
                <a:off x="10798175" y="1985963"/>
                <a:ext cx="185738" cy="344488"/>
              </a:xfrm>
              <a:custGeom>
                <a:avLst/>
                <a:gdLst>
                  <a:gd name="T0" fmla="*/ 75 w 95"/>
                  <a:gd name="T1" fmla="*/ 7 h 175"/>
                  <a:gd name="T2" fmla="*/ 87 w 95"/>
                  <a:gd name="T3" fmla="*/ 3 h 175"/>
                  <a:gd name="T4" fmla="*/ 87 w 95"/>
                  <a:gd name="T5" fmla="*/ 3 h 175"/>
                  <a:gd name="T6" fmla="*/ 92 w 95"/>
                  <a:gd name="T7" fmla="*/ 15 h 175"/>
                  <a:gd name="T8" fmla="*/ 20 w 95"/>
                  <a:gd name="T9" fmla="*/ 169 h 175"/>
                  <a:gd name="T10" fmla="*/ 8 w 95"/>
                  <a:gd name="T11" fmla="*/ 173 h 175"/>
                  <a:gd name="T12" fmla="*/ 8 w 95"/>
                  <a:gd name="T13" fmla="*/ 173 h 175"/>
                  <a:gd name="T14" fmla="*/ 3 w 95"/>
                  <a:gd name="T15" fmla="*/ 161 h 175"/>
                  <a:gd name="T16" fmla="*/ 75 w 95"/>
                  <a:gd name="T17" fmla="*/ 7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5" h="175">
                    <a:moveTo>
                      <a:pt x="75" y="7"/>
                    </a:moveTo>
                    <a:cubicBezTo>
                      <a:pt x="78" y="1"/>
                      <a:pt x="83" y="0"/>
                      <a:pt x="87" y="3"/>
                    </a:cubicBezTo>
                    <a:cubicBezTo>
                      <a:pt x="87" y="3"/>
                      <a:pt x="87" y="3"/>
                      <a:pt x="87" y="3"/>
                    </a:cubicBezTo>
                    <a:cubicBezTo>
                      <a:pt x="92" y="5"/>
                      <a:pt x="95" y="8"/>
                      <a:pt x="92" y="15"/>
                    </a:cubicBezTo>
                    <a:cubicBezTo>
                      <a:pt x="20" y="169"/>
                      <a:pt x="20" y="169"/>
                      <a:pt x="20" y="169"/>
                    </a:cubicBezTo>
                    <a:cubicBezTo>
                      <a:pt x="17" y="175"/>
                      <a:pt x="12" y="175"/>
                      <a:pt x="8" y="173"/>
                    </a:cubicBezTo>
                    <a:cubicBezTo>
                      <a:pt x="8" y="173"/>
                      <a:pt x="8" y="173"/>
                      <a:pt x="8" y="173"/>
                    </a:cubicBezTo>
                    <a:cubicBezTo>
                      <a:pt x="3" y="171"/>
                      <a:pt x="0" y="167"/>
                      <a:pt x="3" y="161"/>
                    </a:cubicBezTo>
                    <a:lnTo>
                      <a:pt x="75" y="7"/>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77" name="Freeform 76"/>
              <p:cNvSpPr>
                <a:spLocks/>
              </p:cNvSpPr>
              <p:nvPr/>
            </p:nvSpPr>
            <p:spPr bwMode="auto">
              <a:xfrm>
                <a:off x="10720388" y="2066926"/>
                <a:ext cx="341313" cy="184150"/>
              </a:xfrm>
              <a:custGeom>
                <a:avLst/>
                <a:gdLst>
                  <a:gd name="T0" fmla="*/ 161 w 175"/>
                  <a:gd name="T1" fmla="*/ 3 h 94"/>
                  <a:gd name="T2" fmla="*/ 173 w 175"/>
                  <a:gd name="T3" fmla="*/ 7 h 94"/>
                  <a:gd name="T4" fmla="*/ 173 w 175"/>
                  <a:gd name="T5" fmla="*/ 7 h 94"/>
                  <a:gd name="T6" fmla="*/ 168 w 175"/>
                  <a:gd name="T7" fmla="*/ 19 h 94"/>
                  <a:gd name="T8" fmla="*/ 14 w 175"/>
                  <a:gd name="T9" fmla="*/ 91 h 94"/>
                  <a:gd name="T10" fmla="*/ 2 w 175"/>
                  <a:gd name="T11" fmla="*/ 86 h 94"/>
                  <a:gd name="T12" fmla="*/ 2 w 175"/>
                  <a:gd name="T13" fmla="*/ 86 h 94"/>
                  <a:gd name="T14" fmla="*/ 7 w 175"/>
                  <a:gd name="T15" fmla="*/ 74 h 94"/>
                  <a:gd name="T16" fmla="*/ 161 w 175"/>
                  <a:gd name="T17" fmla="*/ 3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5" h="94">
                    <a:moveTo>
                      <a:pt x="161" y="3"/>
                    </a:moveTo>
                    <a:cubicBezTo>
                      <a:pt x="167" y="0"/>
                      <a:pt x="171" y="2"/>
                      <a:pt x="173" y="7"/>
                    </a:cubicBezTo>
                    <a:cubicBezTo>
                      <a:pt x="173" y="7"/>
                      <a:pt x="173" y="7"/>
                      <a:pt x="173" y="7"/>
                    </a:cubicBezTo>
                    <a:cubicBezTo>
                      <a:pt x="175" y="12"/>
                      <a:pt x="175" y="16"/>
                      <a:pt x="168" y="19"/>
                    </a:cubicBezTo>
                    <a:cubicBezTo>
                      <a:pt x="14" y="91"/>
                      <a:pt x="14" y="91"/>
                      <a:pt x="14" y="91"/>
                    </a:cubicBezTo>
                    <a:cubicBezTo>
                      <a:pt x="8" y="94"/>
                      <a:pt x="4" y="91"/>
                      <a:pt x="2" y="86"/>
                    </a:cubicBezTo>
                    <a:cubicBezTo>
                      <a:pt x="2" y="86"/>
                      <a:pt x="2" y="86"/>
                      <a:pt x="2" y="86"/>
                    </a:cubicBezTo>
                    <a:cubicBezTo>
                      <a:pt x="0" y="82"/>
                      <a:pt x="0" y="77"/>
                      <a:pt x="7" y="74"/>
                    </a:cubicBezTo>
                    <a:lnTo>
                      <a:pt x="161" y="3"/>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78" name="Freeform 77"/>
              <p:cNvSpPr>
                <a:spLocks/>
              </p:cNvSpPr>
              <p:nvPr/>
            </p:nvSpPr>
            <p:spPr bwMode="auto">
              <a:xfrm>
                <a:off x="10710863" y="2093913"/>
                <a:ext cx="360363" cy="128588"/>
              </a:xfrm>
              <a:custGeom>
                <a:avLst/>
                <a:gdLst>
                  <a:gd name="T0" fmla="*/ 177 w 185"/>
                  <a:gd name="T1" fmla="*/ 46 h 65"/>
                  <a:gd name="T2" fmla="*/ 183 w 185"/>
                  <a:gd name="T3" fmla="*/ 57 h 65"/>
                  <a:gd name="T4" fmla="*/ 183 w 185"/>
                  <a:gd name="T5" fmla="*/ 57 h 65"/>
                  <a:gd name="T6" fmla="*/ 172 w 185"/>
                  <a:gd name="T7" fmla="*/ 63 h 65"/>
                  <a:gd name="T8" fmla="*/ 8 w 185"/>
                  <a:gd name="T9" fmla="*/ 19 h 65"/>
                  <a:gd name="T10" fmla="*/ 2 w 185"/>
                  <a:gd name="T11" fmla="*/ 8 h 65"/>
                  <a:gd name="T12" fmla="*/ 2 w 185"/>
                  <a:gd name="T13" fmla="*/ 8 h 65"/>
                  <a:gd name="T14" fmla="*/ 13 w 185"/>
                  <a:gd name="T15" fmla="*/ 2 h 65"/>
                  <a:gd name="T16" fmla="*/ 177 w 185"/>
                  <a:gd name="T17" fmla="*/ 46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5" h="65">
                    <a:moveTo>
                      <a:pt x="177" y="46"/>
                    </a:moveTo>
                    <a:cubicBezTo>
                      <a:pt x="184" y="48"/>
                      <a:pt x="185" y="52"/>
                      <a:pt x="183" y="57"/>
                    </a:cubicBezTo>
                    <a:cubicBezTo>
                      <a:pt x="183" y="57"/>
                      <a:pt x="183" y="57"/>
                      <a:pt x="183" y="57"/>
                    </a:cubicBezTo>
                    <a:cubicBezTo>
                      <a:pt x="182" y="62"/>
                      <a:pt x="179" y="65"/>
                      <a:pt x="172" y="63"/>
                    </a:cubicBezTo>
                    <a:cubicBezTo>
                      <a:pt x="8" y="19"/>
                      <a:pt x="8" y="19"/>
                      <a:pt x="8" y="19"/>
                    </a:cubicBezTo>
                    <a:cubicBezTo>
                      <a:pt x="1" y="18"/>
                      <a:pt x="0" y="13"/>
                      <a:pt x="2" y="8"/>
                    </a:cubicBezTo>
                    <a:cubicBezTo>
                      <a:pt x="2" y="8"/>
                      <a:pt x="2" y="8"/>
                      <a:pt x="2" y="8"/>
                    </a:cubicBezTo>
                    <a:cubicBezTo>
                      <a:pt x="3" y="4"/>
                      <a:pt x="6" y="0"/>
                      <a:pt x="13" y="2"/>
                    </a:cubicBezTo>
                    <a:lnTo>
                      <a:pt x="177" y="46"/>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79" name="Freeform 78"/>
              <p:cNvSpPr>
                <a:spLocks/>
              </p:cNvSpPr>
              <p:nvPr/>
            </p:nvSpPr>
            <p:spPr bwMode="auto">
              <a:xfrm>
                <a:off x="10772775" y="2000251"/>
                <a:ext cx="236538" cy="315913"/>
              </a:xfrm>
              <a:custGeom>
                <a:avLst/>
                <a:gdLst>
                  <a:gd name="T0" fmla="*/ 117 w 121"/>
                  <a:gd name="T1" fmla="*/ 145 h 161"/>
                  <a:gd name="T2" fmla="*/ 114 w 121"/>
                  <a:gd name="T3" fmla="*/ 158 h 161"/>
                  <a:gd name="T4" fmla="*/ 114 w 121"/>
                  <a:gd name="T5" fmla="*/ 158 h 161"/>
                  <a:gd name="T6" fmla="*/ 102 w 121"/>
                  <a:gd name="T7" fmla="*/ 156 h 161"/>
                  <a:gd name="T8" fmla="*/ 4 w 121"/>
                  <a:gd name="T9" fmla="*/ 16 h 161"/>
                  <a:gd name="T10" fmla="*/ 7 w 121"/>
                  <a:gd name="T11" fmla="*/ 4 h 161"/>
                  <a:gd name="T12" fmla="*/ 7 w 121"/>
                  <a:gd name="T13" fmla="*/ 4 h 161"/>
                  <a:gd name="T14" fmla="*/ 19 w 121"/>
                  <a:gd name="T15" fmla="*/ 6 h 161"/>
                  <a:gd name="T16" fmla="*/ 117 w 121"/>
                  <a:gd name="T17" fmla="*/ 145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1" h="161">
                    <a:moveTo>
                      <a:pt x="117" y="145"/>
                    </a:moveTo>
                    <a:cubicBezTo>
                      <a:pt x="121" y="151"/>
                      <a:pt x="119" y="155"/>
                      <a:pt x="114" y="158"/>
                    </a:cubicBezTo>
                    <a:cubicBezTo>
                      <a:pt x="114" y="158"/>
                      <a:pt x="114" y="158"/>
                      <a:pt x="114" y="158"/>
                    </a:cubicBezTo>
                    <a:cubicBezTo>
                      <a:pt x="110" y="161"/>
                      <a:pt x="106" y="161"/>
                      <a:pt x="102" y="156"/>
                    </a:cubicBezTo>
                    <a:cubicBezTo>
                      <a:pt x="4" y="16"/>
                      <a:pt x="4" y="16"/>
                      <a:pt x="4" y="16"/>
                    </a:cubicBezTo>
                    <a:cubicBezTo>
                      <a:pt x="0" y="11"/>
                      <a:pt x="2" y="7"/>
                      <a:pt x="7" y="4"/>
                    </a:cubicBezTo>
                    <a:cubicBezTo>
                      <a:pt x="7" y="4"/>
                      <a:pt x="7" y="4"/>
                      <a:pt x="7" y="4"/>
                    </a:cubicBezTo>
                    <a:cubicBezTo>
                      <a:pt x="11" y="1"/>
                      <a:pt x="15" y="0"/>
                      <a:pt x="19" y="6"/>
                    </a:cubicBezTo>
                    <a:lnTo>
                      <a:pt x="117" y="145"/>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80" name="Freeform 79"/>
              <p:cNvSpPr>
                <a:spLocks/>
              </p:cNvSpPr>
              <p:nvPr/>
            </p:nvSpPr>
            <p:spPr bwMode="auto">
              <a:xfrm>
                <a:off x="10856913" y="1974851"/>
                <a:ext cx="68263" cy="368300"/>
              </a:xfrm>
              <a:custGeom>
                <a:avLst/>
                <a:gdLst>
                  <a:gd name="T0" fmla="*/ 19 w 35"/>
                  <a:gd name="T1" fmla="*/ 179 h 188"/>
                  <a:gd name="T2" fmla="*/ 9 w 35"/>
                  <a:gd name="T3" fmla="*/ 187 h 188"/>
                  <a:gd name="T4" fmla="*/ 9 w 35"/>
                  <a:gd name="T5" fmla="*/ 187 h 188"/>
                  <a:gd name="T6" fmla="*/ 1 w 35"/>
                  <a:gd name="T7" fmla="*/ 178 h 188"/>
                  <a:gd name="T8" fmla="*/ 16 w 35"/>
                  <a:gd name="T9" fmla="*/ 8 h 188"/>
                  <a:gd name="T10" fmla="*/ 26 w 35"/>
                  <a:gd name="T11" fmla="*/ 0 h 188"/>
                  <a:gd name="T12" fmla="*/ 26 w 35"/>
                  <a:gd name="T13" fmla="*/ 0 h 188"/>
                  <a:gd name="T14" fmla="*/ 34 w 35"/>
                  <a:gd name="T15" fmla="*/ 10 h 188"/>
                  <a:gd name="T16" fmla="*/ 19 w 35"/>
                  <a:gd name="T17" fmla="*/ 179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 h="188">
                    <a:moveTo>
                      <a:pt x="19" y="179"/>
                    </a:moveTo>
                    <a:cubicBezTo>
                      <a:pt x="18" y="186"/>
                      <a:pt x="14" y="188"/>
                      <a:pt x="9" y="187"/>
                    </a:cubicBezTo>
                    <a:cubicBezTo>
                      <a:pt x="9" y="187"/>
                      <a:pt x="9" y="187"/>
                      <a:pt x="9" y="187"/>
                    </a:cubicBezTo>
                    <a:cubicBezTo>
                      <a:pt x="4" y="187"/>
                      <a:pt x="0" y="185"/>
                      <a:pt x="1" y="178"/>
                    </a:cubicBezTo>
                    <a:cubicBezTo>
                      <a:pt x="16" y="8"/>
                      <a:pt x="16" y="8"/>
                      <a:pt x="16" y="8"/>
                    </a:cubicBezTo>
                    <a:cubicBezTo>
                      <a:pt x="17" y="1"/>
                      <a:pt x="21" y="0"/>
                      <a:pt x="26" y="0"/>
                    </a:cubicBezTo>
                    <a:cubicBezTo>
                      <a:pt x="26" y="0"/>
                      <a:pt x="26" y="0"/>
                      <a:pt x="26" y="0"/>
                    </a:cubicBezTo>
                    <a:cubicBezTo>
                      <a:pt x="31" y="0"/>
                      <a:pt x="35" y="3"/>
                      <a:pt x="34" y="10"/>
                    </a:cubicBezTo>
                    <a:lnTo>
                      <a:pt x="19" y="179"/>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81" name="Freeform 80"/>
              <p:cNvSpPr>
                <a:spLocks/>
              </p:cNvSpPr>
              <p:nvPr/>
            </p:nvSpPr>
            <p:spPr bwMode="auto">
              <a:xfrm>
                <a:off x="10752138" y="2017713"/>
                <a:ext cx="279400" cy="280988"/>
              </a:xfrm>
              <a:custGeom>
                <a:avLst/>
                <a:gdLst>
                  <a:gd name="T0" fmla="*/ 18 w 143"/>
                  <a:gd name="T1" fmla="*/ 138 h 143"/>
                  <a:gd name="T2" fmla="*/ 5 w 143"/>
                  <a:gd name="T3" fmla="*/ 138 h 143"/>
                  <a:gd name="T4" fmla="*/ 5 w 143"/>
                  <a:gd name="T5" fmla="*/ 138 h 143"/>
                  <a:gd name="T6" fmla="*/ 5 w 143"/>
                  <a:gd name="T7" fmla="*/ 125 h 143"/>
                  <a:gd name="T8" fmla="*/ 125 w 143"/>
                  <a:gd name="T9" fmla="*/ 5 h 143"/>
                  <a:gd name="T10" fmla="*/ 138 w 143"/>
                  <a:gd name="T11" fmla="*/ 5 h 143"/>
                  <a:gd name="T12" fmla="*/ 138 w 143"/>
                  <a:gd name="T13" fmla="*/ 5 h 143"/>
                  <a:gd name="T14" fmla="*/ 138 w 143"/>
                  <a:gd name="T15" fmla="*/ 18 h 143"/>
                  <a:gd name="T16" fmla="*/ 18 w 143"/>
                  <a:gd name="T17" fmla="*/ 138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3" h="143">
                    <a:moveTo>
                      <a:pt x="18" y="138"/>
                    </a:moveTo>
                    <a:cubicBezTo>
                      <a:pt x="13" y="143"/>
                      <a:pt x="9" y="142"/>
                      <a:pt x="5" y="138"/>
                    </a:cubicBezTo>
                    <a:cubicBezTo>
                      <a:pt x="5" y="138"/>
                      <a:pt x="5" y="138"/>
                      <a:pt x="5" y="138"/>
                    </a:cubicBezTo>
                    <a:cubicBezTo>
                      <a:pt x="1" y="135"/>
                      <a:pt x="0" y="130"/>
                      <a:pt x="5" y="125"/>
                    </a:cubicBezTo>
                    <a:cubicBezTo>
                      <a:pt x="125" y="5"/>
                      <a:pt x="125" y="5"/>
                      <a:pt x="125" y="5"/>
                    </a:cubicBezTo>
                    <a:cubicBezTo>
                      <a:pt x="130" y="0"/>
                      <a:pt x="134" y="2"/>
                      <a:pt x="138" y="5"/>
                    </a:cubicBezTo>
                    <a:cubicBezTo>
                      <a:pt x="138" y="5"/>
                      <a:pt x="138" y="5"/>
                      <a:pt x="138" y="5"/>
                    </a:cubicBezTo>
                    <a:cubicBezTo>
                      <a:pt x="142" y="9"/>
                      <a:pt x="143" y="13"/>
                      <a:pt x="138" y="18"/>
                    </a:cubicBezTo>
                    <a:lnTo>
                      <a:pt x="18" y="138"/>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82" name="Freeform 81"/>
              <p:cNvSpPr>
                <a:spLocks/>
              </p:cNvSpPr>
              <p:nvPr/>
            </p:nvSpPr>
            <p:spPr bwMode="auto">
              <a:xfrm>
                <a:off x="10714038" y="1981201"/>
                <a:ext cx="354013" cy="354013"/>
              </a:xfrm>
              <a:custGeom>
                <a:avLst/>
                <a:gdLst>
                  <a:gd name="T0" fmla="*/ 149 w 181"/>
                  <a:gd name="T1" fmla="*/ 149 h 181"/>
                  <a:gd name="T2" fmla="*/ 32 w 181"/>
                  <a:gd name="T3" fmla="*/ 149 h 181"/>
                  <a:gd name="T4" fmla="*/ 32 w 181"/>
                  <a:gd name="T5" fmla="*/ 32 h 181"/>
                  <a:gd name="T6" fmla="*/ 149 w 181"/>
                  <a:gd name="T7" fmla="*/ 32 h 181"/>
                  <a:gd name="T8" fmla="*/ 149 w 181"/>
                  <a:gd name="T9" fmla="*/ 149 h 181"/>
                </a:gdLst>
                <a:ahLst/>
                <a:cxnLst>
                  <a:cxn ang="0">
                    <a:pos x="T0" y="T1"/>
                  </a:cxn>
                  <a:cxn ang="0">
                    <a:pos x="T2" y="T3"/>
                  </a:cxn>
                  <a:cxn ang="0">
                    <a:pos x="T4" y="T5"/>
                  </a:cxn>
                  <a:cxn ang="0">
                    <a:pos x="T6" y="T7"/>
                  </a:cxn>
                  <a:cxn ang="0">
                    <a:pos x="T8" y="T9"/>
                  </a:cxn>
                </a:cxnLst>
                <a:rect l="0" t="0" r="r" b="b"/>
                <a:pathLst>
                  <a:path w="181" h="181">
                    <a:moveTo>
                      <a:pt x="149" y="149"/>
                    </a:moveTo>
                    <a:cubicBezTo>
                      <a:pt x="117" y="181"/>
                      <a:pt x="64" y="181"/>
                      <a:pt x="32" y="149"/>
                    </a:cubicBezTo>
                    <a:cubicBezTo>
                      <a:pt x="0" y="117"/>
                      <a:pt x="0" y="65"/>
                      <a:pt x="32" y="32"/>
                    </a:cubicBezTo>
                    <a:cubicBezTo>
                      <a:pt x="64" y="0"/>
                      <a:pt x="117" y="0"/>
                      <a:pt x="149" y="32"/>
                    </a:cubicBezTo>
                    <a:cubicBezTo>
                      <a:pt x="181" y="65"/>
                      <a:pt x="181" y="117"/>
                      <a:pt x="149" y="149"/>
                    </a:cubicBez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83" name="Freeform 82"/>
              <p:cNvSpPr>
                <a:spLocks/>
              </p:cNvSpPr>
              <p:nvPr/>
            </p:nvSpPr>
            <p:spPr bwMode="auto">
              <a:xfrm>
                <a:off x="10423525" y="2136776"/>
                <a:ext cx="242888" cy="44450"/>
              </a:xfrm>
              <a:custGeom>
                <a:avLst/>
                <a:gdLst>
                  <a:gd name="T0" fmla="*/ 7 w 124"/>
                  <a:gd name="T1" fmla="*/ 22 h 22"/>
                  <a:gd name="T2" fmla="*/ 0 w 124"/>
                  <a:gd name="T3" fmla="*/ 16 h 22"/>
                  <a:gd name="T4" fmla="*/ 0 w 124"/>
                  <a:gd name="T5" fmla="*/ 16 h 22"/>
                  <a:gd name="T6" fmla="*/ 6 w 124"/>
                  <a:gd name="T7" fmla="*/ 10 h 22"/>
                  <a:gd name="T8" fmla="*/ 117 w 124"/>
                  <a:gd name="T9" fmla="*/ 0 h 22"/>
                  <a:gd name="T10" fmla="*/ 124 w 124"/>
                  <a:gd name="T11" fmla="*/ 5 h 22"/>
                  <a:gd name="T12" fmla="*/ 124 w 124"/>
                  <a:gd name="T13" fmla="*/ 5 h 22"/>
                  <a:gd name="T14" fmla="*/ 118 w 124"/>
                  <a:gd name="T15" fmla="*/ 12 h 22"/>
                  <a:gd name="T16" fmla="*/ 7 w 124"/>
                  <a:gd name="T17"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4" h="22">
                    <a:moveTo>
                      <a:pt x="7" y="22"/>
                    </a:moveTo>
                    <a:cubicBezTo>
                      <a:pt x="2" y="22"/>
                      <a:pt x="0" y="19"/>
                      <a:pt x="0" y="16"/>
                    </a:cubicBezTo>
                    <a:cubicBezTo>
                      <a:pt x="0" y="16"/>
                      <a:pt x="0" y="16"/>
                      <a:pt x="0" y="16"/>
                    </a:cubicBezTo>
                    <a:cubicBezTo>
                      <a:pt x="0" y="13"/>
                      <a:pt x="1" y="10"/>
                      <a:pt x="6" y="10"/>
                    </a:cubicBezTo>
                    <a:cubicBezTo>
                      <a:pt x="117" y="0"/>
                      <a:pt x="117" y="0"/>
                      <a:pt x="117" y="0"/>
                    </a:cubicBezTo>
                    <a:cubicBezTo>
                      <a:pt x="122" y="0"/>
                      <a:pt x="123" y="2"/>
                      <a:pt x="124" y="5"/>
                    </a:cubicBezTo>
                    <a:cubicBezTo>
                      <a:pt x="124" y="5"/>
                      <a:pt x="124" y="5"/>
                      <a:pt x="124" y="5"/>
                    </a:cubicBezTo>
                    <a:cubicBezTo>
                      <a:pt x="124" y="9"/>
                      <a:pt x="123" y="11"/>
                      <a:pt x="118" y="12"/>
                    </a:cubicBezTo>
                    <a:lnTo>
                      <a:pt x="7" y="22"/>
                    </a:ln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84" name="Freeform 83"/>
              <p:cNvSpPr>
                <a:spLocks/>
              </p:cNvSpPr>
              <p:nvPr/>
            </p:nvSpPr>
            <p:spPr bwMode="auto">
              <a:xfrm>
                <a:off x="10440988" y="2081213"/>
                <a:ext cx="207963" cy="153988"/>
              </a:xfrm>
              <a:custGeom>
                <a:avLst/>
                <a:gdLst>
                  <a:gd name="T0" fmla="*/ 4 w 106"/>
                  <a:gd name="T1" fmla="*/ 12 h 79"/>
                  <a:gd name="T2" fmla="*/ 2 w 106"/>
                  <a:gd name="T3" fmla="*/ 4 h 79"/>
                  <a:gd name="T4" fmla="*/ 2 w 106"/>
                  <a:gd name="T5" fmla="*/ 4 h 79"/>
                  <a:gd name="T6" fmla="*/ 10 w 106"/>
                  <a:gd name="T7" fmla="*/ 3 h 79"/>
                  <a:gd name="T8" fmla="*/ 102 w 106"/>
                  <a:gd name="T9" fmla="*/ 67 h 79"/>
                  <a:gd name="T10" fmla="*/ 104 w 106"/>
                  <a:gd name="T11" fmla="*/ 75 h 79"/>
                  <a:gd name="T12" fmla="*/ 104 w 106"/>
                  <a:gd name="T13" fmla="*/ 75 h 79"/>
                  <a:gd name="T14" fmla="*/ 95 w 106"/>
                  <a:gd name="T15" fmla="*/ 77 h 79"/>
                  <a:gd name="T16" fmla="*/ 4 w 106"/>
                  <a:gd name="T17" fmla="*/ 12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6" h="79">
                    <a:moveTo>
                      <a:pt x="4" y="12"/>
                    </a:moveTo>
                    <a:cubicBezTo>
                      <a:pt x="0" y="10"/>
                      <a:pt x="0" y="7"/>
                      <a:pt x="2" y="4"/>
                    </a:cubicBezTo>
                    <a:cubicBezTo>
                      <a:pt x="2" y="4"/>
                      <a:pt x="2" y="4"/>
                      <a:pt x="2" y="4"/>
                    </a:cubicBezTo>
                    <a:cubicBezTo>
                      <a:pt x="4" y="2"/>
                      <a:pt x="7" y="0"/>
                      <a:pt x="10" y="3"/>
                    </a:cubicBezTo>
                    <a:cubicBezTo>
                      <a:pt x="102" y="67"/>
                      <a:pt x="102" y="67"/>
                      <a:pt x="102" y="67"/>
                    </a:cubicBezTo>
                    <a:cubicBezTo>
                      <a:pt x="106" y="70"/>
                      <a:pt x="105" y="73"/>
                      <a:pt x="104" y="75"/>
                    </a:cubicBezTo>
                    <a:cubicBezTo>
                      <a:pt x="104" y="75"/>
                      <a:pt x="104" y="75"/>
                      <a:pt x="104" y="75"/>
                    </a:cubicBezTo>
                    <a:cubicBezTo>
                      <a:pt x="102" y="78"/>
                      <a:pt x="99" y="79"/>
                      <a:pt x="95" y="77"/>
                    </a:cubicBezTo>
                    <a:lnTo>
                      <a:pt x="4" y="12"/>
                    </a:ln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85" name="Freeform 84"/>
              <p:cNvSpPr>
                <a:spLocks/>
              </p:cNvSpPr>
              <p:nvPr/>
            </p:nvSpPr>
            <p:spPr bwMode="auto">
              <a:xfrm>
                <a:off x="10501313" y="2039938"/>
                <a:ext cx="84138" cy="236538"/>
              </a:xfrm>
              <a:custGeom>
                <a:avLst/>
                <a:gdLst>
                  <a:gd name="T0" fmla="*/ 2 w 43"/>
                  <a:gd name="T1" fmla="*/ 8 h 121"/>
                  <a:gd name="T2" fmla="*/ 6 w 43"/>
                  <a:gd name="T3" fmla="*/ 1 h 121"/>
                  <a:gd name="T4" fmla="*/ 6 w 43"/>
                  <a:gd name="T5" fmla="*/ 1 h 121"/>
                  <a:gd name="T6" fmla="*/ 13 w 43"/>
                  <a:gd name="T7" fmla="*/ 5 h 121"/>
                  <a:gd name="T8" fmla="*/ 42 w 43"/>
                  <a:gd name="T9" fmla="*/ 113 h 121"/>
                  <a:gd name="T10" fmla="*/ 38 w 43"/>
                  <a:gd name="T11" fmla="*/ 121 h 121"/>
                  <a:gd name="T12" fmla="*/ 38 w 43"/>
                  <a:gd name="T13" fmla="*/ 121 h 121"/>
                  <a:gd name="T14" fmla="*/ 31 w 43"/>
                  <a:gd name="T15" fmla="*/ 116 h 121"/>
                  <a:gd name="T16" fmla="*/ 2 w 43"/>
                  <a:gd name="T17" fmla="*/ 8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3" h="121">
                    <a:moveTo>
                      <a:pt x="2" y="8"/>
                    </a:moveTo>
                    <a:cubicBezTo>
                      <a:pt x="0" y="4"/>
                      <a:pt x="3" y="2"/>
                      <a:pt x="6" y="1"/>
                    </a:cubicBezTo>
                    <a:cubicBezTo>
                      <a:pt x="6" y="1"/>
                      <a:pt x="6" y="1"/>
                      <a:pt x="6" y="1"/>
                    </a:cubicBezTo>
                    <a:cubicBezTo>
                      <a:pt x="9" y="0"/>
                      <a:pt x="12" y="1"/>
                      <a:pt x="13" y="5"/>
                    </a:cubicBezTo>
                    <a:cubicBezTo>
                      <a:pt x="42" y="113"/>
                      <a:pt x="42" y="113"/>
                      <a:pt x="42" y="113"/>
                    </a:cubicBezTo>
                    <a:cubicBezTo>
                      <a:pt x="43" y="118"/>
                      <a:pt x="41" y="120"/>
                      <a:pt x="38" y="121"/>
                    </a:cubicBezTo>
                    <a:cubicBezTo>
                      <a:pt x="38" y="121"/>
                      <a:pt x="38" y="121"/>
                      <a:pt x="38" y="121"/>
                    </a:cubicBezTo>
                    <a:cubicBezTo>
                      <a:pt x="35" y="121"/>
                      <a:pt x="32" y="121"/>
                      <a:pt x="31" y="116"/>
                    </a:cubicBezTo>
                    <a:lnTo>
                      <a:pt x="2" y="8"/>
                    </a:ln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86" name="Freeform 85"/>
              <p:cNvSpPr>
                <a:spLocks/>
              </p:cNvSpPr>
              <p:nvPr/>
            </p:nvSpPr>
            <p:spPr bwMode="auto">
              <a:xfrm>
                <a:off x="10483850" y="2044701"/>
                <a:ext cx="120650" cy="227013"/>
              </a:xfrm>
              <a:custGeom>
                <a:avLst/>
                <a:gdLst>
                  <a:gd name="T0" fmla="*/ 49 w 62"/>
                  <a:gd name="T1" fmla="*/ 4 h 115"/>
                  <a:gd name="T2" fmla="*/ 57 w 62"/>
                  <a:gd name="T3" fmla="*/ 2 h 115"/>
                  <a:gd name="T4" fmla="*/ 57 w 62"/>
                  <a:gd name="T5" fmla="*/ 2 h 115"/>
                  <a:gd name="T6" fmla="*/ 60 w 62"/>
                  <a:gd name="T7" fmla="*/ 10 h 115"/>
                  <a:gd name="T8" fmla="*/ 13 w 62"/>
                  <a:gd name="T9" fmla="*/ 111 h 115"/>
                  <a:gd name="T10" fmla="*/ 5 w 62"/>
                  <a:gd name="T11" fmla="*/ 114 h 115"/>
                  <a:gd name="T12" fmla="*/ 5 w 62"/>
                  <a:gd name="T13" fmla="*/ 114 h 115"/>
                  <a:gd name="T14" fmla="*/ 2 w 62"/>
                  <a:gd name="T15" fmla="*/ 106 h 115"/>
                  <a:gd name="T16" fmla="*/ 49 w 62"/>
                  <a:gd name="T17" fmla="*/ 4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 h="115">
                    <a:moveTo>
                      <a:pt x="49" y="4"/>
                    </a:moveTo>
                    <a:cubicBezTo>
                      <a:pt x="51" y="0"/>
                      <a:pt x="54" y="0"/>
                      <a:pt x="57" y="2"/>
                    </a:cubicBezTo>
                    <a:cubicBezTo>
                      <a:pt x="57" y="2"/>
                      <a:pt x="57" y="2"/>
                      <a:pt x="57" y="2"/>
                    </a:cubicBezTo>
                    <a:cubicBezTo>
                      <a:pt x="60" y="3"/>
                      <a:pt x="62" y="5"/>
                      <a:pt x="60" y="10"/>
                    </a:cubicBezTo>
                    <a:cubicBezTo>
                      <a:pt x="13" y="111"/>
                      <a:pt x="13" y="111"/>
                      <a:pt x="13" y="111"/>
                    </a:cubicBezTo>
                    <a:cubicBezTo>
                      <a:pt x="11" y="115"/>
                      <a:pt x="8" y="115"/>
                      <a:pt x="5" y="114"/>
                    </a:cubicBezTo>
                    <a:cubicBezTo>
                      <a:pt x="5" y="114"/>
                      <a:pt x="5" y="114"/>
                      <a:pt x="5" y="114"/>
                    </a:cubicBezTo>
                    <a:cubicBezTo>
                      <a:pt x="2" y="112"/>
                      <a:pt x="0" y="110"/>
                      <a:pt x="2" y="106"/>
                    </a:cubicBezTo>
                    <a:lnTo>
                      <a:pt x="49" y="4"/>
                    </a:ln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87" name="Freeform 86"/>
              <p:cNvSpPr>
                <a:spLocks/>
              </p:cNvSpPr>
              <p:nvPr/>
            </p:nvSpPr>
            <p:spPr bwMode="auto">
              <a:xfrm>
                <a:off x="10431463" y="2098676"/>
                <a:ext cx="223838" cy="120650"/>
              </a:xfrm>
              <a:custGeom>
                <a:avLst/>
                <a:gdLst>
                  <a:gd name="T0" fmla="*/ 106 w 115"/>
                  <a:gd name="T1" fmla="*/ 2 h 62"/>
                  <a:gd name="T2" fmla="*/ 114 w 115"/>
                  <a:gd name="T3" fmla="*/ 5 h 62"/>
                  <a:gd name="T4" fmla="*/ 114 w 115"/>
                  <a:gd name="T5" fmla="*/ 5 h 62"/>
                  <a:gd name="T6" fmla="*/ 111 w 115"/>
                  <a:gd name="T7" fmla="*/ 12 h 62"/>
                  <a:gd name="T8" fmla="*/ 10 w 115"/>
                  <a:gd name="T9" fmla="*/ 60 h 62"/>
                  <a:gd name="T10" fmla="*/ 2 w 115"/>
                  <a:gd name="T11" fmla="*/ 57 h 62"/>
                  <a:gd name="T12" fmla="*/ 2 w 115"/>
                  <a:gd name="T13" fmla="*/ 57 h 62"/>
                  <a:gd name="T14" fmla="*/ 5 w 115"/>
                  <a:gd name="T15" fmla="*/ 49 h 62"/>
                  <a:gd name="T16" fmla="*/ 106 w 115"/>
                  <a:gd name="T17" fmla="*/ 2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5" h="62">
                    <a:moveTo>
                      <a:pt x="106" y="2"/>
                    </a:moveTo>
                    <a:cubicBezTo>
                      <a:pt x="110" y="0"/>
                      <a:pt x="113" y="2"/>
                      <a:pt x="114" y="5"/>
                    </a:cubicBezTo>
                    <a:cubicBezTo>
                      <a:pt x="114" y="5"/>
                      <a:pt x="114" y="5"/>
                      <a:pt x="114" y="5"/>
                    </a:cubicBezTo>
                    <a:cubicBezTo>
                      <a:pt x="115" y="8"/>
                      <a:pt x="115" y="11"/>
                      <a:pt x="111" y="12"/>
                    </a:cubicBezTo>
                    <a:cubicBezTo>
                      <a:pt x="10" y="60"/>
                      <a:pt x="10" y="60"/>
                      <a:pt x="10" y="60"/>
                    </a:cubicBezTo>
                    <a:cubicBezTo>
                      <a:pt x="5" y="62"/>
                      <a:pt x="3" y="60"/>
                      <a:pt x="2" y="57"/>
                    </a:cubicBezTo>
                    <a:cubicBezTo>
                      <a:pt x="2" y="57"/>
                      <a:pt x="2" y="57"/>
                      <a:pt x="2" y="57"/>
                    </a:cubicBezTo>
                    <a:cubicBezTo>
                      <a:pt x="0" y="54"/>
                      <a:pt x="0" y="51"/>
                      <a:pt x="5" y="49"/>
                    </a:cubicBezTo>
                    <a:lnTo>
                      <a:pt x="106" y="2"/>
                    </a:ln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88" name="Freeform 87"/>
              <p:cNvSpPr>
                <a:spLocks/>
              </p:cNvSpPr>
              <p:nvPr/>
            </p:nvSpPr>
            <p:spPr bwMode="auto">
              <a:xfrm>
                <a:off x="10425113" y="2116138"/>
                <a:ext cx="238125" cy="84138"/>
              </a:xfrm>
              <a:custGeom>
                <a:avLst/>
                <a:gdLst>
                  <a:gd name="T0" fmla="*/ 116 w 122"/>
                  <a:gd name="T1" fmla="*/ 30 h 43"/>
                  <a:gd name="T2" fmla="*/ 121 w 122"/>
                  <a:gd name="T3" fmla="*/ 38 h 43"/>
                  <a:gd name="T4" fmla="*/ 121 w 122"/>
                  <a:gd name="T5" fmla="*/ 38 h 43"/>
                  <a:gd name="T6" fmla="*/ 113 w 122"/>
                  <a:gd name="T7" fmla="*/ 42 h 43"/>
                  <a:gd name="T8" fmla="*/ 5 w 122"/>
                  <a:gd name="T9" fmla="*/ 13 h 43"/>
                  <a:gd name="T10" fmla="*/ 1 w 122"/>
                  <a:gd name="T11" fmla="*/ 6 h 43"/>
                  <a:gd name="T12" fmla="*/ 1 w 122"/>
                  <a:gd name="T13" fmla="*/ 6 h 43"/>
                  <a:gd name="T14" fmla="*/ 8 w 122"/>
                  <a:gd name="T15" fmla="*/ 2 h 43"/>
                  <a:gd name="T16" fmla="*/ 116 w 122"/>
                  <a:gd name="T17" fmla="*/ 3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2" h="43">
                    <a:moveTo>
                      <a:pt x="116" y="30"/>
                    </a:moveTo>
                    <a:cubicBezTo>
                      <a:pt x="121" y="32"/>
                      <a:pt x="122" y="35"/>
                      <a:pt x="121" y="38"/>
                    </a:cubicBezTo>
                    <a:cubicBezTo>
                      <a:pt x="121" y="38"/>
                      <a:pt x="121" y="38"/>
                      <a:pt x="121" y="38"/>
                    </a:cubicBezTo>
                    <a:cubicBezTo>
                      <a:pt x="120" y="41"/>
                      <a:pt x="118" y="43"/>
                      <a:pt x="113" y="42"/>
                    </a:cubicBezTo>
                    <a:cubicBezTo>
                      <a:pt x="5" y="13"/>
                      <a:pt x="5" y="13"/>
                      <a:pt x="5" y="13"/>
                    </a:cubicBezTo>
                    <a:cubicBezTo>
                      <a:pt x="1" y="12"/>
                      <a:pt x="0" y="9"/>
                      <a:pt x="1" y="6"/>
                    </a:cubicBezTo>
                    <a:cubicBezTo>
                      <a:pt x="1" y="6"/>
                      <a:pt x="1" y="6"/>
                      <a:pt x="1" y="6"/>
                    </a:cubicBezTo>
                    <a:cubicBezTo>
                      <a:pt x="2" y="3"/>
                      <a:pt x="4" y="0"/>
                      <a:pt x="8" y="2"/>
                    </a:cubicBezTo>
                    <a:lnTo>
                      <a:pt x="116" y="30"/>
                    </a:ln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89" name="Freeform 88"/>
              <p:cNvSpPr>
                <a:spLocks/>
              </p:cNvSpPr>
              <p:nvPr/>
            </p:nvSpPr>
            <p:spPr bwMode="auto">
              <a:xfrm>
                <a:off x="10466388" y="2055813"/>
                <a:ext cx="153988" cy="207963"/>
              </a:xfrm>
              <a:custGeom>
                <a:avLst/>
                <a:gdLst>
                  <a:gd name="T0" fmla="*/ 77 w 79"/>
                  <a:gd name="T1" fmla="*/ 95 h 106"/>
                  <a:gd name="T2" fmla="*/ 75 w 79"/>
                  <a:gd name="T3" fmla="*/ 103 h 106"/>
                  <a:gd name="T4" fmla="*/ 75 w 79"/>
                  <a:gd name="T5" fmla="*/ 103 h 106"/>
                  <a:gd name="T6" fmla="*/ 67 w 79"/>
                  <a:gd name="T7" fmla="*/ 102 h 106"/>
                  <a:gd name="T8" fmla="*/ 3 w 79"/>
                  <a:gd name="T9" fmla="*/ 10 h 106"/>
                  <a:gd name="T10" fmla="*/ 4 w 79"/>
                  <a:gd name="T11" fmla="*/ 2 h 106"/>
                  <a:gd name="T12" fmla="*/ 4 w 79"/>
                  <a:gd name="T13" fmla="*/ 2 h 106"/>
                  <a:gd name="T14" fmla="*/ 13 w 79"/>
                  <a:gd name="T15" fmla="*/ 3 h 106"/>
                  <a:gd name="T16" fmla="*/ 77 w 79"/>
                  <a:gd name="T17" fmla="*/ 95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9" h="106">
                    <a:moveTo>
                      <a:pt x="77" y="95"/>
                    </a:moveTo>
                    <a:cubicBezTo>
                      <a:pt x="79" y="99"/>
                      <a:pt x="78" y="102"/>
                      <a:pt x="75" y="103"/>
                    </a:cubicBezTo>
                    <a:cubicBezTo>
                      <a:pt x="75" y="103"/>
                      <a:pt x="75" y="103"/>
                      <a:pt x="75" y="103"/>
                    </a:cubicBezTo>
                    <a:cubicBezTo>
                      <a:pt x="73" y="105"/>
                      <a:pt x="70" y="106"/>
                      <a:pt x="67" y="102"/>
                    </a:cubicBezTo>
                    <a:cubicBezTo>
                      <a:pt x="3" y="10"/>
                      <a:pt x="3" y="10"/>
                      <a:pt x="3" y="10"/>
                    </a:cubicBezTo>
                    <a:cubicBezTo>
                      <a:pt x="0" y="7"/>
                      <a:pt x="2" y="4"/>
                      <a:pt x="4" y="2"/>
                    </a:cubicBezTo>
                    <a:cubicBezTo>
                      <a:pt x="4" y="2"/>
                      <a:pt x="4" y="2"/>
                      <a:pt x="4" y="2"/>
                    </a:cubicBezTo>
                    <a:cubicBezTo>
                      <a:pt x="7" y="0"/>
                      <a:pt x="10" y="0"/>
                      <a:pt x="13" y="3"/>
                    </a:cubicBezTo>
                    <a:lnTo>
                      <a:pt x="77" y="95"/>
                    </a:ln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90" name="Freeform 89"/>
              <p:cNvSpPr>
                <a:spLocks/>
              </p:cNvSpPr>
              <p:nvPr/>
            </p:nvSpPr>
            <p:spPr bwMode="auto">
              <a:xfrm>
                <a:off x="10523538" y="2036763"/>
                <a:ext cx="42863" cy="244475"/>
              </a:xfrm>
              <a:custGeom>
                <a:avLst/>
                <a:gdLst>
                  <a:gd name="T0" fmla="*/ 12 w 22"/>
                  <a:gd name="T1" fmla="*/ 118 h 124"/>
                  <a:gd name="T2" fmla="*/ 5 w 22"/>
                  <a:gd name="T3" fmla="*/ 123 h 124"/>
                  <a:gd name="T4" fmla="*/ 5 w 22"/>
                  <a:gd name="T5" fmla="*/ 123 h 124"/>
                  <a:gd name="T6" fmla="*/ 0 w 22"/>
                  <a:gd name="T7" fmla="*/ 117 h 124"/>
                  <a:gd name="T8" fmla="*/ 10 w 22"/>
                  <a:gd name="T9" fmla="*/ 5 h 124"/>
                  <a:gd name="T10" fmla="*/ 16 w 22"/>
                  <a:gd name="T11" fmla="*/ 0 h 124"/>
                  <a:gd name="T12" fmla="*/ 16 w 22"/>
                  <a:gd name="T13" fmla="*/ 0 h 124"/>
                  <a:gd name="T14" fmla="*/ 22 w 22"/>
                  <a:gd name="T15" fmla="*/ 6 h 124"/>
                  <a:gd name="T16" fmla="*/ 12 w 22"/>
                  <a:gd name="T17" fmla="*/ 118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 h="124">
                    <a:moveTo>
                      <a:pt x="12" y="118"/>
                    </a:moveTo>
                    <a:cubicBezTo>
                      <a:pt x="11" y="123"/>
                      <a:pt x="9" y="124"/>
                      <a:pt x="5" y="123"/>
                    </a:cubicBezTo>
                    <a:cubicBezTo>
                      <a:pt x="5" y="123"/>
                      <a:pt x="5" y="123"/>
                      <a:pt x="5" y="123"/>
                    </a:cubicBezTo>
                    <a:cubicBezTo>
                      <a:pt x="2" y="123"/>
                      <a:pt x="0" y="122"/>
                      <a:pt x="0" y="117"/>
                    </a:cubicBezTo>
                    <a:cubicBezTo>
                      <a:pt x="10" y="5"/>
                      <a:pt x="10" y="5"/>
                      <a:pt x="10" y="5"/>
                    </a:cubicBezTo>
                    <a:cubicBezTo>
                      <a:pt x="10" y="1"/>
                      <a:pt x="13" y="0"/>
                      <a:pt x="16" y="0"/>
                    </a:cubicBezTo>
                    <a:cubicBezTo>
                      <a:pt x="16" y="0"/>
                      <a:pt x="16" y="0"/>
                      <a:pt x="16" y="0"/>
                    </a:cubicBezTo>
                    <a:cubicBezTo>
                      <a:pt x="20" y="0"/>
                      <a:pt x="22" y="2"/>
                      <a:pt x="22" y="6"/>
                    </a:cubicBezTo>
                    <a:lnTo>
                      <a:pt x="12" y="118"/>
                    </a:ln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91" name="Freeform 90"/>
              <p:cNvSpPr>
                <a:spLocks/>
              </p:cNvSpPr>
              <p:nvPr/>
            </p:nvSpPr>
            <p:spPr bwMode="auto">
              <a:xfrm>
                <a:off x="10453688" y="2066926"/>
                <a:ext cx="182563" cy="184150"/>
              </a:xfrm>
              <a:custGeom>
                <a:avLst/>
                <a:gdLst>
                  <a:gd name="T0" fmla="*/ 11 w 94"/>
                  <a:gd name="T1" fmla="*/ 91 h 94"/>
                  <a:gd name="T2" fmla="*/ 3 w 94"/>
                  <a:gd name="T3" fmla="*/ 91 h 94"/>
                  <a:gd name="T4" fmla="*/ 3 w 94"/>
                  <a:gd name="T5" fmla="*/ 91 h 94"/>
                  <a:gd name="T6" fmla="*/ 3 w 94"/>
                  <a:gd name="T7" fmla="*/ 82 h 94"/>
                  <a:gd name="T8" fmla="*/ 82 w 94"/>
                  <a:gd name="T9" fmla="*/ 3 h 94"/>
                  <a:gd name="T10" fmla="*/ 91 w 94"/>
                  <a:gd name="T11" fmla="*/ 3 h 94"/>
                  <a:gd name="T12" fmla="*/ 91 w 94"/>
                  <a:gd name="T13" fmla="*/ 3 h 94"/>
                  <a:gd name="T14" fmla="*/ 91 w 94"/>
                  <a:gd name="T15" fmla="*/ 11 h 94"/>
                  <a:gd name="T16" fmla="*/ 11 w 94"/>
                  <a:gd name="T17" fmla="*/ 91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4" h="94">
                    <a:moveTo>
                      <a:pt x="11" y="91"/>
                    </a:moveTo>
                    <a:cubicBezTo>
                      <a:pt x="8" y="94"/>
                      <a:pt x="5" y="93"/>
                      <a:pt x="3" y="91"/>
                    </a:cubicBezTo>
                    <a:cubicBezTo>
                      <a:pt x="3" y="91"/>
                      <a:pt x="3" y="91"/>
                      <a:pt x="3" y="91"/>
                    </a:cubicBezTo>
                    <a:cubicBezTo>
                      <a:pt x="1" y="88"/>
                      <a:pt x="0" y="85"/>
                      <a:pt x="3" y="82"/>
                    </a:cubicBezTo>
                    <a:cubicBezTo>
                      <a:pt x="82" y="3"/>
                      <a:pt x="82" y="3"/>
                      <a:pt x="82" y="3"/>
                    </a:cubicBezTo>
                    <a:cubicBezTo>
                      <a:pt x="85" y="0"/>
                      <a:pt x="88" y="1"/>
                      <a:pt x="91" y="3"/>
                    </a:cubicBezTo>
                    <a:cubicBezTo>
                      <a:pt x="91" y="3"/>
                      <a:pt x="91" y="3"/>
                      <a:pt x="91" y="3"/>
                    </a:cubicBezTo>
                    <a:cubicBezTo>
                      <a:pt x="93" y="5"/>
                      <a:pt x="94" y="8"/>
                      <a:pt x="91" y="11"/>
                    </a:cubicBezTo>
                    <a:lnTo>
                      <a:pt x="11" y="91"/>
                    </a:ln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92" name="Freeform 91"/>
              <p:cNvSpPr>
                <a:spLocks/>
              </p:cNvSpPr>
              <p:nvPr/>
            </p:nvSpPr>
            <p:spPr bwMode="auto">
              <a:xfrm>
                <a:off x="10428288" y="2041526"/>
                <a:ext cx="233363" cy="233363"/>
              </a:xfrm>
              <a:custGeom>
                <a:avLst/>
                <a:gdLst>
                  <a:gd name="T0" fmla="*/ 98 w 120"/>
                  <a:gd name="T1" fmla="*/ 98 h 119"/>
                  <a:gd name="T2" fmla="*/ 21 w 120"/>
                  <a:gd name="T3" fmla="*/ 98 h 119"/>
                  <a:gd name="T4" fmla="*/ 21 w 120"/>
                  <a:gd name="T5" fmla="*/ 21 h 119"/>
                  <a:gd name="T6" fmla="*/ 98 w 120"/>
                  <a:gd name="T7" fmla="*/ 21 h 119"/>
                  <a:gd name="T8" fmla="*/ 98 w 120"/>
                  <a:gd name="T9" fmla="*/ 98 h 119"/>
                </a:gdLst>
                <a:ahLst/>
                <a:cxnLst>
                  <a:cxn ang="0">
                    <a:pos x="T0" y="T1"/>
                  </a:cxn>
                  <a:cxn ang="0">
                    <a:pos x="T2" y="T3"/>
                  </a:cxn>
                  <a:cxn ang="0">
                    <a:pos x="T4" y="T5"/>
                  </a:cxn>
                  <a:cxn ang="0">
                    <a:pos x="T6" y="T7"/>
                  </a:cxn>
                  <a:cxn ang="0">
                    <a:pos x="T8" y="T9"/>
                  </a:cxn>
                </a:cxnLst>
                <a:rect l="0" t="0" r="r" b="b"/>
                <a:pathLst>
                  <a:path w="120" h="119">
                    <a:moveTo>
                      <a:pt x="98" y="98"/>
                    </a:moveTo>
                    <a:cubicBezTo>
                      <a:pt x="77" y="119"/>
                      <a:pt x="43" y="119"/>
                      <a:pt x="21" y="98"/>
                    </a:cubicBezTo>
                    <a:cubicBezTo>
                      <a:pt x="0" y="77"/>
                      <a:pt x="0" y="43"/>
                      <a:pt x="21" y="21"/>
                    </a:cubicBezTo>
                    <a:cubicBezTo>
                      <a:pt x="43" y="0"/>
                      <a:pt x="77" y="0"/>
                      <a:pt x="98" y="21"/>
                    </a:cubicBezTo>
                    <a:cubicBezTo>
                      <a:pt x="120" y="43"/>
                      <a:pt x="120" y="77"/>
                      <a:pt x="98" y="98"/>
                    </a:cubicBez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Segoe UI"/>
                  <a:ea typeface="+mn-ea"/>
                  <a:cs typeface="+mn-cs"/>
                </a:endParaRPr>
              </a:p>
            </p:txBody>
          </p:sp>
        </p:grpSp>
        <p:grpSp>
          <p:nvGrpSpPr>
            <p:cNvPr id="215" name="Group 214"/>
            <p:cNvGrpSpPr/>
            <p:nvPr/>
          </p:nvGrpSpPr>
          <p:grpSpPr>
            <a:xfrm flipH="1">
              <a:off x="2429807" y="1675489"/>
              <a:ext cx="1189945" cy="1001525"/>
              <a:chOff x="7659909" y="3778912"/>
              <a:chExt cx="1187629" cy="999576"/>
            </a:xfrm>
          </p:grpSpPr>
          <p:sp>
            <p:nvSpPr>
              <p:cNvPr id="216" name="Freeform 215"/>
              <p:cNvSpPr>
                <a:spLocks/>
              </p:cNvSpPr>
              <p:nvPr/>
            </p:nvSpPr>
            <p:spPr bwMode="auto">
              <a:xfrm>
                <a:off x="8159063" y="3778912"/>
                <a:ext cx="688475" cy="453910"/>
              </a:xfrm>
              <a:custGeom>
                <a:avLst/>
                <a:gdLst>
                  <a:gd name="T0" fmla="*/ 462 w 550"/>
                  <a:gd name="T1" fmla="*/ 159 h 362"/>
                  <a:gd name="T2" fmla="*/ 462 w 550"/>
                  <a:gd name="T3" fmla="*/ 152 h 362"/>
                  <a:gd name="T4" fmla="*/ 311 w 550"/>
                  <a:gd name="T5" fmla="*/ 0 h 362"/>
                  <a:gd name="T6" fmla="*/ 184 w 550"/>
                  <a:gd name="T7" fmla="*/ 68 h 362"/>
                  <a:gd name="T8" fmla="*/ 143 w 550"/>
                  <a:gd name="T9" fmla="*/ 57 h 362"/>
                  <a:gd name="T10" fmla="*/ 94 w 550"/>
                  <a:gd name="T11" fmla="*/ 72 h 362"/>
                  <a:gd name="T12" fmla="*/ 55 w 550"/>
                  <a:gd name="T13" fmla="*/ 143 h 362"/>
                  <a:gd name="T14" fmla="*/ 0 w 550"/>
                  <a:gd name="T15" fmla="*/ 243 h 362"/>
                  <a:gd name="T16" fmla="*/ 106 w 550"/>
                  <a:gd name="T17" fmla="*/ 362 h 362"/>
                  <a:gd name="T18" fmla="*/ 119 w 550"/>
                  <a:gd name="T19" fmla="*/ 362 h 362"/>
                  <a:gd name="T20" fmla="*/ 131 w 550"/>
                  <a:gd name="T21" fmla="*/ 362 h 362"/>
                  <a:gd name="T22" fmla="*/ 379 w 550"/>
                  <a:gd name="T23" fmla="*/ 362 h 362"/>
                  <a:gd name="T24" fmla="*/ 384 w 550"/>
                  <a:gd name="T25" fmla="*/ 362 h 362"/>
                  <a:gd name="T26" fmla="*/ 390 w 550"/>
                  <a:gd name="T27" fmla="*/ 362 h 362"/>
                  <a:gd name="T28" fmla="*/ 409 w 550"/>
                  <a:gd name="T29" fmla="*/ 362 h 362"/>
                  <a:gd name="T30" fmla="*/ 448 w 550"/>
                  <a:gd name="T31" fmla="*/ 362 h 362"/>
                  <a:gd name="T32" fmla="*/ 550 w 550"/>
                  <a:gd name="T33" fmla="*/ 260 h 362"/>
                  <a:gd name="T34" fmla="*/ 462 w 550"/>
                  <a:gd name="T35" fmla="*/ 159 h 3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50" h="362">
                    <a:moveTo>
                      <a:pt x="462" y="159"/>
                    </a:moveTo>
                    <a:cubicBezTo>
                      <a:pt x="462" y="157"/>
                      <a:pt x="462" y="154"/>
                      <a:pt x="462" y="152"/>
                    </a:cubicBezTo>
                    <a:cubicBezTo>
                      <a:pt x="462" y="68"/>
                      <a:pt x="395" y="0"/>
                      <a:pt x="311" y="0"/>
                    </a:cubicBezTo>
                    <a:cubicBezTo>
                      <a:pt x="258" y="0"/>
                      <a:pt x="211" y="28"/>
                      <a:pt x="184" y="68"/>
                    </a:cubicBezTo>
                    <a:cubicBezTo>
                      <a:pt x="172" y="61"/>
                      <a:pt x="158" y="57"/>
                      <a:pt x="143" y="57"/>
                    </a:cubicBezTo>
                    <a:cubicBezTo>
                      <a:pt x="124" y="57"/>
                      <a:pt x="108" y="62"/>
                      <a:pt x="94" y="72"/>
                    </a:cubicBezTo>
                    <a:cubicBezTo>
                      <a:pt x="70" y="87"/>
                      <a:pt x="55" y="113"/>
                      <a:pt x="55" y="143"/>
                    </a:cubicBezTo>
                    <a:cubicBezTo>
                      <a:pt x="22" y="164"/>
                      <a:pt x="0" y="201"/>
                      <a:pt x="0" y="243"/>
                    </a:cubicBezTo>
                    <a:cubicBezTo>
                      <a:pt x="0" y="305"/>
                      <a:pt x="46" y="355"/>
                      <a:pt x="106" y="362"/>
                    </a:cubicBezTo>
                    <a:cubicBezTo>
                      <a:pt x="110" y="362"/>
                      <a:pt x="115" y="362"/>
                      <a:pt x="119" y="362"/>
                    </a:cubicBezTo>
                    <a:cubicBezTo>
                      <a:pt x="123" y="362"/>
                      <a:pt x="127" y="362"/>
                      <a:pt x="131" y="362"/>
                    </a:cubicBezTo>
                    <a:cubicBezTo>
                      <a:pt x="187" y="362"/>
                      <a:pt x="318" y="362"/>
                      <a:pt x="379" y="362"/>
                    </a:cubicBezTo>
                    <a:cubicBezTo>
                      <a:pt x="381" y="362"/>
                      <a:pt x="383" y="362"/>
                      <a:pt x="384" y="362"/>
                    </a:cubicBezTo>
                    <a:cubicBezTo>
                      <a:pt x="390" y="362"/>
                      <a:pt x="390" y="362"/>
                      <a:pt x="390" y="362"/>
                    </a:cubicBezTo>
                    <a:cubicBezTo>
                      <a:pt x="394" y="362"/>
                      <a:pt x="403" y="362"/>
                      <a:pt x="409" y="362"/>
                    </a:cubicBezTo>
                    <a:cubicBezTo>
                      <a:pt x="448" y="362"/>
                      <a:pt x="448" y="362"/>
                      <a:pt x="448" y="362"/>
                    </a:cubicBezTo>
                    <a:cubicBezTo>
                      <a:pt x="505" y="361"/>
                      <a:pt x="550" y="316"/>
                      <a:pt x="550" y="260"/>
                    </a:cubicBezTo>
                    <a:cubicBezTo>
                      <a:pt x="550" y="209"/>
                      <a:pt x="512" y="166"/>
                      <a:pt x="462" y="15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217" name="Freeform 216"/>
              <p:cNvSpPr>
                <a:spLocks noEditPoints="1"/>
              </p:cNvSpPr>
              <p:nvPr/>
            </p:nvSpPr>
            <p:spPr bwMode="auto">
              <a:xfrm>
                <a:off x="7659909" y="4013874"/>
                <a:ext cx="766883" cy="764614"/>
              </a:xfrm>
              <a:custGeom>
                <a:avLst/>
                <a:gdLst>
                  <a:gd name="T0" fmla="*/ 266 w 483"/>
                  <a:gd name="T1" fmla="*/ 475 h 482"/>
                  <a:gd name="T2" fmla="*/ 216 w 483"/>
                  <a:gd name="T3" fmla="*/ 481 h 482"/>
                  <a:gd name="T4" fmla="*/ 217 w 483"/>
                  <a:gd name="T5" fmla="*/ 475 h 482"/>
                  <a:gd name="T6" fmla="*/ 290 w 483"/>
                  <a:gd name="T7" fmla="*/ 471 h 482"/>
                  <a:gd name="T8" fmla="*/ 292 w 483"/>
                  <a:gd name="T9" fmla="*/ 477 h 482"/>
                  <a:gd name="T10" fmla="*/ 146 w 483"/>
                  <a:gd name="T11" fmla="*/ 456 h 482"/>
                  <a:gd name="T12" fmla="*/ 340 w 483"/>
                  <a:gd name="T13" fmla="*/ 462 h 482"/>
                  <a:gd name="T14" fmla="*/ 362 w 483"/>
                  <a:gd name="T15" fmla="*/ 450 h 482"/>
                  <a:gd name="T16" fmla="*/ 100 w 483"/>
                  <a:gd name="T17" fmla="*/ 436 h 482"/>
                  <a:gd name="T18" fmla="*/ 121 w 483"/>
                  <a:gd name="T19" fmla="*/ 450 h 482"/>
                  <a:gd name="T20" fmla="*/ 399 w 483"/>
                  <a:gd name="T21" fmla="*/ 416 h 482"/>
                  <a:gd name="T22" fmla="*/ 80 w 483"/>
                  <a:gd name="T23" fmla="*/ 421 h 482"/>
                  <a:gd name="T24" fmla="*/ 84 w 483"/>
                  <a:gd name="T25" fmla="*/ 416 h 482"/>
                  <a:gd name="T26" fmla="*/ 416 w 483"/>
                  <a:gd name="T27" fmla="*/ 398 h 482"/>
                  <a:gd name="T28" fmla="*/ 421 w 483"/>
                  <a:gd name="T29" fmla="*/ 403 h 482"/>
                  <a:gd name="T30" fmla="*/ 38 w 483"/>
                  <a:gd name="T31" fmla="*/ 359 h 482"/>
                  <a:gd name="T32" fmla="*/ 450 w 483"/>
                  <a:gd name="T33" fmla="*/ 362 h 482"/>
                  <a:gd name="T34" fmla="*/ 462 w 483"/>
                  <a:gd name="T35" fmla="*/ 339 h 482"/>
                  <a:gd name="T36" fmla="*/ 12 w 483"/>
                  <a:gd name="T37" fmla="*/ 316 h 482"/>
                  <a:gd name="T38" fmla="*/ 21 w 483"/>
                  <a:gd name="T39" fmla="*/ 340 h 482"/>
                  <a:gd name="T40" fmla="*/ 471 w 483"/>
                  <a:gd name="T41" fmla="*/ 290 h 482"/>
                  <a:gd name="T42" fmla="*/ 5 w 483"/>
                  <a:gd name="T43" fmla="*/ 292 h 482"/>
                  <a:gd name="T44" fmla="*/ 11 w 483"/>
                  <a:gd name="T45" fmla="*/ 290 h 482"/>
                  <a:gd name="T46" fmla="*/ 475 w 483"/>
                  <a:gd name="T47" fmla="*/ 266 h 482"/>
                  <a:gd name="T48" fmla="*/ 483 w 483"/>
                  <a:gd name="T49" fmla="*/ 241 h 482"/>
                  <a:gd name="T50" fmla="*/ 0 w 483"/>
                  <a:gd name="T51" fmla="*/ 241 h 482"/>
                  <a:gd name="T52" fmla="*/ 8 w 483"/>
                  <a:gd name="T53" fmla="*/ 217 h 482"/>
                  <a:gd name="T54" fmla="*/ 475 w 483"/>
                  <a:gd name="T55" fmla="*/ 216 h 482"/>
                  <a:gd name="T56" fmla="*/ 481 w 483"/>
                  <a:gd name="T57" fmla="*/ 215 h 482"/>
                  <a:gd name="T58" fmla="*/ 5 w 483"/>
                  <a:gd name="T59" fmla="*/ 191 h 482"/>
                  <a:gd name="T60" fmla="*/ 11 w 483"/>
                  <a:gd name="T61" fmla="*/ 193 h 482"/>
                  <a:gd name="T62" fmla="*/ 462 w 483"/>
                  <a:gd name="T63" fmla="*/ 143 h 482"/>
                  <a:gd name="T64" fmla="*/ 27 w 483"/>
                  <a:gd name="T65" fmla="*/ 146 h 482"/>
                  <a:gd name="T66" fmla="*/ 38 w 483"/>
                  <a:gd name="T67" fmla="*/ 124 h 482"/>
                  <a:gd name="T68" fmla="*/ 431 w 483"/>
                  <a:gd name="T69" fmla="*/ 103 h 482"/>
                  <a:gd name="T70" fmla="*/ 445 w 483"/>
                  <a:gd name="T71" fmla="*/ 123 h 482"/>
                  <a:gd name="T72" fmla="*/ 62 w 483"/>
                  <a:gd name="T73" fmla="*/ 80 h 482"/>
                  <a:gd name="T74" fmla="*/ 416 w 483"/>
                  <a:gd name="T75" fmla="*/ 84 h 482"/>
                  <a:gd name="T76" fmla="*/ 420 w 483"/>
                  <a:gd name="T77" fmla="*/ 79 h 482"/>
                  <a:gd name="T78" fmla="*/ 80 w 483"/>
                  <a:gd name="T79" fmla="*/ 62 h 482"/>
                  <a:gd name="T80" fmla="*/ 84 w 483"/>
                  <a:gd name="T81" fmla="*/ 67 h 482"/>
                  <a:gd name="T82" fmla="*/ 362 w 483"/>
                  <a:gd name="T83" fmla="*/ 32 h 482"/>
                  <a:gd name="T84" fmla="*/ 124 w 483"/>
                  <a:gd name="T85" fmla="*/ 38 h 482"/>
                  <a:gd name="T86" fmla="*/ 145 w 483"/>
                  <a:gd name="T87" fmla="*/ 27 h 482"/>
                  <a:gd name="T88" fmla="*/ 314 w 483"/>
                  <a:gd name="T89" fmla="*/ 17 h 482"/>
                  <a:gd name="T90" fmla="*/ 337 w 483"/>
                  <a:gd name="T91" fmla="*/ 26 h 482"/>
                  <a:gd name="T92" fmla="*/ 191 w 483"/>
                  <a:gd name="T93" fmla="*/ 5 h 482"/>
                  <a:gd name="T94" fmla="*/ 290 w 483"/>
                  <a:gd name="T95" fmla="*/ 11 h 482"/>
                  <a:gd name="T96" fmla="*/ 291 w 483"/>
                  <a:gd name="T97" fmla="*/ 5 h 482"/>
                  <a:gd name="T98" fmla="*/ 216 w 483"/>
                  <a:gd name="T99" fmla="*/ 1 h 482"/>
                  <a:gd name="T100" fmla="*/ 216 w 483"/>
                  <a:gd name="T101" fmla="*/ 7 h 4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83" h="482">
                    <a:moveTo>
                      <a:pt x="241" y="482"/>
                    </a:moveTo>
                    <a:cubicBezTo>
                      <a:pt x="241" y="476"/>
                      <a:pt x="241" y="476"/>
                      <a:pt x="241" y="476"/>
                    </a:cubicBezTo>
                    <a:cubicBezTo>
                      <a:pt x="250" y="476"/>
                      <a:pt x="258" y="476"/>
                      <a:pt x="266" y="475"/>
                    </a:cubicBezTo>
                    <a:cubicBezTo>
                      <a:pt x="267" y="481"/>
                      <a:pt x="267" y="481"/>
                      <a:pt x="267" y="481"/>
                    </a:cubicBezTo>
                    <a:cubicBezTo>
                      <a:pt x="258" y="482"/>
                      <a:pt x="250" y="482"/>
                      <a:pt x="241" y="482"/>
                    </a:cubicBezTo>
                    <a:close/>
                    <a:moveTo>
                      <a:pt x="216" y="481"/>
                    </a:moveTo>
                    <a:cubicBezTo>
                      <a:pt x="208" y="480"/>
                      <a:pt x="200" y="479"/>
                      <a:pt x="191" y="477"/>
                    </a:cubicBezTo>
                    <a:cubicBezTo>
                      <a:pt x="193" y="471"/>
                      <a:pt x="193" y="471"/>
                      <a:pt x="193" y="471"/>
                    </a:cubicBezTo>
                    <a:cubicBezTo>
                      <a:pt x="201" y="473"/>
                      <a:pt x="209" y="474"/>
                      <a:pt x="217" y="475"/>
                    </a:cubicBezTo>
                    <a:lnTo>
                      <a:pt x="216" y="481"/>
                    </a:lnTo>
                    <a:close/>
                    <a:moveTo>
                      <a:pt x="292" y="477"/>
                    </a:moveTo>
                    <a:cubicBezTo>
                      <a:pt x="290" y="471"/>
                      <a:pt x="290" y="471"/>
                      <a:pt x="290" y="471"/>
                    </a:cubicBezTo>
                    <a:cubicBezTo>
                      <a:pt x="298" y="469"/>
                      <a:pt x="306" y="467"/>
                      <a:pt x="314" y="465"/>
                    </a:cubicBezTo>
                    <a:cubicBezTo>
                      <a:pt x="316" y="471"/>
                      <a:pt x="316" y="471"/>
                      <a:pt x="316" y="471"/>
                    </a:cubicBezTo>
                    <a:cubicBezTo>
                      <a:pt x="308" y="473"/>
                      <a:pt x="300" y="475"/>
                      <a:pt x="292" y="477"/>
                    </a:cubicBezTo>
                    <a:close/>
                    <a:moveTo>
                      <a:pt x="167" y="471"/>
                    </a:moveTo>
                    <a:cubicBezTo>
                      <a:pt x="159" y="468"/>
                      <a:pt x="151" y="465"/>
                      <a:pt x="143" y="462"/>
                    </a:cubicBezTo>
                    <a:cubicBezTo>
                      <a:pt x="146" y="456"/>
                      <a:pt x="146" y="456"/>
                      <a:pt x="146" y="456"/>
                    </a:cubicBezTo>
                    <a:cubicBezTo>
                      <a:pt x="153" y="459"/>
                      <a:pt x="161" y="462"/>
                      <a:pt x="169" y="465"/>
                    </a:cubicBezTo>
                    <a:lnTo>
                      <a:pt x="167" y="471"/>
                    </a:lnTo>
                    <a:close/>
                    <a:moveTo>
                      <a:pt x="340" y="462"/>
                    </a:moveTo>
                    <a:cubicBezTo>
                      <a:pt x="337" y="456"/>
                      <a:pt x="337" y="456"/>
                      <a:pt x="337" y="456"/>
                    </a:cubicBezTo>
                    <a:cubicBezTo>
                      <a:pt x="344" y="453"/>
                      <a:pt x="352" y="449"/>
                      <a:pt x="359" y="445"/>
                    </a:cubicBezTo>
                    <a:cubicBezTo>
                      <a:pt x="362" y="450"/>
                      <a:pt x="362" y="450"/>
                      <a:pt x="362" y="450"/>
                    </a:cubicBezTo>
                    <a:cubicBezTo>
                      <a:pt x="355" y="454"/>
                      <a:pt x="347" y="458"/>
                      <a:pt x="340" y="462"/>
                    </a:cubicBezTo>
                    <a:close/>
                    <a:moveTo>
                      <a:pt x="121" y="450"/>
                    </a:moveTo>
                    <a:cubicBezTo>
                      <a:pt x="114" y="446"/>
                      <a:pt x="106" y="441"/>
                      <a:pt x="100" y="436"/>
                    </a:cubicBezTo>
                    <a:cubicBezTo>
                      <a:pt x="103" y="431"/>
                      <a:pt x="103" y="431"/>
                      <a:pt x="103" y="431"/>
                    </a:cubicBezTo>
                    <a:cubicBezTo>
                      <a:pt x="110" y="436"/>
                      <a:pt x="117" y="441"/>
                      <a:pt x="124" y="445"/>
                    </a:cubicBezTo>
                    <a:lnTo>
                      <a:pt x="121" y="450"/>
                    </a:lnTo>
                    <a:close/>
                    <a:moveTo>
                      <a:pt x="383" y="436"/>
                    </a:moveTo>
                    <a:cubicBezTo>
                      <a:pt x="380" y="431"/>
                      <a:pt x="380" y="431"/>
                      <a:pt x="380" y="431"/>
                    </a:cubicBezTo>
                    <a:cubicBezTo>
                      <a:pt x="386" y="426"/>
                      <a:pt x="393" y="421"/>
                      <a:pt x="399" y="416"/>
                    </a:cubicBezTo>
                    <a:cubicBezTo>
                      <a:pt x="403" y="420"/>
                      <a:pt x="403" y="420"/>
                      <a:pt x="403" y="420"/>
                    </a:cubicBezTo>
                    <a:cubicBezTo>
                      <a:pt x="397" y="426"/>
                      <a:pt x="390" y="431"/>
                      <a:pt x="383" y="436"/>
                    </a:cubicBezTo>
                    <a:close/>
                    <a:moveTo>
                      <a:pt x="80" y="421"/>
                    </a:moveTo>
                    <a:cubicBezTo>
                      <a:pt x="74" y="415"/>
                      <a:pt x="68" y="409"/>
                      <a:pt x="62" y="403"/>
                    </a:cubicBezTo>
                    <a:cubicBezTo>
                      <a:pt x="67" y="399"/>
                      <a:pt x="67" y="399"/>
                      <a:pt x="67" y="399"/>
                    </a:cubicBezTo>
                    <a:cubicBezTo>
                      <a:pt x="72" y="405"/>
                      <a:pt x="78" y="410"/>
                      <a:pt x="84" y="416"/>
                    </a:cubicBezTo>
                    <a:lnTo>
                      <a:pt x="80" y="421"/>
                    </a:lnTo>
                    <a:close/>
                    <a:moveTo>
                      <a:pt x="421" y="403"/>
                    </a:moveTo>
                    <a:cubicBezTo>
                      <a:pt x="416" y="398"/>
                      <a:pt x="416" y="398"/>
                      <a:pt x="416" y="398"/>
                    </a:cubicBezTo>
                    <a:cubicBezTo>
                      <a:pt x="421" y="392"/>
                      <a:pt x="427" y="386"/>
                      <a:pt x="431" y="379"/>
                    </a:cubicBezTo>
                    <a:cubicBezTo>
                      <a:pt x="437" y="383"/>
                      <a:pt x="437" y="383"/>
                      <a:pt x="437" y="383"/>
                    </a:cubicBezTo>
                    <a:cubicBezTo>
                      <a:pt x="432" y="390"/>
                      <a:pt x="426" y="396"/>
                      <a:pt x="421" y="403"/>
                    </a:cubicBezTo>
                    <a:close/>
                    <a:moveTo>
                      <a:pt x="46" y="383"/>
                    </a:moveTo>
                    <a:cubicBezTo>
                      <a:pt x="41" y="376"/>
                      <a:pt x="37" y="369"/>
                      <a:pt x="32" y="362"/>
                    </a:cubicBezTo>
                    <a:cubicBezTo>
                      <a:pt x="38" y="359"/>
                      <a:pt x="38" y="359"/>
                      <a:pt x="38" y="359"/>
                    </a:cubicBezTo>
                    <a:cubicBezTo>
                      <a:pt x="42" y="366"/>
                      <a:pt x="47" y="373"/>
                      <a:pt x="51" y="379"/>
                    </a:cubicBezTo>
                    <a:lnTo>
                      <a:pt x="46" y="383"/>
                    </a:lnTo>
                    <a:close/>
                    <a:moveTo>
                      <a:pt x="450" y="362"/>
                    </a:moveTo>
                    <a:cubicBezTo>
                      <a:pt x="445" y="359"/>
                      <a:pt x="445" y="359"/>
                      <a:pt x="445" y="359"/>
                    </a:cubicBezTo>
                    <a:cubicBezTo>
                      <a:pt x="449" y="352"/>
                      <a:pt x="453" y="344"/>
                      <a:pt x="456" y="337"/>
                    </a:cubicBezTo>
                    <a:cubicBezTo>
                      <a:pt x="462" y="339"/>
                      <a:pt x="462" y="339"/>
                      <a:pt x="462" y="339"/>
                    </a:cubicBezTo>
                    <a:cubicBezTo>
                      <a:pt x="458" y="347"/>
                      <a:pt x="455" y="355"/>
                      <a:pt x="450" y="362"/>
                    </a:cubicBezTo>
                    <a:close/>
                    <a:moveTo>
                      <a:pt x="21" y="340"/>
                    </a:moveTo>
                    <a:cubicBezTo>
                      <a:pt x="18" y="332"/>
                      <a:pt x="14" y="324"/>
                      <a:pt x="12" y="316"/>
                    </a:cubicBezTo>
                    <a:cubicBezTo>
                      <a:pt x="18" y="314"/>
                      <a:pt x="18" y="314"/>
                      <a:pt x="18" y="314"/>
                    </a:cubicBezTo>
                    <a:cubicBezTo>
                      <a:pt x="20" y="322"/>
                      <a:pt x="23" y="329"/>
                      <a:pt x="27" y="337"/>
                    </a:cubicBezTo>
                    <a:lnTo>
                      <a:pt x="21" y="340"/>
                    </a:lnTo>
                    <a:close/>
                    <a:moveTo>
                      <a:pt x="471" y="316"/>
                    </a:moveTo>
                    <a:cubicBezTo>
                      <a:pt x="465" y="314"/>
                      <a:pt x="465" y="314"/>
                      <a:pt x="465" y="314"/>
                    </a:cubicBezTo>
                    <a:cubicBezTo>
                      <a:pt x="467" y="306"/>
                      <a:pt x="470" y="298"/>
                      <a:pt x="471" y="290"/>
                    </a:cubicBezTo>
                    <a:cubicBezTo>
                      <a:pt x="477" y="291"/>
                      <a:pt x="477" y="291"/>
                      <a:pt x="477" y="291"/>
                    </a:cubicBezTo>
                    <a:cubicBezTo>
                      <a:pt x="476" y="300"/>
                      <a:pt x="473" y="308"/>
                      <a:pt x="471" y="316"/>
                    </a:cubicBezTo>
                    <a:close/>
                    <a:moveTo>
                      <a:pt x="5" y="292"/>
                    </a:moveTo>
                    <a:cubicBezTo>
                      <a:pt x="4" y="283"/>
                      <a:pt x="2" y="275"/>
                      <a:pt x="1" y="267"/>
                    </a:cubicBezTo>
                    <a:cubicBezTo>
                      <a:pt x="8" y="266"/>
                      <a:pt x="8" y="266"/>
                      <a:pt x="8" y="266"/>
                    </a:cubicBezTo>
                    <a:cubicBezTo>
                      <a:pt x="9" y="274"/>
                      <a:pt x="10" y="282"/>
                      <a:pt x="11" y="290"/>
                    </a:cubicBezTo>
                    <a:lnTo>
                      <a:pt x="5" y="292"/>
                    </a:lnTo>
                    <a:close/>
                    <a:moveTo>
                      <a:pt x="481" y="266"/>
                    </a:moveTo>
                    <a:cubicBezTo>
                      <a:pt x="475" y="266"/>
                      <a:pt x="475" y="266"/>
                      <a:pt x="475" y="266"/>
                    </a:cubicBezTo>
                    <a:cubicBezTo>
                      <a:pt x="476" y="258"/>
                      <a:pt x="476" y="249"/>
                      <a:pt x="476" y="241"/>
                    </a:cubicBezTo>
                    <a:cubicBezTo>
                      <a:pt x="476" y="241"/>
                      <a:pt x="476" y="241"/>
                      <a:pt x="476" y="241"/>
                    </a:cubicBezTo>
                    <a:cubicBezTo>
                      <a:pt x="483" y="241"/>
                      <a:pt x="483" y="241"/>
                      <a:pt x="483" y="241"/>
                    </a:cubicBezTo>
                    <a:cubicBezTo>
                      <a:pt x="483" y="241"/>
                      <a:pt x="483" y="241"/>
                      <a:pt x="483" y="241"/>
                    </a:cubicBezTo>
                    <a:cubicBezTo>
                      <a:pt x="483" y="250"/>
                      <a:pt x="482" y="258"/>
                      <a:pt x="481" y="266"/>
                    </a:cubicBezTo>
                    <a:close/>
                    <a:moveTo>
                      <a:pt x="0" y="241"/>
                    </a:moveTo>
                    <a:cubicBezTo>
                      <a:pt x="0" y="241"/>
                      <a:pt x="0" y="241"/>
                      <a:pt x="0" y="241"/>
                    </a:cubicBezTo>
                    <a:cubicBezTo>
                      <a:pt x="0" y="233"/>
                      <a:pt x="0" y="224"/>
                      <a:pt x="1" y="216"/>
                    </a:cubicBezTo>
                    <a:cubicBezTo>
                      <a:pt x="8" y="217"/>
                      <a:pt x="8" y="217"/>
                      <a:pt x="8" y="217"/>
                    </a:cubicBezTo>
                    <a:cubicBezTo>
                      <a:pt x="7" y="225"/>
                      <a:pt x="6" y="233"/>
                      <a:pt x="6" y="241"/>
                    </a:cubicBezTo>
                    <a:lnTo>
                      <a:pt x="0" y="241"/>
                    </a:lnTo>
                    <a:close/>
                    <a:moveTo>
                      <a:pt x="475" y="216"/>
                    </a:moveTo>
                    <a:cubicBezTo>
                      <a:pt x="474" y="208"/>
                      <a:pt x="473" y="200"/>
                      <a:pt x="471" y="192"/>
                    </a:cubicBezTo>
                    <a:cubicBezTo>
                      <a:pt x="477" y="190"/>
                      <a:pt x="477" y="190"/>
                      <a:pt x="477" y="190"/>
                    </a:cubicBezTo>
                    <a:cubicBezTo>
                      <a:pt x="479" y="199"/>
                      <a:pt x="480" y="207"/>
                      <a:pt x="481" y="215"/>
                    </a:cubicBezTo>
                    <a:lnTo>
                      <a:pt x="475" y="216"/>
                    </a:lnTo>
                    <a:close/>
                    <a:moveTo>
                      <a:pt x="11" y="193"/>
                    </a:moveTo>
                    <a:cubicBezTo>
                      <a:pt x="5" y="191"/>
                      <a:pt x="5" y="191"/>
                      <a:pt x="5" y="191"/>
                    </a:cubicBezTo>
                    <a:cubicBezTo>
                      <a:pt x="7" y="183"/>
                      <a:pt x="9" y="175"/>
                      <a:pt x="12" y="167"/>
                    </a:cubicBezTo>
                    <a:cubicBezTo>
                      <a:pt x="18" y="169"/>
                      <a:pt x="18" y="169"/>
                      <a:pt x="18" y="169"/>
                    </a:cubicBezTo>
                    <a:cubicBezTo>
                      <a:pt x="15" y="177"/>
                      <a:pt x="13" y="185"/>
                      <a:pt x="11" y="193"/>
                    </a:cubicBezTo>
                    <a:close/>
                    <a:moveTo>
                      <a:pt x="465" y="168"/>
                    </a:moveTo>
                    <a:cubicBezTo>
                      <a:pt x="462" y="160"/>
                      <a:pt x="459" y="153"/>
                      <a:pt x="456" y="145"/>
                    </a:cubicBezTo>
                    <a:cubicBezTo>
                      <a:pt x="462" y="143"/>
                      <a:pt x="462" y="143"/>
                      <a:pt x="462" y="143"/>
                    </a:cubicBezTo>
                    <a:cubicBezTo>
                      <a:pt x="465" y="150"/>
                      <a:pt x="468" y="158"/>
                      <a:pt x="471" y="166"/>
                    </a:cubicBezTo>
                    <a:lnTo>
                      <a:pt x="465" y="168"/>
                    </a:lnTo>
                    <a:close/>
                    <a:moveTo>
                      <a:pt x="27" y="146"/>
                    </a:moveTo>
                    <a:cubicBezTo>
                      <a:pt x="21" y="143"/>
                      <a:pt x="21" y="143"/>
                      <a:pt x="21" y="143"/>
                    </a:cubicBezTo>
                    <a:cubicBezTo>
                      <a:pt x="24" y="136"/>
                      <a:pt x="28" y="128"/>
                      <a:pt x="32" y="121"/>
                    </a:cubicBezTo>
                    <a:cubicBezTo>
                      <a:pt x="38" y="124"/>
                      <a:pt x="38" y="124"/>
                      <a:pt x="38" y="124"/>
                    </a:cubicBezTo>
                    <a:cubicBezTo>
                      <a:pt x="34" y="131"/>
                      <a:pt x="30" y="138"/>
                      <a:pt x="27" y="146"/>
                    </a:cubicBezTo>
                    <a:close/>
                    <a:moveTo>
                      <a:pt x="445" y="123"/>
                    </a:moveTo>
                    <a:cubicBezTo>
                      <a:pt x="441" y="116"/>
                      <a:pt x="436" y="109"/>
                      <a:pt x="431" y="103"/>
                    </a:cubicBezTo>
                    <a:cubicBezTo>
                      <a:pt x="436" y="99"/>
                      <a:pt x="436" y="99"/>
                      <a:pt x="436" y="99"/>
                    </a:cubicBezTo>
                    <a:cubicBezTo>
                      <a:pt x="441" y="106"/>
                      <a:pt x="446" y="113"/>
                      <a:pt x="450" y="120"/>
                    </a:cubicBezTo>
                    <a:lnTo>
                      <a:pt x="445" y="123"/>
                    </a:lnTo>
                    <a:close/>
                    <a:moveTo>
                      <a:pt x="51" y="103"/>
                    </a:moveTo>
                    <a:cubicBezTo>
                      <a:pt x="46" y="100"/>
                      <a:pt x="46" y="100"/>
                      <a:pt x="46" y="100"/>
                    </a:cubicBezTo>
                    <a:cubicBezTo>
                      <a:pt x="51" y="93"/>
                      <a:pt x="56" y="86"/>
                      <a:pt x="62" y="80"/>
                    </a:cubicBezTo>
                    <a:cubicBezTo>
                      <a:pt x="67" y="84"/>
                      <a:pt x="67" y="84"/>
                      <a:pt x="67" y="84"/>
                    </a:cubicBezTo>
                    <a:cubicBezTo>
                      <a:pt x="61" y="90"/>
                      <a:pt x="56" y="97"/>
                      <a:pt x="51" y="103"/>
                    </a:cubicBezTo>
                    <a:close/>
                    <a:moveTo>
                      <a:pt x="416" y="84"/>
                    </a:moveTo>
                    <a:cubicBezTo>
                      <a:pt x="410" y="78"/>
                      <a:pt x="404" y="72"/>
                      <a:pt x="398" y="66"/>
                    </a:cubicBezTo>
                    <a:cubicBezTo>
                      <a:pt x="402" y="62"/>
                      <a:pt x="402" y="62"/>
                      <a:pt x="402" y="62"/>
                    </a:cubicBezTo>
                    <a:cubicBezTo>
                      <a:pt x="409" y="67"/>
                      <a:pt x="415" y="73"/>
                      <a:pt x="420" y="79"/>
                    </a:cubicBezTo>
                    <a:lnTo>
                      <a:pt x="416" y="84"/>
                    </a:lnTo>
                    <a:close/>
                    <a:moveTo>
                      <a:pt x="84" y="67"/>
                    </a:moveTo>
                    <a:cubicBezTo>
                      <a:pt x="80" y="62"/>
                      <a:pt x="80" y="62"/>
                      <a:pt x="80" y="62"/>
                    </a:cubicBezTo>
                    <a:cubicBezTo>
                      <a:pt x="86" y="56"/>
                      <a:pt x="92" y="51"/>
                      <a:pt x="99" y="46"/>
                    </a:cubicBezTo>
                    <a:cubicBezTo>
                      <a:pt x="103" y="51"/>
                      <a:pt x="103" y="51"/>
                      <a:pt x="103" y="51"/>
                    </a:cubicBezTo>
                    <a:cubicBezTo>
                      <a:pt x="96" y="56"/>
                      <a:pt x="90" y="61"/>
                      <a:pt x="84" y="67"/>
                    </a:cubicBezTo>
                    <a:close/>
                    <a:moveTo>
                      <a:pt x="379" y="51"/>
                    </a:moveTo>
                    <a:cubicBezTo>
                      <a:pt x="372" y="46"/>
                      <a:pt x="366" y="41"/>
                      <a:pt x="358" y="37"/>
                    </a:cubicBezTo>
                    <a:cubicBezTo>
                      <a:pt x="362" y="32"/>
                      <a:pt x="362" y="32"/>
                      <a:pt x="362" y="32"/>
                    </a:cubicBezTo>
                    <a:cubicBezTo>
                      <a:pt x="369" y="36"/>
                      <a:pt x="376" y="41"/>
                      <a:pt x="383" y="46"/>
                    </a:cubicBezTo>
                    <a:lnTo>
                      <a:pt x="379" y="51"/>
                    </a:lnTo>
                    <a:close/>
                    <a:moveTo>
                      <a:pt x="124" y="38"/>
                    </a:moveTo>
                    <a:cubicBezTo>
                      <a:pt x="120" y="32"/>
                      <a:pt x="120" y="32"/>
                      <a:pt x="120" y="32"/>
                    </a:cubicBezTo>
                    <a:cubicBezTo>
                      <a:pt x="128" y="28"/>
                      <a:pt x="135" y="24"/>
                      <a:pt x="143" y="21"/>
                    </a:cubicBezTo>
                    <a:cubicBezTo>
                      <a:pt x="145" y="27"/>
                      <a:pt x="145" y="27"/>
                      <a:pt x="145" y="27"/>
                    </a:cubicBezTo>
                    <a:cubicBezTo>
                      <a:pt x="138" y="30"/>
                      <a:pt x="131" y="34"/>
                      <a:pt x="124" y="38"/>
                    </a:cubicBezTo>
                    <a:close/>
                    <a:moveTo>
                      <a:pt x="337" y="26"/>
                    </a:moveTo>
                    <a:cubicBezTo>
                      <a:pt x="329" y="23"/>
                      <a:pt x="321" y="20"/>
                      <a:pt x="314" y="17"/>
                    </a:cubicBezTo>
                    <a:cubicBezTo>
                      <a:pt x="316" y="11"/>
                      <a:pt x="316" y="11"/>
                      <a:pt x="316" y="11"/>
                    </a:cubicBezTo>
                    <a:cubicBezTo>
                      <a:pt x="324" y="14"/>
                      <a:pt x="331" y="17"/>
                      <a:pt x="339" y="20"/>
                    </a:cubicBezTo>
                    <a:lnTo>
                      <a:pt x="337" y="26"/>
                    </a:lnTo>
                    <a:close/>
                    <a:moveTo>
                      <a:pt x="168" y="18"/>
                    </a:moveTo>
                    <a:cubicBezTo>
                      <a:pt x="166" y="12"/>
                      <a:pt x="166" y="12"/>
                      <a:pt x="166" y="12"/>
                    </a:cubicBezTo>
                    <a:cubicBezTo>
                      <a:pt x="174" y="9"/>
                      <a:pt x="183" y="7"/>
                      <a:pt x="191" y="5"/>
                    </a:cubicBezTo>
                    <a:cubicBezTo>
                      <a:pt x="192" y="11"/>
                      <a:pt x="192" y="11"/>
                      <a:pt x="192" y="11"/>
                    </a:cubicBezTo>
                    <a:cubicBezTo>
                      <a:pt x="184" y="13"/>
                      <a:pt x="176" y="15"/>
                      <a:pt x="168" y="18"/>
                    </a:cubicBezTo>
                    <a:close/>
                    <a:moveTo>
                      <a:pt x="290" y="11"/>
                    </a:moveTo>
                    <a:cubicBezTo>
                      <a:pt x="282" y="10"/>
                      <a:pt x="274" y="8"/>
                      <a:pt x="266" y="7"/>
                    </a:cubicBezTo>
                    <a:cubicBezTo>
                      <a:pt x="266" y="1"/>
                      <a:pt x="266" y="1"/>
                      <a:pt x="266" y="1"/>
                    </a:cubicBezTo>
                    <a:cubicBezTo>
                      <a:pt x="275" y="2"/>
                      <a:pt x="283" y="3"/>
                      <a:pt x="291" y="5"/>
                    </a:cubicBezTo>
                    <a:lnTo>
                      <a:pt x="290" y="11"/>
                    </a:lnTo>
                    <a:close/>
                    <a:moveTo>
                      <a:pt x="216" y="7"/>
                    </a:moveTo>
                    <a:cubicBezTo>
                      <a:pt x="216" y="1"/>
                      <a:pt x="216" y="1"/>
                      <a:pt x="216" y="1"/>
                    </a:cubicBezTo>
                    <a:cubicBezTo>
                      <a:pt x="224" y="0"/>
                      <a:pt x="233" y="0"/>
                      <a:pt x="241" y="0"/>
                    </a:cubicBezTo>
                    <a:cubicBezTo>
                      <a:pt x="241" y="6"/>
                      <a:pt x="241" y="6"/>
                      <a:pt x="241" y="6"/>
                    </a:cubicBezTo>
                    <a:cubicBezTo>
                      <a:pt x="233" y="6"/>
                      <a:pt x="224" y="7"/>
                      <a:pt x="216" y="7"/>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218" name="Oval 217"/>
              <p:cNvSpPr>
                <a:spLocks noChangeArrowheads="1"/>
              </p:cNvSpPr>
              <p:nvPr/>
            </p:nvSpPr>
            <p:spPr bwMode="auto">
              <a:xfrm>
                <a:off x="7665581" y="4134125"/>
                <a:ext cx="640960" cy="639825"/>
              </a:xfrm>
              <a:prstGeom prst="ellipse">
                <a:avLst/>
              </a:prstGeom>
              <a:solidFill>
                <a:srgbClr val="E6E6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219" name="Freeform 218"/>
              <p:cNvSpPr>
                <a:spLocks noEditPoints="1"/>
              </p:cNvSpPr>
              <p:nvPr/>
            </p:nvSpPr>
            <p:spPr bwMode="auto">
              <a:xfrm>
                <a:off x="7659909" y="4129587"/>
                <a:ext cx="651170" cy="648901"/>
              </a:xfrm>
              <a:custGeom>
                <a:avLst/>
                <a:gdLst>
                  <a:gd name="T0" fmla="*/ 193 w 410"/>
                  <a:gd name="T1" fmla="*/ 403 h 409"/>
                  <a:gd name="T2" fmla="*/ 205 w 410"/>
                  <a:gd name="T3" fmla="*/ 409 h 409"/>
                  <a:gd name="T4" fmla="*/ 144 w 410"/>
                  <a:gd name="T5" fmla="*/ 394 h 409"/>
                  <a:gd name="T6" fmla="*/ 243 w 410"/>
                  <a:gd name="T7" fmla="*/ 406 h 409"/>
                  <a:gd name="T8" fmla="*/ 268 w 410"/>
                  <a:gd name="T9" fmla="*/ 399 h 409"/>
                  <a:gd name="T10" fmla="*/ 95 w 410"/>
                  <a:gd name="T11" fmla="*/ 378 h 409"/>
                  <a:gd name="T12" fmla="*/ 118 w 410"/>
                  <a:gd name="T13" fmla="*/ 390 h 409"/>
                  <a:gd name="T14" fmla="*/ 311 w 410"/>
                  <a:gd name="T15" fmla="*/ 372 h 409"/>
                  <a:gd name="T16" fmla="*/ 74 w 410"/>
                  <a:gd name="T17" fmla="*/ 363 h 409"/>
                  <a:gd name="T18" fmla="*/ 79 w 410"/>
                  <a:gd name="T19" fmla="*/ 358 h 409"/>
                  <a:gd name="T20" fmla="*/ 332 w 410"/>
                  <a:gd name="T21" fmla="*/ 358 h 409"/>
                  <a:gd name="T22" fmla="*/ 336 w 410"/>
                  <a:gd name="T23" fmla="*/ 362 h 409"/>
                  <a:gd name="T24" fmla="*/ 31 w 410"/>
                  <a:gd name="T25" fmla="*/ 300 h 409"/>
                  <a:gd name="T26" fmla="*/ 371 w 410"/>
                  <a:gd name="T27" fmla="*/ 325 h 409"/>
                  <a:gd name="T28" fmla="*/ 385 w 410"/>
                  <a:gd name="T29" fmla="*/ 303 h 409"/>
                  <a:gd name="T30" fmla="*/ 7 w 410"/>
                  <a:gd name="T31" fmla="*/ 256 h 409"/>
                  <a:gd name="T32" fmla="*/ 14 w 410"/>
                  <a:gd name="T33" fmla="*/ 280 h 409"/>
                  <a:gd name="T34" fmla="*/ 397 w 410"/>
                  <a:gd name="T35" fmla="*/ 254 h 409"/>
                  <a:gd name="T36" fmla="*/ 2 w 410"/>
                  <a:gd name="T37" fmla="*/ 231 h 409"/>
                  <a:gd name="T38" fmla="*/ 8 w 410"/>
                  <a:gd name="T39" fmla="*/ 230 h 409"/>
                  <a:gd name="T40" fmla="*/ 402 w 410"/>
                  <a:gd name="T41" fmla="*/ 229 h 409"/>
                  <a:gd name="T42" fmla="*/ 410 w 410"/>
                  <a:gd name="T43" fmla="*/ 204 h 409"/>
                  <a:gd name="T44" fmla="*/ 8 w 410"/>
                  <a:gd name="T45" fmla="*/ 180 h 409"/>
                  <a:gd name="T46" fmla="*/ 12 w 410"/>
                  <a:gd name="T47" fmla="*/ 156 h 409"/>
                  <a:gd name="T48" fmla="*/ 397 w 410"/>
                  <a:gd name="T49" fmla="*/ 155 h 409"/>
                  <a:gd name="T50" fmla="*/ 402 w 410"/>
                  <a:gd name="T51" fmla="*/ 179 h 409"/>
                  <a:gd name="T52" fmla="*/ 25 w 410"/>
                  <a:gd name="T53" fmla="*/ 106 h 409"/>
                  <a:gd name="T54" fmla="*/ 389 w 410"/>
                  <a:gd name="T55" fmla="*/ 131 h 409"/>
                  <a:gd name="T56" fmla="*/ 395 w 410"/>
                  <a:gd name="T57" fmla="*/ 129 h 409"/>
                  <a:gd name="T58" fmla="*/ 39 w 410"/>
                  <a:gd name="T59" fmla="*/ 84 h 409"/>
                  <a:gd name="T60" fmla="*/ 44 w 410"/>
                  <a:gd name="T61" fmla="*/ 88 h 409"/>
                  <a:gd name="T62" fmla="*/ 354 w 410"/>
                  <a:gd name="T63" fmla="*/ 64 h 409"/>
                  <a:gd name="T64" fmla="*/ 78 w 410"/>
                  <a:gd name="T65" fmla="*/ 52 h 409"/>
                  <a:gd name="T66" fmla="*/ 98 w 410"/>
                  <a:gd name="T67" fmla="*/ 37 h 409"/>
                  <a:gd name="T68" fmla="*/ 311 w 410"/>
                  <a:gd name="T69" fmla="*/ 37 h 409"/>
                  <a:gd name="T70" fmla="*/ 331 w 410"/>
                  <a:gd name="T71" fmla="*/ 51 h 409"/>
                  <a:gd name="T72" fmla="*/ 141 w 410"/>
                  <a:gd name="T73" fmla="*/ 10 h 409"/>
                  <a:gd name="T74" fmla="*/ 289 w 410"/>
                  <a:gd name="T75" fmla="*/ 25 h 409"/>
                  <a:gd name="T76" fmla="*/ 292 w 410"/>
                  <a:gd name="T77" fmla="*/ 19 h 409"/>
                  <a:gd name="T78" fmla="*/ 166 w 410"/>
                  <a:gd name="T79" fmla="*/ 3 h 409"/>
                  <a:gd name="T80" fmla="*/ 167 w 410"/>
                  <a:gd name="T81" fmla="*/ 10 h 409"/>
                  <a:gd name="T82" fmla="*/ 217 w 410"/>
                  <a:gd name="T83" fmla="*/ 0 h 4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10" h="409">
                    <a:moveTo>
                      <a:pt x="205" y="409"/>
                    </a:moveTo>
                    <a:cubicBezTo>
                      <a:pt x="201" y="409"/>
                      <a:pt x="196" y="409"/>
                      <a:pt x="192" y="409"/>
                    </a:cubicBezTo>
                    <a:cubicBezTo>
                      <a:pt x="193" y="403"/>
                      <a:pt x="193" y="403"/>
                      <a:pt x="193" y="403"/>
                    </a:cubicBezTo>
                    <a:cubicBezTo>
                      <a:pt x="201" y="403"/>
                      <a:pt x="209" y="403"/>
                      <a:pt x="218" y="403"/>
                    </a:cubicBezTo>
                    <a:cubicBezTo>
                      <a:pt x="218" y="409"/>
                      <a:pt x="218" y="409"/>
                      <a:pt x="218" y="409"/>
                    </a:cubicBezTo>
                    <a:cubicBezTo>
                      <a:pt x="214" y="409"/>
                      <a:pt x="209" y="409"/>
                      <a:pt x="205" y="409"/>
                    </a:cubicBezTo>
                    <a:close/>
                    <a:moveTo>
                      <a:pt x="167" y="406"/>
                    </a:moveTo>
                    <a:cubicBezTo>
                      <a:pt x="158" y="404"/>
                      <a:pt x="150" y="402"/>
                      <a:pt x="142" y="400"/>
                    </a:cubicBezTo>
                    <a:cubicBezTo>
                      <a:pt x="144" y="394"/>
                      <a:pt x="144" y="394"/>
                      <a:pt x="144" y="394"/>
                    </a:cubicBezTo>
                    <a:cubicBezTo>
                      <a:pt x="152" y="396"/>
                      <a:pt x="160" y="398"/>
                      <a:pt x="168" y="400"/>
                    </a:cubicBezTo>
                    <a:lnTo>
                      <a:pt x="167" y="406"/>
                    </a:lnTo>
                    <a:close/>
                    <a:moveTo>
                      <a:pt x="243" y="406"/>
                    </a:moveTo>
                    <a:cubicBezTo>
                      <a:pt x="242" y="400"/>
                      <a:pt x="242" y="400"/>
                      <a:pt x="242" y="400"/>
                    </a:cubicBezTo>
                    <a:cubicBezTo>
                      <a:pt x="250" y="398"/>
                      <a:pt x="259" y="396"/>
                      <a:pt x="266" y="393"/>
                    </a:cubicBezTo>
                    <a:cubicBezTo>
                      <a:pt x="268" y="399"/>
                      <a:pt x="268" y="399"/>
                      <a:pt x="268" y="399"/>
                    </a:cubicBezTo>
                    <a:cubicBezTo>
                      <a:pt x="260" y="402"/>
                      <a:pt x="252" y="404"/>
                      <a:pt x="243" y="406"/>
                    </a:cubicBezTo>
                    <a:close/>
                    <a:moveTo>
                      <a:pt x="118" y="390"/>
                    </a:moveTo>
                    <a:cubicBezTo>
                      <a:pt x="110" y="386"/>
                      <a:pt x="103" y="382"/>
                      <a:pt x="95" y="378"/>
                    </a:cubicBezTo>
                    <a:cubicBezTo>
                      <a:pt x="99" y="372"/>
                      <a:pt x="99" y="372"/>
                      <a:pt x="99" y="372"/>
                    </a:cubicBezTo>
                    <a:cubicBezTo>
                      <a:pt x="106" y="377"/>
                      <a:pt x="113" y="381"/>
                      <a:pt x="121" y="384"/>
                    </a:cubicBezTo>
                    <a:lnTo>
                      <a:pt x="118" y="390"/>
                    </a:lnTo>
                    <a:close/>
                    <a:moveTo>
                      <a:pt x="292" y="390"/>
                    </a:moveTo>
                    <a:cubicBezTo>
                      <a:pt x="290" y="384"/>
                      <a:pt x="290" y="384"/>
                      <a:pt x="290" y="384"/>
                    </a:cubicBezTo>
                    <a:cubicBezTo>
                      <a:pt x="297" y="381"/>
                      <a:pt x="304" y="377"/>
                      <a:pt x="311" y="372"/>
                    </a:cubicBezTo>
                    <a:cubicBezTo>
                      <a:pt x="315" y="378"/>
                      <a:pt x="315" y="378"/>
                      <a:pt x="315" y="378"/>
                    </a:cubicBezTo>
                    <a:cubicBezTo>
                      <a:pt x="308" y="382"/>
                      <a:pt x="300" y="386"/>
                      <a:pt x="292" y="390"/>
                    </a:cubicBezTo>
                    <a:close/>
                    <a:moveTo>
                      <a:pt x="74" y="363"/>
                    </a:moveTo>
                    <a:cubicBezTo>
                      <a:pt x="68" y="357"/>
                      <a:pt x="62" y="351"/>
                      <a:pt x="56" y="345"/>
                    </a:cubicBezTo>
                    <a:cubicBezTo>
                      <a:pt x="60" y="341"/>
                      <a:pt x="60" y="341"/>
                      <a:pt x="60" y="341"/>
                    </a:cubicBezTo>
                    <a:cubicBezTo>
                      <a:pt x="66" y="347"/>
                      <a:pt x="72" y="352"/>
                      <a:pt x="79" y="358"/>
                    </a:cubicBezTo>
                    <a:lnTo>
                      <a:pt x="74" y="363"/>
                    </a:lnTo>
                    <a:close/>
                    <a:moveTo>
                      <a:pt x="336" y="362"/>
                    </a:moveTo>
                    <a:cubicBezTo>
                      <a:pt x="332" y="358"/>
                      <a:pt x="332" y="358"/>
                      <a:pt x="332" y="358"/>
                    </a:cubicBezTo>
                    <a:cubicBezTo>
                      <a:pt x="338" y="352"/>
                      <a:pt x="344" y="346"/>
                      <a:pt x="350" y="340"/>
                    </a:cubicBezTo>
                    <a:cubicBezTo>
                      <a:pt x="354" y="345"/>
                      <a:pt x="354" y="345"/>
                      <a:pt x="354" y="345"/>
                    </a:cubicBezTo>
                    <a:cubicBezTo>
                      <a:pt x="348" y="351"/>
                      <a:pt x="342" y="357"/>
                      <a:pt x="336" y="362"/>
                    </a:cubicBezTo>
                    <a:close/>
                    <a:moveTo>
                      <a:pt x="39" y="325"/>
                    </a:moveTo>
                    <a:cubicBezTo>
                      <a:pt x="34" y="318"/>
                      <a:pt x="30" y="311"/>
                      <a:pt x="25" y="304"/>
                    </a:cubicBezTo>
                    <a:cubicBezTo>
                      <a:pt x="31" y="300"/>
                      <a:pt x="31" y="300"/>
                      <a:pt x="31" y="300"/>
                    </a:cubicBezTo>
                    <a:cubicBezTo>
                      <a:pt x="35" y="308"/>
                      <a:pt x="40" y="315"/>
                      <a:pt x="44" y="321"/>
                    </a:cubicBezTo>
                    <a:lnTo>
                      <a:pt x="39" y="325"/>
                    </a:lnTo>
                    <a:close/>
                    <a:moveTo>
                      <a:pt x="371" y="325"/>
                    </a:moveTo>
                    <a:cubicBezTo>
                      <a:pt x="366" y="321"/>
                      <a:pt x="366" y="321"/>
                      <a:pt x="366" y="321"/>
                    </a:cubicBezTo>
                    <a:cubicBezTo>
                      <a:pt x="370" y="315"/>
                      <a:pt x="375" y="307"/>
                      <a:pt x="379" y="300"/>
                    </a:cubicBezTo>
                    <a:cubicBezTo>
                      <a:pt x="385" y="303"/>
                      <a:pt x="385" y="303"/>
                      <a:pt x="385" y="303"/>
                    </a:cubicBezTo>
                    <a:cubicBezTo>
                      <a:pt x="380" y="311"/>
                      <a:pt x="376" y="318"/>
                      <a:pt x="371" y="325"/>
                    </a:cubicBezTo>
                    <a:close/>
                    <a:moveTo>
                      <a:pt x="14" y="280"/>
                    </a:moveTo>
                    <a:cubicBezTo>
                      <a:pt x="11" y="272"/>
                      <a:pt x="9" y="264"/>
                      <a:pt x="7" y="256"/>
                    </a:cubicBezTo>
                    <a:cubicBezTo>
                      <a:pt x="13" y="254"/>
                      <a:pt x="13" y="254"/>
                      <a:pt x="13" y="254"/>
                    </a:cubicBezTo>
                    <a:cubicBezTo>
                      <a:pt x="15" y="262"/>
                      <a:pt x="17" y="270"/>
                      <a:pt x="20" y="278"/>
                    </a:cubicBezTo>
                    <a:lnTo>
                      <a:pt x="14" y="280"/>
                    </a:lnTo>
                    <a:close/>
                    <a:moveTo>
                      <a:pt x="395" y="280"/>
                    </a:moveTo>
                    <a:cubicBezTo>
                      <a:pt x="390" y="278"/>
                      <a:pt x="390" y="278"/>
                      <a:pt x="390" y="278"/>
                    </a:cubicBezTo>
                    <a:cubicBezTo>
                      <a:pt x="393" y="270"/>
                      <a:pt x="395" y="262"/>
                      <a:pt x="397" y="254"/>
                    </a:cubicBezTo>
                    <a:cubicBezTo>
                      <a:pt x="403" y="255"/>
                      <a:pt x="403" y="255"/>
                      <a:pt x="403" y="255"/>
                    </a:cubicBezTo>
                    <a:cubicBezTo>
                      <a:pt x="401" y="264"/>
                      <a:pt x="399" y="272"/>
                      <a:pt x="395" y="280"/>
                    </a:cubicBezTo>
                    <a:close/>
                    <a:moveTo>
                      <a:pt x="2" y="231"/>
                    </a:moveTo>
                    <a:cubicBezTo>
                      <a:pt x="1" y="222"/>
                      <a:pt x="0" y="213"/>
                      <a:pt x="0" y="205"/>
                    </a:cubicBezTo>
                    <a:cubicBezTo>
                      <a:pt x="6" y="205"/>
                      <a:pt x="6" y="205"/>
                      <a:pt x="6" y="205"/>
                    </a:cubicBezTo>
                    <a:cubicBezTo>
                      <a:pt x="6" y="213"/>
                      <a:pt x="7" y="222"/>
                      <a:pt x="8" y="230"/>
                    </a:cubicBezTo>
                    <a:lnTo>
                      <a:pt x="2" y="231"/>
                    </a:lnTo>
                    <a:close/>
                    <a:moveTo>
                      <a:pt x="408" y="230"/>
                    </a:moveTo>
                    <a:cubicBezTo>
                      <a:pt x="402" y="229"/>
                      <a:pt x="402" y="229"/>
                      <a:pt x="402" y="229"/>
                    </a:cubicBezTo>
                    <a:cubicBezTo>
                      <a:pt x="403" y="221"/>
                      <a:pt x="404" y="213"/>
                      <a:pt x="404" y="205"/>
                    </a:cubicBezTo>
                    <a:cubicBezTo>
                      <a:pt x="404" y="204"/>
                      <a:pt x="404" y="204"/>
                      <a:pt x="404" y="204"/>
                    </a:cubicBezTo>
                    <a:cubicBezTo>
                      <a:pt x="410" y="204"/>
                      <a:pt x="410" y="204"/>
                      <a:pt x="410" y="204"/>
                    </a:cubicBezTo>
                    <a:cubicBezTo>
                      <a:pt x="410" y="205"/>
                      <a:pt x="410" y="205"/>
                      <a:pt x="410" y="205"/>
                    </a:cubicBezTo>
                    <a:cubicBezTo>
                      <a:pt x="410" y="213"/>
                      <a:pt x="409" y="222"/>
                      <a:pt x="408" y="230"/>
                    </a:cubicBezTo>
                    <a:close/>
                    <a:moveTo>
                      <a:pt x="8" y="180"/>
                    </a:moveTo>
                    <a:cubicBezTo>
                      <a:pt x="2" y="179"/>
                      <a:pt x="2" y="179"/>
                      <a:pt x="2" y="179"/>
                    </a:cubicBezTo>
                    <a:cubicBezTo>
                      <a:pt x="3" y="171"/>
                      <a:pt x="4" y="162"/>
                      <a:pt x="6" y="154"/>
                    </a:cubicBezTo>
                    <a:cubicBezTo>
                      <a:pt x="12" y="156"/>
                      <a:pt x="12" y="156"/>
                      <a:pt x="12" y="156"/>
                    </a:cubicBezTo>
                    <a:cubicBezTo>
                      <a:pt x="10" y="164"/>
                      <a:pt x="9" y="172"/>
                      <a:pt x="8" y="180"/>
                    </a:cubicBezTo>
                    <a:close/>
                    <a:moveTo>
                      <a:pt x="402" y="179"/>
                    </a:moveTo>
                    <a:cubicBezTo>
                      <a:pt x="401" y="171"/>
                      <a:pt x="399" y="163"/>
                      <a:pt x="397" y="155"/>
                    </a:cubicBezTo>
                    <a:cubicBezTo>
                      <a:pt x="403" y="153"/>
                      <a:pt x="403" y="153"/>
                      <a:pt x="403" y="153"/>
                    </a:cubicBezTo>
                    <a:cubicBezTo>
                      <a:pt x="405" y="161"/>
                      <a:pt x="407" y="170"/>
                      <a:pt x="408" y="178"/>
                    </a:cubicBezTo>
                    <a:lnTo>
                      <a:pt x="402" y="179"/>
                    </a:lnTo>
                    <a:close/>
                    <a:moveTo>
                      <a:pt x="20" y="132"/>
                    </a:moveTo>
                    <a:cubicBezTo>
                      <a:pt x="14" y="129"/>
                      <a:pt x="14" y="129"/>
                      <a:pt x="14" y="129"/>
                    </a:cubicBezTo>
                    <a:cubicBezTo>
                      <a:pt x="17" y="122"/>
                      <a:pt x="21" y="114"/>
                      <a:pt x="25" y="106"/>
                    </a:cubicBezTo>
                    <a:cubicBezTo>
                      <a:pt x="31" y="109"/>
                      <a:pt x="31" y="109"/>
                      <a:pt x="31" y="109"/>
                    </a:cubicBezTo>
                    <a:cubicBezTo>
                      <a:pt x="27" y="116"/>
                      <a:pt x="23" y="124"/>
                      <a:pt x="20" y="132"/>
                    </a:cubicBezTo>
                    <a:close/>
                    <a:moveTo>
                      <a:pt x="389" y="131"/>
                    </a:moveTo>
                    <a:cubicBezTo>
                      <a:pt x="386" y="123"/>
                      <a:pt x="383" y="116"/>
                      <a:pt x="379" y="108"/>
                    </a:cubicBezTo>
                    <a:cubicBezTo>
                      <a:pt x="384" y="105"/>
                      <a:pt x="384" y="105"/>
                      <a:pt x="384" y="105"/>
                    </a:cubicBezTo>
                    <a:cubicBezTo>
                      <a:pt x="388" y="113"/>
                      <a:pt x="392" y="121"/>
                      <a:pt x="395" y="129"/>
                    </a:cubicBezTo>
                    <a:lnTo>
                      <a:pt x="389" y="131"/>
                    </a:lnTo>
                    <a:close/>
                    <a:moveTo>
                      <a:pt x="44" y="88"/>
                    </a:moveTo>
                    <a:cubicBezTo>
                      <a:pt x="39" y="84"/>
                      <a:pt x="39" y="84"/>
                      <a:pt x="39" y="84"/>
                    </a:cubicBezTo>
                    <a:cubicBezTo>
                      <a:pt x="44" y="77"/>
                      <a:pt x="49" y="71"/>
                      <a:pt x="55" y="65"/>
                    </a:cubicBezTo>
                    <a:cubicBezTo>
                      <a:pt x="60" y="69"/>
                      <a:pt x="60" y="69"/>
                      <a:pt x="60" y="69"/>
                    </a:cubicBezTo>
                    <a:cubicBezTo>
                      <a:pt x="54" y="75"/>
                      <a:pt x="49" y="81"/>
                      <a:pt x="44" y="88"/>
                    </a:cubicBezTo>
                    <a:close/>
                    <a:moveTo>
                      <a:pt x="365" y="87"/>
                    </a:moveTo>
                    <a:cubicBezTo>
                      <a:pt x="360" y="81"/>
                      <a:pt x="355" y="74"/>
                      <a:pt x="349" y="68"/>
                    </a:cubicBezTo>
                    <a:cubicBezTo>
                      <a:pt x="354" y="64"/>
                      <a:pt x="354" y="64"/>
                      <a:pt x="354" y="64"/>
                    </a:cubicBezTo>
                    <a:cubicBezTo>
                      <a:pt x="360" y="70"/>
                      <a:pt x="365" y="77"/>
                      <a:pt x="370" y="84"/>
                    </a:cubicBezTo>
                    <a:lnTo>
                      <a:pt x="365" y="87"/>
                    </a:lnTo>
                    <a:close/>
                    <a:moveTo>
                      <a:pt x="78" y="52"/>
                    </a:moveTo>
                    <a:cubicBezTo>
                      <a:pt x="74" y="47"/>
                      <a:pt x="74" y="47"/>
                      <a:pt x="74" y="47"/>
                    </a:cubicBezTo>
                    <a:cubicBezTo>
                      <a:pt x="81" y="41"/>
                      <a:pt x="88" y="36"/>
                      <a:pt x="95" y="32"/>
                    </a:cubicBezTo>
                    <a:cubicBezTo>
                      <a:pt x="98" y="37"/>
                      <a:pt x="98" y="37"/>
                      <a:pt x="98" y="37"/>
                    </a:cubicBezTo>
                    <a:cubicBezTo>
                      <a:pt x="91" y="42"/>
                      <a:pt x="84" y="46"/>
                      <a:pt x="78" y="52"/>
                    </a:cubicBezTo>
                    <a:close/>
                    <a:moveTo>
                      <a:pt x="331" y="51"/>
                    </a:moveTo>
                    <a:cubicBezTo>
                      <a:pt x="325" y="46"/>
                      <a:pt x="318" y="41"/>
                      <a:pt x="311" y="37"/>
                    </a:cubicBezTo>
                    <a:cubicBezTo>
                      <a:pt x="314" y="31"/>
                      <a:pt x="314" y="31"/>
                      <a:pt x="314" y="31"/>
                    </a:cubicBezTo>
                    <a:cubicBezTo>
                      <a:pt x="322" y="36"/>
                      <a:pt x="329" y="41"/>
                      <a:pt x="335" y="46"/>
                    </a:cubicBezTo>
                    <a:lnTo>
                      <a:pt x="331" y="51"/>
                    </a:lnTo>
                    <a:close/>
                    <a:moveTo>
                      <a:pt x="120" y="25"/>
                    </a:moveTo>
                    <a:cubicBezTo>
                      <a:pt x="117" y="19"/>
                      <a:pt x="117" y="19"/>
                      <a:pt x="117" y="19"/>
                    </a:cubicBezTo>
                    <a:cubicBezTo>
                      <a:pt x="125" y="16"/>
                      <a:pt x="133" y="12"/>
                      <a:pt x="141" y="10"/>
                    </a:cubicBezTo>
                    <a:cubicBezTo>
                      <a:pt x="143" y="16"/>
                      <a:pt x="143" y="16"/>
                      <a:pt x="143" y="16"/>
                    </a:cubicBezTo>
                    <a:cubicBezTo>
                      <a:pt x="135" y="18"/>
                      <a:pt x="127" y="21"/>
                      <a:pt x="120" y="25"/>
                    </a:cubicBezTo>
                    <a:close/>
                    <a:moveTo>
                      <a:pt x="289" y="25"/>
                    </a:moveTo>
                    <a:cubicBezTo>
                      <a:pt x="282" y="21"/>
                      <a:pt x="274" y="18"/>
                      <a:pt x="266" y="16"/>
                    </a:cubicBezTo>
                    <a:cubicBezTo>
                      <a:pt x="268" y="10"/>
                      <a:pt x="268" y="10"/>
                      <a:pt x="268" y="10"/>
                    </a:cubicBezTo>
                    <a:cubicBezTo>
                      <a:pt x="276" y="12"/>
                      <a:pt x="284" y="15"/>
                      <a:pt x="292" y="19"/>
                    </a:cubicBezTo>
                    <a:lnTo>
                      <a:pt x="289" y="25"/>
                    </a:lnTo>
                    <a:close/>
                    <a:moveTo>
                      <a:pt x="167" y="10"/>
                    </a:moveTo>
                    <a:cubicBezTo>
                      <a:pt x="166" y="3"/>
                      <a:pt x="166" y="3"/>
                      <a:pt x="166" y="3"/>
                    </a:cubicBezTo>
                    <a:cubicBezTo>
                      <a:pt x="174" y="2"/>
                      <a:pt x="183" y="1"/>
                      <a:pt x="192" y="0"/>
                    </a:cubicBezTo>
                    <a:cubicBezTo>
                      <a:pt x="192" y="6"/>
                      <a:pt x="192" y="6"/>
                      <a:pt x="192" y="6"/>
                    </a:cubicBezTo>
                    <a:cubicBezTo>
                      <a:pt x="184" y="7"/>
                      <a:pt x="175" y="8"/>
                      <a:pt x="167" y="10"/>
                    </a:cubicBezTo>
                    <a:close/>
                    <a:moveTo>
                      <a:pt x="242" y="9"/>
                    </a:moveTo>
                    <a:cubicBezTo>
                      <a:pt x="234" y="8"/>
                      <a:pt x="225" y="7"/>
                      <a:pt x="217" y="6"/>
                    </a:cubicBezTo>
                    <a:cubicBezTo>
                      <a:pt x="217" y="0"/>
                      <a:pt x="217" y="0"/>
                      <a:pt x="217" y="0"/>
                    </a:cubicBezTo>
                    <a:cubicBezTo>
                      <a:pt x="226" y="1"/>
                      <a:pt x="234" y="2"/>
                      <a:pt x="243" y="3"/>
                    </a:cubicBezTo>
                    <a:lnTo>
                      <a:pt x="242" y="9"/>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220" name="Oval 219"/>
              <p:cNvSpPr>
                <a:spLocks noChangeArrowheads="1"/>
              </p:cNvSpPr>
              <p:nvPr/>
            </p:nvSpPr>
            <p:spPr bwMode="auto">
              <a:xfrm>
                <a:off x="7665581" y="4257779"/>
                <a:ext cx="517306" cy="516172"/>
              </a:xfrm>
              <a:prstGeom prst="ellipse">
                <a:avLst/>
              </a:pr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221" name="Freeform 220"/>
              <p:cNvSpPr>
                <a:spLocks noEditPoints="1"/>
              </p:cNvSpPr>
              <p:nvPr/>
            </p:nvSpPr>
            <p:spPr bwMode="auto">
              <a:xfrm>
                <a:off x="7659909" y="4252107"/>
                <a:ext cx="527516" cy="526381"/>
              </a:xfrm>
              <a:custGeom>
                <a:avLst/>
                <a:gdLst>
                  <a:gd name="T0" fmla="*/ 166 w 332"/>
                  <a:gd name="T1" fmla="*/ 332 h 332"/>
                  <a:gd name="T2" fmla="*/ 141 w 332"/>
                  <a:gd name="T3" fmla="*/ 324 h 332"/>
                  <a:gd name="T4" fmla="*/ 166 w 332"/>
                  <a:gd name="T5" fmla="*/ 332 h 332"/>
                  <a:gd name="T6" fmla="*/ 191 w 332"/>
                  <a:gd name="T7" fmla="*/ 324 h 332"/>
                  <a:gd name="T8" fmla="*/ 218 w 332"/>
                  <a:gd name="T9" fmla="*/ 324 h 332"/>
                  <a:gd name="T10" fmla="*/ 115 w 332"/>
                  <a:gd name="T11" fmla="*/ 324 h 332"/>
                  <a:gd name="T12" fmla="*/ 94 w 332"/>
                  <a:gd name="T13" fmla="*/ 309 h 332"/>
                  <a:gd name="T14" fmla="*/ 115 w 332"/>
                  <a:gd name="T15" fmla="*/ 324 h 332"/>
                  <a:gd name="T16" fmla="*/ 239 w 332"/>
                  <a:gd name="T17" fmla="*/ 309 h 332"/>
                  <a:gd name="T18" fmla="*/ 264 w 332"/>
                  <a:gd name="T19" fmla="*/ 301 h 332"/>
                  <a:gd name="T20" fmla="*/ 69 w 332"/>
                  <a:gd name="T21" fmla="*/ 301 h 332"/>
                  <a:gd name="T22" fmla="*/ 53 w 332"/>
                  <a:gd name="T23" fmla="*/ 280 h 332"/>
                  <a:gd name="T24" fmla="*/ 69 w 332"/>
                  <a:gd name="T25" fmla="*/ 301 h 332"/>
                  <a:gd name="T26" fmla="*/ 279 w 332"/>
                  <a:gd name="T27" fmla="*/ 279 h 332"/>
                  <a:gd name="T28" fmla="*/ 300 w 332"/>
                  <a:gd name="T29" fmla="*/ 264 h 332"/>
                  <a:gd name="T30" fmla="*/ 32 w 332"/>
                  <a:gd name="T31" fmla="*/ 264 h 332"/>
                  <a:gd name="T32" fmla="*/ 24 w 332"/>
                  <a:gd name="T33" fmla="*/ 239 h 332"/>
                  <a:gd name="T34" fmla="*/ 32 w 332"/>
                  <a:gd name="T35" fmla="*/ 264 h 332"/>
                  <a:gd name="T36" fmla="*/ 308 w 332"/>
                  <a:gd name="T37" fmla="*/ 239 h 332"/>
                  <a:gd name="T38" fmla="*/ 324 w 332"/>
                  <a:gd name="T39" fmla="*/ 218 h 332"/>
                  <a:gd name="T40" fmla="*/ 8 w 332"/>
                  <a:gd name="T41" fmla="*/ 218 h 332"/>
                  <a:gd name="T42" fmla="*/ 8 w 332"/>
                  <a:gd name="T43" fmla="*/ 192 h 332"/>
                  <a:gd name="T44" fmla="*/ 8 w 332"/>
                  <a:gd name="T45" fmla="*/ 218 h 332"/>
                  <a:gd name="T46" fmla="*/ 324 w 332"/>
                  <a:gd name="T47" fmla="*/ 191 h 332"/>
                  <a:gd name="T48" fmla="*/ 326 w 332"/>
                  <a:gd name="T49" fmla="*/ 166 h 332"/>
                  <a:gd name="T50" fmla="*/ 332 w 332"/>
                  <a:gd name="T51" fmla="*/ 166 h 332"/>
                  <a:gd name="T52" fmla="*/ 6 w 332"/>
                  <a:gd name="T53" fmla="*/ 167 h 332"/>
                  <a:gd name="T54" fmla="*/ 0 w 332"/>
                  <a:gd name="T55" fmla="*/ 166 h 332"/>
                  <a:gd name="T56" fmla="*/ 8 w 332"/>
                  <a:gd name="T57" fmla="*/ 142 h 332"/>
                  <a:gd name="T58" fmla="*/ 6 w 332"/>
                  <a:gd name="T59" fmla="*/ 167 h 332"/>
                  <a:gd name="T60" fmla="*/ 318 w 332"/>
                  <a:gd name="T61" fmla="*/ 116 h 332"/>
                  <a:gd name="T62" fmla="*/ 330 w 332"/>
                  <a:gd name="T63" fmla="*/ 140 h 332"/>
                  <a:gd name="T64" fmla="*/ 14 w 332"/>
                  <a:gd name="T65" fmla="*/ 117 h 332"/>
                  <a:gd name="T66" fmla="*/ 18 w 332"/>
                  <a:gd name="T67" fmla="*/ 91 h 332"/>
                  <a:gd name="T68" fmla="*/ 14 w 332"/>
                  <a:gd name="T69" fmla="*/ 117 h 332"/>
                  <a:gd name="T70" fmla="*/ 295 w 332"/>
                  <a:gd name="T71" fmla="*/ 72 h 332"/>
                  <a:gd name="T72" fmla="*/ 314 w 332"/>
                  <a:gd name="T73" fmla="*/ 90 h 332"/>
                  <a:gd name="T74" fmla="*/ 37 w 332"/>
                  <a:gd name="T75" fmla="*/ 73 h 332"/>
                  <a:gd name="T76" fmla="*/ 48 w 332"/>
                  <a:gd name="T77" fmla="*/ 49 h 332"/>
                  <a:gd name="T78" fmla="*/ 37 w 332"/>
                  <a:gd name="T79" fmla="*/ 73 h 332"/>
                  <a:gd name="T80" fmla="*/ 260 w 332"/>
                  <a:gd name="T81" fmla="*/ 37 h 332"/>
                  <a:gd name="T82" fmla="*/ 283 w 332"/>
                  <a:gd name="T83" fmla="*/ 49 h 332"/>
                  <a:gd name="T84" fmla="*/ 72 w 332"/>
                  <a:gd name="T85" fmla="*/ 37 h 332"/>
                  <a:gd name="T86" fmla="*/ 90 w 332"/>
                  <a:gd name="T87" fmla="*/ 19 h 332"/>
                  <a:gd name="T88" fmla="*/ 72 w 332"/>
                  <a:gd name="T89" fmla="*/ 37 h 332"/>
                  <a:gd name="T90" fmla="*/ 215 w 332"/>
                  <a:gd name="T91" fmla="*/ 14 h 332"/>
                  <a:gd name="T92" fmla="*/ 241 w 332"/>
                  <a:gd name="T93" fmla="*/ 18 h 332"/>
                  <a:gd name="T94" fmla="*/ 116 w 332"/>
                  <a:gd name="T95" fmla="*/ 15 h 332"/>
                  <a:gd name="T96" fmla="*/ 140 w 332"/>
                  <a:gd name="T97" fmla="*/ 2 h 332"/>
                  <a:gd name="T98" fmla="*/ 116 w 332"/>
                  <a:gd name="T99" fmla="*/ 15 h 332"/>
                  <a:gd name="T100" fmla="*/ 166 w 332"/>
                  <a:gd name="T101" fmla="*/ 7 h 332"/>
                  <a:gd name="T102" fmla="*/ 166 w 332"/>
                  <a:gd name="T103" fmla="*/ 0 h 332"/>
                  <a:gd name="T104" fmla="*/ 192 w 332"/>
                  <a:gd name="T105" fmla="*/ 2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32" h="332">
                    <a:moveTo>
                      <a:pt x="166" y="332"/>
                    </a:moveTo>
                    <a:cubicBezTo>
                      <a:pt x="166" y="332"/>
                      <a:pt x="166" y="332"/>
                      <a:pt x="166" y="332"/>
                    </a:cubicBezTo>
                    <a:cubicBezTo>
                      <a:pt x="157" y="332"/>
                      <a:pt x="149" y="332"/>
                      <a:pt x="140" y="330"/>
                    </a:cubicBezTo>
                    <a:cubicBezTo>
                      <a:pt x="141" y="324"/>
                      <a:pt x="141" y="324"/>
                      <a:pt x="141" y="324"/>
                    </a:cubicBezTo>
                    <a:cubicBezTo>
                      <a:pt x="149" y="325"/>
                      <a:pt x="158" y="326"/>
                      <a:pt x="166" y="326"/>
                    </a:cubicBezTo>
                    <a:lnTo>
                      <a:pt x="166" y="332"/>
                    </a:lnTo>
                    <a:close/>
                    <a:moveTo>
                      <a:pt x="192" y="330"/>
                    </a:moveTo>
                    <a:cubicBezTo>
                      <a:pt x="191" y="324"/>
                      <a:pt x="191" y="324"/>
                      <a:pt x="191" y="324"/>
                    </a:cubicBezTo>
                    <a:cubicBezTo>
                      <a:pt x="199" y="323"/>
                      <a:pt x="208" y="321"/>
                      <a:pt x="216" y="318"/>
                    </a:cubicBezTo>
                    <a:cubicBezTo>
                      <a:pt x="218" y="324"/>
                      <a:pt x="218" y="324"/>
                      <a:pt x="218" y="324"/>
                    </a:cubicBezTo>
                    <a:cubicBezTo>
                      <a:pt x="209" y="327"/>
                      <a:pt x="201" y="329"/>
                      <a:pt x="192" y="330"/>
                    </a:cubicBezTo>
                    <a:close/>
                    <a:moveTo>
                      <a:pt x="115" y="324"/>
                    </a:moveTo>
                    <a:cubicBezTo>
                      <a:pt x="107" y="322"/>
                      <a:pt x="99" y="318"/>
                      <a:pt x="91" y="314"/>
                    </a:cubicBezTo>
                    <a:cubicBezTo>
                      <a:pt x="94" y="309"/>
                      <a:pt x="94" y="309"/>
                      <a:pt x="94" y="309"/>
                    </a:cubicBezTo>
                    <a:cubicBezTo>
                      <a:pt x="101" y="313"/>
                      <a:pt x="109" y="316"/>
                      <a:pt x="117" y="318"/>
                    </a:cubicBezTo>
                    <a:lnTo>
                      <a:pt x="115" y="324"/>
                    </a:lnTo>
                    <a:close/>
                    <a:moveTo>
                      <a:pt x="242" y="314"/>
                    </a:moveTo>
                    <a:cubicBezTo>
                      <a:pt x="239" y="309"/>
                      <a:pt x="239" y="309"/>
                      <a:pt x="239" y="309"/>
                    </a:cubicBezTo>
                    <a:cubicBezTo>
                      <a:pt x="246" y="305"/>
                      <a:pt x="253" y="300"/>
                      <a:pt x="260" y="296"/>
                    </a:cubicBezTo>
                    <a:cubicBezTo>
                      <a:pt x="264" y="301"/>
                      <a:pt x="264" y="301"/>
                      <a:pt x="264" y="301"/>
                    </a:cubicBezTo>
                    <a:cubicBezTo>
                      <a:pt x="257" y="306"/>
                      <a:pt x="249" y="310"/>
                      <a:pt x="242" y="314"/>
                    </a:cubicBezTo>
                    <a:close/>
                    <a:moveTo>
                      <a:pt x="69" y="301"/>
                    </a:moveTo>
                    <a:cubicBezTo>
                      <a:pt x="62" y="296"/>
                      <a:pt x="55" y="290"/>
                      <a:pt x="49" y="284"/>
                    </a:cubicBezTo>
                    <a:cubicBezTo>
                      <a:pt x="53" y="280"/>
                      <a:pt x="53" y="280"/>
                      <a:pt x="53" y="280"/>
                    </a:cubicBezTo>
                    <a:cubicBezTo>
                      <a:pt x="59" y="285"/>
                      <a:pt x="66" y="291"/>
                      <a:pt x="72" y="296"/>
                    </a:cubicBezTo>
                    <a:lnTo>
                      <a:pt x="69" y="301"/>
                    </a:lnTo>
                    <a:close/>
                    <a:moveTo>
                      <a:pt x="284" y="284"/>
                    </a:moveTo>
                    <a:cubicBezTo>
                      <a:pt x="279" y="279"/>
                      <a:pt x="279" y="279"/>
                      <a:pt x="279" y="279"/>
                    </a:cubicBezTo>
                    <a:cubicBezTo>
                      <a:pt x="285" y="273"/>
                      <a:pt x="290" y="267"/>
                      <a:pt x="295" y="260"/>
                    </a:cubicBezTo>
                    <a:cubicBezTo>
                      <a:pt x="300" y="264"/>
                      <a:pt x="300" y="264"/>
                      <a:pt x="300" y="264"/>
                    </a:cubicBezTo>
                    <a:cubicBezTo>
                      <a:pt x="295" y="271"/>
                      <a:pt x="290" y="278"/>
                      <a:pt x="284" y="284"/>
                    </a:cubicBezTo>
                    <a:close/>
                    <a:moveTo>
                      <a:pt x="32" y="264"/>
                    </a:moveTo>
                    <a:cubicBezTo>
                      <a:pt x="27" y="257"/>
                      <a:pt x="22" y="250"/>
                      <a:pt x="18" y="242"/>
                    </a:cubicBezTo>
                    <a:cubicBezTo>
                      <a:pt x="24" y="239"/>
                      <a:pt x="24" y="239"/>
                      <a:pt x="24" y="239"/>
                    </a:cubicBezTo>
                    <a:cubicBezTo>
                      <a:pt x="28" y="247"/>
                      <a:pt x="32" y="254"/>
                      <a:pt x="37" y="260"/>
                    </a:cubicBezTo>
                    <a:lnTo>
                      <a:pt x="32" y="264"/>
                    </a:lnTo>
                    <a:close/>
                    <a:moveTo>
                      <a:pt x="314" y="242"/>
                    </a:moveTo>
                    <a:cubicBezTo>
                      <a:pt x="308" y="239"/>
                      <a:pt x="308" y="239"/>
                      <a:pt x="308" y="239"/>
                    </a:cubicBezTo>
                    <a:cubicBezTo>
                      <a:pt x="312" y="231"/>
                      <a:pt x="316" y="224"/>
                      <a:pt x="318" y="216"/>
                    </a:cubicBezTo>
                    <a:cubicBezTo>
                      <a:pt x="324" y="218"/>
                      <a:pt x="324" y="218"/>
                      <a:pt x="324" y="218"/>
                    </a:cubicBezTo>
                    <a:cubicBezTo>
                      <a:pt x="321" y="226"/>
                      <a:pt x="318" y="234"/>
                      <a:pt x="314" y="242"/>
                    </a:cubicBezTo>
                    <a:close/>
                    <a:moveTo>
                      <a:pt x="8" y="218"/>
                    </a:moveTo>
                    <a:cubicBezTo>
                      <a:pt x="6" y="210"/>
                      <a:pt x="3" y="201"/>
                      <a:pt x="2" y="193"/>
                    </a:cubicBezTo>
                    <a:cubicBezTo>
                      <a:pt x="8" y="192"/>
                      <a:pt x="8" y="192"/>
                      <a:pt x="8" y="192"/>
                    </a:cubicBezTo>
                    <a:cubicBezTo>
                      <a:pt x="10" y="200"/>
                      <a:pt x="12" y="208"/>
                      <a:pt x="14" y="216"/>
                    </a:cubicBezTo>
                    <a:lnTo>
                      <a:pt x="8" y="218"/>
                    </a:lnTo>
                    <a:close/>
                    <a:moveTo>
                      <a:pt x="330" y="192"/>
                    </a:moveTo>
                    <a:cubicBezTo>
                      <a:pt x="324" y="191"/>
                      <a:pt x="324" y="191"/>
                      <a:pt x="324" y="191"/>
                    </a:cubicBezTo>
                    <a:cubicBezTo>
                      <a:pt x="325" y="183"/>
                      <a:pt x="326" y="175"/>
                      <a:pt x="326" y="166"/>
                    </a:cubicBezTo>
                    <a:cubicBezTo>
                      <a:pt x="326" y="166"/>
                      <a:pt x="326" y="166"/>
                      <a:pt x="326" y="166"/>
                    </a:cubicBezTo>
                    <a:cubicBezTo>
                      <a:pt x="332" y="166"/>
                      <a:pt x="332" y="166"/>
                      <a:pt x="332" y="166"/>
                    </a:cubicBezTo>
                    <a:cubicBezTo>
                      <a:pt x="332" y="166"/>
                      <a:pt x="332" y="166"/>
                      <a:pt x="332" y="166"/>
                    </a:cubicBezTo>
                    <a:cubicBezTo>
                      <a:pt x="332" y="175"/>
                      <a:pt x="331" y="184"/>
                      <a:pt x="330" y="192"/>
                    </a:cubicBezTo>
                    <a:close/>
                    <a:moveTo>
                      <a:pt x="6" y="167"/>
                    </a:moveTo>
                    <a:cubicBezTo>
                      <a:pt x="0" y="167"/>
                      <a:pt x="0" y="167"/>
                      <a:pt x="0" y="167"/>
                    </a:cubicBezTo>
                    <a:cubicBezTo>
                      <a:pt x="0" y="166"/>
                      <a:pt x="0" y="166"/>
                      <a:pt x="0" y="166"/>
                    </a:cubicBezTo>
                    <a:cubicBezTo>
                      <a:pt x="0" y="158"/>
                      <a:pt x="1" y="149"/>
                      <a:pt x="2" y="141"/>
                    </a:cubicBezTo>
                    <a:cubicBezTo>
                      <a:pt x="8" y="142"/>
                      <a:pt x="8" y="142"/>
                      <a:pt x="8" y="142"/>
                    </a:cubicBezTo>
                    <a:cubicBezTo>
                      <a:pt x="7" y="150"/>
                      <a:pt x="6" y="158"/>
                      <a:pt x="6" y="166"/>
                    </a:cubicBezTo>
                    <a:lnTo>
                      <a:pt x="6" y="167"/>
                    </a:lnTo>
                    <a:close/>
                    <a:moveTo>
                      <a:pt x="324" y="141"/>
                    </a:moveTo>
                    <a:cubicBezTo>
                      <a:pt x="322" y="133"/>
                      <a:pt x="320" y="124"/>
                      <a:pt x="318" y="116"/>
                    </a:cubicBezTo>
                    <a:cubicBezTo>
                      <a:pt x="324" y="114"/>
                      <a:pt x="324" y="114"/>
                      <a:pt x="324" y="114"/>
                    </a:cubicBezTo>
                    <a:cubicBezTo>
                      <a:pt x="327" y="123"/>
                      <a:pt x="329" y="131"/>
                      <a:pt x="330" y="140"/>
                    </a:cubicBezTo>
                    <a:lnTo>
                      <a:pt x="324" y="141"/>
                    </a:lnTo>
                    <a:close/>
                    <a:moveTo>
                      <a:pt x="14" y="117"/>
                    </a:moveTo>
                    <a:cubicBezTo>
                      <a:pt x="8" y="115"/>
                      <a:pt x="8" y="115"/>
                      <a:pt x="8" y="115"/>
                    </a:cubicBezTo>
                    <a:cubicBezTo>
                      <a:pt x="11" y="107"/>
                      <a:pt x="14" y="99"/>
                      <a:pt x="18" y="91"/>
                    </a:cubicBezTo>
                    <a:cubicBezTo>
                      <a:pt x="24" y="94"/>
                      <a:pt x="24" y="94"/>
                      <a:pt x="24" y="94"/>
                    </a:cubicBezTo>
                    <a:cubicBezTo>
                      <a:pt x="20" y="102"/>
                      <a:pt x="17" y="109"/>
                      <a:pt x="14" y="117"/>
                    </a:cubicBezTo>
                    <a:close/>
                    <a:moveTo>
                      <a:pt x="308" y="93"/>
                    </a:moveTo>
                    <a:cubicBezTo>
                      <a:pt x="304" y="86"/>
                      <a:pt x="300" y="79"/>
                      <a:pt x="295" y="72"/>
                    </a:cubicBezTo>
                    <a:cubicBezTo>
                      <a:pt x="300" y="68"/>
                      <a:pt x="300" y="68"/>
                      <a:pt x="300" y="68"/>
                    </a:cubicBezTo>
                    <a:cubicBezTo>
                      <a:pt x="305" y="75"/>
                      <a:pt x="310" y="83"/>
                      <a:pt x="314" y="90"/>
                    </a:cubicBezTo>
                    <a:lnTo>
                      <a:pt x="308" y="93"/>
                    </a:lnTo>
                    <a:close/>
                    <a:moveTo>
                      <a:pt x="37" y="73"/>
                    </a:moveTo>
                    <a:cubicBezTo>
                      <a:pt x="32" y="69"/>
                      <a:pt x="32" y="69"/>
                      <a:pt x="32" y="69"/>
                    </a:cubicBezTo>
                    <a:cubicBezTo>
                      <a:pt x="37" y="62"/>
                      <a:pt x="42" y="55"/>
                      <a:pt x="48" y="49"/>
                    </a:cubicBezTo>
                    <a:cubicBezTo>
                      <a:pt x="53" y="54"/>
                      <a:pt x="53" y="54"/>
                      <a:pt x="53" y="54"/>
                    </a:cubicBezTo>
                    <a:cubicBezTo>
                      <a:pt x="47" y="60"/>
                      <a:pt x="42" y="66"/>
                      <a:pt x="37" y="73"/>
                    </a:cubicBezTo>
                    <a:close/>
                    <a:moveTo>
                      <a:pt x="279" y="53"/>
                    </a:moveTo>
                    <a:cubicBezTo>
                      <a:pt x="273" y="47"/>
                      <a:pt x="266" y="42"/>
                      <a:pt x="260" y="37"/>
                    </a:cubicBezTo>
                    <a:cubicBezTo>
                      <a:pt x="263" y="32"/>
                      <a:pt x="263" y="32"/>
                      <a:pt x="263" y="32"/>
                    </a:cubicBezTo>
                    <a:cubicBezTo>
                      <a:pt x="270" y="37"/>
                      <a:pt x="277" y="42"/>
                      <a:pt x="283" y="49"/>
                    </a:cubicBezTo>
                    <a:lnTo>
                      <a:pt x="279" y="53"/>
                    </a:lnTo>
                    <a:close/>
                    <a:moveTo>
                      <a:pt x="72" y="37"/>
                    </a:moveTo>
                    <a:cubicBezTo>
                      <a:pt x="68" y="32"/>
                      <a:pt x="68" y="32"/>
                      <a:pt x="68" y="32"/>
                    </a:cubicBezTo>
                    <a:cubicBezTo>
                      <a:pt x="75" y="27"/>
                      <a:pt x="83" y="23"/>
                      <a:pt x="90" y="19"/>
                    </a:cubicBezTo>
                    <a:cubicBezTo>
                      <a:pt x="93" y="24"/>
                      <a:pt x="93" y="24"/>
                      <a:pt x="93" y="24"/>
                    </a:cubicBezTo>
                    <a:cubicBezTo>
                      <a:pt x="86" y="28"/>
                      <a:pt x="79" y="32"/>
                      <a:pt x="72" y="37"/>
                    </a:cubicBezTo>
                    <a:close/>
                    <a:moveTo>
                      <a:pt x="238" y="24"/>
                    </a:moveTo>
                    <a:cubicBezTo>
                      <a:pt x="231" y="20"/>
                      <a:pt x="223" y="17"/>
                      <a:pt x="215" y="14"/>
                    </a:cubicBezTo>
                    <a:cubicBezTo>
                      <a:pt x="217" y="8"/>
                      <a:pt x="217" y="8"/>
                      <a:pt x="217" y="8"/>
                    </a:cubicBezTo>
                    <a:cubicBezTo>
                      <a:pt x="225" y="11"/>
                      <a:pt x="233" y="14"/>
                      <a:pt x="241" y="18"/>
                    </a:cubicBezTo>
                    <a:lnTo>
                      <a:pt x="238" y="24"/>
                    </a:lnTo>
                    <a:close/>
                    <a:moveTo>
                      <a:pt x="116" y="15"/>
                    </a:moveTo>
                    <a:cubicBezTo>
                      <a:pt x="114" y="9"/>
                      <a:pt x="114" y="9"/>
                      <a:pt x="114" y="9"/>
                    </a:cubicBezTo>
                    <a:cubicBezTo>
                      <a:pt x="123" y="6"/>
                      <a:pt x="131" y="4"/>
                      <a:pt x="140" y="2"/>
                    </a:cubicBezTo>
                    <a:cubicBezTo>
                      <a:pt x="141" y="9"/>
                      <a:pt x="141" y="9"/>
                      <a:pt x="141" y="9"/>
                    </a:cubicBezTo>
                    <a:cubicBezTo>
                      <a:pt x="132" y="10"/>
                      <a:pt x="124" y="12"/>
                      <a:pt x="116" y="15"/>
                    </a:cubicBezTo>
                    <a:close/>
                    <a:moveTo>
                      <a:pt x="191" y="9"/>
                    </a:moveTo>
                    <a:cubicBezTo>
                      <a:pt x="183" y="7"/>
                      <a:pt x="174" y="7"/>
                      <a:pt x="166" y="7"/>
                    </a:cubicBezTo>
                    <a:cubicBezTo>
                      <a:pt x="166" y="7"/>
                      <a:pt x="166" y="7"/>
                      <a:pt x="166" y="7"/>
                    </a:cubicBezTo>
                    <a:cubicBezTo>
                      <a:pt x="166" y="0"/>
                      <a:pt x="166" y="0"/>
                      <a:pt x="166" y="0"/>
                    </a:cubicBezTo>
                    <a:cubicBezTo>
                      <a:pt x="166" y="0"/>
                      <a:pt x="166" y="0"/>
                      <a:pt x="166" y="0"/>
                    </a:cubicBezTo>
                    <a:cubicBezTo>
                      <a:pt x="175" y="0"/>
                      <a:pt x="183" y="1"/>
                      <a:pt x="192" y="2"/>
                    </a:cubicBezTo>
                    <a:lnTo>
                      <a:pt x="191" y="9"/>
                    </a:lnTo>
                    <a:close/>
                  </a:path>
                </a:pathLst>
              </a:custGeom>
              <a:solidFill>
                <a:srgbClr val="008D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222" name="Oval 221"/>
              <p:cNvSpPr>
                <a:spLocks noChangeArrowheads="1"/>
              </p:cNvSpPr>
              <p:nvPr/>
            </p:nvSpPr>
            <p:spPr bwMode="auto">
              <a:xfrm>
                <a:off x="7665581" y="4367820"/>
                <a:ext cx="406130" cy="406130"/>
              </a:xfrm>
              <a:prstGeom prst="ellipse">
                <a:avLst/>
              </a:prstGeom>
              <a:solidFill>
                <a:srgbClr val="008D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223" name="Freeform 222"/>
              <p:cNvSpPr>
                <a:spLocks noEditPoints="1"/>
              </p:cNvSpPr>
              <p:nvPr/>
            </p:nvSpPr>
            <p:spPr bwMode="auto">
              <a:xfrm>
                <a:off x="7765412" y="4488071"/>
                <a:ext cx="203066" cy="171301"/>
              </a:xfrm>
              <a:custGeom>
                <a:avLst/>
                <a:gdLst>
                  <a:gd name="T0" fmla="*/ 121 w 128"/>
                  <a:gd name="T1" fmla="*/ 102 h 108"/>
                  <a:gd name="T2" fmla="*/ 0 w 128"/>
                  <a:gd name="T3" fmla="*/ 19 h 108"/>
                  <a:gd name="T4" fmla="*/ 0 w 128"/>
                  <a:gd name="T5" fmla="*/ 108 h 108"/>
                  <a:gd name="T6" fmla="*/ 128 w 128"/>
                  <a:gd name="T7" fmla="*/ 0 h 108"/>
                  <a:gd name="T8" fmla="*/ 0 w 128"/>
                  <a:gd name="T9" fmla="*/ 0 h 108"/>
                  <a:gd name="T10" fmla="*/ 75 w 128"/>
                  <a:gd name="T11" fmla="*/ 61 h 108"/>
                  <a:gd name="T12" fmla="*/ 71 w 128"/>
                  <a:gd name="T13" fmla="*/ 55 h 108"/>
                  <a:gd name="T14" fmla="*/ 67 w 128"/>
                  <a:gd name="T15" fmla="*/ 51 h 108"/>
                  <a:gd name="T16" fmla="*/ 60 w 128"/>
                  <a:gd name="T17" fmla="*/ 48 h 108"/>
                  <a:gd name="T18" fmla="*/ 54 w 128"/>
                  <a:gd name="T19" fmla="*/ 48 h 108"/>
                  <a:gd name="T20" fmla="*/ 47 w 128"/>
                  <a:gd name="T21" fmla="*/ 51 h 108"/>
                  <a:gd name="T22" fmla="*/ 43 w 128"/>
                  <a:gd name="T23" fmla="*/ 55 h 108"/>
                  <a:gd name="T24" fmla="*/ 40 w 128"/>
                  <a:gd name="T25" fmla="*/ 61 h 108"/>
                  <a:gd name="T26" fmla="*/ 38 w 128"/>
                  <a:gd name="T27" fmla="*/ 66 h 108"/>
                  <a:gd name="T28" fmla="*/ 40 w 128"/>
                  <a:gd name="T29" fmla="*/ 74 h 108"/>
                  <a:gd name="T30" fmla="*/ 42 w 128"/>
                  <a:gd name="T31" fmla="*/ 78 h 108"/>
                  <a:gd name="T32" fmla="*/ 48 w 128"/>
                  <a:gd name="T33" fmla="*/ 83 h 108"/>
                  <a:gd name="T34" fmla="*/ 53 w 128"/>
                  <a:gd name="T35" fmla="*/ 85 h 108"/>
                  <a:gd name="T36" fmla="*/ 58 w 128"/>
                  <a:gd name="T37" fmla="*/ 80 h 108"/>
                  <a:gd name="T38" fmla="*/ 65 w 128"/>
                  <a:gd name="T39" fmla="*/ 84 h 108"/>
                  <a:gd name="T40" fmla="*/ 66 w 128"/>
                  <a:gd name="T41" fmla="*/ 77 h 108"/>
                  <a:gd name="T42" fmla="*/ 75 w 128"/>
                  <a:gd name="T43" fmla="*/ 75 h 108"/>
                  <a:gd name="T44" fmla="*/ 71 w 128"/>
                  <a:gd name="T45" fmla="*/ 69 h 108"/>
                  <a:gd name="T46" fmla="*/ 65 w 128"/>
                  <a:gd name="T47" fmla="*/ 67 h 108"/>
                  <a:gd name="T48" fmla="*/ 52 w 128"/>
                  <a:gd name="T49" fmla="*/ 72 h 108"/>
                  <a:gd name="T50" fmla="*/ 57 w 128"/>
                  <a:gd name="T51" fmla="*/ 59 h 108"/>
                  <a:gd name="T52" fmla="*/ 54 w 128"/>
                  <a:gd name="T53" fmla="*/ 67 h 108"/>
                  <a:gd name="T54" fmla="*/ 57 w 128"/>
                  <a:gd name="T55" fmla="*/ 70 h 108"/>
                  <a:gd name="T56" fmla="*/ 88 w 128"/>
                  <a:gd name="T57" fmla="*/ 53 h 108"/>
                  <a:gd name="T58" fmla="*/ 90 w 128"/>
                  <a:gd name="T59" fmla="*/ 49 h 108"/>
                  <a:gd name="T60" fmla="*/ 88 w 128"/>
                  <a:gd name="T61" fmla="*/ 47 h 108"/>
                  <a:gd name="T62" fmla="*/ 83 w 128"/>
                  <a:gd name="T63" fmla="*/ 46 h 108"/>
                  <a:gd name="T64" fmla="*/ 80 w 128"/>
                  <a:gd name="T65" fmla="*/ 43 h 108"/>
                  <a:gd name="T66" fmla="*/ 76 w 128"/>
                  <a:gd name="T67" fmla="*/ 48 h 108"/>
                  <a:gd name="T68" fmla="*/ 72 w 128"/>
                  <a:gd name="T69" fmla="*/ 47 h 108"/>
                  <a:gd name="T70" fmla="*/ 71 w 128"/>
                  <a:gd name="T71" fmla="*/ 50 h 108"/>
                  <a:gd name="T72" fmla="*/ 73 w 128"/>
                  <a:gd name="T73" fmla="*/ 55 h 108"/>
                  <a:gd name="T74" fmla="*/ 71 w 128"/>
                  <a:gd name="T75" fmla="*/ 58 h 108"/>
                  <a:gd name="T76" fmla="*/ 73 w 128"/>
                  <a:gd name="T77" fmla="*/ 60 h 108"/>
                  <a:gd name="T78" fmla="*/ 79 w 128"/>
                  <a:gd name="T79" fmla="*/ 63 h 108"/>
                  <a:gd name="T80" fmla="*/ 82 w 128"/>
                  <a:gd name="T81" fmla="*/ 63 h 108"/>
                  <a:gd name="T82" fmla="*/ 88 w 128"/>
                  <a:gd name="T83" fmla="*/ 60 h 108"/>
                  <a:gd name="T84" fmla="*/ 90 w 128"/>
                  <a:gd name="T85" fmla="*/ 58 h 108"/>
                  <a:gd name="T86" fmla="*/ 88 w 128"/>
                  <a:gd name="T87" fmla="*/ 55 h 108"/>
                  <a:gd name="T88" fmla="*/ 81 w 128"/>
                  <a:gd name="T89" fmla="*/ 56 h 108"/>
                  <a:gd name="T90" fmla="*/ 83 w 128"/>
                  <a:gd name="T91" fmla="*/ 53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28" h="108">
                    <a:moveTo>
                      <a:pt x="7" y="25"/>
                    </a:moveTo>
                    <a:cubicBezTo>
                      <a:pt x="7" y="102"/>
                      <a:pt x="7" y="102"/>
                      <a:pt x="7" y="102"/>
                    </a:cubicBezTo>
                    <a:cubicBezTo>
                      <a:pt x="121" y="102"/>
                      <a:pt x="121" y="102"/>
                      <a:pt x="121" y="102"/>
                    </a:cubicBezTo>
                    <a:cubicBezTo>
                      <a:pt x="121" y="25"/>
                      <a:pt x="121" y="25"/>
                      <a:pt x="121" y="25"/>
                    </a:cubicBezTo>
                    <a:cubicBezTo>
                      <a:pt x="7" y="25"/>
                      <a:pt x="7" y="25"/>
                      <a:pt x="7" y="25"/>
                    </a:cubicBezTo>
                    <a:close/>
                    <a:moveTo>
                      <a:pt x="0" y="19"/>
                    </a:moveTo>
                    <a:cubicBezTo>
                      <a:pt x="128" y="19"/>
                      <a:pt x="128" y="19"/>
                      <a:pt x="128" y="19"/>
                    </a:cubicBezTo>
                    <a:cubicBezTo>
                      <a:pt x="128" y="108"/>
                      <a:pt x="128" y="108"/>
                      <a:pt x="128" y="108"/>
                    </a:cubicBezTo>
                    <a:cubicBezTo>
                      <a:pt x="0" y="108"/>
                      <a:pt x="0" y="108"/>
                      <a:pt x="0" y="108"/>
                    </a:cubicBezTo>
                    <a:cubicBezTo>
                      <a:pt x="0" y="19"/>
                      <a:pt x="0" y="19"/>
                      <a:pt x="0" y="19"/>
                    </a:cubicBezTo>
                    <a:close/>
                    <a:moveTo>
                      <a:pt x="0" y="0"/>
                    </a:moveTo>
                    <a:cubicBezTo>
                      <a:pt x="128" y="0"/>
                      <a:pt x="128" y="0"/>
                      <a:pt x="128" y="0"/>
                    </a:cubicBezTo>
                    <a:cubicBezTo>
                      <a:pt x="128" y="12"/>
                      <a:pt x="128" y="12"/>
                      <a:pt x="128" y="12"/>
                    </a:cubicBezTo>
                    <a:cubicBezTo>
                      <a:pt x="0" y="12"/>
                      <a:pt x="0" y="12"/>
                      <a:pt x="0" y="12"/>
                    </a:cubicBezTo>
                    <a:cubicBezTo>
                      <a:pt x="0" y="0"/>
                      <a:pt x="0" y="0"/>
                      <a:pt x="0" y="0"/>
                    </a:cubicBezTo>
                    <a:close/>
                    <a:moveTo>
                      <a:pt x="76" y="65"/>
                    </a:moveTo>
                    <a:cubicBezTo>
                      <a:pt x="75" y="62"/>
                      <a:pt x="75" y="62"/>
                      <a:pt x="75" y="62"/>
                    </a:cubicBezTo>
                    <a:cubicBezTo>
                      <a:pt x="75" y="61"/>
                      <a:pt x="75" y="61"/>
                      <a:pt x="75" y="61"/>
                    </a:cubicBezTo>
                    <a:cubicBezTo>
                      <a:pt x="69" y="61"/>
                      <a:pt x="69" y="61"/>
                      <a:pt x="69" y="61"/>
                    </a:cubicBezTo>
                    <a:cubicBezTo>
                      <a:pt x="69" y="60"/>
                      <a:pt x="69" y="60"/>
                      <a:pt x="68" y="59"/>
                    </a:cubicBezTo>
                    <a:cubicBezTo>
                      <a:pt x="71" y="55"/>
                      <a:pt x="71" y="55"/>
                      <a:pt x="71" y="55"/>
                    </a:cubicBezTo>
                    <a:cubicBezTo>
                      <a:pt x="71" y="54"/>
                      <a:pt x="71" y="54"/>
                      <a:pt x="71" y="53"/>
                    </a:cubicBezTo>
                    <a:cubicBezTo>
                      <a:pt x="68" y="51"/>
                      <a:pt x="68" y="51"/>
                      <a:pt x="68" y="51"/>
                    </a:cubicBezTo>
                    <a:cubicBezTo>
                      <a:pt x="68" y="51"/>
                      <a:pt x="67" y="51"/>
                      <a:pt x="67" y="51"/>
                    </a:cubicBezTo>
                    <a:cubicBezTo>
                      <a:pt x="62" y="54"/>
                      <a:pt x="62" y="54"/>
                      <a:pt x="62" y="54"/>
                    </a:cubicBezTo>
                    <a:cubicBezTo>
                      <a:pt x="62" y="54"/>
                      <a:pt x="62" y="54"/>
                      <a:pt x="61" y="54"/>
                    </a:cubicBezTo>
                    <a:cubicBezTo>
                      <a:pt x="60" y="48"/>
                      <a:pt x="60" y="48"/>
                      <a:pt x="60" y="48"/>
                    </a:cubicBezTo>
                    <a:cubicBezTo>
                      <a:pt x="60" y="47"/>
                      <a:pt x="59" y="47"/>
                      <a:pt x="59" y="47"/>
                    </a:cubicBezTo>
                    <a:cubicBezTo>
                      <a:pt x="55" y="47"/>
                      <a:pt x="55" y="47"/>
                      <a:pt x="55" y="47"/>
                    </a:cubicBezTo>
                    <a:cubicBezTo>
                      <a:pt x="55" y="47"/>
                      <a:pt x="54" y="47"/>
                      <a:pt x="54" y="48"/>
                    </a:cubicBezTo>
                    <a:cubicBezTo>
                      <a:pt x="53" y="54"/>
                      <a:pt x="53" y="54"/>
                      <a:pt x="53" y="54"/>
                    </a:cubicBezTo>
                    <a:cubicBezTo>
                      <a:pt x="52" y="54"/>
                      <a:pt x="52" y="54"/>
                      <a:pt x="52" y="54"/>
                    </a:cubicBezTo>
                    <a:cubicBezTo>
                      <a:pt x="47" y="51"/>
                      <a:pt x="47" y="51"/>
                      <a:pt x="47" y="51"/>
                    </a:cubicBezTo>
                    <a:cubicBezTo>
                      <a:pt x="47" y="51"/>
                      <a:pt x="46" y="51"/>
                      <a:pt x="46" y="51"/>
                    </a:cubicBezTo>
                    <a:cubicBezTo>
                      <a:pt x="43" y="53"/>
                      <a:pt x="43" y="53"/>
                      <a:pt x="43" y="53"/>
                    </a:cubicBezTo>
                    <a:cubicBezTo>
                      <a:pt x="43" y="54"/>
                      <a:pt x="43" y="54"/>
                      <a:pt x="43" y="55"/>
                    </a:cubicBezTo>
                    <a:cubicBezTo>
                      <a:pt x="46" y="59"/>
                      <a:pt x="46" y="59"/>
                      <a:pt x="46" y="59"/>
                    </a:cubicBezTo>
                    <a:cubicBezTo>
                      <a:pt x="45" y="60"/>
                      <a:pt x="45" y="60"/>
                      <a:pt x="45" y="61"/>
                    </a:cubicBezTo>
                    <a:cubicBezTo>
                      <a:pt x="40" y="61"/>
                      <a:pt x="40" y="61"/>
                      <a:pt x="40" y="61"/>
                    </a:cubicBezTo>
                    <a:cubicBezTo>
                      <a:pt x="39" y="61"/>
                      <a:pt x="39" y="61"/>
                      <a:pt x="38" y="62"/>
                    </a:cubicBezTo>
                    <a:cubicBezTo>
                      <a:pt x="38" y="65"/>
                      <a:pt x="38" y="65"/>
                      <a:pt x="38" y="65"/>
                    </a:cubicBezTo>
                    <a:cubicBezTo>
                      <a:pt x="38" y="66"/>
                      <a:pt x="38" y="66"/>
                      <a:pt x="38" y="66"/>
                    </a:cubicBezTo>
                    <a:cubicBezTo>
                      <a:pt x="44" y="69"/>
                      <a:pt x="44" y="69"/>
                      <a:pt x="44" y="69"/>
                    </a:cubicBezTo>
                    <a:cubicBezTo>
                      <a:pt x="44" y="69"/>
                      <a:pt x="44" y="69"/>
                      <a:pt x="44" y="70"/>
                    </a:cubicBezTo>
                    <a:cubicBezTo>
                      <a:pt x="40" y="74"/>
                      <a:pt x="40" y="74"/>
                      <a:pt x="40" y="74"/>
                    </a:cubicBezTo>
                    <a:cubicBezTo>
                      <a:pt x="40" y="74"/>
                      <a:pt x="39" y="74"/>
                      <a:pt x="40" y="75"/>
                    </a:cubicBezTo>
                    <a:cubicBezTo>
                      <a:pt x="41" y="78"/>
                      <a:pt x="41" y="78"/>
                      <a:pt x="41" y="78"/>
                    </a:cubicBezTo>
                    <a:cubicBezTo>
                      <a:pt x="42" y="78"/>
                      <a:pt x="42" y="78"/>
                      <a:pt x="42" y="78"/>
                    </a:cubicBezTo>
                    <a:cubicBezTo>
                      <a:pt x="48" y="77"/>
                      <a:pt x="48" y="77"/>
                      <a:pt x="48" y="77"/>
                    </a:cubicBezTo>
                    <a:cubicBezTo>
                      <a:pt x="48" y="77"/>
                      <a:pt x="48" y="77"/>
                      <a:pt x="49" y="78"/>
                    </a:cubicBezTo>
                    <a:cubicBezTo>
                      <a:pt x="48" y="83"/>
                      <a:pt x="48" y="83"/>
                      <a:pt x="48" y="83"/>
                    </a:cubicBezTo>
                    <a:cubicBezTo>
                      <a:pt x="48" y="84"/>
                      <a:pt x="48" y="84"/>
                      <a:pt x="49" y="84"/>
                    </a:cubicBezTo>
                    <a:cubicBezTo>
                      <a:pt x="52" y="85"/>
                      <a:pt x="52" y="85"/>
                      <a:pt x="52" y="85"/>
                    </a:cubicBezTo>
                    <a:cubicBezTo>
                      <a:pt x="53" y="85"/>
                      <a:pt x="53" y="85"/>
                      <a:pt x="53" y="85"/>
                    </a:cubicBezTo>
                    <a:cubicBezTo>
                      <a:pt x="56" y="80"/>
                      <a:pt x="56" y="80"/>
                      <a:pt x="56" y="80"/>
                    </a:cubicBezTo>
                    <a:cubicBezTo>
                      <a:pt x="56" y="80"/>
                      <a:pt x="57" y="80"/>
                      <a:pt x="57" y="80"/>
                    </a:cubicBezTo>
                    <a:cubicBezTo>
                      <a:pt x="57" y="80"/>
                      <a:pt x="58" y="80"/>
                      <a:pt x="58" y="80"/>
                    </a:cubicBezTo>
                    <a:cubicBezTo>
                      <a:pt x="61" y="85"/>
                      <a:pt x="61" y="85"/>
                      <a:pt x="61" y="85"/>
                    </a:cubicBezTo>
                    <a:cubicBezTo>
                      <a:pt x="61" y="85"/>
                      <a:pt x="61" y="85"/>
                      <a:pt x="62" y="85"/>
                    </a:cubicBezTo>
                    <a:cubicBezTo>
                      <a:pt x="65" y="84"/>
                      <a:pt x="65" y="84"/>
                      <a:pt x="65" y="84"/>
                    </a:cubicBezTo>
                    <a:cubicBezTo>
                      <a:pt x="66" y="84"/>
                      <a:pt x="66" y="84"/>
                      <a:pt x="66" y="83"/>
                    </a:cubicBezTo>
                    <a:cubicBezTo>
                      <a:pt x="65" y="78"/>
                      <a:pt x="65" y="78"/>
                      <a:pt x="65" y="78"/>
                    </a:cubicBezTo>
                    <a:cubicBezTo>
                      <a:pt x="65" y="77"/>
                      <a:pt x="66" y="77"/>
                      <a:pt x="66" y="77"/>
                    </a:cubicBezTo>
                    <a:cubicBezTo>
                      <a:pt x="72" y="78"/>
                      <a:pt x="72" y="78"/>
                      <a:pt x="72" y="78"/>
                    </a:cubicBezTo>
                    <a:cubicBezTo>
                      <a:pt x="72" y="78"/>
                      <a:pt x="73" y="78"/>
                      <a:pt x="73" y="78"/>
                    </a:cubicBezTo>
                    <a:cubicBezTo>
                      <a:pt x="75" y="75"/>
                      <a:pt x="75" y="75"/>
                      <a:pt x="75" y="75"/>
                    </a:cubicBezTo>
                    <a:cubicBezTo>
                      <a:pt x="75" y="74"/>
                      <a:pt x="75" y="74"/>
                      <a:pt x="74" y="74"/>
                    </a:cubicBezTo>
                    <a:cubicBezTo>
                      <a:pt x="70" y="70"/>
                      <a:pt x="70" y="70"/>
                      <a:pt x="70" y="70"/>
                    </a:cubicBezTo>
                    <a:cubicBezTo>
                      <a:pt x="70" y="69"/>
                      <a:pt x="70" y="69"/>
                      <a:pt x="71" y="69"/>
                    </a:cubicBezTo>
                    <a:cubicBezTo>
                      <a:pt x="76" y="66"/>
                      <a:pt x="76" y="66"/>
                      <a:pt x="76" y="66"/>
                    </a:cubicBezTo>
                    <a:cubicBezTo>
                      <a:pt x="76" y="66"/>
                      <a:pt x="76" y="66"/>
                      <a:pt x="76" y="65"/>
                    </a:cubicBezTo>
                    <a:close/>
                    <a:moveTo>
                      <a:pt x="65" y="67"/>
                    </a:moveTo>
                    <a:cubicBezTo>
                      <a:pt x="65" y="69"/>
                      <a:pt x="64" y="71"/>
                      <a:pt x="62" y="72"/>
                    </a:cubicBezTo>
                    <a:cubicBezTo>
                      <a:pt x="61" y="74"/>
                      <a:pt x="59" y="74"/>
                      <a:pt x="57" y="74"/>
                    </a:cubicBezTo>
                    <a:cubicBezTo>
                      <a:pt x="55" y="74"/>
                      <a:pt x="53" y="74"/>
                      <a:pt x="52" y="72"/>
                    </a:cubicBezTo>
                    <a:cubicBezTo>
                      <a:pt x="50" y="71"/>
                      <a:pt x="50" y="69"/>
                      <a:pt x="50" y="67"/>
                    </a:cubicBezTo>
                    <a:cubicBezTo>
                      <a:pt x="50" y="65"/>
                      <a:pt x="50" y="63"/>
                      <a:pt x="52" y="61"/>
                    </a:cubicBezTo>
                    <a:cubicBezTo>
                      <a:pt x="53" y="60"/>
                      <a:pt x="55" y="59"/>
                      <a:pt x="57" y="59"/>
                    </a:cubicBezTo>
                    <a:cubicBezTo>
                      <a:pt x="59" y="59"/>
                      <a:pt x="61" y="60"/>
                      <a:pt x="62" y="61"/>
                    </a:cubicBezTo>
                    <a:cubicBezTo>
                      <a:pt x="64" y="63"/>
                      <a:pt x="65" y="65"/>
                      <a:pt x="65" y="67"/>
                    </a:cubicBezTo>
                    <a:close/>
                    <a:moveTo>
                      <a:pt x="54" y="67"/>
                    </a:moveTo>
                    <a:cubicBezTo>
                      <a:pt x="54" y="65"/>
                      <a:pt x="55" y="63"/>
                      <a:pt x="57" y="63"/>
                    </a:cubicBezTo>
                    <a:cubicBezTo>
                      <a:pt x="59" y="63"/>
                      <a:pt x="61" y="65"/>
                      <a:pt x="61" y="67"/>
                    </a:cubicBezTo>
                    <a:cubicBezTo>
                      <a:pt x="61" y="69"/>
                      <a:pt x="59" y="70"/>
                      <a:pt x="57" y="70"/>
                    </a:cubicBezTo>
                    <a:cubicBezTo>
                      <a:pt x="55" y="70"/>
                      <a:pt x="54" y="69"/>
                      <a:pt x="54" y="67"/>
                    </a:cubicBezTo>
                    <a:close/>
                    <a:moveTo>
                      <a:pt x="88" y="55"/>
                    </a:moveTo>
                    <a:cubicBezTo>
                      <a:pt x="88" y="54"/>
                      <a:pt x="88" y="54"/>
                      <a:pt x="88" y="53"/>
                    </a:cubicBezTo>
                    <a:cubicBezTo>
                      <a:pt x="88" y="53"/>
                      <a:pt x="88" y="52"/>
                      <a:pt x="88" y="52"/>
                    </a:cubicBezTo>
                    <a:cubicBezTo>
                      <a:pt x="90" y="50"/>
                      <a:pt x="90" y="50"/>
                      <a:pt x="90" y="50"/>
                    </a:cubicBezTo>
                    <a:cubicBezTo>
                      <a:pt x="90" y="50"/>
                      <a:pt x="90" y="49"/>
                      <a:pt x="90" y="49"/>
                    </a:cubicBezTo>
                    <a:cubicBezTo>
                      <a:pt x="90" y="49"/>
                      <a:pt x="90" y="49"/>
                      <a:pt x="90" y="49"/>
                    </a:cubicBezTo>
                    <a:cubicBezTo>
                      <a:pt x="89" y="47"/>
                      <a:pt x="89" y="47"/>
                      <a:pt x="89" y="47"/>
                    </a:cubicBezTo>
                    <a:cubicBezTo>
                      <a:pt x="89" y="47"/>
                      <a:pt x="89" y="47"/>
                      <a:pt x="88" y="47"/>
                    </a:cubicBezTo>
                    <a:cubicBezTo>
                      <a:pt x="88" y="47"/>
                      <a:pt x="88" y="47"/>
                      <a:pt x="88" y="47"/>
                    </a:cubicBezTo>
                    <a:cubicBezTo>
                      <a:pt x="85" y="48"/>
                      <a:pt x="85" y="48"/>
                      <a:pt x="85" y="48"/>
                    </a:cubicBezTo>
                    <a:cubicBezTo>
                      <a:pt x="85" y="47"/>
                      <a:pt x="84" y="47"/>
                      <a:pt x="83" y="46"/>
                    </a:cubicBezTo>
                    <a:cubicBezTo>
                      <a:pt x="82" y="43"/>
                      <a:pt x="82" y="43"/>
                      <a:pt x="82" y="43"/>
                    </a:cubicBezTo>
                    <a:cubicBezTo>
                      <a:pt x="82" y="43"/>
                      <a:pt x="82" y="43"/>
                      <a:pt x="81" y="43"/>
                    </a:cubicBezTo>
                    <a:cubicBezTo>
                      <a:pt x="80" y="43"/>
                      <a:pt x="80" y="43"/>
                      <a:pt x="80" y="43"/>
                    </a:cubicBezTo>
                    <a:cubicBezTo>
                      <a:pt x="79" y="43"/>
                      <a:pt x="79" y="43"/>
                      <a:pt x="79" y="43"/>
                    </a:cubicBezTo>
                    <a:cubicBezTo>
                      <a:pt x="78" y="46"/>
                      <a:pt x="78" y="46"/>
                      <a:pt x="78" y="46"/>
                    </a:cubicBezTo>
                    <a:cubicBezTo>
                      <a:pt x="77" y="47"/>
                      <a:pt x="76" y="47"/>
                      <a:pt x="76" y="48"/>
                    </a:cubicBezTo>
                    <a:cubicBezTo>
                      <a:pt x="73" y="47"/>
                      <a:pt x="73" y="47"/>
                      <a:pt x="73" y="47"/>
                    </a:cubicBezTo>
                    <a:cubicBezTo>
                      <a:pt x="73" y="47"/>
                      <a:pt x="73" y="47"/>
                      <a:pt x="73" y="47"/>
                    </a:cubicBezTo>
                    <a:cubicBezTo>
                      <a:pt x="72" y="47"/>
                      <a:pt x="72" y="47"/>
                      <a:pt x="72" y="47"/>
                    </a:cubicBezTo>
                    <a:cubicBezTo>
                      <a:pt x="71" y="49"/>
                      <a:pt x="71" y="49"/>
                      <a:pt x="71" y="49"/>
                    </a:cubicBezTo>
                    <a:cubicBezTo>
                      <a:pt x="71" y="49"/>
                      <a:pt x="71" y="49"/>
                      <a:pt x="71" y="49"/>
                    </a:cubicBezTo>
                    <a:cubicBezTo>
                      <a:pt x="71" y="49"/>
                      <a:pt x="71" y="50"/>
                      <a:pt x="71" y="50"/>
                    </a:cubicBezTo>
                    <a:cubicBezTo>
                      <a:pt x="73" y="52"/>
                      <a:pt x="73" y="52"/>
                      <a:pt x="73" y="52"/>
                    </a:cubicBezTo>
                    <a:cubicBezTo>
                      <a:pt x="73" y="52"/>
                      <a:pt x="73" y="53"/>
                      <a:pt x="73" y="53"/>
                    </a:cubicBezTo>
                    <a:cubicBezTo>
                      <a:pt x="73" y="54"/>
                      <a:pt x="73" y="54"/>
                      <a:pt x="73" y="55"/>
                    </a:cubicBezTo>
                    <a:cubicBezTo>
                      <a:pt x="71" y="57"/>
                      <a:pt x="71" y="57"/>
                      <a:pt x="71" y="57"/>
                    </a:cubicBezTo>
                    <a:cubicBezTo>
                      <a:pt x="71" y="57"/>
                      <a:pt x="71" y="57"/>
                      <a:pt x="71" y="57"/>
                    </a:cubicBezTo>
                    <a:cubicBezTo>
                      <a:pt x="71" y="57"/>
                      <a:pt x="71" y="57"/>
                      <a:pt x="71" y="58"/>
                    </a:cubicBezTo>
                    <a:cubicBezTo>
                      <a:pt x="72" y="59"/>
                      <a:pt x="72" y="59"/>
                      <a:pt x="72" y="59"/>
                    </a:cubicBezTo>
                    <a:cubicBezTo>
                      <a:pt x="72" y="60"/>
                      <a:pt x="72" y="60"/>
                      <a:pt x="73" y="60"/>
                    </a:cubicBezTo>
                    <a:cubicBezTo>
                      <a:pt x="73" y="60"/>
                      <a:pt x="73" y="60"/>
                      <a:pt x="73" y="60"/>
                    </a:cubicBezTo>
                    <a:cubicBezTo>
                      <a:pt x="76" y="59"/>
                      <a:pt x="76" y="59"/>
                      <a:pt x="76" y="59"/>
                    </a:cubicBezTo>
                    <a:cubicBezTo>
                      <a:pt x="76" y="59"/>
                      <a:pt x="77" y="60"/>
                      <a:pt x="78" y="60"/>
                    </a:cubicBezTo>
                    <a:cubicBezTo>
                      <a:pt x="79" y="63"/>
                      <a:pt x="79" y="63"/>
                      <a:pt x="79" y="63"/>
                    </a:cubicBezTo>
                    <a:cubicBezTo>
                      <a:pt x="79" y="63"/>
                      <a:pt x="79" y="64"/>
                      <a:pt x="80" y="64"/>
                    </a:cubicBezTo>
                    <a:cubicBezTo>
                      <a:pt x="81" y="64"/>
                      <a:pt x="81" y="64"/>
                      <a:pt x="81" y="64"/>
                    </a:cubicBezTo>
                    <a:cubicBezTo>
                      <a:pt x="82" y="64"/>
                      <a:pt x="82" y="63"/>
                      <a:pt x="82" y="63"/>
                    </a:cubicBezTo>
                    <a:cubicBezTo>
                      <a:pt x="83" y="60"/>
                      <a:pt x="83" y="60"/>
                      <a:pt x="83" y="60"/>
                    </a:cubicBezTo>
                    <a:cubicBezTo>
                      <a:pt x="84" y="60"/>
                      <a:pt x="85" y="59"/>
                      <a:pt x="85" y="59"/>
                    </a:cubicBezTo>
                    <a:cubicBezTo>
                      <a:pt x="88" y="60"/>
                      <a:pt x="88" y="60"/>
                      <a:pt x="88" y="60"/>
                    </a:cubicBezTo>
                    <a:cubicBezTo>
                      <a:pt x="88" y="60"/>
                      <a:pt x="88" y="60"/>
                      <a:pt x="88" y="60"/>
                    </a:cubicBezTo>
                    <a:cubicBezTo>
                      <a:pt x="89" y="60"/>
                      <a:pt x="89" y="60"/>
                      <a:pt x="89" y="59"/>
                    </a:cubicBezTo>
                    <a:cubicBezTo>
                      <a:pt x="90" y="58"/>
                      <a:pt x="90" y="58"/>
                      <a:pt x="90" y="58"/>
                    </a:cubicBezTo>
                    <a:cubicBezTo>
                      <a:pt x="90" y="57"/>
                      <a:pt x="90" y="57"/>
                      <a:pt x="90" y="57"/>
                    </a:cubicBezTo>
                    <a:cubicBezTo>
                      <a:pt x="90" y="57"/>
                      <a:pt x="90" y="57"/>
                      <a:pt x="90" y="57"/>
                    </a:cubicBezTo>
                    <a:cubicBezTo>
                      <a:pt x="88" y="55"/>
                      <a:pt x="88" y="55"/>
                      <a:pt x="88" y="55"/>
                    </a:cubicBezTo>
                    <a:cubicBezTo>
                      <a:pt x="88" y="55"/>
                      <a:pt x="88" y="55"/>
                      <a:pt x="88" y="55"/>
                    </a:cubicBezTo>
                    <a:close/>
                    <a:moveTo>
                      <a:pt x="83" y="53"/>
                    </a:moveTo>
                    <a:cubicBezTo>
                      <a:pt x="83" y="55"/>
                      <a:pt x="82" y="56"/>
                      <a:pt x="81" y="56"/>
                    </a:cubicBezTo>
                    <a:cubicBezTo>
                      <a:pt x="79" y="56"/>
                      <a:pt x="78" y="55"/>
                      <a:pt x="78" y="53"/>
                    </a:cubicBezTo>
                    <a:cubicBezTo>
                      <a:pt x="78" y="52"/>
                      <a:pt x="79" y="50"/>
                      <a:pt x="81" y="50"/>
                    </a:cubicBezTo>
                    <a:cubicBezTo>
                      <a:pt x="82" y="50"/>
                      <a:pt x="83" y="52"/>
                      <a:pt x="83" y="53"/>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505050"/>
                  </a:solidFill>
                  <a:effectLst/>
                  <a:uLnTx/>
                  <a:uFillTx/>
                  <a:latin typeface="Segoe UI"/>
                  <a:ea typeface="+mn-ea"/>
                  <a:cs typeface="+mn-cs"/>
                </a:endParaRPr>
              </a:p>
            </p:txBody>
          </p:sp>
        </p:grpSp>
      </p:grpSp>
      <p:sp>
        <p:nvSpPr>
          <p:cNvPr id="4" name="Slide Number Placeholder 3"/>
          <p:cNvSpPr>
            <a:spLocks noGrp="1"/>
          </p:cNvSpPr>
          <p:nvPr>
            <p:ph type="sldNum" sz="quarter" idx="4"/>
          </p:nvPr>
        </p:nvSpPr>
        <p:spPr/>
        <p:txBody>
          <a:bodyPr/>
          <a:lstStyle/>
          <a:p>
            <a:pPr>
              <a:defRPr/>
            </a:pPr>
            <a:fld id="{75FAD755-3BD0-2447-A9DF-109DAABEFD99}" type="slidenum">
              <a:rPr lang="en-US" smtClean="0"/>
              <a:pPr>
                <a:defRPr/>
              </a:pPr>
              <a:t>42</a:t>
            </a:fld>
            <a:endParaRPr lang="en-US" dirty="0"/>
          </a:p>
        </p:txBody>
      </p:sp>
    </p:spTree>
    <p:extLst>
      <p:ext uri="{BB962C8B-B14F-4D97-AF65-F5344CB8AC3E}">
        <p14:creationId xmlns:p14="http://schemas.microsoft.com/office/powerpoint/2010/main" val="670942898"/>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90"/>
                                        </p:tgtEl>
                                        <p:attrNameLst>
                                          <p:attrName>style.visibility</p:attrName>
                                        </p:attrNameLst>
                                      </p:cBhvr>
                                      <p:to>
                                        <p:strVal val="visible"/>
                                      </p:to>
                                    </p:set>
                                    <p:animEffect transition="in" filter="fade">
                                      <p:cBhvr>
                                        <p:cTn id="7" dur="500"/>
                                        <p:tgtEl>
                                          <p:spTgt spid="190"/>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50"/>
                                        </p:tgtEl>
                                        <p:attrNameLst>
                                          <p:attrName>style.visibility</p:attrName>
                                        </p:attrNameLst>
                                      </p:cBhvr>
                                      <p:to>
                                        <p:strVal val="visible"/>
                                      </p:to>
                                    </p:set>
                                    <p:animEffect transition="in" filter="fade">
                                      <p:cBhvr>
                                        <p:cTn id="11" dur="500"/>
                                        <p:tgtEl>
                                          <p:spTgt spid="5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0" grpId="0"/>
    </p:bld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0466" name="think-cell Slide" r:id="rId5" imgW="377" imgH="377" progId="TCLayout.ActiveDocument.1">
                  <p:embed/>
                </p:oleObj>
              </mc:Choice>
              <mc:Fallback>
                <p:oleObj name="think-cell Slide" r:id="rId5" imgW="377" imgH="377"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6" name="Rectangle 5"/>
          <p:cNvSpPr/>
          <p:nvPr/>
        </p:nvSpPr>
        <p:spPr bwMode="auto">
          <a:xfrm>
            <a:off x="4444999" y="0"/>
            <a:ext cx="7747001" cy="6857999"/>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a:solidFill>
                <a:schemeClr val="bg1"/>
              </a:solidFill>
              <a:latin typeface="+mj-lt"/>
              <a:ea typeface="Segoe UI" pitchFamily="34" charset="0"/>
              <a:cs typeface="Segoe UI" pitchFamily="34" charset="0"/>
            </a:endParaRPr>
          </a:p>
        </p:txBody>
      </p:sp>
      <p:sp>
        <p:nvSpPr>
          <p:cNvPr id="5" name="Title 4"/>
          <p:cNvSpPr>
            <a:spLocks noGrp="1"/>
          </p:cNvSpPr>
          <p:nvPr>
            <p:ph type="title"/>
          </p:nvPr>
        </p:nvSpPr>
        <p:spPr>
          <a:xfrm>
            <a:off x="434976" y="286381"/>
            <a:ext cx="4010024" cy="927940"/>
          </a:xfrm>
        </p:spPr>
        <p:txBody>
          <a:bodyPr/>
          <a:lstStyle/>
          <a:p>
            <a:r>
              <a:rPr lang="en-US" dirty="0"/>
              <a:t>File Preview</a:t>
            </a:r>
            <a:endParaRPr lang="en-GB" dirty="0"/>
          </a:p>
        </p:txBody>
      </p:sp>
      <p:pic>
        <p:nvPicPr>
          <p:cNvPr id="188" name="Picture 187"/>
          <p:cNvPicPr>
            <a:picLocks noChangeAspect="1"/>
          </p:cNvPicPr>
          <p:nvPr/>
        </p:nvPicPr>
        <p:blipFill>
          <a:blip r:embed="rId7"/>
          <a:stretch>
            <a:fillRect/>
          </a:stretch>
        </p:blipFill>
        <p:spPr>
          <a:xfrm>
            <a:off x="4511026" y="490875"/>
            <a:ext cx="3028950" cy="3971925"/>
          </a:xfrm>
          <a:prstGeom prst="rect">
            <a:avLst/>
          </a:prstGeom>
          <a:noFill/>
          <a:ln w="3175">
            <a:solidFill>
              <a:schemeClr val="bg1">
                <a:lumMod val="75000"/>
              </a:schemeClr>
            </a:solidFill>
          </a:ln>
        </p:spPr>
      </p:pic>
      <p:pic>
        <p:nvPicPr>
          <p:cNvPr id="191" name="Picture 190"/>
          <p:cNvPicPr>
            <a:picLocks noChangeAspect="1"/>
          </p:cNvPicPr>
          <p:nvPr/>
        </p:nvPicPr>
        <p:blipFill>
          <a:blip r:embed="rId8"/>
          <a:stretch>
            <a:fillRect/>
          </a:stretch>
        </p:blipFill>
        <p:spPr>
          <a:xfrm>
            <a:off x="6624978" y="1143201"/>
            <a:ext cx="5118960" cy="3946968"/>
          </a:xfrm>
          <a:prstGeom prst="rect">
            <a:avLst/>
          </a:prstGeom>
          <a:noFill/>
          <a:ln w="3175">
            <a:solidFill>
              <a:schemeClr val="bg1">
                <a:lumMod val="75000"/>
              </a:schemeClr>
            </a:solidFill>
          </a:ln>
        </p:spPr>
      </p:pic>
      <p:sp>
        <p:nvSpPr>
          <p:cNvPr id="192" name="TextBox 191"/>
          <p:cNvSpPr txBox="1"/>
          <p:nvPr/>
        </p:nvSpPr>
        <p:spPr>
          <a:xfrm>
            <a:off x="4506736" y="5090169"/>
            <a:ext cx="7250290" cy="1420267"/>
          </a:xfrm>
          <a:prstGeom prst="rect">
            <a:avLst/>
          </a:prstGeom>
          <a:noFill/>
        </p:spPr>
        <p:txBody>
          <a:bodyPr wrap="square" lIns="91440" tIns="45720" rIns="91440" bIns="45720" rtlCol="0" anchor="ctr">
            <a:noAutofit/>
          </a:bodyPr>
          <a:lstStyle/>
          <a:p>
            <a:pPr marL="164592" indent="-164592" fontAlgn="base">
              <a:spcBef>
                <a:spcPts val="300"/>
              </a:spcBef>
              <a:buClr>
                <a:srgbClr val="50B347"/>
              </a:buClr>
              <a:buSzPct val="100000"/>
              <a:buBlip>
                <a:blip r:embed="rId9"/>
              </a:buBlip>
              <a:tabLst>
                <a:tab pos="658368" algn="l"/>
              </a:tabLst>
            </a:pPr>
            <a:r>
              <a:rPr lang="en-US" sz="1600" dirty="0">
                <a:ea typeface="Segoe UI" pitchFamily="34" charset="0"/>
                <a:cs typeface="Segoe UI" pitchFamily="34" charset="0"/>
              </a:rPr>
              <a:t>Input and output files can be previewed directly in the portal without having to download them.</a:t>
            </a:r>
          </a:p>
          <a:p>
            <a:pPr marL="164592" indent="-164592" fontAlgn="base">
              <a:spcBef>
                <a:spcPts val="300"/>
              </a:spcBef>
              <a:buClr>
                <a:srgbClr val="50B347"/>
              </a:buClr>
              <a:buSzPct val="100000"/>
              <a:buBlip>
                <a:blip r:embed="rId9"/>
              </a:buBlip>
              <a:tabLst>
                <a:tab pos="658368" algn="l"/>
              </a:tabLst>
            </a:pPr>
            <a:r>
              <a:rPr lang="en-US" sz="1600" dirty="0">
                <a:ea typeface="Segoe UI" pitchFamily="34" charset="0"/>
                <a:cs typeface="Segoe UI" pitchFamily="34" charset="0"/>
              </a:rPr>
              <a:t>The preview shows the first few rows.</a:t>
            </a:r>
          </a:p>
          <a:p>
            <a:pPr marL="164592" indent="-164592" fontAlgn="base">
              <a:spcBef>
                <a:spcPts val="300"/>
              </a:spcBef>
              <a:buClr>
                <a:srgbClr val="50B347"/>
              </a:buClr>
              <a:buSzPct val="100000"/>
              <a:buBlip>
                <a:blip r:embed="rId9"/>
              </a:buBlip>
              <a:tabLst>
                <a:tab pos="658368" algn="l"/>
              </a:tabLst>
            </a:pPr>
            <a:r>
              <a:rPr lang="en-US" sz="1600" dirty="0">
                <a:ea typeface="Segoe UI" pitchFamily="34" charset="0"/>
                <a:cs typeface="Segoe UI" pitchFamily="34" charset="0"/>
              </a:rPr>
              <a:t>Column numbers are automatically assigned</a:t>
            </a:r>
          </a:p>
          <a:p>
            <a:pPr marL="164592" indent="-164592" fontAlgn="base">
              <a:spcBef>
                <a:spcPts val="300"/>
              </a:spcBef>
              <a:buClr>
                <a:srgbClr val="50B347"/>
              </a:buClr>
              <a:buSzPct val="100000"/>
              <a:buBlip>
                <a:blip r:embed="rId9"/>
              </a:buBlip>
              <a:tabLst>
                <a:tab pos="658368" algn="l"/>
              </a:tabLst>
            </a:pPr>
            <a:r>
              <a:rPr lang="en-US" sz="1600" dirty="0">
                <a:ea typeface="Segoe UI" pitchFamily="34" charset="0"/>
                <a:cs typeface="Segoe UI" pitchFamily="34" charset="0"/>
              </a:rPr>
              <a:t>Understands CSV and TSV formats.</a:t>
            </a:r>
          </a:p>
        </p:txBody>
      </p:sp>
      <p:grpSp>
        <p:nvGrpSpPr>
          <p:cNvPr id="4" name="Group 3"/>
          <p:cNvGrpSpPr/>
          <p:nvPr/>
        </p:nvGrpSpPr>
        <p:grpSpPr>
          <a:xfrm>
            <a:off x="1291112" y="2476837"/>
            <a:ext cx="2744000" cy="4381162"/>
            <a:chOff x="805827" y="1614810"/>
            <a:chExt cx="3166217" cy="5055287"/>
          </a:xfrm>
        </p:grpSpPr>
        <p:grpSp>
          <p:nvGrpSpPr>
            <p:cNvPr id="226" name="Group 225"/>
            <p:cNvGrpSpPr/>
            <p:nvPr/>
          </p:nvGrpSpPr>
          <p:grpSpPr>
            <a:xfrm>
              <a:off x="2226816" y="1614810"/>
              <a:ext cx="1745228" cy="5055287"/>
              <a:chOff x="10218293" y="770261"/>
              <a:chExt cx="1745228" cy="5055287"/>
            </a:xfrm>
          </p:grpSpPr>
          <p:sp>
            <p:nvSpPr>
              <p:cNvPr id="260" name="Freeform 259"/>
              <p:cNvSpPr>
                <a:spLocks/>
              </p:cNvSpPr>
              <p:nvPr/>
            </p:nvSpPr>
            <p:spPr bwMode="auto">
              <a:xfrm>
                <a:off x="10218293" y="770261"/>
                <a:ext cx="1745228" cy="1742250"/>
              </a:xfrm>
              <a:custGeom>
                <a:avLst/>
                <a:gdLst>
                  <a:gd name="T0" fmla="*/ 622 w 1244"/>
                  <a:gd name="T1" fmla="*/ 0 h 1244"/>
                  <a:gd name="T2" fmla="*/ 0 w 1244"/>
                  <a:gd name="T3" fmla="*/ 622 h 1244"/>
                  <a:gd name="T4" fmla="*/ 622 w 1244"/>
                  <a:gd name="T5" fmla="*/ 1244 h 1244"/>
                  <a:gd name="T6" fmla="*/ 622 w 1244"/>
                  <a:gd name="T7" fmla="*/ 1244 h 1244"/>
                  <a:gd name="T8" fmla="*/ 622 w 1244"/>
                  <a:gd name="T9" fmla="*/ 1027 h 1244"/>
                  <a:gd name="T10" fmla="*/ 622 w 1244"/>
                  <a:gd name="T11" fmla="*/ 1027 h 1244"/>
                  <a:gd name="T12" fmla="*/ 216 w 1244"/>
                  <a:gd name="T13" fmla="*/ 622 h 1244"/>
                  <a:gd name="T14" fmla="*/ 622 w 1244"/>
                  <a:gd name="T15" fmla="*/ 216 h 1244"/>
                  <a:gd name="T16" fmla="*/ 1028 w 1244"/>
                  <a:gd name="T17" fmla="*/ 622 h 1244"/>
                  <a:gd name="T18" fmla="*/ 634 w 1244"/>
                  <a:gd name="T19" fmla="*/ 1027 h 1244"/>
                  <a:gd name="T20" fmla="*/ 634 w 1244"/>
                  <a:gd name="T21" fmla="*/ 1243 h 1244"/>
                  <a:gd name="T22" fmla="*/ 1244 w 1244"/>
                  <a:gd name="T23" fmla="*/ 622 h 1244"/>
                  <a:gd name="T24" fmla="*/ 622 w 1244"/>
                  <a:gd name="T25" fmla="*/ 0 h 1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4" h="1244">
                    <a:moveTo>
                      <a:pt x="622" y="0"/>
                    </a:moveTo>
                    <a:cubicBezTo>
                      <a:pt x="279" y="0"/>
                      <a:pt x="0" y="278"/>
                      <a:pt x="0" y="622"/>
                    </a:cubicBezTo>
                    <a:cubicBezTo>
                      <a:pt x="0" y="965"/>
                      <a:pt x="279" y="1244"/>
                      <a:pt x="622" y="1244"/>
                    </a:cubicBezTo>
                    <a:cubicBezTo>
                      <a:pt x="622" y="1244"/>
                      <a:pt x="622" y="1244"/>
                      <a:pt x="622" y="1244"/>
                    </a:cubicBezTo>
                    <a:cubicBezTo>
                      <a:pt x="622" y="1027"/>
                      <a:pt x="622" y="1027"/>
                      <a:pt x="622" y="1027"/>
                    </a:cubicBezTo>
                    <a:cubicBezTo>
                      <a:pt x="622" y="1027"/>
                      <a:pt x="622" y="1027"/>
                      <a:pt x="622" y="1027"/>
                    </a:cubicBezTo>
                    <a:cubicBezTo>
                      <a:pt x="398" y="1027"/>
                      <a:pt x="216" y="846"/>
                      <a:pt x="216" y="622"/>
                    </a:cubicBezTo>
                    <a:cubicBezTo>
                      <a:pt x="216" y="398"/>
                      <a:pt x="398" y="216"/>
                      <a:pt x="622" y="216"/>
                    </a:cubicBezTo>
                    <a:cubicBezTo>
                      <a:pt x="846" y="216"/>
                      <a:pt x="1028" y="398"/>
                      <a:pt x="1028" y="622"/>
                    </a:cubicBezTo>
                    <a:cubicBezTo>
                      <a:pt x="1028" y="842"/>
                      <a:pt x="853" y="1021"/>
                      <a:pt x="634" y="1027"/>
                    </a:cubicBezTo>
                    <a:cubicBezTo>
                      <a:pt x="634" y="1243"/>
                      <a:pt x="634" y="1243"/>
                      <a:pt x="634" y="1243"/>
                    </a:cubicBezTo>
                    <a:cubicBezTo>
                      <a:pt x="972" y="1237"/>
                      <a:pt x="1244" y="961"/>
                      <a:pt x="1244" y="622"/>
                    </a:cubicBezTo>
                    <a:cubicBezTo>
                      <a:pt x="1244" y="278"/>
                      <a:pt x="965" y="0"/>
                      <a:pt x="622" y="0"/>
                    </a:cubicBezTo>
                  </a:path>
                </a:pathLst>
              </a:custGeom>
              <a:solidFill>
                <a:schemeClr val="bg1">
                  <a:alpha val="44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a typeface="+mn-ea"/>
                  <a:cs typeface="+mn-cs"/>
                </a:endParaRPr>
              </a:p>
            </p:txBody>
          </p:sp>
          <p:sp>
            <p:nvSpPr>
              <p:cNvPr id="261" name="Freeform 260"/>
              <p:cNvSpPr>
                <a:spLocks noEditPoints="1"/>
              </p:cNvSpPr>
              <p:nvPr/>
            </p:nvSpPr>
            <p:spPr bwMode="auto">
              <a:xfrm>
                <a:off x="10522069" y="1074037"/>
                <a:ext cx="1137674" cy="1134697"/>
              </a:xfrm>
              <a:custGeom>
                <a:avLst/>
                <a:gdLst>
                  <a:gd name="T0" fmla="*/ 213 w 812"/>
                  <a:gd name="T1" fmla="*/ 397 h 811"/>
                  <a:gd name="T2" fmla="*/ 412 w 812"/>
                  <a:gd name="T3" fmla="*/ 199 h 811"/>
                  <a:gd name="T4" fmla="*/ 611 w 812"/>
                  <a:gd name="T5" fmla="*/ 398 h 811"/>
                  <a:gd name="T6" fmla="*/ 549 w 812"/>
                  <a:gd name="T7" fmla="*/ 543 h 811"/>
                  <a:gd name="T8" fmla="*/ 521 w 812"/>
                  <a:gd name="T9" fmla="*/ 577 h 811"/>
                  <a:gd name="T10" fmla="*/ 521 w 812"/>
                  <a:gd name="T11" fmla="*/ 577 h 811"/>
                  <a:gd name="T12" fmla="*/ 521 w 812"/>
                  <a:gd name="T13" fmla="*/ 577 h 811"/>
                  <a:gd name="T14" fmla="*/ 489 w 812"/>
                  <a:gd name="T15" fmla="*/ 658 h 811"/>
                  <a:gd name="T16" fmla="*/ 489 w 812"/>
                  <a:gd name="T17" fmla="*/ 664 h 811"/>
                  <a:gd name="T18" fmla="*/ 489 w 812"/>
                  <a:gd name="T19" fmla="*/ 664 h 811"/>
                  <a:gd name="T20" fmla="*/ 489 w 812"/>
                  <a:gd name="T21" fmla="*/ 664 h 811"/>
                  <a:gd name="T22" fmla="*/ 489 w 812"/>
                  <a:gd name="T23" fmla="*/ 667 h 811"/>
                  <a:gd name="T24" fmla="*/ 416 w 812"/>
                  <a:gd name="T25" fmla="*/ 700 h 811"/>
                  <a:gd name="T26" fmla="*/ 415 w 812"/>
                  <a:gd name="T27" fmla="*/ 703 h 811"/>
                  <a:gd name="T28" fmla="*/ 412 w 812"/>
                  <a:gd name="T29" fmla="*/ 701 h 811"/>
                  <a:gd name="T30" fmla="*/ 409 w 812"/>
                  <a:gd name="T31" fmla="*/ 703 h 811"/>
                  <a:gd name="T32" fmla="*/ 408 w 812"/>
                  <a:gd name="T33" fmla="*/ 700 h 811"/>
                  <a:gd name="T34" fmla="*/ 335 w 812"/>
                  <a:gd name="T35" fmla="*/ 667 h 811"/>
                  <a:gd name="T36" fmla="*/ 273 w 812"/>
                  <a:gd name="T37" fmla="*/ 540 h 811"/>
                  <a:gd name="T38" fmla="*/ 273 w 812"/>
                  <a:gd name="T39" fmla="*/ 540 h 811"/>
                  <a:gd name="T40" fmla="*/ 273 w 812"/>
                  <a:gd name="T41" fmla="*/ 540 h 811"/>
                  <a:gd name="T42" fmla="*/ 273 w 812"/>
                  <a:gd name="T43" fmla="*/ 540 h 811"/>
                  <a:gd name="T44" fmla="*/ 213 w 812"/>
                  <a:gd name="T45" fmla="*/ 398 h 811"/>
                  <a:gd name="T46" fmla="*/ 213 w 812"/>
                  <a:gd name="T47" fmla="*/ 398 h 811"/>
                  <a:gd name="T48" fmla="*/ 213 w 812"/>
                  <a:gd name="T49" fmla="*/ 398 h 811"/>
                  <a:gd name="T50" fmla="*/ 213 w 812"/>
                  <a:gd name="T51" fmla="*/ 398 h 811"/>
                  <a:gd name="T52" fmla="*/ 213 w 812"/>
                  <a:gd name="T53" fmla="*/ 397 h 811"/>
                  <a:gd name="T54" fmla="*/ 213 w 812"/>
                  <a:gd name="T55" fmla="*/ 397 h 811"/>
                  <a:gd name="T56" fmla="*/ 213 w 812"/>
                  <a:gd name="T57" fmla="*/ 397 h 811"/>
                  <a:gd name="T58" fmla="*/ 213 w 812"/>
                  <a:gd name="T59" fmla="*/ 397 h 811"/>
                  <a:gd name="T60" fmla="*/ 213 w 812"/>
                  <a:gd name="T61" fmla="*/ 397 h 811"/>
                  <a:gd name="T62" fmla="*/ 213 w 812"/>
                  <a:gd name="T63" fmla="*/ 397 h 811"/>
                  <a:gd name="T64" fmla="*/ 406 w 812"/>
                  <a:gd name="T65" fmla="*/ 0 h 811"/>
                  <a:gd name="T66" fmla="*/ 0 w 812"/>
                  <a:gd name="T67" fmla="*/ 406 h 811"/>
                  <a:gd name="T68" fmla="*/ 406 w 812"/>
                  <a:gd name="T69" fmla="*/ 811 h 811"/>
                  <a:gd name="T70" fmla="*/ 406 w 812"/>
                  <a:gd name="T71" fmla="*/ 811 h 811"/>
                  <a:gd name="T72" fmla="*/ 406 w 812"/>
                  <a:gd name="T73" fmla="*/ 758 h 811"/>
                  <a:gd name="T74" fmla="*/ 418 w 812"/>
                  <a:gd name="T75" fmla="*/ 758 h 811"/>
                  <a:gd name="T76" fmla="*/ 418 w 812"/>
                  <a:gd name="T77" fmla="*/ 811 h 811"/>
                  <a:gd name="T78" fmla="*/ 812 w 812"/>
                  <a:gd name="T79" fmla="*/ 406 h 811"/>
                  <a:gd name="T80" fmla="*/ 406 w 812"/>
                  <a:gd name="T81" fmla="*/ 0 h 8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812" h="811">
                    <a:moveTo>
                      <a:pt x="213" y="397"/>
                    </a:moveTo>
                    <a:cubicBezTo>
                      <a:pt x="214" y="287"/>
                      <a:pt x="303" y="199"/>
                      <a:pt x="412" y="199"/>
                    </a:cubicBezTo>
                    <a:cubicBezTo>
                      <a:pt x="522" y="199"/>
                      <a:pt x="611" y="288"/>
                      <a:pt x="611" y="398"/>
                    </a:cubicBezTo>
                    <a:cubicBezTo>
                      <a:pt x="611" y="455"/>
                      <a:pt x="587" y="506"/>
                      <a:pt x="549" y="543"/>
                    </a:cubicBezTo>
                    <a:cubicBezTo>
                      <a:pt x="538" y="554"/>
                      <a:pt x="529" y="566"/>
                      <a:pt x="521" y="577"/>
                    </a:cubicBezTo>
                    <a:cubicBezTo>
                      <a:pt x="521" y="577"/>
                      <a:pt x="521" y="577"/>
                      <a:pt x="521" y="577"/>
                    </a:cubicBezTo>
                    <a:cubicBezTo>
                      <a:pt x="521" y="577"/>
                      <a:pt x="521" y="577"/>
                      <a:pt x="521" y="577"/>
                    </a:cubicBezTo>
                    <a:cubicBezTo>
                      <a:pt x="499" y="611"/>
                      <a:pt x="492" y="643"/>
                      <a:pt x="489" y="658"/>
                    </a:cubicBezTo>
                    <a:cubicBezTo>
                      <a:pt x="489" y="661"/>
                      <a:pt x="489" y="663"/>
                      <a:pt x="489" y="664"/>
                    </a:cubicBezTo>
                    <a:cubicBezTo>
                      <a:pt x="489" y="664"/>
                      <a:pt x="489" y="664"/>
                      <a:pt x="489" y="664"/>
                    </a:cubicBezTo>
                    <a:cubicBezTo>
                      <a:pt x="489" y="664"/>
                      <a:pt x="489" y="664"/>
                      <a:pt x="489" y="664"/>
                    </a:cubicBezTo>
                    <a:cubicBezTo>
                      <a:pt x="489" y="666"/>
                      <a:pt x="489" y="667"/>
                      <a:pt x="489" y="667"/>
                    </a:cubicBezTo>
                    <a:cubicBezTo>
                      <a:pt x="416" y="700"/>
                      <a:pt x="416" y="700"/>
                      <a:pt x="416" y="700"/>
                    </a:cubicBezTo>
                    <a:cubicBezTo>
                      <a:pt x="415" y="703"/>
                      <a:pt x="415" y="703"/>
                      <a:pt x="415" y="703"/>
                    </a:cubicBezTo>
                    <a:cubicBezTo>
                      <a:pt x="412" y="701"/>
                      <a:pt x="412" y="701"/>
                      <a:pt x="412" y="701"/>
                    </a:cubicBezTo>
                    <a:cubicBezTo>
                      <a:pt x="409" y="703"/>
                      <a:pt x="409" y="703"/>
                      <a:pt x="409" y="703"/>
                    </a:cubicBezTo>
                    <a:cubicBezTo>
                      <a:pt x="408" y="700"/>
                      <a:pt x="408" y="700"/>
                      <a:pt x="408" y="700"/>
                    </a:cubicBezTo>
                    <a:cubicBezTo>
                      <a:pt x="335" y="667"/>
                      <a:pt x="335" y="667"/>
                      <a:pt x="335" y="667"/>
                    </a:cubicBezTo>
                    <a:cubicBezTo>
                      <a:pt x="335" y="667"/>
                      <a:pt x="333" y="601"/>
                      <a:pt x="273" y="540"/>
                    </a:cubicBezTo>
                    <a:cubicBezTo>
                      <a:pt x="273" y="540"/>
                      <a:pt x="273" y="540"/>
                      <a:pt x="273" y="540"/>
                    </a:cubicBezTo>
                    <a:cubicBezTo>
                      <a:pt x="273" y="540"/>
                      <a:pt x="273" y="540"/>
                      <a:pt x="273" y="540"/>
                    </a:cubicBezTo>
                    <a:cubicBezTo>
                      <a:pt x="273" y="540"/>
                      <a:pt x="273" y="540"/>
                      <a:pt x="273" y="540"/>
                    </a:cubicBezTo>
                    <a:cubicBezTo>
                      <a:pt x="236" y="504"/>
                      <a:pt x="213" y="454"/>
                      <a:pt x="213" y="398"/>
                    </a:cubicBezTo>
                    <a:cubicBezTo>
                      <a:pt x="213" y="398"/>
                      <a:pt x="213" y="398"/>
                      <a:pt x="213" y="398"/>
                    </a:cubicBezTo>
                    <a:cubicBezTo>
                      <a:pt x="213" y="398"/>
                      <a:pt x="213" y="398"/>
                      <a:pt x="213" y="398"/>
                    </a:cubicBezTo>
                    <a:cubicBezTo>
                      <a:pt x="213" y="398"/>
                      <a:pt x="213" y="398"/>
                      <a:pt x="213" y="398"/>
                    </a:cubicBezTo>
                    <a:cubicBezTo>
                      <a:pt x="213" y="398"/>
                      <a:pt x="213" y="398"/>
                      <a:pt x="213" y="397"/>
                    </a:cubicBezTo>
                    <a:cubicBezTo>
                      <a:pt x="213" y="397"/>
                      <a:pt x="213" y="397"/>
                      <a:pt x="213" y="397"/>
                    </a:cubicBezTo>
                    <a:cubicBezTo>
                      <a:pt x="213" y="397"/>
                      <a:pt x="213" y="397"/>
                      <a:pt x="213" y="397"/>
                    </a:cubicBezTo>
                    <a:cubicBezTo>
                      <a:pt x="213" y="397"/>
                      <a:pt x="213" y="397"/>
                      <a:pt x="213" y="397"/>
                    </a:cubicBezTo>
                    <a:cubicBezTo>
                      <a:pt x="213" y="397"/>
                      <a:pt x="213" y="397"/>
                      <a:pt x="213" y="397"/>
                    </a:cubicBezTo>
                    <a:cubicBezTo>
                      <a:pt x="213" y="397"/>
                      <a:pt x="213" y="397"/>
                      <a:pt x="213" y="397"/>
                    </a:cubicBezTo>
                    <a:moveTo>
                      <a:pt x="406" y="0"/>
                    </a:moveTo>
                    <a:cubicBezTo>
                      <a:pt x="182" y="0"/>
                      <a:pt x="0" y="182"/>
                      <a:pt x="0" y="406"/>
                    </a:cubicBezTo>
                    <a:cubicBezTo>
                      <a:pt x="0" y="630"/>
                      <a:pt x="182" y="811"/>
                      <a:pt x="406" y="811"/>
                    </a:cubicBezTo>
                    <a:cubicBezTo>
                      <a:pt x="406" y="811"/>
                      <a:pt x="406" y="811"/>
                      <a:pt x="406" y="811"/>
                    </a:cubicBezTo>
                    <a:cubicBezTo>
                      <a:pt x="406" y="758"/>
                      <a:pt x="406" y="758"/>
                      <a:pt x="406" y="758"/>
                    </a:cubicBezTo>
                    <a:cubicBezTo>
                      <a:pt x="418" y="758"/>
                      <a:pt x="418" y="758"/>
                      <a:pt x="418" y="758"/>
                    </a:cubicBezTo>
                    <a:cubicBezTo>
                      <a:pt x="418" y="811"/>
                      <a:pt x="418" y="811"/>
                      <a:pt x="418" y="811"/>
                    </a:cubicBezTo>
                    <a:cubicBezTo>
                      <a:pt x="637" y="805"/>
                      <a:pt x="812" y="626"/>
                      <a:pt x="812" y="406"/>
                    </a:cubicBezTo>
                    <a:cubicBezTo>
                      <a:pt x="812" y="182"/>
                      <a:pt x="630" y="0"/>
                      <a:pt x="406" y="0"/>
                    </a:cubicBezTo>
                  </a:path>
                </a:pathLst>
              </a:custGeom>
              <a:solidFill>
                <a:schemeClr val="bg1">
                  <a:alpha val="66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a typeface="+mn-ea"/>
                  <a:cs typeface="+mn-cs"/>
                </a:endParaRPr>
              </a:p>
            </p:txBody>
          </p:sp>
          <p:sp>
            <p:nvSpPr>
              <p:cNvPr id="262" name="Freeform 261"/>
              <p:cNvSpPr>
                <a:spLocks/>
              </p:cNvSpPr>
              <p:nvPr/>
            </p:nvSpPr>
            <p:spPr bwMode="auto">
              <a:xfrm>
                <a:off x="10819889" y="1353989"/>
                <a:ext cx="559902" cy="705836"/>
              </a:xfrm>
              <a:custGeom>
                <a:avLst/>
                <a:gdLst>
                  <a:gd name="T0" fmla="*/ 398 w 398"/>
                  <a:gd name="T1" fmla="*/ 199 h 504"/>
                  <a:gd name="T2" fmla="*/ 199 w 398"/>
                  <a:gd name="T3" fmla="*/ 0 h 504"/>
                  <a:gd name="T4" fmla="*/ 0 w 398"/>
                  <a:gd name="T5" fmla="*/ 199 h 504"/>
                  <a:gd name="T6" fmla="*/ 60 w 398"/>
                  <a:gd name="T7" fmla="*/ 341 h 504"/>
                  <a:gd name="T8" fmla="*/ 60 w 398"/>
                  <a:gd name="T9" fmla="*/ 341 h 504"/>
                  <a:gd name="T10" fmla="*/ 122 w 398"/>
                  <a:gd name="T11" fmla="*/ 468 h 504"/>
                  <a:gd name="T12" fmla="*/ 195 w 398"/>
                  <a:gd name="T13" fmla="*/ 501 h 504"/>
                  <a:gd name="T14" fmla="*/ 196 w 398"/>
                  <a:gd name="T15" fmla="*/ 504 h 504"/>
                  <a:gd name="T16" fmla="*/ 199 w 398"/>
                  <a:gd name="T17" fmla="*/ 502 h 504"/>
                  <a:gd name="T18" fmla="*/ 202 w 398"/>
                  <a:gd name="T19" fmla="*/ 504 h 504"/>
                  <a:gd name="T20" fmla="*/ 203 w 398"/>
                  <a:gd name="T21" fmla="*/ 501 h 504"/>
                  <a:gd name="T22" fmla="*/ 276 w 398"/>
                  <a:gd name="T23" fmla="*/ 468 h 504"/>
                  <a:gd name="T24" fmla="*/ 336 w 398"/>
                  <a:gd name="T25" fmla="*/ 344 h 504"/>
                  <a:gd name="T26" fmla="*/ 398 w 398"/>
                  <a:gd name="T27" fmla="*/ 199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98" h="504">
                    <a:moveTo>
                      <a:pt x="398" y="199"/>
                    </a:moveTo>
                    <a:cubicBezTo>
                      <a:pt x="398" y="89"/>
                      <a:pt x="309" y="0"/>
                      <a:pt x="199" y="0"/>
                    </a:cubicBezTo>
                    <a:cubicBezTo>
                      <a:pt x="89" y="0"/>
                      <a:pt x="0" y="89"/>
                      <a:pt x="0" y="199"/>
                    </a:cubicBezTo>
                    <a:cubicBezTo>
                      <a:pt x="0" y="255"/>
                      <a:pt x="23" y="305"/>
                      <a:pt x="60" y="341"/>
                    </a:cubicBezTo>
                    <a:cubicBezTo>
                      <a:pt x="60" y="341"/>
                      <a:pt x="60" y="341"/>
                      <a:pt x="60" y="341"/>
                    </a:cubicBezTo>
                    <a:cubicBezTo>
                      <a:pt x="120" y="402"/>
                      <a:pt x="122" y="468"/>
                      <a:pt x="122" y="468"/>
                    </a:cubicBezTo>
                    <a:cubicBezTo>
                      <a:pt x="195" y="501"/>
                      <a:pt x="195" y="501"/>
                      <a:pt x="195" y="501"/>
                    </a:cubicBezTo>
                    <a:cubicBezTo>
                      <a:pt x="196" y="504"/>
                      <a:pt x="196" y="504"/>
                      <a:pt x="196" y="504"/>
                    </a:cubicBezTo>
                    <a:cubicBezTo>
                      <a:pt x="199" y="502"/>
                      <a:pt x="199" y="502"/>
                      <a:pt x="199" y="502"/>
                    </a:cubicBezTo>
                    <a:cubicBezTo>
                      <a:pt x="202" y="504"/>
                      <a:pt x="202" y="504"/>
                      <a:pt x="202" y="504"/>
                    </a:cubicBezTo>
                    <a:cubicBezTo>
                      <a:pt x="203" y="501"/>
                      <a:pt x="203" y="501"/>
                      <a:pt x="203" y="501"/>
                    </a:cubicBezTo>
                    <a:cubicBezTo>
                      <a:pt x="276" y="468"/>
                      <a:pt x="276" y="468"/>
                      <a:pt x="276" y="468"/>
                    </a:cubicBezTo>
                    <a:cubicBezTo>
                      <a:pt x="276" y="468"/>
                      <a:pt x="278" y="403"/>
                      <a:pt x="336" y="344"/>
                    </a:cubicBezTo>
                    <a:cubicBezTo>
                      <a:pt x="374" y="307"/>
                      <a:pt x="398" y="256"/>
                      <a:pt x="398" y="199"/>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a typeface="+mn-ea"/>
                  <a:cs typeface="+mn-cs"/>
                </a:endParaRPr>
              </a:p>
            </p:txBody>
          </p:sp>
          <p:sp>
            <p:nvSpPr>
              <p:cNvPr id="263" name="Rectangle 262"/>
              <p:cNvSpPr>
                <a:spLocks noChangeArrowheads="1"/>
              </p:cNvSpPr>
              <p:nvPr/>
            </p:nvSpPr>
            <p:spPr bwMode="auto">
              <a:xfrm>
                <a:off x="11049212" y="4105849"/>
                <a:ext cx="101258" cy="71477"/>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a typeface="+mn-ea"/>
                  <a:cs typeface="+mn-cs"/>
                </a:endParaRPr>
              </a:p>
            </p:txBody>
          </p:sp>
          <p:sp>
            <p:nvSpPr>
              <p:cNvPr id="264" name="Rectangle 263"/>
              <p:cNvSpPr>
                <a:spLocks noChangeArrowheads="1"/>
              </p:cNvSpPr>
              <p:nvPr/>
            </p:nvSpPr>
            <p:spPr bwMode="auto">
              <a:xfrm>
                <a:off x="11090907" y="2137257"/>
                <a:ext cx="17869" cy="1983483"/>
              </a:xfrm>
              <a:prstGeom prst="rect">
                <a:avLst/>
              </a:prstGeom>
              <a:solidFill>
                <a:schemeClr val="tx1"/>
              </a:solidFill>
              <a:ln w="9525">
                <a:solidFill>
                  <a:schemeClr val="tx1"/>
                </a:solidFill>
                <a:miter lim="800000"/>
                <a:headEnd/>
                <a:tailEnd/>
              </a:ln>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a typeface="+mn-ea"/>
                  <a:cs typeface="+mn-cs"/>
                </a:endParaRPr>
              </a:p>
            </p:txBody>
          </p:sp>
          <p:sp>
            <p:nvSpPr>
              <p:cNvPr id="265" name="Rectangle 264"/>
              <p:cNvSpPr>
                <a:spLocks noChangeArrowheads="1"/>
              </p:cNvSpPr>
              <p:nvPr/>
            </p:nvSpPr>
            <p:spPr bwMode="auto">
              <a:xfrm>
                <a:off x="11090907" y="2137257"/>
                <a:ext cx="17869" cy="19834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a typeface="+mn-ea"/>
                  <a:cs typeface="+mn-cs"/>
                </a:endParaRPr>
              </a:p>
            </p:txBody>
          </p:sp>
          <p:sp>
            <p:nvSpPr>
              <p:cNvPr id="266" name="Freeform 265"/>
              <p:cNvSpPr>
                <a:spLocks noEditPoints="1"/>
              </p:cNvSpPr>
              <p:nvPr/>
            </p:nvSpPr>
            <p:spPr bwMode="auto">
              <a:xfrm>
                <a:off x="10819889" y="1630963"/>
                <a:ext cx="431840" cy="372277"/>
              </a:xfrm>
              <a:custGeom>
                <a:avLst/>
                <a:gdLst>
                  <a:gd name="T0" fmla="*/ 276 w 308"/>
                  <a:gd name="T1" fmla="*/ 267 h 267"/>
                  <a:gd name="T2" fmla="*/ 276 w 308"/>
                  <a:gd name="T3" fmla="*/ 267 h 267"/>
                  <a:gd name="T4" fmla="*/ 276 w 308"/>
                  <a:gd name="T5" fmla="*/ 267 h 267"/>
                  <a:gd name="T6" fmla="*/ 276 w 308"/>
                  <a:gd name="T7" fmla="*/ 267 h 267"/>
                  <a:gd name="T8" fmla="*/ 308 w 308"/>
                  <a:gd name="T9" fmla="*/ 180 h 267"/>
                  <a:gd name="T10" fmla="*/ 276 w 308"/>
                  <a:gd name="T11" fmla="*/ 261 h 267"/>
                  <a:gd name="T12" fmla="*/ 308 w 308"/>
                  <a:gd name="T13" fmla="*/ 180 h 267"/>
                  <a:gd name="T14" fmla="*/ 308 w 308"/>
                  <a:gd name="T15" fmla="*/ 180 h 267"/>
                  <a:gd name="T16" fmla="*/ 308 w 308"/>
                  <a:gd name="T17" fmla="*/ 180 h 267"/>
                  <a:gd name="T18" fmla="*/ 0 w 308"/>
                  <a:gd name="T19" fmla="*/ 1 h 267"/>
                  <a:gd name="T20" fmla="*/ 0 w 308"/>
                  <a:gd name="T21" fmla="*/ 1 h 267"/>
                  <a:gd name="T22" fmla="*/ 0 w 308"/>
                  <a:gd name="T23" fmla="*/ 1 h 267"/>
                  <a:gd name="T24" fmla="*/ 0 w 308"/>
                  <a:gd name="T25" fmla="*/ 1 h 267"/>
                  <a:gd name="T26" fmla="*/ 0 w 308"/>
                  <a:gd name="T27" fmla="*/ 0 h 267"/>
                  <a:gd name="T28" fmla="*/ 0 w 308"/>
                  <a:gd name="T29" fmla="*/ 0 h 267"/>
                  <a:gd name="T30" fmla="*/ 0 w 308"/>
                  <a:gd name="T31" fmla="*/ 0 h 267"/>
                  <a:gd name="T32" fmla="*/ 0 w 308"/>
                  <a:gd name="T33" fmla="*/ 0 h 267"/>
                  <a:gd name="T34" fmla="*/ 0 w 308"/>
                  <a:gd name="T35" fmla="*/ 0 h 267"/>
                  <a:gd name="T36" fmla="*/ 0 w 308"/>
                  <a:gd name="T37" fmla="*/ 0 h 267"/>
                  <a:gd name="T38" fmla="*/ 0 w 308"/>
                  <a:gd name="T39" fmla="*/ 0 h 267"/>
                  <a:gd name="T40" fmla="*/ 0 w 308"/>
                  <a:gd name="T41" fmla="*/ 0 h 267"/>
                  <a:gd name="T42" fmla="*/ 0 w 308"/>
                  <a:gd name="T43" fmla="*/ 0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08" h="267">
                    <a:moveTo>
                      <a:pt x="276" y="267"/>
                    </a:moveTo>
                    <a:cubicBezTo>
                      <a:pt x="276" y="267"/>
                      <a:pt x="276" y="267"/>
                      <a:pt x="276" y="267"/>
                    </a:cubicBezTo>
                    <a:cubicBezTo>
                      <a:pt x="276" y="267"/>
                      <a:pt x="276" y="267"/>
                      <a:pt x="276" y="267"/>
                    </a:cubicBezTo>
                    <a:cubicBezTo>
                      <a:pt x="276" y="267"/>
                      <a:pt x="276" y="267"/>
                      <a:pt x="276" y="267"/>
                    </a:cubicBezTo>
                    <a:moveTo>
                      <a:pt x="308" y="180"/>
                    </a:moveTo>
                    <a:cubicBezTo>
                      <a:pt x="286" y="214"/>
                      <a:pt x="279" y="246"/>
                      <a:pt x="276" y="261"/>
                    </a:cubicBezTo>
                    <a:cubicBezTo>
                      <a:pt x="279" y="246"/>
                      <a:pt x="286" y="214"/>
                      <a:pt x="308" y="180"/>
                    </a:cubicBezTo>
                    <a:cubicBezTo>
                      <a:pt x="308" y="180"/>
                      <a:pt x="308" y="180"/>
                      <a:pt x="308" y="180"/>
                    </a:cubicBezTo>
                    <a:cubicBezTo>
                      <a:pt x="308" y="180"/>
                      <a:pt x="308" y="180"/>
                      <a:pt x="308" y="180"/>
                    </a:cubicBezTo>
                    <a:moveTo>
                      <a:pt x="0" y="1"/>
                    </a:moveTo>
                    <a:cubicBezTo>
                      <a:pt x="0" y="1"/>
                      <a:pt x="0" y="1"/>
                      <a:pt x="0" y="1"/>
                    </a:cubicBezTo>
                    <a:cubicBezTo>
                      <a:pt x="0" y="1"/>
                      <a:pt x="0" y="1"/>
                      <a:pt x="0" y="1"/>
                    </a:cubicBezTo>
                    <a:cubicBezTo>
                      <a:pt x="0" y="1"/>
                      <a:pt x="0" y="1"/>
                      <a:pt x="0" y="1"/>
                    </a:cubicBezTo>
                    <a:moveTo>
                      <a:pt x="0" y="0"/>
                    </a:moveTo>
                    <a:cubicBezTo>
                      <a:pt x="0" y="0"/>
                      <a:pt x="0" y="0"/>
                      <a:pt x="0" y="0"/>
                    </a:cubicBezTo>
                    <a:cubicBezTo>
                      <a:pt x="0" y="0"/>
                      <a:pt x="0" y="0"/>
                      <a:pt x="0" y="0"/>
                    </a:cubicBezTo>
                    <a:moveTo>
                      <a:pt x="0" y="0"/>
                    </a:moveTo>
                    <a:cubicBezTo>
                      <a:pt x="0" y="0"/>
                      <a:pt x="0" y="0"/>
                      <a:pt x="0" y="0"/>
                    </a:cubicBezTo>
                    <a:cubicBezTo>
                      <a:pt x="0" y="0"/>
                      <a:pt x="0" y="0"/>
                      <a:pt x="0" y="0"/>
                    </a:cubicBezTo>
                    <a:moveTo>
                      <a:pt x="0" y="0"/>
                    </a:moveTo>
                    <a:cubicBezTo>
                      <a:pt x="0" y="0"/>
                      <a:pt x="0" y="0"/>
                      <a:pt x="0" y="0"/>
                    </a:cubicBezTo>
                    <a:cubicBezTo>
                      <a:pt x="0" y="0"/>
                      <a:pt x="0" y="0"/>
                      <a:pt x="0" y="0"/>
                    </a:cubicBezTo>
                  </a:path>
                </a:pathLst>
              </a:custGeom>
              <a:solidFill>
                <a:srgbClr val="EA8C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a typeface="+mn-ea"/>
                  <a:cs typeface="+mn-cs"/>
                </a:endParaRPr>
              </a:p>
            </p:txBody>
          </p:sp>
          <p:sp>
            <p:nvSpPr>
              <p:cNvPr id="267" name="Freeform 266"/>
              <p:cNvSpPr>
                <a:spLocks/>
              </p:cNvSpPr>
              <p:nvPr/>
            </p:nvSpPr>
            <p:spPr bwMode="auto">
              <a:xfrm>
                <a:off x="10819889" y="1490987"/>
                <a:ext cx="431840" cy="518208"/>
              </a:xfrm>
              <a:custGeom>
                <a:avLst/>
                <a:gdLst>
                  <a:gd name="T0" fmla="*/ 28 w 308"/>
                  <a:gd name="T1" fmla="*/ 0 h 370"/>
                  <a:gd name="T2" fmla="*/ 0 w 308"/>
                  <a:gd name="T3" fmla="*/ 100 h 370"/>
                  <a:gd name="T4" fmla="*/ 0 w 308"/>
                  <a:gd name="T5" fmla="*/ 100 h 370"/>
                  <a:gd name="T6" fmla="*/ 0 w 308"/>
                  <a:gd name="T7" fmla="*/ 100 h 370"/>
                  <a:gd name="T8" fmla="*/ 0 w 308"/>
                  <a:gd name="T9" fmla="*/ 100 h 370"/>
                  <a:gd name="T10" fmla="*/ 0 w 308"/>
                  <a:gd name="T11" fmla="*/ 100 h 370"/>
                  <a:gd name="T12" fmla="*/ 0 w 308"/>
                  <a:gd name="T13" fmla="*/ 100 h 370"/>
                  <a:gd name="T14" fmla="*/ 0 w 308"/>
                  <a:gd name="T15" fmla="*/ 101 h 370"/>
                  <a:gd name="T16" fmla="*/ 0 w 308"/>
                  <a:gd name="T17" fmla="*/ 101 h 370"/>
                  <a:gd name="T18" fmla="*/ 60 w 308"/>
                  <a:gd name="T19" fmla="*/ 243 h 370"/>
                  <a:gd name="T20" fmla="*/ 60 w 308"/>
                  <a:gd name="T21" fmla="*/ 243 h 370"/>
                  <a:gd name="T22" fmla="*/ 60 w 308"/>
                  <a:gd name="T23" fmla="*/ 243 h 370"/>
                  <a:gd name="T24" fmla="*/ 60 w 308"/>
                  <a:gd name="T25" fmla="*/ 243 h 370"/>
                  <a:gd name="T26" fmla="*/ 122 w 308"/>
                  <a:gd name="T27" fmla="*/ 370 h 370"/>
                  <a:gd name="T28" fmla="*/ 276 w 308"/>
                  <a:gd name="T29" fmla="*/ 367 h 370"/>
                  <a:gd name="T30" fmla="*/ 276 w 308"/>
                  <a:gd name="T31" fmla="*/ 367 h 370"/>
                  <a:gd name="T32" fmla="*/ 276 w 308"/>
                  <a:gd name="T33" fmla="*/ 367 h 370"/>
                  <a:gd name="T34" fmla="*/ 276 w 308"/>
                  <a:gd name="T35" fmla="*/ 361 h 370"/>
                  <a:gd name="T36" fmla="*/ 308 w 308"/>
                  <a:gd name="T37" fmla="*/ 280 h 370"/>
                  <a:gd name="T38" fmla="*/ 28 w 308"/>
                  <a:gd name="T39" fmla="*/ 0 h 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08" h="370">
                    <a:moveTo>
                      <a:pt x="28" y="0"/>
                    </a:moveTo>
                    <a:cubicBezTo>
                      <a:pt x="10" y="29"/>
                      <a:pt x="0" y="63"/>
                      <a:pt x="0" y="100"/>
                    </a:cubicBezTo>
                    <a:cubicBezTo>
                      <a:pt x="0" y="100"/>
                      <a:pt x="0" y="100"/>
                      <a:pt x="0" y="100"/>
                    </a:cubicBezTo>
                    <a:cubicBezTo>
                      <a:pt x="0" y="100"/>
                      <a:pt x="0" y="100"/>
                      <a:pt x="0" y="100"/>
                    </a:cubicBezTo>
                    <a:cubicBezTo>
                      <a:pt x="0" y="100"/>
                      <a:pt x="0" y="100"/>
                      <a:pt x="0" y="100"/>
                    </a:cubicBezTo>
                    <a:cubicBezTo>
                      <a:pt x="0" y="100"/>
                      <a:pt x="0" y="100"/>
                      <a:pt x="0" y="100"/>
                    </a:cubicBezTo>
                    <a:cubicBezTo>
                      <a:pt x="0" y="100"/>
                      <a:pt x="0" y="100"/>
                      <a:pt x="0" y="100"/>
                    </a:cubicBezTo>
                    <a:cubicBezTo>
                      <a:pt x="0" y="101"/>
                      <a:pt x="0" y="101"/>
                      <a:pt x="0" y="101"/>
                    </a:cubicBezTo>
                    <a:cubicBezTo>
                      <a:pt x="0" y="101"/>
                      <a:pt x="0" y="101"/>
                      <a:pt x="0" y="101"/>
                    </a:cubicBezTo>
                    <a:cubicBezTo>
                      <a:pt x="0" y="157"/>
                      <a:pt x="23" y="207"/>
                      <a:pt x="60" y="243"/>
                    </a:cubicBezTo>
                    <a:cubicBezTo>
                      <a:pt x="60" y="243"/>
                      <a:pt x="60" y="243"/>
                      <a:pt x="60" y="243"/>
                    </a:cubicBezTo>
                    <a:cubicBezTo>
                      <a:pt x="60" y="243"/>
                      <a:pt x="60" y="243"/>
                      <a:pt x="60" y="243"/>
                    </a:cubicBezTo>
                    <a:cubicBezTo>
                      <a:pt x="60" y="243"/>
                      <a:pt x="60" y="243"/>
                      <a:pt x="60" y="243"/>
                    </a:cubicBezTo>
                    <a:cubicBezTo>
                      <a:pt x="120" y="304"/>
                      <a:pt x="122" y="370"/>
                      <a:pt x="122" y="370"/>
                    </a:cubicBezTo>
                    <a:cubicBezTo>
                      <a:pt x="276" y="367"/>
                      <a:pt x="276" y="367"/>
                      <a:pt x="276" y="367"/>
                    </a:cubicBezTo>
                    <a:cubicBezTo>
                      <a:pt x="276" y="367"/>
                      <a:pt x="276" y="367"/>
                      <a:pt x="276" y="367"/>
                    </a:cubicBezTo>
                    <a:cubicBezTo>
                      <a:pt x="276" y="367"/>
                      <a:pt x="276" y="367"/>
                      <a:pt x="276" y="367"/>
                    </a:cubicBezTo>
                    <a:cubicBezTo>
                      <a:pt x="276" y="366"/>
                      <a:pt x="276" y="364"/>
                      <a:pt x="276" y="361"/>
                    </a:cubicBezTo>
                    <a:cubicBezTo>
                      <a:pt x="279" y="346"/>
                      <a:pt x="286" y="314"/>
                      <a:pt x="308" y="280"/>
                    </a:cubicBezTo>
                    <a:cubicBezTo>
                      <a:pt x="28" y="0"/>
                      <a:pt x="28" y="0"/>
                      <a:pt x="28" y="0"/>
                    </a:cubicBezTo>
                  </a:path>
                </a:pathLst>
              </a:cu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a typeface="+mn-ea"/>
                  <a:cs typeface="+mn-cs"/>
                </a:endParaRPr>
              </a:p>
            </p:txBody>
          </p:sp>
          <p:sp>
            <p:nvSpPr>
              <p:cNvPr id="268" name="Rectangle 267"/>
              <p:cNvSpPr>
                <a:spLocks noChangeArrowheads="1"/>
              </p:cNvSpPr>
              <p:nvPr/>
            </p:nvSpPr>
            <p:spPr bwMode="auto">
              <a:xfrm>
                <a:off x="10992625" y="2003237"/>
                <a:ext cx="214431" cy="134020"/>
              </a:xfrm>
              <a:prstGeom prst="rect">
                <a:avLst/>
              </a:prstGeom>
              <a:solidFill>
                <a:schemeClr val="bg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a typeface="+mn-ea"/>
                  <a:cs typeface="+mn-cs"/>
                </a:endParaRPr>
              </a:p>
            </p:txBody>
          </p:sp>
          <p:sp>
            <p:nvSpPr>
              <p:cNvPr id="269" name="Freeform 268"/>
              <p:cNvSpPr>
                <a:spLocks/>
              </p:cNvSpPr>
              <p:nvPr/>
            </p:nvSpPr>
            <p:spPr bwMode="auto">
              <a:xfrm>
                <a:off x="10807976" y="3781226"/>
                <a:ext cx="1054285" cy="857723"/>
              </a:xfrm>
              <a:custGeom>
                <a:avLst/>
                <a:gdLst>
                  <a:gd name="T0" fmla="*/ 129 w 752"/>
                  <a:gd name="T1" fmla="*/ 552 h 614"/>
                  <a:gd name="T2" fmla="*/ 1 w 752"/>
                  <a:gd name="T3" fmla="*/ 312 h 614"/>
                  <a:gd name="T4" fmla="*/ 98 w 752"/>
                  <a:gd name="T5" fmla="*/ 121 h 614"/>
                  <a:gd name="T6" fmla="*/ 195 w 752"/>
                  <a:gd name="T7" fmla="*/ 133 h 614"/>
                  <a:gd name="T8" fmla="*/ 171 w 752"/>
                  <a:gd name="T9" fmla="*/ 209 h 614"/>
                  <a:gd name="T10" fmla="*/ 133 w 752"/>
                  <a:gd name="T11" fmla="*/ 285 h 614"/>
                  <a:gd name="T12" fmla="*/ 229 w 752"/>
                  <a:gd name="T13" fmla="*/ 354 h 614"/>
                  <a:gd name="T14" fmla="*/ 319 w 752"/>
                  <a:gd name="T15" fmla="*/ 243 h 614"/>
                  <a:gd name="T16" fmla="*/ 269 w 752"/>
                  <a:gd name="T17" fmla="*/ 174 h 614"/>
                  <a:gd name="T18" fmla="*/ 210 w 752"/>
                  <a:gd name="T19" fmla="*/ 114 h 614"/>
                  <a:gd name="T20" fmla="*/ 330 w 752"/>
                  <a:gd name="T21" fmla="*/ 56 h 614"/>
                  <a:gd name="T22" fmla="*/ 425 w 752"/>
                  <a:gd name="T23" fmla="*/ 270 h 614"/>
                  <a:gd name="T24" fmla="*/ 566 w 752"/>
                  <a:gd name="T25" fmla="*/ 22 h 614"/>
                  <a:gd name="T26" fmla="*/ 501 w 752"/>
                  <a:gd name="T27" fmla="*/ 298 h 614"/>
                  <a:gd name="T28" fmla="*/ 662 w 752"/>
                  <a:gd name="T29" fmla="*/ 192 h 614"/>
                  <a:gd name="T30" fmla="*/ 413 w 752"/>
                  <a:gd name="T31" fmla="*/ 552 h 614"/>
                  <a:gd name="T32" fmla="*/ 278 w 752"/>
                  <a:gd name="T33" fmla="*/ 614 h 614"/>
                  <a:gd name="T34" fmla="*/ 129 w 752"/>
                  <a:gd name="T35" fmla="*/ 552 h 6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2" h="614">
                    <a:moveTo>
                      <a:pt x="129" y="552"/>
                    </a:moveTo>
                    <a:cubicBezTo>
                      <a:pt x="129" y="552"/>
                      <a:pt x="1" y="412"/>
                      <a:pt x="1" y="312"/>
                    </a:cubicBezTo>
                    <a:cubicBezTo>
                      <a:pt x="1" y="312"/>
                      <a:pt x="0" y="198"/>
                      <a:pt x="98" y="121"/>
                    </a:cubicBezTo>
                    <a:cubicBezTo>
                      <a:pt x="98" y="121"/>
                      <a:pt x="157" y="76"/>
                      <a:pt x="195" y="133"/>
                    </a:cubicBezTo>
                    <a:cubicBezTo>
                      <a:pt x="195" y="133"/>
                      <a:pt x="223" y="166"/>
                      <a:pt x="171" y="209"/>
                    </a:cubicBezTo>
                    <a:cubicBezTo>
                      <a:pt x="171" y="209"/>
                      <a:pt x="133" y="237"/>
                      <a:pt x="133" y="285"/>
                    </a:cubicBezTo>
                    <a:cubicBezTo>
                      <a:pt x="133" y="285"/>
                      <a:pt x="133" y="361"/>
                      <a:pt x="229" y="354"/>
                    </a:cubicBezTo>
                    <a:cubicBezTo>
                      <a:pt x="229" y="354"/>
                      <a:pt x="327" y="353"/>
                      <a:pt x="319" y="243"/>
                    </a:cubicBezTo>
                    <a:cubicBezTo>
                      <a:pt x="319" y="243"/>
                      <a:pt x="320" y="192"/>
                      <a:pt x="269" y="174"/>
                    </a:cubicBezTo>
                    <a:cubicBezTo>
                      <a:pt x="269" y="174"/>
                      <a:pt x="210" y="167"/>
                      <a:pt x="210" y="114"/>
                    </a:cubicBezTo>
                    <a:cubicBezTo>
                      <a:pt x="210" y="114"/>
                      <a:pt x="206" y="49"/>
                      <a:pt x="330" y="56"/>
                    </a:cubicBezTo>
                    <a:cubicBezTo>
                      <a:pt x="330" y="56"/>
                      <a:pt x="450" y="56"/>
                      <a:pt x="425" y="270"/>
                    </a:cubicBezTo>
                    <a:cubicBezTo>
                      <a:pt x="425" y="270"/>
                      <a:pt x="482" y="0"/>
                      <a:pt x="566" y="22"/>
                    </a:cubicBezTo>
                    <a:cubicBezTo>
                      <a:pt x="566" y="22"/>
                      <a:pt x="639" y="43"/>
                      <a:pt x="501" y="298"/>
                    </a:cubicBezTo>
                    <a:cubicBezTo>
                      <a:pt x="501" y="298"/>
                      <a:pt x="617" y="133"/>
                      <a:pt x="662" y="192"/>
                    </a:cubicBezTo>
                    <a:cubicBezTo>
                      <a:pt x="662" y="192"/>
                      <a:pt x="752" y="281"/>
                      <a:pt x="413" y="552"/>
                    </a:cubicBezTo>
                    <a:cubicBezTo>
                      <a:pt x="278" y="614"/>
                      <a:pt x="278" y="614"/>
                      <a:pt x="278" y="614"/>
                    </a:cubicBezTo>
                    <a:cubicBezTo>
                      <a:pt x="129" y="552"/>
                      <a:pt x="129" y="552"/>
                      <a:pt x="129" y="552"/>
                    </a:cubicBezTo>
                  </a:path>
                </a:pathLst>
              </a:custGeom>
              <a:solidFill>
                <a:srgbClr val="FFFFFF">
                  <a:lumMod val="8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a typeface="+mn-ea"/>
                  <a:cs typeface="+mn-cs"/>
                </a:endParaRPr>
              </a:p>
            </p:txBody>
          </p:sp>
          <p:sp>
            <p:nvSpPr>
              <p:cNvPr id="270" name="Freeform 269"/>
              <p:cNvSpPr>
                <a:spLocks noEditPoints="1"/>
              </p:cNvSpPr>
              <p:nvPr/>
            </p:nvSpPr>
            <p:spPr bwMode="auto">
              <a:xfrm>
                <a:off x="10807976" y="3927157"/>
                <a:ext cx="330582" cy="351428"/>
              </a:xfrm>
              <a:custGeom>
                <a:avLst/>
                <a:gdLst>
                  <a:gd name="T0" fmla="*/ 216 w 236"/>
                  <a:gd name="T1" fmla="*/ 251 h 251"/>
                  <a:gd name="T2" fmla="*/ 216 w 236"/>
                  <a:gd name="T3" fmla="*/ 251 h 251"/>
                  <a:gd name="T4" fmla="*/ 216 w 236"/>
                  <a:gd name="T5" fmla="*/ 251 h 251"/>
                  <a:gd name="T6" fmla="*/ 216 w 236"/>
                  <a:gd name="T7" fmla="*/ 251 h 251"/>
                  <a:gd name="T8" fmla="*/ 227 w 236"/>
                  <a:gd name="T9" fmla="*/ 250 h 251"/>
                  <a:gd name="T10" fmla="*/ 216 w 236"/>
                  <a:gd name="T11" fmla="*/ 251 h 251"/>
                  <a:gd name="T12" fmla="*/ 227 w 236"/>
                  <a:gd name="T13" fmla="*/ 250 h 251"/>
                  <a:gd name="T14" fmla="*/ 236 w 236"/>
                  <a:gd name="T15" fmla="*/ 249 h 251"/>
                  <a:gd name="T16" fmla="*/ 228 w 236"/>
                  <a:gd name="T17" fmla="*/ 250 h 251"/>
                  <a:gd name="T18" fmla="*/ 228 w 236"/>
                  <a:gd name="T19" fmla="*/ 250 h 251"/>
                  <a:gd name="T20" fmla="*/ 228 w 236"/>
                  <a:gd name="T21" fmla="*/ 250 h 251"/>
                  <a:gd name="T22" fmla="*/ 236 w 236"/>
                  <a:gd name="T23" fmla="*/ 249 h 251"/>
                  <a:gd name="T24" fmla="*/ 236 w 236"/>
                  <a:gd name="T25" fmla="*/ 249 h 251"/>
                  <a:gd name="T26" fmla="*/ 194 w 236"/>
                  <a:gd name="T27" fmla="*/ 29 h 251"/>
                  <a:gd name="T28" fmla="*/ 194 w 236"/>
                  <a:gd name="T29" fmla="*/ 29 h 251"/>
                  <a:gd name="T30" fmla="*/ 202 w 236"/>
                  <a:gd name="T31" fmla="*/ 53 h 251"/>
                  <a:gd name="T32" fmla="*/ 194 w 236"/>
                  <a:gd name="T33" fmla="*/ 29 h 251"/>
                  <a:gd name="T34" fmla="*/ 194 w 236"/>
                  <a:gd name="T35" fmla="*/ 29 h 251"/>
                  <a:gd name="T36" fmla="*/ 145 w 236"/>
                  <a:gd name="T37" fmla="*/ 0 h 251"/>
                  <a:gd name="T38" fmla="*/ 97 w 236"/>
                  <a:gd name="T39" fmla="*/ 17 h 251"/>
                  <a:gd name="T40" fmla="*/ 0 w 236"/>
                  <a:gd name="T41" fmla="*/ 208 h 251"/>
                  <a:gd name="T42" fmla="*/ 97 w 236"/>
                  <a:gd name="T43" fmla="*/ 17 h 251"/>
                  <a:gd name="T44" fmla="*/ 145 w 236"/>
                  <a:gd name="T45" fmla="*/ 0 h 251"/>
                  <a:gd name="T46" fmla="*/ 145 w 236"/>
                  <a:gd name="T47" fmla="*/ 0 h 251"/>
                  <a:gd name="T48" fmla="*/ 145 w 236"/>
                  <a:gd name="T49" fmla="*/ 0 h 251"/>
                  <a:gd name="T50" fmla="*/ 145 w 236"/>
                  <a:gd name="T51" fmla="*/ 0 h 251"/>
                  <a:gd name="T52" fmla="*/ 145 w 236"/>
                  <a:gd name="T53" fmla="*/ 0 h 2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36" h="251">
                    <a:moveTo>
                      <a:pt x="216" y="251"/>
                    </a:moveTo>
                    <a:cubicBezTo>
                      <a:pt x="216" y="251"/>
                      <a:pt x="216" y="251"/>
                      <a:pt x="216" y="251"/>
                    </a:cubicBezTo>
                    <a:cubicBezTo>
                      <a:pt x="216" y="251"/>
                      <a:pt x="216" y="251"/>
                      <a:pt x="216" y="251"/>
                    </a:cubicBezTo>
                    <a:cubicBezTo>
                      <a:pt x="216" y="251"/>
                      <a:pt x="216" y="251"/>
                      <a:pt x="216" y="251"/>
                    </a:cubicBezTo>
                    <a:moveTo>
                      <a:pt x="227" y="250"/>
                    </a:moveTo>
                    <a:cubicBezTo>
                      <a:pt x="223" y="250"/>
                      <a:pt x="219" y="251"/>
                      <a:pt x="216" y="251"/>
                    </a:cubicBezTo>
                    <a:cubicBezTo>
                      <a:pt x="219" y="251"/>
                      <a:pt x="223" y="250"/>
                      <a:pt x="227" y="250"/>
                    </a:cubicBezTo>
                    <a:moveTo>
                      <a:pt x="236" y="249"/>
                    </a:moveTo>
                    <a:cubicBezTo>
                      <a:pt x="231" y="250"/>
                      <a:pt x="228" y="250"/>
                      <a:pt x="228" y="250"/>
                    </a:cubicBezTo>
                    <a:cubicBezTo>
                      <a:pt x="228" y="250"/>
                      <a:pt x="228" y="250"/>
                      <a:pt x="228" y="250"/>
                    </a:cubicBezTo>
                    <a:cubicBezTo>
                      <a:pt x="228" y="250"/>
                      <a:pt x="228" y="250"/>
                      <a:pt x="228" y="250"/>
                    </a:cubicBezTo>
                    <a:cubicBezTo>
                      <a:pt x="228" y="250"/>
                      <a:pt x="231" y="250"/>
                      <a:pt x="236" y="249"/>
                    </a:cubicBezTo>
                    <a:cubicBezTo>
                      <a:pt x="236" y="249"/>
                      <a:pt x="236" y="249"/>
                      <a:pt x="236" y="249"/>
                    </a:cubicBezTo>
                    <a:moveTo>
                      <a:pt x="194" y="29"/>
                    </a:moveTo>
                    <a:cubicBezTo>
                      <a:pt x="194" y="29"/>
                      <a:pt x="194" y="29"/>
                      <a:pt x="194" y="29"/>
                    </a:cubicBezTo>
                    <a:cubicBezTo>
                      <a:pt x="194" y="29"/>
                      <a:pt x="202" y="38"/>
                      <a:pt x="202" y="53"/>
                    </a:cubicBezTo>
                    <a:cubicBezTo>
                      <a:pt x="202" y="38"/>
                      <a:pt x="194" y="29"/>
                      <a:pt x="194" y="29"/>
                    </a:cubicBezTo>
                    <a:cubicBezTo>
                      <a:pt x="194" y="29"/>
                      <a:pt x="194" y="29"/>
                      <a:pt x="194" y="29"/>
                    </a:cubicBezTo>
                    <a:moveTo>
                      <a:pt x="145" y="0"/>
                    </a:moveTo>
                    <a:cubicBezTo>
                      <a:pt x="119" y="0"/>
                      <a:pt x="97" y="17"/>
                      <a:pt x="97" y="17"/>
                    </a:cubicBezTo>
                    <a:cubicBezTo>
                      <a:pt x="1" y="92"/>
                      <a:pt x="0" y="202"/>
                      <a:pt x="0" y="208"/>
                    </a:cubicBezTo>
                    <a:cubicBezTo>
                      <a:pt x="0" y="202"/>
                      <a:pt x="1" y="92"/>
                      <a:pt x="97" y="17"/>
                    </a:cubicBezTo>
                    <a:cubicBezTo>
                      <a:pt x="97" y="17"/>
                      <a:pt x="119" y="0"/>
                      <a:pt x="145" y="0"/>
                    </a:cubicBezTo>
                    <a:moveTo>
                      <a:pt x="145" y="0"/>
                    </a:moveTo>
                    <a:cubicBezTo>
                      <a:pt x="145" y="0"/>
                      <a:pt x="145" y="0"/>
                      <a:pt x="145" y="0"/>
                    </a:cubicBezTo>
                    <a:cubicBezTo>
                      <a:pt x="145" y="0"/>
                      <a:pt x="145" y="0"/>
                      <a:pt x="145" y="0"/>
                    </a:cubicBezTo>
                    <a:cubicBezTo>
                      <a:pt x="145" y="0"/>
                      <a:pt x="145" y="0"/>
                      <a:pt x="145" y="0"/>
                    </a:cubicBezTo>
                  </a:path>
                </a:pathLst>
              </a:custGeom>
              <a:solidFill>
                <a:srgbClr val="E000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a typeface="+mn-ea"/>
                  <a:cs typeface="+mn-cs"/>
                </a:endParaRPr>
              </a:p>
            </p:txBody>
          </p:sp>
          <p:sp>
            <p:nvSpPr>
              <p:cNvPr id="271" name="Freeform 270"/>
              <p:cNvSpPr>
                <a:spLocks/>
              </p:cNvSpPr>
              <p:nvPr/>
            </p:nvSpPr>
            <p:spPr bwMode="auto">
              <a:xfrm>
                <a:off x="10807976" y="3927157"/>
                <a:ext cx="419927" cy="705836"/>
              </a:xfrm>
              <a:custGeom>
                <a:avLst/>
                <a:gdLst>
                  <a:gd name="T0" fmla="*/ 145 w 300"/>
                  <a:gd name="T1" fmla="*/ 0 h 504"/>
                  <a:gd name="T2" fmla="*/ 145 w 300"/>
                  <a:gd name="T3" fmla="*/ 0 h 504"/>
                  <a:gd name="T4" fmla="*/ 97 w 300"/>
                  <a:gd name="T5" fmla="*/ 17 h 504"/>
                  <a:gd name="T6" fmla="*/ 0 w 300"/>
                  <a:gd name="T7" fmla="*/ 208 h 504"/>
                  <a:gd name="T8" fmla="*/ 0 w 300"/>
                  <a:gd name="T9" fmla="*/ 208 h 504"/>
                  <a:gd name="T10" fmla="*/ 128 w 300"/>
                  <a:gd name="T11" fmla="*/ 448 h 504"/>
                  <a:gd name="T12" fmla="*/ 197 w 300"/>
                  <a:gd name="T13" fmla="*/ 477 h 504"/>
                  <a:gd name="T14" fmla="*/ 265 w 300"/>
                  <a:gd name="T15" fmla="*/ 504 h 504"/>
                  <a:gd name="T16" fmla="*/ 299 w 300"/>
                  <a:gd name="T17" fmla="*/ 450 h 504"/>
                  <a:gd name="T18" fmla="*/ 299 w 300"/>
                  <a:gd name="T19" fmla="*/ 449 h 504"/>
                  <a:gd name="T20" fmla="*/ 299 w 300"/>
                  <a:gd name="T21" fmla="*/ 449 h 504"/>
                  <a:gd name="T22" fmla="*/ 299 w 300"/>
                  <a:gd name="T23" fmla="*/ 449 h 504"/>
                  <a:gd name="T24" fmla="*/ 299 w 300"/>
                  <a:gd name="T25" fmla="*/ 448 h 504"/>
                  <a:gd name="T26" fmla="*/ 237 w 300"/>
                  <a:gd name="T27" fmla="*/ 260 h 504"/>
                  <a:gd name="T28" fmla="*/ 236 w 300"/>
                  <a:gd name="T29" fmla="*/ 249 h 504"/>
                  <a:gd name="T30" fmla="*/ 228 w 300"/>
                  <a:gd name="T31" fmla="*/ 250 h 504"/>
                  <a:gd name="T32" fmla="*/ 228 w 300"/>
                  <a:gd name="T33" fmla="*/ 250 h 504"/>
                  <a:gd name="T34" fmla="*/ 227 w 300"/>
                  <a:gd name="T35" fmla="*/ 250 h 504"/>
                  <a:gd name="T36" fmla="*/ 216 w 300"/>
                  <a:gd name="T37" fmla="*/ 251 h 504"/>
                  <a:gd name="T38" fmla="*/ 216 w 300"/>
                  <a:gd name="T39" fmla="*/ 251 h 504"/>
                  <a:gd name="T40" fmla="*/ 216 w 300"/>
                  <a:gd name="T41" fmla="*/ 251 h 504"/>
                  <a:gd name="T42" fmla="*/ 216 w 300"/>
                  <a:gd name="T43" fmla="*/ 251 h 504"/>
                  <a:gd name="T44" fmla="*/ 216 w 300"/>
                  <a:gd name="T45" fmla="*/ 251 h 504"/>
                  <a:gd name="T46" fmla="*/ 132 w 300"/>
                  <a:gd name="T47" fmla="*/ 181 h 504"/>
                  <a:gd name="T48" fmla="*/ 132 w 300"/>
                  <a:gd name="T49" fmla="*/ 181 h 504"/>
                  <a:gd name="T50" fmla="*/ 132 w 300"/>
                  <a:gd name="T51" fmla="*/ 181 h 504"/>
                  <a:gd name="T52" fmla="*/ 132 w 300"/>
                  <a:gd name="T53" fmla="*/ 181 h 504"/>
                  <a:gd name="T54" fmla="*/ 170 w 300"/>
                  <a:gd name="T55" fmla="*/ 105 h 504"/>
                  <a:gd name="T56" fmla="*/ 202 w 300"/>
                  <a:gd name="T57" fmla="*/ 53 h 504"/>
                  <a:gd name="T58" fmla="*/ 194 w 300"/>
                  <a:gd name="T59" fmla="*/ 29 h 504"/>
                  <a:gd name="T60" fmla="*/ 194 w 300"/>
                  <a:gd name="T61" fmla="*/ 29 h 504"/>
                  <a:gd name="T62" fmla="*/ 145 w 300"/>
                  <a:gd name="T63" fmla="*/ 0 h 504"/>
                  <a:gd name="T64" fmla="*/ 145 w 300"/>
                  <a:gd name="T65" fmla="*/ 0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00" h="504">
                    <a:moveTo>
                      <a:pt x="145" y="0"/>
                    </a:moveTo>
                    <a:cubicBezTo>
                      <a:pt x="145" y="0"/>
                      <a:pt x="145" y="0"/>
                      <a:pt x="145" y="0"/>
                    </a:cubicBezTo>
                    <a:cubicBezTo>
                      <a:pt x="119" y="0"/>
                      <a:pt x="97" y="17"/>
                      <a:pt x="97" y="17"/>
                    </a:cubicBezTo>
                    <a:cubicBezTo>
                      <a:pt x="1" y="92"/>
                      <a:pt x="0" y="202"/>
                      <a:pt x="0" y="208"/>
                    </a:cubicBezTo>
                    <a:cubicBezTo>
                      <a:pt x="0" y="208"/>
                      <a:pt x="0" y="208"/>
                      <a:pt x="0" y="208"/>
                    </a:cubicBezTo>
                    <a:cubicBezTo>
                      <a:pt x="0" y="308"/>
                      <a:pt x="128" y="448"/>
                      <a:pt x="128" y="448"/>
                    </a:cubicBezTo>
                    <a:cubicBezTo>
                      <a:pt x="197" y="477"/>
                      <a:pt x="197" y="477"/>
                      <a:pt x="197" y="477"/>
                    </a:cubicBezTo>
                    <a:cubicBezTo>
                      <a:pt x="265" y="504"/>
                      <a:pt x="265" y="504"/>
                      <a:pt x="265" y="504"/>
                    </a:cubicBezTo>
                    <a:cubicBezTo>
                      <a:pt x="299" y="450"/>
                      <a:pt x="299" y="450"/>
                      <a:pt x="299" y="450"/>
                    </a:cubicBezTo>
                    <a:cubicBezTo>
                      <a:pt x="300" y="449"/>
                      <a:pt x="300" y="449"/>
                      <a:pt x="299" y="449"/>
                    </a:cubicBezTo>
                    <a:cubicBezTo>
                      <a:pt x="299" y="449"/>
                      <a:pt x="299" y="449"/>
                      <a:pt x="299" y="449"/>
                    </a:cubicBezTo>
                    <a:cubicBezTo>
                      <a:pt x="299" y="449"/>
                      <a:pt x="299" y="449"/>
                      <a:pt x="299" y="449"/>
                    </a:cubicBezTo>
                    <a:cubicBezTo>
                      <a:pt x="298" y="449"/>
                      <a:pt x="298" y="449"/>
                      <a:pt x="299" y="448"/>
                    </a:cubicBezTo>
                    <a:cubicBezTo>
                      <a:pt x="237" y="260"/>
                      <a:pt x="237" y="260"/>
                      <a:pt x="237" y="260"/>
                    </a:cubicBezTo>
                    <a:cubicBezTo>
                      <a:pt x="236" y="249"/>
                      <a:pt x="236" y="249"/>
                      <a:pt x="236" y="249"/>
                    </a:cubicBezTo>
                    <a:cubicBezTo>
                      <a:pt x="231" y="250"/>
                      <a:pt x="228" y="250"/>
                      <a:pt x="228" y="250"/>
                    </a:cubicBezTo>
                    <a:cubicBezTo>
                      <a:pt x="228" y="250"/>
                      <a:pt x="228" y="250"/>
                      <a:pt x="228" y="250"/>
                    </a:cubicBezTo>
                    <a:cubicBezTo>
                      <a:pt x="228" y="250"/>
                      <a:pt x="228" y="250"/>
                      <a:pt x="227" y="250"/>
                    </a:cubicBezTo>
                    <a:cubicBezTo>
                      <a:pt x="223" y="250"/>
                      <a:pt x="219" y="251"/>
                      <a:pt x="216" y="251"/>
                    </a:cubicBezTo>
                    <a:cubicBezTo>
                      <a:pt x="216" y="251"/>
                      <a:pt x="216" y="251"/>
                      <a:pt x="216" y="251"/>
                    </a:cubicBezTo>
                    <a:cubicBezTo>
                      <a:pt x="216" y="251"/>
                      <a:pt x="216" y="251"/>
                      <a:pt x="216" y="251"/>
                    </a:cubicBezTo>
                    <a:cubicBezTo>
                      <a:pt x="216" y="251"/>
                      <a:pt x="216" y="251"/>
                      <a:pt x="216" y="251"/>
                    </a:cubicBezTo>
                    <a:cubicBezTo>
                      <a:pt x="216" y="251"/>
                      <a:pt x="216" y="251"/>
                      <a:pt x="216" y="251"/>
                    </a:cubicBezTo>
                    <a:cubicBezTo>
                      <a:pt x="132" y="251"/>
                      <a:pt x="132" y="181"/>
                      <a:pt x="132" y="181"/>
                    </a:cubicBezTo>
                    <a:cubicBezTo>
                      <a:pt x="132" y="181"/>
                      <a:pt x="132" y="181"/>
                      <a:pt x="132" y="181"/>
                    </a:cubicBezTo>
                    <a:cubicBezTo>
                      <a:pt x="132" y="181"/>
                      <a:pt x="132" y="181"/>
                      <a:pt x="132" y="181"/>
                    </a:cubicBezTo>
                    <a:cubicBezTo>
                      <a:pt x="132" y="181"/>
                      <a:pt x="132" y="181"/>
                      <a:pt x="132" y="181"/>
                    </a:cubicBezTo>
                    <a:cubicBezTo>
                      <a:pt x="132" y="133"/>
                      <a:pt x="170" y="105"/>
                      <a:pt x="170" y="105"/>
                    </a:cubicBezTo>
                    <a:cubicBezTo>
                      <a:pt x="195" y="85"/>
                      <a:pt x="202" y="66"/>
                      <a:pt x="202" y="53"/>
                    </a:cubicBezTo>
                    <a:cubicBezTo>
                      <a:pt x="202" y="38"/>
                      <a:pt x="194" y="29"/>
                      <a:pt x="194" y="29"/>
                    </a:cubicBezTo>
                    <a:cubicBezTo>
                      <a:pt x="194" y="29"/>
                      <a:pt x="194" y="29"/>
                      <a:pt x="194" y="29"/>
                    </a:cubicBezTo>
                    <a:cubicBezTo>
                      <a:pt x="179" y="7"/>
                      <a:pt x="161" y="0"/>
                      <a:pt x="145" y="0"/>
                    </a:cubicBezTo>
                    <a:cubicBezTo>
                      <a:pt x="145" y="0"/>
                      <a:pt x="145" y="0"/>
                      <a:pt x="145" y="0"/>
                    </a:cubicBezTo>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a typeface="+mn-ea"/>
                  <a:cs typeface="+mn-cs"/>
                </a:endParaRPr>
              </a:p>
            </p:txBody>
          </p:sp>
          <p:sp>
            <p:nvSpPr>
              <p:cNvPr id="272" name="Rectangle 271"/>
              <p:cNvSpPr>
                <a:spLocks noChangeArrowheads="1"/>
              </p:cNvSpPr>
              <p:nvPr/>
            </p:nvSpPr>
            <p:spPr bwMode="auto">
              <a:xfrm>
                <a:off x="10986669" y="4552578"/>
                <a:ext cx="399079" cy="1272970"/>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a typeface="+mn-ea"/>
                  <a:cs typeface="+mn-cs"/>
                </a:endParaRPr>
              </a:p>
            </p:txBody>
          </p:sp>
        </p:grpSp>
        <p:grpSp>
          <p:nvGrpSpPr>
            <p:cNvPr id="227" name="Group 226"/>
            <p:cNvGrpSpPr/>
            <p:nvPr/>
          </p:nvGrpSpPr>
          <p:grpSpPr>
            <a:xfrm>
              <a:off x="805827" y="3273375"/>
              <a:ext cx="2152137" cy="1518374"/>
              <a:chOff x="8448709" y="4325938"/>
              <a:chExt cx="2651092" cy="1870394"/>
            </a:xfrm>
          </p:grpSpPr>
          <p:sp>
            <p:nvSpPr>
              <p:cNvPr id="230" name="Freeform 229"/>
              <p:cNvSpPr>
                <a:spLocks/>
              </p:cNvSpPr>
              <p:nvPr/>
            </p:nvSpPr>
            <p:spPr bwMode="auto">
              <a:xfrm>
                <a:off x="9518650" y="4325938"/>
                <a:ext cx="1249363" cy="1427163"/>
              </a:xfrm>
              <a:custGeom>
                <a:avLst/>
                <a:gdLst>
                  <a:gd name="T0" fmla="*/ 205 w 237"/>
                  <a:gd name="T1" fmla="*/ 0 h 271"/>
                  <a:gd name="T2" fmla="*/ 0 w 237"/>
                  <a:gd name="T3" fmla="*/ 0 h 271"/>
                  <a:gd name="T4" fmla="*/ 0 w 237"/>
                  <a:gd name="T5" fmla="*/ 63 h 271"/>
                  <a:gd name="T6" fmla="*/ 31 w 237"/>
                  <a:gd name="T7" fmla="*/ 63 h 271"/>
                  <a:gd name="T8" fmla="*/ 31 w 237"/>
                  <a:gd name="T9" fmla="*/ 271 h 271"/>
                  <a:gd name="T10" fmla="*/ 237 w 237"/>
                  <a:gd name="T11" fmla="*/ 271 h 271"/>
                  <a:gd name="T12" fmla="*/ 237 w 237"/>
                  <a:gd name="T13" fmla="*/ 31 h 271"/>
                  <a:gd name="T14" fmla="*/ 205 w 237"/>
                  <a:gd name="T15" fmla="*/ 0 h 27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7" h="271">
                    <a:moveTo>
                      <a:pt x="205" y="0"/>
                    </a:moveTo>
                    <a:cubicBezTo>
                      <a:pt x="0" y="0"/>
                      <a:pt x="0" y="0"/>
                      <a:pt x="0" y="0"/>
                    </a:cubicBezTo>
                    <a:cubicBezTo>
                      <a:pt x="0" y="63"/>
                      <a:pt x="0" y="63"/>
                      <a:pt x="0" y="63"/>
                    </a:cubicBezTo>
                    <a:cubicBezTo>
                      <a:pt x="31" y="63"/>
                      <a:pt x="31" y="63"/>
                      <a:pt x="31" y="63"/>
                    </a:cubicBezTo>
                    <a:cubicBezTo>
                      <a:pt x="31" y="271"/>
                      <a:pt x="31" y="271"/>
                      <a:pt x="31" y="271"/>
                    </a:cubicBezTo>
                    <a:cubicBezTo>
                      <a:pt x="237" y="271"/>
                      <a:pt x="237" y="271"/>
                      <a:pt x="237" y="271"/>
                    </a:cubicBezTo>
                    <a:cubicBezTo>
                      <a:pt x="237" y="31"/>
                      <a:pt x="237" y="31"/>
                      <a:pt x="237" y="31"/>
                    </a:cubicBezTo>
                    <a:cubicBezTo>
                      <a:pt x="237" y="14"/>
                      <a:pt x="223" y="0"/>
                      <a:pt x="205" y="0"/>
                    </a:cubicBez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a typeface="+mn-ea"/>
                  <a:cs typeface="+mn-cs"/>
                </a:endParaRPr>
              </a:p>
            </p:txBody>
          </p:sp>
          <p:sp>
            <p:nvSpPr>
              <p:cNvPr id="231" name="Rounded Rectangle 230"/>
              <p:cNvSpPr/>
              <p:nvPr/>
            </p:nvSpPr>
            <p:spPr bwMode="auto">
              <a:xfrm>
                <a:off x="9771818" y="5079206"/>
                <a:ext cx="531852" cy="66676"/>
              </a:xfrm>
              <a:prstGeom prst="roundRect">
                <a:avLst>
                  <a:gd name="adj" fmla="val 50000"/>
                </a:avLst>
              </a:prstGeom>
              <a:solidFill>
                <a:srgbClr val="505050">
                  <a:lumMod val="60000"/>
                  <a:lumOff val="40000"/>
                </a:srgbClr>
              </a:solidFill>
              <a:ln w="3175" cap="flat" cmpd="sng" algn="ctr">
                <a:noFill/>
                <a:prstDash val="solid"/>
                <a:headEnd type="none" w="med" len="med"/>
                <a:tailEnd type="none" w="med" len="med"/>
              </a:ln>
              <a:effectLst/>
            </p:spPr>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rgbClr val="505050"/>
                  </a:solidFill>
                  <a:effectLst/>
                  <a:uLnTx/>
                  <a:uFillTx/>
                  <a:latin typeface="Segoe UI"/>
                  <a:ea typeface="Segoe UI" pitchFamily="34" charset="0"/>
                  <a:cs typeface="Segoe UI" pitchFamily="34" charset="0"/>
                </a:endParaRPr>
              </a:p>
            </p:txBody>
          </p:sp>
          <p:sp>
            <p:nvSpPr>
              <p:cNvPr id="232" name="Rounded Rectangle 231"/>
              <p:cNvSpPr/>
              <p:nvPr/>
            </p:nvSpPr>
            <p:spPr bwMode="auto">
              <a:xfrm>
                <a:off x="9771817" y="5203031"/>
                <a:ext cx="553397" cy="66676"/>
              </a:xfrm>
              <a:prstGeom prst="roundRect">
                <a:avLst>
                  <a:gd name="adj" fmla="val 50000"/>
                </a:avLst>
              </a:prstGeom>
              <a:solidFill>
                <a:srgbClr val="505050">
                  <a:lumMod val="60000"/>
                  <a:lumOff val="40000"/>
                </a:srgbClr>
              </a:solidFill>
              <a:ln w="3175" cap="flat" cmpd="sng" algn="ctr">
                <a:noFill/>
                <a:prstDash val="solid"/>
                <a:headEnd type="none" w="med" len="med"/>
                <a:tailEnd type="none" w="med" len="med"/>
              </a:ln>
              <a:effectLst/>
            </p:spPr>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rgbClr val="505050"/>
                  </a:solidFill>
                  <a:effectLst/>
                  <a:uLnTx/>
                  <a:uFillTx/>
                  <a:latin typeface="Segoe UI"/>
                  <a:ea typeface="Segoe UI" pitchFamily="34" charset="0"/>
                  <a:cs typeface="Segoe UI" pitchFamily="34" charset="0"/>
                </a:endParaRPr>
              </a:p>
            </p:txBody>
          </p:sp>
          <p:sp>
            <p:nvSpPr>
              <p:cNvPr id="233" name="Rounded Rectangle 232"/>
              <p:cNvSpPr/>
              <p:nvPr/>
            </p:nvSpPr>
            <p:spPr bwMode="auto">
              <a:xfrm>
                <a:off x="9771817" y="5322093"/>
                <a:ext cx="553397" cy="66676"/>
              </a:xfrm>
              <a:prstGeom prst="roundRect">
                <a:avLst>
                  <a:gd name="adj" fmla="val 50000"/>
                </a:avLst>
              </a:prstGeom>
              <a:solidFill>
                <a:srgbClr val="505050">
                  <a:lumMod val="60000"/>
                  <a:lumOff val="40000"/>
                </a:srgbClr>
              </a:solidFill>
              <a:ln w="3175" cap="flat" cmpd="sng" algn="ctr">
                <a:noFill/>
                <a:prstDash val="solid"/>
                <a:headEnd type="none" w="med" len="med"/>
                <a:tailEnd type="none" w="med" len="med"/>
              </a:ln>
              <a:effectLst/>
            </p:spPr>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rgbClr val="505050"/>
                  </a:solidFill>
                  <a:effectLst/>
                  <a:uLnTx/>
                  <a:uFillTx/>
                  <a:latin typeface="Segoe UI"/>
                  <a:ea typeface="Segoe UI" pitchFamily="34" charset="0"/>
                  <a:cs typeface="Segoe UI" pitchFamily="34" charset="0"/>
                </a:endParaRPr>
              </a:p>
            </p:txBody>
          </p:sp>
          <p:sp>
            <p:nvSpPr>
              <p:cNvPr id="234" name="Rounded Rectangle 233"/>
              <p:cNvSpPr/>
              <p:nvPr/>
            </p:nvSpPr>
            <p:spPr bwMode="auto">
              <a:xfrm>
                <a:off x="9771817" y="5450680"/>
                <a:ext cx="553397" cy="66676"/>
              </a:xfrm>
              <a:prstGeom prst="roundRect">
                <a:avLst>
                  <a:gd name="adj" fmla="val 50000"/>
                </a:avLst>
              </a:prstGeom>
              <a:solidFill>
                <a:srgbClr val="505050">
                  <a:lumMod val="60000"/>
                  <a:lumOff val="40000"/>
                </a:srgbClr>
              </a:solidFill>
              <a:ln w="3175" cap="flat" cmpd="sng" algn="ctr">
                <a:noFill/>
                <a:prstDash val="solid"/>
                <a:headEnd type="none" w="med" len="med"/>
                <a:tailEnd type="none" w="med" len="med"/>
              </a:ln>
              <a:effectLst/>
            </p:spPr>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rgbClr val="505050"/>
                  </a:solidFill>
                  <a:effectLst/>
                  <a:uLnTx/>
                  <a:uFillTx/>
                  <a:latin typeface="Segoe UI"/>
                  <a:ea typeface="Segoe UI" pitchFamily="34" charset="0"/>
                  <a:cs typeface="Segoe UI" pitchFamily="34" charset="0"/>
                </a:endParaRPr>
              </a:p>
            </p:txBody>
          </p:sp>
          <p:sp>
            <p:nvSpPr>
              <p:cNvPr id="235" name="Rectangle 234"/>
              <p:cNvSpPr>
                <a:spLocks noChangeArrowheads="1"/>
              </p:cNvSpPr>
              <p:nvPr/>
            </p:nvSpPr>
            <p:spPr bwMode="auto">
              <a:xfrm>
                <a:off x="9518650" y="4510088"/>
                <a:ext cx="163513" cy="1476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a typeface="+mn-ea"/>
                  <a:cs typeface="+mn-cs"/>
                </a:endParaRPr>
              </a:p>
            </p:txBody>
          </p:sp>
          <p:sp>
            <p:nvSpPr>
              <p:cNvPr id="236" name="Oval 235"/>
              <p:cNvSpPr>
                <a:spLocks noChangeArrowheads="1"/>
              </p:cNvSpPr>
              <p:nvPr/>
            </p:nvSpPr>
            <p:spPr bwMode="auto">
              <a:xfrm>
                <a:off x="9350375" y="4325938"/>
                <a:ext cx="331788" cy="331788"/>
              </a:xfrm>
              <a:prstGeom prst="ellipse">
                <a:avLst/>
              </a:pr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a typeface="+mn-ea"/>
                  <a:cs typeface="+mn-cs"/>
                </a:endParaRPr>
              </a:p>
            </p:txBody>
          </p:sp>
          <p:sp>
            <p:nvSpPr>
              <p:cNvPr id="237" name="Oval 236"/>
              <p:cNvSpPr>
                <a:spLocks noChangeArrowheads="1"/>
              </p:cNvSpPr>
              <p:nvPr/>
            </p:nvSpPr>
            <p:spPr bwMode="auto">
              <a:xfrm>
                <a:off x="10768013" y="5584825"/>
                <a:ext cx="331788" cy="331788"/>
              </a:xfrm>
              <a:prstGeom prst="ellipse">
                <a:avLst/>
              </a:pr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a typeface="+mn-ea"/>
                  <a:cs typeface="+mn-cs"/>
                </a:endParaRPr>
              </a:p>
            </p:txBody>
          </p:sp>
          <p:sp>
            <p:nvSpPr>
              <p:cNvPr id="238" name="Line 77"/>
              <p:cNvSpPr>
                <a:spLocks noChangeShapeType="1"/>
              </p:cNvSpPr>
              <p:nvPr/>
            </p:nvSpPr>
            <p:spPr bwMode="auto">
              <a:xfrm>
                <a:off x="9802813" y="4651375"/>
                <a:ext cx="838200" cy="0"/>
              </a:xfrm>
              <a:prstGeom prst="line">
                <a:avLst/>
              </a:prstGeom>
              <a:noFill/>
              <a:ln w="31750" cap="rnd">
                <a:solidFill>
                  <a:srgbClr val="96969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a typeface="+mn-ea"/>
                  <a:cs typeface="+mn-cs"/>
                </a:endParaRPr>
              </a:p>
            </p:txBody>
          </p:sp>
          <p:sp>
            <p:nvSpPr>
              <p:cNvPr id="239" name="Line 78"/>
              <p:cNvSpPr>
                <a:spLocks noChangeShapeType="1"/>
              </p:cNvSpPr>
              <p:nvPr/>
            </p:nvSpPr>
            <p:spPr bwMode="auto">
              <a:xfrm>
                <a:off x="9802813" y="5116513"/>
                <a:ext cx="838200" cy="0"/>
              </a:xfrm>
              <a:prstGeom prst="line">
                <a:avLst/>
              </a:prstGeom>
              <a:noFill/>
              <a:ln w="31750" cap="rnd">
                <a:solidFill>
                  <a:srgbClr val="96969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a typeface="+mn-ea"/>
                  <a:cs typeface="+mn-cs"/>
                </a:endParaRPr>
              </a:p>
            </p:txBody>
          </p:sp>
          <p:sp>
            <p:nvSpPr>
              <p:cNvPr id="240" name="Line 79"/>
              <p:cNvSpPr>
                <a:spLocks noChangeShapeType="1"/>
              </p:cNvSpPr>
              <p:nvPr/>
            </p:nvSpPr>
            <p:spPr bwMode="auto">
              <a:xfrm>
                <a:off x="9802813" y="5237163"/>
                <a:ext cx="681038" cy="0"/>
              </a:xfrm>
              <a:prstGeom prst="line">
                <a:avLst/>
              </a:prstGeom>
              <a:noFill/>
              <a:ln w="31750" cap="rnd">
                <a:solidFill>
                  <a:srgbClr val="96969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a typeface="+mn-ea"/>
                  <a:cs typeface="+mn-cs"/>
                </a:endParaRPr>
              </a:p>
            </p:txBody>
          </p:sp>
          <p:sp>
            <p:nvSpPr>
              <p:cNvPr id="241" name="Line 80"/>
              <p:cNvSpPr>
                <a:spLocks noChangeShapeType="1"/>
              </p:cNvSpPr>
              <p:nvPr/>
            </p:nvSpPr>
            <p:spPr bwMode="auto">
              <a:xfrm>
                <a:off x="9802813" y="5357813"/>
                <a:ext cx="742950" cy="0"/>
              </a:xfrm>
              <a:prstGeom prst="line">
                <a:avLst/>
              </a:prstGeom>
              <a:noFill/>
              <a:ln w="31750" cap="rnd">
                <a:solidFill>
                  <a:srgbClr val="96969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a typeface="+mn-ea"/>
                  <a:cs typeface="+mn-cs"/>
                </a:endParaRPr>
              </a:p>
            </p:txBody>
          </p:sp>
          <p:sp>
            <p:nvSpPr>
              <p:cNvPr id="242" name="Line 81"/>
              <p:cNvSpPr>
                <a:spLocks noChangeShapeType="1"/>
              </p:cNvSpPr>
              <p:nvPr/>
            </p:nvSpPr>
            <p:spPr bwMode="auto">
              <a:xfrm>
                <a:off x="9802813" y="5484813"/>
                <a:ext cx="590550" cy="0"/>
              </a:xfrm>
              <a:prstGeom prst="line">
                <a:avLst/>
              </a:prstGeom>
              <a:noFill/>
              <a:ln w="31750" cap="rnd">
                <a:solidFill>
                  <a:srgbClr val="96969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a typeface="+mn-ea"/>
                  <a:cs typeface="+mn-cs"/>
                </a:endParaRPr>
              </a:p>
            </p:txBody>
          </p:sp>
          <p:sp>
            <p:nvSpPr>
              <p:cNvPr id="243" name="Line 82"/>
              <p:cNvSpPr>
                <a:spLocks noChangeShapeType="1"/>
              </p:cNvSpPr>
              <p:nvPr/>
            </p:nvSpPr>
            <p:spPr bwMode="auto">
              <a:xfrm>
                <a:off x="9802813" y="4899025"/>
                <a:ext cx="796925" cy="0"/>
              </a:xfrm>
              <a:prstGeom prst="line">
                <a:avLst/>
              </a:prstGeom>
              <a:noFill/>
              <a:ln w="31750" cap="rnd">
                <a:solidFill>
                  <a:srgbClr val="96969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a typeface="+mn-ea"/>
                  <a:cs typeface="+mn-cs"/>
                </a:endParaRPr>
              </a:p>
            </p:txBody>
          </p:sp>
          <p:sp>
            <p:nvSpPr>
              <p:cNvPr id="244" name="Line 83"/>
              <p:cNvSpPr>
                <a:spLocks noChangeShapeType="1"/>
              </p:cNvSpPr>
              <p:nvPr/>
            </p:nvSpPr>
            <p:spPr bwMode="auto">
              <a:xfrm>
                <a:off x="9802813" y="4778375"/>
                <a:ext cx="681038" cy="0"/>
              </a:xfrm>
              <a:prstGeom prst="line">
                <a:avLst/>
              </a:prstGeom>
              <a:noFill/>
              <a:ln w="31750" cap="rnd">
                <a:solidFill>
                  <a:srgbClr val="96969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a typeface="+mn-ea"/>
                  <a:cs typeface="+mn-cs"/>
                </a:endParaRPr>
              </a:p>
            </p:txBody>
          </p:sp>
          <p:sp>
            <p:nvSpPr>
              <p:cNvPr id="245" name="Rectangle 244"/>
              <p:cNvSpPr/>
              <p:nvPr/>
            </p:nvSpPr>
            <p:spPr bwMode="auto">
              <a:xfrm>
                <a:off x="9570244" y="4689009"/>
                <a:ext cx="195020" cy="928959"/>
              </a:xfrm>
              <a:prstGeom prst="rect">
                <a:avLst/>
              </a:prstGeom>
              <a:solidFill>
                <a:srgbClr val="FFFFFF">
                  <a:lumMod val="95000"/>
                </a:srgbClr>
              </a:solidFill>
              <a:ln w="3175" cap="flat" cmpd="sng" algn="ctr">
                <a:noFill/>
                <a:prstDash val="solid"/>
                <a:headEnd type="none" w="med" len="med"/>
                <a:tailEnd type="none" w="med" len="med"/>
              </a:ln>
              <a:effectLst/>
            </p:spPr>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rgbClr val="505050"/>
                  </a:solidFill>
                  <a:effectLst/>
                  <a:uLnTx/>
                  <a:uFillTx/>
                  <a:latin typeface="Segoe UI"/>
                  <a:ea typeface="Segoe UI" pitchFamily="34" charset="0"/>
                  <a:cs typeface="Segoe UI" pitchFamily="34" charset="0"/>
                </a:endParaRPr>
              </a:p>
            </p:txBody>
          </p:sp>
          <p:grpSp>
            <p:nvGrpSpPr>
              <p:cNvPr id="246" name="Group 245"/>
              <p:cNvGrpSpPr/>
              <p:nvPr/>
            </p:nvGrpSpPr>
            <p:grpSpPr>
              <a:xfrm>
                <a:off x="9309098" y="5584687"/>
                <a:ext cx="981501" cy="375583"/>
                <a:chOff x="9504360" y="5541824"/>
                <a:chExt cx="981501" cy="375583"/>
              </a:xfrm>
            </p:grpSpPr>
            <p:sp>
              <p:nvSpPr>
                <p:cNvPr id="258" name="Rectangle 75"/>
                <p:cNvSpPr>
                  <a:spLocks noChangeArrowheads="1"/>
                </p:cNvSpPr>
                <p:nvPr/>
              </p:nvSpPr>
              <p:spPr bwMode="auto">
                <a:xfrm>
                  <a:off x="9694438" y="5541825"/>
                  <a:ext cx="791423" cy="375582"/>
                </a:xfrm>
                <a:custGeom>
                  <a:avLst/>
                  <a:gdLst>
                    <a:gd name="connsiteX0" fmla="*/ 0 w 791423"/>
                    <a:gd name="connsiteY0" fmla="*/ 0 h 374789"/>
                    <a:gd name="connsiteX1" fmla="*/ 791423 w 791423"/>
                    <a:gd name="connsiteY1" fmla="*/ 0 h 374789"/>
                    <a:gd name="connsiteX2" fmla="*/ 791423 w 791423"/>
                    <a:gd name="connsiteY2" fmla="*/ 374789 h 374789"/>
                    <a:gd name="connsiteX3" fmla="*/ 0 w 791423"/>
                    <a:gd name="connsiteY3" fmla="*/ 374789 h 374789"/>
                    <a:gd name="connsiteX4" fmla="*/ 0 w 791423"/>
                    <a:gd name="connsiteY4" fmla="*/ 0 h 374789"/>
                    <a:gd name="connsiteX0" fmla="*/ 0 w 791423"/>
                    <a:gd name="connsiteY0" fmla="*/ 0 h 375582"/>
                    <a:gd name="connsiteX1" fmla="*/ 791423 w 791423"/>
                    <a:gd name="connsiteY1" fmla="*/ 0 h 375582"/>
                    <a:gd name="connsiteX2" fmla="*/ 791423 w 791423"/>
                    <a:gd name="connsiteY2" fmla="*/ 374789 h 375582"/>
                    <a:gd name="connsiteX3" fmla="*/ 359199 w 791423"/>
                    <a:gd name="connsiteY3" fmla="*/ 375582 h 375582"/>
                    <a:gd name="connsiteX4" fmla="*/ 0 w 791423"/>
                    <a:gd name="connsiteY4" fmla="*/ 374789 h 375582"/>
                    <a:gd name="connsiteX5" fmla="*/ 0 w 791423"/>
                    <a:gd name="connsiteY5" fmla="*/ 0 h 375582"/>
                    <a:gd name="connsiteX0" fmla="*/ 0 w 791423"/>
                    <a:gd name="connsiteY0" fmla="*/ 0 h 375582"/>
                    <a:gd name="connsiteX1" fmla="*/ 791423 w 791423"/>
                    <a:gd name="connsiteY1" fmla="*/ 0 h 375582"/>
                    <a:gd name="connsiteX2" fmla="*/ 359199 w 791423"/>
                    <a:gd name="connsiteY2" fmla="*/ 375582 h 375582"/>
                    <a:gd name="connsiteX3" fmla="*/ 0 w 791423"/>
                    <a:gd name="connsiteY3" fmla="*/ 374789 h 375582"/>
                    <a:gd name="connsiteX4" fmla="*/ 0 w 791423"/>
                    <a:gd name="connsiteY4" fmla="*/ 0 h 375582"/>
                    <a:gd name="connsiteX0" fmla="*/ 0 w 791423"/>
                    <a:gd name="connsiteY0" fmla="*/ 0 h 375582"/>
                    <a:gd name="connsiteX1" fmla="*/ 791423 w 791423"/>
                    <a:gd name="connsiteY1" fmla="*/ 0 h 375582"/>
                    <a:gd name="connsiteX2" fmla="*/ 359199 w 791423"/>
                    <a:gd name="connsiteY2" fmla="*/ 375582 h 375582"/>
                    <a:gd name="connsiteX3" fmla="*/ 0 w 791423"/>
                    <a:gd name="connsiteY3" fmla="*/ 374789 h 375582"/>
                    <a:gd name="connsiteX4" fmla="*/ 0 w 791423"/>
                    <a:gd name="connsiteY4" fmla="*/ 0 h 375582"/>
                    <a:gd name="connsiteX0" fmla="*/ 0 w 791423"/>
                    <a:gd name="connsiteY0" fmla="*/ 0 h 375582"/>
                    <a:gd name="connsiteX1" fmla="*/ 791423 w 791423"/>
                    <a:gd name="connsiteY1" fmla="*/ 0 h 375582"/>
                    <a:gd name="connsiteX2" fmla="*/ 359199 w 791423"/>
                    <a:gd name="connsiteY2" fmla="*/ 375582 h 375582"/>
                    <a:gd name="connsiteX3" fmla="*/ 0 w 791423"/>
                    <a:gd name="connsiteY3" fmla="*/ 374789 h 375582"/>
                    <a:gd name="connsiteX4" fmla="*/ 0 w 791423"/>
                    <a:gd name="connsiteY4" fmla="*/ 0 h 3755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1423" h="375582">
                      <a:moveTo>
                        <a:pt x="0" y="0"/>
                      </a:moveTo>
                      <a:lnTo>
                        <a:pt x="791423" y="0"/>
                      </a:lnTo>
                      <a:cubicBezTo>
                        <a:pt x="664017" y="237113"/>
                        <a:pt x="538992" y="290869"/>
                        <a:pt x="359199" y="375582"/>
                      </a:cubicBezTo>
                      <a:lnTo>
                        <a:pt x="0" y="374789"/>
                      </a:lnTo>
                      <a:lnTo>
                        <a:pt x="0" y="0"/>
                      </a:lnTo>
                      <a:close/>
                    </a:path>
                  </a:pathLst>
                </a:cu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a typeface="+mn-ea"/>
                    <a:cs typeface="+mn-cs"/>
                  </a:endParaRPr>
                </a:p>
              </p:txBody>
            </p:sp>
            <p:sp>
              <p:nvSpPr>
                <p:cNvPr id="259" name="Oval 258"/>
                <p:cNvSpPr>
                  <a:spLocks noChangeArrowheads="1"/>
                </p:cNvSpPr>
                <p:nvPr/>
              </p:nvSpPr>
              <p:spPr bwMode="auto">
                <a:xfrm>
                  <a:off x="9504360" y="5541824"/>
                  <a:ext cx="374792" cy="374789"/>
                </a:xfrm>
                <a:prstGeom prst="ellipse">
                  <a:avLst/>
                </a:pr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a typeface="+mn-ea"/>
                    <a:cs typeface="+mn-cs"/>
                  </a:endParaRPr>
                </a:p>
              </p:txBody>
            </p:sp>
          </p:grpSp>
          <p:sp>
            <p:nvSpPr>
              <p:cNvPr id="247" name="Rectangle 246"/>
              <p:cNvSpPr>
                <a:spLocks noChangeArrowheads="1"/>
              </p:cNvSpPr>
              <p:nvPr/>
            </p:nvSpPr>
            <p:spPr bwMode="auto">
              <a:xfrm>
                <a:off x="9762893" y="5584825"/>
                <a:ext cx="1179745" cy="3317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a typeface="+mn-ea"/>
                  <a:cs typeface="+mn-cs"/>
                </a:endParaRPr>
              </a:p>
            </p:txBody>
          </p:sp>
          <p:sp>
            <p:nvSpPr>
              <p:cNvPr id="248" name="Rounded Rectangle 247"/>
              <p:cNvSpPr/>
              <p:nvPr/>
            </p:nvSpPr>
            <p:spPr bwMode="auto">
              <a:xfrm>
                <a:off x="9771817" y="4860131"/>
                <a:ext cx="405945" cy="66676"/>
              </a:xfrm>
              <a:prstGeom prst="roundRect">
                <a:avLst>
                  <a:gd name="adj" fmla="val 50000"/>
                </a:avLst>
              </a:prstGeom>
              <a:solidFill>
                <a:srgbClr val="505050">
                  <a:lumMod val="60000"/>
                  <a:lumOff val="40000"/>
                </a:srgbClr>
              </a:solidFill>
              <a:ln w="3175" cap="flat" cmpd="sng" algn="ctr">
                <a:noFill/>
                <a:prstDash val="solid"/>
                <a:headEnd type="none" w="med" len="med"/>
                <a:tailEnd type="none" w="med" len="med"/>
              </a:ln>
              <a:effectLst/>
            </p:spPr>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rgbClr val="505050"/>
                  </a:solidFill>
                  <a:effectLst/>
                  <a:uLnTx/>
                  <a:uFillTx/>
                  <a:latin typeface="Segoe UI"/>
                  <a:ea typeface="Segoe UI" pitchFamily="34" charset="0"/>
                  <a:cs typeface="Segoe UI" pitchFamily="34" charset="0"/>
                </a:endParaRPr>
              </a:p>
            </p:txBody>
          </p:sp>
          <p:sp>
            <p:nvSpPr>
              <p:cNvPr id="249" name="Rounded Rectangle 248"/>
              <p:cNvSpPr/>
              <p:nvPr/>
            </p:nvSpPr>
            <p:spPr bwMode="auto">
              <a:xfrm>
                <a:off x="9771817" y="4748212"/>
                <a:ext cx="272295" cy="66676"/>
              </a:xfrm>
              <a:prstGeom prst="roundRect">
                <a:avLst>
                  <a:gd name="adj" fmla="val 50000"/>
                </a:avLst>
              </a:prstGeom>
              <a:solidFill>
                <a:srgbClr val="505050">
                  <a:lumMod val="60000"/>
                  <a:lumOff val="40000"/>
                </a:srgbClr>
              </a:solidFill>
              <a:ln w="3175" cap="flat" cmpd="sng" algn="ctr">
                <a:noFill/>
                <a:prstDash val="solid"/>
                <a:headEnd type="none" w="med" len="med"/>
                <a:tailEnd type="none" w="med" len="med"/>
              </a:ln>
              <a:effectLst/>
            </p:spPr>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rgbClr val="505050"/>
                  </a:solidFill>
                  <a:effectLst/>
                  <a:uLnTx/>
                  <a:uFillTx/>
                  <a:latin typeface="Segoe UI"/>
                  <a:ea typeface="Segoe UI" pitchFamily="34" charset="0"/>
                  <a:cs typeface="Segoe UI" pitchFamily="34" charset="0"/>
                </a:endParaRPr>
              </a:p>
            </p:txBody>
          </p:sp>
          <p:grpSp>
            <p:nvGrpSpPr>
              <p:cNvPr id="250" name="Group 249"/>
              <p:cNvGrpSpPr/>
              <p:nvPr/>
            </p:nvGrpSpPr>
            <p:grpSpPr>
              <a:xfrm rot="19371966" flipH="1">
                <a:off x="8448709" y="4839020"/>
                <a:ext cx="1972596" cy="1357312"/>
                <a:chOff x="6196012" y="5310188"/>
                <a:chExt cx="1358901" cy="935038"/>
              </a:xfrm>
            </p:grpSpPr>
            <p:sp>
              <p:nvSpPr>
                <p:cNvPr id="251" name="Oval 250"/>
                <p:cNvSpPr>
                  <a:spLocks noChangeArrowheads="1"/>
                </p:cNvSpPr>
                <p:nvPr/>
              </p:nvSpPr>
              <p:spPr bwMode="auto">
                <a:xfrm>
                  <a:off x="6240463" y="5354638"/>
                  <a:ext cx="847725" cy="846138"/>
                </a:xfrm>
                <a:prstGeom prst="ellipse">
                  <a:avLst/>
                </a:prstGeom>
                <a:solidFill>
                  <a:srgbClr val="F5F5F5">
                    <a:alpha val="34000"/>
                  </a:srgbClr>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a typeface="+mn-ea"/>
                    <a:cs typeface="+mn-cs"/>
                  </a:endParaRPr>
                </a:p>
              </p:txBody>
            </p:sp>
            <p:sp>
              <p:nvSpPr>
                <p:cNvPr id="252" name="Rectangle 251"/>
                <p:cNvSpPr>
                  <a:spLocks noChangeArrowheads="1"/>
                </p:cNvSpPr>
                <p:nvPr/>
              </p:nvSpPr>
              <p:spPr bwMode="auto">
                <a:xfrm>
                  <a:off x="7105650" y="5732463"/>
                  <a:ext cx="88900" cy="128588"/>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a typeface="+mn-ea"/>
                    <a:cs typeface="+mn-cs"/>
                  </a:endParaRPr>
                </a:p>
              </p:txBody>
            </p:sp>
            <p:sp>
              <p:nvSpPr>
                <p:cNvPr id="253" name="Rectangle 252"/>
                <p:cNvSpPr>
                  <a:spLocks noChangeArrowheads="1"/>
                </p:cNvSpPr>
                <p:nvPr/>
              </p:nvSpPr>
              <p:spPr bwMode="auto">
                <a:xfrm>
                  <a:off x="7245350" y="5732463"/>
                  <a:ext cx="276225" cy="128588"/>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a typeface="+mn-ea"/>
                    <a:cs typeface="+mn-cs"/>
                  </a:endParaRPr>
                </a:p>
              </p:txBody>
            </p:sp>
            <p:sp>
              <p:nvSpPr>
                <p:cNvPr id="254" name="Freeform 253"/>
                <p:cNvSpPr>
                  <a:spLocks noChangeArrowheads="1"/>
                </p:cNvSpPr>
                <p:nvPr/>
              </p:nvSpPr>
              <p:spPr bwMode="auto">
                <a:xfrm>
                  <a:off x="6196012" y="5310188"/>
                  <a:ext cx="936626" cy="935038"/>
                </a:xfrm>
                <a:custGeom>
                  <a:avLst/>
                  <a:gdLst>
                    <a:gd name="connsiteX0" fmla="*/ 468313 w 936626"/>
                    <a:gd name="connsiteY0" fmla="*/ 44450 h 935038"/>
                    <a:gd name="connsiteX1" fmla="*/ 44450 w 936626"/>
                    <a:gd name="connsiteY1" fmla="*/ 467519 h 935038"/>
                    <a:gd name="connsiteX2" fmla="*/ 468313 w 936626"/>
                    <a:gd name="connsiteY2" fmla="*/ 890588 h 935038"/>
                    <a:gd name="connsiteX3" fmla="*/ 892176 w 936626"/>
                    <a:gd name="connsiteY3" fmla="*/ 467519 h 935038"/>
                    <a:gd name="connsiteX4" fmla="*/ 468313 w 936626"/>
                    <a:gd name="connsiteY4" fmla="*/ 44450 h 935038"/>
                    <a:gd name="connsiteX5" fmla="*/ 468313 w 936626"/>
                    <a:gd name="connsiteY5" fmla="*/ 0 h 935038"/>
                    <a:gd name="connsiteX6" fmla="*/ 936626 w 936626"/>
                    <a:gd name="connsiteY6" fmla="*/ 467519 h 935038"/>
                    <a:gd name="connsiteX7" fmla="*/ 468313 w 936626"/>
                    <a:gd name="connsiteY7" fmla="*/ 935038 h 935038"/>
                    <a:gd name="connsiteX8" fmla="*/ 0 w 936626"/>
                    <a:gd name="connsiteY8" fmla="*/ 467519 h 935038"/>
                    <a:gd name="connsiteX9" fmla="*/ 468313 w 936626"/>
                    <a:gd name="connsiteY9" fmla="*/ 0 h 9350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36626" h="935038">
                      <a:moveTo>
                        <a:pt x="468313" y="44450"/>
                      </a:moveTo>
                      <a:cubicBezTo>
                        <a:pt x="234220" y="44450"/>
                        <a:pt x="44450" y="233864"/>
                        <a:pt x="44450" y="467519"/>
                      </a:cubicBezTo>
                      <a:cubicBezTo>
                        <a:pt x="44450" y="701174"/>
                        <a:pt x="234220" y="890588"/>
                        <a:pt x="468313" y="890588"/>
                      </a:cubicBezTo>
                      <a:cubicBezTo>
                        <a:pt x="702406" y="890588"/>
                        <a:pt x="892176" y="701174"/>
                        <a:pt x="892176" y="467519"/>
                      </a:cubicBezTo>
                      <a:cubicBezTo>
                        <a:pt x="892176" y="233864"/>
                        <a:pt x="702406" y="44450"/>
                        <a:pt x="468313" y="44450"/>
                      </a:cubicBezTo>
                      <a:close/>
                      <a:moveTo>
                        <a:pt x="468313" y="0"/>
                      </a:moveTo>
                      <a:cubicBezTo>
                        <a:pt x="726955" y="0"/>
                        <a:pt x="936626" y="209315"/>
                        <a:pt x="936626" y="467519"/>
                      </a:cubicBezTo>
                      <a:cubicBezTo>
                        <a:pt x="936626" y="725723"/>
                        <a:pt x="726955" y="935038"/>
                        <a:pt x="468313" y="935038"/>
                      </a:cubicBezTo>
                      <a:cubicBezTo>
                        <a:pt x="209671" y="935038"/>
                        <a:pt x="0" y="725723"/>
                        <a:pt x="0" y="467519"/>
                      </a:cubicBezTo>
                      <a:cubicBezTo>
                        <a:pt x="0" y="209315"/>
                        <a:pt x="209671" y="0"/>
                        <a:pt x="468313" y="0"/>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a typeface="+mn-ea"/>
                    <a:cs typeface="+mn-cs"/>
                  </a:endParaRPr>
                </a:p>
              </p:txBody>
            </p:sp>
            <p:sp>
              <p:nvSpPr>
                <p:cNvPr id="255" name="Freeform 254"/>
                <p:cNvSpPr>
                  <a:spLocks/>
                </p:cNvSpPr>
                <p:nvPr/>
              </p:nvSpPr>
              <p:spPr bwMode="auto">
                <a:xfrm>
                  <a:off x="7194550" y="5681663"/>
                  <a:ext cx="66675" cy="230188"/>
                </a:xfrm>
                <a:custGeom>
                  <a:avLst/>
                  <a:gdLst>
                    <a:gd name="T0" fmla="*/ 0 w 30"/>
                    <a:gd name="T1" fmla="*/ 15 h 104"/>
                    <a:gd name="T2" fmla="*/ 0 w 30"/>
                    <a:gd name="T3" fmla="*/ 89 h 104"/>
                    <a:gd name="T4" fmla="*/ 15 w 30"/>
                    <a:gd name="T5" fmla="*/ 104 h 104"/>
                    <a:gd name="T6" fmla="*/ 30 w 30"/>
                    <a:gd name="T7" fmla="*/ 89 h 104"/>
                    <a:gd name="T8" fmla="*/ 30 w 30"/>
                    <a:gd name="T9" fmla="*/ 15 h 104"/>
                    <a:gd name="T10" fmla="*/ 15 w 30"/>
                    <a:gd name="T11" fmla="*/ 0 h 104"/>
                    <a:gd name="T12" fmla="*/ 0 w 30"/>
                    <a:gd name="T13" fmla="*/ 15 h 104"/>
                  </a:gdLst>
                  <a:ahLst/>
                  <a:cxnLst>
                    <a:cxn ang="0">
                      <a:pos x="T0" y="T1"/>
                    </a:cxn>
                    <a:cxn ang="0">
                      <a:pos x="T2" y="T3"/>
                    </a:cxn>
                    <a:cxn ang="0">
                      <a:pos x="T4" y="T5"/>
                    </a:cxn>
                    <a:cxn ang="0">
                      <a:pos x="T6" y="T7"/>
                    </a:cxn>
                    <a:cxn ang="0">
                      <a:pos x="T8" y="T9"/>
                    </a:cxn>
                    <a:cxn ang="0">
                      <a:pos x="T10" y="T11"/>
                    </a:cxn>
                    <a:cxn ang="0">
                      <a:pos x="T12" y="T13"/>
                    </a:cxn>
                  </a:cxnLst>
                  <a:rect l="0" t="0" r="r" b="b"/>
                  <a:pathLst>
                    <a:path w="30" h="104">
                      <a:moveTo>
                        <a:pt x="0" y="15"/>
                      </a:moveTo>
                      <a:cubicBezTo>
                        <a:pt x="0" y="89"/>
                        <a:pt x="0" y="89"/>
                        <a:pt x="0" y="89"/>
                      </a:cubicBezTo>
                      <a:cubicBezTo>
                        <a:pt x="0" y="98"/>
                        <a:pt x="6" y="104"/>
                        <a:pt x="15" y="104"/>
                      </a:cubicBezTo>
                      <a:cubicBezTo>
                        <a:pt x="23" y="104"/>
                        <a:pt x="30" y="98"/>
                        <a:pt x="30" y="89"/>
                      </a:cubicBezTo>
                      <a:cubicBezTo>
                        <a:pt x="30" y="15"/>
                        <a:pt x="30" y="15"/>
                        <a:pt x="30" y="15"/>
                      </a:cubicBezTo>
                      <a:cubicBezTo>
                        <a:pt x="30" y="7"/>
                        <a:pt x="23" y="0"/>
                        <a:pt x="15" y="0"/>
                      </a:cubicBezTo>
                      <a:cubicBezTo>
                        <a:pt x="6" y="0"/>
                        <a:pt x="0" y="7"/>
                        <a:pt x="0" y="15"/>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a typeface="+mn-ea"/>
                    <a:cs typeface="+mn-cs"/>
                  </a:endParaRPr>
                </a:p>
              </p:txBody>
            </p:sp>
            <p:sp>
              <p:nvSpPr>
                <p:cNvPr id="256" name="Freeform 255"/>
                <p:cNvSpPr>
                  <a:spLocks/>
                </p:cNvSpPr>
                <p:nvPr/>
              </p:nvSpPr>
              <p:spPr bwMode="auto">
                <a:xfrm>
                  <a:off x="7488238" y="5681663"/>
                  <a:ext cx="66675" cy="230188"/>
                </a:xfrm>
                <a:custGeom>
                  <a:avLst/>
                  <a:gdLst>
                    <a:gd name="T0" fmla="*/ 0 w 30"/>
                    <a:gd name="T1" fmla="*/ 15 h 104"/>
                    <a:gd name="T2" fmla="*/ 0 w 30"/>
                    <a:gd name="T3" fmla="*/ 89 h 104"/>
                    <a:gd name="T4" fmla="*/ 15 w 30"/>
                    <a:gd name="T5" fmla="*/ 104 h 104"/>
                    <a:gd name="T6" fmla="*/ 30 w 30"/>
                    <a:gd name="T7" fmla="*/ 89 h 104"/>
                    <a:gd name="T8" fmla="*/ 30 w 30"/>
                    <a:gd name="T9" fmla="*/ 15 h 104"/>
                    <a:gd name="T10" fmla="*/ 15 w 30"/>
                    <a:gd name="T11" fmla="*/ 0 h 104"/>
                    <a:gd name="T12" fmla="*/ 0 w 30"/>
                    <a:gd name="T13" fmla="*/ 15 h 104"/>
                  </a:gdLst>
                  <a:ahLst/>
                  <a:cxnLst>
                    <a:cxn ang="0">
                      <a:pos x="T0" y="T1"/>
                    </a:cxn>
                    <a:cxn ang="0">
                      <a:pos x="T2" y="T3"/>
                    </a:cxn>
                    <a:cxn ang="0">
                      <a:pos x="T4" y="T5"/>
                    </a:cxn>
                    <a:cxn ang="0">
                      <a:pos x="T6" y="T7"/>
                    </a:cxn>
                    <a:cxn ang="0">
                      <a:pos x="T8" y="T9"/>
                    </a:cxn>
                    <a:cxn ang="0">
                      <a:pos x="T10" y="T11"/>
                    </a:cxn>
                    <a:cxn ang="0">
                      <a:pos x="T12" y="T13"/>
                    </a:cxn>
                  </a:cxnLst>
                  <a:rect l="0" t="0" r="r" b="b"/>
                  <a:pathLst>
                    <a:path w="30" h="104">
                      <a:moveTo>
                        <a:pt x="0" y="15"/>
                      </a:moveTo>
                      <a:cubicBezTo>
                        <a:pt x="0" y="89"/>
                        <a:pt x="0" y="89"/>
                        <a:pt x="0" y="89"/>
                      </a:cubicBezTo>
                      <a:cubicBezTo>
                        <a:pt x="0" y="98"/>
                        <a:pt x="7" y="104"/>
                        <a:pt x="15" y="104"/>
                      </a:cubicBezTo>
                      <a:cubicBezTo>
                        <a:pt x="23" y="104"/>
                        <a:pt x="30" y="98"/>
                        <a:pt x="30" y="89"/>
                      </a:cubicBezTo>
                      <a:cubicBezTo>
                        <a:pt x="30" y="15"/>
                        <a:pt x="30" y="15"/>
                        <a:pt x="30" y="15"/>
                      </a:cubicBezTo>
                      <a:cubicBezTo>
                        <a:pt x="30" y="7"/>
                        <a:pt x="23" y="0"/>
                        <a:pt x="15" y="0"/>
                      </a:cubicBezTo>
                      <a:cubicBezTo>
                        <a:pt x="7" y="0"/>
                        <a:pt x="0" y="7"/>
                        <a:pt x="0" y="15"/>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a typeface="+mn-ea"/>
                    <a:cs typeface="+mn-cs"/>
                  </a:endParaRPr>
                </a:p>
              </p:txBody>
            </p:sp>
            <p:sp>
              <p:nvSpPr>
                <p:cNvPr id="257" name="Freeform 256"/>
                <p:cNvSpPr>
                  <a:spLocks/>
                </p:cNvSpPr>
                <p:nvPr/>
              </p:nvSpPr>
              <p:spPr bwMode="auto">
                <a:xfrm>
                  <a:off x="6310313" y="5411787"/>
                  <a:ext cx="709613" cy="280988"/>
                </a:xfrm>
                <a:custGeom>
                  <a:avLst/>
                  <a:gdLst>
                    <a:gd name="connsiteX0" fmla="*/ 355688 w 709613"/>
                    <a:gd name="connsiteY0" fmla="*/ 0 h 280988"/>
                    <a:gd name="connsiteX1" fmla="*/ 631825 w 709613"/>
                    <a:gd name="connsiteY1" fmla="*/ 127000 h 280988"/>
                    <a:gd name="connsiteX2" fmla="*/ 631156 w 709613"/>
                    <a:gd name="connsiteY2" fmla="*/ 127000 h 280988"/>
                    <a:gd name="connsiteX3" fmla="*/ 675340 w 709613"/>
                    <a:gd name="connsiteY3" fmla="*/ 191693 h 280988"/>
                    <a:gd name="connsiteX4" fmla="*/ 706437 w 709613"/>
                    <a:gd name="connsiteY4" fmla="*/ 265112 h 280988"/>
                    <a:gd name="connsiteX5" fmla="*/ 707320 w 709613"/>
                    <a:gd name="connsiteY5" fmla="*/ 265112 h 280988"/>
                    <a:gd name="connsiteX6" fmla="*/ 709613 w 709613"/>
                    <a:gd name="connsiteY6" fmla="*/ 280987 h 280988"/>
                    <a:gd name="connsiteX7" fmla="*/ 688975 w 709613"/>
                    <a:gd name="connsiteY7" fmla="*/ 265112 h 280988"/>
                    <a:gd name="connsiteX8" fmla="*/ 688667 w 709613"/>
                    <a:gd name="connsiteY8" fmla="*/ 265112 h 280988"/>
                    <a:gd name="connsiteX9" fmla="*/ 355488 w 709613"/>
                    <a:gd name="connsiteY9" fmla="*/ 175781 h 280988"/>
                    <a:gd name="connsiteX10" fmla="*/ 257756 w 709613"/>
                    <a:gd name="connsiteY10" fmla="*/ 182202 h 280988"/>
                    <a:gd name="connsiteX11" fmla="*/ 166688 w 709613"/>
                    <a:gd name="connsiteY11" fmla="*/ 200347 h 280988"/>
                    <a:gd name="connsiteX12" fmla="*/ 166688 w 709613"/>
                    <a:gd name="connsiteY12" fmla="*/ 200534 h 280988"/>
                    <a:gd name="connsiteX13" fmla="*/ 0 w 709613"/>
                    <a:gd name="connsiteY13" fmla="*/ 280988 h 280988"/>
                    <a:gd name="connsiteX14" fmla="*/ 109076 w 709613"/>
                    <a:gd name="connsiteY14" fmla="*/ 94623 h 280988"/>
                    <a:gd name="connsiteX15" fmla="*/ 166687 w 709613"/>
                    <a:gd name="connsiteY15" fmla="*/ 50801 h 280988"/>
                    <a:gd name="connsiteX16" fmla="*/ 166687 w 709613"/>
                    <a:gd name="connsiteY16" fmla="*/ 50719 h 280988"/>
                    <a:gd name="connsiteX17" fmla="*/ 311064 w 709613"/>
                    <a:gd name="connsiteY17" fmla="*/ 1587 h 280988"/>
                    <a:gd name="connsiteX18" fmla="*/ 311064 w 709613"/>
                    <a:gd name="connsiteY18" fmla="*/ 126649 h 280988"/>
                    <a:gd name="connsiteX19" fmla="*/ 311150 w 709613"/>
                    <a:gd name="connsiteY19" fmla="*/ 126649 h 280988"/>
                    <a:gd name="connsiteX20" fmla="*/ 311150 w 709613"/>
                    <a:gd name="connsiteY20" fmla="*/ 125050 h 280988"/>
                    <a:gd name="connsiteX21" fmla="*/ 311150 w 709613"/>
                    <a:gd name="connsiteY21" fmla="*/ 2228 h 280988"/>
                    <a:gd name="connsiteX22" fmla="*/ 355688 w 709613"/>
                    <a:gd name="connsiteY22" fmla="*/ 0 h 2809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709613" h="280988">
                      <a:moveTo>
                        <a:pt x="355688" y="0"/>
                      </a:moveTo>
                      <a:cubicBezTo>
                        <a:pt x="464807" y="0"/>
                        <a:pt x="565017" y="49017"/>
                        <a:pt x="631825" y="127000"/>
                      </a:cubicBezTo>
                      <a:lnTo>
                        <a:pt x="631156" y="127000"/>
                      </a:lnTo>
                      <a:lnTo>
                        <a:pt x="675340" y="191693"/>
                      </a:lnTo>
                      <a:cubicBezTo>
                        <a:pt x="688112" y="214863"/>
                        <a:pt x="698663" y="239429"/>
                        <a:pt x="706437" y="265112"/>
                      </a:cubicBezTo>
                      <a:lnTo>
                        <a:pt x="707320" y="265112"/>
                      </a:lnTo>
                      <a:cubicBezTo>
                        <a:pt x="707320" y="271916"/>
                        <a:pt x="709613" y="276452"/>
                        <a:pt x="709613" y="280987"/>
                      </a:cubicBezTo>
                      <a:cubicBezTo>
                        <a:pt x="702734" y="276452"/>
                        <a:pt x="695855" y="269648"/>
                        <a:pt x="688975" y="265112"/>
                      </a:cubicBezTo>
                      <a:lnTo>
                        <a:pt x="688667" y="265112"/>
                      </a:lnTo>
                      <a:cubicBezTo>
                        <a:pt x="602041" y="209280"/>
                        <a:pt x="484317" y="175781"/>
                        <a:pt x="355488" y="175781"/>
                      </a:cubicBezTo>
                      <a:cubicBezTo>
                        <a:pt x="322170" y="175781"/>
                        <a:pt x="289408" y="178014"/>
                        <a:pt x="257756" y="182202"/>
                      </a:cubicBezTo>
                      <a:lnTo>
                        <a:pt x="166688" y="200347"/>
                      </a:lnTo>
                      <a:lnTo>
                        <a:pt x="166688" y="200534"/>
                      </a:lnTo>
                      <a:cubicBezTo>
                        <a:pt x="104458" y="218412"/>
                        <a:pt x="46672" y="247465"/>
                        <a:pt x="0" y="280988"/>
                      </a:cubicBezTo>
                      <a:cubicBezTo>
                        <a:pt x="16669" y="207238"/>
                        <a:pt x="55840" y="143545"/>
                        <a:pt x="109076" y="94623"/>
                      </a:cubicBezTo>
                      <a:lnTo>
                        <a:pt x="166687" y="50801"/>
                      </a:lnTo>
                      <a:lnTo>
                        <a:pt x="166687" y="50719"/>
                      </a:lnTo>
                      <a:cubicBezTo>
                        <a:pt x="211111" y="26153"/>
                        <a:pt x="259977" y="8287"/>
                        <a:pt x="311064" y="1587"/>
                      </a:cubicBezTo>
                      <a:cubicBezTo>
                        <a:pt x="311064" y="1587"/>
                        <a:pt x="311064" y="1587"/>
                        <a:pt x="311064" y="126649"/>
                      </a:cubicBezTo>
                      <a:lnTo>
                        <a:pt x="311150" y="126649"/>
                      </a:lnTo>
                      <a:lnTo>
                        <a:pt x="311150" y="125050"/>
                      </a:lnTo>
                      <a:cubicBezTo>
                        <a:pt x="311150" y="119202"/>
                        <a:pt x="311150" y="95807"/>
                        <a:pt x="311150" y="2228"/>
                      </a:cubicBezTo>
                      <a:cubicBezTo>
                        <a:pt x="326738" y="0"/>
                        <a:pt x="340100" y="0"/>
                        <a:pt x="355688" y="0"/>
                      </a:cubicBezTo>
                      <a:close/>
                    </a:path>
                  </a:pathLst>
                </a:custGeom>
                <a:solidFill>
                  <a:srgbClr val="FFFFFF">
                    <a:alpha val="41000"/>
                  </a:srgbClr>
                </a:solidFill>
                <a:ln>
                  <a:noFill/>
                </a:ln>
              </p:spPr>
              <p:txBody>
                <a:bodyPr vert="horz" wrap="square" lIns="91440" tIns="45720" rIns="91440" bIns="45720" numCol="1" anchor="t" anchorCtr="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a typeface="+mn-ea"/>
                    <a:cs typeface="+mn-cs"/>
                  </a:endParaRPr>
                </a:p>
              </p:txBody>
            </p:sp>
          </p:grpSp>
        </p:grpSp>
      </p:grpSp>
      <p:sp>
        <p:nvSpPr>
          <p:cNvPr id="365" name="Rectangle 364"/>
          <p:cNvSpPr/>
          <p:nvPr/>
        </p:nvSpPr>
        <p:spPr bwMode="auto">
          <a:xfrm>
            <a:off x="4744949" y="944138"/>
            <a:ext cx="516025" cy="529062"/>
          </a:xfrm>
          <a:prstGeom prst="rect">
            <a:avLst/>
          </a:prstGeom>
          <a:noFill/>
          <a:ln w="38100">
            <a:solidFill>
              <a:srgbClr val="E8112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a:solidFill>
                <a:schemeClr val="bg1"/>
              </a:solidFill>
              <a:latin typeface="+mj-lt"/>
              <a:ea typeface="Segoe UI" pitchFamily="34" charset="0"/>
              <a:cs typeface="Segoe UI" pitchFamily="34" charset="0"/>
            </a:endParaRPr>
          </a:p>
        </p:txBody>
      </p:sp>
      <p:sp>
        <p:nvSpPr>
          <p:cNvPr id="2" name="Slide Number Placeholder 1"/>
          <p:cNvSpPr>
            <a:spLocks noGrp="1"/>
          </p:cNvSpPr>
          <p:nvPr>
            <p:ph type="sldNum" sz="quarter" idx="4"/>
          </p:nvPr>
        </p:nvSpPr>
        <p:spPr/>
        <p:txBody>
          <a:bodyPr/>
          <a:lstStyle/>
          <a:p>
            <a:pPr>
              <a:defRPr/>
            </a:pPr>
            <a:fld id="{75FAD755-3BD0-2447-A9DF-109DAABEFD99}" type="slidenum">
              <a:rPr lang="en-US" smtClean="0"/>
              <a:pPr>
                <a:defRPr/>
              </a:pPr>
              <a:t>43</a:t>
            </a:fld>
            <a:endParaRPr lang="en-US" dirty="0"/>
          </a:p>
        </p:txBody>
      </p:sp>
    </p:spTree>
    <p:extLst>
      <p:ext uri="{BB962C8B-B14F-4D97-AF65-F5344CB8AC3E}">
        <p14:creationId xmlns:p14="http://schemas.microsoft.com/office/powerpoint/2010/main" val="1017233313"/>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88"/>
                                        </p:tgtEl>
                                        <p:attrNameLst>
                                          <p:attrName>style.visibility</p:attrName>
                                        </p:attrNameLst>
                                      </p:cBhvr>
                                      <p:to>
                                        <p:strVal val="visible"/>
                                      </p:to>
                                    </p:set>
                                    <p:animEffect transition="in" filter="fade">
                                      <p:cBhvr>
                                        <p:cTn id="7" dur="500"/>
                                        <p:tgtEl>
                                          <p:spTgt spid="188"/>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365"/>
                                        </p:tgtEl>
                                        <p:attrNameLst>
                                          <p:attrName>style.visibility</p:attrName>
                                        </p:attrNameLst>
                                      </p:cBhvr>
                                      <p:to>
                                        <p:strVal val="visible"/>
                                      </p:to>
                                    </p:set>
                                    <p:animEffect transition="in" filter="fade">
                                      <p:cBhvr>
                                        <p:cTn id="11" dur="500"/>
                                        <p:tgtEl>
                                          <p:spTgt spid="365"/>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191"/>
                                        </p:tgtEl>
                                        <p:attrNameLst>
                                          <p:attrName>style.visibility</p:attrName>
                                        </p:attrNameLst>
                                      </p:cBhvr>
                                      <p:to>
                                        <p:strVal val="visible"/>
                                      </p:to>
                                    </p:set>
                                    <p:animEffect transition="in" filter="fade">
                                      <p:cBhvr>
                                        <p:cTn id="15" dur="500"/>
                                        <p:tgtEl>
                                          <p:spTgt spid="191"/>
                                        </p:tgtEl>
                                      </p:cBhvr>
                                    </p:animEffect>
                                  </p:childTnLst>
                                </p:cTn>
                              </p:par>
                            </p:childTnLst>
                          </p:cTn>
                        </p:par>
                        <p:par>
                          <p:cTn id="16" fill="hold">
                            <p:stCondLst>
                              <p:cond delay="1500"/>
                            </p:stCondLst>
                            <p:childTnLst>
                              <p:par>
                                <p:cTn id="17" presetID="22" presetClass="entr" presetSubtype="8" fill="hold" nodeType="afterEffect">
                                  <p:stCondLst>
                                    <p:cond delay="0"/>
                                  </p:stCondLst>
                                  <p:childTnLst>
                                    <p:set>
                                      <p:cBhvr>
                                        <p:cTn id="18" dur="1" fill="hold">
                                          <p:stCondLst>
                                            <p:cond delay="0"/>
                                          </p:stCondLst>
                                        </p:cTn>
                                        <p:tgtEl>
                                          <p:spTgt spid="192">
                                            <p:txEl>
                                              <p:pRg st="0" end="0"/>
                                            </p:txEl>
                                          </p:spTgt>
                                        </p:tgtEl>
                                        <p:attrNameLst>
                                          <p:attrName>style.visibility</p:attrName>
                                        </p:attrNameLst>
                                      </p:cBhvr>
                                      <p:to>
                                        <p:strVal val="visible"/>
                                      </p:to>
                                    </p:set>
                                    <p:animEffect transition="in" filter="wipe(left)">
                                      <p:cBhvr>
                                        <p:cTn id="19" dur="1000"/>
                                        <p:tgtEl>
                                          <p:spTgt spid="192">
                                            <p:txEl>
                                              <p:pRg st="0" end="0"/>
                                            </p:txEl>
                                          </p:spTgt>
                                        </p:tgtEl>
                                      </p:cBhvr>
                                    </p:animEffect>
                                  </p:childTnLst>
                                </p:cTn>
                              </p:par>
                            </p:childTnLst>
                          </p:cTn>
                        </p:par>
                        <p:par>
                          <p:cTn id="20" fill="hold">
                            <p:stCondLst>
                              <p:cond delay="2500"/>
                            </p:stCondLst>
                            <p:childTnLst>
                              <p:par>
                                <p:cTn id="21" presetID="22" presetClass="entr" presetSubtype="8" fill="hold" nodeType="afterEffect">
                                  <p:stCondLst>
                                    <p:cond delay="0"/>
                                  </p:stCondLst>
                                  <p:childTnLst>
                                    <p:set>
                                      <p:cBhvr>
                                        <p:cTn id="22" dur="1" fill="hold">
                                          <p:stCondLst>
                                            <p:cond delay="0"/>
                                          </p:stCondLst>
                                        </p:cTn>
                                        <p:tgtEl>
                                          <p:spTgt spid="192">
                                            <p:txEl>
                                              <p:pRg st="1" end="1"/>
                                            </p:txEl>
                                          </p:spTgt>
                                        </p:tgtEl>
                                        <p:attrNameLst>
                                          <p:attrName>style.visibility</p:attrName>
                                        </p:attrNameLst>
                                      </p:cBhvr>
                                      <p:to>
                                        <p:strVal val="visible"/>
                                      </p:to>
                                    </p:set>
                                    <p:animEffect transition="in" filter="wipe(left)">
                                      <p:cBhvr>
                                        <p:cTn id="23" dur="750"/>
                                        <p:tgtEl>
                                          <p:spTgt spid="192">
                                            <p:txEl>
                                              <p:pRg st="1" end="1"/>
                                            </p:txEl>
                                          </p:spTgt>
                                        </p:tgtEl>
                                      </p:cBhvr>
                                    </p:animEffect>
                                  </p:childTnLst>
                                </p:cTn>
                              </p:par>
                            </p:childTnLst>
                          </p:cTn>
                        </p:par>
                        <p:par>
                          <p:cTn id="24" fill="hold">
                            <p:stCondLst>
                              <p:cond delay="3250"/>
                            </p:stCondLst>
                            <p:childTnLst>
                              <p:par>
                                <p:cTn id="25" presetID="22" presetClass="entr" presetSubtype="8" fill="hold" nodeType="afterEffect">
                                  <p:stCondLst>
                                    <p:cond delay="0"/>
                                  </p:stCondLst>
                                  <p:childTnLst>
                                    <p:set>
                                      <p:cBhvr>
                                        <p:cTn id="26" dur="1" fill="hold">
                                          <p:stCondLst>
                                            <p:cond delay="0"/>
                                          </p:stCondLst>
                                        </p:cTn>
                                        <p:tgtEl>
                                          <p:spTgt spid="192">
                                            <p:txEl>
                                              <p:pRg st="2" end="2"/>
                                            </p:txEl>
                                          </p:spTgt>
                                        </p:tgtEl>
                                        <p:attrNameLst>
                                          <p:attrName>style.visibility</p:attrName>
                                        </p:attrNameLst>
                                      </p:cBhvr>
                                      <p:to>
                                        <p:strVal val="visible"/>
                                      </p:to>
                                    </p:set>
                                    <p:animEffect transition="in" filter="wipe(left)">
                                      <p:cBhvr>
                                        <p:cTn id="27" dur="750"/>
                                        <p:tgtEl>
                                          <p:spTgt spid="192">
                                            <p:txEl>
                                              <p:pRg st="2" end="2"/>
                                            </p:txEl>
                                          </p:spTgt>
                                        </p:tgtEl>
                                      </p:cBhvr>
                                    </p:animEffect>
                                  </p:childTnLst>
                                </p:cTn>
                              </p:par>
                            </p:childTnLst>
                          </p:cTn>
                        </p:par>
                        <p:par>
                          <p:cTn id="28" fill="hold">
                            <p:stCondLst>
                              <p:cond delay="4000"/>
                            </p:stCondLst>
                            <p:childTnLst>
                              <p:par>
                                <p:cTn id="29" presetID="22" presetClass="entr" presetSubtype="8" fill="hold" nodeType="afterEffect">
                                  <p:stCondLst>
                                    <p:cond delay="0"/>
                                  </p:stCondLst>
                                  <p:childTnLst>
                                    <p:set>
                                      <p:cBhvr>
                                        <p:cTn id="30" dur="1" fill="hold">
                                          <p:stCondLst>
                                            <p:cond delay="0"/>
                                          </p:stCondLst>
                                        </p:cTn>
                                        <p:tgtEl>
                                          <p:spTgt spid="192">
                                            <p:txEl>
                                              <p:pRg st="3" end="3"/>
                                            </p:txEl>
                                          </p:spTgt>
                                        </p:tgtEl>
                                        <p:attrNameLst>
                                          <p:attrName>style.visibility</p:attrName>
                                        </p:attrNameLst>
                                      </p:cBhvr>
                                      <p:to>
                                        <p:strVal val="visible"/>
                                      </p:to>
                                    </p:set>
                                    <p:animEffect transition="in" filter="wipe(left)">
                                      <p:cBhvr>
                                        <p:cTn id="31" dur="750"/>
                                        <p:tgtEl>
                                          <p:spTgt spid="192">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65" grpId="0" animBg="1"/>
    </p:bld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a:t>App Development </a:t>
            </a:r>
            <a:r>
              <a:rPr lang="en-US" sz="5400" dirty="0"/>
              <a:t>– </a:t>
            </a:r>
            <a:r>
              <a:rPr lang="en-US" dirty="0"/>
              <a:t>Languages </a:t>
            </a:r>
            <a:r>
              <a:rPr lang="en-US"/>
              <a:t>and Tools</a:t>
            </a:r>
            <a:br>
              <a:rPr lang="en-US" sz="2800">
                <a:solidFill>
                  <a:schemeClr val="accent2"/>
                </a:solidFill>
              </a:rPr>
            </a:br>
            <a:r>
              <a:rPr lang="en-US" sz="2800">
                <a:solidFill>
                  <a:schemeClr val="accent2"/>
                </a:solidFill>
              </a:rPr>
              <a:t>Azure Data Lake Store supports multiple languages for application development</a:t>
            </a:r>
            <a:br>
              <a:rPr lang="en-US" sz="2800">
                <a:solidFill>
                  <a:schemeClr val="accent2"/>
                </a:solidFill>
              </a:rPr>
            </a:br>
            <a:endParaRPr lang="en-US" sz="2800" dirty="0">
              <a:solidFill>
                <a:schemeClr val="accent2"/>
              </a:solidFill>
            </a:endParaRPr>
          </a:p>
        </p:txBody>
      </p:sp>
      <p:sp>
        <p:nvSpPr>
          <p:cNvPr id="132" name="Rectangle 131"/>
          <p:cNvSpPr/>
          <p:nvPr/>
        </p:nvSpPr>
        <p:spPr>
          <a:xfrm>
            <a:off x="434975" y="6002389"/>
            <a:ext cx="10932200" cy="307777"/>
          </a:xfrm>
          <a:prstGeom prst="rect">
            <a:avLst/>
          </a:prstGeom>
        </p:spPr>
        <p:txBody>
          <a:bodyPr wrap="square" lIns="0" tIns="0" rIns="0" bIns="0" anchor="b">
            <a:spAutoFit/>
          </a:bodyPr>
          <a:lstStyle/>
          <a:p>
            <a:pPr>
              <a:spcAft>
                <a:spcPts val="600"/>
              </a:spcAft>
            </a:pPr>
            <a:r>
              <a:rPr lang="en-US" sz="1000" dirty="0">
                <a:solidFill>
                  <a:schemeClr val="tx2"/>
                </a:solidFill>
                <a:ea typeface="Calibri" panose="020F0502020204030204" pitchFamily="34" charset="0"/>
              </a:rPr>
              <a:t>Note: If you are using Hadoop (Map Reduce programs or Hive or HBase) or Spark, then you will not be programming directly to the Azure Data Lake Store as they all will transparently access Azure Data Lake Store under the covers. </a:t>
            </a:r>
          </a:p>
        </p:txBody>
      </p:sp>
      <p:grpSp>
        <p:nvGrpSpPr>
          <p:cNvPr id="15" name="Group 14"/>
          <p:cNvGrpSpPr/>
          <p:nvPr/>
        </p:nvGrpSpPr>
        <p:grpSpPr>
          <a:xfrm>
            <a:off x="449618" y="2039669"/>
            <a:ext cx="4223982" cy="3168748"/>
            <a:chOff x="449618" y="2039669"/>
            <a:chExt cx="4223982" cy="3168748"/>
          </a:xfrm>
        </p:grpSpPr>
        <p:sp>
          <p:nvSpPr>
            <p:cNvPr id="196" name="Rectangle 195"/>
            <p:cNvSpPr/>
            <p:nvPr>
              <p:custDataLst>
                <p:tags r:id="rId5"/>
              </p:custDataLst>
            </p:nvPr>
          </p:nvSpPr>
          <p:spPr bwMode="auto">
            <a:xfrm>
              <a:off x="449618" y="2039669"/>
              <a:ext cx="4223982" cy="724997"/>
            </a:xfrm>
            <a:prstGeom prst="rect">
              <a:avLst/>
            </a:prstGeom>
            <a:solidFill>
              <a:schemeClr val="bg1">
                <a:lumMod val="95000"/>
              </a:schemeClr>
            </a:solidFill>
            <a:ln w="3175">
              <a:solidFill>
                <a:schemeClr val="bg1">
                  <a:lumMod val="75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0" tIns="91440" rIns="91440" bIns="91440" numCol="1" spcCol="0" rtlCol="0" fromWordArt="0" anchor="ctr" anchorCtr="0" forceAA="0" compatLnSpc="1">
              <a:prstTxWarp prst="textNoShape">
                <a:avLst/>
              </a:prstTxWarp>
              <a:noAutofit/>
            </a:bodyPr>
            <a:lstStyle/>
            <a:p>
              <a:pPr defTabSz="932472"/>
              <a:r>
                <a:rPr lang="en-US" sz="2000" dirty="0">
                  <a:solidFill>
                    <a:schemeClr val="accent1"/>
                  </a:solidFill>
                </a:rPr>
                <a:t>Java Developers</a:t>
              </a:r>
            </a:p>
          </p:txBody>
        </p:sp>
        <p:pic>
          <p:nvPicPr>
            <p:cNvPr id="205" name="Picture 12" descr="http://www.chamber.uz/upload/image/l12866_java_eps_logo_99090.png"/>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465703" y="2060280"/>
              <a:ext cx="699857" cy="699857"/>
            </a:xfrm>
            <a:prstGeom prst="rect">
              <a:avLst/>
            </a:prstGeom>
            <a:noFill/>
            <a:extLst>
              <a:ext uri="{909E8E84-426E-40DD-AFC4-6F175D3DCCD1}">
                <a14:hiddenFill xmlns:a14="http://schemas.microsoft.com/office/drawing/2010/main">
                  <a:solidFill>
                    <a:srgbClr val="FFFFFF"/>
                  </a:solidFill>
                </a14:hiddenFill>
              </a:ext>
            </a:extLst>
          </p:spPr>
        </p:pic>
        <p:sp>
          <p:nvSpPr>
            <p:cNvPr id="206" name="Rectangle 205"/>
            <p:cNvSpPr/>
            <p:nvPr>
              <p:custDataLst>
                <p:tags r:id="rId6"/>
              </p:custDataLst>
            </p:nvPr>
          </p:nvSpPr>
          <p:spPr bwMode="auto">
            <a:xfrm>
              <a:off x="449618" y="2854253"/>
              <a:ext cx="4223982" cy="724997"/>
            </a:xfrm>
            <a:prstGeom prst="rect">
              <a:avLst/>
            </a:prstGeom>
            <a:solidFill>
              <a:schemeClr val="bg1">
                <a:lumMod val="95000"/>
              </a:schemeClr>
            </a:solidFill>
            <a:ln w="3175">
              <a:solidFill>
                <a:schemeClr val="bg1">
                  <a:lumMod val="75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0" tIns="91440" rIns="91440" bIns="91440" numCol="1" spcCol="0" rtlCol="0" fromWordArt="0" anchor="ctr" anchorCtr="0" forceAA="0" compatLnSpc="1">
              <a:prstTxWarp prst="textNoShape">
                <a:avLst/>
              </a:prstTxWarp>
              <a:noAutofit/>
            </a:bodyPr>
            <a:lstStyle/>
            <a:p>
              <a:pPr defTabSz="932472"/>
              <a:r>
                <a:rPr lang="en-US" sz="2000" dirty="0">
                  <a:solidFill>
                    <a:schemeClr val="accent1"/>
                  </a:solidFill>
                </a:rPr>
                <a:t>C++ Developers</a:t>
              </a:r>
            </a:p>
          </p:txBody>
        </p:sp>
        <p:sp>
          <p:nvSpPr>
            <p:cNvPr id="207" name="Rectangle 206"/>
            <p:cNvSpPr/>
            <p:nvPr>
              <p:custDataLst>
                <p:tags r:id="rId7"/>
              </p:custDataLst>
            </p:nvPr>
          </p:nvSpPr>
          <p:spPr bwMode="auto">
            <a:xfrm>
              <a:off x="449618" y="3668837"/>
              <a:ext cx="4223982" cy="724997"/>
            </a:xfrm>
            <a:prstGeom prst="rect">
              <a:avLst/>
            </a:prstGeom>
            <a:solidFill>
              <a:schemeClr val="bg1">
                <a:lumMod val="95000"/>
              </a:schemeClr>
            </a:solidFill>
            <a:ln w="3175">
              <a:solidFill>
                <a:schemeClr val="bg1">
                  <a:lumMod val="75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0" tIns="91440" rIns="91440" bIns="91440" numCol="1" spcCol="0" rtlCol="0" fromWordArt="0" anchor="ctr" anchorCtr="0" forceAA="0" compatLnSpc="1">
              <a:prstTxWarp prst="textNoShape">
                <a:avLst/>
              </a:prstTxWarp>
              <a:noAutofit/>
            </a:bodyPr>
            <a:lstStyle/>
            <a:p>
              <a:pPr defTabSz="932472"/>
              <a:r>
                <a:rPr lang="en-US" sz="2000" dirty="0">
                  <a:solidFill>
                    <a:schemeClr val="accent1"/>
                  </a:solidFill>
                </a:rPr>
                <a:t>.NET Developers</a:t>
              </a:r>
            </a:p>
          </p:txBody>
        </p:sp>
        <p:sp>
          <p:nvSpPr>
            <p:cNvPr id="208" name="Rectangle 207"/>
            <p:cNvSpPr/>
            <p:nvPr>
              <p:custDataLst>
                <p:tags r:id="rId8"/>
              </p:custDataLst>
            </p:nvPr>
          </p:nvSpPr>
          <p:spPr bwMode="auto">
            <a:xfrm>
              <a:off x="449618" y="4483420"/>
              <a:ext cx="4223982" cy="724997"/>
            </a:xfrm>
            <a:prstGeom prst="rect">
              <a:avLst/>
            </a:prstGeom>
            <a:solidFill>
              <a:schemeClr val="bg1">
                <a:lumMod val="95000"/>
              </a:schemeClr>
            </a:solidFill>
            <a:ln w="3175">
              <a:solidFill>
                <a:schemeClr val="bg1">
                  <a:lumMod val="75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32472"/>
              <a:r>
                <a:rPr lang="en-US" sz="2000" dirty="0">
                  <a:solidFill>
                    <a:schemeClr val="accent1"/>
                  </a:solidFill>
                </a:rPr>
                <a:t>Other languages</a:t>
              </a:r>
            </a:p>
          </p:txBody>
        </p:sp>
        <p:pic>
          <p:nvPicPr>
            <p:cNvPr id="210" name="Picture 8" descr="http://t09.deviantart.net/kjQyJM9v33sMaWSOXhp-UkR7smw=/fit-in/150x150/filters:no_upscale():origin()/pre10/67b6/th/pre/f/2015/006/f/e/eclipse_luna_c___ide_icon_by_asoliard-d8cvmae.png"/>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600929" y="3009206"/>
              <a:ext cx="429403" cy="415090"/>
            </a:xfrm>
            <a:prstGeom prst="rect">
              <a:avLst/>
            </a:prstGeom>
            <a:noFill/>
            <a:extLst>
              <a:ext uri="{909E8E84-426E-40DD-AFC4-6F175D3DCCD1}">
                <a14:hiddenFill xmlns:a14="http://schemas.microsoft.com/office/drawing/2010/main">
                  <a:solidFill>
                    <a:srgbClr val="FFFFFF"/>
                  </a:solidFill>
                </a14:hiddenFill>
              </a:ext>
            </a:extLst>
          </p:spPr>
        </p:pic>
        <p:pic>
          <p:nvPicPr>
            <p:cNvPr id="211" name="Picture 6" descr="https://www.mulesoft.com/sites/default/files/icon-microsoft.net-big_0.png"/>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591701" y="3807405"/>
              <a:ext cx="447860" cy="447860"/>
            </a:xfrm>
            <a:prstGeom prst="rect">
              <a:avLst/>
            </a:prstGeom>
            <a:noFill/>
            <a:extLst>
              <a:ext uri="{909E8E84-426E-40DD-AFC4-6F175D3DCCD1}">
                <a14:hiddenFill xmlns:a14="http://schemas.microsoft.com/office/drawing/2010/main">
                  <a:solidFill>
                    <a:srgbClr val="FFFFFF"/>
                  </a:solidFill>
                </a14:hiddenFill>
              </a:ext>
            </a:extLst>
          </p:spPr>
        </p:pic>
        <p:cxnSp>
          <p:nvCxnSpPr>
            <p:cNvPr id="14" name="Straight Connector 13"/>
            <p:cNvCxnSpPr/>
            <p:nvPr/>
          </p:nvCxnSpPr>
          <p:spPr>
            <a:xfrm>
              <a:off x="1213185" y="2230717"/>
              <a:ext cx="0" cy="342900"/>
            </a:xfrm>
            <a:prstGeom prst="line">
              <a:avLst/>
            </a:prstGeom>
            <a:ln w="6350">
              <a:solidFill>
                <a:schemeClr val="bg1">
                  <a:lumMod val="75000"/>
                </a:schemeClr>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12" name="Straight Connector 211"/>
            <p:cNvCxnSpPr/>
            <p:nvPr/>
          </p:nvCxnSpPr>
          <p:spPr>
            <a:xfrm>
              <a:off x="1213185" y="3045301"/>
              <a:ext cx="0" cy="342900"/>
            </a:xfrm>
            <a:prstGeom prst="line">
              <a:avLst/>
            </a:prstGeom>
            <a:ln w="6350">
              <a:solidFill>
                <a:schemeClr val="bg1">
                  <a:lumMod val="75000"/>
                </a:schemeClr>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13" name="Straight Connector 212"/>
            <p:cNvCxnSpPr/>
            <p:nvPr/>
          </p:nvCxnSpPr>
          <p:spPr>
            <a:xfrm>
              <a:off x="1213185" y="3859885"/>
              <a:ext cx="0" cy="342900"/>
            </a:xfrm>
            <a:prstGeom prst="line">
              <a:avLst/>
            </a:prstGeom>
            <a:ln w="6350">
              <a:solidFill>
                <a:schemeClr val="bg1">
                  <a:lumMod val="75000"/>
                </a:schemeClr>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246" name="Group 245"/>
          <p:cNvGrpSpPr/>
          <p:nvPr/>
        </p:nvGrpSpPr>
        <p:grpSpPr>
          <a:xfrm>
            <a:off x="5524499" y="2039669"/>
            <a:ext cx="3762381" cy="3168748"/>
            <a:chOff x="4676270" y="2039669"/>
            <a:chExt cx="2867530" cy="3168748"/>
          </a:xfrm>
        </p:grpSpPr>
        <p:sp>
          <p:nvSpPr>
            <p:cNvPr id="215" name="Rectangle 214"/>
            <p:cNvSpPr/>
            <p:nvPr>
              <p:custDataLst>
                <p:tags r:id="rId1"/>
              </p:custDataLst>
            </p:nvPr>
          </p:nvSpPr>
          <p:spPr bwMode="auto">
            <a:xfrm>
              <a:off x="4676270" y="2039669"/>
              <a:ext cx="2867530" cy="724997"/>
            </a:xfrm>
            <a:prstGeom prst="rect">
              <a:avLst/>
            </a:prstGeom>
            <a:solidFill>
              <a:schemeClr val="bg1">
                <a:lumMod val="95000"/>
              </a:schemeClr>
            </a:solidFill>
            <a:ln w="3175">
              <a:solidFill>
                <a:schemeClr val="bg1">
                  <a:lumMod val="75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32472"/>
              <a:r>
                <a:rPr lang="en-US" sz="2000" dirty="0">
                  <a:solidFill>
                    <a:schemeClr val="accent1"/>
                  </a:solidFill>
                </a:rPr>
                <a:t>WebHDFS</a:t>
              </a:r>
            </a:p>
          </p:txBody>
        </p:sp>
        <p:sp>
          <p:nvSpPr>
            <p:cNvPr id="217" name="Rectangle 216"/>
            <p:cNvSpPr/>
            <p:nvPr>
              <p:custDataLst>
                <p:tags r:id="rId2"/>
              </p:custDataLst>
            </p:nvPr>
          </p:nvSpPr>
          <p:spPr bwMode="auto">
            <a:xfrm>
              <a:off x="4676270" y="2854253"/>
              <a:ext cx="2867530" cy="724997"/>
            </a:xfrm>
            <a:prstGeom prst="rect">
              <a:avLst/>
            </a:prstGeom>
            <a:solidFill>
              <a:schemeClr val="bg1">
                <a:lumMod val="95000"/>
              </a:schemeClr>
            </a:solidFill>
            <a:ln w="3175">
              <a:solidFill>
                <a:schemeClr val="bg1">
                  <a:lumMod val="75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32472"/>
              <a:r>
                <a:rPr lang="en-US" sz="2000" dirty="0">
                  <a:solidFill>
                    <a:schemeClr val="accent1"/>
                  </a:solidFill>
                </a:rPr>
                <a:t>LibWebHDFS</a:t>
              </a:r>
            </a:p>
          </p:txBody>
        </p:sp>
        <p:sp>
          <p:nvSpPr>
            <p:cNvPr id="218" name="Rectangle 217"/>
            <p:cNvSpPr/>
            <p:nvPr>
              <p:custDataLst>
                <p:tags r:id="rId3"/>
              </p:custDataLst>
            </p:nvPr>
          </p:nvSpPr>
          <p:spPr bwMode="auto">
            <a:xfrm>
              <a:off x="4676270" y="3668837"/>
              <a:ext cx="2867530" cy="724997"/>
            </a:xfrm>
            <a:prstGeom prst="rect">
              <a:avLst/>
            </a:prstGeom>
            <a:solidFill>
              <a:schemeClr val="bg1">
                <a:lumMod val="95000"/>
              </a:schemeClr>
            </a:solidFill>
            <a:ln w="3175">
              <a:solidFill>
                <a:schemeClr val="bg1">
                  <a:lumMod val="75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32472"/>
              <a:r>
                <a:rPr lang="en-US" sz="2000" dirty="0">
                  <a:solidFill>
                    <a:schemeClr val="accent1"/>
                  </a:solidFill>
                </a:rPr>
                <a:t>Azure .NET SDK</a:t>
              </a:r>
            </a:p>
          </p:txBody>
        </p:sp>
        <p:sp>
          <p:nvSpPr>
            <p:cNvPr id="219" name="Rectangle 218"/>
            <p:cNvSpPr/>
            <p:nvPr>
              <p:custDataLst>
                <p:tags r:id="rId4"/>
              </p:custDataLst>
            </p:nvPr>
          </p:nvSpPr>
          <p:spPr bwMode="auto">
            <a:xfrm>
              <a:off x="4676270" y="4483420"/>
              <a:ext cx="2867530" cy="724997"/>
            </a:xfrm>
            <a:prstGeom prst="rect">
              <a:avLst/>
            </a:prstGeom>
            <a:solidFill>
              <a:schemeClr val="bg1">
                <a:lumMod val="95000"/>
              </a:schemeClr>
            </a:solidFill>
            <a:ln w="3175">
              <a:solidFill>
                <a:schemeClr val="bg1">
                  <a:lumMod val="75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32472"/>
              <a:r>
                <a:rPr lang="en-US" sz="2000" dirty="0">
                  <a:solidFill>
                    <a:schemeClr val="accent1"/>
                  </a:solidFill>
                </a:rPr>
                <a:t>x-plat SDK</a:t>
              </a:r>
            </a:p>
          </p:txBody>
        </p:sp>
      </p:grpSp>
      <p:cxnSp>
        <p:nvCxnSpPr>
          <p:cNvPr id="226" name="Straight Arrow Connector 225"/>
          <p:cNvCxnSpPr>
            <a:stCxn id="196" idx="3"/>
            <a:endCxn id="215" idx="1"/>
          </p:cNvCxnSpPr>
          <p:nvPr/>
        </p:nvCxnSpPr>
        <p:spPr>
          <a:xfrm>
            <a:off x="4673600" y="2402168"/>
            <a:ext cx="850899" cy="0"/>
          </a:xfrm>
          <a:prstGeom prst="straightConnector1">
            <a:avLst/>
          </a:prstGeom>
          <a:ln w="25400">
            <a:solidFill>
              <a:schemeClr val="bg1">
                <a:lumMod val="50000"/>
              </a:schemeClr>
            </a:solidFill>
            <a:miter lim="800000"/>
            <a:headEnd type="none"/>
            <a:tailEnd type="triangle" w="lg" len="med"/>
          </a:ln>
        </p:spPr>
        <p:style>
          <a:lnRef idx="1">
            <a:schemeClr val="accent1"/>
          </a:lnRef>
          <a:fillRef idx="0">
            <a:schemeClr val="accent1"/>
          </a:fillRef>
          <a:effectRef idx="0">
            <a:schemeClr val="accent1"/>
          </a:effectRef>
          <a:fontRef idx="minor">
            <a:schemeClr val="tx1"/>
          </a:fontRef>
        </p:style>
      </p:cxnSp>
      <p:cxnSp>
        <p:nvCxnSpPr>
          <p:cNvPr id="227" name="Straight Arrow Connector 226"/>
          <p:cNvCxnSpPr>
            <a:stCxn id="206" idx="3"/>
            <a:endCxn id="217" idx="1"/>
          </p:cNvCxnSpPr>
          <p:nvPr/>
        </p:nvCxnSpPr>
        <p:spPr>
          <a:xfrm>
            <a:off x="4673600" y="3216752"/>
            <a:ext cx="850899" cy="0"/>
          </a:xfrm>
          <a:prstGeom prst="straightConnector1">
            <a:avLst/>
          </a:prstGeom>
          <a:ln w="25400">
            <a:solidFill>
              <a:schemeClr val="bg1">
                <a:lumMod val="50000"/>
              </a:schemeClr>
            </a:solidFill>
            <a:miter lim="800000"/>
            <a:headEnd type="none"/>
            <a:tailEnd type="triangle" w="lg" len="med"/>
          </a:ln>
        </p:spPr>
        <p:style>
          <a:lnRef idx="1">
            <a:schemeClr val="accent1"/>
          </a:lnRef>
          <a:fillRef idx="0">
            <a:schemeClr val="accent1"/>
          </a:fillRef>
          <a:effectRef idx="0">
            <a:schemeClr val="accent1"/>
          </a:effectRef>
          <a:fontRef idx="minor">
            <a:schemeClr val="tx1"/>
          </a:fontRef>
        </p:style>
      </p:cxnSp>
      <p:cxnSp>
        <p:nvCxnSpPr>
          <p:cNvPr id="228" name="Straight Arrow Connector 227"/>
          <p:cNvCxnSpPr>
            <a:stCxn id="207" idx="3"/>
            <a:endCxn id="218" idx="1"/>
          </p:cNvCxnSpPr>
          <p:nvPr/>
        </p:nvCxnSpPr>
        <p:spPr>
          <a:xfrm>
            <a:off x="4673600" y="4031336"/>
            <a:ext cx="850899" cy="0"/>
          </a:xfrm>
          <a:prstGeom prst="straightConnector1">
            <a:avLst/>
          </a:prstGeom>
          <a:ln w="25400">
            <a:solidFill>
              <a:schemeClr val="bg1">
                <a:lumMod val="50000"/>
              </a:schemeClr>
            </a:solidFill>
            <a:miter lim="800000"/>
            <a:headEnd type="none"/>
            <a:tailEnd type="triangle" w="lg" len="med"/>
          </a:ln>
        </p:spPr>
        <p:style>
          <a:lnRef idx="1">
            <a:schemeClr val="accent1"/>
          </a:lnRef>
          <a:fillRef idx="0">
            <a:schemeClr val="accent1"/>
          </a:fillRef>
          <a:effectRef idx="0">
            <a:schemeClr val="accent1"/>
          </a:effectRef>
          <a:fontRef idx="minor">
            <a:schemeClr val="tx1"/>
          </a:fontRef>
        </p:style>
      </p:cxnSp>
      <p:cxnSp>
        <p:nvCxnSpPr>
          <p:cNvPr id="229" name="Straight Arrow Connector 228"/>
          <p:cNvCxnSpPr>
            <a:stCxn id="208" idx="3"/>
            <a:endCxn id="219" idx="1"/>
          </p:cNvCxnSpPr>
          <p:nvPr/>
        </p:nvCxnSpPr>
        <p:spPr>
          <a:xfrm>
            <a:off x="4673600" y="4845919"/>
            <a:ext cx="850899" cy="0"/>
          </a:xfrm>
          <a:prstGeom prst="straightConnector1">
            <a:avLst/>
          </a:prstGeom>
          <a:ln w="25400">
            <a:solidFill>
              <a:schemeClr val="bg1">
                <a:lumMod val="50000"/>
              </a:schemeClr>
            </a:solidFill>
            <a:miter lim="800000"/>
            <a:headEnd type="none"/>
            <a:tailEnd type="triangle" w="lg" len="med"/>
          </a:ln>
        </p:spPr>
        <p:style>
          <a:lnRef idx="1">
            <a:schemeClr val="accent1"/>
          </a:lnRef>
          <a:fillRef idx="0">
            <a:schemeClr val="accent1"/>
          </a:fillRef>
          <a:effectRef idx="0">
            <a:schemeClr val="accent1"/>
          </a:effectRef>
          <a:fontRef idx="minor">
            <a:schemeClr val="tx1"/>
          </a:fontRef>
        </p:style>
      </p:cxnSp>
      <p:pic>
        <p:nvPicPr>
          <p:cNvPr id="230" name="Picture 4" descr="http://www.gnx.dk/wp-content/uploads/2015/06/visual_studio.jpg"/>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9987104" y="3038167"/>
            <a:ext cx="1769921" cy="1171753"/>
          </a:xfrm>
          <a:prstGeom prst="rect">
            <a:avLst/>
          </a:prstGeom>
          <a:noFill/>
          <a:extLst>
            <a:ext uri="{909E8E84-426E-40DD-AFC4-6F175D3DCCD1}">
              <a14:hiddenFill xmlns:a14="http://schemas.microsoft.com/office/drawing/2010/main">
                <a:solidFill>
                  <a:srgbClr val="FFFFFF"/>
                </a:solidFill>
              </a14:hiddenFill>
            </a:ext>
          </a:extLst>
        </p:spPr>
      </p:pic>
      <p:grpSp>
        <p:nvGrpSpPr>
          <p:cNvPr id="249" name="Group 248"/>
          <p:cNvGrpSpPr/>
          <p:nvPr/>
        </p:nvGrpSpPr>
        <p:grpSpPr>
          <a:xfrm>
            <a:off x="9286881" y="2402168"/>
            <a:ext cx="892169" cy="2443751"/>
            <a:chOff x="9286881" y="2402168"/>
            <a:chExt cx="892169" cy="2443751"/>
          </a:xfrm>
        </p:grpSpPr>
        <p:cxnSp>
          <p:nvCxnSpPr>
            <p:cNvPr id="240" name="Elbow Connector 239"/>
            <p:cNvCxnSpPr/>
            <p:nvPr/>
          </p:nvCxnSpPr>
          <p:spPr>
            <a:xfrm>
              <a:off x="9286881" y="2402168"/>
              <a:ext cx="12700" cy="2443751"/>
            </a:xfrm>
            <a:prstGeom prst="bentConnector3">
              <a:avLst>
                <a:gd name="adj1" fmla="val 1800000"/>
              </a:avLst>
            </a:prstGeom>
            <a:ln w="25400">
              <a:solidFill>
                <a:schemeClr val="bg1">
                  <a:lumMod val="50000"/>
                </a:schemeClr>
              </a:solidFill>
              <a:miter lim="800000"/>
              <a:headEnd type="none"/>
              <a:tailEnd type="none" w="lg" len="med"/>
            </a:ln>
          </p:spPr>
          <p:style>
            <a:lnRef idx="1">
              <a:schemeClr val="accent1"/>
            </a:lnRef>
            <a:fillRef idx="0">
              <a:schemeClr val="accent1"/>
            </a:fillRef>
            <a:effectRef idx="0">
              <a:schemeClr val="accent1"/>
            </a:effectRef>
            <a:fontRef idx="minor">
              <a:schemeClr val="tx1"/>
            </a:fontRef>
          </p:style>
        </p:cxnSp>
        <p:cxnSp>
          <p:nvCxnSpPr>
            <p:cNvPr id="247" name="Straight Arrow Connector 246"/>
            <p:cNvCxnSpPr/>
            <p:nvPr/>
          </p:nvCxnSpPr>
          <p:spPr>
            <a:xfrm>
              <a:off x="9506991" y="3624043"/>
              <a:ext cx="672059" cy="0"/>
            </a:xfrm>
            <a:prstGeom prst="straightConnector1">
              <a:avLst/>
            </a:prstGeom>
            <a:ln w="25400">
              <a:solidFill>
                <a:schemeClr val="bg1">
                  <a:lumMod val="50000"/>
                </a:schemeClr>
              </a:solidFill>
              <a:miter lim="800000"/>
              <a:headEnd type="none"/>
              <a:tailEnd type="triangle" w="lg" len="med"/>
            </a:ln>
          </p:spPr>
          <p:style>
            <a:lnRef idx="1">
              <a:schemeClr val="accent1"/>
            </a:lnRef>
            <a:fillRef idx="0">
              <a:schemeClr val="accent1"/>
            </a:fillRef>
            <a:effectRef idx="0">
              <a:schemeClr val="accent1"/>
            </a:effectRef>
            <a:fontRef idx="minor">
              <a:schemeClr val="tx1"/>
            </a:fontRef>
          </p:style>
        </p:cxnSp>
      </p:grpSp>
      <p:sp>
        <p:nvSpPr>
          <p:cNvPr id="2" name="Slide Number Placeholder 1"/>
          <p:cNvSpPr>
            <a:spLocks noGrp="1"/>
          </p:cNvSpPr>
          <p:nvPr>
            <p:ph type="sldNum" sz="quarter" idx="11"/>
          </p:nvPr>
        </p:nvSpPr>
        <p:spPr/>
        <p:txBody>
          <a:bodyPr/>
          <a:lstStyle/>
          <a:p>
            <a:pPr>
              <a:defRPr/>
            </a:pPr>
            <a:fld id="{F8A0AC42-AA1D-4944-8D96-660DE70C7E1B}" type="slidenum">
              <a:rPr lang="en-US" smtClean="0"/>
              <a:pPr>
                <a:defRPr/>
              </a:pPr>
              <a:t>44</a:t>
            </a:fld>
            <a:endParaRPr lang="en-US" dirty="0"/>
          </a:p>
        </p:txBody>
      </p:sp>
    </p:spTree>
    <p:extLst>
      <p:ext uri="{BB962C8B-B14F-4D97-AF65-F5344CB8AC3E}">
        <p14:creationId xmlns:p14="http://schemas.microsoft.com/office/powerpoint/2010/main" val="1554937132"/>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fade">
                                      <p:cBhvr>
                                        <p:cTn id="7" dur="1000"/>
                                        <p:tgtEl>
                                          <p:spTgt spid="15"/>
                                        </p:tgtEl>
                                      </p:cBhvr>
                                    </p:animEffect>
                                  </p:childTnLst>
                                </p:cTn>
                              </p:par>
                            </p:childTnLst>
                          </p:cTn>
                        </p:par>
                        <p:par>
                          <p:cTn id="8" fill="hold">
                            <p:stCondLst>
                              <p:cond delay="1000"/>
                            </p:stCondLst>
                            <p:childTnLst>
                              <p:par>
                                <p:cTn id="9" presetID="22" presetClass="entr" presetSubtype="8" fill="hold" nodeType="afterEffect">
                                  <p:stCondLst>
                                    <p:cond delay="0"/>
                                  </p:stCondLst>
                                  <p:childTnLst>
                                    <p:set>
                                      <p:cBhvr>
                                        <p:cTn id="10" dur="1" fill="hold">
                                          <p:stCondLst>
                                            <p:cond delay="0"/>
                                          </p:stCondLst>
                                        </p:cTn>
                                        <p:tgtEl>
                                          <p:spTgt spid="226"/>
                                        </p:tgtEl>
                                        <p:attrNameLst>
                                          <p:attrName>style.visibility</p:attrName>
                                        </p:attrNameLst>
                                      </p:cBhvr>
                                      <p:to>
                                        <p:strVal val="visible"/>
                                      </p:to>
                                    </p:set>
                                    <p:animEffect transition="in" filter="wipe(left)">
                                      <p:cBhvr>
                                        <p:cTn id="11" dur="500"/>
                                        <p:tgtEl>
                                          <p:spTgt spid="226"/>
                                        </p:tgtEl>
                                      </p:cBhvr>
                                    </p:animEffect>
                                  </p:childTnLst>
                                </p:cTn>
                              </p:par>
                              <p:par>
                                <p:cTn id="12" presetID="22" presetClass="entr" presetSubtype="8" fill="hold" nodeType="withEffect">
                                  <p:stCondLst>
                                    <p:cond delay="0"/>
                                  </p:stCondLst>
                                  <p:childTnLst>
                                    <p:set>
                                      <p:cBhvr>
                                        <p:cTn id="13" dur="1" fill="hold">
                                          <p:stCondLst>
                                            <p:cond delay="0"/>
                                          </p:stCondLst>
                                        </p:cTn>
                                        <p:tgtEl>
                                          <p:spTgt spid="227"/>
                                        </p:tgtEl>
                                        <p:attrNameLst>
                                          <p:attrName>style.visibility</p:attrName>
                                        </p:attrNameLst>
                                      </p:cBhvr>
                                      <p:to>
                                        <p:strVal val="visible"/>
                                      </p:to>
                                    </p:set>
                                    <p:animEffect transition="in" filter="wipe(left)">
                                      <p:cBhvr>
                                        <p:cTn id="14" dur="500"/>
                                        <p:tgtEl>
                                          <p:spTgt spid="227"/>
                                        </p:tgtEl>
                                      </p:cBhvr>
                                    </p:animEffect>
                                  </p:childTnLst>
                                </p:cTn>
                              </p:par>
                              <p:par>
                                <p:cTn id="15" presetID="22" presetClass="entr" presetSubtype="8" fill="hold" nodeType="withEffect">
                                  <p:stCondLst>
                                    <p:cond delay="0"/>
                                  </p:stCondLst>
                                  <p:childTnLst>
                                    <p:set>
                                      <p:cBhvr>
                                        <p:cTn id="16" dur="1" fill="hold">
                                          <p:stCondLst>
                                            <p:cond delay="0"/>
                                          </p:stCondLst>
                                        </p:cTn>
                                        <p:tgtEl>
                                          <p:spTgt spid="228"/>
                                        </p:tgtEl>
                                        <p:attrNameLst>
                                          <p:attrName>style.visibility</p:attrName>
                                        </p:attrNameLst>
                                      </p:cBhvr>
                                      <p:to>
                                        <p:strVal val="visible"/>
                                      </p:to>
                                    </p:set>
                                    <p:animEffect transition="in" filter="wipe(left)">
                                      <p:cBhvr>
                                        <p:cTn id="17" dur="500"/>
                                        <p:tgtEl>
                                          <p:spTgt spid="228"/>
                                        </p:tgtEl>
                                      </p:cBhvr>
                                    </p:animEffect>
                                  </p:childTnLst>
                                </p:cTn>
                              </p:par>
                              <p:par>
                                <p:cTn id="18" presetID="22" presetClass="entr" presetSubtype="8" fill="hold" nodeType="withEffect">
                                  <p:stCondLst>
                                    <p:cond delay="0"/>
                                  </p:stCondLst>
                                  <p:childTnLst>
                                    <p:set>
                                      <p:cBhvr>
                                        <p:cTn id="19" dur="1" fill="hold">
                                          <p:stCondLst>
                                            <p:cond delay="0"/>
                                          </p:stCondLst>
                                        </p:cTn>
                                        <p:tgtEl>
                                          <p:spTgt spid="229"/>
                                        </p:tgtEl>
                                        <p:attrNameLst>
                                          <p:attrName>style.visibility</p:attrName>
                                        </p:attrNameLst>
                                      </p:cBhvr>
                                      <p:to>
                                        <p:strVal val="visible"/>
                                      </p:to>
                                    </p:set>
                                    <p:animEffect transition="in" filter="wipe(left)">
                                      <p:cBhvr>
                                        <p:cTn id="20" dur="500"/>
                                        <p:tgtEl>
                                          <p:spTgt spid="229"/>
                                        </p:tgtEl>
                                      </p:cBhvr>
                                    </p:animEffect>
                                  </p:childTnLst>
                                </p:cTn>
                              </p:par>
                            </p:childTnLst>
                          </p:cTn>
                        </p:par>
                        <p:par>
                          <p:cTn id="21" fill="hold">
                            <p:stCondLst>
                              <p:cond delay="1500"/>
                            </p:stCondLst>
                            <p:childTnLst>
                              <p:par>
                                <p:cTn id="22" presetID="10" presetClass="entr" presetSubtype="0" fill="hold" nodeType="afterEffect">
                                  <p:stCondLst>
                                    <p:cond delay="0"/>
                                  </p:stCondLst>
                                  <p:childTnLst>
                                    <p:set>
                                      <p:cBhvr>
                                        <p:cTn id="23" dur="1" fill="hold">
                                          <p:stCondLst>
                                            <p:cond delay="0"/>
                                          </p:stCondLst>
                                        </p:cTn>
                                        <p:tgtEl>
                                          <p:spTgt spid="246"/>
                                        </p:tgtEl>
                                        <p:attrNameLst>
                                          <p:attrName>style.visibility</p:attrName>
                                        </p:attrNameLst>
                                      </p:cBhvr>
                                      <p:to>
                                        <p:strVal val="visible"/>
                                      </p:to>
                                    </p:set>
                                    <p:animEffect transition="in" filter="fade">
                                      <p:cBhvr>
                                        <p:cTn id="24" dur="1000"/>
                                        <p:tgtEl>
                                          <p:spTgt spid="246"/>
                                        </p:tgtEl>
                                      </p:cBhvr>
                                    </p:animEffect>
                                  </p:childTnLst>
                                </p:cTn>
                              </p:par>
                            </p:childTnLst>
                          </p:cTn>
                        </p:par>
                        <p:par>
                          <p:cTn id="25" fill="hold">
                            <p:stCondLst>
                              <p:cond delay="2500"/>
                            </p:stCondLst>
                            <p:childTnLst>
                              <p:par>
                                <p:cTn id="26" presetID="22" presetClass="entr" presetSubtype="8" fill="hold" nodeType="afterEffect">
                                  <p:stCondLst>
                                    <p:cond delay="0"/>
                                  </p:stCondLst>
                                  <p:childTnLst>
                                    <p:set>
                                      <p:cBhvr>
                                        <p:cTn id="27" dur="1" fill="hold">
                                          <p:stCondLst>
                                            <p:cond delay="0"/>
                                          </p:stCondLst>
                                        </p:cTn>
                                        <p:tgtEl>
                                          <p:spTgt spid="249"/>
                                        </p:tgtEl>
                                        <p:attrNameLst>
                                          <p:attrName>style.visibility</p:attrName>
                                        </p:attrNameLst>
                                      </p:cBhvr>
                                      <p:to>
                                        <p:strVal val="visible"/>
                                      </p:to>
                                    </p:set>
                                    <p:animEffect transition="in" filter="wipe(left)">
                                      <p:cBhvr>
                                        <p:cTn id="28" dur="500"/>
                                        <p:tgtEl>
                                          <p:spTgt spid="249"/>
                                        </p:tgtEl>
                                      </p:cBhvr>
                                    </p:animEffect>
                                  </p:childTnLst>
                                </p:cTn>
                              </p:par>
                            </p:childTnLst>
                          </p:cTn>
                        </p:par>
                        <p:par>
                          <p:cTn id="29" fill="hold">
                            <p:stCondLst>
                              <p:cond delay="3000"/>
                            </p:stCondLst>
                            <p:childTnLst>
                              <p:par>
                                <p:cTn id="30" presetID="10" presetClass="entr" presetSubtype="0" fill="hold" nodeType="afterEffect">
                                  <p:stCondLst>
                                    <p:cond delay="0"/>
                                  </p:stCondLst>
                                  <p:childTnLst>
                                    <p:set>
                                      <p:cBhvr>
                                        <p:cTn id="31" dur="1" fill="hold">
                                          <p:stCondLst>
                                            <p:cond delay="0"/>
                                          </p:stCondLst>
                                        </p:cTn>
                                        <p:tgtEl>
                                          <p:spTgt spid="230"/>
                                        </p:tgtEl>
                                        <p:attrNameLst>
                                          <p:attrName>style.visibility</p:attrName>
                                        </p:attrNameLst>
                                      </p:cBhvr>
                                      <p:to>
                                        <p:strVal val="visible"/>
                                      </p:to>
                                    </p:set>
                                    <p:animEffect transition="in" filter="fade">
                                      <p:cBhvr>
                                        <p:cTn id="32" dur="500"/>
                                        <p:tgtEl>
                                          <p:spTgt spid="230"/>
                                        </p:tgtEl>
                                      </p:cBhvr>
                                    </p:animEffect>
                                  </p:childTnLst>
                                </p:cTn>
                              </p:par>
                            </p:childTnLst>
                          </p:cTn>
                        </p:par>
                        <p:par>
                          <p:cTn id="33" fill="hold">
                            <p:stCondLst>
                              <p:cond delay="3500"/>
                            </p:stCondLst>
                            <p:childTnLst>
                              <p:par>
                                <p:cTn id="34" presetID="10" presetClass="entr" presetSubtype="0" fill="hold" grpId="0" nodeType="afterEffect">
                                  <p:stCondLst>
                                    <p:cond delay="0"/>
                                  </p:stCondLst>
                                  <p:childTnLst>
                                    <p:set>
                                      <p:cBhvr>
                                        <p:cTn id="35" dur="1" fill="hold">
                                          <p:stCondLst>
                                            <p:cond delay="0"/>
                                          </p:stCondLst>
                                        </p:cTn>
                                        <p:tgtEl>
                                          <p:spTgt spid="132"/>
                                        </p:tgtEl>
                                        <p:attrNameLst>
                                          <p:attrName>style.visibility</p:attrName>
                                        </p:attrNameLst>
                                      </p:cBhvr>
                                      <p:to>
                                        <p:strVal val="visible"/>
                                      </p:to>
                                    </p:set>
                                    <p:animEffect transition="in" filter="fade">
                                      <p:cBhvr>
                                        <p:cTn id="36" dur="500"/>
                                        <p:tgtEl>
                                          <p:spTgt spid="13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2" grpId="0"/>
    </p:bld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GB" dirty="0"/>
              <a:t>Developing scripting applications</a:t>
            </a:r>
          </a:p>
        </p:txBody>
      </p:sp>
      <p:sp>
        <p:nvSpPr>
          <p:cNvPr id="6" name="Text Placeholder 5"/>
          <p:cNvSpPr>
            <a:spLocks noGrp="1"/>
          </p:cNvSpPr>
          <p:nvPr>
            <p:ph type="body" sz="quarter" idx="11"/>
          </p:nvPr>
        </p:nvSpPr>
        <p:spPr>
          <a:xfrm>
            <a:off x="266922" y="1284251"/>
            <a:ext cx="5244878" cy="5079227"/>
          </a:xfrm>
        </p:spPr>
        <p:txBody>
          <a:bodyPr tIns="0"/>
          <a:lstStyle/>
          <a:p>
            <a:pPr>
              <a:lnSpc>
                <a:spcPct val="100000"/>
              </a:lnSpc>
              <a:spcBef>
                <a:spcPts val="1200"/>
              </a:spcBef>
            </a:pPr>
            <a:r>
              <a:rPr lang="en-US" sz="2800" dirty="0">
                <a:solidFill>
                  <a:schemeClr val="accent2"/>
                </a:solidFill>
              </a:rPr>
              <a:t>Provides native Windows and cross-platform (Mac, Linux) scripting experience</a:t>
            </a:r>
          </a:p>
          <a:p>
            <a:pPr>
              <a:lnSpc>
                <a:spcPct val="100000"/>
              </a:lnSpc>
              <a:spcBef>
                <a:spcPts val="1200"/>
              </a:spcBef>
            </a:pPr>
            <a:r>
              <a:rPr lang="en-US" sz="2800" dirty="0">
                <a:solidFill>
                  <a:schemeClr val="tx2"/>
                </a:solidFill>
              </a:rPr>
              <a:t>Scripting operations include</a:t>
            </a:r>
          </a:p>
          <a:p>
            <a:pPr marL="576072" indent="-457200" defTabSz="914400">
              <a:lnSpc>
                <a:spcPct val="100000"/>
              </a:lnSpc>
              <a:spcBef>
                <a:spcPts val="200"/>
              </a:spcBef>
              <a:spcAft>
                <a:spcPts val="400"/>
              </a:spcAft>
              <a:buClr>
                <a:srgbClr val="50B347"/>
              </a:buClr>
              <a:buSzPct val="100000"/>
              <a:buBlip>
                <a:blip r:embed="rId3"/>
              </a:buBlip>
              <a:tabLst>
                <a:tab pos="658368" algn="l"/>
              </a:tabLst>
            </a:pPr>
            <a:r>
              <a:rPr lang="en-US" sz="2400" dirty="0">
                <a:solidFill>
                  <a:srgbClr val="505050"/>
                </a:solidFill>
                <a:latin typeface="Segoe UI Light" panose="020B0502040204020203" pitchFamily="34" charset="0"/>
                <a:ea typeface="Segoe UI" pitchFamily="34" charset="0"/>
                <a:cs typeface="Segoe UI Light" panose="020B0502040204020203" pitchFamily="34" charset="0"/>
              </a:rPr>
              <a:t>Create new directories</a:t>
            </a:r>
          </a:p>
          <a:p>
            <a:pPr marL="576072" indent="-457200" defTabSz="914400">
              <a:lnSpc>
                <a:spcPct val="100000"/>
              </a:lnSpc>
              <a:spcBef>
                <a:spcPts val="200"/>
              </a:spcBef>
              <a:spcAft>
                <a:spcPts val="400"/>
              </a:spcAft>
              <a:buClr>
                <a:srgbClr val="50B347"/>
              </a:buClr>
              <a:buSzPct val="100000"/>
              <a:buBlip>
                <a:blip r:embed="rId3"/>
              </a:buBlip>
              <a:tabLst>
                <a:tab pos="658368" algn="l"/>
              </a:tabLst>
            </a:pPr>
            <a:r>
              <a:rPr lang="en-US" sz="2400" dirty="0">
                <a:solidFill>
                  <a:srgbClr val="505050"/>
                </a:solidFill>
                <a:latin typeface="Segoe UI Light" panose="020B0502040204020203" pitchFamily="34" charset="0"/>
                <a:ea typeface="Segoe UI" pitchFamily="34" charset="0"/>
                <a:cs typeface="Segoe UI Light" panose="020B0502040204020203" pitchFamily="34" charset="0"/>
              </a:rPr>
              <a:t>Listing the contents of a directory</a:t>
            </a:r>
          </a:p>
          <a:p>
            <a:pPr marL="576072" indent="-457200" defTabSz="914400">
              <a:lnSpc>
                <a:spcPct val="100000"/>
              </a:lnSpc>
              <a:spcBef>
                <a:spcPts val="200"/>
              </a:spcBef>
              <a:spcAft>
                <a:spcPts val="400"/>
              </a:spcAft>
              <a:buClr>
                <a:srgbClr val="50B347"/>
              </a:buClr>
              <a:buSzPct val="100000"/>
              <a:buBlip>
                <a:blip r:embed="rId3"/>
              </a:buBlip>
              <a:tabLst>
                <a:tab pos="658368" algn="l"/>
              </a:tabLst>
            </a:pPr>
            <a:r>
              <a:rPr lang="en-US" sz="2400" dirty="0">
                <a:solidFill>
                  <a:srgbClr val="505050"/>
                </a:solidFill>
                <a:latin typeface="Segoe UI Light" panose="020B0502040204020203" pitchFamily="34" charset="0"/>
                <a:ea typeface="Segoe UI" pitchFamily="34" charset="0"/>
                <a:cs typeface="Segoe UI Light" panose="020B0502040204020203" pitchFamily="34" charset="0"/>
              </a:rPr>
              <a:t>Upload files to directory</a:t>
            </a:r>
          </a:p>
          <a:p>
            <a:pPr marL="576072" indent="-457200" defTabSz="914400">
              <a:lnSpc>
                <a:spcPct val="100000"/>
              </a:lnSpc>
              <a:spcBef>
                <a:spcPts val="200"/>
              </a:spcBef>
              <a:spcAft>
                <a:spcPts val="400"/>
              </a:spcAft>
              <a:buClr>
                <a:srgbClr val="50B347"/>
              </a:buClr>
              <a:buSzPct val="100000"/>
              <a:buBlip>
                <a:blip r:embed="rId3"/>
              </a:buBlip>
              <a:tabLst>
                <a:tab pos="658368" algn="l"/>
              </a:tabLst>
            </a:pPr>
            <a:r>
              <a:rPr lang="en-US" sz="2400" dirty="0">
                <a:solidFill>
                  <a:srgbClr val="505050"/>
                </a:solidFill>
                <a:latin typeface="Segoe UI Light" panose="020B0502040204020203" pitchFamily="34" charset="0"/>
                <a:ea typeface="Segoe UI" pitchFamily="34" charset="0"/>
                <a:cs typeface="Segoe UI Light" panose="020B0502040204020203" pitchFamily="34" charset="0"/>
              </a:rPr>
              <a:t>Delete files/directories</a:t>
            </a:r>
          </a:p>
          <a:p>
            <a:pPr marL="576072" indent="-457200" defTabSz="914400">
              <a:lnSpc>
                <a:spcPct val="100000"/>
              </a:lnSpc>
              <a:spcBef>
                <a:spcPts val="200"/>
              </a:spcBef>
              <a:spcAft>
                <a:spcPts val="400"/>
              </a:spcAft>
              <a:buClr>
                <a:srgbClr val="50B347"/>
              </a:buClr>
              <a:buSzPct val="100000"/>
              <a:buBlip>
                <a:blip r:embed="rId3"/>
              </a:buBlip>
              <a:tabLst>
                <a:tab pos="658368" algn="l"/>
              </a:tabLst>
            </a:pPr>
            <a:r>
              <a:rPr lang="en-US" sz="2400" dirty="0">
                <a:solidFill>
                  <a:srgbClr val="505050"/>
                </a:solidFill>
                <a:latin typeface="Segoe UI Light" panose="020B0502040204020203" pitchFamily="34" charset="0"/>
                <a:ea typeface="Segoe UI" pitchFamily="34" charset="0"/>
                <a:cs typeface="Segoe UI Light" panose="020B0502040204020203" pitchFamily="34" charset="0"/>
              </a:rPr>
              <a:t>Rename files/directories</a:t>
            </a:r>
          </a:p>
          <a:p>
            <a:pPr marL="576072" indent="-457200" defTabSz="914400">
              <a:lnSpc>
                <a:spcPct val="100000"/>
              </a:lnSpc>
              <a:spcBef>
                <a:spcPts val="200"/>
              </a:spcBef>
              <a:spcAft>
                <a:spcPts val="400"/>
              </a:spcAft>
              <a:buClr>
                <a:srgbClr val="50B347"/>
              </a:buClr>
              <a:buSzPct val="100000"/>
              <a:buBlip>
                <a:blip r:embed="rId3"/>
              </a:buBlip>
              <a:tabLst>
                <a:tab pos="658368" algn="l"/>
              </a:tabLst>
            </a:pPr>
            <a:r>
              <a:rPr lang="en-US" sz="2400" dirty="0">
                <a:solidFill>
                  <a:srgbClr val="505050"/>
                </a:solidFill>
                <a:latin typeface="Segoe UI Light" panose="020B0502040204020203" pitchFamily="34" charset="0"/>
                <a:ea typeface="Segoe UI" pitchFamily="34" charset="0"/>
                <a:cs typeface="Segoe UI Light" panose="020B0502040204020203" pitchFamily="34" charset="0"/>
              </a:rPr>
              <a:t>…</a:t>
            </a:r>
          </a:p>
        </p:txBody>
      </p:sp>
      <p:sp>
        <p:nvSpPr>
          <p:cNvPr id="7" name="Slide Number Placeholder 6"/>
          <p:cNvSpPr>
            <a:spLocks noGrp="1"/>
          </p:cNvSpPr>
          <p:nvPr>
            <p:ph type="sldNum" sz="quarter" idx="4"/>
          </p:nvPr>
        </p:nvSpPr>
        <p:spPr/>
        <p:txBody>
          <a:bodyPr/>
          <a:lstStyle/>
          <a:p>
            <a:pPr>
              <a:defRPr/>
            </a:pPr>
            <a:fld id="{75FAD755-3BD0-2447-A9DF-109DAABEFD99}" type="slidenum">
              <a:rPr lang="en-US" smtClean="0"/>
              <a:pPr>
                <a:defRPr/>
              </a:pPr>
              <a:t>45</a:t>
            </a:fld>
            <a:endParaRPr lang="en-US" dirty="0"/>
          </a:p>
        </p:txBody>
      </p:sp>
      <p:grpSp>
        <p:nvGrpSpPr>
          <p:cNvPr id="9" name="Group 8"/>
          <p:cNvGrpSpPr/>
          <p:nvPr/>
        </p:nvGrpSpPr>
        <p:grpSpPr>
          <a:xfrm>
            <a:off x="5538254" y="1284251"/>
            <a:ext cx="6218771" cy="4410949"/>
            <a:chOff x="5538254" y="1284251"/>
            <a:chExt cx="6218771" cy="4410949"/>
          </a:xfrm>
        </p:grpSpPr>
        <p:sp>
          <p:nvSpPr>
            <p:cNvPr id="8" name="Rectangle 7"/>
            <p:cNvSpPr/>
            <p:nvPr/>
          </p:nvSpPr>
          <p:spPr bwMode="auto">
            <a:xfrm>
              <a:off x="5538254" y="3864183"/>
              <a:ext cx="6218771" cy="1813043"/>
            </a:xfrm>
            <a:prstGeom prst="rect">
              <a:avLst/>
            </a:prstGeom>
            <a:solidFill>
              <a:srgbClr val="002050"/>
            </a:solidFill>
            <a:ln>
              <a:solidFill>
                <a:srgbClr val="002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a:solidFill>
                  <a:schemeClr val="bg1"/>
                </a:solidFill>
                <a:latin typeface="+mj-lt"/>
                <a:ea typeface="Segoe UI" pitchFamily="34" charset="0"/>
                <a:cs typeface="Segoe UI" pitchFamily="34" charset="0"/>
              </a:endParaRPr>
            </a:p>
          </p:txBody>
        </p:sp>
        <p:sp>
          <p:nvSpPr>
            <p:cNvPr id="10" name="TextBox 9"/>
            <p:cNvSpPr txBox="1"/>
            <p:nvPr/>
          </p:nvSpPr>
          <p:spPr>
            <a:xfrm>
              <a:off x="7050997" y="5061101"/>
              <a:ext cx="3193285" cy="634099"/>
            </a:xfrm>
            <a:prstGeom prst="rect">
              <a:avLst/>
            </a:prstGeom>
            <a:noFill/>
          </p:spPr>
          <p:txBody>
            <a:bodyPr wrap="square" lIns="179285" tIns="143428" rIns="179285" bIns="143428" rtlCol="0">
              <a:spAutoFit/>
            </a:bodyPr>
            <a:lstStyle/>
            <a:p>
              <a:pPr marL="0" marR="0" lvl="0" indent="0" algn="ctr" defTabSz="914367" eaLnBrk="1" fontAlgn="auto" latinLnBrk="0" hangingPunct="1">
                <a:spcBef>
                  <a:spcPts val="0"/>
                </a:spcBef>
                <a:buClrTx/>
                <a:buSzTx/>
                <a:buFontTx/>
                <a:buNone/>
                <a:tabLst/>
                <a:defRPr/>
              </a:pPr>
              <a:r>
                <a:rPr kumimoji="0" lang="en-US" b="0" i="0" u="none" strike="noStrike" kern="0" cap="none" spc="0" normalizeH="0" baseline="0" noProof="0" dirty="0">
                  <a:ln>
                    <a:noFill/>
                  </a:ln>
                  <a:solidFill>
                    <a:schemeClr val="bg1"/>
                  </a:solidFill>
                  <a:effectLst/>
                  <a:uLnTx/>
                  <a:uFillTx/>
                  <a:latin typeface="Segoe UI Semibold" panose="020B0702040204020203" pitchFamily="34" charset="0"/>
                  <a:cs typeface="Segoe UI Semibold" panose="020B0702040204020203" pitchFamily="34" charset="0"/>
                </a:rPr>
                <a:t>Azure Data Lake Store</a:t>
              </a:r>
            </a:p>
          </p:txBody>
        </p:sp>
        <p:sp>
          <p:nvSpPr>
            <p:cNvPr id="12" name="Rectangle 11"/>
            <p:cNvSpPr/>
            <p:nvPr/>
          </p:nvSpPr>
          <p:spPr bwMode="auto">
            <a:xfrm>
              <a:off x="8695779" y="1284687"/>
              <a:ext cx="3061246" cy="2188928"/>
            </a:xfrm>
            <a:prstGeom prst="rect">
              <a:avLst/>
            </a:prstGeom>
            <a:solidFill>
              <a:schemeClr val="bg1"/>
            </a:solid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1400" b="1" dirty="0">
                <a:solidFill>
                  <a:schemeClr val="bg1"/>
                </a:solidFill>
                <a:latin typeface="+mj-lt"/>
                <a:ea typeface="Segoe UI" pitchFamily="34" charset="0"/>
                <a:cs typeface="Segoe UI" pitchFamily="34" charset="0"/>
              </a:endParaRPr>
            </a:p>
          </p:txBody>
        </p:sp>
        <p:pic>
          <p:nvPicPr>
            <p:cNvPr id="17" name="Picture 4" descr="http://mean.io/system/assets/img/logos/nodejs.png"/>
            <p:cNvPicPr>
              <a:picLocks noChangeAspect="1" noChangeArrowheads="1"/>
            </p:cNvPicPr>
            <p:nvPr/>
          </p:nvPicPr>
          <p:blipFill>
            <a:blip r:embed="rId4" cstate="print">
              <a:duotone>
                <a:schemeClr val="accent6">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9357361" y="2505393"/>
              <a:ext cx="2103825" cy="565403"/>
            </a:xfrm>
            <a:prstGeom prst="rect">
              <a:avLst/>
            </a:prstGeom>
            <a:noFill/>
            <a:extLst>
              <a:ext uri="{909E8E84-426E-40DD-AFC4-6F175D3DCCD1}">
                <a14:hiddenFill xmlns:a14="http://schemas.microsoft.com/office/drawing/2010/main">
                  <a:solidFill>
                    <a:srgbClr val="FFFFFF"/>
                  </a:solidFill>
                </a14:hiddenFill>
              </a:ext>
            </a:extLst>
          </p:spPr>
        </p:pic>
        <p:sp>
          <p:nvSpPr>
            <p:cNvPr id="18" name="Rectangle 17"/>
            <p:cNvSpPr/>
            <p:nvPr/>
          </p:nvSpPr>
          <p:spPr>
            <a:xfrm>
              <a:off x="9122116" y="3100264"/>
              <a:ext cx="2208573" cy="307778"/>
            </a:xfrm>
            <a:prstGeom prst="rect">
              <a:avLst/>
            </a:prstGeom>
          </p:spPr>
          <p:txBody>
            <a:bodyPr wrap="square">
              <a:spAutoFit/>
            </a:bodyPr>
            <a:lstStyle/>
            <a:p>
              <a:pPr algn="ctr"/>
              <a:r>
                <a:rPr lang="en-IN" sz="1400" dirty="0">
                  <a:solidFill>
                    <a:schemeClr val="tx2"/>
                  </a:solidFill>
                </a:rPr>
                <a:t>JavaScript CLI</a:t>
              </a:r>
              <a:endParaRPr lang="en-US" sz="1400" dirty="0">
                <a:solidFill>
                  <a:schemeClr val="tx2"/>
                </a:solidFill>
              </a:endParaRPr>
            </a:p>
          </p:txBody>
        </p:sp>
        <p:pic>
          <p:nvPicPr>
            <p:cNvPr id="14" name="Picture 2" descr="http://hardsoftpcrepair.com/images/misc/linux.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8878760" y="1479284"/>
              <a:ext cx="686471" cy="807366"/>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4" descr="http://farm1.static.flickr.com/56/120704019_162b7f0a21.jp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9890807" y="1479284"/>
              <a:ext cx="596319" cy="785122"/>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6" descr="https://cdn2.iconfinder.com/data/icons/metro-uinvert-dock/128/OS_Windows_8.pn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0784066" y="1482538"/>
              <a:ext cx="781867" cy="781868"/>
            </a:xfrm>
            <a:prstGeom prst="rect">
              <a:avLst/>
            </a:prstGeom>
            <a:noFill/>
            <a:extLst>
              <a:ext uri="{909E8E84-426E-40DD-AFC4-6F175D3DCCD1}">
                <a14:hiddenFill xmlns:a14="http://schemas.microsoft.com/office/drawing/2010/main">
                  <a:solidFill>
                    <a:srgbClr val="FFFFFF"/>
                  </a:solidFill>
                </a14:hiddenFill>
              </a:ext>
            </a:extLst>
          </p:spPr>
        </p:pic>
        <p:sp>
          <p:nvSpPr>
            <p:cNvPr id="20" name="Rectangle 19"/>
            <p:cNvSpPr/>
            <p:nvPr/>
          </p:nvSpPr>
          <p:spPr bwMode="auto">
            <a:xfrm>
              <a:off x="5538254" y="1284251"/>
              <a:ext cx="3112667" cy="2188928"/>
            </a:xfrm>
            <a:prstGeom prst="rect">
              <a:avLst/>
            </a:prstGeom>
            <a:solidFill>
              <a:schemeClr val="bg1"/>
            </a:solid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1400" b="1" dirty="0">
                <a:solidFill>
                  <a:schemeClr val="tx2"/>
                </a:solidFill>
                <a:latin typeface="+mj-lt"/>
                <a:ea typeface="Segoe UI" pitchFamily="34" charset="0"/>
                <a:cs typeface="Segoe UI" pitchFamily="34" charset="0"/>
              </a:endParaRPr>
            </a:p>
          </p:txBody>
        </p:sp>
        <p:sp>
          <p:nvSpPr>
            <p:cNvPr id="23" name="Rectangle 22"/>
            <p:cNvSpPr/>
            <p:nvPr/>
          </p:nvSpPr>
          <p:spPr>
            <a:xfrm>
              <a:off x="5970374" y="3139159"/>
              <a:ext cx="2248427" cy="307778"/>
            </a:xfrm>
            <a:prstGeom prst="rect">
              <a:avLst/>
            </a:prstGeom>
          </p:spPr>
          <p:txBody>
            <a:bodyPr wrap="square">
              <a:spAutoFit/>
            </a:bodyPr>
            <a:lstStyle/>
            <a:p>
              <a:r>
                <a:rPr lang="en-IN" sz="1400" dirty="0">
                  <a:solidFill>
                    <a:schemeClr val="tx2"/>
                  </a:solidFill>
                </a:rPr>
                <a:t>Azure PowerShell cmdlets</a:t>
              </a:r>
              <a:endParaRPr lang="en-US" sz="1400" dirty="0">
                <a:solidFill>
                  <a:schemeClr val="tx2"/>
                </a:solidFill>
              </a:endParaRPr>
            </a:p>
          </p:txBody>
        </p:sp>
        <p:pic>
          <p:nvPicPr>
            <p:cNvPr id="24" name="Picture 23"/>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6825017" y="2534524"/>
              <a:ext cx="637272" cy="611501"/>
            </a:xfrm>
            <a:prstGeom prst="rect">
              <a:avLst/>
            </a:prstGeom>
            <a:noFill/>
            <a:ln>
              <a:noFill/>
            </a:ln>
          </p:spPr>
        </p:pic>
        <p:pic>
          <p:nvPicPr>
            <p:cNvPr id="22" name="Picture 6" descr="https://cdn2.iconfinder.com/data/icons/metro-uinvert-dock/128/OS_Windows_8.pn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721298" y="1361106"/>
              <a:ext cx="781867" cy="781868"/>
            </a:xfrm>
            <a:prstGeom prst="rect">
              <a:avLst/>
            </a:prstGeom>
            <a:noFill/>
            <a:extLst>
              <a:ext uri="{909E8E84-426E-40DD-AFC4-6F175D3DCCD1}">
                <a14:hiddenFill xmlns:a14="http://schemas.microsoft.com/office/drawing/2010/main">
                  <a:solidFill>
                    <a:srgbClr val="FFFFFF"/>
                  </a:solidFill>
                </a14:hiddenFill>
              </a:ext>
            </a:extLst>
          </p:spPr>
        </p:pic>
        <p:sp>
          <p:nvSpPr>
            <p:cNvPr id="25" name="Rectangle 24"/>
            <p:cNvSpPr/>
            <p:nvPr/>
          </p:nvSpPr>
          <p:spPr bwMode="auto">
            <a:xfrm>
              <a:off x="5538254" y="3503083"/>
              <a:ext cx="6218771" cy="361100"/>
            </a:xfrm>
            <a:prstGeom prst="rect">
              <a:avLst/>
            </a:prstGeom>
            <a:solidFill>
              <a:schemeClr val="accent4"/>
            </a:solidFill>
            <a:ln>
              <a:solidFill>
                <a:srgbClr val="A5ACA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000" dirty="0">
                  <a:solidFill>
                    <a:schemeClr val="bg1"/>
                  </a:solidFill>
                  <a:latin typeface="Segoe UI Semibold" panose="020B0702040204020203" pitchFamily="34" charset="0"/>
                  <a:cs typeface="Segoe UI Semibold" panose="020B0702040204020203" pitchFamily="34" charset="0"/>
                </a:rPr>
                <a:t>Scripting</a:t>
              </a:r>
              <a:endParaRPr lang="en-US" sz="2000" b="1" dirty="0">
                <a:solidFill>
                  <a:schemeClr val="bg1"/>
                </a:solidFill>
                <a:latin typeface="+mj-lt"/>
                <a:ea typeface="Segoe UI" pitchFamily="34" charset="0"/>
                <a:cs typeface="Segoe UI" pitchFamily="34" charset="0"/>
              </a:endParaRPr>
            </a:p>
          </p:txBody>
        </p:sp>
        <p:pic>
          <p:nvPicPr>
            <p:cNvPr id="3" name="Picture 2"/>
            <p:cNvPicPr>
              <a:picLocks noChangeAspect="1"/>
            </p:cNvPicPr>
            <p:nvPr/>
          </p:nvPicPr>
          <p:blipFill>
            <a:blip r:embed="rId9">
              <a:biLevel thresh="50000"/>
              <a:extLst>
                <a:ext uri="{28A0092B-C50C-407E-A947-70E740481C1C}">
                  <a14:useLocalDpi xmlns:a14="http://schemas.microsoft.com/office/drawing/2010/main" val="0"/>
                </a:ext>
              </a:extLst>
            </a:blip>
            <a:stretch>
              <a:fillRect/>
            </a:stretch>
          </p:blipFill>
          <p:spPr>
            <a:xfrm>
              <a:off x="8306994" y="4305993"/>
              <a:ext cx="681290" cy="681290"/>
            </a:xfrm>
            <a:prstGeom prst="rect">
              <a:avLst/>
            </a:prstGeom>
          </p:spPr>
        </p:pic>
      </p:grpSp>
    </p:spTree>
    <p:extLst>
      <p:ext uri="{BB962C8B-B14F-4D97-AF65-F5344CB8AC3E}">
        <p14:creationId xmlns:p14="http://schemas.microsoft.com/office/powerpoint/2010/main" val="66706142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1000"/>
                                        <p:tgtEl>
                                          <p:spTgt spid="9"/>
                                        </p:tgtEl>
                                      </p:cBhvr>
                                    </p:animEffect>
                                  </p:childTnLst>
                                </p:cTn>
                              </p:par>
                            </p:childTnLst>
                          </p:cTn>
                        </p:par>
                        <p:par>
                          <p:cTn id="8" fill="hold">
                            <p:stCondLst>
                              <p:cond delay="1000"/>
                            </p:stCondLst>
                            <p:childTnLst>
                              <p:par>
                                <p:cTn id="9" presetID="10" presetClass="entr" presetSubtype="0" fill="hold" nodeType="afterEffect">
                                  <p:stCondLst>
                                    <p:cond delay="0"/>
                                  </p:stCondLst>
                                  <p:childTnLst>
                                    <p:set>
                                      <p:cBhvr>
                                        <p:cTn id="10" dur="1" fill="hold">
                                          <p:stCondLst>
                                            <p:cond delay="0"/>
                                          </p:stCondLst>
                                        </p:cTn>
                                        <p:tgtEl>
                                          <p:spTgt spid="6">
                                            <p:txEl>
                                              <p:pRg st="0" end="0"/>
                                            </p:txEl>
                                          </p:spTgt>
                                        </p:tgtEl>
                                        <p:attrNameLst>
                                          <p:attrName>style.visibility</p:attrName>
                                        </p:attrNameLst>
                                      </p:cBhvr>
                                      <p:to>
                                        <p:strVal val="visible"/>
                                      </p:to>
                                    </p:set>
                                    <p:animEffect transition="in" filter="fade">
                                      <p:cBhvr>
                                        <p:cTn id="11" dur="500"/>
                                        <p:tgtEl>
                                          <p:spTgt spid="6">
                                            <p:txEl>
                                              <p:pRg st="0" end="0"/>
                                            </p:txEl>
                                          </p:spTgt>
                                        </p:tgtEl>
                                      </p:cBhvr>
                                    </p:animEffect>
                                  </p:childTnLst>
                                </p:cTn>
                              </p:par>
                            </p:childTnLst>
                          </p:cTn>
                        </p:par>
                        <p:par>
                          <p:cTn id="12" fill="hold">
                            <p:stCondLst>
                              <p:cond delay="1500"/>
                            </p:stCondLst>
                            <p:childTnLst>
                              <p:par>
                                <p:cTn id="13" presetID="10" presetClass="entr" presetSubtype="0" fill="hold" nodeType="afterEffect">
                                  <p:stCondLst>
                                    <p:cond delay="0"/>
                                  </p:stCondLst>
                                  <p:childTnLst>
                                    <p:set>
                                      <p:cBhvr>
                                        <p:cTn id="14" dur="1" fill="hold">
                                          <p:stCondLst>
                                            <p:cond delay="0"/>
                                          </p:stCondLst>
                                        </p:cTn>
                                        <p:tgtEl>
                                          <p:spTgt spid="6">
                                            <p:txEl>
                                              <p:pRg st="1" end="1"/>
                                            </p:txEl>
                                          </p:spTgt>
                                        </p:tgtEl>
                                        <p:attrNameLst>
                                          <p:attrName>style.visibility</p:attrName>
                                        </p:attrNameLst>
                                      </p:cBhvr>
                                      <p:to>
                                        <p:strVal val="visible"/>
                                      </p:to>
                                    </p:set>
                                    <p:animEffect transition="in" filter="fade">
                                      <p:cBhvr>
                                        <p:cTn id="15" dur="500"/>
                                        <p:tgtEl>
                                          <p:spTgt spid="6">
                                            <p:txEl>
                                              <p:pRg st="1" end="1"/>
                                            </p:txEl>
                                          </p:spTgt>
                                        </p:tgtEl>
                                      </p:cBhvr>
                                    </p:animEffect>
                                  </p:childTnLst>
                                </p:cTn>
                              </p:par>
                            </p:childTnLst>
                          </p:cTn>
                        </p:par>
                        <p:par>
                          <p:cTn id="16" fill="hold">
                            <p:stCondLst>
                              <p:cond delay="2000"/>
                            </p:stCondLst>
                            <p:childTnLst>
                              <p:par>
                                <p:cTn id="17" presetID="22" presetClass="entr" presetSubtype="8" fill="hold" nodeType="afterEffect">
                                  <p:stCondLst>
                                    <p:cond delay="0"/>
                                  </p:stCondLst>
                                  <p:childTnLst>
                                    <p:set>
                                      <p:cBhvr>
                                        <p:cTn id="18" dur="1" fill="hold">
                                          <p:stCondLst>
                                            <p:cond delay="0"/>
                                          </p:stCondLst>
                                        </p:cTn>
                                        <p:tgtEl>
                                          <p:spTgt spid="6">
                                            <p:txEl>
                                              <p:pRg st="2" end="2"/>
                                            </p:txEl>
                                          </p:spTgt>
                                        </p:tgtEl>
                                        <p:attrNameLst>
                                          <p:attrName>style.visibility</p:attrName>
                                        </p:attrNameLst>
                                      </p:cBhvr>
                                      <p:to>
                                        <p:strVal val="visible"/>
                                      </p:to>
                                    </p:set>
                                    <p:animEffect transition="in" filter="wipe(left)">
                                      <p:cBhvr>
                                        <p:cTn id="19" dur="750"/>
                                        <p:tgtEl>
                                          <p:spTgt spid="6">
                                            <p:txEl>
                                              <p:pRg st="2" end="2"/>
                                            </p:txEl>
                                          </p:spTgt>
                                        </p:tgtEl>
                                      </p:cBhvr>
                                    </p:animEffect>
                                  </p:childTnLst>
                                </p:cTn>
                              </p:par>
                            </p:childTnLst>
                          </p:cTn>
                        </p:par>
                        <p:par>
                          <p:cTn id="20" fill="hold">
                            <p:stCondLst>
                              <p:cond delay="2750"/>
                            </p:stCondLst>
                            <p:childTnLst>
                              <p:par>
                                <p:cTn id="21" presetID="22" presetClass="entr" presetSubtype="8" fill="hold" nodeType="afterEffect">
                                  <p:stCondLst>
                                    <p:cond delay="0"/>
                                  </p:stCondLst>
                                  <p:childTnLst>
                                    <p:set>
                                      <p:cBhvr>
                                        <p:cTn id="22" dur="1" fill="hold">
                                          <p:stCondLst>
                                            <p:cond delay="0"/>
                                          </p:stCondLst>
                                        </p:cTn>
                                        <p:tgtEl>
                                          <p:spTgt spid="6">
                                            <p:txEl>
                                              <p:pRg st="3" end="3"/>
                                            </p:txEl>
                                          </p:spTgt>
                                        </p:tgtEl>
                                        <p:attrNameLst>
                                          <p:attrName>style.visibility</p:attrName>
                                        </p:attrNameLst>
                                      </p:cBhvr>
                                      <p:to>
                                        <p:strVal val="visible"/>
                                      </p:to>
                                    </p:set>
                                    <p:animEffect transition="in" filter="wipe(left)">
                                      <p:cBhvr>
                                        <p:cTn id="23" dur="750"/>
                                        <p:tgtEl>
                                          <p:spTgt spid="6">
                                            <p:txEl>
                                              <p:pRg st="3" end="3"/>
                                            </p:txEl>
                                          </p:spTgt>
                                        </p:tgtEl>
                                      </p:cBhvr>
                                    </p:animEffect>
                                  </p:childTnLst>
                                </p:cTn>
                              </p:par>
                            </p:childTnLst>
                          </p:cTn>
                        </p:par>
                        <p:par>
                          <p:cTn id="24" fill="hold">
                            <p:stCondLst>
                              <p:cond delay="3500"/>
                            </p:stCondLst>
                            <p:childTnLst>
                              <p:par>
                                <p:cTn id="25" presetID="22" presetClass="entr" presetSubtype="8" fill="hold" nodeType="afterEffect">
                                  <p:stCondLst>
                                    <p:cond delay="0"/>
                                  </p:stCondLst>
                                  <p:childTnLst>
                                    <p:set>
                                      <p:cBhvr>
                                        <p:cTn id="26" dur="1" fill="hold">
                                          <p:stCondLst>
                                            <p:cond delay="0"/>
                                          </p:stCondLst>
                                        </p:cTn>
                                        <p:tgtEl>
                                          <p:spTgt spid="6">
                                            <p:txEl>
                                              <p:pRg st="4" end="4"/>
                                            </p:txEl>
                                          </p:spTgt>
                                        </p:tgtEl>
                                        <p:attrNameLst>
                                          <p:attrName>style.visibility</p:attrName>
                                        </p:attrNameLst>
                                      </p:cBhvr>
                                      <p:to>
                                        <p:strVal val="visible"/>
                                      </p:to>
                                    </p:set>
                                    <p:animEffect transition="in" filter="wipe(left)">
                                      <p:cBhvr>
                                        <p:cTn id="27" dur="750"/>
                                        <p:tgtEl>
                                          <p:spTgt spid="6">
                                            <p:txEl>
                                              <p:pRg st="4" end="4"/>
                                            </p:txEl>
                                          </p:spTgt>
                                        </p:tgtEl>
                                      </p:cBhvr>
                                    </p:animEffect>
                                  </p:childTnLst>
                                </p:cTn>
                              </p:par>
                            </p:childTnLst>
                          </p:cTn>
                        </p:par>
                        <p:par>
                          <p:cTn id="28" fill="hold">
                            <p:stCondLst>
                              <p:cond delay="4250"/>
                            </p:stCondLst>
                            <p:childTnLst>
                              <p:par>
                                <p:cTn id="29" presetID="22" presetClass="entr" presetSubtype="8" fill="hold" nodeType="afterEffect">
                                  <p:stCondLst>
                                    <p:cond delay="0"/>
                                  </p:stCondLst>
                                  <p:childTnLst>
                                    <p:set>
                                      <p:cBhvr>
                                        <p:cTn id="30" dur="1" fill="hold">
                                          <p:stCondLst>
                                            <p:cond delay="0"/>
                                          </p:stCondLst>
                                        </p:cTn>
                                        <p:tgtEl>
                                          <p:spTgt spid="6">
                                            <p:txEl>
                                              <p:pRg st="5" end="5"/>
                                            </p:txEl>
                                          </p:spTgt>
                                        </p:tgtEl>
                                        <p:attrNameLst>
                                          <p:attrName>style.visibility</p:attrName>
                                        </p:attrNameLst>
                                      </p:cBhvr>
                                      <p:to>
                                        <p:strVal val="visible"/>
                                      </p:to>
                                    </p:set>
                                    <p:animEffect transition="in" filter="wipe(left)">
                                      <p:cBhvr>
                                        <p:cTn id="31" dur="750"/>
                                        <p:tgtEl>
                                          <p:spTgt spid="6">
                                            <p:txEl>
                                              <p:pRg st="5" end="5"/>
                                            </p:txEl>
                                          </p:spTgt>
                                        </p:tgtEl>
                                      </p:cBhvr>
                                    </p:animEffect>
                                  </p:childTnLst>
                                </p:cTn>
                              </p:par>
                            </p:childTnLst>
                          </p:cTn>
                        </p:par>
                        <p:par>
                          <p:cTn id="32" fill="hold">
                            <p:stCondLst>
                              <p:cond delay="5000"/>
                            </p:stCondLst>
                            <p:childTnLst>
                              <p:par>
                                <p:cTn id="33" presetID="22" presetClass="entr" presetSubtype="8" fill="hold" nodeType="afterEffect">
                                  <p:stCondLst>
                                    <p:cond delay="0"/>
                                  </p:stCondLst>
                                  <p:childTnLst>
                                    <p:set>
                                      <p:cBhvr>
                                        <p:cTn id="34" dur="1" fill="hold">
                                          <p:stCondLst>
                                            <p:cond delay="0"/>
                                          </p:stCondLst>
                                        </p:cTn>
                                        <p:tgtEl>
                                          <p:spTgt spid="6">
                                            <p:txEl>
                                              <p:pRg st="6" end="6"/>
                                            </p:txEl>
                                          </p:spTgt>
                                        </p:tgtEl>
                                        <p:attrNameLst>
                                          <p:attrName>style.visibility</p:attrName>
                                        </p:attrNameLst>
                                      </p:cBhvr>
                                      <p:to>
                                        <p:strVal val="visible"/>
                                      </p:to>
                                    </p:set>
                                    <p:animEffect transition="in" filter="wipe(left)">
                                      <p:cBhvr>
                                        <p:cTn id="35" dur="750"/>
                                        <p:tgtEl>
                                          <p:spTgt spid="6">
                                            <p:txEl>
                                              <p:pRg st="6" end="6"/>
                                            </p:txEl>
                                          </p:spTgt>
                                        </p:tgtEl>
                                      </p:cBhvr>
                                    </p:animEffect>
                                  </p:childTnLst>
                                </p:cTn>
                              </p:par>
                            </p:childTnLst>
                          </p:cTn>
                        </p:par>
                        <p:par>
                          <p:cTn id="36" fill="hold">
                            <p:stCondLst>
                              <p:cond delay="5750"/>
                            </p:stCondLst>
                            <p:childTnLst>
                              <p:par>
                                <p:cTn id="37" presetID="22" presetClass="entr" presetSubtype="8" fill="hold" nodeType="afterEffect">
                                  <p:stCondLst>
                                    <p:cond delay="0"/>
                                  </p:stCondLst>
                                  <p:childTnLst>
                                    <p:set>
                                      <p:cBhvr>
                                        <p:cTn id="38" dur="1" fill="hold">
                                          <p:stCondLst>
                                            <p:cond delay="0"/>
                                          </p:stCondLst>
                                        </p:cTn>
                                        <p:tgtEl>
                                          <p:spTgt spid="6">
                                            <p:txEl>
                                              <p:pRg st="7" end="7"/>
                                            </p:txEl>
                                          </p:spTgt>
                                        </p:tgtEl>
                                        <p:attrNameLst>
                                          <p:attrName>style.visibility</p:attrName>
                                        </p:attrNameLst>
                                      </p:cBhvr>
                                      <p:to>
                                        <p:strVal val="visible"/>
                                      </p:to>
                                    </p:set>
                                    <p:animEffect transition="in" filter="wipe(left)">
                                      <p:cBhvr>
                                        <p:cTn id="39" dur="750"/>
                                        <p:tgtEl>
                                          <p:spTgt spid="6">
                                            <p:txEl>
                                              <p:pRg st="7" end="7"/>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bwMode="auto">
          <a:xfrm>
            <a:off x="5054885" y="0"/>
            <a:ext cx="7137115"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defTabSz="932472" eaLnBrk="1" fontAlgn="base" latinLnBrk="0" hangingPunct="1">
              <a:lnSpc>
                <a:spcPct val="90000"/>
              </a:lnSpc>
              <a:spcBef>
                <a:spcPct val="0"/>
              </a:spcBef>
              <a:spcAft>
                <a:spcPct val="0"/>
              </a:spcAft>
              <a:buClrTx/>
              <a:buSzTx/>
              <a:buFontTx/>
              <a:buNone/>
              <a:tabLst/>
              <a:defRPr/>
            </a:pPr>
            <a:endParaRPr kumimoji="0" lang="en-US" sz="6000" b="0" i="0" u="none" strike="noStrike" kern="0" cap="none" spc="0" normalizeH="0" baseline="0" noProof="0" dirty="0">
              <a:ln>
                <a:noFill/>
              </a:ln>
              <a:solidFill>
                <a:schemeClr val="bg1"/>
              </a:solidFill>
              <a:effectLst/>
              <a:uLnTx/>
              <a:uFillTx/>
              <a:latin typeface="+mj-lt"/>
              <a:ea typeface="Segoe UI" pitchFamily="34" charset="0"/>
              <a:cs typeface="Segoe UI" pitchFamily="34" charset="0"/>
            </a:endParaRPr>
          </a:p>
        </p:txBody>
      </p:sp>
      <p:grpSp>
        <p:nvGrpSpPr>
          <p:cNvPr id="284" name="Group 77"/>
          <p:cNvGrpSpPr>
            <a:grpSpLocks noChangeAspect="1"/>
          </p:cNvGrpSpPr>
          <p:nvPr/>
        </p:nvGrpSpPr>
        <p:grpSpPr bwMode="auto">
          <a:xfrm>
            <a:off x="5032821" y="-129887"/>
            <a:ext cx="6952643" cy="7140288"/>
            <a:chOff x="6544" y="890"/>
            <a:chExt cx="704" cy="723"/>
          </a:xfrm>
        </p:grpSpPr>
        <p:sp>
          <p:nvSpPr>
            <p:cNvPr id="287" name="Freeform 79"/>
            <p:cNvSpPr>
              <a:spLocks/>
            </p:cNvSpPr>
            <p:nvPr/>
          </p:nvSpPr>
          <p:spPr bwMode="auto">
            <a:xfrm>
              <a:off x="6544" y="890"/>
              <a:ext cx="704" cy="723"/>
            </a:xfrm>
            <a:custGeom>
              <a:avLst/>
              <a:gdLst>
                <a:gd name="T0" fmla="*/ 1476 w 1496"/>
                <a:gd name="T1" fmla="*/ 630 h 1537"/>
                <a:gd name="T2" fmla="*/ 631 w 1496"/>
                <a:gd name="T3" fmla="*/ 81 h 1537"/>
                <a:gd name="T4" fmla="*/ 82 w 1496"/>
                <a:gd name="T5" fmla="*/ 927 h 1537"/>
                <a:gd name="T6" fmla="*/ 192 w 1496"/>
                <a:gd name="T7" fmla="*/ 1182 h 1537"/>
                <a:gd name="T8" fmla="*/ 927 w 1496"/>
                <a:gd name="T9" fmla="*/ 1476 h 1537"/>
                <a:gd name="T10" fmla="*/ 1489 w 1496"/>
                <a:gd name="T11" fmla="*/ 846 h 1537"/>
                <a:gd name="T12" fmla="*/ 1476 w 1496"/>
                <a:gd name="T13" fmla="*/ 630 h 1537"/>
              </a:gdLst>
              <a:ahLst/>
              <a:cxnLst>
                <a:cxn ang="0">
                  <a:pos x="T0" y="T1"/>
                </a:cxn>
                <a:cxn ang="0">
                  <a:pos x="T2" y="T3"/>
                </a:cxn>
                <a:cxn ang="0">
                  <a:pos x="T4" y="T5"/>
                </a:cxn>
                <a:cxn ang="0">
                  <a:pos x="T6" y="T7"/>
                </a:cxn>
                <a:cxn ang="0">
                  <a:pos x="T8" y="T9"/>
                </a:cxn>
                <a:cxn ang="0">
                  <a:pos x="T10" y="T11"/>
                </a:cxn>
                <a:cxn ang="0">
                  <a:pos x="T12" y="T13"/>
                </a:cxn>
              </a:cxnLst>
              <a:rect l="0" t="0" r="r" b="b"/>
              <a:pathLst>
                <a:path w="1496" h="1537">
                  <a:moveTo>
                    <a:pt x="1476" y="630"/>
                  </a:moveTo>
                  <a:cubicBezTo>
                    <a:pt x="1394" y="245"/>
                    <a:pt x="1016" y="0"/>
                    <a:pt x="631" y="81"/>
                  </a:cubicBezTo>
                  <a:cubicBezTo>
                    <a:pt x="246" y="163"/>
                    <a:pt x="0" y="542"/>
                    <a:pt x="82" y="927"/>
                  </a:cubicBezTo>
                  <a:cubicBezTo>
                    <a:pt x="102" y="1021"/>
                    <a:pt x="140" y="1107"/>
                    <a:pt x="192" y="1182"/>
                  </a:cubicBezTo>
                  <a:cubicBezTo>
                    <a:pt x="350" y="1413"/>
                    <a:pt x="637" y="1537"/>
                    <a:pt x="927" y="1476"/>
                  </a:cubicBezTo>
                  <a:cubicBezTo>
                    <a:pt x="1240" y="1409"/>
                    <a:pt x="1460" y="1148"/>
                    <a:pt x="1489" y="846"/>
                  </a:cubicBezTo>
                  <a:cubicBezTo>
                    <a:pt x="1496" y="776"/>
                    <a:pt x="1492" y="703"/>
                    <a:pt x="1476" y="630"/>
                  </a:cubicBez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288" name="Freeform 80"/>
            <p:cNvSpPr>
              <a:spLocks/>
            </p:cNvSpPr>
            <p:nvPr/>
          </p:nvSpPr>
          <p:spPr bwMode="auto">
            <a:xfrm>
              <a:off x="6657" y="918"/>
              <a:ext cx="322" cy="118"/>
            </a:xfrm>
            <a:custGeom>
              <a:avLst/>
              <a:gdLst>
                <a:gd name="T0" fmla="*/ 38 w 684"/>
                <a:gd name="T1" fmla="*/ 232 h 250"/>
                <a:gd name="T2" fmla="*/ 155 w 684"/>
                <a:gd name="T3" fmla="*/ 222 h 250"/>
                <a:gd name="T4" fmla="*/ 243 w 684"/>
                <a:gd name="T5" fmla="*/ 211 h 250"/>
                <a:gd name="T6" fmla="*/ 241 w 684"/>
                <a:gd name="T7" fmla="*/ 208 h 250"/>
                <a:gd name="T8" fmla="*/ 238 w 684"/>
                <a:gd name="T9" fmla="*/ 198 h 250"/>
                <a:gd name="T10" fmla="*/ 243 w 684"/>
                <a:gd name="T11" fmla="*/ 190 h 250"/>
                <a:gd name="T12" fmla="*/ 303 w 684"/>
                <a:gd name="T13" fmla="*/ 155 h 250"/>
                <a:gd name="T14" fmla="*/ 385 w 684"/>
                <a:gd name="T15" fmla="*/ 138 h 250"/>
                <a:gd name="T16" fmla="*/ 424 w 684"/>
                <a:gd name="T17" fmla="*/ 137 h 250"/>
                <a:gd name="T18" fmla="*/ 434 w 684"/>
                <a:gd name="T19" fmla="*/ 142 h 250"/>
                <a:gd name="T20" fmla="*/ 445 w 684"/>
                <a:gd name="T21" fmla="*/ 159 h 250"/>
                <a:gd name="T22" fmla="*/ 453 w 684"/>
                <a:gd name="T23" fmla="*/ 152 h 250"/>
                <a:gd name="T24" fmla="*/ 480 w 684"/>
                <a:gd name="T25" fmla="*/ 112 h 250"/>
                <a:gd name="T26" fmla="*/ 483 w 684"/>
                <a:gd name="T27" fmla="*/ 108 h 250"/>
                <a:gd name="T28" fmla="*/ 512 w 684"/>
                <a:gd name="T29" fmla="*/ 89 h 250"/>
                <a:gd name="T30" fmla="*/ 504 w 684"/>
                <a:gd name="T31" fmla="*/ 85 h 250"/>
                <a:gd name="T32" fmla="*/ 496 w 684"/>
                <a:gd name="T33" fmla="*/ 73 h 250"/>
                <a:gd name="T34" fmla="*/ 504 w 684"/>
                <a:gd name="T35" fmla="*/ 61 h 250"/>
                <a:gd name="T36" fmla="*/ 569 w 684"/>
                <a:gd name="T37" fmla="*/ 36 h 250"/>
                <a:gd name="T38" fmla="*/ 571 w 684"/>
                <a:gd name="T39" fmla="*/ 36 h 250"/>
                <a:gd name="T40" fmla="*/ 656 w 684"/>
                <a:gd name="T41" fmla="*/ 17 h 250"/>
                <a:gd name="T42" fmla="*/ 670 w 684"/>
                <a:gd name="T43" fmla="*/ 24 h 250"/>
                <a:gd name="T44" fmla="*/ 671 w 684"/>
                <a:gd name="T45" fmla="*/ 25 h 250"/>
                <a:gd name="T46" fmla="*/ 684 w 684"/>
                <a:gd name="T47" fmla="*/ 21 h 250"/>
                <a:gd name="T48" fmla="*/ 389 w 684"/>
                <a:gd name="T49" fmla="*/ 21 h 250"/>
                <a:gd name="T50" fmla="*/ 0 w 684"/>
                <a:gd name="T51" fmla="*/ 250 h 250"/>
                <a:gd name="T52" fmla="*/ 33 w 684"/>
                <a:gd name="T53" fmla="*/ 233 h 250"/>
                <a:gd name="T54" fmla="*/ 38 w 684"/>
                <a:gd name="T55" fmla="*/ 232 h 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684" h="250">
                  <a:moveTo>
                    <a:pt x="38" y="232"/>
                  </a:moveTo>
                  <a:cubicBezTo>
                    <a:pt x="155" y="222"/>
                    <a:pt x="155" y="222"/>
                    <a:pt x="155" y="222"/>
                  </a:cubicBezTo>
                  <a:cubicBezTo>
                    <a:pt x="243" y="211"/>
                    <a:pt x="243" y="211"/>
                    <a:pt x="243" y="211"/>
                  </a:cubicBezTo>
                  <a:cubicBezTo>
                    <a:pt x="241" y="208"/>
                    <a:pt x="241" y="208"/>
                    <a:pt x="241" y="208"/>
                  </a:cubicBezTo>
                  <a:cubicBezTo>
                    <a:pt x="238" y="206"/>
                    <a:pt x="237" y="202"/>
                    <a:pt x="238" y="198"/>
                  </a:cubicBezTo>
                  <a:cubicBezTo>
                    <a:pt x="238" y="195"/>
                    <a:pt x="240" y="192"/>
                    <a:pt x="243" y="190"/>
                  </a:cubicBezTo>
                  <a:cubicBezTo>
                    <a:pt x="253" y="182"/>
                    <a:pt x="287" y="158"/>
                    <a:pt x="303" y="155"/>
                  </a:cubicBezTo>
                  <a:cubicBezTo>
                    <a:pt x="385" y="138"/>
                    <a:pt x="385" y="138"/>
                    <a:pt x="385" y="138"/>
                  </a:cubicBezTo>
                  <a:cubicBezTo>
                    <a:pt x="395" y="135"/>
                    <a:pt x="419" y="137"/>
                    <a:pt x="424" y="137"/>
                  </a:cubicBezTo>
                  <a:cubicBezTo>
                    <a:pt x="428" y="137"/>
                    <a:pt x="432" y="139"/>
                    <a:pt x="434" y="142"/>
                  </a:cubicBezTo>
                  <a:cubicBezTo>
                    <a:pt x="435" y="144"/>
                    <a:pt x="440" y="151"/>
                    <a:pt x="445" y="159"/>
                  </a:cubicBezTo>
                  <a:cubicBezTo>
                    <a:pt x="448" y="157"/>
                    <a:pt x="451" y="155"/>
                    <a:pt x="453" y="152"/>
                  </a:cubicBezTo>
                  <a:cubicBezTo>
                    <a:pt x="480" y="112"/>
                    <a:pt x="480" y="112"/>
                    <a:pt x="480" y="112"/>
                  </a:cubicBezTo>
                  <a:cubicBezTo>
                    <a:pt x="481" y="110"/>
                    <a:pt x="482" y="109"/>
                    <a:pt x="483" y="108"/>
                  </a:cubicBezTo>
                  <a:cubicBezTo>
                    <a:pt x="512" y="89"/>
                    <a:pt x="512" y="89"/>
                    <a:pt x="512" y="89"/>
                  </a:cubicBezTo>
                  <a:cubicBezTo>
                    <a:pt x="504" y="85"/>
                    <a:pt x="504" y="85"/>
                    <a:pt x="504" y="85"/>
                  </a:cubicBezTo>
                  <a:cubicBezTo>
                    <a:pt x="499" y="83"/>
                    <a:pt x="496" y="79"/>
                    <a:pt x="496" y="73"/>
                  </a:cubicBezTo>
                  <a:cubicBezTo>
                    <a:pt x="496" y="68"/>
                    <a:pt x="499" y="63"/>
                    <a:pt x="504" y="61"/>
                  </a:cubicBezTo>
                  <a:cubicBezTo>
                    <a:pt x="569" y="36"/>
                    <a:pt x="569" y="36"/>
                    <a:pt x="569" y="36"/>
                  </a:cubicBezTo>
                  <a:cubicBezTo>
                    <a:pt x="570" y="36"/>
                    <a:pt x="570" y="36"/>
                    <a:pt x="571" y="36"/>
                  </a:cubicBezTo>
                  <a:cubicBezTo>
                    <a:pt x="656" y="17"/>
                    <a:pt x="656" y="17"/>
                    <a:pt x="656" y="17"/>
                  </a:cubicBezTo>
                  <a:cubicBezTo>
                    <a:pt x="662" y="16"/>
                    <a:pt x="667" y="19"/>
                    <a:pt x="670" y="24"/>
                  </a:cubicBezTo>
                  <a:cubicBezTo>
                    <a:pt x="670" y="24"/>
                    <a:pt x="671" y="25"/>
                    <a:pt x="671" y="25"/>
                  </a:cubicBezTo>
                  <a:cubicBezTo>
                    <a:pt x="684" y="21"/>
                    <a:pt x="684" y="21"/>
                    <a:pt x="684" y="21"/>
                  </a:cubicBezTo>
                  <a:cubicBezTo>
                    <a:pt x="590" y="1"/>
                    <a:pt x="489" y="0"/>
                    <a:pt x="389" y="21"/>
                  </a:cubicBezTo>
                  <a:cubicBezTo>
                    <a:pt x="232" y="55"/>
                    <a:pt x="98" y="138"/>
                    <a:pt x="0" y="250"/>
                  </a:cubicBezTo>
                  <a:cubicBezTo>
                    <a:pt x="33" y="233"/>
                    <a:pt x="33" y="233"/>
                    <a:pt x="33" y="233"/>
                  </a:cubicBezTo>
                  <a:cubicBezTo>
                    <a:pt x="35" y="233"/>
                    <a:pt x="36" y="232"/>
                    <a:pt x="38" y="232"/>
                  </a:cubicBez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289" name="Freeform 81"/>
            <p:cNvSpPr>
              <a:spLocks/>
            </p:cNvSpPr>
            <p:nvPr/>
          </p:nvSpPr>
          <p:spPr bwMode="auto">
            <a:xfrm>
              <a:off x="6602" y="926"/>
              <a:ext cx="465" cy="612"/>
            </a:xfrm>
            <a:custGeom>
              <a:avLst/>
              <a:gdLst>
                <a:gd name="T0" fmla="*/ 51 w 988"/>
                <a:gd name="T1" fmla="*/ 392 h 1300"/>
                <a:gd name="T2" fmla="*/ 179 w 988"/>
                <a:gd name="T3" fmla="*/ 351 h 1300"/>
                <a:gd name="T4" fmla="*/ 159 w 988"/>
                <a:gd name="T5" fmla="*/ 500 h 1300"/>
                <a:gd name="T6" fmla="*/ 184 w 988"/>
                <a:gd name="T7" fmla="*/ 575 h 1300"/>
                <a:gd name="T8" fmla="*/ 272 w 988"/>
                <a:gd name="T9" fmla="*/ 673 h 1300"/>
                <a:gd name="T10" fmla="*/ 242 w 988"/>
                <a:gd name="T11" fmla="*/ 589 h 1300"/>
                <a:gd name="T12" fmla="*/ 295 w 988"/>
                <a:gd name="T13" fmla="*/ 686 h 1300"/>
                <a:gd name="T14" fmla="*/ 382 w 988"/>
                <a:gd name="T15" fmla="*/ 714 h 1300"/>
                <a:gd name="T16" fmla="*/ 430 w 988"/>
                <a:gd name="T17" fmla="*/ 719 h 1300"/>
                <a:gd name="T18" fmla="*/ 490 w 988"/>
                <a:gd name="T19" fmla="*/ 754 h 1300"/>
                <a:gd name="T20" fmla="*/ 546 w 988"/>
                <a:gd name="T21" fmla="*/ 763 h 1300"/>
                <a:gd name="T22" fmla="*/ 527 w 988"/>
                <a:gd name="T23" fmla="*/ 861 h 1300"/>
                <a:gd name="T24" fmla="*/ 680 w 988"/>
                <a:gd name="T25" fmla="*/ 992 h 1300"/>
                <a:gd name="T26" fmla="*/ 774 w 988"/>
                <a:gd name="T27" fmla="*/ 1257 h 1300"/>
                <a:gd name="T28" fmla="*/ 826 w 988"/>
                <a:gd name="T29" fmla="*/ 1294 h 1300"/>
                <a:gd name="T30" fmla="*/ 902 w 988"/>
                <a:gd name="T31" fmla="*/ 1291 h 1300"/>
                <a:gd name="T32" fmla="*/ 836 w 988"/>
                <a:gd name="T33" fmla="*/ 1169 h 1300"/>
                <a:gd name="T34" fmla="*/ 964 w 988"/>
                <a:gd name="T35" fmla="*/ 822 h 1300"/>
                <a:gd name="T36" fmla="*/ 924 w 988"/>
                <a:gd name="T37" fmla="*/ 767 h 1300"/>
                <a:gd name="T38" fmla="*/ 796 w 988"/>
                <a:gd name="T39" fmla="*/ 720 h 1300"/>
                <a:gd name="T40" fmla="*/ 577 w 988"/>
                <a:gd name="T41" fmla="*/ 688 h 1300"/>
                <a:gd name="T42" fmla="*/ 521 w 988"/>
                <a:gd name="T43" fmla="*/ 714 h 1300"/>
                <a:gd name="T44" fmla="*/ 472 w 988"/>
                <a:gd name="T45" fmla="*/ 675 h 1300"/>
                <a:gd name="T46" fmla="*/ 461 w 988"/>
                <a:gd name="T47" fmla="*/ 625 h 1300"/>
                <a:gd name="T48" fmla="*/ 419 w 988"/>
                <a:gd name="T49" fmla="*/ 647 h 1300"/>
                <a:gd name="T50" fmla="*/ 465 w 988"/>
                <a:gd name="T51" fmla="*/ 552 h 1300"/>
                <a:gd name="T52" fmla="*/ 522 w 988"/>
                <a:gd name="T53" fmla="*/ 584 h 1300"/>
                <a:gd name="T54" fmla="*/ 564 w 988"/>
                <a:gd name="T55" fmla="*/ 483 h 1300"/>
                <a:gd name="T56" fmla="*/ 638 w 988"/>
                <a:gd name="T57" fmla="*/ 380 h 1300"/>
                <a:gd name="T58" fmla="*/ 687 w 988"/>
                <a:gd name="T59" fmla="*/ 335 h 1300"/>
                <a:gd name="T60" fmla="*/ 671 w 988"/>
                <a:gd name="T61" fmla="*/ 310 h 1300"/>
                <a:gd name="T62" fmla="*/ 736 w 988"/>
                <a:gd name="T63" fmla="*/ 279 h 1300"/>
                <a:gd name="T64" fmla="*/ 673 w 988"/>
                <a:gd name="T65" fmla="*/ 222 h 1300"/>
                <a:gd name="T66" fmla="*/ 590 w 988"/>
                <a:gd name="T67" fmla="*/ 216 h 1300"/>
                <a:gd name="T68" fmla="*/ 554 w 988"/>
                <a:gd name="T69" fmla="*/ 281 h 1300"/>
                <a:gd name="T70" fmla="*/ 502 w 988"/>
                <a:gd name="T71" fmla="*/ 267 h 1300"/>
                <a:gd name="T72" fmla="*/ 587 w 988"/>
                <a:gd name="T73" fmla="*/ 202 h 1300"/>
                <a:gd name="T74" fmla="*/ 641 w 988"/>
                <a:gd name="T75" fmla="*/ 186 h 1300"/>
                <a:gd name="T76" fmla="*/ 658 w 988"/>
                <a:gd name="T77" fmla="*/ 192 h 1300"/>
                <a:gd name="T78" fmla="*/ 698 w 988"/>
                <a:gd name="T79" fmla="*/ 177 h 1300"/>
                <a:gd name="T80" fmla="*/ 719 w 988"/>
                <a:gd name="T81" fmla="*/ 119 h 1300"/>
                <a:gd name="T82" fmla="*/ 671 w 988"/>
                <a:gd name="T83" fmla="*/ 96 h 1300"/>
                <a:gd name="T84" fmla="*/ 790 w 988"/>
                <a:gd name="T85" fmla="*/ 101 h 1300"/>
                <a:gd name="T86" fmla="*/ 779 w 988"/>
                <a:gd name="T87" fmla="*/ 161 h 1300"/>
                <a:gd name="T88" fmla="*/ 865 w 988"/>
                <a:gd name="T89" fmla="*/ 157 h 1300"/>
                <a:gd name="T90" fmla="*/ 974 w 988"/>
                <a:gd name="T91" fmla="*/ 90 h 1300"/>
                <a:gd name="T92" fmla="*/ 788 w 988"/>
                <a:gd name="T93" fmla="*/ 9 h 1300"/>
                <a:gd name="T94" fmla="*/ 688 w 988"/>
                <a:gd name="T95" fmla="*/ 20 h 1300"/>
                <a:gd name="T96" fmla="*/ 613 w 988"/>
                <a:gd name="T97" fmla="*/ 57 h 1300"/>
                <a:gd name="T98" fmla="*/ 600 w 988"/>
                <a:gd name="T99" fmla="*/ 92 h 1300"/>
                <a:gd name="T100" fmla="*/ 562 w 988"/>
                <a:gd name="T101" fmla="*/ 143 h 1300"/>
                <a:gd name="T102" fmla="*/ 502 w 988"/>
                <a:gd name="T103" fmla="*/ 122 h 1300"/>
                <a:gd name="T104" fmla="*/ 355 w 988"/>
                <a:gd name="T105" fmla="*/ 182 h 1300"/>
                <a:gd name="T106" fmla="*/ 272 w 988"/>
                <a:gd name="T107" fmla="*/ 206 h 1300"/>
                <a:gd name="T108" fmla="*/ 117 w 988"/>
                <a:gd name="T109" fmla="*/ 234 h 1300"/>
                <a:gd name="T110" fmla="*/ 13 w 988"/>
                <a:gd name="T111" fmla="*/ 416 h 1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988" h="1300">
                  <a:moveTo>
                    <a:pt x="13" y="416"/>
                  </a:moveTo>
                  <a:cubicBezTo>
                    <a:pt x="50" y="393"/>
                    <a:pt x="50" y="393"/>
                    <a:pt x="50" y="393"/>
                  </a:cubicBezTo>
                  <a:cubicBezTo>
                    <a:pt x="50" y="392"/>
                    <a:pt x="50" y="392"/>
                    <a:pt x="51" y="392"/>
                  </a:cubicBezTo>
                  <a:cubicBezTo>
                    <a:pt x="98" y="356"/>
                    <a:pt x="98" y="356"/>
                    <a:pt x="98" y="356"/>
                  </a:cubicBezTo>
                  <a:cubicBezTo>
                    <a:pt x="131" y="342"/>
                    <a:pt x="131" y="342"/>
                    <a:pt x="131" y="342"/>
                  </a:cubicBezTo>
                  <a:cubicBezTo>
                    <a:pt x="179" y="351"/>
                    <a:pt x="179" y="351"/>
                    <a:pt x="179" y="351"/>
                  </a:cubicBezTo>
                  <a:cubicBezTo>
                    <a:pt x="187" y="376"/>
                    <a:pt x="187" y="376"/>
                    <a:pt x="187" y="376"/>
                  </a:cubicBezTo>
                  <a:cubicBezTo>
                    <a:pt x="181" y="432"/>
                    <a:pt x="181" y="432"/>
                    <a:pt x="181" y="432"/>
                  </a:cubicBezTo>
                  <a:cubicBezTo>
                    <a:pt x="159" y="500"/>
                    <a:pt x="159" y="500"/>
                    <a:pt x="159" y="500"/>
                  </a:cubicBezTo>
                  <a:cubicBezTo>
                    <a:pt x="158" y="502"/>
                    <a:pt x="158" y="505"/>
                    <a:pt x="159" y="508"/>
                  </a:cubicBezTo>
                  <a:cubicBezTo>
                    <a:pt x="182" y="571"/>
                    <a:pt x="182" y="571"/>
                    <a:pt x="182" y="571"/>
                  </a:cubicBezTo>
                  <a:cubicBezTo>
                    <a:pt x="182" y="573"/>
                    <a:pt x="183" y="574"/>
                    <a:pt x="184" y="575"/>
                  </a:cubicBezTo>
                  <a:cubicBezTo>
                    <a:pt x="224" y="621"/>
                    <a:pt x="224" y="621"/>
                    <a:pt x="224" y="621"/>
                  </a:cubicBezTo>
                  <a:cubicBezTo>
                    <a:pt x="258" y="668"/>
                    <a:pt x="258" y="668"/>
                    <a:pt x="258" y="668"/>
                  </a:cubicBezTo>
                  <a:cubicBezTo>
                    <a:pt x="261" y="673"/>
                    <a:pt x="267" y="675"/>
                    <a:pt x="272" y="673"/>
                  </a:cubicBezTo>
                  <a:cubicBezTo>
                    <a:pt x="278" y="672"/>
                    <a:pt x="283" y="665"/>
                    <a:pt x="281" y="658"/>
                  </a:cubicBezTo>
                  <a:cubicBezTo>
                    <a:pt x="281" y="656"/>
                    <a:pt x="280" y="654"/>
                    <a:pt x="279" y="653"/>
                  </a:cubicBezTo>
                  <a:cubicBezTo>
                    <a:pt x="242" y="589"/>
                    <a:pt x="242" y="589"/>
                    <a:pt x="242" y="589"/>
                  </a:cubicBezTo>
                  <a:cubicBezTo>
                    <a:pt x="250" y="584"/>
                    <a:pt x="250" y="584"/>
                    <a:pt x="250" y="584"/>
                  </a:cubicBezTo>
                  <a:cubicBezTo>
                    <a:pt x="282" y="634"/>
                    <a:pt x="282" y="634"/>
                    <a:pt x="282" y="634"/>
                  </a:cubicBezTo>
                  <a:cubicBezTo>
                    <a:pt x="295" y="686"/>
                    <a:pt x="295" y="686"/>
                    <a:pt x="295" y="686"/>
                  </a:cubicBezTo>
                  <a:cubicBezTo>
                    <a:pt x="296" y="690"/>
                    <a:pt x="299" y="694"/>
                    <a:pt x="304" y="695"/>
                  </a:cubicBezTo>
                  <a:cubicBezTo>
                    <a:pt x="372" y="715"/>
                    <a:pt x="372" y="715"/>
                    <a:pt x="372" y="715"/>
                  </a:cubicBezTo>
                  <a:cubicBezTo>
                    <a:pt x="375" y="716"/>
                    <a:pt x="379" y="715"/>
                    <a:pt x="382" y="714"/>
                  </a:cubicBezTo>
                  <a:cubicBezTo>
                    <a:pt x="395" y="707"/>
                    <a:pt x="395" y="707"/>
                    <a:pt x="395" y="707"/>
                  </a:cubicBezTo>
                  <a:cubicBezTo>
                    <a:pt x="425" y="718"/>
                    <a:pt x="425" y="718"/>
                    <a:pt x="425" y="718"/>
                  </a:cubicBezTo>
                  <a:cubicBezTo>
                    <a:pt x="426" y="719"/>
                    <a:pt x="428" y="719"/>
                    <a:pt x="430" y="719"/>
                  </a:cubicBezTo>
                  <a:cubicBezTo>
                    <a:pt x="459" y="717"/>
                    <a:pt x="459" y="717"/>
                    <a:pt x="459" y="717"/>
                  </a:cubicBezTo>
                  <a:cubicBezTo>
                    <a:pt x="483" y="749"/>
                    <a:pt x="483" y="749"/>
                    <a:pt x="483" y="749"/>
                  </a:cubicBezTo>
                  <a:cubicBezTo>
                    <a:pt x="485" y="752"/>
                    <a:pt x="488" y="753"/>
                    <a:pt x="490" y="754"/>
                  </a:cubicBezTo>
                  <a:cubicBezTo>
                    <a:pt x="534" y="765"/>
                    <a:pt x="534" y="765"/>
                    <a:pt x="534" y="765"/>
                  </a:cubicBezTo>
                  <a:cubicBezTo>
                    <a:pt x="538" y="766"/>
                    <a:pt x="541" y="766"/>
                    <a:pt x="544" y="764"/>
                  </a:cubicBezTo>
                  <a:cubicBezTo>
                    <a:pt x="546" y="763"/>
                    <a:pt x="546" y="763"/>
                    <a:pt x="546" y="763"/>
                  </a:cubicBezTo>
                  <a:cubicBezTo>
                    <a:pt x="549" y="771"/>
                    <a:pt x="549" y="771"/>
                    <a:pt x="549" y="771"/>
                  </a:cubicBezTo>
                  <a:cubicBezTo>
                    <a:pt x="525" y="849"/>
                    <a:pt x="525" y="849"/>
                    <a:pt x="525" y="849"/>
                  </a:cubicBezTo>
                  <a:cubicBezTo>
                    <a:pt x="523" y="854"/>
                    <a:pt x="524" y="858"/>
                    <a:pt x="527" y="861"/>
                  </a:cubicBezTo>
                  <a:cubicBezTo>
                    <a:pt x="610" y="959"/>
                    <a:pt x="610" y="959"/>
                    <a:pt x="610" y="959"/>
                  </a:cubicBezTo>
                  <a:cubicBezTo>
                    <a:pt x="611" y="961"/>
                    <a:pt x="612" y="962"/>
                    <a:pt x="614" y="963"/>
                  </a:cubicBezTo>
                  <a:cubicBezTo>
                    <a:pt x="680" y="992"/>
                    <a:pt x="680" y="992"/>
                    <a:pt x="680" y="992"/>
                  </a:cubicBezTo>
                  <a:cubicBezTo>
                    <a:pt x="735" y="1194"/>
                    <a:pt x="735" y="1194"/>
                    <a:pt x="735" y="1194"/>
                  </a:cubicBezTo>
                  <a:cubicBezTo>
                    <a:pt x="736" y="1195"/>
                    <a:pt x="736" y="1196"/>
                    <a:pt x="737" y="1197"/>
                  </a:cubicBezTo>
                  <a:cubicBezTo>
                    <a:pt x="774" y="1257"/>
                    <a:pt x="774" y="1257"/>
                    <a:pt x="774" y="1257"/>
                  </a:cubicBezTo>
                  <a:cubicBezTo>
                    <a:pt x="775" y="1259"/>
                    <a:pt x="776" y="1260"/>
                    <a:pt x="778" y="1261"/>
                  </a:cubicBezTo>
                  <a:cubicBezTo>
                    <a:pt x="820" y="1291"/>
                    <a:pt x="820" y="1291"/>
                    <a:pt x="820" y="1291"/>
                  </a:cubicBezTo>
                  <a:cubicBezTo>
                    <a:pt x="822" y="1293"/>
                    <a:pt x="824" y="1294"/>
                    <a:pt x="826" y="1294"/>
                  </a:cubicBezTo>
                  <a:cubicBezTo>
                    <a:pt x="888" y="1300"/>
                    <a:pt x="888" y="1300"/>
                    <a:pt x="888" y="1300"/>
                  </a:cubicBezTo>
                  <a:cubicBezTo>
                    <a:pt x="889" y="1300"/>
                    <a:pt x="891" y="1300"/>
                    <a:pt x="892" y="1299"/>
                  </a:cubicBezTo>
                  <a:cubicBezTo>
                    <a:pt x="896" y="1298"/>
                    <a:pt x="900" y="1295"/>
                    <a:pt x="902" y="1291"/>
                  </a:cubicBezTo>
                  <a:cubicBezTo>
                    <a:pt x="903" y="1285"/>
                    <a:pt x="901" y="1279"/>
                    <a:pt x="896" y="1276"/>
                  </a:cubicBezTo>
                  <a:cubicBezTo>
                    <a:pt x="853" y="1247"/>
                    <a:pt x="853" y="1247"/>
                    <a:pt x="853" y="1247"/>
                  </a:cubicBezTo>
                  <a:cubicBezTo>
                    <a:pt x="836" y="1169"/>
                    <a:pt x="836" y="1169"/>
                    <a:pt x="836" y="1169"/>
                  </a:cubicBezTo>
                  <a:cubicBezTo>
                    <a:pt x="943" y="955"/>
                    <a:pt x="943" y="955"/>
                    <a:pt x="943" y="955"/>
                  </a:cubicBezTo>
                  <a:cubicBezTo>
                    <a:pt x="943" y="954"/>
                    <a:pt x="944" y="952"/>
                    <a:pt x="944" y="951"/>
                  </a:cubicBezTo>
                  <a:cubicBezTo>
                    <a:pt x="964" y="822"/>
                    <a:pt x="964" y="822"/>
                    <a:pt x="964" y="822"/>
                  </a:cubicBezTo>
                  <a:cubicBezTo>
                    <a:pt x="964" y="819"/>
                    <a:pt x="963" y="815"/>
                    <a:pt x="961" y="813"/>
                  </a:cubicBezTo>
                  <a:cubicBezTo>
                    <a:pt x="934" y="773"/>
                    <a:pt x="934" y="773"/>
                    <a:pt x="934" y="773"/>
                  </a:cubicBezTo>
                  <a:cubicBezTo>
                    <a:pt x="932" y="770"/>
                    <a:pt x="928" y="768"/>
                    <a:pt x="924" y="767"/>
                  </a:cubicBezTo>
                  <a:cubicBezTo>
                    <a:pt x="879" y="767"/>
                    <a:pt x="827" y="766"/>
                    <a:pt x="808" y="763"/>
                  </a:cubicBezTo>
                  <a:cubicBezTo>
                    <a:pt x="808" y="753"/>
                    <a:pt x="805" y="739"/>
                    <a:pt x="803" y="729"/>
                  </a:cubicBezTo>
                  <a:cubicBezTo>
                    <a:pt x="802" y="725"/>
                    <a:pt x="800" y="722"/>
                    <a:pt x="796" y="720"/>
                  </a:cubicBezTo>
                  <a:cubicBezTo>
                    <a:pt x="692" y="666"/>
                    <a:pt x="692" y="666"/>
                    <a:pt x="692" y="666"/>
                  </a:cubicBezTo>
                  <a:cubicBezTo>
                    <a:pt x="689" y="665"/>
                    <a:pt x="686" y="664"/>
                    <a:pt x="683" y="665"/>
                  </a:cubicBezTo>
                  <a:cubicBezTo>
                    <a:pt x="577" y="688"/>
                    <a:pt x="577" y="688"/>
                    <a:pt x="577" y="688"/>
                  </a:cubicBezTo>
                  <a:cubicBezTo>
                    <a:pt x="574" y="688"/>
                    <a:pt x="572" y="689"/>
                    <a:pt x="571" y="691"/>
                  </a:cubicBezTo>
                  <a:cubicBezTo>
                    <a:pt x="543" y="716"/>
                    <a:pt x="543" y="716"/>
                    <a:pt x="543" y="716"/>
                  </a:cubicBezTo>
                  <a:cubicBezTo>
                    <a:pt x="521" y="714"/>
                    <a:pt x="521" y="714"/>
                    <a:pt x="521" y="714"/>
                  </a:cubicBezTo>
                  <a:cubicBezTo>
                    <a:pt x="515" y="688"/>
                    <a:pt x="515" y="688"/>
                    <a:pt x="515" y="688"/>
                  </a:cubicBezTo>
                  <a:cubicBezTo>
                    <a:pt x="514" y="682"/>
                    <a:pt x="509" y="678"/>
                    <a:pt x="503" y="677"/>
                  </a:cubicBezTo>
                  <a:cubicBezTo>
                    <a:pt x="472" y="675"/>
                    <a:pt x="472" y="675"/>
                    <a:pt x="472" y="675"/>
                  </a:cubicBezTo>
                  <a:cubicBezTo>
                    <a:pt x="477" y="640"/>
                    <a:pt x="477" y="640"/>
                    <a:pt x="477" y="640"/>
                  </a:cubicBezTo>
                  <a:cubicBezTo>
                    <a:pt x="477" y="636"/>
                    <a:pt x="476" y="631"/>
                    <a:pt x="473" y="629"/>
                  </a:cubicBezTo>
                  <a:cubicBezTo>
                    <a:pt x="470" y="626"/>
                    <a:pt x="466" y="624"/>
                    <a:pt x="461" y="625"/>
                  </a:cubicBezTo>
                  <a:cubicBezTo>
                    <a:pt x="434" y="631"/>
                    <a:pt x="434" y="631"/>
                    <a:pt x="434" y="631"/>
                  </a:cubicBezTo>
                  <a:cubicBezTo>
                    <a:pt x="431" y="632"/>
                    <a:pt x="427" y="634"/>
                    <a:pt x="426" y="638"/>
                  </a:cubicBezTo>
                  <a:cubicBezTo>
                    <a:pt x="424" y="641"/>
                    <a:pt x="421" y="645"/>
                    <a:pt x="419" y="647"/>
                  </a:cubicBezTo>
                  <a:cubicBezTo>
                    <a:pt x="414" y="647"/>
                    <a:pt x="404" y="646"/>
                    <a:pt x="393" y="645"/>
                  </a:cubicBezTo>
                  <a:cubicBezTo>
                    <a:pt x="396" y="589"/>
                    <a:pt x="396" y="589"/>
                    <a:pt x="396" y="589"/>
                  </a:cubicBezTo>
                  <a:cubicBezTo>
                    <a:pt x="465" y="552"/>
                    <a:pt x="465" y="552"/>
                    <a:pt x="465" y="552"/>
                  </a:cubicBezTo>
                  <a:cubicBezTo>
                    <a:pt x="490" y="585"/>
                    <a:pt x="490" y="585"/>
                    <a:pt x="490" y="585"/>
                  </a:cubicBezTo>
                  <a:cubicBezTo>
                    <a:pt x="493" y="589"/>
                    <a:pt x="499" y="591"/>
                    <a:pt x="504" y="590"/>
                  </a:cubicBezTo>
                  <a:cubicBezTo>
                    <a:pt x="522" y="584"/>
                    <a:pt x="522" y="584"/>
                    <a:pt x="522" y="584"/>
                  </a:cubicBezTo>
                  <a:cubicBezTo>
                    <a:pt x="528" y="582"/>
                    <a:pt x="531" y="577"/>
                    <a:pt x="531" y="571"/>
                  </a:cubicBezTo>
                  <a:cubicBezTo>
                    <a:pt x="527" y="529"/>
                    <a:pt x="527" y="529"/>
                    <a:pt x="527" y="529"/>
                  </a:cubicBezTo>
                  <a:cubicBezTo>
                    <a:pt x="564" y="483"/>
                    <a:pt x="564" y="483"/>
                    <a:pt x="564" y="483"/>
                  </a:cubicBezTo>
                  <a:cubicBezTo>
                    <a:pt x="566" y="481"/>
                    <a:pt x="567" y="477"/>
                    <a:pt x="567" y="474"/>
                  </a:cubicBezTo>
                  <a:cubicBezTo>
                    <a:pt x="565" y="450"/>
                    <a:pt x="565" y="450"/>
                    <a:pt x="565" y="450"/>
                  </a:cubicBezTo>
                  <a:cubicBezTo>
                    <a:pt x="638" y="380"/>
                    <a:pt x="638" y="380"/>
                    <a:pt x="638" y="380"/>
                  </a:cubicBezTo>
                  <a:cubicBezTo>
                    <a:pt x="676" y="372"/>
                    <a:pt x="676" y="372"/>
                    <a:pt x="676" y="372"/>
                  </a:cubicBezTo>
                  <a:cubicBezTo>
                    <a:pt x="682" y="371"/>
                    <a:pt x="686" y="365"/>
                    <a:pt x="686" y="359"/>
                  </a:cubicBezTo>
                  <a:cubicBezTo>
                    <a:pt x="687" y="335"/>
                    <a:pt x="687" y="335"/>
                    <a:pt x="687" y="335"/>
                  </a:cubicBezTo>
                  <a:cubicBezTo>
                    <a:pt x="687" y="331"/>
                    <a:pt x="685" y="327"/>
                    <a:pt x="682" y="324"/>
                  </a:cubicBezTo>
                  <a:cubicBezTo>
                    <a:pt x="668" y="314"/>
                    <a:pt x="668" y="314"/>
                    <a:pt x="668" y="314"/>
                  </a:cubicBezTo>
                  <a:cubicBezTo>
                    <a:pt x="671" y="310"/>
                    <a:pt x="671" y="310"/>
                    <a:pt x="671" y="310"/>
                  </a:cubicBezTo>
                  <a:cubicBezTo>
                    <a:pt x="712" y="302"/>
                    <a:pt x="712" y="302"/>
                    <a:pt x="712" y="302"/>
                  </a:cubicBezTo>
                  <a:cubicBezTo>
                    <a:pt x="715" y="301"/>
                    <a:pt x="717" y="300"/>
                    <a:pt x="719" y="298"/>
                  </a:cubicBezTo>
                  <a:cubicBezTo>
                    <a:pt x="736" y="279"/>
                    <a:pt x="736" y="279"/>
                    <a:pt x="736" y="279"/>
                  </a:cubicBezTo>
                  <a:cubicBezTo>
                    <a:pt x="738" y="276"/>
                    <a:pt x="740" y="272"/>
                    <a:pt x="739" y="269"/>
                  </a:cubicBezTo>
                  <a:cubicBezTo>
                    <a:pt x="738" y="265"/>
                    <a:pt x="736" y="261"/>
                    <a:pt x="733" y="259"/>
                  </a:cubicBezTo>
                  <a:cubicBezTo>
                    <a:pt x="673" y="222"/>
                    <a:pt x="673" y="222"/>
                    <a:pt x="673" y="222"/>
                  </a:cubicBezTo>
                  <a:cubicBezTo>
                    <a:pt x="655" y="207"/>
                    <a:pt x="655" y="207"/>
                    <a:pt x="655" y="207"/>
                  </a:cubicBezTo>
                  <a:cubicBezTo>
                    <a:pt x="652" y="205"/>
                    <a:pt x="648" y="204"/>
                    <a:pt x="644" y="205"/>
                  </a:cubicBezTo>
                  <a:cubicBezTo>
                    <a:pt x="590" y="216"/>
                    <a:pt x="590" y="216"/>
                    <a:pt x="590" y="216"/>
                  </a:cubicBezTo>
                  <a:cubicBezTo>
                    <a:pt x="584" y="217"/>
                    <a:pt x="580" y="222"/>
                    <a:pt x="580" y="227"/>
                  </a:cubicBezTo>
                  <a:cubicBezTo>
                    <a:pt x="575" y="272"/>
                    <a:pt x="575" y="272"/>
                    <a:pt x="575" y="272"/>
                  </a:cubicBezTo>
                  <a:cubicBezTo>
                    <a:pt x="554" y="281"/>
                    <a:pt x="554" y="281"/>
                    <a:pt x="554" y="281"/>
                  </a:cubicBezTo>
                  <a:cubicBezTo>
                    <a:pt x="554" y="280"/>
                    <a:pt x="553" y="278"/>
                    <a:pt x="553" y="278"/>
                  </a:cubicBezTo>
                  <a:cubicBezTo>
                    <a:pt x="551" y="275"/>
                    <a:pt x="547" y="273"/>
                    <a:pt x="544" y="272"/>
                  </a:cubicBezTo>
                  <a:cubicBezTo>
                    <a:pt x="502" y="267"/>
                    <a:pt x="502" y="267"/>
                    <a:pt x="502" y="267"/>
                  </a:cubicBezTo>
                  <a:cubicBezTo>
                    <a:pt x="525" y="231"/>
                    <a:pt x="525" y="231"/>
                    <a:pt x="525" y="231"/>
                  </a:cubicBezTo>
                  <a:cubicBezTo>
                    <a:pt x="578" y="216"/>
                    <a:pt x="578" y="216"/>
                    <a:pt x="578" y="216"/>
                  </a:cubicBezTo>
                  <a:cubicBezTo>
                    <a:pt x="584" y="214"/>
                    <a:pt x="588" y="208"/>
                    <a:pt x="587" y="202"/>
                  </a:cubicBezTo>
                  <a:cubicBezTo>
                    <a:pt x="586" y="179"/>
                    <a:pt x="586" y="179"/>
                    <a:pt x="586" y="179"/>
                  </a:cubicBezTo>
                  <a:cubicBezTo>
                    <a:pt x="624" y="171"/>
                    <a:pt x="624" y="171"/>
                    <a:pt x="624" y="171"/>
                  </a:cubicBezTo>
                  <a:cubicBezTo>
                    <a:pt x="641" y="186"/>
                    <a:pt x="641" y="186"/>
                    <a:pt x="641" y="186"/>
                  </a:cubicBezTo>
                  <a:cubicBezTo>
                    <a:pt x="642" y="188"/>
                    <a:pt x="644" y="189"/>
                    <a:pt x="646" y="189"/>
                  </a:cubicBezTo>
                  <a:cubicBezTo>
                    <a:pt x="654" y="192"/>
                    <a:pt x="654" y="192"/>
                    <a:pt x="654" y="192"/>
                  </a:cubicBezTo>
                  <a:cubicBezTo>
                    <a:pt x="655" y="192"/>
                    <a:pt x="657" y="192"/>
                    <a:pt x="658" y="192"/>
                  </a:cubicBezTo>
                  <a:cubicBezTo>
                    <a:pt x="684" y="190"/>
                    <a:pt x="684" y="190"/>
                    <a:pt x="684" y="190"/>
                  </a:cubicBezTo>
                  <a:cubicBezTo>
                    <a:pt x="689" y="190"/>
                    <a:pt x="692" y="187"/>
                    <a:pt x="695" y="184"/>
                  </a:cubicBezTo>
                  <a:cubicBezTo>
                    <a:pt x="698" y="177"/>
                    <a:pt x="698" y="177"/>
                    <a:pt x="698" y="177"/>
                  </a:cubicBezTo>
                  <a:cubicBezTo>
                    <a:pt x="721" y="169"/>
                    <a:pt x="721" y="169"/>
                    <a:pt x="721" y="169"/>
                  </a:cubicBezTo>
                  <a:cubicBezTo>
                    <a:pt x="728" y="167"/>
                    <a:pt x="732" y="160"/>
                    <a:pt x="730" y="153"/>
                  </a:cubicBezTo>
                  <a:cubicBezTo>
                    <a:pt x="719" y="119"/>
                    <a:pt x="719" y="119"/>
                    <a:pt x="719" y="119"/>
                  </a:cubicBezTo>
                  <a:cubicBezTo>
                    <a:pt x="717" y="115"/>
                    <a:pt x="714" y="112"/>
                    <a:pt x="710" y="111"/>
                  </a:cubicBezTo>
                  <a:cubicBezTo>
                    <a:pt x="674" y="99"/>
                    <a:pt x="674" y="99"/>
                    <a:pt x="674" y="99"/>
                  </a:cubicBezTo>
                  <a:cubicBezTo>
                    <a:pt x="671" y="96"/>
                    <a:pt x="671" y="96"/>
                    <a:pt x="671" y="96"/>
                  </a:cubicBezTo>
                  <a:cubicBezTo>
                    <a:pt x="724" y="73"/>
                    <a:pt x="724" y="73"/>
                    <a:pt x="724" y="73"/>
                  </a:cubicBezTo>
                  <a:cubicBezTo>
                    <a:pt x="767" y="82"/>
                    <a:pt x="767" y="82"/>
                    <a:pt x="767" y="82"/>
                  </a:cubicBezTo>
                  <a:cubicBezTo>
                    <a:pt x="790" y="101"/>
                    <a:pt x="790" y="101"/>
                    <a:pt x="790" y="101"/>
                  </a:cubicBezTo>
                  <a:cubicBezTo>
                    <a:pt x="781" y="112"/>
                    <a:pt x="781" y="112"/>
                    <a:pt x="781" y="112"/>
                  </a:cubicBezTo>
                  <a:cubicBezTo>
                    <a:pt x="779" y="114"/>
                    <a:pt x="778" y="116"/>
                    <a:pt x="778" y="119"/>
                  </a:cubicBezTo>
                  <a:cubicBezTo>
                    <a:pt x="774" y="152"/>
                    <a:pt x="778" y="159"/>
                    <a:pt x="779" y="161"/>
                  </a:cubicBezTo>
                  <a:cubicBezTo>
                    <a:pt x="781" y="164"/>
                    <a:pt x="784" y="169"/>
                    <a:pt x="819" y="192"/>
                  </a:cubicBezTo>
                  <a:cubicBezTo>
                    <a:pt x="825" y="195"/>
                    <a:pt x="832" y="194"/>
                    <a:pt x="836" y="190"/>
                  </a:cubicBezTo>
                  <a:cubicBezTo>
                    <a:pt x="865" y="157"/>
                    <a:pt x="865" y="157"/>
                    <a:pt x="865" y="157"/>
                  </a:cubicBezTo>
                  <a:cubicBezTo>
                    <a:pt x="885" y="135"/>
                    <a:pt x="885" y="135"/>
                    <a:pt x="885" y="135"/>
                  </a:cubicBezTo>
                  <a:cubicBezTo>
                    <a:pt x="970" y="93"/>
                    <a:pt x="970" y="93"/>
                    <a:pt x="970" y="93"/>
                  </a:cubicBezTo>
                  <a:cubicBezTo>
                    <a:pt x="971" y="93"/>
                    <a:pt x="973" y="91"/>
                    <a:pt x="974" y="90"/>
                  </a:cubicBezTo>
                  <a:cubicBezTo>
                    <a:pt x="988" y="73"/>
                    <a:pt x="988" y="73"/>
                    <a:pt x="988" y="73"/>
                  </a:cubicBezTo>
                  <a:cubicBezTo>
                    <a:pt x="930" y="42"/>
                    <a:pt x="867" y="19"/>
                    <a:pt x="801" y="5"/>
                  </a:cubicBezTo>
                  <a:cubicBezTo>
                    <a:pt x="788" y="9"/>
                    <a:pt x="788" y="9"/>
                    <a:pt x="788" y="9"/>
                  </a:cubicBezTo>
                  <a:cubicBezTo>
                    <a:pt x="788" y="9"/>
                    <a:pt x="787" y="8"/>
                    <a:pt x="787" y="8"/>
                  </a:cubicBezTo>
                  <a:cubicBezTo>
                    <a:pt x="784" y="3"/>
                    <a:pt x="779" y="0"/>
                    <a:pt x="773" y="1"/>
                  </a:cubicBezTo>
                  <a:cubicBezTo>
                    <a:pt x="688" y="20"/>
                    <a:pt x="688" y="20"/>
                    <a:pt x="688" y="20"/>
                  </a:cubicBezTo>
                  <a:cubicBezTo>
                    <a:pt x="687" y="20"/>
                    <a:pt x="687" y="20"/>
                    <a:pt x="686" y="20"/>
                  </a:cubicBezTo>
                  <a:cubicBezTo>
                    <a:pt x="621" y="45"/>
                    <a:pt x="621" y="45"/>
                    <a:pt x="621" y="45"/>
                  </a:cubicBezTo>
                  <a:cubicBezTo>
                    <a:pt x="616" y="47"/>
                    <a:pt x="613" y="52"/>
                    <a:pt x="613" y="57"/>
                  </a:cubicBezTo>
                  <a:cubicBezTo>
                    <a:pt x="613" y="63"/>
                    <a:pt x="616" y="67"/>
                    <a:pt x="621" y="69"/>
                  </a:cubicBezTo>
                  <a:cubicBezTo>
                    <a:pt x="629" y="73"/>
                    <a:pt x="629" y="73"/>
                    <a:pt x="629" y="73"/>
                  </a:cubicBezTo>
                  <a:cubicBezTo>
                    <a:pt x="600" y="92"/>
                    <a:pt x="600" y="92"/>
                    <a:pt x="600" y="92"/>
                  </a:cubicBezTo>
                  <a:cubicBezTo>
                    <a:pt x="599" y="93"/>
                    <a:pt x="598" y="94"/>
                    <a:pt x="597" y="96"/>
                  </a:cubicBezTo>
                  <a:cubicBezTo>
                    <a:pt x="570" y="136"/>
                    <a:pt x="570" y="136"/>
                    <a:pt x="570" y="136"/>
                  </a:cubicBezTo>
                  <a:cubicBezTo>
                    <a:pt x="568" y="139"/>
                    <a:pt x="565" y="141"/>
                    <a:pt x="562" y="143"/>
                  </a:cubicBezTo>
                  <a:cubicBezTo>
                    <a:pt x="557" y="135"/>
                    <a:pt x="552" y="128"/>
                    <a:pt x="551" y="126"/>
                  </a:cubicBezTo>
                  <a:cubicBezTo>
                    <a:pt x="549" y="123"/>
                    <a:pt x="545" y="121"/>
                    <a:pt x="541" y="121"/>
                  </a:cubicBezTo>
                  <a:cubicBezTo>
                    <a:pt x="536" y="121"/>
                    <a:pt x="512" y="119"/>
                    <a:pt x="502" y="122"/>
                  </a:cubicBezTo>
                  <a:cubicBezTo>
                    <a:pt x="420" y="139"/>
                    <a:pt x="420" y="139"/>
                    <a:pt x="420" y="139"/>
                  </a:cubicBezTo>
                  <a:cubicBezTo>
                    <a:pt x="404" y="142"/>
                    <a:pt x="370" y="166"/>
                    <a:pt x="360" y="174"/>
                  </a:cubicBezTo>
                  <a:cubicBezTo>
                    <a:pt x="357" y="176"/>
                    <a:pt x="355" y="179"/>
                    <a:pt x="355" y="182"/>
                  </a:cubicBezTo>
                  <a:cubicBezTo>
                    <a:pt x="354" y="186"/>
                    <a:pt x="355" y="190"/>
                    <a:pt x="358" y="192"/>
                  </a:cubicBezTo>
                  <a:cubicBezTo>
                    <a:pt x="360" y="195"/>
                    <a:pt x="360" y="195"/>
                    <a:pt x="360" y="195"/>
                  </a:cubicBezTo>
                  <a:cubicBezTo>
                    <a:pt x="272" y="206"/>
                    <a:pt x="272" y="206"/>
                    <a:pt x="272" y="206"/>
                  </a:cubicBezTo>
                  <a:cubicBezTo>
                    <a:pt x="155" y="216"/>
                    <a:pt x="155" y="216"/>
                    <a:pt x="155" y="216"/>
                  </a:cubicBezTo>
                  <a:cubicBezTo>
                    <a:pt x="153" y="216"/>
                    <a:pt x="152" y="217"/>
                    <a:pt x="150" y="217"/>
                  </a:cubicBezTo>
                  <a:cubicBezTo>
                    <a:pt x="117" y="234"/>
                    <a:pt x="117" y="234"/>
                    <a:pt x="117" y="234"/>
                  </a:cubicBezTo>
                  <a:cubicBezTo>
                    <a:pt x="69" y="289"/>
                    <a:pt x="29" y="352"/>
                    <a:pt x="0" y="419"/>
                  </a:cubicBezTo>
                  <a:cubicBezTo>
                    <a:pt x="9" y="417"/>
                    <a:pt x="9" y="417"/>
                    <a:pt x="9" y="417"/>
                  </a:cubicBezTo>
                  <a:cubicBezTo>
                    <a:pt x="11" y="417"/>
                    <a:pt x="12" y="416"/>
                    <a:pt x="13" y="41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290" name="Freeform 82"/>
            <p:cNvSpPr>
              <a:spLocks/>
            </p:cNvSpPr>
            <p:nvPr/>
          </p:nvSpPr>
          <p:spPr bwMode="auto">
            <a:xfrm>
              <a:off x="6939" y="1058"/>
              <a:ext cx="27" cy="25"/>
            </a:xfrm>
            <a:custGeom>
              <a:avLst/>
              <a:gdLst>
                <a:gd name="T0" fmla="*/ 2 w 57"/>
                <a:gd name="T1" fmla="*/ 51 h 54"/>
                <a:gd name="T2" fmla="*/ 4 w 57"/>
                <a:gd name="T3" fmla="*/ 54 h 54"/>
                <a:gd name="T4" fmla="*/ 57 w 57"/>
                <a:gd name="T5" fmla="*/ 43 h 54"/>
                <a:gd name="T6" fmla="*/ 55 w 57"/>
                <a:gd name="T7" fmla="*/ 37 h 54"/>
                <a:gd name="T8" fmla="*/ 49 w 57"/>
                <a:gd name="T9" fmla="*/ 28 h 54"/>
                <a:gd name="T10" fmla="*/ 51 w 57"/>
                <a:gd name="T11" fmla="*/ 17 h 54"/>
                <a:gd name="T12" fmla="*/ 44 w 57"/>
                <a:gd name="T13" fmla="*/ 2 h 54"/>
                <a:gd name="T14" fmla="*/ 28 w 57"/>
                <a:gd name="T15" fmla="*/ 6 h 54"/>
                <a:gd name="T16" fmla="*/ 3 w 57"/>
                <a:gd name="T17" fmla="*/ 37 h 54"/>
                <a:gd name="T18" fmla="*/ 2 w 57"/>
                <a:gd name="T19" fmla="*/ 51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 h="54">
                  <a:moveTo>
                    <a:pt x="2" y="51"/>
                  </a:moveTo>
                  <a:cubicBezTo>
                    <a:pt x="3" y="52"/>
                    <a:pt x="3" y="53"/>
                    <a:pt x="4" y="54"/>
                  </a:cubicBezTo>
                  <a:cubicBezTo>
                    <a:pt x="57" y="43"/>
                    <a:pt x="57" y="43"/>
                    <a:pt x="57" y="43"/>
                  </a:cubicBezTo>
                  <a:cubicBezTo>
                    <a:pt x="57" y="41"/>
                    <a:pt x="56" y="38"/>
                    <a:pt x="55" y="37"/>
                  </a:cubicBezTo>
                  <a:cubicBezTo>
                    <a:pt x="49" y="28"/>
                    <a:pt x="49" y="28"/>
                    <a:pt x="49" y="28"/>
                  </a:cubicBezTo>
                  <a:cubicBezTo>
                    <a:pt x="51" y="17"/>
                    <a:pt x="51" y="17"/>
                    <a:pt x="51" y="17"/>
                  </a:cubicBezTo>
                  <a:cubicBezTo>
                    <a:pt x="52" y="11"/>
                    <a:pt x="49" y="5"/>
                    <a:pt x="44" y="2"/>
                  </a:cubicBezTo>
                  <a:cubicBezTo>
                    <a:pt x="38" y="0"/>
                    <a:pt x="32" y="1"/>
                    <a:pt x="28" y="6"/>
                  </a:cubicBezTo>
                  <a:cubicBezTo>
                    <a:pt x="3" y="37"/>
                    <a:pt x="3" y="37"/>
                    <a:pt x="3" y="37"/>
                  </a:cubicBezTo>
                  <a:cubicBezTo>
                    <a:pt x="0" y="41"/>
                    <a:pt x="0" y="46"/>
                    <a:pt x="2" y="5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291" name="Freeform 83"/>
            <p:cNvSpPr>
              <a:spLocks/>
            </p:cNvSpPr>
            <p:nvPr/>
          </p:nvSpPr>
          <p:spPr bwMode="auto">
            <a:xfrm>
              <a:off x="6831" y="1209"/>
              <a:ext cx="53" cy="25"/>
            </a:xfrm>
            <a:custGeom>
              <a:avLst/>
              <a:gdLst>
                <a:gd name="T0" fmla="*/ 103 w 114"/>
                <a:gd name="T1" fmla="*/ 12 h 54"/>
                <a:gd name="T2" fmla="*/ 75 w 114"/>
                <a:gd name="T3" fmla="*/ 7 h 54"/>
                <a:gd name="T4" fmla="*/ 55 w 114"/>
                <a:gd name="T5" fmla="*/ 1 h 54"/>
                <a:gd name="T6" fmla="*/ 49 w 114"/>
                <a:gd name="T7" fmla="*/ 0 h 54"/>
                <a:gd name="T8" fmla="*/ 11 w 114"/>
                <a:gd name="T9" fmla="*/ 8 h 54"/>
                <a:gd name="T10" fmla="*/ 1 w 114"/>
                <a:gd name="T11" fmla="*/ 24 h 54"/>
                <a:gd name="T12" fmla="*/ 16 w 114"/>
                <a:gd name="T13" fmla="*/ 34 h 54"/>
                <a:gd name="T14" fmla="*/ 51 w 114"/>
                <a:gd name="T15" fmla="*/ 26 h 54"/>
                <a:gd name="T16" fmla="*/ 52 w 114"/>
                <a:gd name="T17" fmla="*/ 27 h 54"/>
                <a:gd name="T18" fmla="*/ 50 w 114"/>
                <a:gd name="T19" fmla="*/ 28 h 54"/>
                <a:gd name="T20" fmla="*/ 41 w 114"/>
                <a:gd name="T21" fmla="*/ 44 h 54"/>
                <a:gd name="T22" fmla="*/ 56 w 114"/>
                <a:gd name="T23" fmla="*/ 53 h 54"/>
                <a:gd name="T24" fmla="*/ 58 w 114"/>
                <a:gd name="T25" fmla="*/ 52 h 54"/>
                <a:gd name="T26" fmla="*/ 105 w 114"/>
                <a:gd name="T27" fmla="*/ 37 h 54"/>
                <a:gd name="T28" fmla="*/ 113 w 114"/>
                <a:gd name="T29" fmla="*/ 23 h 54"/>
                <a:gd name="T30" fmla="*/ 103 w 114"/>
                <a:gd name="T31" fmla="*/ 1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4" h="54">
                  <a:moveTo>
                    <a:pt x="103" y="12"/>
                  </a:moveTo>
                  <a:cubicBezTo>
                    <a:pt x="75" y="7"/>
                    <a:pt x="75" y="7"/>
                    <a:pt x="75" y="7"/>
                  </a:cubicBezTo>
                  <a:cubicBezTo>
                    <a:pt x="55" y="1"/>
                    <a:pt x="55" y="1"/>
                    <a:pt x="55" y="1"/>
                  </a:cubicBezTo>
                  <a:cubicBezTo>
                    <a:pt x="53" y="0"/>
                    <a:pt x="51" y="0"/>
                    <a:pt x="49" y="0"/>
                  </a:cubicBezTo>
                  <a:cubicBezTo>
                    <a:pt x="11" y="8"/>
                    <a:pt x="11" y="8"/>
                    <a:pt x="11" y="8"/>
                  </a:cubicBezTo>
                  <a:cubicBezTo>
                    <a:pt x="4" y="10"/>
                    <a:pt x="0" y="17"/>
                    <a:pt x="1" y="24"/>
                  </a:cubicBezTo>
                  <a:cubicBezTo>
                    <a:pt x="3" y="31"/>
                    <a:pt x="9" y="35"/>
                    <a:pt x="16" y="34"/>
                  </a:cubicBezTo>
                  <a:cubicBezTo>
                    <a:pt x="51" y="26"/>
                    <a:pt x="51" y="26"/>
                    <a:pt x="51" y="26"/>
                  </a:cubicBezTo>
                  <a:cubicBezTo>
                    <a:pt x="52" y="27"/>
                    <a:pt x="52" y="27"/>
                    <a:pt x="52" y="27"/>
                  </a:cubicBezTo>
                  <a:cubicBezTo>
                    <a:pt x="50" y="28"/>
                    <a:pt x="50" y="28"/>
                    <a:pt x="50" y="28"/>
                  </a:cubicBezTo>
                  <a:cubicBezTo>
                    <a:pt x="43" y="30"/>
                    <a:pt x="39" y="37"/>
                    <a:pt x="41" y="44"/>
                  </a:cubicBezTo>
                  <a:cubicBezTo>
                    <a:pt x="43" y="50"/>
                    <a:pt x="50" y="54"/>
                    <a:pt x="56" y="53"/>
                  </a:cubicBezTo>
                  <a:cubicBezTo>
                    <a:pt x="57" y="53"/>
                    <a:pt x="57" y="52"/>
                    <a:pt x="58" y="52"/>
                  </a:cubicBezTo>
                  <a:cubicBezTo>
                    <a:pt x="105" y="37"/>
                    <a:pt x="105" y="37"/>
                    <a:pt x="105" y="37"/>
                  </a:cubicBezTo>
                  <a:cubicBezTo>
                    <a:pt x="110" y="35"/>
                    <a:pt x="114" y="29"/>
                    <a:pt x="113" y="23"/>
                  </a:cubicBezTo>
                  <a:cubicBezTo>
                    <a:pt x="113" y="18"/>
                    <a:pt x="109" y="13"/>
                    <a:pt x="103" y="1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292" name="Freeform 84"/>
            <p:cNvSpPr>
              <a:spLocks/>
            </p:cNvSpPr>
            <p:nvPr/>
          </p:nvSpPr>
          <p:spPr bwMode="auto">
            <a:xfrm>
              <a:off x="6895" y="1210"/>
              <a:ext cx="34" cy="15"/>
            </a:xfrm>
            <a:custGeom>
              <a:avLst/>
              <a:gdLst>
                <a:gd name="T0" fmla="*/ 58 w 72"/>
                <a:gd name="T1" fmla="*/ 0 h 30"/>
                <a:gd name="T2" fmla="*/ 13 w 72"/>
                <a:gd name="T3" fmla="*/ 4 h 30"/>
                <a:gd name="T4" fmla="*/ 1 w 72"/>
                <a:gd name="T5" fmla="*/ 17 h 30"/>
                <a:gd name="T6" fmla="*/ 14 w 72"/>
                <a:gd name="T7" fmla="*/ 29 h 30"/>
                <a:gd name="T8" fmla="*/ 60 w 72"/>
                <a:gd name="T9" fmla="*/ 26 h 30"/>
                <a:gd name="T10" fmla="*/ 62 w 72"/>
                <a:gd name="T11" fmla="*/ 26 h 30"/>
                <a:gd name="T12" fmla="*/ 72 w 72"/>
                <a:gd name="T13" fmla="*/ 12 h 30"/>
                <a:gd name="T14" fmla="*/ 58 w 72"/>
                <a:gd name="T15" fmla="*/ 0 h 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2" h="30">
                  <a:moveTo>
                    <a:pt x="58" y="0"/>
                  </a:moveTo>
                  <a:cubicBezTo>
                    <a:pt x="13" y="4"/>
                    <a:pt x="13" y="4"/>
                    <a:pt x="13" y="4"/>
                  </a:cubicBezTo>
                  <a:cubicBezTo>
                    <a:pt x="5" y="4"/>
                    <a:pt x="0" y="10"/>
                    <a:pt x="1" y="17"/>
                  </a:cubicBezTo>
                  <a:cubicBezTo>
                    <a:pt x="1" y="24"/>
                    <a:pt x="7" y="30"/>
                    <a:pt x="14" y="29"/>
                  </a:cubicBezTo>
                  <a:cubicBezTo>
                    <a:pt x="60" y="26"/>
                    <a:pt x="60" y="26"/>
                    <a:pt x="60" y="26"/>
                  </a:cubicBezTo>
                  <a:cubicBezTo>
                    <a:pt x="61" y="26"/>
                    <a:pt x="61" y="26"/>
                    <a:pt x="62" y="26"/>
                  </a:cubicBezTo>
                  <a:cubicBezTo>
                    <a:pt x="68" y="25"/>
                    <a:pt x="72" y="19"/>
                    <a:pt x="72" y="12"/>
                  </a:cubicBezTo>
                  <a:cubicBezTo>
                    <a:pt x="72" y="5"/>
                    <a:pt x="65" y="0"/>
                    <a:pt x="58"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293" name="Freeform 85"/>
            <p:cNvSpPr>
              <a:spLocks/>
            </p:cNvSpPr>
            <p:nvPr/>
          </p:nvSpPr>
          <p:spPr bwMode="auto">
            <a:xfrm>
              <a:off x="6928" y="1220"/>
              <a:ext cx="18" cy="20"/>
            </a:xfrm>
            <a:custGeom>
              <a:avLst/>
              <a:gdLst>
                <a:gd name="T0" fmla="*/ 34 w 38"/>
                <a:gd name="T1" fmla="*/ 23 h 43"/>
                <a:gd name="T2" fmla="*/ 26 w 38"/>
                <a:gd name="T3" fmla="*/ 8 h 43"/>
                <a:gd name="T4" fmla="*/ 8 w 38"/>
                <a:gd name="T5" fmla="*/ 3 h 43"/>
                <a:gd name="T6" fmla="*/ 3 w 38"/>
                <a:gd name="T7" fmla="*/ 21 h 43"/>
                <a:gd name="T8" fmla="*/ 12 w 38"/>
                <a:gd name="T9" fmla="*/ 36 h 43"/>
                <a:gd name="T10" fmla="*/ 26 w 38"/>
                <a:gd name="T11" fmla="*/ 42 h 43"/>
                <a:gd name="T12" fmla="*/ 30 w 38"/>
                <a:gd name="T13" fmla="*/ 41 h 43"/>
                <a:gd name="T14" fmla="*/ 34 w 38"/>
                <a:gd name="T15" fmla="*/ 23 h 4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43">
                  <a:moveTo>
                    <a:pt x="34" y="23"/>
                  </a:moveTo>
                  <a:cubicBezTo>
                    <a:pt x="26" y="8"/>
                    <a:pt x="26" y="8"/>
                    <a:pt x="26" y="8"/>
                  </a:cubicBezTo>
                  <a:cubicBezTo>
                    <a:pt x="22" y="2"/>
                    <a:pt x="14" y="0"/>
                    <a:pt x="8" y="3"/>
                  </a:cubicBezTo>
                  <a:cubicBezTo>
                    <a:pt x="2" y="7"/>
                    <a:pt x="0" y="15"/>
                    <a:pt x="3" y="21"/>
                  </a:cubicBezTo>
                  <a:cubicBezTo>
                    <a:pt x="12" y="36"/>
                    <a:pt x="12" y="36"/>
                    <a:pt x="12" y="36"/>
                  </a:cubicBezTo>
                  <a:cubicBezTo>
                    <a:pt x="15" y="41"/>
                    <a:pt x="21" y="43"/>
                    <a:pt x="26" y="42"/>
                  </a:cubicBezTo>
                  <a:cubicBezTo>
                    <a:pt x="27" y="42"/>
                    <a:pt x="29" y="41"/>
                    <a:pt x="30" y="41"/>
                  </a:cubicBezTo>
                  <a:cubicBezTo>
                    <a:pt x="36" y="37"/>
                    <a:pt x="38" y="29"/>
                    <a:pt x="34" y="2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grpSp>
      <p:sp>
        <p:nvSpPr>
          <p:cNvPr id="184" name="Rectangle 183"/>
          <p:cNvSpPr/>
          <p:nvPr/>
        </p:nvSpPr>
        <p:spPr bwMode="auto">
          <a:xfrm>
            <a:off x="5054885" y="5551611"/>
            <a:ext cx="7137115" cy="1317884"/>
          </a:xfrm>
          <a:prstGeom prst="rect">
            <a:avLst/>
          </a:prstGeom>
          <a:solidFill>
            <a:schemeClr val="accent6">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GB" sz="2000" b="1" i="0" u="none" strike="noStrike" kern="0" cap="none" spc="0" normalizeH="0" baseline="0" noProof="0" dirty="0">
              <a:ln>
                <a:noFill/>
              </a:ln>
              <a:solidFill>
                <a:schemeClr val="bg1"/>
              </a:solidFill>
              <a:effectLst/>
              <a:uLnTx/>
              <a:uFillTx/>
              <a:latin typeface="+mj-lt"/>
              <a:ea typeface="Segoe UI" pitchFamily="34" charset="0"/>
              <a:cs typeface="Segoe UI" pitchFamily="34" charset="0"/>
            </a:endParaRPr>
          </a:p>
        </p:txBody>
      </p:sp>
      <p:graphicFrame>
        <p:nvGraphicFramePr>
          <p:cNvPr id="2" name="Object 1"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3496" name="think-cell Slide" r:id="rId5" imgW="377" imgH="377" progId="TCLayout.ActiveDocument.1">
                  <p:embed/>
                </p:oleObj>
              </mc:Choice>
              <mc:Fallback>
                <p:oleObj name="think-cell Slide" r:id="rId5" imgW="377" imgH="377"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 name="TextBox 2"/>
          <p:cNvSpPr txBox="1"/>
          <p:nvPr/>
        </p:nvSpPr>
        <p:spPr>
          <a:xfrm>
            <a:off x="143279" y="2407922"/>
            <a:ext cx="4911606" cy="2643801"/>
          </a:xfrm>
          <a:prstGeom prst="rect">
            <a:avLst/>
          </a:prstGeom>
          <a:noFill/>
        </p:spPr>
        <p:txBody>
          <a:bodyPr wrap="square" lIns="182880" tIns="146304" rIns="182880" bIns="146304" rtlCol="0">
            <a:spAutoFit/>
          </a:body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US" sz="4800" b="0" i="0" u="none" strike="noStrike" kern="0" cap="none" spc="0" normalizeH="0" baseline="0" noProof="0" dirty="0">
                <a:ln>
                  <a:noFill/>
                </a:ln>
                <a:solidFill>
                  <a:schemeClr val="bg1"/>
                </a:solidFill>
                <a:effectLst/>
                <a:uLnTx/>
                <a:uFillTx/>
                <a:latin typeface="+mj-lt"/>
                <a:ea typeface="Segoe UI" pitchFamily="34" charset="0"/>
                <a:cs typeface="Segoe UI" pitchFamily="34" charset="0"/>
              </a:rPr>
              <a:t>Implementation </a:t>
            </a:r>
            <a:r>
              <a:rPr kumimoji="0" lang="en-US" sz="3600" b="0" i="0" u="none" strike="noStrike" kern="0" cap="none" spc="0" normalizeH="0" baseline="0" noProof="0" dirty="0">
                <a:ln>
                  <a:noFill/>
                </a:ln>
                <a:solidFill>
                  <a:schemeClr val="accent1"/>
                </a:solidFill>
                <a:effectLst/>
                <a:uLnTx/>
                <a:uFillTx/>
                <a:latin typeface="+mj-lt"/>
                <a:ea typeface="Segoe UI" pitchFamily="34" charset="0"/>
                <a:cs typeface="Segoe UI" pitchFamily="34" charset="0"/>
              </a:rPr>
              <a:t>Common customer patterns</a:t>
            </a:r>
          </a:p>
          <a:p>
            <a:pPr marL="0" marR="0" lvl="0" indent="0" defTabSz="914400" eaLnBrk="1" fontAlgn="auto" latinLnBrk="0" hangingPunct="1">
              <a:lnSpc>
                <a:spcPct val="90000"/>
              </a:lnSpc>
              <a:spcBef>
                <a:spcPts val="0"/>
              </a:spcBef>
              <a:spcAft>
                <a:spcPts val="600"/>
              </a:spcAft>
              <a:buClrTx/>
              <a:buSzTx/>
              <a:buFontTx/>
              <a:buNone/>
              <a:tabLst/>
              <a:defRPr/>
            </a:pPr>
            <a:endParaRPr kumimoji="0" lang="en-US" sz="4400" b="0" i="0" u="none" strike="noStrike" kern="0" cap="none" spc="0" normalizeH="0" baseline="0" noProof="0" dirty="0">
              <a:ln>
                <a:noFill/>
              </a:ln>
              <a:solidFill>
                <a:schemeClr val="accent2"/>
              </a:solidFill>
              <a:effectLst/>
              <a:uLnTx/>
              <a:uFillTx/>
              <a:latin typeface="+mj-lt"/>
              <a:ea typeface="Segoe UI" pitchFamily="34" charset="0"/>
              <a:cs typeface="Segoe UI" pitchFamily="34" charset="0"/>
            </a:endParaRPr>
          </a:p>
        </p:txBody>
      </p:sp>
      <p:grpSp>
        <p:nvGrpSpPr>
          <p:cNvPr id="294" name="Group 293"/>
          <p:cNvGrpSpPr/>
          <p:nvPr/>
        </p:nvGrpSpPr>
        <p:grpSpPr>
          <a:xfrm>
            <a:off x="5185633" y="2333451"/>
            <a:ext cx="2732512" cy="4211393"/>
            <a:chOff x="6606085" y="2870371"/>
            <a:chExt cx="2275226" cy="3506616"/>
          </a:xfrm>
        </p:grpSpPr>
        <p:sp>
          <p:nvSpPr>
            <p:cNvPr id="227" name="Freeform 20"/>
            <p:cNvSpPr>
              <a:spLocks/>
            </p:cNvSpPr>
            <p:nvPr/>
          </p:nvSpPr>
          <p:spPr bwMode="auto">
            <a:xfrm>
              <a:off x="7168774" y="2984540"/>
              <a:ext cx="1594288" cy="733943"/>
            </a:xfrm>
            <a:custGeom>
              <a:avLst/>
              <a:gdLst>
                <a:gd name="T0" fmla="*/ 0 w 391"/>
                <a:gd name="T1" fmla="*/ 159 h 180"/>
                <a:gd name="T2" fmla="*/ 8 w 391"/>
                <a:gd name="T3" fmla="*/ 180 h 180"/>
                <a:gd name="T4" fmla="*/ 391 w 391"/>
                <a:gd name="T5" fmla="*/ 61 h 180"/>
                <a:gd name="T6" fmla="*/ 367 w 391"/>
                <a:gd name="T7" fmla="*/ 0 h 180"/>
                <a:gd name="T8" fmla="*/ 0 w 391"/>
                <a:gd name="T9" fmla="*/ 159 h 180"/>
              </a:gdLst>
              <a:ahLst/>
              <a:cxnLst>
                <a:cxn ang="0">
                  <a:pos x="T0" y="T1"/>
                </a:cxn>
                <a:cxn ang="0">
                  <a:pos x="T2" y="T3"/>
                </a:cxn>
                <a:cxn ang="0">
                  <a:pos x="T4" y="T5"/>
                </a:cxn>
                <a:cxn ang="0">
                  <a:pos x="T6" y="T7"/>
                </a:cxn>
                <a:cxn ang="0">
                  <a:pos x="T8" y="T9"/>
                </a:cxn>
              </a:cxnLst>
              <a:rect l="0" t="0" r="r" b="b"/>
              <a:pathLst>
                <a:path w="391" h="180">
                  <a:moveTo>
                    <a:pt x="0" y="159"/>
                  </a:moveTo>
                  <a:lnTo>
                    <a:pt x="8" y="180"/>
                  </a:lnTo>
                  <a:lnTo>
                    <a:pt x="391" y="61"/>
                  </a:lnTo>
                  <a:lnTo>
                    <a:pt x="367" y="0"/>
                  </a:lnTo>
                  <a:lnTo>
                    <a:pt x="0" y="159"/>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228" name="Freeform 21"/>
            <p:cNvSpPr>
              <a:spLocks/>
            </p:cNvSpPr>
            <p:nvPr/>
          </p:nvSpPr>
          <p:spPr bwMode="auto">
            <a:xfrm>
              <a:off x="7168774" y="2984540"/>
              <a:ext cx="1594288" cy="733943"/>
            </a:xfrm>
            <a:custGeom>
              <a:avLst/>
              <a:gdLst>
                <a:gd name="T0" fmla="*/ 0 w 391"/>
                <a:gd name="T1" fmla="*/ 159 h 180"/>
                <a:gd name="T2" fmla="*/ 8 w 391"/>
                <a:gd name="T3" fmla="*/ 180 h 180"/>
                <a:gd name="T4" fmla="*/ 391 w 391"/>
                <a:gd name="T5" fmla="*/ 61 h 180"/>
                <a:gd name="T6" fmla="*/ 367 w 391"/>
                <a:gd name="T7" fmla="*/ 0 h 180"/>
                <a:gd name="T8" fmla="*/ 0 w 391"/>
                <a:gd name="T9" fmla="*/ 159 h 180"/>
              </a:gdLst>
              <a:ahLst/>
              <a:cxnLst>
                <a:cxn ang="0">
                  <a:pos x="T0" y="T1"/>
                </a:cxn>
                <a:cxn ang="0">
                  <a:pos x="T2" y="T3"/>
                </a:cxn>
                <a:cxn ang="0">
                  <a:pos x="T4" y="T5"/>
                </a:cxn>
                <a:cxn ang="0">
                  <a:pos x="T6" y="T7"/>
                </a:cxn>
                <a:cxn ang="0">
                  <a:pos x="T8" y="T9"/>
                </a:cxn>
              </a:cxnLst>
              <a:rect l="0" t="0" r="r" b="b"/>
              <a:pathLst>
                <a:path w="391" h="180">
                  <a:moveTo>
                    <a:pt x="0" y="159"/>
                  </a:moveTo>
                  <a:lnTo>
                    <a:pt x="8" y="180"/>
                  </a:lnTo>
                  <a:lnTo>
                    <a:pt x="391" y="61"/>
                  </a:lnTo>
                  <a:lnTo>
                    <a:pt x="367" y="0"/>
                  </a:lnTo>
                  <a:lnTo>
                    <a:pt x="0" y="15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229" name="Freeform 22"/>
            <p:cNvSpPr>
              <a:spLocks/>
            </p:cNvSpPr>
            <p:nvPr/>
          </p:nvSpPr>
          <p:spPr bwMode="auto">
            <a:xfrm>
              <a:off x="8551035" y="2870371"/>
              <a:ext cx="330276" cy="481140"/>
            </a:xfrm>
            <a:custGeom>
              <a:avLst/>
              <a:gdLst>
                <a:gd name="T0" fmla="*/ 0 w 81"/>
                <a:gd name="T1" fmla="*/ 16 h 118"/>
                <a:gd name="T2" fmla="*/ 40 w 81"/>
                <a:gd name="T3" fmla="*/ 118 h 118"/>
                <a:gd name="T4" fmla="*/ 81 w 81"/>
                <a:gd name="T5" fmla="*/ 102 h 118"/>
                <a:gd name="T6" fmla="*/ 40 w 81"/>
                <a:gd name="T7" fmla="*/ 0 h 118"/>
                <a:gd name="T8" fmla="*/ 0 w 81"/>
                <a:gd name="T9" fmla="*/ 16 h 118"/>
              </a:gdLst>
              <a:ahLst/>
              <a:cxnLst>
                <a:cxn ang="0">
                  <a:pos x="T0" y="T1"/>
                </a:cxn>
                <a:cxn ang="0">
                  <a:pos x="T2" y="T3"/>
                </a:cxn>
                <a:cxn ang="0">
                  <a:pos x="T4" y="T5"/>
                </a:cxn>
                <a:cxn ang="0">
                  <a:pos x="T6" y="T7"/>
                </a:cxn>
                <a:cxn ang="0">
                  <a:pos x="T8" y="T9"/>
                </a:cxn>
              </a:cxnLst>
              <a:rect l="0" t="0" r="r" b="b"/>
              <a:pathLst>
                <a:path w="81" h="118">
                  <a:moveTo>
                    <a:pt x="0" y="16"/>
                  </a:moveTo>
                  <a:lnTo>
                    <a:pt x="40" y="118"/>
                  </a:lnTo>
                  <a:lnTo>
                    <a:pt x="81" y="102"/>
                  </a:lnTo>
                  <a:lnTo>
                    <a:pt x="40" y="0"/>
                  </a:lnTo>
                  <a:lnTo>
                    <a:pt x="0" y="16"/>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230" name="Freeform 23"/>
            <p:cNvSpPr>
              <a:spLocks/>
            </p:cNvSpPr>
            <p:nvPr/>
          </p:nvSpPr>
          <p:spPr bwMode="auto">
            <a:xfrm>
              <a:off x="8551035" y="2870371"/>
              <a:ext cx="330276" cy="481140"/>
            </a:xfrm>
            <a:custGeom>
              <a:avLst/>
              <a:gdLst>
                <a:gd name="T0" fmla="*/ 0 w 81"/>
                <a:gd name="T1" fmla="*/ 16 h 118"/>
                <a:gd name="T2" fmla="*/ 40 w 81"/>
                <a:gd name="T3" fmla="*/ 118 h 118"/>
                <a:gd name="T4" fmla="*/ 81 w 81"/>
                <a:gd name="T5" fmla="*/ 102 h 118"/>
                <a:gd name="T6" fmla="*/ 40 w 81"/>
                <a:gd name="T7" fmla="*/ 0 h 118"/>
                <a:gd name="T8" fmla="*/ 0 w 81"/>
                <a:gd name="T9" fmla="*/ 16 h 118"/>
              </a:gdLst>
              <a:ahLst/>
              <a:cxnLst>
                <a:cxn ang="0">
                  <a:pos x="T0" y="T1"/>
                </a:cxn>
                <a:cxn ang="0">
                  <a:pos x="T2" y="T3"/>
                </a:cxn>
                <a:cxn ang="0">
                  <a:pos x="T4" y="T5"/>
                </a:cxn>
                <a:cxn ang="0">
                  <a:pos x="T6" y="T7"/>
                </a:cxn>
                <a:cxn ang="0">
                  <a:pos x="T8" y="T9"/>
                </a:cxn>
              </a:cxnLst>
              <a:rect l="0" t="0" r="r" b="b"/>
              <a:pathLst>
                <a:path w="81" h="118">
                  <a:moveTo>
                    <a:pt x="0" y="16"/>
                  </a:moveTo>
                  <a:lnTo>
                    <a:pt x="40" y="118"/>
                  </a:lnTo>
                  <a:lnTo>
                    <a:pt x="81" y="102"/>
                  </a:lnTo>
                  <a:lnTo>
                    <a:pt x="40" y="0"/>
                  </a:lnTo>
                  <a:lnTo>
                    <a:pt x="0"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231" name="Freeform 24"/>
            <p:cNvSpPr>
              <a:spLocks/>
            </p:cNvSpPr>
            <p:nvPr/>
          </p:nvSpPr>
          <p:spPr bwMode="auto">
            <a:xfrm>
              <a:off x="7278867" y="3588004"/>
              <a:ext cx="860346" cy="1117224"/>
            </a:xfrm>
            <a:custGeom>
              <a:avLst/>
              <a:gdLst>
                <a:gd name="T0" fmla="*/ 0 w 449"/>
                <a:gd name="T1" fmla="*/ 461 h 582"/>
                <a:gd name="T2" fmla="*/ 1 w 449"/>
                <a:gd name="T3" fmla="*/ 469 h 582"/>
                <a:gd name="T4" fmla="*/ 0 w 449"/>
                <a:gd name="T5" fmla="*/ 461 h 582"/>
                <a:gd name="T6" fmla="*/ 1 w 449"/>
                <a:gd name="T7" fmla="*/ 461 h 582"/>
                <a:gd name="T8" fmla="*/ 7 w 449"/>
                <a:gd name="T9" fmla="*/ 461 h 582"/>
                <a:gd name="T10" fmla="*/ 29 w 449"/>
                <a:gd name="T11" fmla="*/ 459 h 582"/>
                <a:gd name="T12" fmla="*/ 106 w 449"/>
                <a:gd name="T13" fmla="*/ 443 h 582"/>
                <a:gd name="T14" fmla="*/ 277 w 449"/>
                <a:gd name="T15" fmla="*/ 324 h 582"/>
                <a:gd name="T16" fmla="*/ 327 w 449"/>
                <a:gd name="T17" fmla="*/ 135 h 582"/>
                <a:gd name="T18" fmla="*/ 316 w 449"/>
                <a:gd name="T19" fmla="*/ 22 h 582"/>
                <a:gd name="T20" fmla="*/ 435 w 449"/>
                <a:gd name="T21" fmla="*/ 0 h 582"/>
                <a:gd name="T22" fmla="*/ 448 w 449"/>
                <a:gd name="T23" fmla="*/ 135 h 582"/>
                <a:gd name="T24" fmla="*/ 378 w 449"/>
                <a:gd name="T25" fmla="*/ 391 h 582"/>
                <a:gd name="T26" fmla="*/ 222 w 449"/>
                <a:gd name="T27" fmla="*/ 526 h 582"/>
                <a:gd name="T28" fmla="*/ 2 w 449"/>
                <a:gd name="T29" fmla="*/ 582 h 582"/>
                <a:gd name="T30" fmla="*/ 0 w 449"/>
                <a:gd name="T31" fmla="*/ 461 h 5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49" h="582">
                  <a:moveTo>
                    <a:pt x="0" y="461"/>
                  </a:moveTo>
                  <a:cubicBezTo>
                    <a:pt x="1" y="469"/>
                    <a:pt x="1" y="469"/>
                    <a:pt x="1" y="469"/>
                  </a:cubicBezTo>
                  <a:cubicBezTo>
                    <a:pt x="0" y="461"/>
                    <a:pt x="0" y="461"/>
                    <a:pt x="0" y="461"/>
                  </a:cubicBezTo>
                  <a:cubicBezTo>
                    <a:pt x="1" y="461"/>
                    <a:pt x="1" y="461"/>
                    <a:pt x="1" y="461"/>
                  </a:cubicBezTo>
                  <a:cubicBezTo>
                    <a:pt x="3" y="461"/>
                    <a:pt x="4" y="461"/>
                    <a:pt x="7" y="461"/>
                  </a:cubicBezTo>
                  <a:cubicBezTo>
                    <a:pt x="12" y="461"/>
                    <a:pt x="20" y="460"/>
                    <a:pt x="29" y="459"/>
                  </a:cubicBezTo>
                  <a:cubicBezTo>
                    <a:pt x="49" y="457"/>
                    <a:pt x="76" y="452"/>
                    <a:pt x="106" y="443"/>
                  </a:cubicBezTo>
                  <a:cubicBezTo>
                    <a:pt x="166" y="424"/>
                    <a:pt x="234" y="389"/>
                    <a:pt x="277" y="324"/>
                  </a:cubicBezTo>
                  <a:cubicBezTo>
                    <a:pt x="306" y="280"/>
                    <a:pt x="327" y="221"/>
                    <a:pt x="327" y="135"/>
                  </a:cubicBezTo>
                  <a:cubicBezTo>
                    <a:pt x="327" y="102"/>
                    <a:pt x="324" y="64"/>
                    <a:pt x="316" y="22"/>
                  </a:cubicBezTo>
                  <a:cubicBezTo>
                    <a:pt x="435" y="0"/>
                    <a:pt x="435" y="0"/>
                    <a:pt x="435" y="0"/>
                  </a:cubicBezTo>
                  <a:cubicBezTo>
                    <a:pt x="444" y="49"/>
                    <a:pt x="448" y="94"/>
                    <a:pt x="448" y="135"/>
                  </a:cubicBezTo>
                  <a:cubicBezTo>
                    <a:pt x="449" y="241"/>
                    <a:pt x="421" y="326"/>
                    <a:pt x="378" y="391"/>
                  </a:cubicBezTo>
                  <a:cubicBezTo>
                    <a:pt x="334" y="455"/>
                    <a:pt x="277" y="498"/>
                    <a:pt x="222" y="526"/>
                  </a:cubicBezTo>
                  <a:cubicBezTo>
                    <a:pt x="111" y="582"/>
                    <a:pt x="7" y="582"/>
                    <a:pt x="2" y="582"/>
                  </a:cubicBezTo>
                  <a:cubicBezTo>
                    <a:pt x="0" y="461"/>
                    <a:pt x="0" y="461"/>
                    <a:pt x="0" y="461"/>
                  </a:cubicBezTo>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232" name="Freeform 25"/>
            <p:cNvSpPr>
              <a:spLocks/>
            </p:cNvSpPr>
            <p:nvPr/>
          </p:nvSpPr>
          <p:spPr bwMode="auto">
            <a:xfrm>
              <a:off x="7523515" y="3588004"/>
              <a:ext cx="615698" cy="1076450"/>
            </a:xfrm>
            <a:custGeom>
              <a:avLst/>
              <a:gdLst>
                <a:gd name="T0" fmla="*/ 308 w 321"/>
                <a:gd name="T1" fmla="*/ 0 h 561"/>
                <a:gd name="T2" fmla="*/ 189 w 321"/>
                <a:gd name="T3" fmla="*/ 22 h 561"/>
                <a:gd name="T4" fmla="*/ 200 w 321"/>
                <a:gd name="T5" fmla="*/ 135 h 561"/>
                <a:gd name="T6" fmla="*/ 200 w 321"/>
                <a:gd name="T7" fmla="*/ 135 h 561"/>
                <a:gd name="T8" fmla="*/ 200 w 321"/>
                <a:gd name="T9" fmla="*/ 135 h 561"/>
                <a:gd name="T10" fmla="*/ 150 w 321"/>
                <a:gd name="T11" fmla="*/ 324 h 561"/>
                <a:gd name="T12" fmla="*/ 0 w 321"/>
                <a:gd name="T13" fmla="*/ 436 h 561"/>
                <a:gd name="T14" fmla="*/ 5 w 321"/>
                <a:gd name="T15" fmla="*/ 467 h 561"/>
                <a:gd name="T16" fmla="*/ 5 w 321"/>
                <a:gd name="T17" fmla="*/ 561 h 561"/>
                <a:gd name="T18" fmla="*/ 95 w 321"/>
                <a:gd name="T19" fmla="*/ 526 h 561"/>
                <a:gd name="T20" fmla="*/ 251 w 321"/>
                <a:gd name="T21" fmla="*/ 391 h 561"/>
                <a:gd name="T22" fmla="*/ 321 w 321"/>
                <a:gd name="T23" fmla="*/ 137 h 561"/>
                <a:gd name="T24" fmla="*/ 321 w 321"/>
                <a:gd name="T25" fmla="*/ 135 h 561"/>
                <a:gd name="T26" fmla="*/ 308 w 321"/>
                <a:gd name="T27" fmla="*/ 0 h 5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21" h="561">
                  <a:moveTo>
                    <a:pt x="308" y="0"/>
                  </a:moveTo>
                  <a:cubicBezTo>
                    <a:pt x="189" y="22"/>
                    <a:pt x="189" y="22"/>
                    <a:pt x="189" y="22"/>
                  </a:cubicBezTo>
                  <a:cubicBezTo>
                    <a:pt x="197" y="64"/>
                    <a:pt x="200" y="102"/>
                    <a:pt x="200" y="135"/>
                  </a:cubicBezTo>
                  <a:cubicBezTo>
                    <a:pt x="200" y="135"/>
                    <a:pt x="200" y="135"/>
                    <a:pt x="200" y="135"/>
                  </a:cubicBezTo>
                  <a:cubicBezTo>
                    <a:pt x="200" y="135"/>
                    <a:pt x="200" y="135"/>
                    <a:pt x="200" y="135"/>
                  </a:cubicBezTo>
                  <a:cubicBezTo>
                    <a:pt x="200" y="221"/>
                    <a:pt x="179" y="280"/>
                    <a:pt x="150" y="324"/>
                  </a:cubicBezTo>
                  <a:cubicBezTo>
                    <a:pt x="112" y="381"/>
                    <a:pt x="54" y="416"/>
                    <a:pt x="0" y="436"/>
                  </a:cubicBezTo>
                  <a:cubicBezTo>
                    <a:pt x="3" y="444"/>
                    <a:pt x="5" y="455"/>
                    <a:pt x="5" y="467"/>
                  </a:cubicBezTo>
                  <a:cubicBezTo>
                    <a:pt x="5" y="561"/>
                    <a:pt x="5" y="561"/>
                    <a:pt x="5" y="561"/>
                  </a:cubicBezTo>
                  <a:cubicBezTo>
                    <a:pt x="33" y="553"/>
                    <a:pt x="63" y="542"/>
                    <a:pt x="95" y="526"/>
                  </a:cubicBezTo>
                  <a:cubicBezTo>
                    <a:pt x="150" y="498"/>
                    <a:pt x="207" y="455"/>
                    <a:pt x="251" y="391"/>
                  </a:cubicBezTo>
                  <a:cubicBezTo>
                    <a:pt x="294" y="327"/>
                    <a:pt x="321" y="242"/>
                    <a:pt x="321" y="137"/>
                  </a:cubicBezTo>
                  <a:cubicBezTo>
                    <a:pt x="321" y="136"/>
                    <a:pt x="321" y="136"/>
                    <a:pt x="321" y="135"/>
                  </a:cubicBezTo>
                  <a:cubicBezTo>
                    <a:pt x="321" y="94"/>
                    <a:pt x="317" y="49"/>
                    <a:pt x="308" y="0"/>
                  </a:cubicBezTo>
                </a:path>
              </a:pathLst>
            </a:custGeom>
            <a:solidFill>
              <a:srgbClr val="00A9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233" name="Freeform 26"/>
            <p:cNvSpPr>
              <a:spLocks noEditPoints="1"/>
            </p:cNvSpPr>
            <p:nvPr/>
          </p:nvSpPr>
          <p:spPr bwMode="auto">
            <a:xfrm>
              <a:off x="8477641" y="3021238"/>
              <a:ext cx="199797" cy="273191"/>
            </a:xfrm>
            <a:custGeom>
              <a:avLst/>
              <a:gdLst>
                <a:gd name="T0" fmla="*/ 49 w 49"/>
                <a:gd name="T1" fmla="*/ 59 h 67"/>
                <a:gd name="T2" fmla="*/ 23 w 49"/>
                <a:gd name="T3" fmla="*/ 67 h 67"/>
                <a:gd name="T4" fmla="*/ 23 w 49"/>
                <a:gd name="T5" fmla="*/ 67 h 67"/>
                <a:gd name="T6" fmla="*/ 49 w 49"/>
                <a:gd name="T7" fmla="*/ 59 h 67"/>
                <a:gd name="T8" fmla="*/ 49 w 49"/>
                <a:gd name="T9" fmla="*/ 59 h 67"/>
                <a:gd name="T10" fmla="*/ 26 w 49"/>
                <a:gd name="T11" fmla="*/ 0 h 67"/>
                <a:gd name="T12" fmla="*/ 0 w 49"/>
                <a:gd name="T13" fmla="*/ 11 h 67"/>
                <a:gd name="T14" fmla="*/ 26 w 49"/>
                <a:gd name="T15" fmla="*/ 0 h 67"/>
                <a:gd name="T16" fmla="*/ 26 w 49"/>
                <a:gd name="T17" fmla="*/ 0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 h="67">
                  <a:moveTo>
                    <a:pt x="49" y="59"/>
                  </a:moveTo>
                  <a:lnTo>
                    <a:pt x="23" y="67"/>
                  </a:lnTo>
                  <a:lnTo>
                    <a:pt x="23" y="67"/>
                  </a:lnTo>
                  <a:lnTo>
                    <a:pt x="49" y="59"/>
                  </a:lnTo>
                  <a:lnTo>
                    <a:pt x="49" y="59"/>
                  </a:lnTo>
                  <a:close/>
                  <a:moveTo>
                    <a:pt x="26" y="0"/>
                  </a:moveTo>
                  <a:lnTo>
                    <a:pt x="0" y="11"/>
                  </a:lnTo>
                  <a:lnTo>
                    <a:pt x="26" y="0"/>
                  </a:lnTo>
                  <a:lnTo>
                    <a:pt x="26" y="0"/>
                  </a:lnTo>
                  <a:close/>
                </a:path>
              </a:pathLst>
            </a:custGeom>
            <a:solidFill>
              <a:srgbClr val="001B4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234" name="Freeform 27"/>
            <p:cNvSpPr>
              <a:spLocks noEditPoints="1"/>
            </p:cNvSpPr>
            <p:nvPr/>
          </p:nvSpPr>
          <p:spPr bwMode="auto">
            <a:xfrm>
              <a:off x="8477641" y="3021238"/>
              <a:ext cx="199797" cy="273191"/>
            </a:xfrm>
            <a:custGeom>
              <a:avLst/>
              <a:gdLst>
                <a:gd name="T0" fmla="*/ 49 w 49"/>
                <a:gd name="T1" fmla="*/ 59 h 67"/>
                <a:gd name="T2" fmla="*/ 23 w 49"/>
                <a:gd name="T3" fmla="*/ 67 h 67"/>
                <a:gd name="T4" fmla="*/ 23 w 49"/>
                <a:gd name="T5" fmla="*/ 67 h 67"/>
                <a:gd name="T6" fmla="*/ 49 w 49"/>
                <a:gd name="T7" fmla="*/ 59 h 67"/>
                <a:gd name="T8" fmla="*/ 49 w 49"/>
                <a:gd name="T9" fmla="*/ 59 h 67"/>
                <a:gd name="T10" fmla="*/ 26 w 49"/>
                <a:gd name="T11" fmla="*/ 0 h 67"/>
                <a:gd name="T12" fmla="*/ 0 w 49"/>
                <a:gd name="T13" fmla="*/ 11 h 67"/>
                <a:gd name="T14" fmla="*/ 26 w 49"/>
                <a:gd name="T15" fmla="*/ 0 h 67"/>
                <a:gd name="T16" fmla="*/ 26 w 49"/>
                <a:gd name="T17" fmla="*/ 0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 h="67">
                  <a:moveTo>
                    <a:pt x="49" y="59"/>
                  </a:moveTo>
                  <a:lnTo>
                    <a:pt x="23" y="67"/>
                  </a:lnTo>
                  <a:lnTo>
                    <a:pt x="23" y="67"/>
                  </a:lnTo>
                  <a:lnTo>
                    <a:pt x="49" y="59"/>
                  </a:lnTo>
                  <a:lnTo>
                    <a:pt x="49" y="59"/>
                  </a:lnTo>
                  <a:moveTo>
                    <a:pt x="26" y="0"/>
                  </a:moveTo>
                  <a:lnTo>
                    <a:pt x="0" y="11"/>
                  </a:lnTo>
                  <a:lnTo>
                    <a:pt x="26" y="0"/>
                  </a:lnTo>
                  <a:lnTo>
                    <a:pt x="2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235" name="Freeform 28"/>
            <p:cNvSpPr>
              <a:spLocks/>
            </p:cNvSpPr>
            <p:nvPr/>
          </p:nvSpPr>
          <p:spPr bwMode="auto">
            <a:xfrm>
              <a:off x="8477641" y="3021238"/>
              <a:ext cx="199797" cy="273191"/>
            </a:xfrm>
            <a:custGeom>
              <a:avLst/>
              <a:gdLst>
                <a:gd name="T0" fmla="*/ 26 w 49"/>
                <a:gd name="T1" fmla="*/ 0 h 67"/>
                <a:gd name="T2" fmla="*/ 0 w 49"/>
                <a:gd name="T3" fmla="*/ 11 h 67"/>
                <a:gd name="T4" fmla="*/ 23 w 49"/>
                <a:gd name="T5" fmla="*/ 67 h 67"/>
                <a:gd name="T6" fmla="*/ 49 w 49"/>
                <a:gd name="T7" fmla="*/ 59 h 67"/>
                <a:gd name="T8" fmla="*/ 28 w 49"/>
                <a:gd name="T9" fmla="*/ 4 h 67"/>
                <a:gd name="T10" fmla="*/ 26 w 49"/>
                <a:gd name="T11" fmla="*/ 0 h 67"/>
              </a:gdLst>
              <a:ahLst/>
              <a:cxnLst>
                <a:cxn ang="0">
                  <a:pos x="T0" y="T1"/>
                </a:cxn>
                <a:cxn ang="0">
                  <a:pos x="T2" y="T3"/>
                </a:cxn>
                <a:cxn ang="0">
                  <a:pos x="T4" y="T5"/>
                </a:cxn>
                <a:cxn ang="0">
                  <a:pos x="T6" y="T7"/>
                </a:cxn>
                <a:cxn ang="0">
                  <a:pos x="T8" y="T9"/>
                </a:cxn>
                <a:cxn ang="0">
                  <a:pos x="T10" y="T11"/>
                </a:cxn>
              </a:cxnLst>
              <a:rect l="0" t="0" r="r" b="b"/>
              <a:pathLst>
                <a:path w="49" h="67">
                  <a:moveTo>
                    <a:pt x="26" y="0"/>
                  </a:moveTo>
                  <a:lnTo>
                    <a:pt x="0" y="11"/>
                  </a:lnTo>
                  <a:lnTo>
                    <a:pt x="23" y="67"/>
                  </a:lnTo>
                  <a:lnTo>
                    <a:pt x="49" y="59"/>
                  </a:lnTo>
                  <a:lnTo>
                    <a:pt x="28" y="4"/>
                  </a:lnTo>
                  <a:lnTo>
                    <a:pt x="26" y="0"/>
                  </a:lnTo>
                  <a:close/>
                </a:path>
              </a:pathLst>
            </a:custGeom>
            <a:solidFill>
              <a:srgbClr val="00A0C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236" name="Freeform 29"/>
            <p:cNvSpPr>
              <a:spLocks/>
            </p:cNvSpPr>
            <p:nvPr/>
          </p:nvSpPr>
          <p:spPr bwMode="auto">
            <a:xfrm>
              <a:off x="8477641" y="3021238"/>
              <a:ext cx="199797" cy="273191"/>
            </a:xfrm>
            <a:custGeom>
              <a:avLst/>
              <a:gdLst>
                <a:gd name="T0" fmla="*/ 26 w 49"/>
                <a:gd name="T1" fmla="*/ 0 h 67"/>
                <a:gd name="T2" fmla="*/ 0 w 49"/>
                <a:gd name="T3" fmla="*/ 11 h 67"/>
                <a:gd name="T4" fmla="*/ 23 w 49"/>
                <a:gd name="T5" fmla="*/ 67 h 67"/>
                <a:gd name="T6" fmla="*/ 49 w 49"/>
                <a:gd name="T7" fmla="*/ 59 h 67"/>
                <a:gd name="T8" fmla="*/ 28 w 49"/>
                <a:gd name="T9" fmla="*/ 4 h 67"/>
                <a:gd name="T10" fmla="*/ 26 w 49"/>
                <a:gd name="T11" fmla="*/ 0 h 67"/>
              </a:gdLst>
              <a:ahLst/>
              <a:cxnLst>
                <a:cxn ang="0">
                  <a:pos x="T0" y="T1"/>
                </a:cxn>
                <a:cxn ang="0">
                  <a:pos x="T2" y="T3"/>
                </a:cxn>
                <a:cxn ang="0">
                  <a:pos x="T4" y="T5"/>
                </a:cxn>
                <a:cxn ang="0">
                  <a:pos x="T6" y="T7"/>
                </a:cxn>
                <a:cxn ang="0">
                  <a:pos x="T8" y="T9"/>
                </a:cxn>
                <a:cxn ang="0">
                  <a:pos x="T10" y="T11"/>
                </a:cxn>
              </a:cxnLst>
              <a:rect l="0" t="0" r="r" b="b"/>
              <a:pathLst>
                <a:path w="49" h="67">
                  <a:moveTo>
                    <a:pt x="26" y="0"/>
                  </a:moveTo>
                  <a:lnTo>
                    <a:pt x="0" y="11"/>
                  </a:lnTo>
                  <a:lnTo>
                    <a:pt x="23" y="67"/>
                  </a:lnTo>
                  <a:lnTo>
                    <a:pt x="49" y="59"/>
                  </a:lnTo>
                  <a:lnTo>
                    <a:pt x="28" y="4"/>
                  </a:lnTo>
                  <a:lnTo>
                    <a:pt x="2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237" name="Freeform 30"/>
            <p:cNvSpPr>
              <a:spLocks/>
            </p:cNvSpPr>
            <p:nvPr/>
          </p:nvSpPr>
          <p:spPr bwMode="auto">
            <a:xfrm>
              <a:off x="8591809" y="3037548"/>
              <a:ext cx="85628" cy="224262"/>
            </a:xfrm>
            <a:custGeom>
              <a:avLst/>
              <a:gdLst>
                <a:gd name="T0" fmla="*/ 0 w 21"/>
                <a:gd name="T1" fmla="*/ 0 h 55"/>
                <a:gd name="T2" fmla="*/ 21 w 21"/>
                <a:gd name="T3" fmla="*/ 55 h 55"/>
                <a:gd name="T4" fmla="*/ 21 w 21"/>
                <a:gd name="T5" fmla="*/ 55 h 55"/>
                <a:gd name="T6" fmla="*/ 21 w 21"/>
                <a:gd name="T7" fmla="*/ 55 h 55"/>
                <a:gd name="T8" fmla="*/ 0 w 21"/>
                <a:gd name="T9" fmla="*/ 0 h 55"/>
              </a:gdLst>
              <a:ahLst/>
              <a:cxnLst>
                <a:cxn ang="0">
                  <a:pos x="T0" y="T1"/>
                </a:cxn>
                <a:cxn ang="0">
                  <a:pos x="T2" y="T3"/>
                </a:cxn>
                <a:cxn ang="0">
                  <a:pos x="T4" y="T5"/>
                </a:cxn>
                <a:cxn ang="0">
                  <a:pos x="T6" y="T7"/>
                </a:cxn>
                <a:cxn ang="0">
                  <a:pos x="T8" y="T9"/>
                </a:cxn>
              </a:cxnLst>
              <a:rect l="0" t="0" r="r" b="b"/>
              <a:pathLst>
                <a:path w="21" h="55">
                  <a:moveTo>
                    <a:pt x="0" y="0"/>
                  </a:moveTo>
                  <a:lnTo>
                    <a:pt x="21" y="55"/>
                  </a:lnTo>
                  <a:lnTo>
                    <a:pt x="21" y="55"/>
                  </a:lnTo>
                  <a:lnTo>
                    <a:pt x="21" y="55"/>
                  </a:lnTo>
                  <a:lnTo>
                    <a:pt x="0" y="0"/>
                  </a:lnTo>
                  <a:close/>
                </a:path>
              </a:pathLst>
            </a:custGeom>
            <a:solidFill>
              <a:srgbClr val="00A0C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238" name="Freeform 31"/>
            <p:cNvSpPr>
              <a:spLocks/>
            </p:cNvSpPr>
            <p:nvPr/>
          </p:nvSpPr>
          <p:spPr bwMode="auto">
            <a:xfrm>
              <a:off x="8591809" y="3037548"/>
              <a:ext cx="85628" cy="224262"/>
            </a:xfrm>
            <a:custGeom>
              <a:avLst/>
              <a:gdLst>
                <a:gd name="T0" fmla="*/ 0 w 21"/>
                <a:gd name="T1" fmla="*/ 0 h 55"/>
                <a:gd name="T2" fmla="*/ 21 w 21"/>
                <a:gd name="T3" fmla="*/ 55 h 55"/>
                <a:gd name="T4" fmla="*/ 21 w 21"/>
                <a:gd name="T5" fmla="*/ 55 h 55"/>
                <a:gd name="T6" fmla="*/ 21 w 21"/>
                <a:gd name="T7" fmla="*/ 55 h 55"/>
                <a:gd name="T8" fmla="*/ 0 w 21"/>
                <a:gd name="T9" fmla="*/ 0 h 55"/>
              </a:gdLst>
              <a:ahLst/>
              <a:cxnLst>
                <a:cxn ang="0">
                  <a:pos x="T0" y="T1"/>
                </a:cxn>
                <a:cxn ang="0">
                  <a:pos x="T2" y="T3"/>
                </a:cxn>
                <a:cxn ang="0">
                  <a:pos x="T4" y="T5"/>
                </a:cxn>
                <a:cxn ang="0">
                  <a:pos x="T6" y="T7"/>
                </a:cxn>
                <a:cxn ang="0">
                  <a:pos x="T8" y="T9"/>
                </a:cxn>
              </a:cxnLst>
              <a:rect l="0" t="0" r="r" b="b"/>
              <a:pathLst>
                <a:path w="21" h="55">
                  <a:moveTo>
                    <a:pt x="0" y="0"/>
                  </a:moveTo>
                  <a:lnTo>
                    <a:pt x="21" y="55"/>
                  </a:lnTo>
                  <a:lnTo>
                    <a:pt x="21" y="55"/>
                  </a:lnTo>
                  <a:lnTo>
                    <a:pt x="21" y="55"/>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239" name="Freeform 32"/>
            <p:cNvSpPr>
              <a:spLocks/>
            </p:cNvSpPr>
            <p:nvPr/>
          </p:nvSpPr>
          <p:spPr bwMode="auto">
            <a:xfrm>
              <a:off x="7849712" y="3363745"/>
              <a:ext cx="265036" cy="269112"/>
            </a:xfrm>
            <a:custGeom>
              <a:avLst/>
              <a:gdLst>
                <a:gd name="T0" fmla="*/ 126 w 137"/>
                <a:gd name="T1" fmla="*/ 56 h 140"/>
                <a:gd name="T2" fmla="*/ 126 w 137"/>
                <a:gd name="T3" fmla="*/ 56 h 140"/>
                <a:gd name="T4" fmla="*/ 125 w 137"/>
                <a:gd name="T5" fmla="*/ 54 h 140"/>
                <a:gd name="T6" fmla="*/ 55 w 137"/>
                <a:gd name="T7" fmla="*/ 6 h 140"/>
                <a:gd name="T8" fmla="*/ 7 w 137"/>
                <a:gd name="T9" fmla="*/ 76 h 140"/>
                <a:gd name="T10" fmla="*/ 7 w 137"/>
                <a:gd name="T11" fmla="*/ 79 h 140"/>
                <a:gd name="T12" fmla="*/ 7 w 137"/>
                <a:gd name="T13" fmla="*/ 79 h 140"/>
                <a:gd name="T14" fmla="*/ 19 w 137"/>
                <a:gd name="T15" fmla="*/ 140 h 140"/>
                <a:gd name="T16" fmla="*/ 137 w 137"/>
                <a:gd name="T17" fmla="*/ 118 h 140"/>
                <a:gd name="T18" fmla="*/ 126 w 137"/>
                <a:gd name="T19" fmla="*/ 56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7" h="140">
                  <a:moveTo>
                    <a:pt x="126" y="56"/>
                  </a:moveTo>
                  <a:cubicBezTo>
                    <a:pt x="126" y="56"/>
                    <a:pt x="126" y="56"/>
                    <a:pt x="126" y="56"/>
                  </a:cubicBezTo>
                  <a:cubicBezTo>
                    <a:pt x="126" y="56"/>
                    <a:pt x="125" y="55"/>
                    <a:pt x="125" y="54"/>
                  </a:cubicBezTo>
                  <a:cubicBezTo>
                    <a:pt x="119" y="21"/>
                    <a:pt x="88" y="0"/>
                    <a:pt x="55" y="6"/>
                  </a:cubicBezTo>
                  <a:cubicBezTo>
                    <a:pt x="22" y="12"/>
                    <a:pt x="0" y="43"/>
                    <a:pt x="7" y="76"/>
                  </a:cubicBezTo>
                  <a:cubicBezTo>
                    <a:pt x="7" y="77"/>
                    <a:pt x="7" y="78"/>
                    <a:pt x="7" y="79"/>
                  </a:cubicBezTo>
                  <a:cubicBezTo>
                    <a:pt x="7" y="79"/>
                    <a:pt x="7" y="79"/>
                    <a:pt x="7" y="79"/>
                  </a:cubicBezTo>
                  <a:cubicBezTo>
                    <a:pt x="19" y="140"/>
                    <a:pt x="19" y="140"/>
                    <a:pt x="19" y="140"/>
                  </a:cubicBezTo>
                  <a:cubicBezTo>
                    <a:pt x="137" y="118"/>
                    <a:pt x="137" y="118"/>
                    <a:pt x="137" y="118"/>
                  </a:cubicBezTo>
                  <a:lnTo>
                    <a:pt x="126" y="56"/>
                  </a:lnTo>
                  <a:close/>
                </a:path>
              </a:pathLst>
            </a:custGeom>
            <a:solidFill>
              <a:srgbClr val="FBCF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240" name="Oval 33"/>
            <p:cNvSpPr>
              <a:spLocks noChangeArrowheads="1"/>
            </p:cNvSpPr>
            <p:nvPr/>
          </p:nvSpPr>
          <p:spPr bwMode="auto">
            <a:xfrm>
              <a:off x="6618318" y="4338257"/>
              <a:ext cx="901120" cy="901120"/>
            </a:xfrm>
            <a:prstGeom prst="ellipse">
              <a:avLst/>
            </a:prstGeom>
            <a:solidFill>
              <a:srgbClr val="EE28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247" name="Freeform 40"/>
            <p:cNvSpPr>
              <a:spLocks/>
            </p:cNvSpPr>
            <p:nvPr/>
          </p:nvSpPr>
          <p:spPr bwMode="auto">
            <a:xfrm>
              <a:off x="6630549" y="3322971"/>
              <a:ext cx="758408" cy="998979"/>
            </a:xfrm>
            <a:custGeom>
              <a:avLst/>
              <a:gdLst>
                <a:gd name="T0" fmla="*/ 275 w 394"/>
                <a:gd name="T1" fmla="*/ 89 h 521"/>
                <a:gd name="T2" fmla="*/ 98 w 394"/>
                <a:gd name="T3" fmla="*/ 30 h 521"/>
                <a:gd name="T4" fmla="*/ 31 w 394"/>
                <a:gd name="T5" fmla="*/ 211 h 521"/>
                <a:gd name="T6" fmla="*/ 174 w 394"/>
                <a:gd name="T7" fmla="*/ 521 h 521"/>
                <a:gd name="T8" fmla="*/ 394 w 394"/>
                <a:gd name="T9" fmla="*/ 420 h 521"/>
                <a:gd name="T10" fmla="*/ 316 w 394"/>
                <a:gd name="T11" fmla="*/ 258 h 521"/>
                <a:gd name="T12" fmla="*/ 347 w 394"/>
                <a:gd name="T13" fmla="*/ 244 h 521"/>
                <a:gd name="T14" fmla="*/ 276 w 394"/>
                <a:gd name="T15" fmla="*/ 89 h 521"/>
                <a:gd name="T16" fmla="*/ 275 w 394"/>
                <a:gd name="T17" fmla="*/ 89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4" h="521">
                  <a:moveTo>
                    <a:pt x="275" y="89"/>
                  </a:moveTo>
                  <a:cubicBezTo>
                    <a:pt x="241" y="26"/>
                    <a:pt x="164" y="0"/>
                    <a:pt x="98" y="30"/>
                  </a:cubicBezTo>
                  <a:cubicBezTo>
                    <a:pt x="29" y="62"/>
                    <a:pt x="0" y="143"/>
                    <a:pt x="31" y="211"/>
                  </a:cubicBezTo>
                  <a:cubicBezTo>
                    <a:pt x="174" y="521"/>
                    <a:pt x="174" y="521"/>
                    <a:pt x="174" y="521"/>
                  </a:cubicBezTo>
                  <a:cubicBezTo>
                    <a:pt x="394" y="420"/>
                    <a:pt x="394" y="420"/>
                    <a:pt x="394" y="420"/>
                  </a:cubicBezTo>
                  <a:cubicBezTo>
                    <a:pt x="316" y="258"/>
                    <a:pt x="316" y="258"/>
                    <a:pt x="316" y="258"/>
                  </a:cubicBezTo>
                  <a:cubicBezTo>
                    <a:pt x="347" y="244"/>
                    <a:pt x="347" y="244"/>
                    <a:pt x="347" y="244"/>
                  </a:cubicBezTo>
                  <a:cubicBezTo>
                    <a:pt x="276" y="89"/>
                    <a:pt x="276" y="89"/>
                    <a:pt x="276" y="89"/>
                  </a:cubicBezTo>
                  <a:cubicBezTo>
                    <a:pt x="275" y="89"/>
                    <a:pt x="275" y="89"/>
                    <a:pt x="275" y="89"/>
                  </a:cubicBezTo>
                </a:path>
              </a:pathLst>
            </a:custGeom>
            <a:solidFill>
              <a:srgbClr val="FFFC9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248" name="Freeform 41"/>
            <p:cNvSpPr>
              <a:spLocks/>
            </p:cNvSpPr>
            <p:nvPr/>
          </p:nvSpPr>
          <p:spPr bwMode="auto">
            <a:xfrm>
              <a:off x="6630549" y="3327047"/>
              <a:ext cx="521915" cy="827726"/>
            </a:xfrm>
            <a:custGeom>
              <a:avLst/>
              <a:gdLst>
                <a:gd name="T0" fmla="*/ 98 w 272"/>
                <a:gd name="T1" fmla="*/ 29 h 432"/>
                <a:gd name="T2" fmla="*/ 31 w 272"/>
                <a:gd name="T3" fmla="*/ 210 h 432"/>
                <a:gd name="T4" fmla="*/ 87 w 272"/>
                <a:gd name="T5" fmla="*/ 331 h 432"/>
                <a:gd name="T6" fmla="*/ 133 w 272"/>
                <a:gd name="T7" fmla="*/ 432 h 432"/>
                <a:gd name="T8" fmla="*/ 187 w 272"/>
                <a:gd name="T9" fmla="*/ 385 h 432"/>
                <a:gd name="T10" fmla="*/ 206 w 272"/>
                <a:gd name="T11" fmla="*/ 345 h 432"/>
                <a:gd name="T12" fmla="*/ 160 w 272"/>
                <a:gd name="T13" fmla="*/ 245 h 432"/>
                <a:gd name="T14" fmla="*/ 161 w 272"/>
                <a:gd name="T15" fmla="*/ 207 h 432"/>
                <a:gd name="T16" fmla="*/ 272 w 272"/>
                <a:gd name="T17" fmla="*/ 81 h 432"/>
                <a:gd name="T18" fmla="*/ 98 w 272"/>
                <a:gd name="T19" fmla="*/ 29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72" h="432">
                  <a:moveTo>
                    <a:pt x="98" y="29"/>
                  </a:moveTo>
                  <a:cubicBezTo>
                    <a:pt x="29" y="61"/>
                    <a:pt x="0" y="142"/>
                    <a:pt x="31" y="210"/>
                  </a:cubicBezTo>
                  <a:cubicBezTo>
                    <a:pt x="87" y="331"/>
                    <a:pt x="87" y="331"/>
                    <a:pt x="87" y="331"/>
                  </a:cubicBezTo>
                  <a:cubicBezTo>
                    <a:pt x="133" y="432"/>
                    <a:pt x="133" y="432"/>
                    <a:pt x="133" y="432"/>
                  </a:cubicBezTo>
                  <a:cubicBezTo>
                    <a:pt x="133" y="432"/>
                    <a:pt x="172" y="406"/>
                    <a:pt x="187" y="385"/>
                  </a:cubicBezTo>
                  <a:cubicBezTo>
                    <a:pt x="202" y="365"/>
                    <a:pt x="206" y="345"/>
                    <a:pt x="206" y="345"/>
                  </a:cubicBezTo>
                  <a:cubicBezTo>
                    <a:pt x="160" y="245"/>
                    <a:pt x="160" y="245"/>
                    <a:pt x="160" y="245"/>
                  </a:cubicBezTo>
                  <a:cubicBezTo>
                    <a:pt x="164" y="233"/>
                    <a:pt x="161" y="207"/>
                    <a:pt x="161" y="207"/>
                  </a:cubicBezTo>
                  <a:cubicBezTo>
                    <a:pt x="233" y="173"/>
                    <a:pt x="267" y="92"/>
                    <a:pt x="272" y="81"/>
                  </a:cubicBezTo>
                  <a:cubicBezTo>
                    <a:pt x="236" y="23"/>
                    <a:pt x="161" y="0"/>
                    <a:pt x="98" y="29"/>
                  </a:cubicBezTo>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249" name="Freeform 42"/>
            <p:cNvSpPr>
              <a:spLocks/>
            </p:cNvSpPr>
            <p:nvPr/>
          </p:nvSpPr>
          <p:spPr bwMode="auto">
            <a:xfrm>
              <a:off x="6862966" y="3791877"/>
              <a:ext cx="167177" cy="220183"/>
            </a:xfrm>
            <a:custGeom>
              <a:avLst/>
              <a:gdLst>
                <a:gd name="T0" fmla="*/ 41 w 87"/>
                <a:gd name="T1" fmla="*/ 0 h 114"/>
                <a:gd name="T2" fmla="*/ 13 w 87"/>
                <a:gd name="T3" fmla="*/ 74 h 114"/>
                <a:gd name="T4" fmla="*/ 87 w 87"/>
                <a:gd name="T5" fmla="*/ 101 h 114"/>
                <a:gd name="T6" fmla="*/ 41 w 87"/>
                <a:gd name="T7" fmla="*/ 0 h 114"/>
              </a:gdLst>
              <a:ahLst/>
              <a:cxnLst>
                <a:cxn ang="0">
                  <a:pos x="T0" y="T1"/>
                </a:cxn>
                <a:cxn ang="0">
                  <a:pos x="T2" y="T3"/>
                </a:cxn>
                <a:cxn ang="0">
                  <a:pos x="T4" y="T5"/>
                </a:cxn>
                <a:cxn ang="0">
                  <a:pos x="T6" y="T7"/>
                </a:cxn>
              </a:cxnLst>
              <a:rect l="0" t="0" r="r" b="b"/>
              <a:pathLst>
                <a:path w="87" h="114">
                  <a:moveTo>
                    <a:pt x="41" y="0"/>
                  </a:moveTo>
                  <a:cubicBezTo>
                    <a:pt x="13" y="13"/>
                    <a:pt x="0" y="46"/>
                    <a:pt x="13" y="74"/>
                  </a:cubicBezTo>
                  <a:cubicBezTo>
                    <a:pt x="26" y="102"/>
                    <a:pt x="59" y="114"/>
                    <a:pt x="87" y="101"/>
                  </a:cubicBezTo>
                  <a:cubicBezTo>
                    <a:pt x="41" y="0"/>
                    <a:pt x="41" y="0"/>
                    <a:pt x="41" y="0"/>
                  </a:cubicBezTo>
                </a:path>
              </a:pathLst>
            </a:custGeom>
            <a:solidFill>
              <a:srgbClr val="FFFC9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250" name="Freeform 43"/>
            <p:cNvSpPr>
              <a:spLocks/>
            </p:cNvSpPr>
            <p:nvPr/>
          </p:nvSpPr>
          <p:spPr bwMode="auto">
            <a:xfrm>
              <a:off x="7111690" y="3685863"/>
              <a:ext cx="36698" cy="36698"/>
            </a:xfrm>
            <a:custGeom>
              <a:avLst/>
              <a:gdLst>
                <a:gd name="T0" fmla="*/ 2 w 19"/>
                <a:gd name="T1" fmla="*/ 13 h 19"/>
                <a:gd name="T2" fmla="*/ 6 w 19"/>
                <a:gd name="T3" fmla="*/ 1 h 19"/>
                <a:gd name="T4" fmla="*/ 17 w 19"/>
                <a:gd name="T5" fmla="*/ 6 h 19"/>
                <a:gd name="T6" fmla="*/ 13 w 19"/>
                <a:gd name="T7" fmla="*/ 17 h 19"/>
                <a:gd name="T8" fmla="*/ 2 w 19"/>
                <a:gd name="T9" fmla="*/ 13 h 19"/>
              </a:gdLst>
              <a:ahLst/>
              <a:cxnLst>
                <a:cxn ang="0">
                  <a:pos x="T0" y="T1"/>
                </a:cxn>
                <a:cxn ang="0">
                  <a:pos x="T2" y="T3"/>
                </a:cxn>
                <a:cxn ang="0">
                  <a:pos x="T4" y="T5"/>
                </a:cxn>
                <a:cxn ang="0">
                  <a:pos x="T6" y="T7"/>
                </a:cxn>
                <a:cxn ang="0">
                  <a:pos x="T8" y="T9"/>
                </a:cxn>
              </a:cxnLst>
              <a:rect l="0" t="0" r="r" b="b"/>
              <a:pathLst>
                <a:path w="19" h="19">
                  <a:moveTo>
                    <a:pt x="2" y="13"/>
                  </a:moveTo>
                  <a:cubicBezTo>
                    <a:pt x="0" y="9"/>
                    <a:pt x="2" y="3"/>
                    <a:pt x="6" y="1"/>
                  </a:cubicBezTo>
                  <a:cubicBezTo>
                    <a:pt x="10" y="0"/>
                    <a:pt x="16" y="1"/>
                    <a:pt x="17" y="6"/>
                  </a:cubicBezTo>
                  <a:cubicBezTo>
                    <a:pt x="19" y="10"/>
                    <a:pt x="18" y="15"/>
                    <a:pt x="13" y="17"/>
                  </a:cubicBezTo>
                  <a:cubicBezTo>
                    <a:pt x="9" y="19"/>
                    <a:pt x="4" y="17"/>
                    <a:pt x="2" y="13"/>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251" name="Freeform 44"/>
            <p:cNvSpPr>
              <a:spLocks/>
            </p:cNvSpPr>
            <p:nvPr/>
          </p:nvSpPr>
          <p:spPr bwMode="auto">
            <a:xfrm>
              <a:off x="6606085" y="4330102"/>
              <a:ext cx="925585" cy="1223238"/>
            </a:xfrm>
            <a:custGeom>
              <a:avLst/>
              <a:gdLst>
                <a:gd name="T0" fmla="*/ 482 w 482"/>
                <a:gd name="T1" fmla="*/ 80 h 637"/>
                <a:gd name="T2" fmla="*/ 405 w 482"/>
                <a:gd name="T3" fmla="*/ 4 h 637"/>
                <a:gd name="T4" fmla="*/ 76 w 482"/>
                <a:gd name="T5" fmla="*/ 4 h 637"/>
                <a:gd name="T6" fmla="*/ 0 w 482"/>
                <a:gd name="T7" fmla="*/ 80 h 637"/>
                <a:gd name="T8" fmla="*/ 0 w 482"/>
                <a:gd name="T9" fmla="*/ 637 h 637"/>
                <a:gd name="T10" fmla="*/ 6 w 482"/>
                <a:gd name="T11" fmla="*/ 637 h 637"/>
                <a:gd name="T12" fmla="*/ 476 w 482"/>
                <a:gd name="T13" fmla="*/ 637 h 637"/>
                <a:gd name="T14" fmla="*/ 482 w 482"/>
                <a:gd name="T15" fmla="*/ 637 h 637"/>
                <a:gd name="T16" fmla="*/ 482 w 482"/>
                <a:gd name="T17" fmla="*/ 80 h 6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2" h="637">
                  <a:moveTo>
                    <a:pt x="482" y="80"/>
                  </a:moveTo>
                  <a:cubicBezTo>
                    <a:pt x="482" y="0"/>
                    <a:pt x="405" y="4"/>
                    <a:pt x="405" y="4"/>
                  </a:cubicBezTo>
                  <a:cubicBezTo>
                    <a:pt x="76" y="4"/>
                    <a:pt x="76" y="4"/>
                    <a:pt x="76" y="4"/>
                  </a:cubicBezTo>
                  <a:cubicBezTo>
                    <a:pt x="76" y="4"/>
                    <a:pt x="0" y="0"/>
                    <a:pt x="0" y="80"/>
                  </a:cubicBezTo>
                  <a:cubicBezTo>
                    <a:pt x="0" y="637"/>
                    <a:pt x="0" y="637"/>
                    <a:pt x="0" y="637"/>
                  </a:cubicBezTo>
                  <a:cubicBezTo>
                    <a:pt x="6" y="637"/>
                    <a:pt x="6" y="637"/>
                    <a:pt x="6" y="637"/>
                  </a:cubicBezTo>
                  <a:cubicBezTo>
                    <a:pt x="476" y="637"/>
                    <a:pt x="476" y="637"/>
                    <a:pt x="476" y="637"/>
                  </a:cubicBezTo>
                  <a:cubicBezTo>
                    <a:pt x="482" y="637"/>
                    <a:pt x="482" y="637"/>
                    <a:pt x="482" y="637"/>
                  </a:cubicBezTo>
                  <a:cubicBezTo>
                    <a:pt x="482" y="80"/>
                    <a:pt x="482" y="80"/>
                    <a:pt x="482" y="80"/>
                  </a:cubicBezTo>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252" name="Freeform 45"/>
            <p:cNvSpPr>
              <a:spLocks/>
            </p:cNvSpPr>
            <p:nvPr/>
          </p:nvSpPr>
          <p:spPr bwMode="auto">
            <a:xfrm>
              <a:off x="6606085" y="4847941"/>
              <a:ext cx="925585" cy="705402"/>
            </a:xfrm>
            <a:custGeom>
              <a:avLst/>
              <a:gdLst>
                <a:gd name="T0" fmla="*/ 0 w 227"/>
                <a:gd name="T1" fmla="*/ 0 h 173"/>
                <a:gd name="T2" fmla="*/ 0 w 227"/>
                <a:gd name="T3" fmla="*/ 173 h 173"/>
                <a:gd name="T4" fmla="*/ 3 w 227"/>
                <a:gd name="T5" fmla="*/ 173 h 173"/>
                <a:gd name="T6" fmla="*/ 224 w 227"/>
                <a:gd name="T7" fmla="*/ 173 h 173"/>
                <a:gd name="T8" fmla="*/ 227 w 227"/>
                <a:gd name="T9" fmla="*/ 173 h 173"/>
                <a:gd name="T10" fmla="*/ 227 w 227"/>
                <a:gd name="T11" fmla="*/ 153 h 173"/>
                <a:gd name="T12" fmla="*/ 0 w 227"/>
                <a:gd name="T13" fmla="*/ 0 h 173"/>
              </a:gdLst>
              <a:ahLst/>
              <a:cxnLst>
                <a:cxn ang="0">
                  <a:pos x="T0" y="T1"/>
                </a:cxn>
                <a:cxn ang="0">
                  <a:pos x="T2" y="T3"/>
                </a:cxn>
                <a:cxn ang="0">
                  <a:pos x="T4" y="T5"/>
                </a:cxn>
                <a:cxn ang="0">
                  <a:pos x="T6" y="T7"/>
                </a:cxn>
                <a:cxn ang="0">
                  <a:pos x="T8" y="T9"/>
                </a:cxn>
                <a:cxn ang="0">
                  <a:pos x="T10" y="T11"/>
                </a:cxn>
                <a:cxn ang="0">
                  <a:pos x="T12" y="T13"/>
                </a:cxn>
              </a:cxnLst>
              <a:rect l="0" t="0" r="r" b="b"/>
              <a:pathLst>
                <a:path w="227" h="173">
                  <a:moveTo>
                    <a:pt x="0" y="0"/>
                  </a:moveTo>
                  <a:lnTo>
                    <a:pt x="0" y="173"/>
                  </a:lnTo>
                  <a:lnTo>
                    <a:pt x="3" y="173"/>
                  </a:lnTo>
                  <a:lnTo>
                    <a:pt x="224" y="173"/>
                  </a:lnTo>
                  <a:lnTo>
                    <a:pt x="227" y="173"/>
                  </a:lnTo>
                  <a:lnTo>
                    <a:pt x="227" y="153"/>
                  </a:lnTo>
                  <a:lnTo>
                    <a:pt x="0" y="0"/>
                  </a:lnTo>
                  <a:close/>
                </a:path>
              </a:pathLst>
            </a:custGeom>
            <a:solidFill>
              <a:srgbClr val="00A9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253" name="Freeform 46"/>
            <p:cNvSpPr>
              <a:spLocks/>
            </p:cNvSpPr>
            <p:nvPr/>
          </p:nvSpPr>
          <p:spPr bwMode="auto">
            <a:xfrm>
              <a:off x="6606085" y="4847941"/>
              <a:ext cx="925585" cy="705402"/>
            </a:xfrm>
            <a:custGeom>
              <a:avLst/>
              <a:gdLst>
                <a:gd name="T0" fmla="*/ 0 w 227"/>
                <a:gd name="T1" fmla="*/ 0 h 173"/>
                <a:gd name="T2" fmla="*/ 0 w 227"/>
                <a:gd name="T3" fmla="*/ 173 h 173"/>
                <a:gd name="T4" fmla="*/ 3 w 227"/>
                <a:gd name="T5" fmla="*/ 173 h 173"/>
                <a:gd name="T6" fmla="*/ 224 w 227"/>
                <a:gd name="T7" fmla="*/ 173 h 173"/>
                <a:gd name="T8" fmla="*/ 227 w 227"/>
                <a:gd name="T9" fmla="*/ 173 h 173"/>
                <a:gd name="T10" fmla="*/ 227 w 227"/>
                <a:gd name="T11" fmla="*/ 153 h 173"/>
                <a:gd name="T12" fmla="*/ 0 w 227"/>
                <a:gd name="T13" fmla="*/ 0 h 173"/>
              </a:gdLst>
              <a:ahLst/>
              <a:cxnLst>
                <a:cxn ang="0">
                  <a:pos x="T0" y="T1"/>
                </a:cxn>
                <a:cxn ang="0">
                  <a:pos x="T2" y="T3"/>
                </a:cxn>
                <a:cxn ang="0">
                  <a:pos x="T4" y="T5"/>
                </a:cxn>
                <a:cxn ang="0">
                  <a:pos x="T6" y="T7"/>
                </a:cxn>
                <a:cxn ang="0">
                  <a:pos x="T8" y="T9"/>
                </a:cxn>
                <a:cxn ang="0">
                  <a:pos x="T10" y="T11"/>
                </a:cxn>
                <a:cxn ang="0">
                  <a:pos x="T12" y="T13"/>
                </a:cxn>
              </a:cxnLst>
              <a:rect l="0" t="0" r="r" b="b"/>
              <a:pathLst>
                <a:path w="227" h="173">
                  <a:moveTo>
                    <a:pt x="0" y="0"/>
                  </a:moveTo>
                  <a:lnTo>
                    <a:pt x="0" y="173"/>
                  </a:lnTo>
                  <a:lnTo>
                    <a:pt x="3" y="173"/>
                  </a:lnTo>
                  <a:lnTo>
                    <a:pt x="224" y="173"/>
                  </a:lnTo>
                  <a:lnTo>
                    <a:pt x="227" y="173"/>
                  </a:lnTo>
                  <a:lnTo>
                    <a:pt x="227" y="15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254" name="Freeform 47"/>
            <p:cNvSpPr>
              <a:spLocks/>
            </p:cNvSpPr>
            <p:nvPr/>
          </p:nvSpPr>
          <p:spPr bwMode="auto">
            <a:xfrm>
              <a:off x="6606085" y="4607369"/>
              <a:ext cx="925585" cy="990824"/>
            </a:xfrm>
            <a:custGeom>
              <a:avLst/>
              <a:gdLst>
                <a:gd name="T0" fmla="*/ 482 w 482"/>
                <a:gd name="T1" fmla="*/ 321 h 516"/>
                <a:gd name="T2" fmla="*/ 0 w 482"/>
                <a:gd name="T3" fmla="*/ 226 h 516"/>
                <a:gd name="T4" fmla="*/ 0 w 482"/>
                <a:gd name="T5" fmla="*/ 0 h 516"/>
                <a:gd name="T6" fmla="*/ 182 w 482"/>
                <a:gd name="T7" fmla="*/ 6 h 516"/>
              </a:gdLst>
              <a:ahLst/>
              <a:cxnLst>
                <a:cxn ang="0">
                  <a:pos x="T0" y="T1"/>
                </a:cxn>
                <a:cxn ang="0">
                  <a:pos x="T2" y="T3"/>
                </a:cxn>
                <a:cxn ang="0">
                  <a:pos x="T4" y="T5"/>
                </a:cxn>
                <a:cxn ang="0">
                  <a:pos x="T6" y="T7"/>
                </a:cxn>
              </a:cxnLst>
              <a:rect l="0" t="0" r="r" b="b"/>
              <a:pathLst>
                <a:path w="482" h="516">
                  <a:moveTo>
                    <a:pt x="482" y="321"/>
                  </a:moveTo>
                  <a:cubicBezTo>
                    <a:pt x="482" y="321"/>
                    <a:pt x="116" y="516"/>
                    <a:pt x="0" y="226"/>
                  </a:cubicBezTo>
                  <a:cubicBezTo>
                    <a:pt x="0" y="0"/>
                    <a:pt x="0" y="0"/>
                    <a:pt x="0" y="0"/>
                  </a:cubicBezTo>
                  <a:cubicBezTo>
                    <a:pt x="182" y="6"/>
                    <a:pt x="182" y="6"/>
                    <a:pt x="182" y="6"/>
                  </a:cubicBezTo>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260" name="Freeform 53"/>
            <p:cNvSpPr>
              <a:spLocks/>
            </p:cNvSpPr>
            <p:nvPr/>
          </p:nvSpPr>
          <p:spPr bwMode="auto">
            <a:xfrm>
              <a:off x="7119845" y="5537030"/>
              <a:ext cx="1504584" cy="839957"/>
            </a:xfrm>
            <a:custGeom>
              <a:avLst/>
              <a:gdLst>
                <a:gd name="T0" fmla="*/ 780 w 783"/>
                <a:gd name="T1" fmla="*/ 175 h 438"/>
                <a:gd name="T2" fmla="*/ 779 w 783"/>
                <a:gd name="T3" fmla="*/ 158 h 438"/>
                <a:gd name="T4" fmla="*/ 761 w 783"/>
                <a:gd name="T5" fmla="*/ 162 h 438"/>
                <a:gd name="T6" fmla="*/ 449 w 783"/>
                <a:gd name="T7" fmla="*/ 11 h 438"/>
                <a:gd name="T8" fmla="*/ 391 w 783"/>
                <a:gd name="T9" fmla="*/ 19 h 438"/>
                <a:gd name="T10" fmla="*/ 24 w 783"/>
                <a:gd name="T11" fmla="*/ 236 h 438"/>
                <a:gd name="T12" fmla="*/ 1 w 783"/>
                <a:gd name="T13" fmla="*/ 240 h 438"/>
                <a:gd name="T14" fmla="*/ 0 w 783"/>
                <a:gd name="T15" fmla="*/ 263 h 438"/>
                <a:gd name="T16" fmla="*/ 1 w 783"/>
                <a:gd name="T17" fmla="*/ 263 h 438"/>
                <a:gd name="T18" fmla="*/ 8 w 783"/>
                <a:gd name="T19" fmla="*/ 269 h 438"/>
                <a:gd name="T20" fmla="*/ 332 w 783"/>
                <a:gd name="T21" fmla="*/ 426 h 438"/>
                <a:gd name="T22" fmla="*/ 390 w 783"/>
                <a:gd name="T23" fmla="*/ 418 h 438"/>
                <a:gd name="T24" fmla="*/ 760 w 783"/>
                <a:gd name="T25" fmla="*/ 199 h 438"/>
                <a:gd name="T26" fmla="*/ 780 w 783"/>
                <a:gd name="T27" fmla="*/ 175 h 438"/>
                <a:gd name="T28" fmla="*/ 780 w 783"/>
                <a:gd name="T29" fmla="*/ 175 h 4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83" h="438">
                  <a:moveTo>
                    <a:pt x="780" y="175"/>
                  </a:moveTo>
                  <a:cubicBezTo>
                    <a:pt x="779" y="158"/>
                    <a:pt x="779" y="158"/>
                    <a:pt x="779" y="158"/>
                  </a:cubicBezTo>
                  <a:cubicBezTo>
                    <a:pt x="761" y="162"/>
                    <a:pt x="761" y="162"/>
                    <a:pt x="761" y="162"/>
                  </a:cubicBezTo>
                  <a:cubicBezTo>
                    <a:pt x="449" y="11"/>
                    <a:pt x="449" y="11"/>
                    <a:pt x="449" y="11"/>
                  </a:cubicBezTo>
                  <a:cubicBezTo>
                    <a:pt x="449" y="11"/>
                    <a:pt x="425" y="0"/>
                    <a:pt x="391" y="19"/>
                  </a:cubicBezTo>
                  <a:cubicBezTo>
                    <a:pt x="24" y="236"/>
                    <a:pt x="24" y="236"/>
                    <a:pt x="24" y="236"/>
                  </a:cubicBezTo>
                  <a:cubicBezTo>
                    <a:pt x="1" y="240"/>
                    <a:pt x="1" y="240"/>
                    <a:pt x="1" y="240"/>
                  </a:cubicBezTo>
                  <a:cubicBezTo>
                    <a:pt x="0" y="263"/>
                    <a:pt x="0" y="263"/>
                    <a:pt x="0" y="263"/>
                  </a:cubicBezTo>
                  <a:cubicBezTo>
                    <a:pt x="1" y="263"/>
                    <a:pt x="1" y="263"/>
                    <a:pt x="1" y="263"/>
                  </a:cubicBezTo>
                  <a:cubicBezTo>
                    <a:pt x="2" y="265"/>
                    <a:pt x="4" y="268"/>
                    <a:pt x="8" y="269"/>
                  </a:cubicBezTo>
                  <a:cubicBezTo>
                    <a:pt x="332" y="426"/>
                    <a:pt x="332" y="426"/>
                    <a:pt x="332" y="426"/>
                  </a:cubicBezTo>
                  <a:cubicBezTo>
                    <a:pt x="332" y="426"/>
                    <a:pt x="355" y="438"/>
                    <a:pt x="390" y="418"/>
                  </a:cubicBezTo>
                  <a:cubicBezTo>
                    <a:pt x="760" y="199"/>
                    <a:pt x="760" y="199"/>
                    <a:pt x="760" y="199"/>
                  </a:cubicBezTo>
                  <a:cubicBezTo>
                    <a:pt x="760" y="199"/>
                    <a:pt x="783" y="186"/>
                    <a:pt x="780" y="175"/>
                  </a:cubicBezTo>
                  <a:cubicBezTo>
                    <a:pt x="780" y="175"/>
                    <a:pt x="780" y="175"/>
                    <a:pt x="780" y="175"/>
                  </a:cubicBezTo>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261" name="Freeform 54"/>
            <p:cNvSpPr>
              <a:spLocks/>
            </p:cNvSpPr>
            <p:nvPr/>
          </p:nvSpPr>
          <p:spPr bwMode="auto">
            <a:xfrm>
              <a:off x="7095380" y="5488101"/>
              <a:ext cx="1553514" cy="839957"/>
            </a:xfrm>
            <a:custGeom>
              <a:avLst/>
              <a:gdLst>
                <a:gd name="T0" fmla="*/ 787 w 810"/>
                <a:gd name="T1" fmla="*/ 168 h 438"/>
                <a:gd name="T2" fmla="*/ 463 w 810"/>
                <a:gd name="T3" fmla="*/ 11 h 438"/>
                <a:gd name="T4" fmla="*/ 405 w 810"/>
                <a:gd name="T5" fmla="*/ 20 h 438"/>
                <a:gd name="T6" fmla="*/ 35 w 810"/>
                <a:gd name="T7" fmla="*/ 239 h 438"/>
                <a:gd name="T8" fmla="*/ 23 w 810"/>
                <a:gd name="T9" fmla="*/ 270 h 438"/>
                <a:gd name="T10" fmla="*/ 346 w 810"/>
                <a:gd name="T11" fmla="*/ 427 h 438"/>
                <a:gd name="T12" fmla="*/ 404 w 810"/>
                <a:gd name="T13" fmla="*/ 418 h 438"/>
                <a:gd name="T14" fmla="*/ 775 w 810"/>
                <a:gd name="T15" fmla="*/ 199 h 438"/>
                <a:gd name="T16" fmla="*/ 787 w 810"/>
                <a:gd name="T17" fmla="*/ 168 h 4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10" h="438">
                  <a:moveTo>
                    <a:pt x="787" y="168"/>
                  </a:moveTo>
                  <a:cubicBezTo>
                    <a:pt x="463" y="11"/>
                    <a:pt x="463" y="11"/>
                    <a:pt x="463" y="11"/>
                  </a:cubicBezTo>
                  <a:cubicBezTo>
                    <a:pt x="463" y="11"/>
                    <a:pt x="440" y="0"/>
                    <a:pt x="405" y="20"/>
                  </a:cubicBezTo>
                  <a:cubicBezTo>
                    <a:pt x="35" y="239"/>
                    <a:pt x="35" y="239"/>
                    <a:pt x="35" y="239"/>
                  </a:cubicBezTo>
                  <a:cubicBezTo>
                    <a:pt x="35" y="239"/>
                    <a:pt x="0" y="259"/>
                    <a:pt x="23" y="270"/>
                  </a:cubicBezTo>
                  <a:cubicBezTo>
                    <a:pt x="346" y="427"/>
                    <a:pt x="346" y="427"/>
                    <a:pt x="346" y="427"/>
                  </a:cubicBezTo>
                  <a:cubicBezTo>
                    <a:pt x="346" y="427"/>
                    <a:pt x="370" y="438"/>
                    <a:pt x="404" y="418"/>
                  </a:cubicBezTo>
                  <a:cubicBezTo>
                    <a:pt x="775" y="199"/>
                    <a:pt x="775" y="199"/>
                    <a:pt x="775" y="199"/>
                  </a:cubicBezTo>
                  <a:cubicBezTo>
                    <a:pt x="775" y="199"/>
                    <a:pt x="810" y="179"/>
                    <a:pt x="787" y="168"/>
                  </a:cubicBezTo>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262" name="Freeform 55"/>
            <p:cNvSpPr>
              <a:spLocks/>
            </p:cNvSpPr>
            <p:nvPr/>
          </p:nvSpPr>
          <p:spPr bwMode="auto">
            <a:xfrm>
              <a:off x="7291098" y="5590038"/>
              <a:ext cx="1243627" cy="676858"/>
            </a:xfrm>
            <a:custGeom>
              <a:avLst/>
              <a:gdLst>
                <a:gd name="T0" fmla="*/ 305 w 305"/>
                <a:gd name="T1" fmla="*/ 63 h 166"/>
                <a:gd name="T2" fmla="*/ 175 w 305"/>
                <a:gd name="T3" fmla="*/ 0 h 166"/>
                <a:gd name="T4" fmla="*/ 0 w 305"/>
                <a:gd name="T5" fmla="*/ 103 h 166"/>
                <a:gd name="T6" fmla="*/ 131 w 305"/>
                <a:gd name="T7" fmla="*/ 166 h 166"/>
                <a:gd name="T8" fmla="*/ 305 w 305"/>
                <a:gd name="T9" fmla="*/ 63 h 166"/>
              </a:gdLst>
              <a:ahLst/>
              <a:cxnLst>
                <a:cxn ang="0">
                  <a:pos x="T0" y="T1"/>
                </a:cxn>
                <a:cxn ang="0">
                  <a:pos x="T2" y="T3"/>
                </a:cxn>
                <a:cxn ang="0">
                  <a:pos x="T4" y="T5"/>
                </a:cxn>
                <a:cxn ang="0">
                  <a:pos x="T6" y="T7"/>
                </a:cxn>
                <a:cxn ang="0">
                  <a:pos x="T8" y="T9"/>
                </a:cxn>
              </a:cxnLst>
              <a:rect l="0" t="0" r="r" b="b"/>
              <a:pathLst>
                <a:path w="305" h="166">
                  <a:moveTo>
                    <a:pt x="305" y="63"/>
                  </a:moveTo>
                  <a:lnTo>
                    <a:pt x="175" y="0"/>
                  </a:lnTo>
                  <a:lnTo>
                    <a:pt x="0" y="103"/>
                  </a:lnTo>
                  <a:lnTo>
                    <a:pt x="131" y="166"/>
                  </a:lnTo>
                  <a:lnTo>
                    <a:pt x="305" y="63"/>
                  </a:lnTo>
                  <a:close/>
                </a:path>
              </a:pathLst>
            </a:custGeom>
            <a:solidFill>
              <a:srgbClr val="F0EF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263" name="Freeform 56"/>
            <p:cNvSpPr>
              <a:spLocks/>
            </p:cNvSpPr>
            <p:nvPr/>
          </p:nvSpPr>
          <p:spPr bwMode="auto">
            <a:xfrm>
              <a:off x="7291098" y="5590038"/>
              <a:ext cx="1243627" cy="676858"/>
            </a:xfrm>
            <a:custGeom>
              <a:avLst/>
              <a:gdLst>
                <a:gd name="T0" fmla="*/ 305 w 305"/>
                <a:gd name="T1" fmla="*/ 63 h 166"/>
                <a:gd name="T2" fmla="*/ 175 w 305"/>
                <a:gd name="T3" fmla="*/ 0 h 166"/>
                <a:gd name="T4" fmla="*/ 0 w 305"/>
                <a:gd name="T5" fmla="*/ 103 h 166"/>
                <a:gd name="T6" fmla="*/ 131 w 305"/>
                <a:gd name="T7" fmla="*/ 166 h 166"/>
                <a:gd name="T8" fmla="*/ 305 w 305"/>
                <a:gd name="T9" fmla="*/ 63 h 166"/>
              </a:gdLst>
              <a:ahLst/>
              <a:cxnLst>
                <a:cxn ang="0">
                  <a:pos x="T0" y="T1"/>
                </a:cxn>
                <a:cxn ang="0">
                  <a:pos x="T2" y="T3"/>
                </a:cxn>
                <a:cxn ang="0">
                  <a:pos x="T4" y="T5"/>
                </a:cxn>
                <a:cxn ang="0">
                  <a:pos x="T6" y="T7"/>
                </a:cxn>
                <a:cxn ang="0">
                  <a:pos x="T8" y="T9"/>
                </a:cxn>
              </a:cxnLst>
              <a:rect l="0" t="0" r="r" b="b"/>
              <a:pathLst>
                <a:path w="305" h="166">
                  <a:moveTo>
                    <a:pt x="305" y="63"/>
                  </a:moveTo>
                  <a:lnTo>
                    <a:pt x="175" y="0"/>
                  </a:lnTo>
                  <a:lnTo>
                    <a:pt x="0" y="103"/>
                  </a:lnTo>
                  <a:lnTo>
                    <a:pt x="131" y="166"/>
                  </a:lnTo>
                  <a:lnTo>
                    <a:pt x="305" y="6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264" name="Freeform 57"/>
            <p:cNvSpPr>
              <a:spLocks/>
            </p:cNvSpPr>
            <p:nvPr/>
          </p:nvSpPr>
          <p:spPr bwMode="auto">
            <a:xfrm>
              <a:off x="7947571" y="5504410"/>
              <a:ext cx="179408" cy="73394"/>
            </a:xfrm>
            <a:custGeom>
              <a:avLst/>
              <a:gdLst>
                <a:gd name="T0" fmla="*/ 0 w 92"/>
                <a:gd name="T1" fmla="*/ 0 h 39"/>
                <a:gd name="T2" fmla="*/ 0 w 92"/>
                <a:gd name="T3" fmla="*/ 0 h 39"/>
                <a:gd name="T4" fmla="*/ 17 w 92"/>
                <a:gd name="T5" fmla="*/ 3 h 39"/>
                <a:gd name="T6" fmla="*/ 92 w 92"/>
                <a:gd name="T7" fmla="*/ 39 h 39"/>
                <a:gd name="T8" fmla="*/ 92 w 92"/>
                <a:gd name="T9" fmla="*/ 39 h 39"/>
                <a:gd name="T10" fmla="*/ 18 w 92"/>
                <a:gd name="T11" fmla="*/ 3 h 39"/>
                <a:gd name="T12" fmla="*/ 0 w 92"/>
                <a:gd name="T13" fmla="*/ 0 h 39"/>
              </a:gdLst>
              <a:ahLst/>
              <a:cxnLst>
                <a:cxn ang="0">
                  <a:pos x="T0" y="T1"/>
                </a:cxn>
                <a:cxn ang="0">
                  <a:pos x="T2" y="T3"/>
                </a:cxn>
                <a:cxn ang="0">
                  <a:pos x="T4" y="T5"/>
                </a:cxn>
                <a:cxn ang="0">
                  <a:pos x="T6" y="T7"/>
                </a:cxn>
                <a:cxn ang="0">
                  <a:pos x="T8" y="T9"/>
                </a:cxn>
                <a:cxn ang="0">
                  <a:pos x="T10" y="T11"/>
                </a:cxn>
                <a:cxn ang="0">
                  <a:pos x="T12" y="T13"/>
                </a:cxn>
              </a:cxnLst>
              <a:rect l="0" t="0" r="r" b="b"/>
              <a:pathLst>
                <a:path w="92" h="39">
                  <a:moveTo>
                    <a:pt x="0" y="0"/>
                  </a:moveTo>
                  <a:cubicBezTo>
                    <a:pt x="0" y="0"/>
                    <a:pt x="0" y="0"/>
                    <a:pt x="0" y="0"/>
                  </a:cubicBezTo>
                  <a:cubicBezTo>
                    <a:pt x="11" y="0"/>
                    <a:pt x="17" y="3"/>
                    <a:pt x="17" y="3"/>
                  </a:cubicBezTo>
                  <a:cubicBezTo>
                    <a:pt x="92" y="39"/>
                    <a:pt x="92" y="39"/>
                    <a:pt x="92" y="39"/>
                  </a:cubicBezTo>
                  <a:cubicBezTo>
                    <a:pt x="92" y="39"/>
                    <a:pt x="92" y="39"/>
                    <a:pt x="92" y="39"/>
                  </a:cubicBezTo>
                  <a:cubicBezTo>
                    <a:pt x="18" y="3"/>
                    <a:pt x="18" y="3"/>
                    <a:pt x="18" y="3"/>
                  </a:cubicBezTo>
                  <a:cubicBezTo>
                    <a:pt x="18" y="3"/>
                    <a:pt x="12" y="0"/>
                    <a:pt x="0" y="0"/>
                  </a:cubicBezTo>
                </a:path>
              </a:pathLst>
            </a:custGeom>
            <a:solidFill>
              <a:srgbClr val="E5A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265" name="Freeform 58"/>
            <p:cNvSpPr>
              <a:spLocks/>
            </p:cNvSpPr>
            <p:nvPr/>
          </p:nvSpPr>
          <p:spPr bwMode="auto">
            <a:xfrm>
              <a:off x="7095380" y="5504410"/>
              <a:ext cx="1031599" cy="733943"/>
            </a:xfrm>
            <a:custGeom>
              <a:avLst/>
              <a:gdLst>
                <a:gd name="T0" fmla="*/ 445 w 537"/>
                <a:gd name="T1" fmla="*/ 0 h 383"/>
                <a:gd name="T2" fmla="*/ 405 w 537"/>
                <a:gd name="T3" fmla="*/ 12 h 383"/>
                <a:gd name="T4" fmla="*/ 34 w 537"/>
                <a:gd name="T5" fmla="*/ 231 h 383"/>
                <a:gd name="T6" fmla="*/ 23 w 537"/>
                <a:gd name="T7" fmla="*/ 262 h 383"/>
                <a:gd name="T8" fmla="*/ 274 w 537"/>
                <a:gd name="T9" fmla="*/ 383 h 383"/>
                <a:gd name="T10" fmla="*/ 274 w 537"/>
                <a:gd name="T11" fmla="*/ 383 h 383"/>
                <a:gd name="T12" fmla="*/ 294 w 537"/>
                <a:gd name="T13" fmla="*/ 357 h 383"/>
                <a:gd name="T14" fmla="*/ 103 w 537"/>
                <a:gd name="T15" fmla="*/ 264 h 383"/>
                <a:gd name="T16" fmla="*/ 474 w 537"/>
                <a:gd name="T17" fmla="*/ 45 h 383"/>
                <a:gd name="T18" fmla="*/ 517 w 537"/>
                <a:gd name="T19" fmla="*/ 66 h 383"/>
                <a:gd name="T20" fmla="*/ 537 w 537"/>
                <a:gd name="T21" fmla="*/ 39 h 383"/>
                <a:gd name="T22" fmla="*/ 462 w 537"/>
                <a:gd name="T23" fmla="*/ 3 h 383"/>
                <a:gd name="T24" fmla="*/ 445 w 537"/>
                <a:gd name="T25" fmla="*/ 0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37" h="383">
                  <a:moveTo>
                    <a:pt x="445" y="0"/>
                  </a:moveTo>
                  <a:cubicBezTo>
                    <a:pt x="435" y="0"/>
                    <a:pt x="421" y="3"/>
                    <a:pt x="405" y="12"/>
                  </a:cubicBezTo>
                  <a:cubicBezTo>
                    <a:pt x="34" y="231"/>
                    <a:pt x="34" y="231"/>
                    <a:pt x="34" y="231"/>
                  </a:cubicBezTo>
                  <a:cubicBezTo>
                    <a:pt x="34" y="231"/>
                    <a:pt x="0" y="251"/>
                    <a:pt x="23" y="262"/>
                  </a:cubicBezTo>
                  <a:cubicBezTo>
                    <a:pt x="274" y="383"/>
                    <a:pt x="274" y="383"/>
                    <a:pt x="274" y="383"/>
                  </a:cubicBezTo>
                  <a:cubicBezTo>
                    <a:pt x="274" y="383"/>
                    <a:pt x="274" y="383"/>
                    <a:pt x="274" y="383"/>
                  </a:cubicBezTo>
                  <a:cubicBezTo>
                    <a:pt x="294" y="357"/>
                    <a:pt x="294" y="357"/>
                    <a:pt x="294" y="357"/>
                  </a:cubicBezTo>
                  <a:cubicBezTo>
                    <a:pt x="103" y="264"/>
                    <a:pt x="103" y="264"/>
                    <a:pt x="103" y="264"/>
                  </a:cubicBezTo>
                  <a:cubicBezTo>
                    <a:pt x="474" y="45"/>
                    <a:pt x="474" y="45"/>
                    <a:pt x="474" y="45"/>
                  </a:cubicBezTo>
                  <a:cubicBezTo>
                    <a:pt x="517" y="66"/>
                    <a:pt x="517" y="66"/>
                    <a:pt x="517" y="66"/>
                  </a:cubicBezTo>
                  <a:cubicBezTo>
                    <a:pt x="537" y="39"/>
                    <a:pt x="537" y="39"/>
                    <a:pt x="537" y="39"/>
                  </a:cubicBezTo>
                  <a:cubicBezTo>
                    <a:pt x="462" y="3"/>
                    <a:pt x="462" y="3"/>
                    <a:pt x="462" y="3"/>
                  </a:cubicBezTo>
                  <a:cubicBezTo>
                    <a:pt x="462" y="3"/>
                    <a:pt x="456" y="0"/>
                    <a:pt x="445" y="0"/>
                  </a:cubicBezTo>
                </a:path>
              </a:pathLst>
            </a:custGeom>
            <a:solidFill>
              <a:srgbClr val="D00F1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266" name="Freeform 59"/>
            <p:cNvSpPr>
              <a:spLocks/>
            </p:cNvSpPr>
            <p:nvPr/>
          </p:nvSpPr>
          <p:spPr bwMode="auto">
            <a:xfrm>
              <a:off x="7291098" y="5590038"/>
              <a:ext cx="795106" cy="599388"/>
            </a:xfrm>
            <a:custGeom>
              <a:avLst/>
              <a:gdLst>
                <a:gd name="T0" fmla="*/ 175 w 195"/>
                <a:gd name="T1" fmla="*/ 0 h 147"/>
                <a:gd name="T2" fmla="*/ 0 w 195"/>
                <a:gd name="T3" fmla="*/ 103 h 147"/>
                <a:gd name="T4" fmla="*/ 90 w 195"/>
                <a:gd name="T5" fmla="*/ 147 h 147"/>
                <a:gd name="T6" fmla="*/ 195 w 195"/>
                <a:gd name="T7" fmla="*/ 10 h 147"/>
                <a:gd name="T8" fmla="*/ 175 w 195"/>
                <a:gd name="T9" fmla="*/ 0 h 147"/>
              </a:gdLst>
              <a:ahLst/>
              <a:cxnLst>
                <a:cxn ang="0">
                  <a:pos x="T0" y="T1"/>
                </a:cxn>
                <a:cxn ang="0">
                  <a:pos x="T2" y="T3"/>
                </a:cxn>
                <a:cxn ang="0">
                  <a:pos x="T4" y="T5"/>
                </a:cxn>
                <a:cxn ang="0">
                  <a:pos x="T6" y="T7"/>
                </a:cxn>
                <a:cxn ang="0">
                  <a:pos x="T8" y="T9"/>
                </a:cxn>
              </a:cxnLst>
              <a:rect l="0" t="0" r="r" b="b"/>
              <a:pathLst>
                <a:path w="195" h="147">
                  <a:moveTo>
                    <a:pt x="175" y="0"/>
                  </a:moveTo>
                  <a:lnTo>
                    <a:pt x="0" y="103"/>
                  </a:lnTo>
                  <a:lnTo>
                    <a:pt x="90" y="147"/>
                  </a:lnTo>
                  <a:lnTo>
                    <a:pt x="195" y="10"/>
                  </a:lnTo>
                  <a:lnTo>
                    <a:pt x="175" y="0"/>
                  </a:lnTo>
                  <a:close/>
                </a:path>
              </a:pathLst>
            </a:custGeom>
            <a:solidFill>
              <a:srgbClr val="D8D7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267" name="Freeform 60"/>
            <p:cNvSpPr>
              <a:spLocks/>
            </p:cNvSpPr>
            <p:nvPr/>
          </p:nvSpPr>
          <p:spPr bwMode="auto">
            <a:xfrm>
              <a:off x="7291098" y="5590038"/>
              <a:ext cx="795106" cy="599388"/>
            </a:xfrm>
            <a:custGeom>
              <a:avLst/>
              <a:gdLst>
                <a:gd name="T0" fmla="*/ 175 w 195"/>
                <a:gd name="T1" fmla="*/ 0 h 147"/>
                <a:gd name="T2" fmla="*/ 0 w 195"/>
                <a:gd name="T3" fmla="*/ 103 h 147"/>
                <a:gd name="T4" fmla="*/ 90 w 195"/>
                <a:gd name="T5" fmla="*/ 147 h 147"/>
                <a:gd name="T6" fmla="*/ 195 w 195"/>
                <a:gd name="T7" fmla="*/ 10 h 147"/>
                <a:gd name="T8" fmla="*/ 175 w 195"/>
                <a:gd name="T9" fmla="*/ 0 h 147"/>
              </a:gdLst>
              <a:ahLst/>
              <a:cxnLst>
                <a:cxn ang="0">
                  <a:pos x="T0" y="T1"/>
                </a:cxn>
                <a:cxn ang="0">
                  <a:pos x="T2" y="T3"/>
                </a:cxn>
                <a:cxn ang="0">
                  <a:pos x="T4" y="T5"/>
                </a:cxn>
                <a:cxn ang="0">
                  <a:pos x="T6" y="T7"/>
                </a:cxn>
                <a:cxn ang="0">
                  <a:pos x="T8" y="T9"/>
                </a:cxn>
              </a:cxnLst>
              <a:rect l="0" t="0" r="r" b="b"/>
              <a:pathLst>
                <a:path w="195" h="147">
                  <a:moveTo>
                    <a:pt x="175" y="0"/>
                  </a:moveTo>
                  <a:lnTo>
                    <a:pt x="0" y="103"/>
                  </a:lnTo>
                  <a:lnTo>
                    <a:pt x="90" y="147"/>
                  </a:lnTo>
                  <a:lnTo>
                    <a:pt x="195" y="10"/>
                  </a:lnTo>
                  <a:lnTo>
                    <a:pt x="17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268" name="Freeform 61"/>
            <p:cNvSpPr>
              <a:spLocks/>
            </p:cNvSpPr>
            <p:nvPr/>
          </p:nvSpPr>
          <p:spPr bwMode="auto">
            <a:xfrm>
              <a:off x="7633605" y="5308692"/>
              <a:ext cx="89704" cy="97859"/>
            </a:xfrm>
            <a:custGeom>
              <a:avLst/>
              <a:gdLst>
                <a:gd name="T0" fmla="*/ 44 w 47"/>
                <a:gd name="T1" fmla="*/ 22 h 52"/>
                <a:gd name="T2" fmla="*/ 34 w 47"/>
                <a:gd name="T3" fmla="*/ 0 h 52"/>
                <a:gd name="T4" fmla="*/ 0 w 47"/>
                <a:gd name="T5" fmla="*/ 16 h 52"/>
                <a:gd name="T6" fmla="*/ 10 w 47"/>
                <a:gd name="T7" fmla="*/ 38 h 52"/>
                <a:gd name="T8" fmla="*/ 29 w 47"/>
                <a:gd name="T9" fmla="*/ 52 h 52"/>
                <a:gd name="T10" fmla="*/ 47 w 47"/>
                <a:gd name="T11" fmla="*/ 33 h 52"/>
                <a:gd name="T12" fmla="*/ 44 w 47"/>
                <a:gd name="T13" fmla="*/ 22 h 52"/>
              </a:gdLst>
              <a:ahLst/>
              <a:cxnLst>
                <a:cxn ang="0">
                  <a:pos x="T0" y="T1"/>
                </a:cxn>
                <a:cxn ang="0">
                  <a:pos x="T2" y="T3"/>
                </a:cxn>
                <a:cxn ang="0">
                  <a:pos x="T4" y="T5"/>
                </a:cxn>
                <a:cxn ang="0">
                  <a:pos x="T6" y="T7"/>
                </a:cxn>
                <a:cxn ang="0">
                  <a:pos x="T8" y="T9"/>
                </a:cxn>
                <a:cxn ang="0">
                  <a:pos x="T10" y="T11"/>
                </a:cxn>
                <a:cxn ang="0">
                  <a:pos x="T12" y="T13"/>
                </a:cxn>
              </a:cxnLst>
              <a:rect l="0" t="0" r="r" b="b"/>
              <a:pathLst>
                <a:path w="47" h="52">
                  <a:moveTo>
                    <a:pt x="44" y="22"/>
                  </a:moveTo>
                  <a:cubicBezTo>
                    <a:pt x="34" y="0"/>
                    <a:pt x="34" y="0"/>
                    <a:pt x="34" y="0"/>
                  </a:cubicBezTo>
                  <a:cubicBezTo>
                    <a:pt x="0" y="16"/>
                    <a:pt x="0" y="16"/>
                    <a:pt x="0" y="16"/>
                  </a:cubicBezTo>
                  <a:cubicBezTo>
                    <a:pt x="10" y="38"/>
                    <a:pt x="10" y="38"/>
                    <a:pt x="10" y="38"/>
                  </a:cubicBezTo>
                  <a:cubicBezTo>
                    <a:pt x="13" y="46"/>
                    <a:pt x="20" y="52"/>
                    <a:pt x="29" y="52"/>
                  </a:cubicBezTo>
                  <a:cubicBezTo>
                    <a:pt x="39" y="52"/>
                    <a:pt x="47" y="43"/>
                    <a:pt x="47" y="33"/>
                  </a:cubicBezTo>
                  <a:cubicBezTo>
                    <a:pt x="47" y="29"/>
                    <a:pt x="46" y="25"/>
                    <a:pt x="44" y="22"/>
                  </a:cubicBez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269" name="Freeform 62"/>
            <p:cNvSpPr>
              <a:spLocks/>
            </p:cNvSpPr>
            <p:nvPr/>
          </p:nvSpPr>
          <p:spPr bwMode="auto">
            <a:xfrm>
              <a:off x="7413422" y="4856096"/>
              <a:ext cx="309887" cy="513760"/>
            </a:xfrm>
            <a:custGeom>
              <a:avLst/>
              <a:gdLst>
                <a:gd name="T0" fmla="*/ 0 w 76"/>
                <a:gd name="T1" fmla="*/ 11 h 126"/>
                <a:gd name="T2" fmla="*/ 53 w 76"/>
                <a:gd name="T3" fmla="*/ 126 h 126"/>
                <a:gd name="T4" fmla="*/ 76 w 76"/>
                <a:gd name="T5" fmla="*/ 116 h 126"/>
                <a:gd name="T6" fmla="*/ 23 w 76"/>
                <a:gd name="T7" fmla="*/ 0 h 126"/>
                <a:gd name="T8" fmla="*/ 0 w 76"/>
                <a:gd name="T9" fmla="*/ 11 h 126"/>
              </a:gdLst>
              <a:ahLst/>
              <a:cxnLst>
                <a:cxn ang="0">
                  <a:pos x="T0" y="T1"/>
                </a:cxn>
                <a:cxn ang="0">
                  <a:pos x="T2" y="T3"/>
                </a:cxn>
                <a:cxn ang="0">
                  <a:pos x="T4" y="T5"/>
                </a:cxn>
                <a:cxn ang="0">
                  <a:pos x="T6" y="T7"/>
                </a:cxn>
                <a:cxn ang="0">
                  <a:pos x="T8" y="T9"/>
                </a:cxn>
              </a:cxnLst>
              <a:rect l="0" t="0" r="r" b="b"/>
              <a:pathLst>
                <a:path w="76" h="126">
                  <a:moveTo>
                    <a:pt x="0" y="11"/>
                  </a:moveTo>
                  <a:lnTo>
                    <a:pt x="53" y="126"/>
                  </a:lnTo>
                  <a:lnTo>
                    <a:pt x="76" y="116"/>
                  </a:lnTo>
                  <a:lnTo>
                    <a:pt x="23" y="0"/>
                  </a:lnTo>
                  <a:lnTo>
                    <a:pt x="0" y="11"/>
                  </a:ln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270" name="Freeform 63"/>
            <p:cNvSpPr>
              <a:spLocks/>
            </p:cNvSpPr>
            <p:nvPr/>
          </p:nvSpPr>
          <p:spPr bwMode="auto">
            <a:xfrm>
              <a:off x="7450120" y="4941721"/>
              <a:ext cx="260957" cy="260957"/>
            </a:xfrm>
            <a:custGeom>
              <a:avLst/>
              <a:gdLst>
                <a:gd name="T0" fmla="*/ 44 w 137"/>
                <a:gd name="T1" fmla="*/ 13 h 137"/>
                <a:gd name="T2" fmla="*/ 124 w 137"/>
                <a:gd name="T3" fmla="*/ 44 h 137"/>
                <a:gd name="T4" fmla="*/ 93 w 137"/>
                <a:gd name="T5" fmla="*/ 124 h 137"/>
                <a:gd name="T6" fmla="*/ 14 w 137"/>
                <a:gd name="T7" fmla="*/ 93 h 137"/>
                <a:gd name="T8" fmla="*/ 44 w 137"/>
                <a:gd name="T9" fmla="*/ 13 h 137"/>
              </a:gdLst>
              <a:ahLst/>
              <a:cxnLst>
                <a:cxn ang="0">
                  <a:pos x="T0" y="T1"/>
                </a:cxn>
                <a:cxn ang="0">
                  <a:pos x="T2" y="T3"/>
                </a:cxn>
                <a:cxn ang="0">
                  <a:pos x="T4" y="T5"/>
                </a:cxn>
                <a:cxn ang="0">
                  <a:pos x="T6" y="T7"/>
                </a:cxn>
                <a:cxn ang="0">
                  <a:pos x="T8" y="T9"/>
                </a:cxn>
              </a:cxnLst>
              <a:rect l="0" t="0" r="r" b="b"/>
              <a:pathLst>
                <a:path w="137" h="137">
                  <a:moveTo>
                    <a:pt x="44" y="13"/>
                  </a:moveTo>
                  <a:cubicBezTo>
                    <a:pt x="74" y="0"/>
                    <a:pt x="110" y="13"/>
                    <a:pt x="124" y="44"/>
                  </a:cubicBezTo>
                  <a:cubicBezTo>
                    <a:pt x="137" y="74"/>
                    <a:pt x="124" y="110"/>
                    <a:pt x="93" y="124"/>
                  </a:cubicBezTo>
                  <a:cubicBezTo>
                    <a:pt x="63" y="137"/>
                    <a:pt x="27" y="124"/>
                    <a:pt x="14" y="93"/>
                  </a:cubicBezTo>
                  <a:cubicBezTo>
                    <a:pt x="0" y="63"/>
                    <a:pt x="13" y="27"/>
                    <a:pt x="44" y="13"/>
                  </a:cubicBez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271" name="Freeform 64"/>
            <p:cNvSpPr>
              <a:spLocks/>
            </p:cNvSpPr>
            <p:nvPr/>
          </p:nvSpPr>
          <p:spPr bwMode="auto">
            <a:xfrm>
              <a:off x="7421577" y="4966186"/>
              <a:ext cx="199797" cy="260957"/>
            </a:xfrm>
            <a:custGeom>
              <a:avLst/>
              <a:gdLst>
                <a:gd name="T0" fmla="*/ 23 w 49"/>
                <a:gd name="T1" fmla="*/ 64 h 64"/>
                <a:gd name="T2" fmla="*/ 0 w 49"/>
                <a:gd name="T3" fmla="*/ 12 h 64"/>
                <a:gd name="T4" fmla="*/ 26 w 49"/>
                <a:gd name="T5" fmla="*/ 0 h 64"/>
                <a:gd name="T6" fmla="*/ 49 w 49"/>
                <a:gd name="T7" fmla="*/ 52 h 64"/>
                <a:gd name="T8" fmla="*/ 23 w 49"/>
                <a:gd name="T9" fmla="*/ 64 h 64"/>
              </a:gdLst>
              <a:ahLst/>
              <a:cxnLst>
                <a:cxn ang="0">
                  <a:pos x="T0" y="T1"/>
                </a:cxn>
                <a:cxn ang="0">
                  <a:pos x="T2" y="T3"/>
                </a:cxn>
                <a:cxn ang="0">
                  <a:pos x="T4" y="T5"/>
                </a:cxn>
                <a:cxn ang="0">
                  <a:pos x="T6" y="T7"/>
                </a:cxn>
                <a:cxn ang="0">
                  <a:pos x="T8" y="T9"/>
                </a:cxn>
              </a:cxnLst>
              <a:rect l="0" t="0" r="r" b="b"/>
              <a:pathLst>
                <a:path w="49" h="64">
                  <a:moveTo>
                    <a:pt x="23" y="64"/>
                  </a:moveTo>
                  <a:lnTo>
                    <a:pt x="0" y="12"/>
                  </a:lnTo>
                  <a:lnTo>
                    <a:pt x="26" y="0"/>
                  </a:lnTo>
                  <a:lnTo>
                    <a:pt x="49" y="52"/>
                  </a:lnTo>
                  <a:lnTo>
                    <a:pt x="23" y="64"/>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275" name="Rectangle 68"/>
            <p:cNvSpPr>
              <a:spLocks noChangeArrowheads="1"/>
            </p:cNvSpPr>
            <p:nvPr/>
          </p:nvSpPr>
          <p:spPr bwMode="auto">
            <a:xfrm>
              <a:off x="7388957" y="4130308"/>
              <a:ext cx="4079" cy="4079"/>
            </a:xfrm>
            <a:prstGeom prst="rect">
              <a:avLst/>
            </a:prstGeom>
            <a:solidFill>
              <a:srgbClr val="001D4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276" name="Freeform 69"/>
            <p:cNvSpPr>
              <a:spLocks/>
            </p:cNvSpPr>
            <p:nvPr/>
          </p:nvSpPr>
          <p:spPr bwMode="auto">
            <a:xfrm>
              <a:off x="7388957" y="4130308"/>
              <a:ext cx="0" cy="0"/>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277" name="Freeform 70"/>
            <p:cNvSpPr>
              <a:spLocks/>
            </p:cNvSpPr>
            <p:nvPr/>
          </p:nvSpPr>
          <p:spPr bwMode="auto">
            <a:xfrm>
              <a:off x="6887431" y="3910125"/>
              <a:ext cx="501529" cy="411825"/>
            </a:xfrm>
            <a:custGeom>
              <a:avLst/>
              <a:gdLst>
                <a:gd name="T0" fmla="*/ 54 w 260"/>
                <a:gd name="T1" fmla="*/ 0 h 216"/>
                <a:gd name="T2" fmla="*/ 73 w 260"/>
                <a:gd name="T3" fmla="*/ 41 h 216"/>
                <a:gd name="T4" fmla="*/ 72 w 260"/>
                <a:gd name="T5" fmla="*/ 42 h 216"/>
                <a:gd name="T6" fmla="*/ 53 w 260"/>
                <a:gd name="T7" fmla="*/ 81 h 216"/>
                <a:gd name="T8" fmla="*/ 0 w 260"/>
                <a:gd name="T9" fmla="*/ 128 h 216"/>
                <a:gd name="T10" fmla="*/ 40 w 260"/>
                <a:gd name="T11" fmla="*/ 216 h 216"/>
                <a:gd name="T12" fmla="*/ 260 w 260"/>
                <a:gd name="T13" fmla="*/ 115 h 216"/>
                <a:gd name="T14" fmla="*/ 260 w 260"/>
                <a:gd name="T15" fmla="*/ 115 h 216"/>
                <a:gd name="T16" fmla="*/ 54 w 260"/>
                <a:gd name="T17" fmla="*/ 0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0" h="216">
                  <a:moveTo>
                    <a:pt x="54" y="0"/>
                  </a:moveTo>
                  <a:cubicBezTo>
                    <a:pt x="73" y="41"/>
                    <a:pt x="73" y="41"/>
                    <a:pt x="73" y="41"/>
                  </a:cubicBezTo>
                  <a:cubicBezTo>
                    <a:pt x="73" y="42"/>
                    <a:pt x="73" y="42"/>
                    <a:pt x="72" y="42"/>
                  </a:cubicBezTo>
                  <a:cubicBezTo>
                    <a:pt x="71" y="45"/>
                    <a:pt x="66" y="63"/>
                    <a:pt x="53" y="81"/>
                  </a:cubicBezTo>
                  <a:cubicBezTo>
                    <a:pt x="38" y="102"/>
                    <a:pt x="1" y="126"/>
                    <a:pt x="0" y="128"/>
                  </a:cubicBezTo>
                  <a:cubicBezTo>
                    <a:pt x="40" y="216"/>
                    <a:pt x="40" y="216"/>
                    <a:pt x="40" y="216"/>
                  </a:cubicBezTo>
                  <a:cubicBezTo>
                    <a:pt x="260" y="115"/>
                    <a:pt x="260" y="115"/>
                    <a:pt x="260" y="115"/>
                  </a:cubicBezTo>
                  <a:cubicBezTo>
                    <a:pt x="260" y="115"/>
                    <a:pt x="260" y="115"/>
                    <a:pt x="260" y="115"/>
                  </a:cubicBezTo>
                  <a:cubicBezTo>
                    <a:pt x="54" y="0"/>
                    <a:pt x="54" y="0"/>
                    <a:pt x="54" y="0"/>
                  </a:cubicBezTo>
                </a:path>
              </a:pathLst>
            </a:custGeom>
            <a:solidFill>
              <a:srgbClr val="E5E28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278" name="Freeform 71"/>
            <p:cNvSpPr>
              <a:spLocks/>
            </p:cNvSpPr>
            <p:nvPr/>
          </p:nvSpPr>
          <p:spPr bwMode="auto">
            <a:xfrm>
              <a:off x="6699868" y="3747026"/>
              <a:ext cx="326197" cy="407746"/>
            </a:xfrm>
            <a:custGeom>
              <a:avLst/>
              <a:gdLst>
                <a:gd name="T0" fmla="*/ 0 w 171"/>
                <a:gd name="T1" fmla="*/ 0 h 213"/>
                <a:gd name="T2" fmla="*/ 99 w 171"/>
                <a:gd name="T3" fmla="*/ 213 h 213"/>
                <a:gd name="T4" fmla="*/ 152 w 171"/>
                <a:gd name="T5" fmla="*/ 166 h 213"/>
                <a:gd name="T6" fmla="*/ 171 w 171"/>
                <a:gd name="T7" fmla="*/ 127 h 213"/>
                <a:gd name="T8" fmla="*/ 149 w 171"/>
                <a:gd name="T9" fmla="*/ 132 h 213"/>
                <a:gd name="T10" fmla="*/ 98 w 171"/>
                <a:gd name="T11" fmla="*/ 99 h 213"/>
                <a:gd name="T12" fmla="*/ 98 w 171"/>
                <a:gd name="T13" fmla="*/ 54 h 213"/>
                <a:gd name="T14" fmla="*/ 0 w 171"/>
                <a:gd name="T15" fmla="*/ 0 h 2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1" h="213">
                  <a:moveTo>
                    <a:pt x="0" y="0"/>
                  </a:moveTo>
                  <a:cubicBezTo>
                    <a:pt x="99" y="213"/>
                    <a:pt x="99" y="213"/>
                    <a:pt x="99" y="213"/>
                  </a:cubicBezTo>
                  <a:cubicBezTo>
                    <a:pt x="100" y="211"/>
                    <a:pt x="137" y="187"/>
                    <a:pt x="152" y="166"/>
                  </a:cubicBezTo>
                  <a:cubicBezTo>
                    <a:pt x="165" y="148"/>
                    <a:pt x="170" y="130"/>
                    <a:pt x="171" y="127"/>
                  </a:cubicBezTo>
                  <a:cubicBezTo>
                    <a:pt x="164" y="130"/>
                    <a:pt x="156" y="132"/>
                    <a:pt x="149" y="132"/>
                  </a:cubicBezTo>
                  <a:cubicBezTo>
                    <a:pt x="128" y="132"/>
                    <a:pt x="108" y="120"/>
                    <a:pt x="98" y="99"/>
                  </a:cubicBezTo>
                  <a:cubicBezTo>
                    <a:pt x="92" y="84"/>
                    <a:pt x="92" y="68"/>
                    <a:pt x="98" y="54"/>
                  </a:cubicBezTo>
                  <a:cubicBezTo>
                    <a:pt x="0" y="0"/>
                    <a:pt x="0" y="0"/>
                    <a:pt x="0" y="0"/>
                  </a:cubicBezTo>
                </a:path>
              </a:pathLst>
            </a:custGeom>
            <a:solidFill>
              <a:srgbClr val="D00F1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279" name="Freeform 72"/>
            <p:cNvSpPr>
              <a:spLocks/>
            </p:cNvSpPr>
            <p:nvPr/>
          </p:nvSpPr>
          <p:spPr bwMode="auto">
            <a:xfrm>
              <a:off x="6875197" y="3848962"/>
              <a:ext cx="154944" cy="150867"/>
            </a:xfrm>
            <a:custGeom>
              <a:avLst/>
              <a:gdLst>
                <a:gd name="T0" fmla="*/ 6 w 80"/>
                <a:gd name="T1" fmla="*/ 0 h 78"/>
                <a:gd name="T2" fmla="*/ 6 w 80"/>
                <a:gd name="T3" fmla="*/ 45 h 78"/>
                <a:gd name="T4" fmla="*/ 57 w 80"/>
                <a:gd name="T5" fmla="*/ 78 h 78"/>
                <a:gd name="T6" fmla="*/ 79 w 80"/>
                <a:gd name="T7" fmla="*/ 73 h 78"/>
                <a:gd name="T8" fmla="*/ 80 w 80"/>
                <a:gd name="T9" fmla="*/ 72 h 78"/>
                <a:gd name="T10" fmla="*/ 61 w 80"/>
                <a:gd name="T11" fmla="*/ 31 h 78"/>
                <a:gd name="T12" fmla="*/ 61 w 80"/>
                <a:gd name="T13" fmla="*/ 31 h 78"/>
                <a:gd name="T14" fmla="*/ 68 w 80"/>
                <a:gd name="T15" fmla="*/ 47 h 78"/>
                <a:gd name="T16" fmla="*/ 57 w 80"/>
                <a:gd name="T17" fmla="*/ 50 h 78"/>
                <a:gd name="T18" fmla="*/ 31 w 80"/>
                <a:gd name="T19" fmla="*/ 33 h 78"/>
                <a:gd name="T20" fmla="*/ 30 w 80"/>
                <a:gd name="T21" fmla="*/ 14 h 78"/>
                <a:gd name="T22" fmla="*/ 6 w 80"/>
                <a:gd name="T23" fmla="*/ 0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0" h="78">
                  <a:moveTo>
                    <a:pt x="6" y="0"/>
                  </a:moveTo>
                  <a:cubicBezTo>
                    <a:pt x="0" y="14"/>
                    <a:pt x="0" y="30"/>
                    <a:pt x="6" y="45"/>
                  </a:cubicBezTo>
                  <a:cubicBezTo>
                    <a:pt x="16" y="66"/>
                    <a:pt x="36" y="78"/>
                    <a:pt x="57" y="78"/>
                  </a:cubicBezTo>
                  <a:cubicBezTo>
                    <a:pt x="64" y="78"/>
                    <a:pt x="72" y="76"/>
                    <a:pt x="79" y="73"/>
                  </a:cubicBezTo>
                  <a:cubicBezTo>
                    <a:pt x="80" y="73"/>
                    <a:pt x="80" y="73"/>
                    <a:pt x="80" y="72"/>
                  </a:cubicBezTo>
                  <a:cubicBezTo>
                    <a:pt x="61" y="31"/>
                    <a:pt x="61" y="31"/>
                    <a:pt x="61" y="31"/>
                  </a:cubicBezTo>
                  <a:cubicBezTo>
                    <a:pt x="61" y="31"/>
                    <a:pt x="61" y="31"/>
                    <a:pt x="61" y="31"/>
                  </a:cubicBezTo>
                  <a:cubicBezTo>
                    <a:pt x="68" y="47"/>
                    <a:pt x="68" y="47"/>
                    <a:pt x="68" y="47"/>
                  </a:cubicBezTo>
                  <a:cubicBezTo>
                    <a:pt x="65" y="49"/>
                    <a:pt x="61" y="50"/>
                    <a:pt x="57" y="50"/>
                  </a:cubicBezTo>
                  <a:cubicBezTo>
                    <a:pt x="46" y="50"/>
                    <a:pt x="36" y="44"/>
                    <a:pt x="31" y="33"/>
                  </a:cubicBezTo>
                  <a:cubicBezTo>
                    <a:pt x="28" y="27"/>
                    <a:pt x="28" y="20"/>
                    <a:pt x="30" y="14"/>
                  </a:cubicBezTo>
                  <a:cubicBezTo>
                    <a:pt x="6" y="0"/>
                    <a:pt x="6" y="0"/>
                    <a:pt x="6" y="0"/>
                  </a:cubicBezTo>
                </a:path>
              </a:pathLst>
            </a:custGeom>
            <a:solidFill>
              <a:srgbClr val="E5E28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280" name="Freeform 73"/>
            <p:cNvSpPr>
              <a:spLocks/>
            </p:cNvSpPr>
            <p:nvPr/>
          </p:nvSpPr>
          <p:spPr bwMode="auto">
            <a:xfrm>
              <a:off x="6932282" y="3840807"/>
              <a:ext cx="61163" cy="69318"/>
            </a:xfrm>
            <a:custGeom>
              <a:avLst/>
              <a:gdLst>
                <a:gd name="T0" fmla="*/ 15 w 31"/>
                <a:gd name="T1" fmla="*/ 0 h 35"/>
                <a:gd name="T2" fmla="*/ 0 w 31"/>
                <a:gd name="T3" fmla="*/ 18 h 35"/>
                <a:gd name="T4" fmla="*/ 31 w 31"/>
                <a:gd name="T5" fmla="*/ 35 h 35"/>
                <a:gd name="T6" fmla="*/ 15 w 31"/>
                <a:gd name="T7" fmla="*/ 0 h 35"/>
              </a:gdLst>
              <a:ahLst/>
              <a:cxnLst>
                <a:cxn ang="0">
                  <a:pos x="T0" y="T1"/>
                </a:cxn>
                <a:cxn ang="0">
                  <a:pos x="T2" y="T3"/>
                </a:cxn>
                <a:cxn ang="0">
                  <a:pos x="T4" y="T5"/>
                </a:cxn>
                <a:cxn ang="0">
                  <a:pos x="T6" y="T7"/>
                </a:cxn>
              </a:cxnLst>
              <a:rect l="0" t="0" r="r" b="b"/>
              <a:pathLst>
                <a:path w="31" h="35">
                  <a:moveTo>
                    <a:pt x="15" y="0"/>
                  </a:moveTo>
                  <a:cubicBezTo>
                    <a:pt x="7" y="4"/>
                    <a:pt x="2" y="10"/>
                    <a:pt x="0" y="18"/>
                  </a:cubicBezTo>
                  <a:cubicBezTo>
                    <a:pt x="31" y="35"/>
                    <a:pt x="31" y="35"/>
                    <a:pt x="31" y="35"/>
                  </a:cubicBezTo>
                  <a:cubicBezTo>
                    <a:pt x="15" y="0"/>
                    <a:pt x="15" y="0"/>
                    <a:pt x="15" y="0"/>
                  </a:cubicBezTo>
                </a:path>
              </a:pathLst>
            </a:custGeom>
            <a:solidFill>
              <a:srgbClr val="E5E28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281" name="Freeform 74"/>
            <p:cNvSpPr>
              <a:spLocks/>
            </p:cNvSpPr>
            <p:nvPr/>
          </p:nvSpPr>
          <p:spPr bwMode="auto">
            <a:xfrm>
              <a:off x="6928205" y="3877505"/>
              <a:ext cx="77473" cy="65239"/>
            </a:xfrm>
            <a:custGeom>
              <a:avLst/>
              <a:gdLst>
                <a:gd name="T0" fmla="*/ 2 w 40"/>
                <a:gd name="T1" fmla="*/ 0 h 36"/>
                <a:gd name="T2" fmla="*/ 3 w 40"/>
                <a:gd name="T3" fmla="*/ 19 h 36"/>
                <a:gd name="T4" fmla="*/ 29 w 40"/>
                <a:gd name="T5" fmla="*/ 36 h 36"/>
                <a:gd name="T6" fmla="*/ 40 w 40"/>
                <a:gd name="T7" fmla="*/ 33 h 36"/>
                <a:gd name="T8" fmla="*/ 33 w 40"/>
                <a:gd name="T9" fmla="*/ 17 h 36"/>
                <a:gd name="T10" fmla="*/ 2 w 40"/>
                <a:gd name="T11" fmla="*/ 0 h 36"/>
              </a:gdLst>
              <a:ahLst/>
              <a:cxnLst>
                <a:cxn ang="0">
                  <a:pos x="T0" y="T1"/>
                </a:cxn>
                <a:cxn ang="0">
                  <a:pos x="T2" y="T3"/>
                </a:cxn>
                <a:cxn ang="0">
                  <a:pos x="T4" y="T5"/>
                </a:cxn>
                <a:cxn ang="0">
                  <a:pos x="T6" y="T7"/>
                </a:cxn>
                <a:cxn ang="0">
                  <a:pos x="T8" y="T9"/>
                </a:cxn>
                <a:cxn ang="0">
                  <a:pos x="T10" y="T11"/>
                </a:cxn>
              </a:cxnLst>
              <a:rect l="0" t="0" r="r" b="b"/>
              <a:pathLst>
                <a:path w="40" h="36">
                  <a:moveTo>
                    <a:pt x="2" y="0"/>
                  </a:moveTo>
                  <a:cubicBezTo>
                    <a:pt x="0" y="6"/>
                    <a:pt x="0" y="13"/>
                    <a:pt x="3" y="19"/>
                  </a:cubicBezTo>
                  <a:cubicBezTo>
                    <a:pt x="8" y="30"/>
                    <a:pt x="18" y="36"/>
                    <a:pt x="29" y="36"/>
                  </a:cubicBezTo>
                  <a:cubicBezTo>
                    <a:pt x="33" y="36"/>
                    <a:pt x="37" y="35"/>
                    <a:pt x="40" y="33"/>
                  </a:cubicBezTo>
                  <a:cubicBezTo>
                    <a:pt x="33" y="17"/>
                    <a:pt x="33" y="17"/>
                    <a:pt x="33" y="17"/>
                  </a:cubicBezTo>
                  <a:cubicBezTo>
                    <a:pt x="2" y="0"/>
                    <a:pt x="2" y="0"/>
                    <a:pt x="2" y="0"/>
                  </a:cubicBezTo>
                </a:path>
              </a:pathLst>
            </a:custGeom>
            <a:solidFill>
              <a:srgbClr val="CECB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grpSp>
      <p:pic>
        <p:nvPicPr>
          <p:cNvPr id="298" name="Picture 297"/>
          <p:cNvPicPr>
            <a:picLocks noChangeAspect="1"/>
          </p:cNvPicPr>
          <p:nvPr/>
        </p:nvPicPr>
        <p:blipFill>
          <a:blip r:embed="rId7"/>
          <a:stretch>
            <a:fillRect/>
          </a:stretch>
        </p:blipFill>
        <p:spPr>
          <a:xfrm>
            <a:off x="8176231" y="583470"/>
            <a:ext cx="646072" cy="836714"/>
          </a:xfrm>
          <a:prstGeom prst="rect">
            <a:avLst/>
          </a:prstGeom>
        </p:spPr>
      </p:pic>
      <p:pic>
        <p:nvPicPr>
          <p:cNvPr id="299" name="Picture 298"/>
          <p:cNvPicPr>
            <a:picLocks noChangeAspect="1"/>
          </p:cNvPicPr>
          <p:nvPr/>
        </p:nvPicPr>
        <p:blipFill>
          <a:blip r:embed="rId8"/>
          <a:stretch>
            <a:fillRect/>
          </a:stretch>
        </p:blipFill>
        <p:spPr>
          <a:xfrm>
            <a:off x="10453714" y="2360908"/>
            <a:ext cx="582526" cy="762576"/>
          </a:xfrm>
          <a:prstGeom prst="rect">
            <a:avLst/>
          </a:prstGeom>
        </p:spPr>
      </p:pic>
      <p:pic>
        <p:nvPicPr>
          <p:cNvPr id="300" name="Picture 299"/>
          <p:cNvPicPr>
            <a:picLocks noChangeAspect="1"/>
          </p:cNvPicPr>
          <p:nvPr/>
        </p:nvPicPr>
        <p:blipFill>
          <a:blip r:embed="rId7"/>
          <a:stretch>
            <a:fillRect/>
          </a:stretch>
        </p:blipFill>
        <p:spPr>
          <a:xfrm>
            <a:off x="8744096" y="4149231"/>
            <a:ext cx="287127" cy="371852"/>
          </a:xfrm>
          <a:prstGeom prst="rect">
            <a:avLst/>
          </a:prstGeom>
        </p:spPr>
      </p:pic>
      <p:pic>
        <p:nvPicPr>
          <p:cNvPr id="301" name="Picture 300"/>
          <p:cNvPicPr>
            <a:picLocks noChangeAspect="1"/>
          </p:cNvPicPr>
          <p:nvPr/>
        </p:nvPicPr>
        <p:blipFill>
          <a:blip r:embed="rId8"/>
          <a:stretch>
            <a:fillRect/>
          </a:stretch>
        </p:blipFill>
        <p:spPr>
          <a:xfrm>
            <a:off x="8683490" y="2637870"/>
            <a:ext cx="370957" cy="485614"/>
          </a:xfrm>
          <a:prstGeom prst="rect">
            <a:avLst/>
          </a:prstGeom>
        </p:spPr>
      </p:pic>
    </p:spTree>
    <p:extLst>
      <p:ext uri="{BB962C8B-B14F-4D97-AF65-F5344CB8AC3E}">
        <p14:creationId xmlns:p14="http://schemas.microsoft.com/office/powerpoint/2010/main" val="1468861381"/>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3" name="Rectangle 192"/>
          <p:cNvSpPr/>
          <p:nvPr/>
        </p:nvSpPr>
        <p:spPr bwMode="auto">
          <a:xfrm>
            <a:off x="112486" y="1189176"/>
            <a:ext cx="1836057" cy="5582194"/>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5439">
                    <a:srgbClr val="F8F8F8"/>
                  </a:gs>
                  <a:gs pos="10000">
                    <a:srgbClr val="F8F8F8"/>
                  </a:gs>
                </a:gsLst>
                <a:lin ang="5400000" scaled="0"/>
              </a:gradFill>
              <a:effectLst/>
              <a:uLnTx/>
              <a:uFillTx/>
            </a:endParaRPr>
          </a:p>
        </p:txBody>
      </p:sp>
      <p:sp>
        <p:nvSpPr>
          <p:cNvPr id="194" name="Rectangle 193"/>
          <p:cNvSpPr/>
          <p:nvPr/>
        </p:nvSpPr>
        <p:spPr bwMode="auto">
          <a:xfrm>
            <a:off x="3336373" y="1189176"/>
            <a:ext cx="6856962" cy="5582194"/>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5439">
                    <a:srgbClr val="F8F8F8"/>
                  </a:gs>
                  <a:gs pos="10000">
                    <a:srgbClr val="F8F8F8"/>
                  </a:gs>
                </a:gsLst>
                <a:lin ang="5400000" scaled="0"/>
              </a:gradFill>
              <a:effectLst/>
              <a:uLnTx/>
              <a:uFillTx/>
            </a:endParaRPr>
          </a:p>
        </p:txBody>
      </p:sp>
      <p:sp>
        <p:nvSpPr>
          <p:cNvPr id="195" name="Rectangle 194"/>
          <p:cNvSpPr/>
          <p:nvPr/>
        </p:nvSpPr>
        <p:spPr bwMode="auto">
          <a:xfrm>
            <a:off x="10391406" y="1189176"/>
            <a:ext cx="1549363" cy="5582194"/>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5439">
                    <a:srgbClr val="F8F8F8"/>
                  </a:gs>
                  <a:gs pos="10000">
                    <a:srgbClr val="F8F8F8"/>
                  </a:gs>
                </a:gsLst>
                <a:lin ang="5400000" scaled="0"/>
              </a:gradFill>
              <a:effectLst/>
              <a:uLnTx/>
              <a:uFillTx/>
            </a:endParaRPr>
          </a:p>
        </p:txBody>
      </p:sp>
      <p:sp>
        <p:nvSpPr>
          <p:cNvPr id="7" name="Rectangle 6"/>
          <p:cNvSpPr/>
          <p:nvPr/>
        </p:nvSpPr>
        <p:spPr>
          <a:xfrm>
            <a:off x="112486" y="1194205"/>
            <a:ext cx="1375026" cy="341632"/>
          </a:xfrm>
          <a:prstGeom prst="rect">
            <a:avLst/>
          </a:prstGeom>
          <a:noFill/>
        </p:spPr>
        <p:txBody>
          <a:bodyPr wrap="square" lIns="91440" tIns="73152" rIns="91440" bIns="73152" rtlCol="0">
            <a:spAutoFit/>
          </a:bodyPr>
          <a:lstStyle/>
          <a:p>
            <a:pPr marL="0" marR="0" lvl="0" indent="0" defTabSz="914132" eaLnBrk="1" fontAlgn="auto" latinLnBrk="0" hangingPunct="1">
              <a:lnSpc>
                <a:spcPct val="90000"/>
              </a:lnSpc>
              <a:spcBef>
                <a:spcPct val="0"/>
              </a:spcBef>
              <a:spcAft>
                <a:spcPts val="588"/>
              </a:spcAft>
              <a:buClrTx/>
              <a:buSzTx/>
              <a:buFontTx/>
              <a:buNone/>
              <a:tabLst/>
              <a:defRPr/>
            </a:pPr>
            <a:r>
              <a:rPr kumimoji="0" lang="en-US" sz="1400" b="1" i="0" u="none" strike="noStrike" kern="0" cap="none" spc="-29" normalizeH="0" baseline="0" noProof="0" dirty="0">
                <a:ln>
                  <a:noFill/>
                </a:ln>
                <a:solidFill>
                  <a:sysClr val="windowText" lastClr="000000"/>
                </a:solidFill>
                <a:effectLst/>
                <a:uLnTx/>
                <a:uFillTx/>
                <a:ea typeface="MS PGothic" panose="020B0600070205080204" pitchFamily="34" charset="-128"/>
                <a:cs typeface="Segoe UI Semilight" panose="020B0402040204020203" pitchFamily="34" charset="0"/>
              </a:rPr>
              <a:t>On Premises</a:t>
            </a:r>
          </a:p>
        </p:txBody>
      </p:sp>
      <p:sp>
        <p:nvSpPr>
          <p:cNvPr id="26" name="Rectangle 25"/>
          <p:cNvSpPr/>
          <p:nvPr/>
        </p:nvSpPr>
        <p:spPr>
          <a:xfrm>
            <a:off x="3336373" y="1194205"/>
            <a:ext cx="1284917" cy="341632"/>
          </a:xfrm>
          <a:prstGeom prst="rect">
            <a:avLst/>
          </a:prstGeom>
          <a:noFill/>
        </p:spPr>
        <p:txBody>
          <a:bodyPr wrap="square" lIns="91440" tIns="73152" rIns="91440" bIns="73152" rtlCol="0">
            <a:spAutoFit/>
          </a:bodyPr>
          <a:lstStyle/>
          <a:p>
            <a:pPr marL="0" marR="0" lvl="0" indent="0" defTabSz="914132" eaLnBrk="1" fontAlgn="auto" latinLnBrk="0" hangingPunct="1">
              <a:lnSpc>
                <a:spcPct val="90000"/>
              </a:lnSpc>
              <a:spcBef>
                <a:spcPct val="0"/>
              </a:spcBef>
              <a:spcAft>
                <a:spcPts val="588"/>
              </a:spcAft>
              <a:buClrTx/>
              <a:buSzTx/>
              <a:buFontTx/>
              <a:buNone/>
              <a:tabLst/>
              <a:defRPr/>
            </a:pPr>
            <a:r>
              <a:rPr kumimoji="0" lang="en-US" sz="1400" b="1" i="0" u="none" strike="noStrike" kern="0" cap="none" spc="-29" normalizeH="0" baseline="0" noProof="0" dirty="0">
                <a:ln>
                  <a:noFill/>
                </a:ln>
                <a:solidFill>
                  <a:sysClr val="windowText" lastClr="000000"/>
                </a:solidFill>
                <a:effectLst/>
                <a:uLnTx/>
                <a:uFillTx/>
                <a:ea typeface="MS PGothic" panose="020B0600070205080204" pitchFamily="34" charset="-128"/>
                <a:cs typeface="Segoe UI Semilight" panose="020B0402040204020203" pitchFamily="34" charset="0"/>
              </a:rPr>
              <a:t>Cloud</a:t>
            </a:r>
          </a:p>
        </p:txBody>
      </p:sp>
      <p:sp>
        <p:nvSpPr>
          <p:cNvPr id="55" name="Rectangle 54"/>
          <p:cNvSpPr/>
          <p:nvPr/>
        </p:nvSpPr>
        <p:spPr>
          <a:xfrm>
            <a:off x="5779053" y="3917712"/>
            <a:ext cx="1342424" cy="27698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spAutoFit/>
          </a:bodyPr>
          <a:lstStyle/>
          <a:p>
            <a:pPr marL="0" marR="0" lvl="0" indent="0" algn="ctr" defTabSz="914225"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chemeClr val="tx2"/>
                </a:solidFill>
                <a:effectLst/>
                <a:uLnTx/>
                <a:uFillTx/>
              </a:rPr>
              <a:t>Data Lake Store</a:t>
            </a:r>
          </a:p>
        </p:txBody>
      </p:sp>
      <p:sp>
        <p:nvSpPr>
          <p:cNvPr id="87" name="Rectangle 86"/>
          <p:cNvSpPr/>
          <p:nvPr/>
        </p:nvSpPr>
        <p:spPr>
          <a:xfrm>
            <a:off x="10391406" y="1194205"/>
            <a:ext cx="1456700" cy="341632"/>
          </a:xfrm>
          <a:prstGeom prst="rect">
            <a:avLst/>
          </a:prstGeom>
          <a:noFill/>
        </p:spPr>
        <p:txBody>
          <a:bodyPr wrap="square" lIns="91440" tIns="73152" rIns="91440" bIns="73152" rtlCol="0">
            <a:spAutoFit/>
          </a:bodyPr>
          <a:lstStyle/>
          <a:p>
            <a:pPr marL="0" marR="0" lvl="0" indent="0" defTabSz="914132" eaLnBrk="1" fontAlgn="auto" latinLnBrk="0" hangingPunct="1">
              <a:lnSpc>
                <a:spcPct val="90000"/>
              </a:lnSpc>
              <a:spcBef>
                <a:spcPct val="0"/>
              </a:spcBef>
              <a:spcAft>
                <a:spcPts val="588"/>
              </a:spcAft>
              <a:buClrTx/>
              <a:buSzTx/>
              <a:buFontTx/>
              <a:buNone/>
              <a:tabLst/>
              <a:defRPr/>
            </a:pPr>
            <a:r>
              <a:rPr kumimoji="0" lang="en-US" sz="1400" b="1" i="0" u="none" strike="noStrike" kern="0" cap="none" spc="-29" normalizeH="0" baseline="0" noProof="0" dirty="0">
                <a:ln>
                  <a:noFill/>
                </a:ln>
                <a:solidFill>
                  <a:sysClr val="windowText" lastClr="000000"/>
                </a:solidFill>
                <a:effectLst/>
                <a:uLnTx/>
                <a:uFillTx/>
                <a:ea typeface="MS PGothic" panose="020B0600070205080204" pitchFamily="34" charset="-128"/>
                <a:cs typeface="Segoe UI Semilight" panose="020B0402040204020203" pitchFamily="34" charset="0"/>
              </a:rPr>
              <a:t>Consumption</a:t>
            </a:r>
          </a:p>
        </p:txBody>
      </p:sp>
      <p:sp>
        <p:nvSpPr>
          <p:cNvPr id="102" name="Rectangle 101"/>
          <p:cNvSpPr/>
          <p:nvPr/>
        </p:nvSpPr>
        <p:spPr>
          <a:xfrm>
            <a:off x="10567792" y="3000004"/>
            <a:ext cx="1214522" cy="27698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spAutoFit/>
          </a:bodyPr>
          <a:lstStyle/>
          <a:p>
            <a:pPr marL="0" marR="0" lvl="0" indent="0" algn="ctr" defTabSz="914225"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chemeClr val="tx2"/>
                </a:solidFill>
                <a:effectLst/>
                <a:uLnTx/>
                <a:uFillTx/>
              </a:rPr>
              <a:t>Power BI</a:t>
            </a:r>
          </a:p>
        </p:txBody>
      </p:sp>
      <p:pic>
        <p:nvPicPr>
          <p:cNvPr id="79" name="Graphic 78"/>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473188" y="4941955"/>
            <a:ext cx="448212" cy="448212"/>
          </a:xfrm>
          <a:prstGeom prst="rect">
            <a:avLst/>
          </a:prstGeom>
        </p:spPr>
      </p:pic>
      <p:sp>
        <p:nvSpPr>
          <p:cNvPr id="4" name="Rectangle 3"/>
          <p:cNvSpPr/>
          <p:nvPr/>
        </p:nvSpPr>
        <p:spPr>
          <a:xfrm>
            <a:off x="2243484" y="5406809"/>
            <a:ext cx="907620" cy="276999"/>
          </a:xfrm>
          <a:prstGeom prst="rect">
            <a:avLst/>
          </a:prstGeom>
        </p:spPr>
        <p:txBody>
          <a:bodyPr wrap="none" anchor="ctr">
            <a:spAutoFit/>
          </a:bodyPr>
          <a:lstStyle/>
          <a:p>
            <a:pPr marL="0" marR="0" lvl="0" indent="0" algn="ctr" defTabSz="914225"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chemeClr val="tx2"/>
                </a:solidFill>
                <a:effectLst/>
                <a:uLnTx/>
                <a:uFillTx/>
              </a:rPr>
              <a:t>EventHubs</a:t>
            </a:r>
          </a:p>
        </p:txBody>
      </p:sp>
      <p:pic>
        <p:nvPicPr>
          <p:cNvPr id="10" name="Graphic 9"/>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076755" y="3217405"/>
            <a:ext cx="747021" cy="747021"/>
          </a:xfrm>
          <a:prstGeom prst="rect">
            <a:avLst/>
          </a:prstGeom>
        </p:spPr>
      </p:pic>
      <p:sp>
        <p:nvSpPr>
          <p:cNvPr id="32" name="Title 31"/>
          <p:cNvSpPr>
            <a:spLocks noGrp="1"/>
          </p:cNvSpPr>
          <p:nvPr>
            <p:ph type="title"/>
          </p:nvPr>
        </p:nvSpPr>
        <p:spPr>
          <a:xfrm>
            <a:off x="269240" y="289511"/>
            <a:ext cx="11655840" cy="899665"/>
          </a:xfrm>
        </p:spPr>
        <p:txBody>
          <a:bodyPr/>
          <a:lstStyle/>
          <a:p>
            <a:r>
              <a:rPr lang="en-US" dirty="0"/>
              <a:t>Lambda architecture</a:t>
            </a:r>
          </a:p>
        </p:txBody>
      </p:sp>
      <p:sp>
        <p:nvSpPr>
          <p:cNvPr id="120" name="Rectangle 119"/>
          <p:cNvSpPr/>
          <p:nvPr/>
        </p:nvSpPr>
        <p:spPr>
          <a:xfrm>
            <a:off x="10592016" y="5337769"/>
            <a:ext cx="1166074" cy="2769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spAutoFit/>
          </a:bodyPr>
          <a:lstStyle/>
          <a:p>
            <a:pPr marL="0" marR="0" lvl="0" indent="0" algn="ctr" defTabSz="914225"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chemeClr val="tx2"/>
                </a:solidFill>
                <a:effectLst/>
                <a:uLnTx/>
                <a:uFillTx/>
              </a:rPr>
              <a:t>Web Portals</a:t>
            </a:r>
          </a:p>
        </p:txBody>
      </p:sp>
      <p:sp>
        <p:nvSpPr>
          <p:cNvPr id="48" name="Rectangle 47"/>
          <p:cNvSpPr/>
          <p:nvPr/>
        </p:nvSpPr>
        <p:spPr>
          <a:xfrm>
            <a:off x="254327" y="3839816"/>
            <a:ext cx="1389939" cy="46166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spAutoFit/>
          </a:bodyPr>
          <a:lstStyle/>
          <a:p>
            <a:pPr marL="0" marR="0" lvl="0" indent="0" algn="ctr" defTabSz="914225"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chemeClr val="tx2"/>
                </a:solidFill>
                <a:effectLst/>
                <a:uLnTx/>
                <a:uFillTx/>
              </a:rPr>
              <a:t>Active Incoming Data</a:t>
            </a:r>
          </a:p>
        </p:txBody>
      </p:sp>
      <p:sp>
        <p:nvSpPr>
          <p:cNvPr id="52" name="Rectangle 51"/>
          <p:cNvSpPr/>
          <p:nvPr/>
        </p:nvSpPr>
        <p:spPr>
          <a:xfrm>
            <a:off x="254327" y="2526975"/>
            <a:ext cx="1389939" cy="2769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spAutoFit/>
          </a:bodyPr>
          <a:lstStyle/>
          <a:p>
            <a:pPr marL="0" marR="0" lvl="0" indent="0" algn="ctr" defTabSz="914225"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chemeClr val="tx2"/>
                </a:solidFill>
                <a:effectLst/>
                <a:uLnTx/>
                <a:uFillTx/>
              </a:rPr>
              <a:t>Relational DB</a:t>
            </a:r>
          </a:p>
        </p:txBody>
      </p:sp>
      <p:pic>
        <p:nvPicPr>
          <p:cNvPr id="59" name="Picture 58"/>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2549505" y="5825510"/>
            <a:ext cx="295580" cy="474304"/>
          </a:xfrm>
          <a:prstGeom prst="rect">
            <a:avLst/>
          </a:prstGeom>
        </p:spPr>
      </p:pic>
      <p:sp>
        <p:nvSpPr>
          <p:cNvPr id="67" name="Rectangle 66"/>
          <p:cNvSpPr/>
          <p:nvPr/>
        </p:nvSpPr>
        <p:spPr>
          <a:xfrm>
            <a:off x="2419013" y="6324542"/>
            <a:ext cx="556563" cy="276999"/>
          </a:xfrm>
          <a:prstGeom prst="rect">
            <a:avLst/>
          </a:prstGeom>
        </p:spPr>
        <p:txBody>
          <a:bodyPr wrap="none" anchor="ctr">
            <a:spAutoFit/>
          </a:bodyPr>
          <a:lstStyle/>
          <a:p>
            <a:pPr marL="0" marR="0" lvl="0" indent="0" algn="ctr" defTabSz="914225"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chemeClr val="tx2"/>
                </a:solidFill>
                <a:effectLst/>
                <a:uLnTx/>
                <a:uFillTx/>
              </a:rPr>
              <a:t>Kafka</a:t>
            </a:r>
          </a:p>
        </p:txBody>
      </p:sp>
      <p:sp>
        <p:nvSpPr>
          <p:cNvPr id="98" name="Rectangle 97"/>
          <p:cNvSpPr/>
          <p:nvPr/>
        </p:nvSpPr>
        <p:spPr>
          <a:xfrm>
            <a:off x="472621" y="6344716"/>
            <a:ext cx="953350" cy="2769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p>
            <a:pPr marL="0" marR="0" lvl="0" indent="0" algn="ctr" defTabSz="914225"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chemeClr val="tx2"/>
                </a:solidFill>
                <a:effectLst/>
                <a:uLnTx/>
                <a:uFillTx/>
              </a:rPr>
              <a:t>Event data</a:t>
            </a:r>
          </a:p>
        </p:txBody>
      </p:sp>
      <p:sp>
        <p:nvSpPr>
          <p:cNvPr id="100" name="Rectangle 99"/>
          <p:cNvSpPr/>
          <p:nvPr/>
        </p:nvSpPr>
        <p:spPr>
          <a:xfrm>
            <a:off x="472621" y="5146180"/>
            <a:ext cx="953350" cy="2769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p>
            <a:pPr marL="0" marR="0" lvl="0" indent="0" algn="ctr" defTabSz="914225"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chemeClr val="tx2"/>
                </a:solidFill>
                <a:effectLst/>
                <a:uLnTx/>
                <a:uFillTx/>
              </a:rPr>
              <a:t>Event data</a:t>
            </a:r>
          </a:p>
        </p:txBody>
      </p:sp>
      <p:sp>
        <p:nvSpPr>
          <p:cNvPr id="115" name="Rectangle 114"/>
          <p:cNvSpPr/>
          <p:nvPr/>
        </p:nvSpPr>
        <p:spPr>
          <a:xfrm>
            <a:off x="2028229" y="3701316"/>
            <a:ext cx="1263012" cy="2769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spAutoFit/>
          </a:bodyPr>
          <a:lstStyle/>
          <a:p>
            <a:pPr marL="0" marR="0" lvl="0" indent="0" algn="ctr" defTabSz="914225"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chemeClr val="tx2"/>
                </a:solidFill>
                <a:effectLst/>
                <a:uLnTx/>
                <a:uFillTx/>
              </a:rPr>
              <a:t>On-</a:t>
            </a:r>
            <a:r>
              <a:rPr kumimoji="0" lang="en-US" sz="1200" b="0" i="0" u="none" strike="noStrike" kern="0" cap="none" spc="0" normalizeH="0" baseline="0" noProof="0" dirty="0" err="1">
                <a:ln>
                  <a:noFill/>
                </a:ln>
                <a:solidFill>
                  <a:schemeClr val="tx2"/>
                </a:solidFill>
                <a:effectLst/>
                <a:uLnTx/>
                <a:uFillTx/>
              </a:rPr>
              <a:t>Prem</a:t>
            </a:r>
            <a:r>
              <a:rPr kumimoji="0" lang="en-US" sz="1200" b="0" i="0" u="none" strike="noStrike" kern="0" cap="none" spc="0" normalizeH="0" baseline="0" noProof="0" dirty="0">
                <a:ln>
                  <a:noFill/>
                </a:ln>
                <a:solidFill>
                  <a:schemeClr val="tx2"/>
                </a:solidFill>
                <a:effectLst/>
                <a:uLnTx/>
                <a:uFillTx/>
              </a:rPr>
              <a:t> HDFS</a:t>
            </a:r>
          </a:p>
        </p:txBody>
      </p:sp>
      <p:grpSp>
        <p:nvGrpSpPr>
          <p:cNvPr id="121" name="Group 120"/>
          <p:cNvGrpSpPr/>
          <p:nvPr/>
        </p:nvGrpSpPr>
        <p:grpSpPr>
          <a:xfrm>
            <a:off x="2335140" y="3202836"/>
            <a:ext cx="649191" cy="481231"/>
            <a:chOff x="1358900" y="3878269"/>
            <a:chExt cx="1638300" cy="1214439"/>
          </a:xfrm>
        </p:grpSpPr>
        <p:sp>
          <p:nvSpPr>
            <p:cNvPr id="122" name="Freeform 41"/>
            <p:cNvSpPr>
              <a:spLocks/>
            </p:cNvSpPr>
            <p:nvPr/>
          </p:nvSpPr>
          <p:spPr bwMode="auto">
            <a:xfrm>
              <a:off x="1376363" y="3897315"/>
              <a:ext cx="1606551" cy="1179515"/>
            </a:xfrm>
            <a:custGeom>
              <a:avLst/>
              <a:gdLst>
                <a:gd name="T0" fmla="*/ 5241 w 15187"/>
                <a:gd name="T1" fmla="*/ 9710 h 11142"/>
                <a:gd name="T2" fmla="*/ 5233 w 15187"/>
                <a:gd name="T3" fmla="*/ 9178 h 11142"/>
                <a:gd name="T4" fmla="*/ 4434 w 15187"/>
                <a:gd name="T5" fmla="*/ 9449 h 11142"/>
                <a:gd name="T6" fmla="*/ 3641 w 15187"/>
                <a:gd name="T7" fmla="*/ 11126 h 11142"/>
                <a:gd name="T8" fmla="*/ 1789 w 15187"/>
                <a:gd name="T9" fmla="*/ 10455 h 11142"/>
                <a:gd name="T10" fmla="*/ 1450 w 15187"/>
                <a:gd name="T11" fmla="*/ 9774 h 11142"/>
                <a:gd name="T12" fmla="*/ 225 w 15187"/>
                <a:gd name="T13" fmla="*/ 8805 h 11142"/>
                <a:gd name="T14" fmla="*/ 275 w 15187"/>
                <a:gd name="T15" fmla="*/ 8036 h 11142"/>
                <a:gd name="T16" fmla="*/ 1064 w 15187"/>
                <a:gd name="T17" fmla="*/ 5894 h 11142"/>
                <a:gd name="T18" fmla="*/ 587 w 15187"/>
                <a:gd name="T19" fmla="*/ 5637 h 11142"/>
                <a:gd name="T20" fmla="*/ 0 w 15187"/>
                <a:gd name="T21" fmla="*/ 4241 h 11142"/>
                <a:gd name="T22" fmla="*/ 737 w 15187"/>
                <a:gd name="T23" fmla="*/ 3467 h 11142"/>
                <a:gd name="T24" fmla="*/ 967 w 15187"/>
                <a:gd name="T25" fmla="*/ 3962 h 11142"/>
                <a:gd name="T26" fmla="*/ 1235 w 15187"/>
                <a:gd name="T27" fmla="*/ 4658 h 11142"/>
                <a:gd name="T28" fmla="*/ 2180 w 15187"/>
                <a:gd name="T29" fmla="*/ 3525 h 11142"/>
                <a:gd name="T30" fmla="*/ 4772 w 15187"/>
                <a:gd name="T31" fmla="*/ 2368 h 11142"/>
                <a:gd name="T32" fmla="*/ 4796 w 15187"/>
                <a:gd name="T33" fmla="*/ 2366 h 11142"/>
                <a:gd name="T34" fmla="*/ 5902 w 15187"/>
                <a:gd name="T35" fmla="*/ 1584 h 11142"/>
                <a:gd name="T36" fmla="*/ 7475 w 15187"/>
                <a:gd name="T37" fmla="*/ 320 h 11142"/>
                <a:gd name="T38" fmla="*/ 10463 w 15187"/>
                <a:gd name="T39" fmla="*/ 444 h 11142"/>
                <a:gd name="T40" fmla="*/ 12229 w 15187"/>
                <a:gd name="T41" fmla="*/ 2322 h 11142"/>
                <a:gd name="T42" fmla="*/ 11919 w 15187"/>
                <a:gd name="T43" fmla="*/ 2784 h 11142"/>
                <a:gd name="T44" fmla="*/ 12748 w 15187"/>
                <a:gd name="T45" fmla="*/ 1952 h 11142"/>
                <a:gd name="T46" fmla="*/ 12808 w 15187"/>
                <a:gd name="T47" fmla="*/ 1312 h 11142"/>
                <a:gd name="T48" fmla="*/ 14117 w 15187"/>
                <a:gd name="T49" fmla="*/ 374 h 11142"/>
                <a:gd name="T50" fmla="*/ 15054 w 15187"/>
                <a:gd name="T51" fmla="*/ 1820 h 11142"/>
                <a:gd name="T52" fmla="*/ 15074 w 15187"/>
                <a:gd name="T53" fmla="*/ 4582 h 11142"/>
                <a:gd name="T54" fmla="*/ 13760 w 15187"/>
                <a:gd name="T55" fmla="*/ 6707 h 11142"/>
                <a:gd name="T56" fmla="*/ 11787 w 15187"/>
                <a:gd name="T57" fmla="*/ 6939 h 11142"/>
                <a:gd name="T58" fmla="*/ 11079 w 15187"/>
                <a:gd name="T59" fmla="*/ 7951 h 11142"/>
                <a:gd name="T60" fmla="*/ 9991 w 15187"/>
                <a:gd name="T61" fmla="*/ 7940 h 11142"/>
                <a:gd name="T62" fmla="*/ 9225 w 15187"/>
                <a:gd name="T63" fmla="*/ 7666 h 11142"/>
                <a:gd name="T64" fmla="*/ 9246 w 15187"/>
                <a:gd name="T65" fmla="*/ 7826 h 11142"/>
                <a:gd name="T66" fmla="*/ 9561 w 15187"/>
                <a:gd name="T67" fmla="*/ 8267 h 11142"/>
                <a:gd name="T68" fmla="*/ 9893 w 15187"/>
                <a:gd name="T69" fmla="*/ 9776 h 11142"/>
                <a:gd name="T70" fmla="*/ 9523 w 15187"/>
                <a:gd name="T71" fmla="*/ 10699 h 11142"/>
                <a:gd name="T72" fmla="*/ 8033 w 15187"/>
                <a:gd name="T73" fmla="*/ 10573 h 11142"/>
                <a:gd name="T74" fmla="*/ 7942 w 15187"/>
                <a:gd name="T75" fmla="*/ 10378 h 11142"/>
                <a:gd name="T76" fmla="*/ 7218 w 15187"/>
                <a:gd name="T77" fmla="*/ 10650 h 11142"/>
                <a:gd name="T78" fmla="*/ 5285 w 15187"/>
                <a:gd name="T79" fmla="*/ 10028 h 11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5187" h="11142">
                  <a:moveTo>
                    <a:pt x="5285" y="10028"/>
                  </a:moveTo>
                  <a:lnTo>
                    <a:pt x="5241" y="9710"/>
                  </a:lnTo>
                  <a:lnTo>
                    <a:pt x="5370" y="9432"/>
                  </a:lnTo>
                  <a:lnTo>
                    <a:pt x="5233" y="9178"/>
                  </a:lnTo>
                  <a:lnTo>
                    <a:pt x="4621" y="9040"/>
                  </a:lnTo>
                  <a:lnTo>
                    <a:pt x="4434" y="9449"/>
                  </a:lnTo>
                  <a:lnTo>
                    <a:pt x="3963" y="10867"/>
                  </a:lnTo>
                  <a:lnTo>
                    <a:pt x="3641" y="11126"/>
                  </a:lnTo>
                  <a:lnTo>
                    <a:pt x="2596" y="10940"/>
                  </a:lnTo>
                  <a:lnTo>
                    <a:pt x="1789" y="10455"/>
                  </a:lnTo>
                  <a:lnTo>
                    <a:pt x="1960" y="9717"/>
                  </a:lnTo>
                  <a:lnTo>
                    <a:pt x="1450" y="9774"/>
                  </a:lnTo>
                  <a:lnTo>
                    <a:pt x="575" y="9268"/>
                  </a:lnTo>
                  <a:lnTo>
                    <a:pt x="225" y="8805"/>
                  </a:lnTo>
                  <a:lnTo>
                    <a:pt x="214" y="8787"/>
                  </a:lnTo>
                  <a:lnTo>
                    <a:pt x="275" y="8036"/>
                  </a:lnTo>
                  <a:lnTo>
                    <a:pt x="1041" y="7093"/>
                  </a:lnTo>
                  <a:lnTo>
                    <a:pt x="1064" y="5894"/>
                  </a:lnTo>
                  <a:lnTo>
                    <a:pt x="902" y="5720"/>
                  </a:lnTo>
                  <a:lnTo>
                    <a:pt x="587" y="5637"/>
                  </a:lnTo>
                  <a:lnTo>
                    <a:pt x="95" y="4814"/>
                  </a:lnTo>
                  <a:lnTo>
                    <a:pt x="0" y="4241"/>
                  </a:lnTo>
                  <a:lnTo>
                    <a:pt x="725" y="3473"/>
                  </a:lnTo>
                  <a:lnTo>
                    <a:pt x="737" y="3467"/>
                  </a:lnTo>
                  <a:lnTo>
                    <a:pt x="1357" y="3094"/>
                  </a:lnTo>
                  <a:lnTo>
                    <a:pt x="967" y="3962"/>
                  </a:lnTo>
                  <a:lnTo>
                    <a:pt x="958" y="4542"/>
                  </a:lnTo>
                  <a:lnTo>
                    <a:pt x="1235" y="4658"/>
                  </a:lnTo>
                  <a:lnTo>
                    <a:pt x="1557" y="4271"/>
                  </a:lnTo>
                  <a:lnTo>
                    <a:pt x="2180" y="3525"/>
                  </a:lnTo>
                  <a:lnTo>
                    <a:pt x="3357" y="2764"/>
                  </a:lnTo>
                  <a:lnTo>
                    <a:pt x="4772" y="2368"/>
                  </a:lnTo>
                  <a:lnTo>
                    <a:pt x="4775" y="2368"/>
                  </a:lnTo>
                  <a:lnTo>
                    <a:pt x="4796" y="2366"/>
                  </a:lnTo>
                  <a:lnTo>
                    <a:pt x="5235" y="2245"/>
                  </a:lnTo>
                  <a:lnTo>
                    <a:pt x="5902" y="1584"/>
                  </a:lnTo>
                  <a:lnTo>
                    <a:pt x="6314" y="1487"/>
                  </a:lnTo>
                  <a:lnTo>
                    <a:pt x="7475" y="320"/>
                  </a:lnTo>
                  <a:lnTo>
                    <a:pt x="9153" y="0"/>
                  </a:lnTo>
                  <a:lnTo>
                    <a:pt x="10463" y="444"/>
                  </a:lnTo>
                  <a:lnTo>
                    <a:pt x="11733" y="1687"/>
                  </a:lnTo>
                  <a:lnTo>
                    <a:pt x="12229" y="2322"/>
                  </a:lnTo>
                  <a:lnTo>
                    <a:pt x="12086" y="2641"/>
                  </a:lnTo>
                  <a:lnTo>
                    <a:pt x="11919" y="2784"/>
                  </a:lnTo>
                  <a:lnTo>
                    <a:pt x="12928" y="3514"/>
                  </a:lnTo>
                  <a:lnTo>
                    <a:pt x="12748" y="1952"/>
                  </a:lnTo>
                  <a:lnTo>
                    <a:pt x="12797" y="1323"/>
                  </a:lnTo>
                  <a:lnTo>
                    <a:pt x="12808" y="1312"/>
                  </a:lnTo>
                  <a:lnTo>
                    <a:pt x="14099" y="374"/>
                  </a:lnTo>
                  <a:lnTo>
                    <a:pt x="14117" y="374"/>
                  </a:lnTo>
                  <a:lnTo>
                    <a:pt x="14715" y="690"/>
                  </a:lnTo>
                  <a:lnTo>
                    <a:pt x="15054" y="1820"/>
                  </a:lnTo>
                  <a:lnTo>
                    <a:pt x="15187" y="2929"/>
                  </a:lnTo>
                  <a:lnTo>
                    <a:pt x="15074" y="4582"/>
                  </a:lnTo>
                  <a:lnTo>
                    <a:pt x="14612" y="5722"/>
                  </a:lnTo>
                  <a:lnTo>
                    <a:pt x="13760" y="6707"/>
                  </a:lnTo>
                  <a:lnTo>
                    <a:pt x="12558" y="7029"/>
                  </a:lnTo>
                  <a:lnTo>
                    <a:pt x="11787" y="6939"/>
                  </a:lnTo>
                  <a:lnTo>
                    <a:pt x="11439" y="7550"/>
                  </a:lnTo>
                  <a:lnTo>
                    <a:pt x="11079" y="7951"/>
                  </a:lnTo>
                  <a:lnTo>
                    <a:pt x="10469" y="8057"/>
                  </a:lnTo>
                  <a:lnTo>
                    <a:pt x="9991" y="7940"/>
                  </a:lnTo>
                  <a:lnTo>
                    <a:pt x="9483" y="7596"/>
                  </a:lnTo>
                  <a:lnTo>
                    <a:pt x="9225" y="7666"/>
                  </a:lnTo>
                  <a:lnTo>
                    <a:pt x="9222" y="7674"/>
                  </a:lnTo>
                  <a:lnTo>
                    <a:pt x="9246" y="7826"/>
                  </a:lnTo>
                  <a:lnTo>
                    <a:pt x="9489" y="8150"/>
                  </a:lnTo>
                  <a:lnTo>
                    <a:pt x="9561" y="8267"/>
                  </a:lnTo>
                  <a:lnTo>
                    <a:pt x="9838" y="8848"/>
                  </a:lnTo>
                  <a:lnTo>
                    <a:pt x="9893" y="9776"/>
                  </a:lnTo>
                  <a:lnTo>
                    <a:pt x="10032" y="10435"/>
                  </a:lnTo>
                  <a:lnTo>
                    <a:pt x="9523" y="10699"/>
                  </a:lnTo>
                  <a:lnTo>
                    <a:pt x="8339" y="10696"/>
                  </a:lnTo>
                  <a:lnTo>
                    <a:pt x="8033" y="10573"/>
                  </a:lnTo>
                  <a:lnTo>
                    <a:pt x="8018" y="10556"/>
                  </a:lnTo>
                  <a:lnTo>
                    <a:pt x="7942" y="10378"/>
                  </a:lnTo>
                  <a:lnTo>
                    <a:pt x="7674" y="10271"/>
                  </a:lnTo>
                  <a:lnTo>
                    <a:pt x="7218" y="10650"/>
                  </a:lnTo>
                  <a:lnTo>
                    <a:pt x="6386" y="11142"/>
                  </a:lnTo>
                  <a:lnTo>
                    <a:pt x="5285" y="10028"/>
                  </a:lnTo>
                  <a:close/>
                </a:path>
              </a:pathLst>
            </a:custGeom>
            <a:solidFill>
              <a:srgbClr val="FAD11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ctr"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chemeClr val="tx2"/>
                </a:solidFill>
                <a:effectLst/>
                <a:uLnTx/>
                <a:uFillTx/>
              </a:endParaRPr>
            </a:p>
          </p:txBody>
        </p:sp>
        <p:sp>
          <p:nvSpPr>
            <p:cNvPr id="123" name="Freeform 42"/>
            <p:cNvSpPr>
              <a:spLocks/>
            </p:cNvSpPr>
            <p:nvPr/>
          </p:nvSpPr>
          <p:spPr bwMode="auto">
            <a:xfrm>
              <a:off x="1376363" y="4618040"/>
              <a:ext cx="246061" cy="330199"/>
            </a:xfrm>
            <a:custGeom>
              <a:avLst/>
              <a:gdLst>
                <a:gd name="T0" fmla="*/ 363 w 2335"/>
                <a:gd name="T1" fmla="*/ 2397 h 3120"/>
                <a:gd name="T2" fmla="*/ 250 w 2335"/>
                <a:gd name="T3" fmla="*/ 2251 h 3120"/>
                <a:gd name="T4" fmla="*/ 168 w 2335"/>
                <a:gd name="T5" fmla="*/ 2133 h 3120"/>
                <a:gd name="T6" fmla="*/ 122 w 2335"/>
                <a:gd name="T7" fmla="*/ 2060 h 3120"/>
                <a:gd name="T8" fmla="*/ 40 w 2335"/>
                <a:gd name="T9" fmla="*/ 1892 h 3120"/>
                <a:gd name="T10" fmla="*/ 5 w 2335"/>
                <a:gd name="T11" fmla="*/ 1733 h 3120"/>
                <a:gd name="T12" fmla="*/ 3 w 2335"/>
                <a:gd name="T13" fmla="*/ 1613 h 3120"/>
                <a:gd name="T14" fmla="*/ 20 w 2335"/>
                <a:gd name="T15" fmla="*/ 1485 h 3120"/>
                <a:gd name="T16" fmla="*/ 63 w 2335"/>
                <a:gd name="T17" fmla="*/ 1347 h 3120"/>
                <a:gd name="T18" fmla="*/ 136 w 2335"/>
                <a:gd name="T19" fmla="*/ 1200 h 3120"/>
                <a:gd name="T20" fmla="*/ 264 w 2335"/>
                <a:gd name="T21" fmla="*/ 1014 h 3120"/>
                <a:gd name="T22" fmla="*/ 411 w 2335"/>
                <a:gd name="T23" fmla="*/ 815 h 3120"/>
                <a:gd name="T24" fmla="*/ 625 w 2335"/>
                <a:gd name="T25" fmla="*/ 551 h 3120"/>
                <a:gd name="T26" fmla="*/ 1110 w 2335"/>
                <a:gd name="T27" fmla="*/ 0 h 3120"/>
                <a:gd name="T28" fmla="*/ 1021 w 2335"/>
                <a:gd name="T29" fmla="*/ 632 h 3120"/>
                <a:gd name="T30" fmla="*/ 993 w 2335"/>
                <a:gd name="T31" fmla="*/ 666 h 3120"/>
                <a:gd name="T32" fmla="*/ 940 w 2335"/>
                <a:gd name="T33" fmla="*/ 730 h 3120"/>
                <a:gd name="T34" fmla="*/ 868 w 2335"/>
                <a:gd name="T35" fmla="*/ 815 h 3120"/>
                <a:gd name="T36" fmla="*/ 691 w 2335"/>
                <a:gd name="T37" fmla="*/ 1029 h 3120"/>
                <a:gd name="T38" fmla="*/ 507 w 2335"/>
                <a:gd name="T39" fmla="*/ 1258 h 3120"/>
                <a:gd name="T40" fmla="*/ 412 w 2335"/>
                <a:gd name="T41" fmla="*/ 1397 h 3120"/>
                <a:gd name="T42" fmla="*/ 370 w 2335"/>
                <a:gd name="T43" fmla="*/ 1498 h 3120"/>
                <a:gd name="T44" fmla="*/ 350 w 2335"/>
                <a:gd name="T45" fmla="*/ 1587 h 3120"/>
                <a:gd name="T46" fmla="*/ 358 w 2335"/>
                <a:gd name="T47" fmla="*/ 1709 h 3120"/>
                <a:gd name="T48" fmla="*/ 390 w 2335"/>
                <a:gd name="T49" fmla="*/ 1792 h 3120"/>
                <a:gd name="T50" fmla="*/ 401 w 2335"/>
                <a:gd name="T51" fmla="*/ 1809 h 3120"/>
                <a:gd name="T52" fmla="*/ 404 w 2335"/>
                <a:gd name="T53" fmla="*/ 1813 h 3120"/>
                <a:gd name="T54" fmla="*/ 418 w 2335"/>
                <a:gd name="T55" fmla="*/ 1833 h 3120"/>
                <a:gd name="T56" fmla="*/ 460 w 2335"/>
                <a:gd name="T57" fmla="*/ 1895 h 3120"/>
                <a:gd name="T58" fmla="*/ 555 w 2335"/>
                <a:gd name="T59" fmla="*/ 2020 h 3120"/>
                <a:gd name="T60" fmla="*/ 684 w 2335"/>
                <a:gd name="T61" fmla="*/ 2179 h 3120"/>
                <a:gd name="T62" fmla="*/ 839 w 2335"/>
                <a:gd name="T63" fmla="*/ 2347 h 3120"/>
                <a:gd name="T64" fmla="*/ 1011 w 2335"/>
                <a:gd name="T65" fmla="*/ 2505 h 3120"/>
                <a:gd name="T66" fmla="*/ 1192 w 2335"/>
                <a:gd name="T67" fmla="*/ 2631 h 3120"/>
                <a:gd name="T68" fmla="*/ 1329 w 2335"/>
                <a:gd name="T69" fmla="*/ 2693 h 3120"/>
                <a:gd name="T70" fmla="*/ 1418 w 2335"/>
                <a:gd name="T71" fmla="*/ 2712 h 3120"/>
                <a:gd name="T72" fmla="*/ 1581 w 2335"/>
                <a:gd name="T73" fmla="*/ 2713 h 3120"/>
                <a:gd name="T74" fmla="*/ 1680 w 2335"/>
                <a:gd name="T75" fmla="*/ 2691 h 3120"/>
                <a:gd name="T76" fmla="*/ 1771 w 2335"/>
                <a:gd name="T77" fmla="*/ 2642 h 3120"/>
                <a:gd name="T78" fmla="*/ 1875 w 2335"/>
                <a:gd name="T79" fmla="*/ 2556 h 3120"/>
                <a:gd name="T80" fmla="*/ 2029 w 2335"/>
                <a:gd name="T81" fmla="*/ 2386 h 3120"/>
                <a:gd name="T82" fmla="*/ 2173 w 2335"/>
                <a:gd name="T83" fmla="*/ 2220 h 3120"/>
                <a:gd name="T84" fmla="*/ 2241 w 2335"/>
                <a:gd name="T85" fmla="*/ 2559 h 3120"/>
                <a:gd name="T86" fmla="*/ 2212 w 2335"/>
                <a:gd name="T87" fmla="*/ 2604 h 3120"/>
                <a:gd name="T88" fmla="*/ 2146 w 2335"/>
                <a:gd name="T89" fmla="*/ 2704 h 3120"/>
                <a:gd name="T90" fmla="*/ 2018 w 2335"/>
                <a:gd name="T91" fmla="*/ 2865 h 3120"/>
                <a:gd name="T92" fmla="*/ 1842 w 2335"/>
                <a:gd name="T93" fmla="*/ 3013 h 3120"/>
                <a:gd name="T94" fmla="*/ 1737 w 2335"/>
                <a:gd name="T95" fmla="*/ 3069 h 3120"/>
                <a:gd name="T96" fmla="*/ 1634 w 2335"/>
                <a:gd name="T97" fmla="*/ 3107 h 3120"/>
                <a:gd name="T98" fmla="*/ 1540 w 2335"/>
                <a:gd name="T99" fmla="*/ 3119 h 3120"/>
                <a:gd name="T100" fmla="*/ 1404 w 2335"/>
                <a:gd name="T101" fmla="*/ 3115 h 3120"/>
                <a:gd name="T102" fmla="*/ 1285 w 2335"/>
                <a:gd name="T103" fmla="*/ 3093 h 3120"/>
                <a:gd name="T104" fmla="*/ 1162 w 2335"/>
                <a:gd name="T105" fmla="*/ 3053 h 3120"/>
                <a:gd name="T106" fmla="*/ 1038 w 2335"/>
                <a:gd name="T107" fmla="*/ 2997 h 3120"/>
                <a:gd name="T108" fmla="*/ 912 w 2335"/>
                <a:gd name="T109" fmla="*/ 2922 h 3120"/>
                <a:gd name="T110" fmla="*/ 784 w 2335"/>
                <a:gd name="T111" fmla="*/ 2830 h 3120"/>
                <a:gd name="T112" fmla="*/ 656 w 2335"/>
                <a:gd name="T113" fmla="*/ 2721 h 3120"/>
                <a:gd name="T114" fmla="*/ 528 w 2335"/>
                <a:gd name="T115" fmla="*/ 2593 h 3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335" h="3120">
                  <a:moveTo>
                    <a:pt x="496" y="2559"/>
                  </a:moveTo>
                  <a:lnTo>
                    <a:pt x="427" y="2478"/>
                  </a:lnTo>
                  <a:lnTo>
                    <a:pt x="395" y="2437"/>
                  </a:lnTo>
                  <a:lnTo>
                    <a:pt x="363" y="2397"/>
                  </a:lnTo>
                  <a:lnTo>
                    <a:pt x="333" y="2359"/>
                  </a:lnTo>
                  <a:lnTo>
                    <a:pt x="304" y="2322"/>
                  </a:lnTo>
                  <a:lnTo>
                    <a:pt x="276" y="2286"/>
                  </a:lnTo>
                  <a:lnTo>
                    <a:pt x="250" y="2251"/>
                  </a:lnTo>
                  <a:lnTo>
                    <a:pt x="227" y="2218"/>
                  </a:lnTo>
                  <a:lnTo>
                    <a:pt x="205" y="2188"/>
                  </a:lnTo>
                  <a:lnTo>
                    <a:pt x="185" y="2159"/>
                  </a:lnTo>
                  <a:lnTo>
                    <a:pt x="168" y="2133"/>
                  </a:lnTo>
                  <a:lnTo>
                    <a:pt x="152" y="2111"/>
                  </a:lnTo>
                  <a:lnTo>
                    <a:pt x="140" y="2090"/>
                  </a:lnTo>
                  <a:lnTo>
                    <a:pt x="130" y="2074"/>
                  </a:lnTo>
                  <a:lnTo>
                    <a:pt x="122" y="2060"/>
                  </a:lnTo>
                  <a:lnTo>
                    <a:pt x="100" y="2023"/>
                  </a:lnTo>
                  <a:lnTo>
                    <a:pt x="77" y="1983"/>
                  </a:lnTo>
                  <a:lnTo>
                    <a:pt x="57" y="1939"/>
                  </a:lnTo>
                  <a:lnTo>
                    <a:pt x="40" y="1892"/>
                  </a:lnTo>
                  <a:lnTo>
                    <a:pt x="24" y="1842"/>
                  </a:lnTo>
                  <a:lnTo>
                    <a:pt x="13" y="1789"/>
                  </a:lnTo>
                  <a:lnTo>
                    <a:pt x="9" y="1762"/>
                  </a:lnTo>
                  <a:lnTo>
                    <a:pt x="5" y="1733"/>
                  </a:lnTo>
                  <a:lnTo>
                    <a:pt x="3" y="1704"/>
                  </a:lnTo>
                  <a:lnTo>
                    <a:pt x="1" y="1675"/>
                  </a:lnTo>
                  <a:lnTo>
                    <a:pt x="0" y="1644"/>
                  </a:lnTo>
                  <a:lnTo>
                    <a:pt x="3" y="1613"/>
                  </a:lnTo>
                  <a:lnTo>
                    <a:pt x="5" y="1582"/>
                  </a:lnTo>
                  <a:lnTo>
                    <a:pt x="9" y="1549"/>
                  </a:lnTo>
                  <a:lnTo>
                    <a:pt x="14" y="1518"/>
                  </a:lnTo>
                  <a:lnTo>
                    <a:pt x="20" y="1485"/>
                  </a:lnTo>
                  <a:lnTo>
                    <a:pt x="28" y="1451"/>
                  </a:lnTo>
                  <a:lnTo>
                    <a:pt x="39" y="1417"/>
                  </a:lnTo>
                  <a:lnTo>
                    <a:pt x="50" y="1382"/>
                  </a:lnTo>
                  <a:lnTo>
                    <a:pt x="63" y="1347"/>
                  </a:lnTo>
                  <a:lnTo>
                    <a:pt x="79" y="1310"/>
                  </a:lnTo>
                  <a:lnTo>
                    <a:pt x="95" y="1274"/>
                  </a:lnTo>
                  <a:lnTo>
                    <a:pt x="115" y="1237"/>
                  </a:lnTo>
                  <a:lnTo>
                    <a:pt x="136" y="1200"/>
                  </a:lnTo>
                  <a:lnTo>
                    <a:pt x="158" y="1163"/>
                  </a:lnTo>
                  <a:lnTo>
                    <a:pt x="184" y="1125"/>
                  </a:lnTo>
                  <a:lnTo>
                    <a:pt x="224" y="1068"/>
                  </a:lnTo>
                  <a:lnTo>
                    <a:pt x="264" y="1014"/>
                  </a:lnTo>
                  <a:lnTo>
                    <a:pt x="302" y="961"/>
                  </a:lnTo>
                  <a:lnTo>
                    <a:pt x="339" y="911"/>
                  </a:lnTo>
                  <a:lnTo>
                    <a:pt x="375" y="861"/>
                  </a:lnTo>
                  <a:lnTo>
                    <a:pt x="411" y="815"/>
                  </a:lnTo>
                  <a:lnTo>
                    <a:pt x="447" y="769"/>
                  </a:lnTo>
                  <a:lnTo>
                    <a:pt x="483" y="723"/>
                  </a:lnTo>
                  <a:lnTo>
                    <a:pt x="554" y="637"/>
                  </a:lnTo>
                  <a:lnTo>
                    <a:pt x="625" y="551"/>
                  </a:lnTo>
                  <a:lnTo>
                    <a:pt x="699" y="465"/>
                  </a:lnTo>
                  <a:lnTo>
                    <a:pt x="738" y="422"/>
                  </a:lnTo>
                  <a:lnTo>
                    <a:pt x="776" y="377"/>
                  </a:lnTo>
                  <a:lnTo>
                    <a:pt x="1110" y="0"/>
                  </a:lnTo>
                  <a:lnTo>
                    <a:pt x="1277" y="433"/>
                  </a:lnTo>
                  <a:lnTo>
                    <a:pt x="1026" y="627"/>
                  </a:lnTo>
                  <a:lnTo>
                    <a:pt x="1025" y="628"/>
                  </a:lnTo>
                  <a:lnTo>
                    <a:pt x="1021" y="632"/>
                  </a:lnTo>
                  <a:lnTo>
                    <a:pt x="1017" y="637"/>
                  </a:lnTo>
                  <a:lnTo>
                    <a:pt x="1011" y="645"/>
                  </a:lnTo>
                  <a:lnTo>
                    <a:pt x="1003" y="654"/>
                  </a:lnTo>
                  <a:lnTo>
                    <a:pt x="993" y="666"/>
                  </a:lnTo>
                  <a:lnTo>
                    <a:pt x="981" y="679"/>
                  </a:lnTo>
                  <a:lnTo>
                    <a:pt x="969" y="695"/>
                  </a:lnTo>
                  <a:lnTo>
                    <a:pt x="954" y="711"/>
                  </a:lnTo>
                  <a:lnTo>
                    <a:pt x="940" y="730"/>
                  </a:lnTo>
                  <a:lnTo>
                    <a:pt x="923" y="749"/>
                  </a:lnTo>
                  <a:lnTo>
                    <a:pt x="906" y="770"/>
                  </a:lnTo>
                  <a:lnTo>
                    <a:pt x="887" y="792"/>
                  </a:lnTo>
                  <a:lnTo>
                    <a:pt x="868" y="815"/>
                  </a:lnTo>
                  <a:lnTo>
                    <a:pt x="827" y="864"/>
                  </a:lnTo>
                  <a:lnTo>
                    <a:pt x="783" y="917"/>
                  </a:lnTo>
                  <a:lnTo>
                    <a:pt x="738" y="973"/>
                  </a:lnTo>
                  <a:lnTo>
                    <a:pt x="691" y="1029"/>
                  </a:lnTo>
                  <a:lnTo>
                    <a:pt x="645" y="1087"/>
                  </a:lnTo>
                  <a:lnTo>
                    <a:pt x="597" y="1145"/>
                  </a:lnTo>
                  <a:lnTo>
                    <a:pt x="552" y="1202"/>
                  </a:lnTo>
                  <a:lnTo>
                    <a:pt x="507" y="1258"/>
                  </a:lnTo>
                  <a:lnTo>
                    <a:pt x="465" y="1313"/>
                  </a:lnTo>
                  <a:lnTo>
                    <a:pt x="445" y="1341"/>
                  </a:lnTo>
                  <a:lnTo>
                    <a:pt x="428" y="1369"/>
                  </a:lnTo>
                  <a:lnTo>
                    <a:pt x="412" y="1397"/>
                  </a:lnTo>
                  <a:lnTo>
                    <a:pt x="399" y="1423"/>
                  </a:lnTo>
                  <a:lnTo>
                    <a:pt x="388" y="1448"/>
                  </a:lnTo>
                  <a:lnTo>
                    <a:pt x="378" y="1474"/>
                  </a:lnTo>
                  <a:lnTo>
                    <a:pt x="370" y="1498"/>
                  </a:lnTo>
                  <a:lnTo>
                    <a:pt x="363" y="1522"/>
                  </a:lnTo>
                  <a:lnTo>
                    <a:pt x="358" y="1544"/>
                  </a:lnTo>
                  <a:lnTo>
                    <a:pt x="354" y="1566"/>
                  </a:lnTo>
                  <a:lnTo>
                    <a:pt x="350" y="1587"/>
                  </a:lnTo>
                  <a:lnTo>
                    <a:pt x="349" y="1607"/>
                  </a:lnTo>
                  <a:lnTo>
                    <a:pt x="348" y="1644"/>
                  </a:lnTo>
                  <a:lnTo>
                    <a:pt x="351" y="1678"/>
                  </a:lnTo>
                  <a:lnTo>
                    <a:pt x="358" y="1709"/>
                  </a:lnTo>
                  <a:lnTo>
                    <a:pt x="365" y="1735"/>
                  </a:lnTo>
                  <a:lnTo>
                    <a:pt x="373" y="1758"/>
                  </a:lnTo>
                  <a:lnTo>
                    <a:pt x="381" y="1777"/>
                  </a:lnTo>
                  <a:lnTo>
                    <a:pt x="390" y="1792"/>
                  </a:lnTo>
                  <a:lnTo>
                    <a:pt x="393" y="1798"/>
                  </a:lnTo>
                  <a:lnTo>
                    <a:pt x="396" y="1802"/>
                  </a:lnTo>
                  <a:lnTo>
                    <a:pt x="399" y="1806"/>
                  </a:lnTo>
                  <a:lnTo>
                    <a:pt x="401" y="1809"/>
                  </a:lnTo>
                  <a:lnTo>
                    <a:pt x="402" y="1810"/>
                  </a:lnTo>
                  <a:lnTo>
                    <a:pt x="402" y="1811"/>
                  </a:lnTo>
                  <a:lnTo>
                    <a:pt x="403" y="1811"/>
                  </a:lnTo>
                  <a:lnTo>
                    <a:pt x="404" y="1813"/>
                  </a:lnTo>
                  <a:lnTo>
                    <a:pt x="406" y="1816"/>
                  </a:lnTo>
                  <a:lnTo>
                    <a:pt x="409" y="1821"/>
                  </a:lnTo>
                  <a:lnTo>
                    <a:pt x="413" y="1827"/>
                  </a:lnTo>
                  <a:lnTo>
                    <a:pt x="418" y="1833"/>
                  </a:lnTo>
                  <a:lnTo>
                    <a:pt x="423" y="1841"/>
                  </a:lnTo>
                  <a:lnTo>
                    <a:pt x="429" y="1849"/>
                  </a:lnTo>
                  <a:lnTo>
                    <a:pt x="443" y="1870"/>
                  </a:lnTo>
                  <a:lnTo>
                    <a:pt x="460" y="1895"/>
                  </a:lnTo>
                  <a:lnTo>
                    <a:pt x="480" y="1921"/>
                  </a:lnTo>
                  <a:lnTo>
                    <a:pt x="502" y="1952"/>
                  </a:lnTo>
                  <a:lnTo>
                    <a:pt x="528" y="1985"/>
                  </a:lnTo>
                  <a:lnTo>
                    <a:pt x="555" y="2020"/>
                  </a:lnTo>
                  <a:lnTo>
                    <a:pt x="584" y="2058"/>
                  </a:lnTo>
                  <a:lnTo>
                    <a:pt x="616" y="2096"/>
                  </a:lnTo>
                  <a:lnTo>
                    <a:pt x="649" y="2138"/>
                  </a:lnTo>
                  <a:lnTo>
                    <a:pt x="684" y="2179"/>
                  </a:lnTo>
                  <a:lnTo>
                    <a:pt x="720" y="2220"/>
                  </a:lnTo>
                  <a:lnTo>
                    <a:pt x="758" y="2263"/>
                  </a:lnTo>
                  <a:lnTo>
                    <a:pt x="797" y="2305"/>
                  </a:lnTo>
                  <a:lnTo>
                    <a:pt x="839" y="2347"/>
                  </a:lnTo>
                  <a:lnTo>
                    <a:pt x="880" y="2388"/>
                  </a:lnTo>
                  <a:lnTo>
                    <a:pt x="922" y="2429"/>
                  </a:lnTo>
                  <a:lnTo>
                    <a:pt x="967" y="2468"/>
                  </a:lnTo>
                  <a:lnTo>
                    <a:pt x="1011" y="2505"/>
                  </a:lnTo>
                  <a:lnTo>
                    <a:pt x="1055" y="2540"/>
                  </a:lnTo>
                  <a:lnTo>
                    <a:pt x="1101" y="2573"/>
                  </a:lnTo>
                  <a:lnTo>
                    <a:pt x="1146" y="2604"/>
                  </a:lnTo>
                  <a:lnTo>
                    <a:pt x="1192" y="2631"/>
                  </a:lnTo>
                  <a:lnTo>
                    <a:pt x="1237" y="2656"/>
                  </a:lnTo>
                  <a:lnTo>
                    <a:pt x="1284" y="2676"/>
                  </a:lnTo>
                  <a:lnTo>
                    <a:pt x="1306" y="2685"/>
                  </a:lnTo>
                  <a:lnTo>
                    <a:pt x="1329" y="2693"/>
                  </a:lnTo>
                  <a:lnTo>
                    <a:pt x="1351" y="2699"/>
                  </a:lnTo>
                  <a:lnTo>
                    <a:pt x="1373" y="2704"/>
                  </a:lnTo>
                  <a:lnTo>
                    <a:pt x="1396" y="2709"/>
                  </a:lnTo>
                  <a:lnTo>
                    <a:pt x="1418" y="2712"/>
                  </a:lnTo>
                  <a:lnTo>
                    <a:pt x="1441" y="2714"/>
                  </a:lnTo>
                  <a:lnTo>
                    <a:pt x="1462" y="2714"/>
                  </a:lnTo>
                  <a:lnTo>
                    <a:pt x="1555" y="2714"/>
                  </a:lnTo>
                  <a:lnTo>
                    <a:pt x="1581" y="2713"/>
                  </a:lnTo>
                  <a:lnTo>
                    <a:pt x="1607" y="2710"/>
                  </a:lnTo>
                  <a:lnTo>
                    <a:pt x="1632" y="2706"/>
                  </a:lnTo>
                  <a:lnTo>
                    <a:pt x="1656" y="2699"/>
                  </a:lnTo>
                  <a:lnTo>
                    <a:pt x="1680" y="2691"/>
                  </a:lnTo>
                  <a:lnTo>
                    <a:pt x="1704" y="2681"/>
                  </a:lnTo>
                  <a:lnTo>
                    <a:pt x="1727" y="2669"/>
                  </a:lnTo>
                  <a:lnTo>
                    <a:pt x="1749" y="2657"/>
                  </a:lnTo>
                  <a:lnTo>
                    <a:pt x="1771" y="2642"/>
                  </a:lnTo>
                  <a:lnTo>
                    <a:pt x="1793" y="2628"/>
                  </a:lnTo>
                  <a:lnTo>
                    <a:pt x="1814" y="2611"/>
                  </a:lnTo>
                  <a:lnTo>
                    <a:pt x="1835" y="2594"/>
                  </a:lnTo>
                  <a:lnTo>
                    <a:pt x="1875" y="2556"/>
                  </a:lnTo>
                  <a:lnTo>
                    <a:pt x="1915" y="2516"/>
                  </a:lnTo>
                  <a:lnTo>
                    <a:pt x="1954" y="2473"/>
                  </a:lnTo>
                  <a:lnTo>
                    <a:pt x="1992" y="2430"/>
                  </a:lnTo>
                  <a:lnTo>
                    <a:pt x="2029" y="2386"/>
                  </a:lnTo>
                  <a:lnTo>
                    <a:pt x="2065" y="2343"/>
                  </a:lnTo>
                  <a:lnTo>
                    <a:pt x="2101" y="2299"/>
                  </a:lnTo>
                  <a:lnTo>
                    <a:pt x="2137" y="2258"/>
                  </a:lnTo>
                  <a:lnTo>
                    <a:pt x="2173" y="2220"/>
                  </a:lnTo>
                  <a:lnTo>
                    <a:pt x="2192" y="2202"/>
                  </a:lnTo>
                  <a:lnTo>
                    <a:pt x="2210" y="2185"/>
                  </a:lnTo>
                  <a:lnTo>
                    <a:pt x="2335" y="2371"/>
                  </a:lnTo>
                  <a:lnTo>
                    <a:pt x="2241" y="2559"/>
                  </a:lnTo>
                  <a:lnTo>
                    <a:pt x="2234" y="2568"/>
                  </a:lnTo>
                  <a:lnTo>
                    <a:pt x="2228" y="2579"/>
                  </a:lnTo>
                  <a:lnTo>
                    <a:pt x="2220" y="2591"/>
                  </a:lnTo>
                  <a:lnTo>
                    <a:pt x="2212" y="2604"/>
                  </a:lnTo>
                  <a:lnTo>
                    <a:pt x="2202" y="2619"/>
                  </a:lnTo>
                  <a:lnTo>
                    <a:pt x="2193" y="2634"/>
                  </a:lnTo>
                  <a:lnTo>
                    <a:pt x="2171" y="2668"/>
                  </a:lnTo>
                  <a:lnTo>
                    <a:pt x="2146" y="2704"/>
                  </a:lnTo>
                  <a:lnTo>
                    <a:pt x="2119" y="2743"/>
                  </a:lnTo>
                  <a:lnTo>
                    <a:pt x="2088" y="2783"/>
                  </a:lnTo>
                  <a:lnTo>
                    <a:pt x="2054" y="2824"/>
                  </a:lnTo>
                  <a:lnTo>
                    <a:pt x="2018" y="2865"/>
                  </a:lnTo>
                  <a:lnTo>
                    <a:pt x="1978" y="2905"/>
                  </a:lnTo>
                  <a:lnTo>
                    <a:pt x="1936" y="2943"/>
                  </a:lnTo>
                  <a:lnTo>
                    <a:pt x="1891" y="2980"/>
                  </a:lnTo>
                  <a:lnTo>
                    <a:pt x="1842" y="3013"/>
                  </a:lnTo>
                  <a:lnTo>
                    <a:pt x="1817" y="3029"/>
                  </a:lnTo>
                  <a:lnTo>
                    <a:pt x="1792" y="3043"/>
                  </a:lnTo>
                  <a:lnTo>
                    <a:pt x="1765" y="3056"/>
                  </a:lnTo>
                  <a:lnTo>
                    <a:pt x="1737" y="3069"/>
                  </a:lnTo>
                  <a:lnTo>
                    <a:pt x="1709" y="3079"/>
                  </a:lnTo>
                  <a:lnTo>
                    <a:pt x="1680" y="3088"/>
                  </a:lnTo>
                  <a:lnTo>
                    <a:pt x="1657" y="3099"/>
                  </a:lnTo>
                  <a:lnTo>
                    <a:pt x="1634" y="3107"/>
                  </a:lnTo>
                  <a:lnTo>
                    <a:pt x="1610" y="3112"/>
                  </a:lnTo>
                  <a:lnTo>
                    <a:pt x="1587" y="3116"/>
                  </a:lnTo>
                  <a:lnTo>
                    <a:pt x="1563" y="3118"/>
                  </a:lnTo>
                  <a:lnTo>
                    <a:pt x="1540" y="3119"/>
                  </a:lnTo>
                  <a:lnTo>
                    <a:pt x="1493" y="3120"/>
                  </a:lnTo>
                  <a:lnTo>
                    <a:pt x="1463" y="3119"/>
                  </a:lnTo>
                  <a:lnTo>
                    <a:pt x="1434" y="3118"/>
                  </a:lnTo>
                  <a:lnTo>
                    <a:pt x="1404" y="3115"/>
                  </a:lnTo>
                  <a:lnTo>
                    <a:pt x="1374" y="3111"/>
                  </a:lnTo>
                  <a:lnTo>
                    <a:pt x="1345" y="3106"/>
                  </a:lnTo>
                  <a:lnTo>
                    <a:pt x="1315" y="3101"/>
                  </a:lnTo>
                  <a:lnTo>
                    <a:pt x="1285" y="3093"/>
                  </a:lnTo>
                  <a:lnTo>
                    <a:pt x="1254" y="3085"/>
                  </a:lnTo>
                  <a:lnTo>
                    <a:pt x="1224" y="3076"/>
                  </a:lnTo>
                  <a:lnTo>
                    <a:pt x="1193" y="3066"/>
                  </a:lnTo>
                  <a:lnTo>
                    <a:pt x="1162" y="3053"/>
                  </a:lnTo>
                  <a:lnTo>
                    <a:pt x="1131" y="3041"/>
                  </a:lnTo>
                  <a:lnTo>
                    <a:pt x="1100" y="3028"/>
                  </a:lnTo>
                  <a:lnTo>
                    <a:pt x="1069" y="3013"/>
                  </a:lnTo>
                  <a:lnTo>
                    <a:pt x="1038" y="2997"/>
                  </a:lnTo>
                  <a:lnTo>
                    <a:pt x="1006" y="2980"/>
                  </a:lnTo>
                  <a:lnTo>
                    <a:pt x="975" y="2962"/>
                  </a:lnTo>
                  <a:lnTo>
                    <a:pt x="943" y="2942"/>
                  </a:lnTo>
                  <a:lnTo>
                    <a:pt x="912" y="2922"/>
                  </a:lnTo>
                  <a:lnTo>
                    <a:pt x="880" y="2901"/>
                  </a:lnTo>
                  <a:lnTo>
                    <a:pt x="848" y="2878"/>
                  </a:lnTo>
                  <a:lnTo>
                    <a:pt x="816" y="2855"/>
                  </a:lnTo>
                  <a:lnTo>
                    <a:pt x="784" y="2830"/>
                  </a:lnTo>
                  <a:lnTo>
                    <a:pt x="752" y="2804"/>
                  </a:lnTo>
                  <a:lnTo>
                    <a:pt x="720" y="2777"/>
                  </a:lnTo>
                  <a:lnTo>
                    <a:pt x="688" y="2749"/>
                  </a:lnTo>
                  <a:lnTo>
                    <a:pt x="656" y="2721"/>
                  </a:lnTo>
                  <a:lnTo>
                    <a:pt x="624" y="2691"/>
                  </a:lnTo>
                  <a:lnTo>
                    <a:pt x="592" y="2659"/>
                  </a:lnTo>
                  <a:lnTo>
                    <a:pt x="560" y="2627"/>
                  </a:lnTo>
                  <a:lnTo>
                    <a:pt x="528" y="2593"/>
                  </a:lnTo>
                  <a:lnTo>
                    <a:pt x="496" y="2559"/>
                  </a:lnTo>
                  <a:lnTo>
                    <a:pt x="496" y="2559"/>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ctr"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chemeClr val="tx2"/>
                </a:solidFill>
                <a:effectLst/>
                <a:uLnTx/>
                <a:uFillTx/>
              </a:endParaRPr>
            </a:p>
          </p:txBody>
        </p:sp>
        <p:sp>
          <p:nvSpPr>
            <p:cNvPr id="124" name="Freeform 43"/>
            <p:cNvSpPr>
              <a:spLocks/>
            </p:cNvSpPr>
            <p:nvPr/>
          </p:nvSpPr>
          <p:spPr bwMode="auto">
            <a:xfrm>
              <a:off x="2203449" y="4699005"/>
              <a:ext cx="254001" cy="346075"/>
            </a:xfrm>
            <a:custGeom>
              <a:avLst/>
              <a:gdLst>
                <a:gd name="T0" fmla="*/ 77 w 2403"/>
                <a:gd name="T1" fmla="*/ 3032 h 3283"/>
                <a:gd name="T2" fmla="*/ 19 w 2403"/>
                <a:gd name="T3" fmla="*/ 2902 h 3283"/>
                <a:gd name="T4" fmla="*/ 1 w 2403"/>
                <a:gd name="T5" fmla="*/ 2781 h 3283"/>
                <a:gd name="T6" fmla="*/ 2 w 2403"/>
                <a:gd name="T7" fmla="*/ 2687 h 3283"/>
                <a:gd name="T8" fmla="*/ 377 w 2403"/>
                <a:gd name="T9" fmla="*/ 2720 h 3283"/>
                <a:gd name="T10" fmla="*/ 376 w 2403"/>
                <a:gd name="T11" fmla="*/ 2729 h 3283"/>
                <a:gd name="T12" fmla="*/ 378 w 2403"/>
                <a:gd name="T13" fmla="*/ 2789 h 3283"/>
                <a:gd name="T14" fmla="*/ 409 w 2403"/>
                <a:gd name="T15" fmla="*/ 2868 h 3283"/>
                <a:gd name="T16" fmla="*/ 453 w 2403"/>
                <a:gd name="T17" fmla="*/ 2911 h 3283"/>
                <a:gd name="T18" fmla="*/ 508 w 2403"/>
                <a:gd name="T19" fmla="*/ 2932 h 3283"/>
                <a:gd name="T20" fmla="*/ 1748 w 2403"/>
                <a:gd name="T21" fmla="*/ 2941 h 3283"/>
                <a:gd name="T22" fmla="*/ 1875 w 2403"/>
                <a:gd name="T23" fmla="*/ 2914 h 3283"/>
                <a:gd name="T24" fmla="*/ 1974 w 2403"/>
                <a:gd name="T25" fmla="*/ 2840 h 3283"/>
                <a:gd name="T26" fmla="*/ 2037 w 2403"/>
                <a:gd name="T27" fmla="*/ 2731 h 3283"/>
                <a:gd name="T28" fmla="*/ 2060 w 2403"/>
                <a:gd name="T29" fmla="*/ 2598 h 3283"/>
                <a:gd name="T30" fmla="*/ 2036 w 2403"/>
                <a:gd name="T31" fmla="*/ 2461 h 3283"/>
                <a:gd name="T32" fmla="*/ 1982 w 2403"/>
                <a:gd name="T33" fmla="*/ 2342 h 3283"/>
                <a:gd name="T34" fmla="*/ 1930 w 2403"/>
                <a:gd name="T35" fmla="*/ 2257 h 3283"/>
                <a:gd name="T36" fmla="*/ 1907 w 2403"/>
                <a:gd name="T37" fmla="*/ 2226 h 3283"/>
                <a:gd name="T38" fmla="*/ 1906 w 2403"/>
                <a:gd name="T39" fmla="*/ 2217 h 3283"/>
                <a:gd name="T40" fmla="*/ 1908 w 2403"/>
                <a:gd name="T41" fmla="*/ 2166 h 3283"/>
                <a:gd name="T42" fmla="*/ 1911 w 2403"/>
                <a:gd name="T43" fmla="*/ 2073 h 3283"/>
                <a:gd name="T44" fmla="*/ 1913 w 2403"/>
                <a:gd name="T45" fmla="*/ 1952 h 3283"/>
                <a:gd name="T46" fmla="*/ 1910 w 2403"/>
                <a:gd name="T47" fmla="*/ 1675 h 3283"/>
                <a:gd name="T48" fmla="*/ 1899 w 2403"/>
                <a:gd name="T49" fmla="*/ 1512 h 3283"/>
                <a:gd name="T50" fmla="*/ 1882 w 2403"/>
                <a:gd name="T51" fmla="*/ 1404 h 3283"/>
                <a:gd name="T52" fmla="*/ 1827 w 2403"/>
                <a:gd name="T53" fmla="*/ 1248 h 3283"/>
                <a:gd name="T54" fmla="*/ 1769 w 2403"/>
                <a:gd name="T55" fmla="*/ 1094 h 3283"/>
                <a:gd name="T56" fmla="*/ 1714 w 2403"/>
                <a:gd name="T57" fmla="*/ 965 h 3283"/>
                <a:gd name="T58" fmla="*/ 1618 w 2403"/>
                <a:gd name="T59" fmla="*/ 773 h 3283"/>
                <a:gd name="T60" fmla="*/ 1484 w 2403"/>
                <a:gd name="T61" fmla="*/ 567 h 3283"/>
                <a:gd name="T62" fmla="*/ 1373 w 2403"/>
                <a:gd name="T63" fmla="*/ 423 h 3283"/>
                <a:gd name="T64" fmla="*/ 1853 w 2403"/>
                <a:gd name="T65" fmla="*/ 489 h 3283"/>
                <a:gd name="T66" fmla="*/ 1888 w 2403"/>
                <a:gd name="T67" fmla="*/ 544 h 3283"/>
                <a:gd name="T68" fmla="*/ 1936 w 2403"/>
                <a:gd name="T69" fmla="*/ 622 h 3283"/>
                <a:gd name="T70" fmla="*/ 2034 w 2403"/>
                <a:gd name="T71" fmla="*/ 796 h 3283"/>
                <a:gd name="T72" fmla="*/ 2144 w 2403"/>
                <a:gd name="T73" fmla="*/ 1019 h 3283"/>
                <a:gd name="T74" fmla="*/ 2214 w 2403"/>
                <a:gd name="T75" fmla="*/ 1205 h 3283"/>
                <a:gd name="T76" fmla="*/ 2238 w 2403"/>
                <a:gd name="T77" fmla="*/ 1318 h 3283"/>
                <a:gd name="T78" fmla="*/ 2256 w 2403"/>
                <a:gd name="T79" fmla="*/ 1534 h 3283"/>
                <a:gd name="T80" fmla="*/ 2254 w 2403"/>
                <a:gd name="T81" fmla="*/ 1832 h 3283"/>
                <a:gd name="T82" fmla="*/ 2249 w 2403"/>
                <a:gd name="T83" fmla="*/ 2052 h 3283"/>
                <a:gd name="T84" fmla="*/ 2338 w 2403"/>
                <a:gd name="T85" fmla="*/ 2254 h 3283"/>
                <a:gd name="T86" fmla="*/ 2379 w 2403"/>
                <a:gd name="T87" fmla="*/ 2372 h 3283"/>
                <a:gd name="T88" fmla="*/ 2400 w 2403"/>
                <a:gd name="T89" fmla="*/ 2500 h 3283"/>
                <a:gd name="T90" fmla="*/ 2399 w 2403"/>
                <a:gd name="T91" fmla="*/ 2644 h 3283"/>
                <a:gd name="T92" fmla="*/ 2375 w 2403"/>
                <a:gd name="T93" fmla="*/ 2785 h 3283"/>
                <a:gd name="T94" fmla="*/ 2326 w 2403"/>
                <a:gd name="T95" fmla="*/ 2914 h 3283"/>
                <a:gd name="T96" fmla="*/ 2257 w 2403"/>
                <a:gd name="T97" fmla="*/ 3028 h 3283"/>
                <a:gd name="T98" fmla="*/ 2169 w 2403"/>
                <a:gd name="T99" fmla="*/ 3124 h 3283"/>
                <a:gd name="T100" fmla="*/ 2065 w 2403"/>
                <a:gd name="T101" fmla="*/ 3200 h 3283"/>
                <a:gd name="T102" fmla="*/ 1946 w 2403"/>
                <a:gd name="T103" fmla="*/ 3252 h 3283"/>
                <a:gd name="T104" fmla="*/ 1816 w 2403"/>
                <a:gd name="T105" fmla="*/ 3280 h 3283"/>
                <a:gd name="T106" fmla="*/ 528 w 2403"/>
                <a:gd name="T107" fmla="*/ 3280 h 3283"/>
                <a:gd name="T108" fmla="*/ 398 w 2403"/>
                <a:gd name="T109" fmla="*/ 3263 h 3283"/>
                <a:gd name="T110" fmla="*/ 282 w 2403"/>
                <a:gd name="T111" fmla="*/ 3221 h 3283"/>
                <a:gd name="T112" fmla="*/ 185 w 2403"/>
                <a:gd name="T113" fmla="*/ 3157 h 3283"/>
                <a:gd name="T114" fmla="*/ 126 w 2403"/>
                <a:gd name="T115" fmla="*/ 3093 h 3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403" h="3283">
                  <a:moveTo>
                    <a:pt x="126" y="3093"/>
                  </a:moveTo>
                  <a:lnTo>
                    <a:pt x="113" y="3078"/>
                  </a:lnTo>
                  <a:lnTo>
                    <a:pt x="99" y="3063"/>
                  </a:lnTo>
                  <a:lnTo>
                    <a:pt x="77" y="3032"/>
                  </a:lnTo>
                  <a:lnTo>
                    <a:pt x="57" y="3000"/>
                  </a:lnTo>
                  <a:lnTo>
                    <a:pt x="42" y="2967"/>
                  </a:lnTo>
                  <a:lnTo>
                    <a:pt x="29" y="2935"/>
                  </a:lnTo>
                  <a:lnTo>
                    <a:pt x="19" y="2902"/>
                  </a:lnTo>
                  <a:lnTo>
                    <a:pt x="12" y="2870"/>
                  </a:lnTo>
                  <a:lnTo>
                    <a:pt x="6" y="2839"/>
                  </a:lnTo>
                  <a:lnTo>
                    <a:pt x="3" y="2809"/>
                  </a:lnTo>
                  <a:lnTo>
                    <a:pt x="1" y="2781"/>
                  </a:lnTo>
                  <a:lnTo>
                    <a:pt x="0" y="2754"/>
                  </a:lnTo>
                  <a:lnTo>
                    <a:pt x="0" y="2729"/>
                  </a:lnTo>
                  <a:lnTo>
                    <a:pt x="1" y="2706"/>
                  </a:lnTo>
                  <a:lnTo>
                    <a:pt x="2" y="2687"/>
                  </a:lnTo>
                  <a:lnTo>
                    <a:pt x="2" y="2669"/>
                  </a:lnTo>
                  <a:lnTo>
                    <a:pt x="3" y="2656"/>
                  </a:lnTo>
                  <a:lnTo>
                    <a:pt x="341" y="2331"/>
                  </a:lnTo>
                  <a:lnTo>
                    <a:pt x="377" y="2720"/>
                  </a:lnTo>
                  <a:lnTo>
                    <a:pt x="377" y="2720"/>
                  </a:lnTo>
                  <a:lnTo>
                    <a:pt x="376" y="2722"/>
                  </a:lnTo>
                  <a:lnTo>
                    <a:pt x="376" y="2725"/>
                  </a:lnTo>
                  <a:lnTo>
                    <a:pt x="376" y="2729"/>
                  </a:lnTo>
                  <a:lnTo>
                    <a:pt x="375" y="2739"/>
                  </a:lnTo>
                  <a:lnTo>
                    <a:pt x="375" y="2754"/>
                  </a:lnTo>
                  <a:lnTo>
                    <a:pt x="376" y="2770"/>
                  </a:lnTo>
                  <a:lnTo>
                    <a:pt x="378" y="2789"/>
                  </a:lnTo>
                  <a:lnTo>
                    <a:pt x="382" y="2808"/>
                  </a:lnTo>
                  <a:lnTo>
                    <a:pt x="388" y="2829"/>
                  </a:lnTo>
                  <a:lnTo>
                    <a:pt x="397" y="2849"/>
                  </a:lnTo>
                  <a:lnTo>
                    <a:pt x="409" y="2868"/>
                  </a:lnTo>
                  <a:lnTo>
                    <a:pt x="424" y="2887"/>
                  </a:lnTo>
                  <a:lnTo>
                    <a:pt x="433" y="2896"/>
                  </a:lnTo>
                  <a:lnTo>
                    <a:pt x="442" y="2903"/>
                  </a:lnTo>
                  <a:lnTo>
                    <a:pt x="453" y="2911"/>
                  </a:lnTo>
                  <a:lnTo>
                    <a:pt x="466" y="2918"/>
                  </a:lnTo>
                  <a:lnTo>
                    <a:pt x="478" y="2924"/>
                  </a:lnTo>
                  <a:lnTo>
                    <a:pt x="493" y="2929"/>
                  </a:lnTo>
                  <a:lnTo>
                    <a:pt x="508" y="2932"/>
                  </a:lnTo>
                  <a:lnTo>
                    <a:pt x="526" y="2935"/>
                  </a:lnTo>
                  <a:lnTo>
                    <a:pt x="544" y="2937"/>
                  </a:lnTo>
                  <a:lnTo>
                    <a:pt x="564" y="2938"/>
                  </a:lnTo>
                  <a:lnTo>
                    <a:pt x="1748" y="2941"/>
                  </a:lnTo>
                  <a:lnTo>
                    <a:pt x="1782" y="2939"/>
                  </a:lnTo>
                  <a:lnTo>
                    <a:pt x="1815" y="2934"/>
                  </a:lnTo>
                  <a:lnTo>
                    <a:pt x="1846" y="2926"/>
                  </a:lnTo>
                  <a:lnTo>
                    <a:pt x="1875" y="2914"/>
                  </a:lnTo>
                  <a:lnTo>
                    <a:pt x="1903" y="2900"/>
                  </a:lnTo>
                  <a:lnTo>
                    <a:pt x="1929" y="2883"/>
                  </a:lnTo>
                  <a:lnTo>
                    <a:pt x="1952" y="2863"/>
                  </a:lnTo>
                  <a:lnTo>
                    <a:pt x="1974" y="2840"/>
                  </a:lnTo>
                  <a:lnTo>
                    <a:pt x="1993" y="2816"/>
                  </a:lnTo>
                  <a:lnTo>
                    <a:pt x="2010" y="2790"/>
                  </a:lnTo>
                  <a:lnTo>
                    <a:pt x="2025" y="2761"/>
                  </a:lnTo>
                  <a:lnTo>
                    <a:pt x="2037" y="2731"/>
                  </a:lnTo>
                  <a:lnTo>
                    <a:pt x="2047" y="2700"/>
                  </a:lnTo>
                  <a:lnTo>
                    <a:pt x="2055" y="2667"/>
                  </a:lnTo>
                  <a:lnTo>
                    <a:pt x="2059" y="2633"/>
                  </a:lnTo>
                  <a:lnTo>
                    <a:pt x="2060" y="2598"/>
                  </a:lnTo>
                  <a:lnTo>
                    <a:pt x="2059" y="2563"/>
                  </a:lnTo>
                  <a:lnTo>
                    <a:pt x="2054" y="2529"/>
                  </a:lnTo>
                  <a:lnTo>
                    <a:pt x="2046" y="2495"/>
                  </a:lnTo>
                  <a:lnTo>
                    <a:pt x="2036" y="2461"/>
                  </a:lnTo>
                  <a:lnTo>
                    <a:pt x="2025" y="2429"/>
                  </a:lnTo>
                  <a:lnTo>
                    <a:pt x="2011" y="2398"/>
                  </a:lnTo>
                  <a:lnTo>
                    <a:pt x="1997" y="2369"/>
                  </a:lnTo>
                  <a:lnTo>
                    <a:pt x="1982" y="2342"/>
                  </a:lnTo>
                  <a:lnTo>
                    <a:pt x="1968" y="2316"/>
                  </a:lnTo>
                  <a:lnTo>
                    <a:pt x="1954" y="2293"/>
                  </a:lnTo>
                  <a:lnTo>
                    <a:pt x="1941" y="2274"/>
                  </a:lnTo>
                  <a:lnTo>
                    <a:pt x="1930" y="2257"/>
                  </a:lnTo>
                  <a:lnTo>
                    <a:pt x="1919" y="2243"/>
                  </a:lnTo>
                  <a:lnTo>
                    <a:pt x="1912" y="2233"/>
                  </a:lnTo>
                  <a:lnTo>
                    <a:pt x="1909" y="2229"/>
                  </a:lnTo>
                  <a:lnTo>
                    <a:pt x="1907" y="2226"/>
                  </a:lnTo>
                  <a:lnTo>
                    <a:pt x="1906" y="2225"/>
                  </a:lnTo>
                  <a:lnTo>
                    <a:pt x="1905" y="2224"/>
                  </a:lnTo>
                  <a:lnTo>
                    <a:pt x="1905" y="2223"/>
                  </a:lnTo>
                  <a:lnTo>
                    <a:pt x="1906" y="2217"/>
                  </a:lnTo>
                  <a:lnTo>
                    <a:pt x="1906" y="2209"/>
                  </a:lnTo>
                  <a:lnTo>
                    <a:pt x="1907" y="2198"/>
                  </a:lnTo>
                  <a:lnTo>
                    <a:pt x="1907" y="2183"/>
                  </a:lnTo>
                  <a:lnTo>
                    <a:pt x="1908" y="2166"/>
                  </a:lnTo>
                  <a:lnTo>
                    <a:pt x="1909" y="2146"/>
                  </a:lnTo>
                  <a:lnTo>
                    <a:pt x="1909" y="2123"/>
                  </a:lnTo>
                  <a:lnTo>
                    <a:pt x="1910" y="2100"/>
                  </a:lnTo>
                  <a:lnTo>
                    <a:pt x="1911" y="2073"/>
                  </a:lnTo>
                  <a:lnTo>
                    <a:pt x="1911" y="2045"/>
                  </a:lnTo>
                  <a:lnTo>
                    <a:pt x="1912" y="2016"/>
                  </a:lnTo>
                  <a:lnTo>
                    <a:pt x="1913" y="1985"/>
                  </a:lnTo>
                  <a:lnTo>
                    <a:pt x="1913" y="1952"/>
                  </a:lnTo>
                  <a:lnTo>
                    <a:pt x="1914" y="1885"/>
                  </a:lnTo>
                  <a:lnTo>
                    <a:pt x="1913" y="1816"/>
                  </a:lnTo>
                  <a:lnTo>
                    <a:pt x="1912" y="1745"/>
                  </a:lnTo>
                  <a:lnTo>
                    <a:pt x="1910" y="1675"/>
                  </a:lnTo>
                  <a:lnTo>
                    <a:pt x="1907" y="1606"/>
                  </a:lnTo>
                  <a:lnTo>
                    <a:pt x="1905" y="1573"/>
                  </a:lnTo>
                  <a:lnTo>
                    <a:pt x="1902" y="1541"/>
                  </a:lnTo>
                  <a:lnTo>
                    <a:pt x="1899" y="1512"/>
                  </a:lnTo>
                  <a:lnTo>
                    <a:pt x="1896" y="1482"/>
                  </a:lnTo>
                  <a:lnTo>
                    <a:pt x="1891" y="1454"/>
                  </a:lnTo>
                  <a:lnTo>
                    <a:pt x="1886" y="1428"/>
                  </a:lnTo>
                  <a:lnTo>
                    <a:pt x="1882" y="1404"/>
                  </a:lnTo>
                  <a:lnTo>
                    <a:pt x="1876" y="1383"/>
                  </a:lnTo>
                  <a:lnTo>
                    <a:pt x="1859" y="1336"/>
                  </a:lnTo>
                  <a:lnTo>
                    <a:pt x="1843" y="1291"/>
                  </a:lnTo>
                  <a:lnTo>
                    <a:pt x="1827" y="1248"/>
                  </a:lnTo>
                  <a:lnTo>
                    <a:pt x="1812" y="1207"/>
                  </a:lnTo>
                  <a:lnTo>
                    <a:pt x="1796" y="1167"/>
                  </a:lnTo>
                  <a:lnTo>
                    <a:pt x="1782" y="1130"/>
                  </a:lnTo>
                  <a:lnTo>
                    <a:pt x="1769" y="1094"/>
                  </a:lnTo>
                  <a:lnTo>
                    <a:pt x="1754" y="1060"/>
                  </a:lnTo>
                  <a:lnTo>
                    <a:pt x="1741" y="1026"/>
                  </a:lnTo>
                  <a:lnTo>
                    <a:pt x="1727" y="995"/>
                  </a:lnTo>
                  <a:lnTo>
                    <a:pt x="1714" y="965"/>
                  </a:lnTo>
                  <a:lnTo>
                    <a:pt x="1700" y="935"/>
                  </a:lnTo>
                  <a:lnTo>
                    <a:pt x="1674" y="878"/>
                  </a:lnTo>
                  <a:lnTo>
                    <a:pt x="1647" y="824"/>
                  </a:lnTo>
                  <a:lnTo>
                    <a:pt x="1618" y="773"/>
                  </a:lnTo>
                  <a:lnTo>
                    <a:pt x="1588" y="721"/>
                  </a:lnTo>
                  <a:lnTo>
                    <a:pt x="1556" y="671"/>
                  </a:lnTo>
                  <a:lnTo>
                    <a:pt x="1522" y="621"/>
                  </a:lnTo>
                  <a:lnTo>
                    <a:pt x="1484" y="567"/>
                  </a:lnTo>
                  <a:lnTo>
                    <a:pt x="1442" y="512"/>
                  </a:lnTo>
                  <a:lnTo>
                    <a:pt x="1421" y="484"/>
                  </a:lnTo>
                  <a:lnTo>
                    <a:pt x="1398" y="454"/>
                  </a:lnTo>
                  <a:lnTo>
                    <a:pt x="1373" y="423"/>
                  </a:lnTo>
                  <a:lnTo>
                    <a:pt x="1348" y="391"/>
                  </a:lnTo>
                  <a:lnTo>
                    <a:pt x="1488" y="0"/>
                  </a:lnTo>
                  <a:lnTo>
                    <a:pt x="1847" y="479"/>
                  </a:lnTo>
                  <a:lnTo>
                    <a:pt x="1853" y="489"/>
                  </a:lnTo>
                  <a:lnTo>
                    <a:pt x="1862" y="500"/>
                  </a:lnTo>
                  <a:lnTo>
                    <a:pt x="1870" y="513"/>
                  </a:lnTo>
                  <a:lnTo>
                    <a:pt x="1879" y="528"/>
                  </a:lnTo>
                  <a:lnTo>
                    <a:pt x="1888" y="544"/>
                  </a:lnTo>
                  <a:lnTo>
                    <a:pt x="1900" y="562"/>
                  </a:lnTo>
                  <a:lnTo>
                    <a:pt x="1911" y="580"/>
                  </a:lnTo>
                  <a:lnTo>
                    <a:pt x="1922" y="601"/>
                  </a:lnTo>
                  <a:lnTo>
                    <a:pt x="1936" y="622"/>
                  </a:lnTo>
                  <a:lnTo>
                    <a:pt x="1948" y="644"/>
                  </a:lnTo>
                  <a:lnTo>
                    <a:pt x="1976" y="692"/>
                  </a:lnTo>
                  <a:lnTo>
                    <a:pt x="2004" y="742"/>
                  </a:lnTo>
                  <a:lnTo>
                    <a:pt x="2034" y="796"/>
                  </a:lnTo>
                  <a:lnTo>
                    <a:pt x="2063" y="850"/>
                  </a:lnTo>
                  <a:lnTo>
                    <a:pt x="2091" y="906"/>
                  </a:lnTo>
                  <a:lnTo>
                    <a:pt x="2119" y="963"/>
                  </a:lnTo>
                  <a:lnTo>
                    <a:pt x="2144" y="1019"/>
                  </a:lnTo>
                  <a:lnTo>
                    <a:pt x="2167" y="1075"/>
                  </a:lnTo>
                  <a:lnTo>
                    <a:pt x="2189" y="1128"/>
                  </a:lnTo>
                  <a:lnTo>
                    <a:pt x="2206" y="1180"/>
                  </a:lnTo>
                  <a:lnTo>
                    <a:pt x="2214" y="1205"/>
                  </a:lnTo>
                  <a:lnTo>
                    <a:pt x="2220" y="1228"/>
                  </a:lnTo>
                  <a:lnTo>
                    <a:pt x="2225" y="1249"/>
                  </a:lnTo>
                  <a:lnTo>
                    <a:pt x="2230" y="1272"/>
                  </a:lnTo>
                  <a:lnTo>
                    <a:pt x="2238" y="1318"/>
                  </a:lnTo>
                  <a:lnTo>
                    <a:pt x="2246" y="1368"/>
                  </a:lnTo>
                  <a:lnTo>
                    <a:pt x="2250" y="1422"/>
                  </a:lnTo>
                  <a:lnTo>
                    <a:pt x="2254" y="1477"/>
                  </a:lnTo>
                  <a:lnTo>
                    <a:pt x="2256" y="1534"/>
                  </a:lnTo>
                  <a:lnTo>
                    <a:pt x="2257" y="1593"/>
                  </a:lnTo>
                  <a:lnTo>
                    <a:pt x="2257" y="1653"/>
                  </a:lnTo>
                  <a:lnTo>
                    <a:pt x="2256" y="1772"/>
                  </a:lnTo>
                  <a:lnTo>
                    <a:pt x="2254" y="1832"/>
                  </a:lnTo>
                  <a:lnTo>
                    <a:pt x="2253" y="1890"/>
                  </a:lnTo>
                  <a:lnTo>
                    <a:pt x="2251" y="1946"/>
                  </a:lnTo>
                  <a:lnTo>
                    <a:pt x="2250" y="2001"/>
                  </a:lnTo>
                  <a:lnTo>
                    <a:pt x="2249" y="2052"/>
                  </a:lnTo>
                  <a:lnTo>
                    <a:pt x="2249" y="2101"/>
                  </a:lnTo>
                  <a:lnTo>
                    <a:pt x="2282" y="2149"/>
                  </a:lnTo>
                  <a:lnTo>
                    <a:pt x="2312" y="2201"/>
                  </a:lnTo>
                  <a:lnTo>
                    <a:pt x="2338" y="2254"/>
                  </a:lnTo>
                  <a:lnTo>
                    <a:pt x="2350" y="2282"/>
                  </a:lnTo>
                  <a:lnTo>
                    <a:pt x="2361" y="2312"/>
                  </a:lnTo>
                  <a:lnTo>
                    <a:pt x="2370" y="2341"/>
                  </a:lnTo>
                  <a:lnTo>
                    <a:pt x="2379" y="2372"/>
                  </a:lnTo>
                  <a:lnTo>
                    <a:pt x="2386" y="2403"/>
                  </a:lnTo>
                  <a:lnTo>
                    <a:pt x="2392" y="2434"/>
                  </a:lnTo>
                  <a:lnTo>
                    <a:pt x="2397" y="2466"/>
                  </a:lnTo>
                  <a:lnTo>
                    <a:pt x="2400" y="2500"/>
                  </a:lnTo>
                  <a:lnTo>
                    <a:pt x="2402" y="2534"/>
                  </a:lnTo>
                  <a:lnTo>
                    <a:pt x="2403" y="2568"/>
                  </a:lnTo>
                  <a:lnTo>
                    <a:pt x="2402" y="2606"/>
                  </a:lnTo>
                  <a:lnTo>
                    <a:pt x="2399" y="2644"/>
                  </a:lnTo>
                  <a:lnTo>
                    <a:pt x="2395" y="2680"/>
                  </a:lnTo>
                  <a:lnTo>
                    <a:pt x="2390" y="2716"/>
                  </a:lnTo>
                  <a:lnTo>
                    <a:pt x="2383" y="2751"/>
                  </a:lnTo>
                  <a:lnTo>
                    <a:pt x="2375" y="2785"/>
                  </a:lnTo>
                  <a:lnTo>
                    <a:pt x="2364" y="2819"/>
                  </a:lnTo>
                  <a:lnTo>
                    <a:pt x="2353" y="2852"/>
                  </a:lnTo>
                  <a:lnTo>
                    <a:pt x="2341" y="2884"/>
                  </a:lnTo>
                  <a:lnTo>
                    <a:pt x="2326" y="2914"/>
                  </a:lnTo>
                  <a:lnTo>
                    <a:pt x="2311" y="2944"/>
                  </a:lnTo>
                  <a:lnTo>
                    <a:pt x="2294" y="2973"/>
                  </a:lnTo>
                  <a:lnTo>
                    <a:pt x="2275" y="3001"/>
                  </a:lnTo>
                  <a:lnTo>
                    <a:pt x="2257" y="3028"/>
                  </a:lnTo>
                  <a:lnTo>
                    <a:pt x="2236" y="3054"/>
                  </a:lnTo>
                  <a:lnTo>
                    <a:pt x="2215" y="3078"/>
                  </a:lnTo>
                  <a:lnTo>
                    <a:pt x="2193" y="3102"/>
                  </a:lnTo>
                  <a:lnTo>
                    <a:pt x="2169" y="3124"/>
                  </a:lnTo>
                  <a:lnTo>
                    <a:pt x="2144" y="3145"/>
                  </a:lnTo>
                  <a:lnTo>
                    <a:pt x="2119" y="3165"/>
                  </a:lnTo>
                  <a:lnTo>
                    <a:pt x="2092" y="3183"/>
                  </a:lnTo>
                  <a:lnTo>
                    <a:pt x="2065" y="3200"/>
                  </a:lnTo>
                  <a:lnTo>
                    <a:pt x="2036" y="3215"/>
                  </a:lnTo>
                  <a:lnTo>
                    <a:pt x="2007" y="3230"/>
                  </a:lnTo>
                  <a:lnTo>
                    <a:pt x="1977" y="3242"/>
                  </a:lnTo>
                  <a:lnTo>
                    <a:pt x="1946" y="3252"/>
                  </a:lnTo>
                  <a:lnTo>
                    <a:pt x="1914" y="3262"/>
                  </a:lnTo>
                  <a:lnTo>
                    <a:pt x="1882" y="3270"/>
                  </a:lnTo>
                  <a:lnTo>
                    <a:pt x="1849" y="3276"/>
                  </a:lnTo>
                  <a:lnTo>
                    <a:pt x="1816" y="3280"/>
                  </a:lnTo>
                  <a:lnTo>
                    <a:pt x="1781" y="3282"/>
                  </a:lnTo>
                  <a:lnTo>
                    <a:pt x="1747" y="3283"/>
                  </a:lnTo>
                  <a:lnTo>
                    <a:pt x="563" y="3281"/>
                  </a:lnTo>
                  <a:lnTo>
                    <a:pt x="528" y="3280"/>
                  </a:lnTo>
                  <a:lnTo>
                    <a:pt x="494" y="3278"/>
                  </a:lnTo>
                  <a:lnTo>
                    <a:pt x="461" y="3274"/>
                  </a:lnTo>
                  <a:lnTo>
                    <a:pt x="429" y="3269"/>
                  </a:lnTo>
                  <a:lnTo>
                    <a:pt x="398" y="3263"/>
                  </a:lnTo>
                  <a:lnTo>
                    <a:pt x="367" y="3254"/>
                  </a:lnTo>
                  <a:lnTo>
                    <a:pt x="338" y="3244"/>
                  </a:lnTo>
                  <a:lnTo>
                    <a:pt x="309" y="3234"/>
                  </a:lnTo>
                  <a:lnTo>
                    <a:pt x="282" y="3221"/>
                  </a:lnTo>
                  <a:lnTo>
                    <a:pt x="256" y="3207"/>
                  </a:lnTo>
                  <a:lnTo>
                    <a:pt x="231" y="3192"/>
                  </a:lnTo>
                  <a:lnTo>
                    <a:pt x="208" y="3175"/>
                  </a:lnTo>
                  <a:lnTo>
                    <a:pt x="185" y="3157"/>
                  </a:lnTo>
                  <a:lnTo>
                    <a:pt x="164" y="3137"/>
                  </a:lnTo>
                  <a:lnTo>
                    <a:pt x="145" y="3115"/>
                  </a:lnTo>
                  <a:lnTo>
                    <a:pt x="126" y="3093"/>
                  </a:lnTo>
                  <a:lnTo>
                    <a:pt x="126" y="3093"/>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ctr"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chemeClr val="tx2"/>
                </a:solidFill>
                <a:effectLst/>
                <a:uLnTx/>
                <a:uFillTx/>
              </a:endParaRPr>
            </a:p>
          </p:txBody>
        </p:sp>
        <p:sp>
          <p:nvSpPr>
            <p:cNvPr id="125" name="Freeform 44"/>
            <p:cNvSpPr>
              <a:spLocks noEditPoints="1"/>
            </p:cNvSpPr>
            <p:nvPr/>
          </p:nvSpPr>
          <p:spPr bwMode="auto">
            <a:xfrm>
              <a:off x="1358900" y="3878269"/>
              <a:ext cx="1638300" cy="1214439"/>
            </a:xfrm>
            <a:custGeom>
              <a:avLst/>
              <a:gdLst>
                <a:gd name="T0" fmla="*/ 10977 w 15471"/>
                <a:gd name="T1" fmla="*/ 1806 h 11467"/>
                <a:gd name="T2" fmla="*/ 11863 w 15471"/>
                <a:gd name="T3" fmla="*/ 2687 h 11467"/>
                <a:gd name="T4" fmla="*/ 11965 w 15471"/>
                <a:gd name="T5" fmla="*/ 3282 h 11467"/>
                <a:gd name="T6" fmla="*/ 12755 w 15471"/>
                <a:gd name="T7" fmla="*/ 3676 h 11467"/>
                <a:gd name="T8" fmla="*/ 12767 w 15471"/>
                <a:gd name="T9" fmla="*/ 4735 h 11467"/>
                <a:gd name="T10" fmla="*/ 13108 w 15471"/>
                <a:gd name="T11" fmla="*/ 1674 h 11467"/>
                <a:gd name="T12" fmla="*/ 14652 w 15471"/>
                <a:gd name="T13" fmla="*/ 942 h 11467"/>
                <a:gd name="T14" fmla="*/ 15075 w 15471"/>
                <a:gd name="T15" fmla="*/ 4776 h 11467"/>
                <a:gd name="T16" fmla="*/ 12080 w 15471"/>
                <a:gd name="T17" fmla="*/ 6929 h 11467"/>
                <a:gd name="T18" fmla="*/ 10191 w 15471"/>
                <a:gd name="T19" fmla="*/ 5810 h 11467"/>
                <a:gd name="T20" fmla="*/ 11264 w 15471"/>
                <a:gd name="T21" fmla="*/ 7535 h 11467"/>
                <a:gd name="T22" fmla="*/ 10824 w 15471"/>
                <a:gd name="T23" fmla="*/ 8068 h 11467"/>
                <a:gd name="T24" fmla="*/ 8547 w 15471"/>
                <a:gd name="T25" fmla="*/ 6706 h 11467"/>
                <a:gd name="T26" fmla="*/ 9172 w 15471"/>
                <a:gd name="T27" fmla="*/ 8211 h 11467"/>
                <a:gd name="T28" fmla="*/ 6576 w 15471"/>
                <a:gd name="T29" fmla="*/ 11116 h 11467"/>
                <a:gd name="T30" fmla="*/ 6156 w 15471"/>
                <a:gd name="T31" fmla="*/ 9541 h 11467"/>
                <a:gd name="T32" fmla="*/ 6205 w 15471"/>
                <a:gd name="T33" fmla="*/ 9052 h 11467"/>
                <a:gd name="T34" fmla="*/ 4485 w 15471"/>
                <a:gd name="T35" fmla="*/ 9219 h 11467"/>
                <a:gd name="T36" fmla="*/ 3981 w 15471"/>
                <a:gd name="T37" fmla="*/ 10956 h 11467"/>
                <a:gd name="T38" fmla="*/ 2377 w 15471"/>
                <a:gd name="T39" fmla="*/ 9801 h 11467"/>
                <a:gd name="T40" fmla="*/ 1530 w 15471"/>
                <a:gd name="T41" fmla="*/ 7314 h 11467"/>
                <a:gd name="T42" fmla="*/ 1041 w 15471"/>
                <a:gd name="T43" fmla="*/ 5673 h 11467"/>
                <a:gd name="T44" fmla="*/ 412 w 15471"/>
                <a:gd name="T45" fmla="*/ 4456 h 11467"/>
                <a:gd name="T46" fmla="*/ 938 w 15471"/>
                <a:gd name="T47" fmla="*/ 4506 h 11467"/>
                <a:gd name="T48" fmla="*/ 1436 w 15471"/>
                <a:gd name="T49" fmla="*/ 5064 h 11467"/>
                <a:gd name="T50" fmla="*/ 4800 w 15471"/>
                <a:gd name="T51" fmla="*/ 2713 h 11467"/>
                <a:gd name="T52" fmla="*/ 3605 w 15471"/>
                <a:gd name="T53" fmla="*/ 4402 h 11467"/>
                <a:gd name="T54" fmla="*/ 3968 w 15471"/>
                <a:gd name="T55" fmla="*/ 6936 h 11467"/>
                <a:gd name="T56" fmla="*/ 6878 w 15471"/>
                <a:gd name="T57" fmla="*/ 7007 h 11467"/>
                <a:gd name="T58" fmla="*/ 8016 w 15471"/>
                <a:gd name="T59" fmla="*/ 5640 h 11467"/>
                <a:gd name="T60" fmla="*/ 7464 w 15471"/>
                <a:gd name="T61" fmla="*/ 4107 h 11467"/>
                <a:gd name="T62" fmla="*/ 7291 w 15471"/>
                <a:gd name="T63" fmla="*/ 6616 h 11467"/>
                <a:gd name="T64" fmla="*/ 4638 w 15471"/>
                <a:gd name="T65" fmla="*/ 7120 h 11467"/>
                <a:gd name="T66" fmla="*/ 3893 w 15471"/>
                <a:gd name="T67" fmla="*/ 4655 h 11467"/>
                <a:gd name="T68" fmla="*/ 7348 w 15471"/>
                <a:gd name="T69" fmla="*/ 1684 h 11467"/>
                <a:gd name="T70" fmla="*/ 7505 w 15471"/>
                <a:gd name="T71" fmla="*/ 821 h 11467"/>
                <a:gd name="T72" fmla="*/ 14394 w 15471"/>
                <a:gd name="T73" fmla="*/ 1187 h 11467"/>
                <a:gd name="T74" fmla="*/ 13401 w 15471"/>
                <a:gd name="T75" fmla="*/ 1768 h 11467"/>
                <a:gd name="T76" fmla="*/ 9509 w 15471"/>
                <a:gd name="T77" fmla="*/ 2321 h 11467"/>
                <a:gd name="T78" fmla="*/ 9002 w 15471"/>
                <a:gd name="T79" fmla="*/ 2398 h 11467"/>
                <a:gd name="T80" fmla="*/ 9753 w 15471"/>
                <a:gd name="T81" fmla="*/ 3768 h 11467"/>
                <a:gd name="T82" fmla="*/ 9917 w 15471"/>
                <a:gd name="T83" fmla="*/ 4293 h 11467"/>
                <a:gd name="T84" fmla="*/ 10789 w 15471"/>
                <a:gd name="T85" fmla="*/ 3533 h 11467"/>
                <a:gd name="T86" fmla="*/ 10668 w 15471"/>
                <a:gd name="T87" fmla="*/ 3016 h 11467"/>
                <a:gd name="T88" fmla="*/ 9418 w 15471"/>
                <a:gd name="T89" fmla="*/ 3866 h 11467"/>
                <a:gd name="T90" fmla="*/ 6560 w 15471"/>
                <a:gd name="T91" fmla="*/ 1283 h 11467"/>
                <a:gd name="T92" fmla="*/ 4869 w 15471"/>
                <a:gd name="T93" fmla="*/ 2378 h 11467"/>
                <a:gd name="T94" fmla="*/ 1533 w 15471"/>
                <a:gd name="T95" fmla="*/ 4436 h 11467"/>
                <a:gd name="T96" fmla="*/ 865 w 15471"/>
                <a:gd name="T97" fmla="*/ 3460 h 11467"/>
                <a:gd name="T98" fmla="*/ 523 w 15471"/>
                <a:gd name="T99" fmla="*/ 5835 h 11467"/>
                <a:gd name="T100" fmla="*/ 2021 w 15471"/>
                <a:gd name="T101" fmla="*/ 9156 h 11467"/>
                <a:gd name="T102" fmla="*/ 2536 w 15471"/>
                <a:gd name="T103" fmla="*/ 11188 h 11467"/>
                <a:gd name="T104" fmla="*/ 4423 w 15471"/>
                <a:gd name="T105" fmla="*/ 10332 h 11467"/>
                <a:gd name="T106" fmla="*/ 5268 w 15471"/>
                <a:gd name="T107" fmla="*/ 9942 h 11467"/>
                <a:gd name="T108" fmla="*/ 7052 w 15471"/>
                <a:gd name="T109" fmla="*/ 11297 h 11467"/>
                <a:gd name="T110" fmla="*/ 9714 w 15471"/>
                <a:gd name="T111" fmla="*/ 7999 h 11467"/>
                <a:gd name="T112" fmla="*/ 11839 w 15471"/>
                <a:gd name="T113" fmla="*/ 7522 h 11467"/>
                <a:gd name="T114" fmla="*/ 14957 w 15471"/>
                <a:gd name="T115" fmla="*/ 5826 h 11467"/>
                <a:gd name="T116" fmla="*/ 14949 w 15471"/>
                <a:gd name="T117" fmla="*/ 867 h 11467"/>
                <a:gd name="T118" fmla="*/ 13419 w 15471"/>
                <a:gd name="T119" fmla="*/ 1053 h 11467"/>
                <a:gd name="T120" fmla="*/ 12890 w 15471"/>
                <a:gd name="T121" fmla="*/ 3396 h 11467"/>
                <a:gd name="T122" fmla="*/ 12179 w 15471"/>
                <a:gd name="T123" fmla="*/ 1882 h 114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471" h="11467">
                  <a:moveTo>
                    <a:pt x="9231" y="342"/>
                  </a:moveTo>
                  <a:lnTo>
                    <a:pt x="9450" y="342"/>
                  </a:lnTo>
                  <a:lnTo>
                    <a:pt x="9501" y="346"/>
                  </a:lnTo>
                  <a:lnTo>
                    <a:pt x="9553" y="351"/>
                  </a:lnTo>
                  <a:lnTo>
                    <a:pt x="9604" y="357"/>
                  </a:lnTo>
                  <a:lnTo>
                    <a:pt x="9654" y="364"/>
                  </a:lnTo>
                  <a:lnTo>
                    <a:pt x="9703" y="373"/>
                  </a:lnTo>
                  <a:lnTo>
                    <a:pt x="9752" y="383"/>
                  </a:lnTo>
                  <a:lnTo>
                    <a:pt x="9801" y="394"/>
                  </a:lnTo>
                  <a:lnTo>
                    <a:pt x="9848" y="405"/>
                  </a:lnTo>
                  <a:lnTo>
                    <a:pt x="9894" y="419"/>
                  </a:lnTo>
                  <a:lnTo>
                    <a:pt x="9941" y="433"/>
                  </a:lnTo>
                  <a:lnTo>
                    <a:pt x="10031" y="464"/>
                  </a:lnTo>
                  <a:lnTo>
                    <a:pt x="10118" y="499"/>
                  </a:lnTo>
                  <a:lnTo>
                    <a:pt x="10203" y="537"/>
                  </a:lnTo>
                  <a:lnTo>
                    <a:pt x="10285" y="579"/>
                  </a:lnTo>
                  <a:lnTo>
                    <a:pt x="10364" y="623"/>
                  </a:lnTo>
                  <a:lnTo>
                    <a:pt x="10441" y="669"/>
                  </a:lnTo>
                  <a:lnTo>
                    <a:pt x="10514" y="718"/>
                  </a:lnTo>
                  <a:lnTo>
                    <a:pt x="10585" y="768"/>
                  </a:lnTo>
                  <a:lnTo>
                    <a:pt x="10653" y="820"/>
                  </a:lnTo>
                  <a:lnTo>
                    <a:pt x="10719" y="873"/>
                  </a:lnTo>
                  <a:lnTo>
                    <a:pt x="10781" y="927"/>
                  </a:lnTo>
                  <a:lnTo>
                    <a:pt x="10841" y="980"/>
                  </a:lnTo>
                  <a:lnTo>
                    <a:pt x="10899" y="1035"/>
                  </a:lnTo>
                  <a:lnTo>
                    <a:pt x="10954" y="1089"/>
                  </a:lnTo>
                  <a:lnTo>
                    <a:pt x="11005" y="1144"/>
                  </a:lnTo>
                  <a:lnTo>
                    <a:pt x="11054" y="1198"/>
                  </a:lnTo>
                  <a:lnTo>
                    <a:pt x="11100" y="1249"/>
                  </a:lnTo>
                  <a:lnTo>
                    <a:pt x="11144" y="1301"/>
                  </a:lnTo>
                  <a:lnTo>
                    <a:pt x="11185" y="1350"/>
                  </a:lnTo>
                  <a:lnTo>
                    <a:pt x="11223" y="1397"/>
                  </a:lnTo>
                  <a:lnTo>
                    <a:pt x="11258" y="1443"/>
                  </a:lnTo>
                  <a:lnTo>
                    <a:pt x="11291" y="1486"/>
                  </a:lnTo>
                  <a:lnTo>
                    <a:pt x="11321" y="1526"/>
                  </a:lnTo>
                  <a:lnTo>
                    <a:pt x="11348" y="1562"/>
                  </a:lnTo>
                  <a:lnTo>
                    <a:pt x="11373" y="1596"/>
                  </a:lnTo>
                  <a:lnTo>
                    <a:pt x="11393" y="1626"/>
                  </a:lnTo>
                  <a:lnTo>
                    <a:pt x="11404" y="1638"/>
                  </a:lnTo>
                  <a:lnTo>
                    <a:pt x="11413" y="1651"/>
                  </a:lnTo>
                  <a:lnTo>
                    <a:pt x="11381" y="1651"/>
                  </a:lnTo>
                  <a:lnTo>
                    <a:pt x="11351" y="1653"/>
                  </a:lnTo>
                  <a:lnTo>
                    <a:pt x="11319" y="1658"/>
                  </a:lnTo>
                  <a:lnTo>
                    <a:pt x="11286" y="1665"/>
                  </a:lnTo>
                  <a:lnTo>
                    <a:pt x="11253" y="1676"/>
                  </a:lnTo>
                  <a:lnTo>
                    <a:pt x="11219" y="1687"/>
                  </a:lnTo>
                  <a:lnTo>
                    <a:pt x="11185" y="1700"/>
                  </a:lnTo>
                  <a:lnTo>
                    <a:pt x="11152" y="1715"/>
                  </a:lnTo>
                  <a:lnTo>
                    <a:pt x="11121" y="1729"/>
                  </a:lnTo>
                  <a:lnTo>
                    <a:pt x="11091" y="1743"/>
                  </a:lnTo>
                  <a:lnTo>
                    <a:pt x="11064" y="1758"/>
                  </a:lnTo>
                  <a:lnTo>
                    <a:pt x="11039" y="1770"/>
                  </a:lnTo>
                  <a:lnTo>
                    <a:pt x="11018" y="1783"/>
                  </a:lnTo>
                  <a:lnTo>
                    <a:pt x="11008" y="1788"/>
                  </a:lnTo>
                  <a:lnTo>
                    <a:pt x="11001" y="1792"/>
                  </a:lnTo>
                  <a:lnTo>
                    <a:pt x="10994" y="1796"/>
                  </a:lnTo>
                  <a:lnTo>
                    <a:pt x="10988" y="1800"/>
                  </a:lnTo>
                  <a:lnTo>
                    <a:pt x="10983" y="1803"/>
                  </a:lnTo>
                  <a:lnTo>
                    <a:pt x="10979" y="1805"/>
                  </a:lnTo>
                  <a:lnTo>
                    <a:pt x="10977" y="1806"/>
                  </a:lnTo>
                  <a:lnTo>
                    <a:pt x="10976" y="1806"/>
                  </a:lnTo>
                  <a:lnTo>
                    <a:pt x="11257" y="1806"/>
                  </a:lnTo>
                  <a:lnTo>
                    <a:pt x="11303" y="1806"/>
                  </a:lnTo>
                  <a:lnTo>
                    <a:pt x="11345" y="1807"/>
                  </a:lnTo>
                  <a:lnTo>
                    <a:pt x="11385" y="1808"/>
                  </a:lnTo>
                  <a:lnTo>
                    <a:pt x="11424" y="1810"/>
                  </a:lnTo>
                  <a:lnTo>
                    <a:pt x="11462" y="1815"/>
                  </a:lnTo>
                  <a:lnTo>
                    <a:pt x="11498" y="1820"/>
                  </a:lnTo>
                  <a:lnTo>
                    <a:pt x="11534" y="1828"/>
                  </a:lnTo>
                  <a:lnTo>
                    <a:pt x="11569" y="1838"/>
                  </a:lnTo>
                  <a:lnTo>
                    <a:pt x="11603" y="1851"/>
                  </a:lnTo>
                  <a:lnTo>
                    <a:pt x="11637" y="1863"/>
                  </a:lnTo>
                  <a:lnTo>
                    <a:pt x="11671" y="1877"/>
                  </a:lnTo>
                  <a:lnTo>
                    <a:pt x="11704" y="1893"/>
                  </a:lnTo>
                  <a:lnTo>
                    <a:pt x="11737" y="1910"/>
                  </a:lnTo>
                  <a:lnTo>
                    <a:pt x="11771" y="1930"/>
                  </a:lnTo>
                  <a:lnTo>
                    <a:pt x="11804" y="1951"/>
                  </a:lnTo>
                  <a:lnTo>
                    <a:pt x="11837" y="1974"/>
                  </a:lnTo>
                  <a:lnTo>
                    <a:pt x="11871" y="2000"/>
                  </a:lnTo>
                  <a:lnTo>
                    <a:pt x="11905" y="2029"/>
                  </a:lnTo>
                  <a:lnTo>
                    <a:pt x="11941" y="2061"/>
                  </a:lnTo>
                  <a:lnTo>
                    <a:pt x="11977" y="2097"/>
                  </a:lnTo>
                  <a:lnTo>
                    <a:pt x="12013" y="2135"/>
                  </a:lnTo>
                  <a:lnTo>
                    <a:pt x="12051" y="2177"/>
                  </a:lnTo>
                  <a:lnTo>
                    <a:pt x="12070" y="2200"/>
                  </a:lnTo>
                  <a:lnTo>
                    <a:pt x="12089" y="2223"/>
                  </a:lnTo>
                  <a:lnTo>
                    <a:pt x="12110" y="2248"/>
                  </a:lnTo>
                  <a:lnTo>
                    <a:pt x="12129" y="2274"/>
                  </a:lnTo>
                  <a:lnTo>
                    <a:pt x="12157" y="2310"/>
                  </a:lnTo>
                  <a:lnTo>
                    <a:pt x="12182" y="2345"/>
                  </a:lnTo>
                  <a:lnTo>
                    <a:pt x="12204" y="2381"/>
                  </a:lnTo>
                  <a:lnTo>
                    <a:pt x="12221" y="2416"/>
                  </a:lnTo>
                  <a:lnTo>
                    <a:pt x="12237" y="2451"/>
                  </a:lnTo>
                  <a:lnTo>
                    <a:pt x="12247" y="2484"/>
                  </a:lnTo>
                  <a:lnTo>
                    <a:pt x="12254" y="2517"/>
                  </a:lnTo>
                  <a:lnTo>
                    <a:pt x="12258" y="2547"/>
                  </a:lnTo>
                  <a:lnTo>
                    <a:pt x="12258" y="2561"/>
                  </a:lnTo>
                  <a:lnTo>
                    <a:pt x="12257" y="2575"/>
                  </a:lnTo>
                  <a:lnTo>
                    <a:pt x="12255" y="2588"/>
                  </a:lnTo>
                  <a:lnTo>
                    <a:pt x="12253" y="2600"/>
                  </a:lnTo>
                  <a:lnTo>
                    <a:pt x="12249" y="2612"/>
                  </a:lnTo>
                  <a:lnTo>
                    <a:pt x="12244" y="2623"/>
                  </a:lnTo>
                  <a:lnTo>
                    <a:pt x="12238" y="2632"/>
                  </a:lnTo>
                  <a:lnTo>
                    <a:pt x="12231" y="2642"/>
                  </a:lnTo>
                  <a:lnTo>
                    <a:pt x="12222" y="2650"/>
                  </a:lnTo>
                  <a:lnTo>
                    <a:pt x="12212" y="2658"/>
                  </a:lnTo>
                  <a:lnTo>
                    <a:pt x="12202" y="2664"/>
                  </a:lnTo>
                  <a:lnTo>
                    <a:pt x="12189" y="2670"/>
                  </a:lnTo>
                  <a:lnTo>
                    <a:pt x="12177" y="2674"/>
                  </a:lnTo>
                  <a:lnTo>
                    <a:pt x="12162" y="2677"/>
                  </a:lnTo>
                  <a:lnTo>
                    <a:pt x="12147" y="2679"/>
                  </a:lnTo>
                  <a:lnTo>
                    <a:pt x="12129" y="2679"/>
                  </a:lnTo>
                  <a:lnTo>
                    <a:pt x="12035" y="2679"/>
                  </a:lnTo>
                  <a:lnTo>
                    <a:pt x="12008" y="2679"/>
                  </a:lnTo>
                  <a:lnTo>
                    <a:pt x="11980" y="2680"/>
                  </a:lnTo>
                  <a:lnTo>
                    <a:pt x="11954" y="2681"/>
                  </a:lnTo>
                  <a:lnTo>
                    <a:pt x="11930" y="2682"/>
                  </a:lnTo>
                  <a:lnTo>
                    <a:pt x="11906" y="2684"/>
                  </a:lnTo>
                  <a:lnTo>
                    <a:pt x="11885" y="2685"/>
                  </a:lnTo>
                  <a:lnTo>
                    <a:pt x="11863" y="2687"/>
                  </a:lnTo>
                  <a:lnTo>
                    <a:pt x="11843" y="2690"/>
                  </a:lnTo>
                  <a:lnTo>
                    <a:pt x="11806" y="2695"/>
                  </a:lnTo>
                  <a:lnTo>
                    <a:pt x="11772" y="2702"/>
                  </a:lnTo>
                  <a:lnTo>
                    <a:pt x="11741" y="2710"/>
                  </a:lnTo>
                  <a:lnTo>
                    <a:pt x="11712" y="2718"/>
                  </a:lnTo>
                  <a:lnTo>
                    <a:pt x="11686" y="2727"/>
                  </a:lnTo>
                  <a:lnTo>
                    <a:pt x="11660" y="2737"/>
                  </a:lnTo>
                  <a:lnTo>
                    <a:pt x="11611" y="2758"/>
                  </a:lnTo>
                  <a:lnTo>
                    <a:pt x="11586" y="2769"/>
                  </a:lnTo>
                  <a:lnTo>
                    <a:pt x="11561" y="2781"/>
                  </a:lnTo>
                  <a:lnTo>
                    <a:pt x="11535" y="2792"/>
                  </a:lnTo>
                  <a:lnTo>
                    <a:pt x="11506" y="2803"/>
                  </a:lnTo>
                  <a:lnTo>
                    <a:pt x="11519" y="2802"/>
                  </a:lnTo>
                  <a:lnTo>
                    <a:pt x="11535" y="2799"/>
                  </a:lnTo>
                  <a:lnTo>
                    <a:pt x="11552" y="2794"/>
                  </a:lnTo>
                  <a:lnTo>
                    <a:pt x="11572" y="2788"/>
                  </a:lnTo>
                  <a:lnTo>
                    <a:pt x="11594" y="2783"/>
                  </a:lnTo>
                  <a:lnTo>
                    <a:pt x="11615" y="2778"/>
                  </a:lnTo>
                  <a:lnTo>
                    <a:pt x="11639" y="2775"/>
                  </a:lnTo>
                  <a:lnTo>
                    <a:pt x="11662" y="2773"/>
                  </a:lnTo>
                  <a:lnTo>
                    <a:pt x="11709" y="2774"/>
                  </a:lnTo>
                  <a:lnTo>
                    <a:pt x="11733" y="2775"/>
                  </a:lnTo>
                  <a:lnTo>
                    <a:pt x="11757" y="2777"/>
                  </a:lnTo>
                  <a:lnTo>
                    <a:pt x="11781" y="2781"/>
                  </a:lnTo>
                  <a:lnTo>
                    <a:pt x="11803" y="2787"/>
                  </a:lnTo>
                  <a:lnTo>
                    <a:pt x="11826" y="2795"/>
                  </a:lnTo>
                  <a:lnTo>
                    <a:pt x="11849" y="2805"/>
                  </a:lnTo>
                  <a:lnTo>
                    <a:pt x="11870" y="2819"/>
                  </a:lnTo>
                  <a:lnTo>
                    <a:pt x="11890" y="2835"/>
                  </a:lnTo>
                  <a:lnTo>
                    <a:pt x="11910" y="2856"/>
                  </a:lnTo>
                  <a:lnTo>
                    <a:pt x="11920" y="2867"/>
                  </a:lnTo>
                  <a:lnTo>
                    <a:pt x="11928" y="2880"/>
                  </a:lnTo>
                  <a:lnTo>
                    <a:pt x="11937" y="2894"/>
                  </a:lnTo>
                  <a:lnTo>
                    <a:pt x="11946" y="2908"/>
                  </a:lnTo>
                  <a:lnTo>
                    <a:pt x="11954" y="2925"/>
                  </a:lnTo>
                  <a:lnTo>
                    <a:pt x="11961" y="2942"/>
                  </a:lnTo>
                  <a:lnTo>
                    <a:pt x="11968" y="2961"/>
                  </a:lnTo>
                  <a:lnTo>
                    <a:pt x="11976" y="2981"/>
                  </a:lnTo>
                  <a:lnTo>
                    <a:pt x="11982" y="3002"/>
                  </a:lnTo>
                  <a:lnTo>
                    <a:pt x="11988" y="3025"/>
                  </a:lnTo>
                  <a:lnTo>
                    <a:pt x="11989" y="3058"/>
                  </a:lnTo>
                  <a:lnTo>
                    <a:pt x="11988" y="3088"/>
                  </a:lnTo>
                  <a:lnTo>
                    <a:pt x="11987" y="3117"/>
                  </a:lnTo>
                  <a:lnTo>
                    <a:pt x="11986" y="3142"/>
                  </a:lnTo>
                  <a:lnTo>
                    <a:pt x="11983" y="3166"/>
                  </a:lnTo>
                  <a:lnTo>
                    <a:pt x="11980" y="3188"/>
                  </a:lnTo>
                  <a:lnTo>
                    <a:pt x="11976" y="3207"/>
                  </a:lnTo>
                  <a:lnTo>
                    <a:pt x="11970" y="3226"/>
                  </a:lnTo>
                  <a:lnTo>
                    <a:pt x="11963" y="3241"/>
                  </a:lnTo>
                  <a:lnTo>
                    <a:pt x="11956" y="3256"/>
                  </a:lnTo>
                  <a:lnTo>
                    <a:pt x="11947" y="3268"/>
                  </a:lnTo>
                  <a:lnTo>
                    <a:pt x="11936" y="3278"/>
                  </a:lnTo>
                  <a:lnTo>
                    <a:pt x="11925" y="3288"/>
                  </a:lnTo>
                  <a:lnTo>
                    <a:pt x="11912" y="3296"/>
                  </a:lnTo>
                  <a:lnTo>
                    <a:pt x="11897" y="3302"/>
                  </a:lnTo>
                  <a:lnTo>
                    <a:pt x="11881" y="3307"/>
                  </a:lnTo>
                  <a:lnTo>
                    <a:pt x="11905" y="3298"/>
                  </a:lnTo>
                  <a:lnTo>
                    <a:pt x="11928" y="3291"/>
                  </a:lnTo>
                  <a:lnTo>
                    <a:pt x="11952" y="3284"/>
                  </a:lnTo>
                  <a:lnTo>
                    <a:pt x="11965" y="3282"/>
                  </a:lnTo>
                  <a:lnTo>
                    <a:pt x="11979" y="3280"/>
                  </a:lnTo>
                  <a:lnTo>
                    <a:pt x="11994" y="3278"/>
                  </a:lnTo>
                  <a:lnTo>
                    <a:pt x="12011" y="3277"/>
                  </a:lnTo>
                  <a:lnTo>
                    <a:pt x="12029" y="3275"/>
                  </a:lnTo>
                  <a:lnTo>
                    <a:pt x="12050" y="3274"/>
                  </a:lnTo>
                  <a:lnTo>
                    <a:pt x="12074" y="3273"/>
                  </a:lnTo>
                  <a:lnTo>
                    <a:pt x="12100" y="3273"/>
                  </a:lnTo>
                  <a:lnTo>
                    <a:pt x="12128" y="3272"/>
                  </a:lnTo>
                  <a:lnTo>
                    <a:pt x="12160" y="3271"/>
                  </a:lnTo>
                  <a:lnTo>
                    <a:pt x="12184" y="3272"/>
                  </a:lnTo>
                  <a:lnTo>
                    <a:pt x="12208" y="3275"/>
                  </a:lnTo>
                  <a:lnTo>
                    <a:pt x="12232" y="3279"/>
                  </a:lnTo>
                  <a:lnTo>
                    <a:pt x="12255" y="3284"/>
                  </a:lnTo>
                  <a:lnTo>
                    <a:pt x="12279" y="3293"/>
                  </a:lnTo>
                  <a:lnTo>
                    <a:pt x="12302" y="3301"/>
                  </a:lnTo>
                  <a:lnTo>
                    <a:pt x="12325" y="3311"/>
                  </a:lnTo>
                  <a:lnTo>
                    <a:pt x="12346" y="3324"/>
                  </a:lnTo>
                  <a:lnTo>
                    <a:pt x="12367" y="3336"/>
                  </a:lnTo>
                  <a:lnTo>
                    <a:pt x="12386" y="3350"/>
                  </a:lnTo>
                  <a:lnTo>
                    <a:pt x="12404" y="3366"/>
                  </a:lnTo>
                  <a:lnTo>
                    <a:pt x="12422" y="3382"/>
                  </a:lnTo>
                  <a:lnTo>
                    <a:pt x="12437" y="3400"/>
                  </a:lnTo>
                  <a:lnTo>
                    <a:pt x="12450" y="3418"/>
                  </a:lnTo>
                  <a:lnTo>
                    <a:pt x="12463" y="3438"/>
                  </a:lnTo>
                  <a:lnTo>
                    <a:pt x="12472" y="3459"/>
                  </a:lnTo>
                  <a:lnTo>
                    <a:pt x="12481" y="3479"/>
                  </a:lnTo>
                  <a:lnTo>
                    <a:pt x="12490" y="3499"/>
                  </a:lnTo>
                  <a:lnTo>
                    <a:pt x="12498" y="3518"/>
                  </a:lnTo>
                  <a:lnTo>
                    <a:pt x="12505" y="3537"/>
                  </a:lnTo>
                  <a:lnTo>
                    <a:pt x="12511" y="3555"/>
                  </a:lnTo>
                  <a:lnTo>
                    <a:pt x="12516" y="3574"/>
                  </a:lnTo>
                  <a:lnTo>
                    <a:pt x="12518" y="3592"/>
                  </a:lnTo>
                  <a:lnTo>
                    <a:pt x="12518" y="3612"/>
                  </a:lnTo>
                  <a:lnTo>
                    <a:pt x="12514" y="3633"/>
                  </a:lnTo>
                  <a:lnTo>
                    <a:pt x="12508" y="3654"/>
                  </a:lnTo>
                  <a:lnTo>
                    <a:pt x="12499" y="3677"/>
                  </a:lnTo>
                  <a:lnTo>
                    <a:pt x="12493" y="3688"/>
                  </a:lnTo>
                  <a:lnTo>
                    <a:pt x="12486" y="3701"/>
                  </a:lnTo>
                  <a:lnTo>
                    <a:pt x="12477" y="3714"/>
                  </a:lnTo>
                  <a:lnTo>
                    <a:pt x="12468" y="3727"/>
                  </a:lnTo>
                  <a:lnTo>
                    <a:pt x="12458" y="3742"/>
                  </a:lnTo>
                  <a:lnTo>
                    <a:pt x="12445" y="3756"/>
                  </a:lnTo>
                  <a:lnTo>
                    <a:pt x="12433" y="3771"/>
                  </a:lnTo>
                  <a:lnTo>
                    <a:pt x="12418" y="3787"/>
                  </a:lnTo>
                  <a:lnTo>
                    <a:pt x="12403" y="3804"/>
                  </a:lnTo>
                  <a:lnTo>
                    <a:pt x="12386" y="3820"/>
                  </a:lnTo>
                  <a:lnTo>
                    <a:pt x="12404" y="3804"/>
                  </a:lnTo>
                  <a:lnTo>
                    <a:pt x="12423" y="3788"/>
                  </a:lnTo>
                  <a:lnTo>
                    <a:pt x="12441" y="3774"/>
                  </a:lnTo>
                  <a:lnTo>
                    <a:pt x="12461" y="3760"/>
                  </a:lnTo>
                  <a:lnTo>
                    <a:pt x="12481" y="3748"/>
                  </a:lnTo>
                  <a:lnTo>
                    <a:pt x="12501" y="3737"/>
                  </a:lnTo>
                  <a:lnTo>
                    <a:pt x="12523" y="3726"/>
                  </a:lnTo>
                  <a:lnTo>
                    <a:pt x="12543" y="3717"/>
                  </a:lnTo>
                  <a:lnTo>
                    <a:pt x="12587" y="3702"/>
                  </a:lnTo>
                  <a:lnTo>
                    <a:pt x="12631" y="3690"/>
                  </a:lnTo>
                  <a:lnTo>
                    <a:pt x="12677" y="3682"/>
                  </a:lnTo>
                  <a:lnTo>
                    <a:pt x="12722" y="3677"/>
                  </a:lnTo>
                  <a:lnTo>
                    <a:pt x="12739" y="3676"/>
                  </a:lnTo>
                  <a:lnTo>
                    <a:pt x="12755" y="3676"/>
                  </a:lnTo>
                  <a:lnTo>
                    <a:pt x="12773" y="3677"/>
                  </a:lnTo>
                  <a:lnTo>
                    <a:pt x="12789" y="3679"/>
                  </a:lnTo>
                  <a:lnTo>
                    <a:pt x="12806" y="3683"/>
                  </a:lnTo>
                  <a:lnTo>
                    <a:pt x="12821" y="3689"/>
                  </a:lnTo>
                  <a:lnTo>
                    <a:pt x="12835" y="3697"/>
                  </a:lnTo>
                  <a:lnTo>
                    <a:pt x="12846" y="3708"/>
                  </a:lnTo>
                  <a:lnTo>
                    <a:pt x="12861" y="3724"/>
                  </a:lnTo>
                  <a:lnTo>
                    <a:pt x="12875" y="3740"/>
                  </a:lnTo>
                  <a:lnTo>
                    <a:pt x="12887" y="3755"/>
                  </a:lnTo>
                  <a:lnTo>
                    <a:pt x="12899" y="3770"/>
                  </a:lnTo>
                  <a:lnTo>
                    <a:pt x="12908" y="3784"/>
                  </a:lnTo>
                  <a:lnTo>
                    <a:pt x="12916" y="3799"/>
                  </a:lnTo>
                  <a:lnTo>
                    <a:pt x="12922" y="3816"/>
                  </a:lnTo>
                  <a:lnTo>
                    <a:pt x="12927" y="3834"/>
                  </a:lnTo>
                  <a:lnTo>
                    <a:pt x="12931" y="3854"/>
                  </a:lnTo>
                  <a:lnTo>
                    <a:pt x="12932" y="3876"/>
                  </a:lnTo>
                  <a:lnTo>
                    <a:pt x="12931" y="3900"/>
                  </a:lnTo>
                  <a:lnTo>
                    <a:pt x="12928" y="3928"/>
                  </a:lnTo>
                  <a:lnTo>
                    <a:pt x="12924" y="3959"/>
                  </a:lnTo>
                  <a:lnTo>
                    <a:pt x="12921" y="3977"/>
                  </a:lnTo>
                  <a:lnTo>
                    <a:pt x="12917" y="3995"/>
                  </a:lnTo>
                  <a:lnTo>
                    <a:pt x="12913" y="4014"/>
                  </a:lnTo>
                  <a:lnTo>
                    <a:pt x="12909" y="4034"/>
                  </a:lnTo>
                  <a:lnTo>
                    <a:pt x="12904" y="4056"/>
                  </a:lnTo>
                  <a:lnTo>
                    <a:pt x="12899" y="4079"/>
                  </a:lnTo>
                  <a:lnTo>
                    <a:pt x="12892" y="4108"/>
                  </a:lnTo>
                  <a:lnTo>
                    <a:pt x="12885" y="4139"/>
                  </a:lnTo>
                  <a:lnTo>
                    <a:pt x="12870" y="4203"/>
                  </a:lnTo>
                  <a:lnTo>
                    <a:pt x="12853" y="4269"/>
                  </a:lnTo>
                  <a:lnTo>
                    <a:pt x="12835" y="4337"/>
                  </a:lnTo>
                  <a:lnTo>
                    <a:pt x="12815" y="4405"/>
                  </a:lnTo>
                  <a:lnTo>
                    <a:pt x="12795" y="4473"/>
                  </a:lnTo>
                  <a:lnTo>
                    <a:pt x="12775" y="4539"/>
                  </a:lnTo>
                  <a:lnTo>
                    <a:pt x="12755" y="4602"/>
                  </a:lnTo>
                  <a:lnTo>
                    <a:pt x="12746" y="4633"/>
                  </a:lnTo>
                  <a:lnTo>
                    <a:pt x="12736" y="4662"/>
                  </a:lnTo>
                  <a:lnTo>
                    <a:pt x="12727" y="4690"/>
                  </a:lnTo>
                  <a:lnTo>
                    <a:pt x="12719" y="4717"/>
                  </a:lnTo>
                  <a:lnTo>
                    <a:pt x="12710" y="4742"/>
                  </a:lnTo>
                  <a:lnTo>
                    <a:pt x="12702" y="4766"/>
                  </a:lnTo>
                  <a:lnTo>
                    <a:pt x="12695" y="4788"/>
                  </a:lnTo>
                  <a:lnTo>
                    <a:pt x="12688" y="4809"/>
                  </a:lnTo>
                  <a:lnTo>
                    <a:pt x="12682" y="4827"/>
                  </a:lnTo>
                  <a:lnTo>
                    <a:pt x="12676" y="4844"/>
                  </a:lnTo>
                  <a:lnTo>
                    <a:pt x="12671" y="4858"/>
                  </a:lnTo>
                  <a:lnTo>
                    <a:pt x="12667" y="4870"/>
                  </a:lnTo>
                  <a:lnTo>
                    <a:pt x="12664" y="4879"/>
                  </a:lnTo>
                  <a:lnTo>
                    <a:pt x="12661" y="4886"/>
                  </a:lnTo>
                  <a:lnTo>
                    <a:pt x="12660" y="4890"/>
                  </a:lnTo>
                  <a:lnTo>
                    <a:pt x="12659" y="4892"/>
                  </a:lnTo>
                  <a:lnTo>
                    <a:pt x="12661" y="4890"/>
                  </a:lnTo>
                  <a:lnTo>
                    <a:pt x="12664" y="4886"/>
                  </a:lnTo>
                  <a:lnTo>
                    <a:pt x="12670" y="4878"/>
                  </a:lnTo>
                  <a:lnTo>
                    <a:pt x="12679" y="4867"/>
                  </a:lnTo>
                  <a:lnTo>
                    <a:pt x="12689" y="4852"/>
                  </a:lnTo>
                  <a:lnTo>
                    <a:pt x="12701" y="4836"/>
                  </a:lnTo>
                  <a:lnTo>
                    <a:pt x="12716" y="4815"/>
                  </a:lnTo>
                  <a:lnTo>
                    <a:pt x="12731" y="4791"/>
                  </a:lnTo>
                  <a:lnTo>
                    <a:pt x="12749" y="4765"/>
                  </a:lnTo>
                  <a:lnTo>
                    <a:pt x="12767" y="4735"/>
                  </a:lnTo>
                  <a:lnTo>
                    <a:pt x="12786" y="4702"/>
                  </a:lnTo>
                  <a:lnTo>
                    <a:pt x="12807" y="4666"/>
                  </a:lnTo>
                  <a:lnTo>
                    <a:pt x="12828" y="4627"/>
                  </a:lnTo>
                  <a:lnTo>
                    <a:pt x="12850" y="4584"/>
                  </a:lnTo>
                  <a:lnTo>
                    <a:pt x="12873" y="4538"/>
                  </a:lnTo>
                  <a:lnTo>
                    <a:pt x="12895" y="4490"/>
                  </a:lnTo>
                  <a:lnTo>
                    <a:pt x="12918" y="4438"/>
                  </a:lnTo>
                  <a:lnTo>
                    <a:pt x="12941" y="4384"/>
                  </a:lnTo>
                  <a:lnTo>
                    <a:pt x="12964" y="4326"/>
                  </a:lnTo>
                  <a:lnTo>
                    <a:pt x="12986" y="4264"/>
                  </a:lnTo>
                  <a:lnTo>
                    <a:pt x="13008" y="4200"/>
                  </a:lnTo>
                  <a:lnTo>
                    <a:pt x="13030" y="4133"/>
                  </a:lnTo>
                  <a:lnTo>
                    <a:pt x="13050" y="4063"/>
                  </a:lnTo>
                  <a:lnTo>
                    <a:pt x="13070" y="3990"/>
                  </a:lnTo>
                  <a:lnTo>
                    <a:pt x="13088" y="3914"/>
                  </a:lnTo>
                  <a:lnTo>
                    <a:pt x="13106" y="3833"/>
                  </a:lnTo>
                  <a:lnTo>
                    <a:pt x="13123" y="3751"/>
                  </a:lnTo>
                  <a:lnTo>
                    <a:pt x="13137" y="3666"/>
                  </a:lnTo>
                  <a:lnTo>
                    <a:pt x="13150" y="3577"/>
                  </a:lnTo>
                  <a:lnTo>
                    <a:pt x="13161" y="3485"/>
                  </a:lnTo>
                  <a:lnTo>
                    <a:pt x="13170" y="3391"/>
                  </a:lnTo>
                  <a:lnTo>
                    <a:pt x="13177" y="3293"/>
                  </a:lnTo>
                  <a:lnTo>
                    <a:pt x="13179" y="3239"/>
                  </a:lnTo>
                  <a:lnTo>
                    <a:pt x="13181" y="3188"/>
                  </a:lnTo>
                  <a:lnTo>
                    <a:pt x="13183" y="3136"/>
                  </a:lnTo>
                  <a:lnTo>
                    <a:pt x="13184" y="3087"/>
                  </a:lnTo>
                  <a:lnTo>
                    <a:pt x="13186" y="3037"/>
                  </a:lnTo>
                  <a:lnTo>
                    <a:pt x="13186" y="2990"/>
                  </a:lnTo>
                  <a:lnTo>
                    <a:pt x="13186" y="2944"/>
                  </a:lnTo>
                  <a:lnTo>
                    <a:pt x="13186" y="2898"/>
                  </a:lnTo>
                  <a:lnTo>
                    <a:pt x="13184" y="2854"/>
                  </a:lnTo>
                  <a:lnTo>
                    <a:pt x="13182" y="2811"/>
                  </a:lnTo>
                  <a:lnTo>
                    <a:pt x="13181" y="2768"/>
                  </a:lnTo>
                  <a:lnTo>
                    <a:pt x="13179" y="2727"/>
                  </a:lnTo>
                  <a:lnTo>
                    <a:pt x="13177" y="2687"/>
                  </a:lnTo>
                  <a:lnTo>
                    <a:pt x="13174" y="2648"/>
                  </a:lnTo>
                  <a:lnTo>
                    <a:pt x="13169" y="2573"/>
                  </a:lnTo>
                  <a:lnTo>
                    <a:pt x="13162" y="2502"/>
                  </a:lnTo>
                  <a:lnTo>
                    <a:pt x="13155" y="2435"/>
                  </a:lnTo>
                  <a:lnTo>
                    <a:pt x="13147" y="2371"/>
                  </a:lnTo>
                  <a:lnTo>
                    <a:pt x="13139" y="2310"/>
                  </a:lnTo>
                  <a:lnTo>
                    <a:pt x="13130" y="2253"/>
                  </a:lnTo>
                  <a:lnTo>
                    <a:pt x="13121" y="2200"/>
                  </a:lnTo>
                  <a:lnTo>
                    <a:pt x="13112" y="2149"/>
                  </a:lnTo>
                  <a:lnTo>
                    <a:pt x="13104" y="2102"/>
                  </a:lnTo>
                  <a:lnTo>
                    <a:pt x="13096" y="2058"/>
                  </a:lnTo>
                  <a:lnTo>
                    <a:pt x="13088" y="2015"/>
                  </a:lnTo>
                  <a:lnTo>
                    <a:pt x="13081" y="1977"/>
                  </a:lnTo>
                  <a:lnTo>
                    <a:pt x="13075" y="1940"/>
                  </a:lnTo>
                  <a:lnTo>
                    <a:pt x="13070" y="1906"/>
                  </a:lnTo>
                  <a:lnTo>
                    <a:pt x="13067" y="1875"/>
                  </a:lnTo>
                  <a:lnTo>
                    <a:pt x="13064" y="1845"/>
                  </a:lnTo>
                  <a:lnTo>
                    <a:pt x="13063" y="1818"/>
                  </a:lnTo>
                  <a:lnTo>
                    <a:pt x="13063" y="1793"/>
                  </a:lnTo>
                  <a:lnTo>
                    <a:pt x="13065" y="1769"/>
                  </a:lnTo>
                  <a:lnTo>
                    <a:pt x="13069" y="1748"/>
                  </a:lnTo>
                  <a:lnTo>
                    <a:pt x="13075" y="1727"/>
                  </a:lnTo>
                  <a:lnTo>
                    <a:pt x="13084" y="1708"/>
                  </a:lnTo>
                  <a:lnTo>
                    <a:pt x="13095" y="1691"/>
                  </a:lnTo>
                  <a:lnTo>
                    <a:pt x="13108" y="1674"/>
                  </a:lnTo>
                  <a:lnTo>
                    <a:pt x="13125" y="1659"/>
                  </a:lnTo>
                  <a:lnTo>
                    <a:pt x="13140" y="1643"/>
                  </a:lnTo>
                  <a:lnTo>
                    <a:pt x="13157" y="1627"/>
                  </a:lnTo>
                  <a:lnTo>
                    <a:pt x="13174" y="1613"/>
                  </a:lnTo>
                  <a:lnTo>
                    <a:pt x="13193" y="1599"/>
                  </a:lnTo>
                  <a:lnTo>
                    <a:pt x="13212" y="1587"/>
                  </a:lnTo>
                  <a:lnTo>
                    <a:pt x="13233" y="1576"/>
                  </a:lnTo>
                  <a:lnTo>
                    <a:pt x="13277" y="1556"/>
                  </a:lnTo>
                  <a:lnTo>
                    <a:pt x="13326" y="1539"/>
                  </a:lnTo>
                  <a:lnTo>
                    <a:pt x="13376" y="1522"/>
                  </a:lnTo>
                  <a:lnTo>
                    <a:pt x="13429" y="1507"/>
                  </a:lnTo>
                  <a:lnTo>
                    <a:pt x="13484" y="1491"/>
                  </a:lnTo>
                  <a:lnTo>
                    <a:pt x="13541" y="1476"/>
                  </a:lnTo>
                  <a:lnTo>
                    <a:pt x="13597" y="1458"/>
                  </a:lnTo>
                  <a:lnTo>
                    <a:pt x="13655" y="1439"/>
                  </a:lnTo>
                  <a:lnTo>
                    <a:pt x="13714" y="1416"/>
                  </a:lnTo>
                  <a:lnTo>
                    <a:pt x="13742" y="1403"/>
                  </a:lnTo>
                  <a:lnTo>
                    <a:pt x="13771" y="1389"/>
                  </a:lnTo>
                  <a:lnTo>
                    <a:pt x="13800" y="1374"/>
                  </a:lnTo>
                  <a:lnTo>
                    <a:pt x="13828" y="1357"/>
                  </a:lnTo>
                  <a:lnTo>
                    <a:pt x="13855" y="1340"/>
                  </a:lnTo>
                  <a:lnTo>
                    <a:pt x="13883" y="1320"/>
                  </a:lnTo>
                  <a:lnTo>
                    <a:pt x="13910" y="1300"/>
                  </a:lnTo>
                  <a:lnTo>
                    <a:pt x="13937" y="1277"/>
                  </a:lnTo>
                  <a:lnTo>
                    <a:pt x="13957" y="1262"/>
                  </a:lnTo>
                  <a:lnTo>
                    <a:pt x="13976" y="1246"/>
                  </a:lnTo>
                  <a:lnTo>
                    <a:pt x="14012" y="1211"/>
                  </a:lnTo>
                  <a:lnTo>
                    <a:pt x="14045" y="1173"/>
                  </a:lnTo>
                  <a:lnTo>
                    <a:pt x="14076" y="1134"/>
                  </a:lnTo>
                  <a:lnTo>
                    <a:pt x="14105" y="1093"/>
                  </a:lnTo>
                  <a:lnTo>
                    <a:pt x="14133" y="1050"/>
                  </a:lnTo>
                  <a:lnTo>
                    <a:pt x="14160" y="1009"/>
                  </a:lnTo>
                  <a:lnTo>
                    <a:pt x="14187" y="969"/>
                  </a:lnTo>
                  <a:lnTo>
                    <a:pt x="14213" y="931"/>
                  </a:lnTo>
                  <a:lnTo>
                    <a:pt x="14240" y="895"/>
                  </a:lnTo>
                  <a:lnTo>
                    <a:pt x="14253" y="878"/>
                  </a:lnTo>
                  <a:lnTo>
                    <a:pt x="14267" y="863"/>
                  </a:lnTo>
                  <a:lnTo>
                    <a:pt x="14282" y="847"/>
                  </a:lnTo>
                  <a:lnTo>
                    <a:pt x="14296" y="834"/>
                  </a:lnTo>
                  <a:lnTo>
                    <a:pt x="14312" y="822"/>
                  </a:lnTo>
                  <a:lnTo>
                    <a:pt x="14327" y="811"/>
                  </a:lnTo>
                  <a:lnTo>
                    <a:pt x="14344" y="801"/>
                  </a:lnTo>
                  <a:lnTo>
                    <a:pt x="14360" y="793"/>
                  </a:lnTo>
                  <a:lnTo>
                    <a:pt x="14379" y="787"/>
                  </a:lnTo>
                  <a:lnTo>
                    <a:pt x="14396" y="782"/>
                  </a:lnTo>
                  <a:lnTo>
                    <a:pt x="14416" y="779"/>
                  </a:lnTo>
                  <a:lnTo>
                    <a:pt x="14436" y="778"/>
                  </a:lnTo>
                  <a:lnTo>
                    <a:pt x="14451" y="779"/>
                  </a:lnTo>
                  <a:lnTo>
                    <a:pt x="14470" y="785"/>
                  </a:lnTo>
                  <a:lnTo>
                    <a:pt x="14489" y="793"/>
                  </a:lnTo>
                  <a:lnTo>
                    <a:pt x="14510" y="805"/>
                  </a:lnTo>
                  <a:lnTo>
                    <a:pt x="14534" y="821"/>
                  </a:lnTo>
                  <a:lnTo>
                    <a:pt x="14557" y="840"/>
                  </a:lnTo>
                  <a:lnTo>
                    <a:pt x="14571" y="851"/>
                  </a:lnTo>
                  <a:lnTo>
                    <a:pt x="14583" y="864"/>
                  </a:lnTo>
                  <a:lnTo>
                    <a:pt x="14597" y="877"/>
                  </a:lnTo>
                  <a:lnTo>
                    <a:pt x="14610" y="892"/>
                  </a:lnTo>
                  <a:lnTo>
                    <a:pt x="14625" y="907"/>
                  </a:lnTo>
                  <a:lnTo>
                    <a:pt x="14638" y="924"/>
                  </a:lnTo>
                  <a:lnTo>
                    <a:pt x="14652" y="942"/>
                  </a:lnTo>
                  <a:lnTo>
                    <a:pt x="14667" y="961"/>
                  </a:lnTo>
                  <a:lnTo>
                    <a:pt x="14681" y="981"/>
                  </a:lnTo>
                  <a:lnTo>
                    <a:pt x="14696" y="1003"/>
                  </a:lnTo>
                  <a:lnTo>
                    <a:pt x="14711" y="1026"/>
                  </a:lnTo>
                  <a:lnTo>
                    <a:pt x="14727" y="1049"/>
                  </a:lnTo>
                  <a:lnTo>
                    <a:pt x="14741" y="1075"/>
                  </a:lnTo>
                  <a:lnTo>
                    <a:pt x="14757" y="1101"/>
                  </a:lnTo>
                  <a:lnTo>
                    <a:pt x="14772" y="1129"/>
                  </a:lnTo>
                  <a:lnTo>
                    <a:pt x="14788" y="1158"/>
                  </a:lnTo>
                  <a:lnTo>
                    <a:pt x="14803" y="1188"/>
                  </a:lnTo>
                  <a:lnTo>
                    <a:pt x="14818" y="1220"/>
                  </a:lnTo>
                  <a:lnTo>
                    <a:pt x="14833" y="1254"/>
                  </a:lnTo>
                  <a:lnTo>
                    <a:pt x="14849" y="1288"/>
                  </a:lnTo>
                  <a:lnTo>
                    <a:pt x="14864" y="1324"/>
                  </a:lnTo>
                  <a:lnTo>
                    <a:pt x="14880" y="1362"/>
                  </a:lnTo>
                  <a:lnTo>
                    <a:pt x="14894" y="1402"/>
                  </a:lnTo>
                  <a:lnTo>
                    <a:pt x="14909" y="1442"/>
                  </a:lnTo>
                  <a:lnTo>
                    <a:pt x="14925" y="1484"/>
                  </a:lnTo>
                  <a:lnTo>
                    <a:pt x="14939" y="1527"/>
                  </a:lnTo>
                  <a:lnTo>
                    <a:pt x="14954" y="1573"/>
                  </a:lnTo>
                  <a:lnTo>
                    <a:pt x="14968" y="1620"/>
                  </a:lnTo>
                  <a:lnTo>
                    <a:pt x="14983" y="1668"/>
                  </a:lnTo>
                  <a:lnTo>
                    <a:pt x="14997" y="1718"/>
                  </a:lnTo>
                  <a:lnTo>
                    <a:pt x="15011" y="1770"/>
                  </a:lnTo>
                  <a:lnTo>
                    <a:pt x="15024" y="1823"/>
                  </a:lnTo>
                  <a:lnTo>
                    <a:pt x="15037" y="1878"/>
                  </a:lnTo>
                  <a:lnTo>
                    <a:pt x="15051" y="1935"/>
                  </a:lnTo>
                  <a:lnTo>
                    <a:pt x="15063" y="1994"/>
                  </a:lnTo>
                  <a:lnTo>
                    <a:pt x="15076" y="2054"/>
                  </a:lnTo>
                  <a:lnTo>
                    <a:pt x="15088" y="2115"/>
                  </a:lnTo>
                  <a:lnTo>
                    <a:pt x="15099" y="2179"/>
                  </a:lnTo>
                  <a:lnTo>
                    <a:pt x="15111" y="2245"/>
                  </a:lnTo>
                  <a:lnTo>
                    <a:pt x="15121" y="2312"/>
                  </a:lnTo>
                  <a:lnTo>
                    <a:pt x="15132" y="2381"/>
                  </a:lnTo>
                  <a:lnTo>
                    <a:pt x="15142" y="2452"/>
                  </a:lnTo>
                  <a:lnTo>
                    <a:pt x="15152" y="2525"/>
                  </a:lnTo>
                  <a:lnTo>
                    <a:pt x="15161" y="2600"/>
                  </a:lnTo>
                  <a:lnTo>
                    <a:pt x="15170" y="2678"/>
                  </a:lnTo>
                  <a:lnTo>
                    <a:pt x="15178" y="2756"/>
                  </a:lnTo>
                  <a:lnTo>
                    <a:pt x="15185" y="2837"/>
                  </a:lnTo>
                  <a:lnTo>
                    <a:pt x="15192" y="2920"/>
                  </a:lnTo>
                  <a:lnTo>
                    <a:pt x="15199" y="3004"/>
                  </a:lnTo>
                  <a:lnTo>
                    <a:pt x="15205" y="3092"/>
                  </a:lnTo>
                  <a:lnTo>
                    <a:pt x="15210" y="3180"/>
                  </a:lnTo>
                  <a:lnTo>
                    <a:pt x="15215" y="3271"/>
                  </a:lnTo>
                  <a:lnTo>
                    <a:pt x="15218" y="3383"/>
                  </a:lnTo>
                  <a:lnTo>
                    <a:pt x="15219" y="3494"/>
                  </a:lnTo>
                  <a:lnTo>
                    <a:pt x="15219" y="3602"/>
                  </a:lnTo>
                  <a:lnTo>
                    <a:pt x="15217" y="3709"/>
                  </a:lnTo>
                  <a:lnTo>
                    <a:pt x="15212" y="3814"/>
                  </a:lnTo>
                  <a:lnTo>
                    <a:pt x="15206" y="3917"/>
                  </a:lnTo>
                  <a:lnTo>
                    <a:pt x="15199" y="4019"/>
                  </a:lnTo>
                  <a:lnTo>
                    <a:pt x="15188" y="4120"/>
                  </a:lnTo>
                  <a:lnTo>
                    <a:pt x="15177" y="4219"/>
                  </a:lnTo>
                  <a:lnTo>
                    <a:pt x="15164" y="4316"/>
                  </a:lnTo>
                  <a:lnTo>
                    <a:pt x="15149" y="4411"/>
                  </a:lnTo>
                  <a:lnTo>
                    <a:pt x="15133" y="4505"/>
                  </a:lnTo>
                  <a:lnTo>
                    <a:pt x="15115" y="4597"/>
                  </a:lnTo>
                  <a:lnTo>
                    <a:pt x="15095" y="4687"/>
                  </a:lnTo>
                  <a:lnTo>
                    <a:pt x="15075" y="4776"/>
                  </a:lnTo>
                  <a:lnTo>
                    <a:pt x="15052" y="4864"/>
                  </a:lnTo>
                  <a:lnTo>
                    <a:pt x="15028" y="4949"/>
                  </a:lnTo>
                  <a:lnTo>
                    <a:pt x="15003" y="5033"/>
                  </a:lnTo>
                  <a:lnTo>
                    <a:pt x="14977" y="5115"/>
                  </a:lnTo>
                  <a:lnTo>
                    <a:pt x="14949" y="5196"/>
                  </a:lnTo>
                  <a:lnTo>
                    <a:pt x="14919" y="5274"/>
                  </a:lnTo>
                  <a:lnTo>
                    <a:pt x="14889" y="5352"/>
                  </a:lnTo>
                  <a:lnTo>
                    <a:pt x="14857" y="5427"/>
                  </a:lnTo>
                  <a:lnTo>
                    <a:pt x="14824" y="5501"/>
                  </a:lnTo>
                  <a:lnTo>
                    <a:pt x="14790" y="5573"/>
                  </a:lnTo>
                  <a:lnTo>
                    <a:pt x="14755" y="5643"/>
                  </a:lnTo>
                  <a:lnTo>
                    <a:pt x="14718" y="5712"/>
                  </a:lnTo>
                  <a:lnTo>
                    <a:pt x="14680" y="5779"/>
                  </a:lnTo>
                  <a:lnTo>
                    <a:pt x="14642" y="5844"/>
                  </a:lnTo>
                  <a:lnTo>
                    <a:pt x="14603" y="5908"/>
                  </a:lnTo>
                  <a:lnTo>
                    <a:pt x="14563" y="5970"/>
                  </a:lnTo>
                  <a:lnTo>
                    <a:pt x="14521" y="6030"/>
                  </a:lnTo>
                  <a:lnTo>
                    <a:pt x="14479" y="6087"/>
                  </a:lnTo>
                  <a:lnTo>
                    <a:pt x="14437" y="6144"/>
                  </a:lnTo>
                  <a:lnTo>
                    <a:pt x="14393" y="6199"/>
                  </a:lnTo>
                  <a:lnTo>
                    <a:pt x="14349" y="6252"/>
                  </a:lnTo>
                  <a:lnTo>
                    <a:pt x="14304" y="6304"/>
                  </a:lnTo>
                  <a:lnTo>
                    <a:pt x="14257" y="6353"/>
                  </a:lnTo>
                  <a:lnTo>
                    <a:pt x="14211" y="6400"/>
                  </a:lnTo>
                  <a:lnTo>
                    <a:pt x="14164" y="6447"/>
                  </a:lnTo>
                  <a:lnTo>
                    <a:pt x="14116" y="6491"/>
                  </a:lnTo>
                  <a:lnTo>
                    <a:pt x="14068" y="6533"/>
                  </a:lnTo>
                  <a:lnTo>
                    <a:pt x="14019" y="6574"/>
                  </a:lnTo>
                  <a:lnTo>
                    <a:pt x="13970" y="6614"/>
                  </a:lnTo>
                  <a:lnTo>
                    <a:pt x="13921" y="6651"/>
                  </a:lnTo>
                  <a:lnTo>
                    <a:pt x="13870" y="6686"/>
                  </a:lnTo>
                  <a:lnTo>
                    <a:pt x="13819" y="6720"/>
                  </a:lnTo>
                  <a:lnTo>
                    <a:pt x="13769" y="6751"/>
                  </a:lnTo>
                  <a:lnTo>
                    <a:pt x="13718" y="6781"/>
                  </a:lnTo>
                  <a:lnTo>
                    <a:pt x="13667" y="6809"/>
                  </a:lnTo>
                  <a:lnTo>
                    <a:pt x="13615" y="6835"/>
                  </a:lnTo>
                  <a:lnTo>
                    <a:pt x="13563" y="6860"/>
                  </a:lnTo>
                  <a:lnTo>
                    <a:pt x="13511" y="6882"/>
                  </a:lnTo>
                  <a:lnTo>
                    <a:pt x="13459" y="6904"/>
                  </a:lnTo>
                  <a:lnTo>
                    <a:pt x="13407" y="6923"/>
                  </a:lnTo>
                  <a:lnTo>
                    <a:pt x="13355" y="6940"/>
                  </a:lnTo>
                  <a:lnTo>
                    <a:pt x="13302" y="6956"/>
                  </a:lnTo>
                  <a:lnTo>
                    <a:pt x="13251" y="6969"/>
                  </a:lnTo>
                  <a:lnTo>
                    <a:pt x="13198" y="6980"/>
                  </a:lnTo>
                  <a:lnTo>
                    <a:pt x="13146" y="6991"/>
                  </a:lnTo>
                  <a:lnTo>
                    <a:pt x="13095" y="6998"/>
                  </a:lnTo>
                  <a:lnTo>
                    <a:pt x="13043" y="7004"/>
                  </a:lnTo>
                  <a:lnTo>
                    <a:pt x="12991" y="7008"/>
                  </a:lnTo>
                  <a:lnTo>
                    <a:pt x="12940" y="7011"/>
                  </a:lnTo>
                  <a:lnTo>
                    <a:pt x="12846" y="7011"/>
                  </a:lnTo>
                  <a:lnTo>
                    <a:pt x="12763" y="7010"/>
                  </a:lnTo>
                  <a:lnTo>
                    <a:pt x="12683" y="7007"/>
                  </a:lnTo>
                  <a:lnTo>
                    <a:pt x="12602" y="7003"/>
                  </a:lnTo>
                  <a:lnTo>
                    <a:pt x="12524" y="6997"/>
                  </a:lnTo>
                  <a:lnTo>
                    <a:pt x="12446" y="6990"/>
                  </a:lnTo>
                  <a:lnTo>
                    <a:pt x="12370" y="6980"/>
                  </a:lnTo>
                  <a:lnTo>
                    <a:pt x="12296" y="6970"/>
                  </a:lnTo>
                  <a:lnTo>
                    <a:pt x="12222" y="6958"/>
                  </a:lnTo>
                  <a:lnTo>
                    <a:pt x="12150" y="6944"/>
                  </a:lnTo>
                  <a:lnTo>
                    <a:pt x="12080" y="6929"/>
                  </a:lnTo>
                  <a:lnTo>
                    <a:pt x="12011" y="6913"/>
                  </a:lnTo>
                  <a:lnTo>
                    <a:pt x="11943" y="6896"/>
                  </a:lnTo>
                  <a:lnTo>
                    <a:pt x="11875" y="6877"/>
                  </a:lnTo>
                  <a:lnTo>
                    <a:pt x="11810" y="6858"/>
                  </a:lnTo>
                  <a:lnTo>
                    <a:pt x="11745" y="6838"/>
                  </a:lnTo>
                  <a:lnTo>
                    <a:pt x="11683" y="6816"/>
                  </a:lnTo>
                  <a:lnTo>
                    <a:pt x="11622" y="6794"/>
                  </a:lnTo>
                  <a:lnTo>
                    <a:pt x="11562" y="6770"/>
                  </a:lnTo>
                  <a:lnTo>
                    <a:pt x="11503" y="6746"/>
                  </a:lnTo>
                  <a:lnTo>
                    <a:pt x="11445" y="6722"/>
                  </a:lnTo>
                  <a:lnTo>
                    <a:pt x="11388" y="6696"/>
                  </a:lnTo>
                  <a:lnTo>
                    <a:pt x="11334" y="6670"/>
                  </a:lnTo>
                  <a:lnTo>
                    <a:pt x="11280" y="6643"/>
                  </a:lnTo>
                  <a:lnTo>
                    <a:pt x="11227" y="6617"/>
                  </a:lnTo>
                  <a:lnTo>
                    <a:pt x="11177" y="6589"/>
                  </a:lnTo>
                  <a:lnTo>
                    <a:pt x="11127" y="6561"/>
                  </a:lnTo>
                  <a:lnTo>
                    <a:pt x="11079" y="6532"/>
                  </a:lnTo>
                  <a:lnTo>
                    <a:pt x="11031" y="6504"/>
                  </a:lnTo>
                  <a:lnTo>
                    <a:pt x="10986" y="6476"/>
                  </a:lnTo>
                  <a:lnTo>
                    <a:pt x="10941" y="6446"/>
                  </a:lnTo>
                  <a:lnTo>
                    <a:pt x="10898" y="6417"/>
                  </a:lnTo>
                  <a:lnTo>
                    <a:pt x="10856" y="6388"/>
                  </a:lnTo>
                  <a:lnTo>
                    <a:pt x="10815" y="6358"/>
                  </a:lnTo>
                  <a:lnTo>
                    <a:pt x="10776" y="6329"/>
                  </a:lnTo>
                  <a:lnTo>
                    <a:pt x="10738" y="6300"/>
                  </a:lnTo>
                  <a:lnTo>
                    <a:pt x="10701" y="6272"/>
                  </a:lnTo>
                  <a:lnTo>
                    <a:pt x="10666" y="6243"/>
                  </a:lnTo>
                  <a:lnTo>
                    <a:pt x="10632" y="6215"/>
                  </a:lnTo>
                  <a:lnTo>
                    <a:pt x="10599" y="6186"/>
                  </a:lnTo>
                  <a:lnTo>
                    <a:pt x="10568" y="6159"/>
                  </a:lnTo>
                  <a:lnTo>
                    <a:pt x="10537" y="6131"/>
                  </a:lnTo>
                  <a:lnTo>
                    <a:pt x="10508" y="6105"/>
                  </a:lnTo>
                  <a:lnTo>
                    <a:pt x="10480" y="6079"/>
                  </a:lnTo>
                  <a:lnTo>
                    <a:pt x="10454" y="6053"/>
                  </a:lnTo>
                  <a:lnTo>
                    <a:pt x="10429" y="6028"/>
                  </a:lnTo>
                  <a:lnTo>
                    <a:pt x="10405" y="6005"/>
                  </a:lnTo>
                  <a:lnTo>
                    <a:pt x="10383" y="5982"/>
                  </a:lnTo>
                  <a:lnTo>
                    <a:pt x="10361" y="5959"/>
                  </a:lnTo>
                  <a:lnTo>
                    <a:pt x="10341" y="5938"/>
                  </a:lnTo>
                  <a:lnTo>
                    <a:pt x="10323" y="5917"/>
                  </a:lnTo>
                  <a:lnTo>
                    <a:pt x="10305" y="5898"/>
                  </a:lnTo>
                  <a:lnTo>
                    <a:pt x="10290" y="5879"/>
                  </a:lnTo>
                  <a:lnTo>
                    <a:pt x="10274" y="5863"/>
                  </a:lnTo>
                  <a:lnTo>
                    <a:pt x="10261" y="5846"/>
                  </a:lnTo>
                  <a:lnTo>
                    <a:pt x="10250" y="5832"/>
                  </a:lnTo>
                  <a:lnTo>
                    <a:pt x="10238" y="5818"/>
                  </a:lnTo>
                  <a:lnTo>
                    <a:pt x="10229" y="5806"/>
                  </a:lnTo>
                  <a:lnTo>
                    <a:pt x="10221" y="5796"/>
                  </a:lnTo>
                  <a:lnTo>
                    <a:pt x="10213" y="5786"/>
                  </a:lnTo>
                  <a:lnTo>
                    <a:pt x="10207" y="5778"/>
                  </a:lnTo>
                  <a:lnTo>
                    <a:pt x="10203" y="5773"/>
                  </a:lnTo>
                  <a:lnTo>
                    <a:pt x="10200" y="5768"/>
                  </a:lnTo>
                  <a:lnTo>
                    <a:pt x="10198" y="5766"/>
                  </a:lnTo>
                  <a:lnTo>
                    <a:pt x="10197" y="5765"/>
                  </a:lnTo>
                  <a:lnTo>
                    <a:pt x="10197" y="5766"/>
                  </a:lnTo>
                  <a:lnTo>
                    <a:pt x="10197" y="5770"/>
                  </a:lnTo>
                  <a:lnTo>
                    <a:pt x="10196" y="5776"/>
                  </a:lnTo>
                  <a:lnTo>
                    <a:pt x="10194" y="5785"/>
                  </a:lnTo>
                  <a:lnTo>
                    <a:pt x="10193" y="5797"/>
                  </a:lnTo>
                  <a:lnTo>
                    <a:pt x="10191" y="5810"/>
                  </a:lnTo>
                  <a:lnTo>
                    <a:pt x="10189" y="5826"/>
                  </a:lnTo>
                  <a:lnTo>
                    <a:pt x="10187" y="5844"/>
                  </a:lnTo>
                  <a:lnTo>
                    <a:pt x="10185" y="5864"/>
                  </a:lnTo>
                  <a:lnTo>
                    <a:pt x="10182" y="5885"/>
                  </a:lnTo>
                  <a:lnTo>
                    <a:pt x="10179" y="5909"/>
                  </a:lnTo>
                  <a:lnTo>
                    <a:pt x="10177" y="5935"/>
                  </a:lnTo>
                  <a:lnTo>
                    <a:pt x="10175" y="5963"/>
                  </a:lnTo>
                  <a:lnTo>
                    <a:pt x="10172" y="5991"/>
                  </a:lnTo>
                  <a:lnTo>
                    <a:pt x="10170" y="6021"/>
                  </a:lnTo>
                  <a:lnTo>
                    <a:pt x="10168" y="6053"/>
                  </a:lnTo>
                  <a:lnTo>
                    <a:pt x="10165" y="6086"/>
                  </a:lnTo>
                  <a:lnTo>
                    <a:pt x="10163" y="6121"/>
                  </a:lnTo>
                  <a:lnTo>
                    <a:pt x="10162" y="6157"/>
                  </a:lnTo>
                  <a:lnTo>
                    <a:pt x="10160" y="6194"/>
                  </a:lnTo>
                  <a:lnTo>
                    <a:pt x="10159" y="6231"/>
                  </a:lnTo>
                  <a:lnTo>
                    <a:pt x="10158" y="6271"/>
                  </a:lnTo>
                  <a:lnTo>
                    <a:pt x="10157" y="6351"/>
                  </a:lnTo>
                  <a:lnTo>
                    <a:pt x="10157" y="6434"/>
                  </a:lnTo>
                  <a:lnTo>
                    <a:pt x="10159" y="6520"/>
                  </a:lnTo>
                  <a:lnTo>
                    <a:pt x="10163" y="6607"/>
                  </a:lnTo>
                  <a:lnTo>
                    <a:pt x="10170" y="6696"/>
                  </a:lnTo>
                  <a:lnTo>
                    <a:pt x="10179" y="6784"/>
                  </a:lnTo>
                  <a:lnTo>
                    <a:pt x="10192" y="6872"/>
                  </a:lnTo>
                  <a:lnTo>
                    <a:pt x="10207" y="6959"/>
                  </a:lnTo>
                  <a:lnTo>
                    <a:pt x="10226" y="7044"/>
                  </a:lnTo>
                  <a:lnTo>
                    <a:pt x="10249" y="7128"/>
                  </a:lnTo>
                  <a:lnTo>
                    <a:pt x="10262" y="7168"/>
                  </a:lnTo>
                  <a:lnTo>
                    <a:pt x="10275" y="7207"/>
                  </a:lnTo>
                  <a:lnTo>
                    <a:pt x="10291" y="7246"/>
                  </a:lnTo>
                  <a:lnTo>
                    <a:pt x="10306" y="7283"/>
                  </a:lnTo>
                  <a:lnTo>
                    <a:pt x="10324" y="7320"/>
                  </a:lnTo>
                  <a:lnTo>
                    <a:pt x="10342" y="7355"/>
                  </a:lnTo>
                  <a:lnTo>
                    <a:pt x="10361" y="7389"/>
                  </a:lnTo>
                  <a:lnTo>
                    <a:pt x="10383" y="7422"/>
                  </a:lnTo>
                  <a:lnTo>
                    <a:pt x="10404" y="7454"/>
                  </a:lnTo>
                  <a:lnTo>
                    <a:pt x="10427" y="7484"/>
                  </a:lnTo>
                  <a:lnTo>
                    <a:pt x="10452" y="7512"/>
                  </a:lnTo>
                  <a:lnTo>
                    <a:pt x="10478" y="7539"/>
                  </a:lnTo>
                  <a:lnTo>
                    <a:pt x="10506" y="7564"/>
                  </a:lnTo>
                  <a:lnTo>
                    <a:pt x="10535" y="7587"/>
                  </a:lnTo>
                  <a:lnTo>
                    <a:pt x="10564" y="7609"/>
                  </a:lnTo>
                  <a:lnTo>
                    <a:pt x="10596" y="7627"/>
                  </a:lnTo>
                  <a:lnTo>
                    <a:pt x="10629" y="7645"/>
                  </a:lnTo>
                  <a:lnTo>
                    <a:pt x="10665" y="7660"/>
                  </a:lnTo>
                  <a:lnTo>
                    <a:pt x="10702" y="7672"/>
                  </a:lnTo>
                  <a:lnTo>
                    <a:pt x="10740" y="7683"/>
                  </a:lnTo>
                  <a:lnTo>
                    <a:pt x="10779" y="7691"/>
                  </a:lnTo>
                  <a:lnTo>
                    <a:pt x="10820" y="7697"/>
                  </a:lnTo>
                  <a:lnTo>
                    <a:pt x="10882" y="7697"/>
                  </a:lnTo>
                  <a:lnTo>
                    <a:pt x="10923" y="7695"/>
                  </a:lnTo>
                  <a:lnTo>
                    <a:pt x="10962" y="7690"/>
                  </a:lnTo>
                  <a:lnTo>
                    <a:pt x="11000" y="7683"/>
                  </a:lnTo>
                  <a:lnTo>
                    <a:pt x="11037" y="7671"/>
                  </a:lnTo>
                  <a:lnTo>
                    <a:pt x="11073" y="7658"/>
                  </a:lnTo>
                  <a:lnTo>
                    <a:pt x="11108" y="7643"/>
                  </a:lnTo>
                  <a:lnTo>
                    <a:pt x="11142" y="7624"/>
                  </a:lnTo>
                  <a:lnTo>
                    <a:pt x="11175" y="7604"/>
                  </a:lnTo>
                  <a:lnTo>
                    <a:pt x="11206" y="7583"/>
                  </a:lnTo>
                  <a:lnTo>
                    <a:pt x="11235" y="7559"/>
                  </a:lnTo>
                  <a:lnTo>
                    <a:pt x="11264" y="7535"/>
                  </a:lnTo>
                  <a:lnTo>
                    <a:pt x="11291" y="7510"/>
                  </a:lnTo>
                  <a:lnTo>
                    <a:pt x="11318" y="7483"/>
                  </a:lnTo>
                  <a:lnTo>
                    <a:pt x="11343" y="7456"/>
                  </a:lnTo>
                  <a:lnTo>
                    <a:pt x="11367" y="7428"/>
                  </a:lnTo>
                  <a:lnTo>
                    <a:pt x="11389" y="7401"/>
                  </a:lnTo>
                  <a:lnTo>
                    <a:pt x="11411" y="7373"/>
                  </a:lnTo>
                  <a:lnTo>
                    <a:pt x="11431" y="7346"/>
                  </a:lnTo>
                  <a:lnTo>
                    <a:pt x="11449" y="7318"/>
                  </a:lnTo>
                  <a:lnTo>
                    <a:pt x="11467" y="7292"/>
                  </a:lnTo>
                  <a:lnTo>
                    <a:pt x="11483" y="7267"/>
                  </a:lnTo>
                  <a:lnTo>
                    <a:pt x="11498" y="7242"/>
                  </a:lnTo>
                  <a:lnTo>
                    <a:pt x="11511" y="7219"/>
                  </a:lnTo>
                  <a:lnTo>
                    <a:pt x="11522" y="7198"/>
                  </a:lnTo>
                  <a:lnTo>
                    <a:pt x="11534" y="7177"/>
                  </a:lnTo>
                  <a:lnTo>
                    <a:pt x="11543" y="7159"/>
                  </a:lnTo>
                  <a:lnTo>
                    <a:pt x="11550" y="7144"/>
                  </a:lnTo>
                  <a:lnTo>
                    <a:pt x="11558" y="7130"/>
                  </a:lnTo>
                  <a:lnTo>
                    <a:pt x="11562" y="7119"/>
                  </a:lnTo>
                  <a:lnTo>
                    <a:pt x="11566" y="7111"/>
                  </a:lnTo>
                  <a:lnTo>
                    <a:pt x="11568" y="7106"/>
                  </a:lnTo>
                  <a:lnTo>
                    <a:pt x="11569" y="7105"/>
                  </a:lnTo>
                  <a:lnTo>
                    <a:pt x="11724" y="7136"/>
                  </a:lnTo>
                  <a:lnTo>
                    <a:pt x="11724" y="7136"/>
                  </a:lnTo>
                  <a:lnTo>
                    <a:pt x="11724" y="7138"/>
                  </a:lnTo>
                  <a:lnTo>
                    <a:pt x="11723" y="7142"/>
                  </a:lnTo>
                  <a:lnTo>
                    <a:pt x="11721" y="7146"/>
                  </a:lnTo>
                  <a:lnTo>
                    <a:pt x="11720" y="7152"/>
                  </a:lnTo>
                  <a:lnTo>
                    <a:pt x="11718" y="7158"/>
                  </a:lnTo>
                  <a:lnTo>
                    <a:pt x="11714" y="7167"/>
                  </a:lnTo>
                  <a:lnTo>
                    <a:pt x="11712" y="7176"/>
                  </a:lnTo>
                  <a:lnTo>
                    <a:pt x="11705" y="7197"/>
                  </a:lnTo>
                  <a:lnTo>
                    <a:pt x="11696" y="7222"/>
                  </a:lnTo>
                  <a:lnTo>
                    <a:pt x="11686" y="7250"/>
                  </a:lnTo>
                  <a:lnTo>
                    <a:pt x="11674" y="7282"/>
                  </a:lnTo>
                  <a:lnTo>
                    <a:pt x="11660" y="7316"/>
                  </a:lnTo>
                  <a:lnTo>
                    <a:pt x="11644" y="7352"/>
                  </a:lnTo>
                  <a:lnTo>
                    <a:pt x="11627" y="7391"/>
                  </a:lnTo>
                  <a:lnTo>
                    <a:pt x="11607" y="7431"/>
                  </a:lnTo>
                  <a:lnTo>
                    <a:pt x="11586" y="7474"/>
                  </a:lnTo>
                  <a:lnTo>
                    <a:pt x="11563" y="7516"/>
                  </a:lnTo>
                  <a:lnTo>
                    <a:pt x="11538" y="7559"/>
                  </a:lnTo>
                  <a:lnTo>
                    <a:pt x="11510" y="7603"/>
                  </a:lnTo>
                  <a:lnTo>
                    <a:pt x="11480" y="7647"/>
                  </a:lnTo>
                  <a:lnTo>
                    <a:pt x="11449" y="7690"/>
                  </a:lnTo>
                  <a:lnTo>
                    <a:pt x="11415" y="7733"/>
                  </a:lnTo>
                  <a:lnTo>
                    <a:pt x="11379" y="7774"/>
                  </a:lnTo>
                  <a:lnTo>
                    <a:pt x="11341" y="7816"/>
                  </a:lnTo>
                  <a:lnTo>
                    <a:pt x="11299" y="7854"/>
                  </a:lnTo>
                  <a:lnTo>
                    <a:pt x="11257" y="7891"/>
                  </a:lnTo>
                  <a:lnTo>
                    <a:pt x="11212" y="7925"/>
                  </a:lnTo>
                  <a:lnTo>
                    <a:pt x="11164" y="7956"/>
                  </a:lnTo>
                  <a:lnTo>
                    <a:pt x="11114" y="7985"/>
                  </a:lnTo>
                  <a:lnTo>
                    <a:pt x="11061" y="8009"/>
                  </a:lnTo>
                  <a:lnTo>
                    <a:pt x="11005" y="8031"/>
                  </a:lnTo>
                  <a:lnTo>
                    <a:pt x="10977" y="8040"/>
                  </a:lnTo>
                  <a:lnTo>
                    <a:pt x="10947" y="8047"/>
                  </a:lnTo>
                  <a:lnTo>
                    <a:pt x="10917" y="8055"/>
                  </a:lnTo>
                  <a:lnTo>
                    <a:pt x="10888" y="8061"/>
                  </a:lnTo>
                  <a:lnTo>
                    <a:pt x="10856" y="8065"/>
                  </a:lnTo>
                  <a:lnTo>
                    <a:pt x="10824" y="8068"/>
                  </a:lnTo>
                  <a:lnTo>
                    <a:pt x="10792" y="8070"/>
                  </a:lnTo>
                  <a:lnTo>
                    <a:pt x="10759" y="8071"/>
                  </a:lnTo>
                  <a:lnTo>
                    <a:pt x="10711" y="8069"/>
                  </a:lnTo>
                  <a:lnTo>
                    <a:pt x="10665" y="8065"/>
                  </a:lnTo>
                  <a:lnTo>
                    <a:pt x="10618" y="8058"/>
                  </a:lnTo>
                  <a:lnTo>
                    <a:pt x="10572" y="8047"/>
                  </a:lnTo>
                  <a:lnTo>
                    <a:pt x="10524" y="8034"/>
                  </a:lnTo>
                  <a:lnTo>
                    <a:pt x="10478" y="8019"/>
                  </a:lnTo>
                  <a:lnTo>
                    <a:pt x="10431" y="7999"/>
                  </a:lnTo>
                  <a:lnTo>
                    <a:pt x="10384" y="7977"/>
                  </a:lnTo>
                  <a:lnTo>
                    <a:pt x="10331" y="7952"/>
                  </a:lnTo>
                  <a:lnTo>
                    <a:pt x="10276" y="7924"/>
                  </a:lnTo>
                  <a:lnTo>
                    <a:pt x="10222" y="7892"/>
                  </a:lnTo>
                  <a:lnTo>
                    <a:pt x="10166" y="7857"/>
                  </a:lnTo>
                  <a:lnTo>
                    <a:pt x="10109" y="7821"/>
                  </a:lnTo>
                  <a:lnTo>
                    <a:pt x="10053" y="7781"/>
                  </a:lnTo>
                  <a:lnTo>
                    <a:pt x="9999" y="7739"/>
                  </a:lnTo>
                  <a:lnTo>
                    <a:pt x="9944" y="7696"/>
                  </a:lnTo>
                  <a:lnTo>
                    <a:pt x="9890" y="7652"/>
                  </a:lnTo>
                  <a:lnTo>
                    <a:pt x="9839" y="7607"/>
                  </a:lnTo>
                  <a:lnTo>
                    <a:pt x="9788" y="7560"/>
                  </a:lnTo>
                  <a:lnTo>
                    <a:pt x="9740" y="7513"/>
                  </a:lnTo>
                  <a:lnTo>
                    <a:pt x="9694" y="7465"/>
                  </a:lnTo>
                  <a:lnTo>
                    <a:pt x="9651" y="7417"/>
                  </a:lnTo>
                  <a:lnTo>
                    <a:pt x="9611" y="7370"/>
                  </a:lnTo>
                  <a:lnTo>
                    <a:pt x="9573" y="7323"/>
                  </a:lnTo>
                  <a:lnTo>
                    <a:pt x="9524" y="7310"/>
                  </a:lnTo>
                  <a:lnTo>
                    <a:pt x="9475" y="7295"/>
                  </a:lnTo>
                  <a:lnTo>
                    <a:pt x="9426" y="7279"/>
                  </a:lnTo>
                  <a:lnTo>
                    <a:pt x="9377" y="7260"/>
                  </a:lnTo>
                  <a:lnTo>
                    <a:pt x="9330" y="7241"/>
                  </a:lnTo>
                  <a:lnTo>
                    <a:pt x="9282" y="7219"/>
                  </a:lnTo>
                  <a:lnTo>
                    <a:pt x="9236" y="7197"/>
                  </a:lnTo>
                  <a:lnTo>
                    <a:pt x="9189" y="7173"/>
                  </a:lnTo>
                  <a:lnTo>
                    <a:pt x="9145" y="7148"/>
                  </a:lnTo>
                  <a:lnTo>
                    <a:pt x="9101" y="7123"/>
                  </a:lnTo>
                  <a:lnTo>
                    <a:pt x="9057" y="7098"/>
                  </a:lnTo>
                  <a:lnTo>
                    <a:pt x="9016" y="7071"/>
                  </a:lnTo>
                  <a:lnTo>
                    <a:pt x="8975" y="7044"/>
                  </a:lnTo>
                  <a:lnTo>
                    <a:pt x="8935" y="7017"/>
                  </a:lnTo>
                  <a:lnTo>
                    <a:pt x="8897" y="6991"/>
                  </a:lnTo>
                  <a:lnTo>
                    <a:pt x="8861" y="6965"/>
                  </a:lnTo>
                  <a:lnTo>
                    <a:pt x="8826" y="6938"/>
                  </a:lnTo>
                  <a:lnTo>
                    <a:pt x="8793" y="6912"/>
                  </a:lnTo>
                  <a:lnTo>
                    <a:pt x="8761" y="6888"/>
                  </a:lnTo>
                  <a:lnTo>
                    <a:pt x="8731" y="6864"/>
                  </a:lnTo>
                  <a:lnTo>
                    <a:pt x="8703" y="6841"/>
                  </a:lnTo>
                  <a:lnTo>
                    <a:pt x="8677" y="6819"/>
                  </a:lnTo>
                  <a:lnTo>
                    <a:pt x="8654" y="6798"/>
                  </a:lnTo>
                  <a:lnTo>
                    <a:pt x="8632" y="6779"/>
                  </a:lnTo>
                  <a:lnTo>
                    <a:pt x="8612" y="6762"/>
                  </a:lnTo>
                  <a:lnTo>
                    <a:pt x="8595" y="6746"/>
                  </a:lnTo>
                  <a:lnTo>
                    <a:pt x="8580" y="6733"/>
                  </a:lnTo>
                  <a:lnTo>
                    <a:pt x="8568" y="6721"/>
                  </a:lnTo>
                  <a:lnTo>
                    <a:pt x="8559" y="6711"/>
                  </a:lnTo>
                  <a:lnTo>
                    <a:pt x="8551" y="6705"/>
                  </a:lnTo>
                  <a:lnTo>
                    <a:pt x="8547" y="6701"/>
                  </a:lnTo>
                  <a:lnTo>
                    <a:pt x="8545" y="6699"/>
                  </a:lnTo>
                  <a:lnTo>
                    <a:pt x="8546" y="6701"/>
                  </a:lnTo>
                  <a:lnTo>
                    <a:pt x="8547" y="6706"/>
                  </a:lnTo>
                  <a:lnTo>
                    <a:pt x="8549" y="6716"/>
                  </a:lnTo>
                  <a:lnTo>
                    <a:pt x="8553" y="6728"/>
                  </a:lnTo>
                  <a:lnTo>
                    <a:pt x="8559" y="6743"/>
                  </a:lnTo>
                  <a:lnTo>
                    <a:pt x="8565" y="6762"/>
                  </a:lnTo>
                  <a:lnTo>
                    <a:pt x="8574" y="6784"/>
                  </a:lnTo>
                  <a:lnTo>
                    <a:pt x="8584" y="6808"/>
                  </a:lnTo>
                  <a:lnTo>
                    <a:pt x="8597" y="6836"/>
                  </a:lnTo>
                  <a:lnTo>
                    <a:pt x="8612" y="6867"/>
                  </a:lnTo>
                  <a:lnTo>
                    <a:pt x="8630" y="6900"/>
                  </a:lnTo>
                  <a:lnTo>
                    <a:pt x="8651" y="6936"/>
                  </a:lnTo>
                  <a:lnTo>
                    <a:pt x="8674" y="6975"/>
                  </a:lnTo>
                  <a:lnTo>
                    <a:pt x="8701" y="7015"/>
                  </a:lnTo>
                  <a:lnTo>
                    <a:pt x="8730" y="7059"/>
                  </a:lnTo>
                  <a:lnTo>
                    <a:pt x="8764" y="7105"/>
                  </a:lnTo>
                  <a:lnTo>
                    <a:pt x="8812" y="7163"/>
                  </a:lnTo>
                  <a:lnTo>
                    <a:pt x="8862" y="7218"/>
                  </a:lnTo>
                  <a:lnTo>
                    <a:pt x="8914" y="7272"/>
                  </a:lnTo>
                  <a:lnTo>
                    <a:pt x="8966" y="7323"/>
                  </a:lnTo>
                  <a:lnTo>
                    <a:pt x="9019" y="7373"/>
                  </a:lnTo>
                  <a:lnTo>
                    <a:pt x="9071" y="7419"/>
                  </a:lnTo>
                  <a:lnTo>
                    <a:pt x="9121" y="7462"/>
                  </a:lnTo>
                  <a:lnTo>
                    <a:pt x="9169" y="7501"/>
                  </a:lnTo>
                  <a:lnTo>
                    <a:pt x="9214" y="7539"/>
                  </a:lnTo>
                  <a:lnTo>
                    <a:pt x="9235" y="7555"/>
                  </a:lnTo>
                  <a:lnTo>
                    <a:pt x="9255" y="7570"/>
                  </a:lnTo>
                  <a:lnTo>
                    <a:pt x="9275" y="7585"/>
                  </a:lnTo>
                  <a:lnTo>
                    <a:pt x="9293" y="7598"/>
                  </a:lnTo>
                  <a:lnTo>
                    <a:pt x="9309" y="7611"/>
                  </a:lnTo>
                  <a:lnTo>
                    <a:pt x="9325" y="7622"/>
                  </a:lnTo>
                  <a:lnTo>
                    <a:pt x="9338" y="7631"/>
                  </a:lnTo>
                  <a:lnTo>
                    <a:pt x="9350" y="7641"/>
                  </a:lnTo>
                  <a:lnTo>
                    <a:pt x="9362" y="7648"/>
                  </a:lnTo>
                  <a:lnTo>
                    <a:pt x="9370" y="7654"/>
                  </a:lnTo>
                  <a:lnTo>
                    <a:pt x="9377" y="7659"/>
                  </a:lnTo>
                  <a:lnTo>
                    <a:pt x="9382" y="7662"/>
                  </a:lnTo>
                  <a:lnTo>
                    <a:pt x="9386" y="7665"/>
                  </a:lnTo>
                  <a:lnTo>
                    <a:pt x="9387" y="7665"/>
                  </a:lnTo>
                  <a:lnTo>
                    <a:pt x="9387" y="7666"/>
                  </a:lnTo>
                  <a:lnTo>
                    <a:pt x="9386" y="7670"/>
                  </a:lnTo>
                  <a:lnTo>
                    <a:pt x="9382" y="7677"/>
                  </a:lnTo>
                  <a:lnTo>
                    <a:pt x="9379" y="7684"/>
                  </a:lnTo>
                  <a:lnTo>
                    <a:pt x="9376" y="7694"/>
                  </a:lnTo>
                  <a:lnTo>
                    <a:pt x="9371" y="7706"/>
                  </a:lnTo>
                  <a:lnTo>
                    <a:pt x="9366" y="7721"/>
                  </a:lnTo>
                  <a:lnTo>
                    <a:pt x="9360" y="7737"/>
                  </a:lnTo>
                  <a:lnTo>
                    <a:pt x="9352" y="7756"/>
                  </a:lnTo>
                  <a:lnTo>
                    <a:pt x="9344" y="7775"/>
                  </a:lnTo>
                  <a:lnTo>
                    <a:pt x="9336" y="7797"/>
                  </a:lnTo>
                  <a:lnTo>
                    <a:pt x="9327" y="7821"/>
                  </a:lnTo>
                  <a:lnTo>
                    <a:pt x="9317" y="7845"/>
                  </a:lnTo>
                  <a:lnTo>
                    <a:pt x="9307" y="7872"/>
                  </a:lnTo>
                  <a:lnTo>
                    <a:pt x="9296" y="7901"/>
                  </a:lnTo>
                  <a:lnTo>
                    <a:pt x="9284" y="7930"/>
                  </a:lnTo>
                  <a:lnTo>
                    <a:pt x="9272" y="7962"/>
                  </a:lnTo>
                  <a:lnTo>
                    <a:pt x="9260" y="7994"/>
                  </a:lnTo>
                  <a:lnTo>
                    <a:pt x="9246" y="8027"/>
                  </a:lnTo>
                  <a:lnTo>
                    <a:pt x="9232" y="8062"/>
                  </a:lnTo>
                  <a:lnTo>
                    <a:pt x="9217" y="8098"/>
                  </a:lnTo>
                  <a:lnTo>
                    <a:pt x="9203" y="8135"/>
                  </a:lnTo>
                  <a:lnTo>
                    <a:pt x="9172" y="8211"/>
                  </a:lnTo>
                  <a:lnTo>
                    <a:pt x="9139" y="8291"/>
                  </a:lnTo>
                  <a:lnTo>
                    <a:pt x="9105" y="8374"/>
                  </a:lnTo>
                  <a:lnTo>
                    <a:pt x="9070" y="8459"/>
                  </a:lnTo>
                  <a:lnTo>
                    <a:pt x="9032" y="8546"/>
                  </a:lnTo>
                  <a:lnTo>
                    <a:pt x="8994" y="8635"/>
                  </a:lnTo>
                  <a:lnTo>
                    <a:pt x="8956" y="8723"/>
                  </a:lnTo>
                  <a:lnTo>
                    <a:pt x="8878" y="8901"/>
                  </a:lnTo>
                  <a:lnTo>
                    <a:pt x="8837" y="8989"/>
                  </a:lnTo>
                  <a:lnTo>
                    <a:pt x="8797" y="9075"/>
                  </a:lnTo>
                  <a:lnTo>
                    <a:pt x="8757" y="9161"/>
                  </a:lnTo>
                  <a:lnTo>
                    <a:pt x="8717" y="9243"/>
                  </a:lnTo>
                  <a:lnTo>
                    <a:pt x="8676" y="9323"/>
                  </a:lnTo>
                  <a:lnTo>
                    <a:pt x="8637" y="9399"/>
                  </a:lnTo>
                  <a:lnTo>
                    <a:pt x="8617" y="9435"/>
                  </a:lnTo>
                  <a:lnTo>
                    <a:pt x="8599" y="9471"/>
                  </a:lnTo>
                  <a:lnTo>
                    <a:pt x="8579" y="9505"/>
                  </a:lnTo>
                  <a:lnTo>
                    <a:pt x="8561" y="9539"/>
                  </a:lnTo>
                  <a:lnTo>
                    <a:pt x="8542" y="9571"/>
                  </a:lnTo>
                  <a:lnTo>
                    <a:pt x="8524" y="9601"/>
                  </a:lnTo>
                  <a:lnTo>
                    <a:pt x="8506" y="9631"/>
                  </a:lnTo>
                  <a:lnTo>
                    <a:pt x="8488" y="9658"/>
                  </a:lnTo>
                  <a:lnTo>
                    <a:pt x="8471" y="9684"/>
                  </a:lnTo>
                  <a:lnTo>
                    <a:pt x="8453" y="9709"/>
                  </a:lnTo>
                  <a:lnTo>
                    <a:pt x="8437" y="9733"/>
                  </a:lnTo>
                  <a:lnTo>
                    <a:pt x="8420" y="9753"/>
                  </a:lnTo>
                  <a:lnTo>
                    <a:pt x="8388" y="9794"/>
                  </a:lnTo>
                  <a:lnTo>
                    <a:pt x="8354" y="9835"/>
                  </a:lnTo>
                  <a:lnTo>
                    <a:pt x="8284" y="9913"/>
                  </a:lnTo>
                  <a:lnTo>
                    <a:pt x="8210" y="9990"/>
                  </a:lnTo>
                  <a:lnTo>
                    <a:pt x="8132" y="10065"/>
                  </a:lnTo>
                  <a:lnTo>
                    <a:pt x="8052" y="10138"/>
                  </a:lnTo>
                  <a:lnTo>
                    <a:pt x="7969" y="10212"/>
                  </a:lnTo>
                  <a:lnTo>
                    <a:pt x="7885" y="10283"/>
                  </a:lnTo>
                  <a:lnTo>
                    <a:pt x="7798" y="10354"/>
                  </a:lnTo>
                  <a:lnTo>
                    <a:pt x="7709" y="10423"/>
                  </a:lnTo>
                  <a:lnTo>
                    <a:pt x="7620" y="10493"/>
                  </a:lnTo>
                  <a:lnTo>
                    <a:pt x="7440" y="10630"/>
                  </a:lnTo>
                  <a:lnTo>
                    <a:pt x="7258" y="10768"/>
                  </a:lnTo>
                  <a:lnTo>
                    <a:pt x="7169" y="10837"/>
                  </a:lnTo>
                  <a:lnTo>
                    <a:pt x="7080" y="10907"/>
                  </a:lnTo>
                  <a:lnTo>
                    <a:pt x="7046" y="10935"/>
                  </a:lnTo>
                  <a:lnTo>
                    <a:pt x="7013" y="10960"/>
                  </a:lnTo>
                  <a:lnTo>
                    <a:pt x="6981" y="10984"/>
                  </a:lnTo>
                  <a:lnTo>
                    <a:pt x="6951" y="11007"/>
                  </a:lnTo>
                  <a:lnTo>
                    <a:pt x="6921" y="11026"/>
                  </a:lnTo>
                  <a:lnTo>
                    <a:pt x="6894" y="11044"/>
                  </a:lnTo>
                  <a:lnTo>
                    <a:pt x="6866" y="11060"/>
                  </a:lnTo>
                  <a:lnTo>
                    <a:pt x="6839" y="11074"/>
                  </a:lnTo>
                  <a:lnTo>
                    <a:pt x="6813" y="11086"/>
                  </a:lnTo>
                  <a:lnTo>
                    <a:pt x="6788" y="11097"/>
                  </a:lnTo>
                  <a:lnTo>
                    <a:pt x="6763" y="11106"/>
                  </a:lnTo>
                  <a:lnTo>
                    <a:pt x="6739" y="11113"/>
                  </a:lnTo>
                  <a:lnTo>
                    <a:pt x="6715" y="11118"/>
                  </a:lnTo>
                  <a:lnTo>
                    <a:pt x="6691" y="11122"/>
                  </a:lnTo>
                  <a:lnTo>
                    <a:pt x="6667" y="11124"/>
                  </a:lnTo>
                  <a:lnTo>
                    <a:pt x="6645" y="11125"/>
                  </a:lnTo>
                  <a:lnTo>
                    <a:pt x="6627" y="11124"/>
                  </a:lnTo>
                  <a:lnTo>
                    <a:pt x="6610" y="11123"/>
                  </a:lnTo>
                  <a:lnTo>
                    <a:pt x="6592" y="11120"/>
                  </a:lnTo>
                  <a:lnTo>
                    <a:pt x="6576" y="11116"/>
                  </a:lnTo>
                  <a:lnTo>
                    <a:pt x="6558" y="11111"/>
                  </a:lnTo>
                  <a:lnTo>
                    <a:pt x="6541" y="11105"/>
                  </a:lnTo>
                  <a:lnTo>
                    <a:pt x="6524" y="11097"/>
                  </a:lnTo>
                  <a:lnTo>
                    <a:pt x="6506" y="11089"/>
                  </a:lnTo>
                  <a:lnTo>
                    <a:pt x="6489" y="11080"/>
                  </a:lnTo>
                  <a:lnTo>
                    <a:pt x="6471" y="11070"/>
                  </a:lnTo>
                  <a:lnTo>
                    <a:pt x="6454" y="11057"/>
                  </a:lnTo>
                  <a:lnTo>
                    <a:pt x="6436" y="11044"/>
                  </a:lnTo>
                  <a:lnTo>
                    <a:pt x="6418" y="11030"/>
                  </a:lnTo>
                  <a:lnTo>
                    <a:pt x="6399" y="11015"/>
                  </a:lnTo>
                  <a:lnTo>
                    <a:pt x="6379" y="10998"/>
                  </a:lnTo>
                  <a:lnTo>
                    <a:pt x="6360" y="10981"/>
                  </a:lnTo>
                  <a:lnTo>
                    <a:pt x="6340" y="10961"/>
                  </a:lnTo>
                  <a:lnTo>
                    <a:pt x="6320" y="10942"/>
                  </a:lnTo>
                  <a:lnTo>
                    <a:pt x="6299" y="10920"/>
                  </a:lnTo>
                  <a:lnTo>
                    <a:pt x="6277" y="10898"/>
                  </a:lnTo>
                  <a:lnTo>
                    <a:pt x="6255" y="10874"/>
                  </a:lnTo>
                  <a:lnTo>
                    <a:pt x="6232" y="10849"/>
                  </a:lnTo>
                  <a:lnTo>
                    <a:pt x="6208" y="10823"/>
                  </a:lnTo>
                  <a:lnTo>
                    <a:pt x="6184" y="10796"/>
                  </a:lnTo>
                  <a:lnTo>
                    <a:pt x="6160" y="10768"/>
                  </a:lnTo>
                  <a:lnTo>
                    <a:pt x="6134" y="10738"/>
                  </a:lnTo>
                  <a:lnTo>
                    <a:pt x="6107" y="10707"/>
                  </a:lnTo>
                  <a:lnTo>
                    <a:pt x="6079" y="10674"/>
                  </a:lnTo>
                  <a:lnTo>
                    <a:pt x="6050" y="10641"/>
                  </a:lnTo>
                  <a:lnTo>
                    <a:pt x="6021" y="10606"/>
                  </a:lnTo>
                  <a:lnTo>
                    <a:pt x="5990" y="10570"/>
                  </a:lnTo>
                  <a:lnTo>
                    <a:pt x="5958" y="10533"/>
                  </a:lnTo>
                  <a:lnTo>
                    <a:pt x="5938" y="10505"/>
                  </a:lnTo>
                  <a:lnTo>
                    <a:pt x="5917" y="10478"/>
                  </a:lnTo>
                  <a:lnTo>
                    <a:pt x="5897" y="10453"/>
                  </a:lnTo>
                  <a:lnTo>
                    <a:pt x="5880" y="10427"/>
                  </a:lnTo>
                  <a:lnTo>
                    <a:pt x="5846" y="10377"/>
                  </a:lnTo>
                  <a:lnTo>
                    <a:pt x="5817" y="10330"/>
                  </a:lnTo>
                  <a:lnTo>
                    <a:pt x="5791" y="10286"/>
                  </a:lnTo>
                  <a:lnTo>
                    <a:pt x="5769" y="10242"/>
                  </a:lnTo>
                  <a:lnTo>
                    <a:pt x="5751" y="10202"/>
                  </a:lnTo>
                  <a:lnTo>
                    <a:pt x="5735" y="10163"/>
                  </a:lnTo>
                  <a:lnTo>
                    <a:pt x="5724" y="10127"/>
                  </a:lnTo>
                  <a:lnTo>
                    <a:pt x="5715" y="10092"/>
                  </a:lnTo>
                  <a:lnTo>
                    <a:pt x="5708" y="10059"/>
                  </a:lnTo>
                  <a:lnTo>
                    <a:pt x="5705" y="10027"/>
                  </a:lnTo>
                  <a:lnTo>
                    <a:pt x="5705" y="9997"/>
                  </a:lnTo>
                  <a:lnTo>
                    <a:pt x="5706" y="9969"/>
                  </a:lnTo>
                  <a:lnTo>
                    <a:pt x="5710" y="9943"/>
                  </a:lnTo>
                  <a:lnTo>
                    <a:pt x="5718" y="9917"/>
                  </a:lnTo>
                  <a:lnTo>
                    <a:pt x="5726" y="9893"/>
                  </a:lnTo>
                  <a:lnTo>
                    <a:pt x="5735" y="9870"/>
                  </a:lnTo>
                  <a:lnTo>
                    <a:pt x="5748" y="9848"/>
                  </a:lnTo>
                  <a:lnTo>
                    <a:pt x="5761" y="9827"/>
                  </a:lnTo>
                  <a:lnTo>
                    <a:pt x="5776" y="9808"/>
                  </a:lnTo>
                  <a:lnTo>
                    <a:pt x="5792" y="9788"/>
                  </a:lnTo>
                  <a:lnTo>
                    <a:pt x="5810" y="9770"/>
                  </a:lnTo>
                  <a:lnTo>
                    <a:pt x="5827" y="9752"/>
                  </a:lnTo>
                  <a:lnTo>
                    <a:pt x="5866" y="9719"/>
                  </a:lnTo>
                  <a:lnTo>
                    <a:pt x="5907" y="9688"/>
                  </a:lnTo>
                  <a:lnTo>
                    <a:pt x="5949" y="9658"/>
                  </a:lnTo>
                  <a:lnTo>
                    <a:pt x="5990" y="9628"/>
                  </a:lnTo>
                  <a:lnTo>
                    <a:pt x="6073" y="9583"/>
                  </a:lnTo>
                  <a:lnTo>
                    <a:pt x="6156" y="9541"/>
                  </a:lnTo>
                  <a:lnTo>
                    <a:pt x="6197" y="9520"/>
                  </a:lnTo>
                  <a:lnTo>
                    <a:pt x="6237" y="9500"/>
                  </a:lnTo>
                  <a:lnTo>
                    <a:pt x="6276" y="9480"/>
                  </a:lnTo>
                  <a:lnTo>
                    <a:pt x="6313" y="9462"/>
                  </a:lnTo>
                  <a:lnTo>
                    <a:pt x="6348" y="9442"/>
                  </a:lnTo>
                  <a:lnTo>
                    <a:pt x="6383" y="9424"/>
                  </a:lnTo>
                  <a:lnTo>
                    <a:pt x="6413" y="9406"/>
                  </a:lnTo>
                  <a:lnTo>
                    <a:pt x="6441" y="9387"/>
                  </a:lnTo>
                  <a:lnTo>
                    <a:pt x="6466" y="9370"/>
                  </a:lnTo>
                  <a:lnTo>
                    <a:pt x="6488" y="9352"/>
                  </a:lnTo>
                  <a:lnTo>
                    <a:pt x="6505" y="9335"/>
                  </a:lnTo>
                  <a:lnTo>
                    <a:pt x="6514" y="9326"/>
                  </a:lnTo>
                  <a:lnTo>
                    <a:pt x="6520" y="9317"/>
                  </a:lnTo>
                  <a:lnTo>
                    <a:pt x="6525" y="9307"/>
                  </a:lnTo>
                  <a:lnTo>
                    <a:pt x="6530" y="9295"/>
                  </a:lnTo>
                  <a:lnTo>
                    <a:pt x="6535" y="9279"/>
                  </a:lnTo>
                  <a:lnTo>
                    <a:pt x="6538" y="9262"/>
                  </a:lnTo>
                  <a:lnTo>
                    <a:pt x="6543" y="9242"/>
                  </a:lnTo>
                  <a:lnTo>
                    <a:pt x="6546" y="9222"/>
                  </a:lnTo>
                  <a:lnTo>
                    <a:pt x="6549" y="9198"/>
                  </a:lnTo>
                  <a:lnTo>
                    <a:pt x="6551" y="9173"/>
                  </a:lnTo>
                  <a:lnTo>
                    <a:pt x="6553" y="9147"/>
                  </a:lnTo>
                  <a:lnTo>
                    <a:pt x="6555" y="9120"/>
                  </a:lnTo>
                  <a:lnTo>
                    <a:pt x="6556" y="9092"/>
                  </a:lnTo>
                  <a:lnTo>
                    <a:pt x="6557" y="9062"/>
                  </a:lnTo>
                  <a:lnTo>
                    <a:pt x="6558" y="9001"/>
                  </a:lnTo>
                  <a:lnTo>
                    <a:pt x="6559" y="8939"/>
                  </a:lnTo>
                  <a:lnTo>
                    <a:pt x="6558" y="8877"/>
                  </a:lnTo>
                  <a:lnTo>
                    <a:pt x="6558" y="8815"/>
                  </a:lnTo>
                  <a:lnTo>
                    <a:pt x="6556" y="8755"/>
                  </a:lnTo>
                  <a:lnTo>
                    <a:pt x="6556" y="8726"/>
                  </a:lnTo>
                  <a:lnTo>
                    <a:pt x="6555" y="8699"/>
                  </a:lnTo>
                  <a:lnTo>
                    <a:pt x="6554" y="8673"/>
                  </a:lnTo>
                  <a:lnTo>
                    <a:pt x="6554" y="8648"/>
                  </a:lnTo>
                  <a:lnTo>
                    <a:pt x="6553" y="8625"/>
                  </a:lnTo>
                  <a:lnTo>
                    <a:pt x="6552" y="8604"/>
                  </a:lnTo>
                  <a:lnTo>
                    <a:pt x="6552" y="8584"/>
                  </a:lnTo>
                  <a:lnTo>
                    <a:pt x="6552" y="8567"/>
                  </a:lnTo>
                  <a:lnTo>
                    <a:pt x="6551" y="8551"/>
                  </a:lnTo>
                  <a:lnTo>
                    <a:pt x="6551" y="8538"/>
                  </a:lnTo>
                  <a:lnTo>
                    <a:pt x="6548" y="8561"/>
                  </a:lnTo>
                  <a:lnTo>
                    <a:pt x="6543" y="8586"/>
                  </a:lnTo>
                  <a:lnTo>
                    <a:pt x="6537" y="8612"/>
                  </a:lnTo>
                  <a:lnTo>
                    <a:pt x="6530" y="8638"/>
                  </a:lnTo>
                  <a:lnTo>
                    <a:pt x="6522" y="8664"/>
                  </a:lnTo>
                  <a:lnTo>
                    <a:pt x="6512" y="8691"/>
                  </a:lnTo>
                  <a:lnTo>
                    <a:pt x="6500" y="8718"/>
                  </a:lnTo>
                  <a:lnTo>
                    <a:pt x="6488" y="8746"/>
                  </a:lnTo>
                  <a:lnTo>
                    <a:pt x="6474" y="8773"/>
                  </a:lnTo>
                  <a:lnTo>
                    <a:pt x="6458" y="8800"/>
                  </a:lnTo>
                  <a:lnTo>
                    <a:pt x="6441" y="8827"/>
                  </a:lnTo>
                  <a:lnTo>
                    <a:pt x="6422" y="8855"/>
                  </a:lnTo>
                  <a:lnTo>
                    <a:pt x="6401" y="8882"/>
                  </a:lnTo>
                  <a:lnTo>
                    <a:pt x="6379" y="8907"/>
                  </a:lnTo>
                  <a:lnTo>
                    <a:pt x="6355" y="8933"/>
                  </a:lnTo>
                  <a:lnTo>
                    <a:pt x="6329" y="8959"/>
                  </a:lnTo>
                  <a:lnTo>
                    <a:pt x="6301" y="8984"/>
                  </a:lnTo>
                  <a:lnTo>
                    <a:pt x="6271" y="9006"/>
                  </a:lnTo>
                  <a:lnTo>
                    <a:pt x="6239" y="9029"/>
                  </a:lnTo>
                  <a:lnTo>
                    <a:pt x="6205" y="9052"/>
                  </a:lnTo>
                  <a:lnTo>
                    <a:pt x="6169" y="9071"/>
                  </a:lnTo>
                  <a:lnTo>
                    <a:pt x="6131" y="9091"/>
                  </a:lnTo>
                  <a:lnTo>
                    <a:pt x="6089" y="9109"/>
                  </a:lnTo>
                  <a:lnTo>
                    <a:pt x="6047" y="9126"/>
                  </a:lnTo>
                  <a:lnTo>
                    <a:pt x="6002" y="9140"/>
                  </a:lnTo>
                  <a:lnTo>
                    <a:pt x="5954" y="9154"/>
                  </a:lnTo>
                  <a:lnTo>
                    <a:pt x="5905" y="9165"/>
                  </a:lnTo>
                  <a:lnTo>
                    <a:pt x="5852" y="9174"/>
                  </a:lnTo>
                  <a:lnTo>
                    <a:pt x="5796" y="9182"/>
                  </a:lnTo>
                  <a:lnTo>
                    <a:pt x="5739" y="9188"/>
                  </a:lnTo>
                  <a:lnTo>
                    <a:pt x="5678" y="9192"/>
                  </a:lnTo>
                  <a:lnTo>
                    <a:pt x="5616" y="9193"/>
                  </a:lnTo>
                  <a:lnTo>
                    <a:pt x="5554" y="9193"/>
                  </a:lnTo>
                  <a:lnTo>
                    <a:pt x="5477" y="9188"/>
                  </a:lnTo>
                  <a:lnTo>
                    <a:pt x="5403" y="9180"/>
                  </a:lnTo>
                  <a:lnTo>
                    <a:pt x="5334" y="9170"/>
                  </a:lnTo>
                  <a:lnTo>
                    <a:pt x="5267" y="9158"/>
                  </a:lnTo>
                  <a:lnTo>
                    <a:pt x="5204" y="9142"/>
                  </a:lnTo>
                  <a:lnTo>
                    <a:pt x="5144" y="9126"/>
                  </a:lnTo>
                  <a:lnTo>
                    <a:pt x="5086" y="9106"/>
                  </a:lnTo>
                  <a:lnTo>
                    <a:pt x="5032" y="9085"/>
                  </a:lnTo>
                  <a:lnTo>
                    <a:pt x="4982" y="9062"/>
                  </a:lnTo>
                  <a:lnTo>
                    <a:pt x="4934" y="9037"/>
                  </a:lnTo>
                  <a:lnTo>
                    <a:pt x="4889" y="9012"/>
                  </a:lnTo>
                  <a:lnTo>
                    <a:pt x="4847" y="8985"/>
                  </a:lnTo>
                  <a:lnTo>
                    <a:pt x="4807" y="8957"/>
                  </a:lnTo>
                  <a:lnTo>
                    <a:pt x="4771" y="8928"/>
                  </a:lnTo>
                  <a:lnTo>
                    <a:pt x="4736" y="8899"/>
                  </a:lnTo>
                  <a:lnTo>
                    <a:pt x="4704" y="8869"/>
                  </a:lnTo>
                  <a:lnTo>
                    <a:pt x="4675" y="8839"/>
                  </a:lnTo>
                  <a:lnTo>
                    <a:pt x="4647" y="8809"/>
                  </a:lnTo>
                  <a:lnTo>
                    <a:pt x="4622" y="8779"/>
                  </a:lnTo>
                  <a:lnTo>
                    <a:pt x="4600" y="8749"/>
                  </a:lnTo>
                  <a:lnTo>
                    <a:pt x="4579" y="8720"/>
                  </a:lnTo>
                  <a:lnTo>
                    <a:pt x="4560" y="8691"/>
                  </a:lnTo>
                  <a:lnTo>
                    <a:pt x="4543" y="8663"/>
                  </a:lnTo>
                  <a:lnTo>
                    <a:pt x="4528" y="8636"/>
                  </a:lnTo>
                  <a:lnTo>
                    <a:pt x="4515" y="8610"/>
                  </a:lnTo>
                  <a:lnTo>
                    <a:pt x="4503" y="8585"/>
                  </a:lnTo>
                  <a:lnTo>
                    <a:pt x="4492" y="8562"/>
                  </a:lnTo>
                  <a:lnTo>
                    <a:pt x="4484" y="8541"/>
                  </a:lnTo>
                  <a:lnTo>
                    <a:pt x="4477" y="8521"/>
                  </a:lnTo>
                  <a:lnTo>
                    <a:pt x="4471" y="8504"/>
                  </a:lnTo>
                  <a:lnTo>
                    <a:pt x="4467" y="8488"/>
                  </a:lnTo>
                  <a:lnTo>
                    <a:pt x="4462" y="8476"/>
                  </a:lnTo>
                  <a:lnTo>
                    <a:pt x="4465" y="8501"/>
                  </a:lnTo>
                  <a:lnTo>
                    <a:pt x="4469" y="8528"/>
                  </a:lnTo>
                  <a:lnTo>
                    <a:pt x="4471" y="8558"/>
                  </a:lnTo>
                  <a:lnTo>
                    <a:pt x="4473" y="8590"/>
                  </a:lnTo>
                  <a:lnTo>
                    <a:pt x="4475" y="8625"/>
                  </a:lnTo>
                  <a:lnTo>
                    <a:pt x="4477" y="8661"/>
                  </a:lnTo>
                  <a:lnTo>
                    <a:pt x="4479" y="8699"/>
                  </a:lnTo>
                  <a:lnTo>
                    <a:pt x="4480" y="8740"/>
                  </a:lnTo>
                  <a:lnTo>
                    <a:pt x="4482" y="8780"/>
                  </a:lnTo>
                  <a:lnTo>
                    <a:pt x="4483" y="8822"/>
                  </a:lnTo>
                  <a:lnTo>
                    <a:pt x="4485" y="8910"/>
                  </a:lnTo>
                  <a:lnTo>
                    <a:pt x="4486" y="8998"/>
                  </a:lnTo>
                  <a:lnTo>
                    <a:pt x="4486" y="9088"/>
                  </a:lnTo>
                  <a:lnTo>
                    <a:pt x="4486" y="9175"/>
                  </a:lnTo>
                  <a:lnTo>
                    <a:pt x="4485" y="9219"/>
                  </a:lnTo>
                  <a:lnTo>
                    <a:pt x="4485" y="9262"/>
                  </a:lnTo>
                  <a:lnTo>
                    <a:pt x="4484" y="9303"/>
                  </a:lnTo>
                  <a:lnTo>
                    <a:pt x="4483" y="9342"/>
                  </a:lnTo>
                  <a:lnTo>
                    <a:pt x="4482" y="9381"/>
                  </a:lnTo>
                  <a:lnTo>
                    <a:pt x="4480" y="9418"/>
                  </a:lnTo>
                  <a:lnTo>
                    <a:pt x="4479" y="9453"/>
                  </a:lnTo>
                  <a:lnTo>
                    <a:pt x="4477" y="9486"/>
                  </a:lnTo>
                  <a:lnTo>
                    <a:pt x="4475" y="9516"/>
                  </a:lnTo>
                  <a:lnTo>
                    <a:pt x="4473" y="9545"/>
                  </a:lnTo>
                  <a:lnTo>
                    <a:pt x="4471" y="9571"/>
                  </a:lnTo>
                  <a:lnTo>
                    <a:pt x="4469" y="9592"/>
                  </a:lnTo>
                  <a:lnTo>
                    <a:pt x="4465" y="9612"/>
                  </a:lnTo>
                  <a:lnTo>
                    <a:pt x="4462" y="9628"/>
                  </a:lnTo>
                  <a:lnTo>
                    <a:pt x="4459" y="9642"/>
                  </a:lnTo>
                  <a:lnTo>
                    <a:pt x="4454" y="9656"/>
                  </a:lnTo>
                  <a:lnTo>
                    <a:pt x="4448" y="9673"/>
                  </a:lnTo>
                  <a:lnTo>
                    <a:pt x="4441" y="9691"/>
                  </a:lnTo>
                  <a:lnTo>
                    <a:pt x="4431" y="9712"/>
                  </a:lnTo>
                  <a:lnTo>
                    <a:pt x="4422" y="9734"/>
                  </a:lnTo>
                  <a:lnTo>
                    <a:pt x="4412" y="9756"/>
                  </a:lnTo>
                  <a:lnTo>
                    <a:pt x="4400" y="9781"/>
                  </a:lnTo>
                  <a:lnTo>
                    <a:pt x="4388" y="9806"/>
                  </a:lnTo>
                  <a:lnTo>
                    <a:pt x="4376" y="9832"/>
                  </a:lnTo>
                  <a:lnTo>
                    <a:pt x="4349" y="9887"/>
                  </a:lnTo>
                  <a:lnTo>
                    <a:pt x="4320" y="9945"/>
                  </a:lnTo>
                  <a:lnTo>
                    <a:pt x="4291" y="10002"/>
                  </a:lnTo>
                  <a:lnTo>
                    <a:pt x="4262" y="10061"/>
                  </a:lnTo>
                  <a:lnTo>
                    <a:pt x="4234" y="10118"/>
                  </a:lnTo>
                  <a:lnTo>
                    <a:pt x="4207" y="10173"/>
                  </a:lnTo>
                  <a:lnTo>
                    <a:pt x="4194" y="10199"/>
                  </a:lnTo>
                  <a:lnTo>
                    <a:pt x="4183" y="10225"/>
                  </a:lnTo>
                  <a:lnTo>
                    <a:pt x="4171" y="10249"/>
                  </a:lnTo>
                  <a:lnTo>
                    <a:pt x="4160" y="10272"/>
                  </a:lnTo>
                  <a:lnTo>
                    <a:pt x="4151" y="10294"/>
                  </a:lnTo>
                  <a:lnTo>
                    <a:pt x="4142" y="10313"/>
                  </a:lnTo>
                  <a:lnTo>
                    <a:pt x="4135" y="10332"/>
                  </a:lnTo>
                  <a:lnTo>
                    <a:pt x="4129" y="10350"/>
                  </a:lnTo>
                  <a:lnTo>
                    <a:pt x="4124" y="10364"/>
                  </a:lnTo>
                  <a:lnTo>
                    <a:pt x="4120" y="10376"/>
                  </a:lnTo>
                  <a:lnTo>
                    <a:pt x="4118" y="10389"/>
                  </a:lnTo>
                  <a:lnTo>
                    <a:pt x="4116" y="10402"/>
                  </a:lnTo>
                  <a:lnTo>
                    <a:pt x="4113" y="10418"/>
                  </a:lnTo>
                  <a:lnTo>
                    <a:pt x="4112" y="10433"/>
                  </a:lnTo>
                  <a:lnTo>
                    <a:pt x="4110" y="10467"/>
                  </a:lnTo>
                  <a:lnTo>
                    <a:pt x="4108" y="10504"/>
                  </a:lnTo>
                  <a:lnTo>
                    <a:pt x="4107" y="10544"/>
                  </a:lnTo>
                  <a:lnTo>
                    <a:pt x="4106" y="10585"/>
                  </a:lnTo>
                  <a:lnTo>
                    <a:pt x="4104" y="10629"/>
                  </a:lnTo>
                  <a:lnTo>
                    <a:pt x="4100" y="10673"/>
                  </a:lnTo>
                  <a:lnTo>
                    <a:pt x="4095" y="10716"/>
                  </a:lnTo>
                  <a:lnTo>
                    <a:pt x="4088" y="10759"/>
                  </a:lnTo>
                  <a:lnTo>
                    <a:pt x="4076" y="10802"/>
                  </a:lnTo>
                  <a:lnTo>
                    <a:pt x="4063" y="10841"/>
                  </a:lnTo>
                  <a:lnTo>
                    <a:pt x="4055" y="10860"/>
                  </a:lnTo>
                  <a:lnTo>
                    <a:pt x="4045" y="10879"/>
                  </a:lnTo>
                  <a:lnTo>
                    <a:pt x="4035" y="10896"/>
                  </a:lnTo>
                  <a:lnTo>
                    <a:pt x="4024" y="10913"/>
                  </a:lnTo>
                  <a:lnTo>
                    <a:pt x="4010" y="10928"/>
                  </a:lnTo>
                  <a:lnTo>
                    <a:pt x="3996" y="10943"/>
                  </a:lnTo>
                  <a:lnTo>
                    <a:pt x="3981" y="10956"/>
                  </a:lnTo>
                  <a:lnTo>
                    <a:pt x="3964" y="10969"/>
                  </a:lnTo>
                  <a:lnTo>
                    <a:pt x="3951" y="10975"/>
                  </a:lnTo>
                  <a:lnTo>
                    <a:pt x="3938" y="10981"/>
                  </a:lnTo>
                  <a:lnTo>
                    <a:pt x="3922" y="10986"/>
                  </a:lnTo>
                  <a:lnTo>
                    <a:pt x="3906" y="10992"/>
                  </a:lnTo>
                  <a:lnTo>
                    <a:pt x="3888" y="10997"/>
                  </a:lnTo>
                  <a:lnTo>
                    <a:pt x="3869" y="11003"/>
                  </a:lnTo>
                  <a:lnTo>
                    <a:pt x="3849" y="11008"/>
                  </a:lnTo>
                  <a:lnTo>
                    <a:pt x="3828" y="11012"/>
                  </a:lnTo>
                  <a:lnTo>
                    <a:pt x="3805" y="11016"/>
                  </a:lnTo>
                  <a:lnTo>
                    <a:pt x="3782" y="11020"/>
                  </a:lnTo>
                  <a:lnTo>
                    <a:pt x="3732" y="11026"/>
                  </a:lnTo>
                  <a:lnTo>
                    <a:pt x="3678" y="11029"/>
                  </a:lnTo>
                  <a:lnTo>
                    <a:pt x="3621" y="11031"/>
                  </a:lnTo>
                  <a:lnTo>
                    <a:pt x="3556" y="11029"/>
                  </a:lnTo>
                  <a:lnTo>
                    <a:pt x="3490" y="11025"/>
                  </a:lnTo>
                  <a:lnTo>
                    <a:pt x="3423" y="11019"/>
                  </a:lnTo>
                  <a:lnTo>
                    <a:pt x="3355" y="11010"/>
                  </a:lnTo>
                  <a:lnTo>
                    <a:pt x="3286" y="10998"/>
                  </a:lnTo>
                  <a:lnTo>
                    <a:pt x="3215" y="10984"/>
                  </a:lnTo>
                  <a:lnTo>
                    <a:pt x="3145" y="10969"/>
                  </a:lnTo>
                  <a:lnTo>
                    <a:pt x="3075" y="10950"/>
                  </a:lnTo>
                  <a:lnTo>
                    <a:pt x="3005" y="10930"/>
                  </a:lnTo>
                  <a:lnTo>
                    <a:pt x="2936" y="10909"/>
                  </a:lnTo>
                  <a:lnTo>
                    <a:pt x="2865" y="10886"/>
                  </a:lnTo>
                  <a:lnTo>
                    <a:pt x="2796" y="10861"/>
                  </a:lnTo>
                  <a:lnTo>
                    <a:pt x="2728" y="10836"/>
                  </a:lnTo>
                  <a:lnTo>
                    <a:pt x="2661" y="10808"/>
                  </a:lnTo>
                  <a:lnTo>
                    <a:pt x="2595" y="10780"/>
                  </a:lnTo>
                  <a:lnTo>
                    <a:pt x="2531" y="10751"/>
                  </a:lnTo>
                  <a:lnTo>
                    <a:pt x="2507" y="10741"/>
                  </a:lnTo>
                  <a:lnTo>
                    <a:pt x="2482" y="10732"/>
                  </a:lnTo>
                  <a:lnTo>
                    <a:pt x="2457" y="10721"/>
                  </a:lnTo>
                  <a:lnTo>
                    <a:pt x="2429" y="10712"/>
                  </a:lnTo>
                  <a:lnTo>
                    <a:pt x="2374" y="10693"/>
                  </a:lnTo>
                  <a:lnTo>
                    <a:pt x="2348" y="10681"/>
                  </a:lnTo>
                  <a:lnTo>
                    <a:pt x="2322" y="10670"/>
                  </a:lnTo>
                  <a:lnTo>
                    <a:pt x="2298" y="10658"/>
                  </a:lnTo>
                  <a:lnTo>
                    <a:pt x="2276" y="10643"/>
                  </a:lnTo>
                  <a:lnTo>
                    <a:pt x="2256" y="10629"/>
                  </a:lnTo>
                  <a:lnTo>
                    <a:pt x="2240" y="10611"/>
                  </a:lnTo>
                  <a:lnTo>
                    <a:pt x="2226" y="10593"/>
                  </a:lnTo>
                  <a:lnTo>
                    <a:pt x="2221" y="10583"/>
                  </a:lnTo>
                  <a:lnTo>
                    <a:pt x="2216" y="10573"/>
                  </a:lnTo>
                  <a:lnTo>
                    <a:pt x="2213" y="10562"/>
                  </a:lnTo>
                  <a:lnTo>
                    <a:pt x="2211" y="10550"/>
                  </a:lnTo>
                  <a:lnTo>
                    <a:pt x="2210" y="10538"/>
                  </a:lnTo>
                  <a:lnTo>
                    <a:pt x="2211" y="10525"/>
                  </a:lnTo>
                  <a:lnTo>
                    <a:pt x="2214" y="10490"/>
                  </a:lnTo>
                  <a:lnTo>
                    <a:pt x="2219" y="10452"/>
                  </a:lnTo>
                  <a:lnTo>
                    <a:pt x="2225" y="10411"/>
                  </a:lnTo>
                  <a:lnTo>
                    <a:pt x="2233" y="10369"/>
                  </a:lnTo>
                  <a:lnTo>
                    <a:pt x="2241" y="10326"/>
                  </a:lnTo>
                  <a:lnTo>
                    <a:pt x="2250" y="10281"/>
                  </a:lnTo>
                  <a:lnTo>
                    <a:pt x="2260" y="10234"/>
                  </a:lnTo>
                  <a:lnTo>
                    <a:pt x="2271" y="10187"/>
                  </a:lnTo>
                  <a:lnTo>
                    <a:pt x="2296" y="10091"/>
                  </a:lnTo>
                  <a:lnTo>
                    <a:pt x="2321" y="9993"/>
                  </a:lnTo>
                  <a:lnTo>
                    <a:pt x="2349" y="9895"/>
                  </a:lnTo>
                  <a:lnTo>
                    <a:pt x="2377" y="9801"/>
                  </a:lnTo>
                  <a:lnTo>
                    <a:pt x="2391" y="9754"/>
                  </a:lnTo>
                  <a:lnTo>
                    <a:pt x="2405" y="9709"/>
                  </a:lnTo>
                  <a:lnTo>
                    <a:pt x="2418" y="9666"/>
                  </a:lnTo>
                  <a:lnTo>
                    <a:pt x="2432" y="9623"/>
                  </a:lnTo>
                  <a:lnTo>
                    <a:pt x="2444" y="9583"/>
                  </a:lnTo>
                  <a:lnTo>
                    <a:pt x="2457" y="9545"/>
                  </a:lnTo>
                  <a:lnTo>
                    <a:pt x="2469" y="9509"/>
                  </a:lnTo>
                  <a:lnTo>
                    <a:pt x="2479" y="9476"/>
                  </a:lnTo>
                  <a:lnTo>
                    <a:pt x="2490" y="9445"/>
                  </a:lnTo>
                  <a:lnTo>
                    <a:pt x="2499" y="9417"/>
                  </a:lnTo>
                  <a:lnTo>
                    <a:pt x="2508" y="9393"/>
                  </a:lnTo>
                  <a:lnTo>
                    <a:pt x="2515" y="9372"/>
                  </a:lnTo>
                  <a:lnTo>
                    <a:pt x="2522" y="9355"/>
                  </a:lnTo>
                  <a:lnTo>
                    <a:pt x="2526" y="9340"/>
                  </a:lnTo>
                  <a:lnTo>
                    <a:pt x="2528" y="9335"/>
                  </a:lnTo>
                  <a:lnTo>
                    <a:pt x="2530" y="9331"/>
                  </a:lnTo>
                  <a:lnTo>
                    <a:pt x="2531" y="9327"/>
                  </a:lnTo>
                  <a:lnTo>
                    <a:pt x="2532" y="9325"/>
                  </a:lnTo>
                  <a:lnTo>
                    <a:pt x="2531" y="9325"/>
                  </a:lnTo>
                  <a:lnTo>
                    <a:pt x="2530" y="9322"/>
                  </a:lnTo>
                  <a:lnTo>
                    <a:pt x="2528" y="9318"/>
                  </a:lnTo>
                  <a:lnTo>
                    <a:pt x="2525" y="9313"/>
                  </a:lnTo>
                  <a:lnTo>
                    <a:pt x="2521" y="9307"/>
                  </a:lnTo>
                  <a:lnTo>
                    <a:pt x="2515" y="9300"/>
                  </a:lnTo>
                  <a:lnTo>
                    <a:pt x="2509" y="9291"/>
                  </a:lnTo>
                  <a:lnTo>
                    <a:pt x="2503" y="9280"/>
                  </a:lnTo>
                  <a:lnTo>
                    <a:pt x="2496" y="9269"/>
                  </a:lnTo>
                  <a:lnTo>
                    <a:pt x="2488" y="9256"/>
                  </a:lnTo>
                  <a:lnTo>
                    <a:pt x="2479" y="9242"/>
                  </a:lnTo>
                  <a:lnTo>
                    <a:pt x="2469" y="9227"/>
                  </a:lnTo>
                  <a:lnTo>
                    <a:pt x="2460" y="9211"/>
                  </a:lnTo>
                  <a:lnTo>
                    <a:pt x="2448" y="9194"/>
                  </a:lnTo>
                  <a:lnTo>
                    <a:pt x="2437" y="9175"/>
                  </a:lnTo>
                  <a:lnTo>
                    <a:pt x="2425" y="9156"/>
                  </a:lnTo>
                  <a:lnTo>
                    <a:pt x="2399" y="9113"/>
                  </a:lnTo>
                  <a:lnTo>
                    <a:pt x="2371" y="9068"/>
                  </a:lnTo>
                  <a:lnTo>
                    <a:pt x="2341" y="9019"/>
                  </a:lnTo>
                  <a:lnTo>
                    <a:pt x="2310" y="8966"/>
                  </a:lnTo>
                  <a:lnTo>
                    <a:pt x="2276" y="8910"/>
                  </a:lnTo>
                  <a:lnTo>
                    <a:pt x="2242" y="8851"/>
                  </a:lnTo>
                  <a:lnTo>
                    <a:pt x="2206" y="8789"/>
                  </a:lnTo>
                  <a:lnTo>
                    <a:pt x="2169" y="8725"/>
                  </a:lnTo>
                  <a:lnTo>
                    <a:pt x="2131" y="8658"/>
                  </a:lnTo>
                  <a:lnTo>
                    <a:pt x="2093" y="8590"/>
                  </a:lnTo>
                  <a:lnTo>
                    <a:pt x="2054" y="8520"/>
                  </a:lnTo>
                  <a:lnTo>
                    <a:pt x="2015" y="8448"/>
                  </a:lnTo>
                  <a:lnTo>
                    <a:pt x="1976" y="8375"/>
                  </a:lnTo>
                  <a:lnTo>
                    <a:pt x="1937" y="8300"/>
                  </a:lnTo>
                  <a:lnTo>
                    <a:pt x="1860" y="8148"/>
                  </a:lnTo>
                  <a:lnTo>
                    <a:pt x="1823" y="8072"/>
                  </a:lnTo>
                  <a:lnTo>
                    <a:pt x="1786" y="7995"/>
                  </a:lnTo>
                  <a:lnTo>
                    <a:pt x="1750" y="7918"/>
                  </a:lnTo>
                  <a:lnTo>
                    <a:pt x="1716" y="7841"/>
                  </a:lnTo>
                  <a:lnTo>
                    <a:pt x="1683" y="7765"/>
                  </a:lnTo>
                  <a:lnTo>
                    <a:pt x="1652" y="7689"/>
                  </a:lnTo>
                  <a:lnTo>
                    <a:pt x="1622" y="7615"/>
                  </a:lnTo>
                  <a:lnTo>
                    <a:pt x="1596" y="7541"/>
                  </a:lnTo>
                  <a:lnTo>
                    <a:pt x="1571" y="7466"/>
                  </a:lnTo>
                  <a:lnTo>
                    <a:pt x="1548" y="7391"/>
                  </a:lnTo>
                  <a:lnTo>
                    <a:pt x="1530" y="7314"/>
                  </a:lnTo>
                  <a:lnTo>
                    <a:pt x="1512" y="7236"/>
                  </a:lnTo>
                  <a:lnTo>
                    <a:pt x="1498" y="7156"/>
                  </a:lnTo>
                  <a:lnTo>
                    <a:pt x="1485" y="7076"/>
                  </a:lnTo>
                  <a:lnTo>
                    <a:pt x="1476" y="6996"/>
                  </a:lnTo>
                  <a:lnTo>
                    <a:pt x="1468" y="6915"/>
                  </a:lnTo>
                  <a:lnTo>
                    <a:pt x="1461" y="6835"/>
                  </a:lnTo>
                  <a:lnTo>
                    <a:pt x="1457" y="6755"/>
                  </a:lnTo>
                  <a:lnTo>
                    <a:pt x="1454" y="6675"/>
                  </a:lnTo>
                  <a:lnTo>
                    <a:pt x="1452" y="6597"/>
                  </a:lnTo>
                  <a:lnTo>
                    <a:pt x="1452" y="6520"/>
                  </a:lnTo>
                  <a:lnTo>
                    <a:pt x="1454" y="6444"/>
                  </a:lnTo>
                  <a:lnTo>
                    <a:pt x="1456" y="6370"/>
                  </a:lnTo>
                  <a:lnTo>
                    <a:pt x="1459" y="6298"/>
                  </a:lnTo>
                  <a:lnTo>
                    <a:pt x="1464" y="6228"/>
                  </a:lnTo>
                  <a:lnTo>
                    <a:pt x="1468" y="6161"/>
                  </a:lnTo>
                  <a:lnTo>
                    <a:pt x="1474" y="6098"/>
                  </a:lnTo>
                  <a:lnTo>
                    <a:pt x="1479" y="6036"/>
                  </a:lnTo>
                  <a:lnTo>
                    <a:pt x="1485" y="5978"/>
                  </a:lnTo>
                  <a:lnTo>
                    <a:pt x="1491" y="5923"/>
                  </a:lnTo>
                  <a:lnTo>
                    <a:pt x="1494" y="5899"/>
                  </a:lnTo>
                  <a:lnTo>
                    <a:pt x="1498" y="5874"/>
                  </a:lnTo>
                  <a:lnTo>
                    <a:pt x="1501" y="5850"/>
                  </a:lnTo>
                  <a:lnTo>
                    <a:pt x="1504" y="5828"/>
                  </a:lnTo>
                  <a:lnTo>
                    <a:pt x="1507" y="5806"/>
                  </a:lnTo>
                  <a:lnTo>
                    <a:pt x="1510" y="5785"/>
                  </a:lnTo>
                  <a:lnTo>
                    <a:pt x="1512" y="5767"/>
                  </a:lnTo>
                  <a:lnTo>
                    <a:pt x="1515" y="5748"/>
                  </a:lnTo>
                  <a:lnTo>
                    <a:pt x="1518" y="5732"/>
                  </a:lnTo>
                  <a:lnTo>
                    <a:pt x="1520" y="5716"/>
                  </a:lnTo>
                  <a:lnTo>
                    <a:pt x="1522" y="5702"/>
                  </a:lnTo>
                  <a:lnTo>
                    <a:pt x="1524" y="5690"/>
                  </a:lnTo>
                  <a:lnTo>
                    <a:pt x="1526" y="5678"/>
                  </a:lnTo>
                  <a:lnTo>
                    <a:pt x="1529" y="5668"/>
                  </a:lnTo>
                  <a:lnTo>
                    <a:pt x="1530" y="5660"/>
                  </a:lnTo>
                  <a:lnTo>
                    <a:pt x="1531" y="5653"/>
                  </a:lnTo>
                  <a:lnTo>
                    <a:pt x="1532" y="5647"/>
                  </a:lnTo>
                  <a:lnTo>
                    <a:pt x="1533" y="5643"/>
                  </a:lnTo>
                  <a:lnTo>
                    <a:pt x="1534" y="5641"/>
                  </a:lnTo>
                  <a:lnTo>
                    <a:pt x="1534" y="5640"/>
                  </a:lnTo>
                  <a:lnTo>
                    <a:pt x="1533" y="5640"/>
                  </a:lnTo>
                  <a:lnTo>
                    <a:pt x="1530" y="5642"/>
                  </a:lnTo>
                  <a:lnTo>
                    <a:pt x="1523" y="5645"/>
                  </a:lnTo>
                  <a:lnTo>
                    <a:pt x="1516" y="5649"/>
                  </a:lnTo>
                  <a:lnTo>
                    <a:pt x="1506" y="5655"/>
                  </a:lnTo>
                  <a:lnTo>
                    <a:pt x="1493" y="5660"/>
                  </a:lnTo>
                  <a:lnTo>
                    <a:pt x="1480" y="5665"/>
                  </a:lnTo>
                  <a:lnTo>
                    <a:pt x="1464" y="5671"/>
                  </a:lnTo>
                  <a:lnTo>
                    <a:pt x="1445" y="5677"/>
                  </a:lnTo>
                  <a:lnTo>
                    <a:pt x="1423" y="5682"/>
                  </a:lnTo>
                  <a:lnTo>
                    <a:pt x="1401" y="5688"/>
                  </a:lnTo>
                  <a:lnTo>
                    <a:pt x="1376" y="5693"/>
                  </a:lnTo>
                  <a:lnTo>
                    <a:pt x="1348" y="5697"/>
                  </a:lnTo>
                  <a:lnTo>
                    <a:pt x="1318" y="5700"/>
                  </a:lnTo>
                  <a:lnTo>
                    <a:pt x="1287" y="5702"/>
                  </a:lnTo>
                  <a:lnTo>
                    <a:pt x="1253" y="5702"/>
                  </a:lnTo>
                  <a:lnTo>
                    <a:pt x="1216" y="5701"/>
                  </a:lnTo>
                  <a:lnTo>
                    <a:pt x="1177" y="5697"/>
                  </a:lnTo>
                  <a:lnTo>
                    <a:pt x="1134" y="5691"/>
                  </a:lnTo>
                  <a:lnTo>
                    <a:pt x="1089" y="5682"/>
                  </a:lnTo>
                  <a:lnTo>
                    <a:pt x="1041" y="5673"/>
                  </a:lnTo>
                  <a:lnTo>
                    <a:pt x="990" y="5663"/>
                  </a:lnTo>
                  <a:lnTo>
                    <a:pt x="936" y="5651"/>
                  </a:lnTo>
                  <a:lnTo>
                    <a:pt x="879" y="5640"/>
                  </a:lnTo>
                  <a:lnTo>
                    <a:pt x="848" y="5624"/>
                  </a:lnTo>
                  <a:lnTo>
                    <a:pt x="818" y="5606"/>
                  </a:lnTo>
                  <a:lnTo>
                    <a:pt x="791" y="5587"/>
                  </a:lnTo>
                  <a:lnTo>
                    <a:pt x="766" y="5564"/>
                  </a:lnTo>
                  <a:lnTo>
                    <a:pt x="742" y="5541"/>
                  </a:lnTo>
                  <a:lnTo>
                    <a:pt x="720" y="5516"/>
                  </a:lnTo>
                  <a:lnTo>
                    <a:pt x="700" y="5490"/>
                  </a:lnTo>
                  <a:lnTo>
                    <a:pt x="681" y="5462"/>
                  </a:lnTo>
                  <a:lnTo>
                    <a:pt x="663" y="5434"/>
                  </a:lnTo>
                  <a:lnTo>
                    <a:pt x="647" y="5404"/>
                  </a:lnTo>
                  <a:lnTo>
                    <a:pt x="632" y="5374"/>
                  </a:lnTo>
                  <a:lnTo>
                    <a:pt x="619" y="5345"/>
                  </a:lnTo>
                  <a:lnTo>
                    <a:pt x="608" y="5314"/>
                  </a:lnTo>
                  <a:lnTo>
                    <a:pt x="596" y="5284"/>
                  </a:lnTo>
                  <a:lnTo>
                    <a:pt x="587" y="5253"/>
                  </a:lnTo>
                  <a:lnTo>
                    <a:pt x="579" y="5223"/>
                  </a:lnTo>
                  <a:lnTo>
                    <a:pt x="564" y="5164"/>
                  </a:lnTo>
                  <a:lnTo>
                    <a:pt x="559" y="5136"/>
                  </a:lnTo>
                  <a:lnTo>
                    <a:pt x="554" y="5109"/>
                  </a:lnTo>
                  <a:lnTo>
                    <a:pt x="550" y="5083"/>
                  </a:lnTo>
                  <a:lnTo>
                    <a:pt x="546" y="5058"/>
                  </a:lnTo>
                  <a:lnTo>
                    <a:pt x="544" y="5034"/>
                  </a:lnTo>
                  <a:lnTo>
                    <a:pt x="541" y="5013"/>
                  </a:lnTo>
                  <a:lnTo>
                    <a:pt x="540" y="4993"/>
                  </a:lnTo>
                  <a:lnTo>
                    <a:pt x="538" y="4976"/>
                  </a:lnTo>
                  <a:lnTo>
                    <a:pt x="538" y="4960"/>
                  </a:lnTo>
                  <a:lnTo>
                    <a:pt x="536" y="4947"/>
                  </a:lnTo>
                  <a:lnTo>
                    <a:pt x="536" y="4937"/>
                  </a:lnTo>
                  <a:lnTo>
                    <a:pt x="535" y="4929"/>
                  </a:lnTo>
                  <a:lnTo>
                    <a:pt x="535" y="4924"/>
                  </a:lnTo>
                  <a:lnTo>
                    <a:pt x="535" y="4923"/>
                  </a:lnTo>
                  <a:lnTo>
                    <a:pt x="535" y="4922"/>
                  </a:lnTo>
                  <a:lnTo>
                    <a:pt x="533" y="4921"/>
                  </a:lnTo>
                  <a:lnTo>
                    <a:pt x="530" y="4920"/>
                  </a:lnTo>
                  <a:lnTo>
                    <a:pt x="526" y="4917"/>
                  </a:lnTo>
                  <a:lnTo>
                    <a:pt x="516" y="4909"/>
                  </a:lnTo>
                  <a:lnTo>
                    <a:pt x="503" y="4899"/>
                  </a:lnTo>
                  <a:lnTo>
                    <a:pt x="488" y="4884"/>
                  </a:lnTo>
                  <a:lnTo>
                    <a:pt x="471" y="4866"/>
                  </a:lnTo>
                  <a:lnTo>
                    <a:pt x="455" y="4844"/>
                  </a:lnTo>
                  <a:lnTo>
                    <a:pt x="438" y="4818"/>
                  </a:lnTo>
                  <a:lnTo>
                    <a:pt x="430" y="4804"/>
                  </a:lnTo>
                  <a:lnTo>
                    <a:pt x="423" y="4788"/>
                  </a:lnTo>
                  <a:lnTo>
                    <a:pt x="416" y="4772"/>
                  </a:lnTo>
                  <a:lnTo>
                    <a:pt x="410" y="4754"/>
                  </a:lnTo>
                  <a:lnTo>
                    <a:pt x="404" y="4736"/>
                  </a:lnTo>
                  <a:lnTo>
                    <a:pt x="399" y="4716"/>
                  </a:lnTo>
                  <a:lnTo>
                    <a:pt x="395" y="4696"/>
                  </a:lnTo>
                  <a:lnTo>
                    <a:pt x="391" y="4673"/>
                  </a:lnTo>
                  <a:lnTo>
                    <a:pt x="389" y="4650"/>
                  </a:lnTo>
                  <a:lnTo>
                    <a:pt x="388" y="4627"/>
                  </a:lnTo>
                  <a:lnTo>
                    <a:pt x="388" y="4601"/>
                  </a:lnTo>
                  <a:lnTo>
                    <a:pt x="390" y="4574"/>
                  </a:lnTo>
                  <a:lnTo>
                    <a:pt x="393" y="4546"/>
                  </a:lnTo>
                  <a:lnTo>
                    <a:pt x="397" y="4517"/>
                  </a:lnTo>
                  <a:lnTo>
                    <a:pt x="403" y="4488"/>
                  </a:lnTo>
                  <a:lnTo>
                    <a:pt x="412" y="4456"/>
                  </a:lnTo>
                  <a:lnTo>
                    <a:pt x="421" y="4424"/>
                  </a:lnTo>
                  <a:lnTo>
                    <a:pt x="433" y="4392"/>
                  </a:lnTo>
                  <a:lnTo>
                    <a:pt x="449" y="4361"/>
                  </a:lnTo>
                  <a:lnTo>
                    <a:pt x="465" y="4329"/>
                  </a:lnTo>
                  <a:lnTo>
                    <a:pt x="484" y="4298"/>
                  </a:lnTo>
                  <a:lnTo>
                    <a:pt x="503" y="4268"/>
                  </a:lnTo>
                  <a:lnTo>
                    <a:pt x="525" y="4238"/>
                  </a:lnTo>
                  <a:lnTo>
                    <a:pt x="548" y="4209"/>
                  </a:lnTo>
                  <a:lnTo>
                    <a:pt x="573" y="4181"/>
                  </a:lnTo>
                  <a:lnTo>
                    <a:pt x="597" y="4152"/>
                  </a:lnTo>
                  <a:lnTo>
                    <a:pt x="650" y="4098"/>
                  </a:lnTo>
                  <a:lnTo>
                    <a:pt x="704" y="4048"/>
                  </a:lnTo>
                  <a:lnTo>
                    <a:pt x="758" y="4000"/>
                  </a:lnTo>
                  <a:lnTo>
                    <a:pt x="785" y="3978"/>
                  </a:lnTo>
                  <a:lnTo>
                    <a:pt x="811" y="3957"/>
                  </a:lnTo>
                  <a:lnTo>
                    <a:pt x="837" y="3936"/>
                  </a:lnTo>
                  <a:lnTo>
                    <a:pt x="863" y="3918"/>
                  </a:lnTo>
                  <a:lnTo>
                    <a:pt x="886" y="3900"/>
                  </a:lnTo>
                  <a:lnTo>
                    <a:pt x="909" y="3884"/>
                  </a:lnTo>
                  <a:lnTo>
                    <a:pt x="931" y="3870"/>
                  </a:lnTo>
                  <a:lnTo>
                    <a:pt x="950" y="3855"/>
                  </a:lnTo>
                  <a:lnTo>
                    <a:pt x="969" y="3843"/>
                  </a:lnTo>
                  <a:lnTo>
                    <a:pt x="986" y="3832"/>
                  </a:lnTo>
                  <a:lnTo>
                    <a:pt x="1000" y="3823"/>
                  </a:lnTo>
                  <a:lnTo>
                    <a:pt x="1012" y="3815"/>
                  </a:lnTo>
                  <a:lnTo>
                    <a:pt x="1022" y="3810"/>
                  </a:lnTo>
                  <a:lnTo>
                    <a:pt x="1029" y="3805"/>
                  </a:lnTo>
                  <a:lnTo>
                    <a:pt x="1033" y="3803"/>
                  </a:lnTo>
                  <a:lnTo>
                    <a:pt x="1035" y="3802"/>
                  </a:lnTo>
                  <a:lnTo>
                    <a:pt x="1034" y="3803"/>
                  </a:lnTo>
                  <a:lnTo>
                    <a:pt x="1033" y="3805"/>
                  </a:lnTo>
                  <a:lnTo>
                    <a:pt x="1032" y="3809"/>
                  </a:lnTo>
                  <a:lnTo>
                    <a:pt x="1030" y="3814"/>
                  </a:lnTo>
                  <a:lnTo>
                    <a:pt x="1027" y="3821"/>
                  </a:lnTo>
                  <a:lnTo>
                    <a:pt x="1024" y="3830"/>
                  </a:lnTo>
                  <a:lnTo>
                    <a:pt x="1020" y="3841"/>
                  </a:lnTo>
                  <a:lnTo>
                    <a:pt x="1015" y="3852"/>
                  </a:lnTo>
                  <a:lnTo>
                    <a:pt x="1011" y="3865"/>
                  </a:lnTo>
                  <a:lnTo>
                    <a:pt x="1007" y="3881"/>
                  </a:lnTo>
                  <a:lnTo>
                    <a:pt x="1002" y="3897"/>
                  </a:lnTo>
                  <a:lnTo>
                    <a:pt x="997" y="3915"/>
                  </a:lnTo>
                  <a:lnTo>
                    <a:pt x="992" y="3933"/>
                  </a:lnTo>
                  <a:lnTo>
                    <a:pt x="987" y="3954"/>
                  </a:lnTo>
                  <a:lnTo>
                    <a:pt x="981" y="3977"/>
                  </a:lnTo>
                  <a:lnTo>
                    <a:pt x="976" y="4000"/>
                  </a:lnTo>
                  <a:lnTo>
                    <a:pt x="971" y="4025"/>
                  </a:lnTo>
                  <a:lnTo>
                    <a:pt x="966" y="4051"/>
                  </a:lnTo>
                  <a:lnTo>
                    <a:pt x="962" y="4079"/>
                  </a:lnTo>
                  <a:lnTo>
                    <a:pt x="957" y="4107"/>
                  </a:lnTo>
                  <a:lnTo>
                    <a:pt x="953" y="4137"/>
                  </a:lnTo>
                  <a:lnTo>
                    <a:pt x="949" y="4168"/>
                  </a:lnTo>
                  <a:lnTo>
                    <a:pt x="945" y="4201"/>
                  </a:lnTo>
                  <a:lnTo>
                    <a:pt x="942" y="4235"/>
                  </a:lnTo>
                  <a:lnTo>
                    <a:pt x="940" y="4270"/>
                  </a:lnTo>
                  <a:lnTo>
                    <a:pt x="938" y="4306"/>
                  </a:lnTo>
                  <a:lnTo>
                    <a:pt x="937" y="4344"/>
                  </a:lnTo>
                  <a:lnTo>
                    <a:pt x="936" y="4382"/>
                  </a:lnTo>
                  <a:lnTo>
                    <a:pt x="936" y="4423"/>
                  </a:lnTo>
                  <a:lnTo>
                    <a:pt x="937" y="4464"/>
                  </a:lnTo>
                  <a:lnTo>
                    <a:pt x="938" y="4506"/>
                  </a:lnTo>
                  <a:lnTo>
                    <a:pt x="941" y="4549"/>
                  </a:lnTo>
                  <a:lnTo>
                    <a:pt x="943" y="4575"/>
                  </a:lnTo>
                  <a:lnTo>
                    <a:pt x="943" y="4599"/>
                  </a:lnTo>
                  <a:lnTo>
                    <a:pt x="943" y="4621"/>
                  </a:lnTo>
                  <a:lnTo>
                    <a:pt x="940" y="4643"/>
                  </a:lnTo>
                  <a:lnTo>
                    <a:pt x="937" y="4664"/>
                  </a:lnTo>
                  <a:lnTo>
                    <a:pt x="933" y="4682"/>
                  </a:lnTo>
                  <a:lnTo>
                    <a:pt x="927" y="4700"/>
                  </a:lnTo>
                  <a:lnTo>
                    <a:pt x="921" y="4716"/>
                  </a:lnTo>
                  <a:lnTo>
                    <a:pt x="912" y="4732"/>
                  </a:lnTo>
                  <a:lnTo>
                    <a:pt x="904" y="4746"/>
                  </a:lnTo>
                  <a:lnTo>
                    <a:pt x="896" y="4758"/>
                  </a:lnTo>
                  <a:lnTo>
                    <a:pt x="885" y="4771"/>
                  </a:lnTo>
                  <a:lnTo>
                    <a:pt x="866" y="4792"/>
                  </a:lnTo>
                  <a:lnTo>
                    <a:pt x="844" y="4810"/>
                  </a:lnTo>
                  <a:lnTo>
                    <a:pt x="821" y="4824"/>
                  </a:lnTo>
                  <a:lnTo>
                    <a:pt x="801" y="4836"/>
                  </a:lnTo>
                  <a:lnTo>
                    <a:pt x="780" y="4845"/>
                  </a:lnTo>
                  <a:lnTo>
                    <a:pt x="762" y="4851"/>
                  </a:lnTo>
                  <a:lnTo>
                    <a:pt x="746" y="4856"/>
                  </a:lnTo>
                  <a:lnTo>
                    <a:pt x="740" y="4857"/>
                  </a:lnTo>
                  <a:lnTo>
                    <a:pt x="734" y="4858"/>
                  </a:lnTo>
                  <a:lnTo>
                    <a:pt x="730" y="4859"/>
                  </a:lnTo>
                  <a:lnTo>
                    <a:pt x="725" y="4860"/>
                  </a:lnTo>
                  <a:lnTo>
                    <a:pt x="723" y="4860"/>
                  </a:lnTo>
                  <a:lnTo>
                    <a:pt x="723" y="4860"/>
                  </a:lnTo>
                  <a:lnTo>
                    <a:pt x="723" y="4861"/>
                  </a:lnTo>
                  <a:lnTo>
                    <a:pt x="724" y="4865"/>
                  </a:lnTo>
                  <a:lnTo>
                    <a:pt x="726" y="4869"/>
                  </a:lnTo>
                  <a:lnTo>
                    <a:pt x="728" y="4874"/>
                  </a:lnTo>
                  <a:lnTo>
                    <a:pt x="733" y="4881"/>
                  </a:lnTo>
                  <a:lnTo>
                    <a:pt x="737" y="4889"/>
                  </a:lnTo>
                  <a:lnTo>
                    <a:pt x="741" y="4899"/>
                  </a:lnTo>
                  <a:lnTo>
                    <a:pt x="747" y="4910"/>
                  </a:lnTo>
                  <a:lnTo>
                    <a:pt x="760" y="4933"/>
                  </a:lnTo>
                  <a:lnTo>
                    <a:pt x="777" y="4959"/>
                  </a:lnTo>
                  <a:lnTo>
                    <a:pt x="798" y="4987"/>
                  </a:lnTo>
                  <a:lnTo>
                    <a:pt x="820" y="5017"/>
                  </a:lnTo>
                  <a:lnTo>
                    <a:pt x="847" y="5046"/>
                  </a:lnTo>
                  <a:lnTo>
                    <a:pt x="877" y="5074"/>
                  </a:lnTo>
                  <a:lnTo>
                    <a:pt x="910" y="5100"/>
                  </a:lnTo>
                  <a:lnTo>
                    <a:pt x="946" y="5124"/>
                  </a:lnTo>
                  <a:lnTo>
                    <a:pt x="966" y="5134"/>
                  </a:lnTo>
                  <a:lnTo>
                    <a:pt x="987" y="5144"/>
                  </a:lnTo>
                  <a:lnTo>
                    <a:pt x="1008" y="5152"/>
                  </a:lnTo>
                  <a:lnTo>
                    <a:pt x="1030" y="5159"/>
                  </a:lnTo>
                  <a:lnTo>
                    <a:pt x="1054" y="5164"/>
                  </a:lnTo>
                  <a:lnTo>
                    <a:pt x="1077" y="5168"/>
                  </a:lnTo>
                  <a:lnTo>
                    <a:pt x="1102" y="5171"/>
                  </a:lnTo>
                  <a:lnTo>
                    <a:pt x="1128" y="5173"/>
                  </a:lnTo>
                  <a:lnTo>
                    <a:pt x="1190" y="5173"/>
                  </a:lnTo>
                  <a:lnTo>
                    <a:pt x="1219" y="5168"/>
                  </a:lnTo>
                  <a:lnTo>
                    <a:pt x="1247" y="5163"/>
                  </a:lnTo>
                  <a:lnTo>
                    <a:pt x="1275" y="5155"/>
                  </a:lnTo>
                  <a:lnTo>
                    <a:pt x="1301" y="5146"/>
                  </a:lnTo>
                  <a:lnTo>
                    <a:pt x="1328" y="5133"/>
                  </a:lnTo>
                  <a:lnTo>
                    <a:pt x="1355" y="5120"/>
                  </a:lnTo>
                  <a:lnTo>
                    <a:pt x="1382" y="5104"/>
                  </a:lnTo>
                  <a:lnTo>
                    <a:pt x="1409" y="5085"/>
                  </a:lnTo>
                  <a:lnTo>
                    <a:pt x="1436" y="5064"/>
                  </a:lnTo>
                  <a:lnTo>
                    <a:pt x="1464" y="5041"/>
                  </a:lnTo>
                  <a:lnTo>
                    <a:pt x="1492" y="5015"/>
                  </a:lnTo>
                  <a:lnTo>
                    <a:pt x="1521" y="4986"/>
                  </a:lnTo>
                  <a:lnTo>
                    <a:pt x="1551" y="4955"/>
                  </a:lnTo>
                  <a:lnTo>
                    <a:pt x="1583" y="4921"/>
                  </a:lnTo>
                  <a:lnTo>
                    <a:pt x="1616" y="4885"/>
                  </a:lnTo>
                  <a:lnTo>
                    <a:pt x="1650" y="4845"/>
                  </a:lnTo>
                  <a:lnTo>
                    <a:pt x="1686" y="4803"/>
                  </a:lnTo>
                  <a:lnTo>
                    <a:pt x="1724" y="4757"/>
                  </a:lnTo>
                  <a:lnTo>
                    <a:pt x="1763" y="4709"/>
                  </a:lnTo>
                  <a:lnTo>
                    <a:pt x="1805" y="4657"/>
                  </a:lnTo>
                  <a:lnTo>
                    <a:pt x="1850" y="4603"/>
                  </a:lnTo>
                  <a:lnTo>
                    <a:pt x="1896" y="4544"/>
                  </a:lnTo>
                  <a:lnTo>
                    <a:pt x="1945" y="4483"/>
                  </a:lnTo>
                  <a:lnTo>
                    <a:pt x="1997" y="4419"/>
                  </a:lnTo>
                  <a:lnTo>
                    <a:pt x="2052" y="4351"/>
                  </a:lnTo>
                  <a:lnTo>
                    <a:pt x="2110" y="4278"/>
                  </a:lnTo>
                  <a:lnTo>
                    <a:pt x="2171" y="4203"/>
                  </a:lnTo>
                  <a:lnTo>
                    <a:pt x="2236" y="4124"/>
                  </a:lnTo>
                  <a:lnTo>
                    <a:pt x="2304" y="4042"/>
                  </a:lnTo>
                  <a:lnTo>
                    <a:pt x="2375" y="3955"/>
                  </a:lnTo>
                  <a:lnTo>
                    <a:pt x="2451" y="3864"/>
                  </a:lnTo>
                  <a:lnTo>
                    <a:pt x="2491" y="3818"/>
                  </a:lnTo>
                  <a:lnTo>
                    <a:pt x="2531" y="3770"/>
                  </a:lnTo>
                  <a:lnTo>
                    <a:pt x="2565" y="3730"/>
                  </a:lnTo>
                  <a:lnTo>
                    <a:pt x="2601" y="3692"/>
                  </a:lnTo>
                  <a:lnTo>
                    <a:pt x="2638" y="3655"/>
                  </a:lnTo>
                  <a:lnTo>
                    <a:pt x="2676" y="3619"/>
                  </a:lnTo>
                  <a:lnTo>
                    <a:pt x="2717" y="3583"/>
                  </a:lnTo>
                  <a:lnTo>
                    <a:pt x="2757" y="3548"/>
                  </a:lnTo>
                  <a:lnTo>
                    <a:pt x="2799" y="3514"/>
                  </a:lnTo>
                  <a:lnTo>
                    <a:pt x="2843" y="3481"/>
                  </a:lnTo>
                  <a:lnTo>
                    <a:pt x="2931" y="3417"/>
                  </a:lnTo>
                  <a:lnTo>
                    <a:pt x="3024" y="3357"/>
                  </a:lnTo>
                  <a:lnTo>
                    <a:pt x="3119" y="3299"/>
                  </a:lnTo>
                  <a:lnTo>
                    <a:pt x="3217" y="3244"/>
                  </a:lnTo>
                  <a:lnTo>
                    <a:pt x="3318" y="3193"/>
                  </a:lnTo>
                  <a:lnTo>
                    <a:pt x="3420" y="3144"/>
                  </a:lnTo>
                  <a:lnTo>
                    <a:pt x="3522" y="3098"/>
                  </a:lnTo>
                  <a:lnTo>
                    <a:pt x="3625" y="3055"/>
                  </a:lnTo>
                  <a:lnTo>
                    <a:pt x="3727" y="3015"/>
                  </a:lnTo>
                  <a:lnTo>
                    <a:pt x="3830" y="2976"/>
                  </a:lnTo>
                  <a:lnTo>
                    <a:pt x="3931" y="2941"/>
                  </a:lnTo>
                  <a:lnTo>
                    <a:pt x="4031" y="2908"/>
                  </a:lnTo>
                  <a:lnTo>
                    <a:pt x="4128" y="2879"/>
                  </a:lnTo>
                  <a:lnTo>
                    <a:pt x="4223" y="2851"/>
                  </a:lnTo>
                  <a:lnTo>
                    <a:pt x="4315" y="2825"/>
                  </a:lnTo>
                  <a:lnTo>
                    <a:pt x="4359" y="2814"/>
                  </a:lnTo>
                  <a:lnTo>
                    <a:pt x="4403" y="2802"/>
                  </a:lnTo>
                  <a:lnTo>
                    <a:pt x="4445" y="2792"/>
                  </a:lnTo>
                  <a:lnTo>
                    <a:pt x="4487" y="2782"/>
                  </a:lnTo>
                  <a:lnTo>
                    <a:pt x="4527" y="2771"/>
                  </a:lnTo>
                  <a:lnTo>
                    <a:pt x="4567" y="2762"/>
                  </a:lnTo>
                  <a:lnTo>
                    <a:pt x="4604" y="2754"/>
                  </a:lnTo>
                  <a:lnTo>
                    <a:pt x="4640" y="2746"/>
                  </a:lnTo>
                  <a:lnTo>
                    <a:pt x="4675" y="2739"/>
                  </a:lnTo>
                  <a:lnTo>
                    <a:pt x="4709" y="2731"/>
                  </a:lnTo>
                  <a:lnTo>
                    <a:pt x="4741" y="2724"/>
                  </a:lnTo>
                  <a:lnTo>
                    <a:pt x="4771" y="2719"/>
                  </a:lnTo>
                  <a:lnTo>
                    <a:pt x="4800" y="2713"/>
                  </a:lnTo>
                  <a:lnTo>
                    <a:pt x="4827" y="2708"/>
                  </a:lnTo>
                  <a:lnTo>
                    <a:pt x="4853" y="2702"/>
                  </a:lnTo>
                  <a:lnTo>
                    <a:pt x="4875" y="2698"/>
                  </a:lnTo>
                  <a:lnTo>
                    <a:pt x="4897" y="2695"/>
                  </a:lnTo>
                  <a:lnTo>
                    <a:pt x="4917" y="2691"/>
                  </a:lnTo>
                  <a:lnTo>
                    <a:pt x="4934" y="2688"/>
                  </a:lnTo>
                  <a:lnTo>
                    <a:pt x="4949" y="2686"/>
                  </a:lnTo>
                  <a:lnTo>
                    <a:pt x="4962" y="2684"/>
                  </a:lnTo>
                  <a:lnTo>
                    <a:pt x="4973" y="2682"/>
                  </a:lnTo>
                  <a:lnTo>
                    <a:pt x="4982" y="2681"/>
                  </a:lnTo>
                  <a:lnTo>
                    <a:pt x="4988" y="2680"/>
                  </a:lnTo>
                  <a:lnTo>
                    <a:pt x="4992" y="2679"/>
                  </a:lnTo>
                  <a:lnTo>
                    <a:pt x="4993" y="2679"/>
                  </a:lnTo>
                  <a:lnTo>
                    <a:pt x="4991" y="2681"/>
                  </a:lnTo>
                  <a:lnTo>
                    <a:pt x="4986" y="2686"/>
                  </a:lnTo>
                  <a:lnTo>
                    <a:pt x="4978" y="2695"/>
                  </a:lnTo>
                  <a:lnTo>
                    <a:pt x="4967" y="2708"/>
                  </a:lnTo>
                  <a:lnTo>
                    <a:pt x="4953" y="2723"/>
                  </a:lnTo>
                  <a:lnTo>
                    <a:pt x="4936" y="2742"/>
                  </a:lnTo>
                  <a:lnTo>
                    <a:pt x="4918" y="2762"/>
                  </a:lnTo>
                  <a:lnTo>
                    <a:pt x="4897" y="2785"/>
                  </a:lnTo>
                  <a:lnTo>
                    <a:pt x="4873" y="2811"/>
                  </a:lnTo>
                  <a:lnTo>
                    <a:pt x="4848" y="2838"/>
                  </a:lnTo>
                  <a:lnTo>
                    <a:pt x="4822" y="2868"/>
                  </a:lnTo>
                  <a:lnTo>
                    <a:pt x="4794" y="2899"/>
                  </a:lnTo>
                  <a:lnTo>
                    <a:pt x="4765" y="2932"/>
                  </a:lnTo>
                  <a:lnTo>
                    <a:pt x="4734" y="2966"/>
                  </a:lnTo>
                  <a:lnTo>
                    <a:pt x="4702" y="3001"/>
                  </a:lnTo>
                  <a:lnTo>
                    <a:pt x="4670" y="3037"/>
                  </a:lnTo>
                  <a:lnTo>
                    <a:pt x="4603" y="3111"/>
                  </a:lnTo>
                  <a:lnTo>
                    <a:pt x="4535" y="3188"/>
                  </a:lnTo>
                  <a:lnTo>
                    <a:pt x="4468" y="3263"/>
                  </a:lnTo>
                  <a:lnTo>
                    <a:pt x="4401" y="3337"/>
                  </a:lnTo>
                  <a:lnTo>
                    <a:pt x="4369" y="3372"/>
                  </a:lnTo>
                  <a:lnTo>
                    <a:pt x="4339" y="3407"/>
                  </a:lnTo>
                  <a:lnTo>
                    <a:pt x="4309" y="3440"/>
                  </a:lnTo>
                  <a:lnTo>
                    <a:pt x="4280" y="3473"/>
                  </a:lnTo>
                  <a:lnTo>
                    <a:pt x="4253" y="3503"/>
                  </a:lnTo>
                  <a:lnTo>
                    <a:pt x="4227" y="3532"/>
                  </a:lnTo>
                  <a:lnTo>
                    <a:pt x="4204" y="3558"/>
                  </a:lnTo>
                  <a:lnTo>
                    <a:pt x="4183" y="3583"/>
                  </a:lnTo>
                  <a:lnTo>
                    <a:pt x="4164" y="3607"/>
                  </a:lnTo>
                  <a:lnTo>
                    <a:pt x="4143" y="3634"/>
                  </a:lnTo>
                  <a:lnTo>
                    <a:pt x="4121" y="3661"/>
                  </a:lnTo>
                  <a:lnTo>
                    <a:pt x="4097" y="3691"/>
                  </a:lnTo>
                  <a:lnTo>
                    <a:pt x="4071" y="3723"/>
                  </a:lnTo>
                  <a:lnTo>
                    <a:pt x="4044" y="3756"/>
                  </a:lnTo>
                  <a:lnTo>
                    <a:pt x="4016" y="3791"/>
                  </a:lnTo>
                  <a:lnTo>
                    <a:pt x="3988" y="3828"/>
                  </a:lnTo>
                  <a:lnTo>
                    <a:pt x="3958" y="3865"/>
                  </a:lnTo>
                  <a:lnTo>
                    <a:pt x="3927" y="3905"/>
                  </a:lnTo>
                  <a:lnTo>
                    <a:pt x="3897" y="3945"/>
                  </a:lnTo>
                  <a:lnTo>
                    <a:pt x="3866" y="3987"/>
                  </a:lnTo>
                  <a:lnTo>
                    <a:pt x="3834" y="4029"/>
                  </a:lnTo>
                  <a:lnTo>
                    <a:pt x="3803" y="4073"/>
                  </a:lnTo>
                  <a:lnTo>
                    <a:pt x="3742" y="4163"/>
                  </a:lnTo>
                  <a:lnTo>
                    <a:pt x="3684" y="4257"/>
                  </a:lnTo>
                  <a:lnTo>
                    <a:pt x="3656" y="4305"/>
                  </a:lnTo>
                  <a:lnTo>
                    <a:pt x="3629" y="4354"/>
                  </a:lnTo>
                  <a:lnTo>
                    <a:pt x="3605" y="4402"/>
                  </a:lnTo>
                  <a:lnTo>
                    <a:pt x="3581" y="4451"/>
                  </a:lnTo>
                  <a:lnTo>
                    <a:pt x="3558" y="4502"/>
                  </a:lnTo>
                  <a:lnTo>
                    <a:pt x="3538" y="4551"/>
                  </a:lnTo>
                  <a:lnTo>
                    <a:pt x="3520" y="4602"/>
                  </a:lnTo>
                  <a:lnTo>
                    <a:pt x="3504" y="4652"/>
                  </a:lnTo>
                  <a:lnTo>
                    <a:pt x="3491" y="4703"/>
                  </a:lnTo>
                  <a:lnTo>
                    <a:pt x="3480" y="4753"/>
                  </a:lnTo>
                  <a:lnTo>
                    <a:pt x="3471" y="4804"/>
                  </a:lnTo>
                  <a:lnTo>
                    <a:pt x="3466" y="4854"/>
                  </a:lnTo>
                  <a:lnTo>
                    <a:pt x="3464" y="4905"/>
                  </a:lnTo>
                  <a:lnTo>
                    <a:pt x="3465" y="4954"/>
                  </a:lnTo>
                  <a:lnTo>
                    <a:pt x="3469" y="4984"/>
                  </a:lnTo>
                  <a:lnTo>
                    <a:pt x="3474" y="5014"/>
                  </a:lnTo>
                  <a:lnTo>
                    <a:pt x="3482" y="5045"/>
                  </a:lnTo>
                  <a:lnTo>
                    <a:pt x="3491" y="5076"/>
                  </a:lnTo>
                  <a:lnTo>
                    <a:pt x="3501" y="5107"/>
                  </a:lnTo>
                  <a:lnTo>
                    <a:pt x="3513" y="5139"/>
                  </a:lnTo>
                  <a:lnTo>
                    <a:pt x="3526" y="5170"/>
                  </a:lnTo>
                  <a:lnTo>
                    <a:pt x="3541" y="5202"/>
                  </a:lnTo>
                  <a:lnTo>
                    <a:pt x="3557" y="5234"/>
                  </a:lnTo>
                  <a:lnTo>
                    <a:pt x="3574" y="5267"/>
                  </a:lnTo>
                  <a:lnTo>
                    <a:pt x="3591" y="5300"/>
                  </a:lnTo>
                  <a:lnTo>
                    <a:pt x="3611" y="5333"/>
                  </a:lnTo>
                  <a:lnTo>
                    <a:pt x="3651" y="5399"/>
                  </a:lnTo>
                  <a:lnTo>
                    <a:pt x="3695" y="5465"/>
                  </a:lnTo>
                  <a:lnTo>
                    <a:pt x="3742" y="5530"/>
                  </a:lnTo>
                  <a:lnTo>
                    <a:pt x="3790" y="5595"/>
                  </a:lnTo>
                  <a:lnTo>
                    <a:pt x="3840" y="5659"/>
                  </a:lnTo>
                  <a:lnTo>
                    <a:pt x="3890" y="5722"/>
                  </a:lnTo>
                  <a:lnTo>
                    <a:pt x="3941" y="5782"/>
                  </a:lnTo>
                  <a:lnTo>
                    <a:pt x="3992" y="5841"/>
                  </a:lnTo>
                  <a:lnTo>
                    <a:pt x="4041" y="5898"/>
                  </a:lnTo>
                  <a:lnTo>
                    <a:pt x="4089" y="5951"/>
                  </a:lnTo>
                  <a:lnTo>
                    <a:pt x="4117" y="5986"/>
                  </a:lnTo>
                  <a:lnTo>
                    <a:pt x="4141" y="6020"/>
                  </a:lnTo>
                  <a:lnTo>
                    <a:pt x="4164" y="6052"/>
                  </a:lnTo>
                  <a:lnTo>
                    <a:pt x="4184" y="6084"/>
                  </a:lnTo>
                  <a:lnTo>
                    <a:pt x="4201" y="6114"/>
                  </a:lnTo>
                  <a:lnTo>
                    <a:pt x="4217" y="6142"/>
                  </a:lnTo>
                  <a:lnTo>
                    <a:pt x="4230" y="6169"/>
                  </a:lnTo>
                  <a:lnTo>
                    <a:pt x="4240" y="6193"/>
                  </a:lnTo>
                  <a:lnTo>
                    <a:pt x="4250" y="6215"/>
                  </a:lnTo>
                  <a:lnTo>
                    <a:pt x="4258" y="6236"/>
                  </a:lnTo>
                  <a:lnTo>
                    <a:pt x="4264" y="6253"/>
                  </a:lnTo>
                  <a:lnTo>
                    <a:pt x="4268" y="6267"/>
                  </a:lnTo>
                  <a:lnTo>
                    <a:pt x="4272" y="6279"/>
                  </a:lnTo>
                  <a:lnTo>
                    <a:pt x="4275" y="6287"/>
                  </a:lnTo>
                  <a:lnTo>
                    <a:pt x="4276" y="6293"/>
                  </a:lnTo>
                  <a:lnTo>
                    <a:pt x="4276" y="6294"/>
                  </a:lnTo>
                  <a:lnTo>
                    <a:pt x="3902" y="6856"/>
                  </a:lnTo>
                  <a:lnTo>
                    <a:pt x="3902" y="6856"/>
                  </a:lnTo>
                  <a:lnTo>
                    <a:pt x="3904" y="6858"/>
                  </a:lnTo>
                  <a:lnTo>
                    <a:pt x="3906" y="6861"/>
                  </a:lnTo>
                  <a:lnTo>
                    <a:pt x="3909" y="6865"/>
                  </a:lnTo>
                  <a:lnTo>
                    <a:pt x="3914" y="6870"/>
                  </a:lnTo>
                  <a:lnTo>
                    <a:pt x="3919" y="6877"/>
                  </a:lnTo>
                  <a:lnTo>
                    <a:pt x="3926" y="6884"/>
                  </a:lnTo>
                  <a:lnTo>
                    <a:pt x="3932" y="6893"/>
                  </a:lnTo>
                  <a:lnTo>
                    <a:pt x="3948" y="6912"/>
                  </a:lnTo>
                  <a:lnTo>
                    <a:pt x="3968" y="6936"/>
                  </a:lnTo>
                  <a:lnTo>
                    <a:pt x="3992" y="6963"/>
                  </a:lnTo>
                  <a:lnTo>
                    <a:pt x="4017" y="6993"/>
                  </a:lnTo>
                  <a:lnTo>
                    <a:pt x="4045" y="7025"/>
                  </a:lnTo>
                  <a:lnTo>
                    <a:pt x="4077" y="7059"/>
                  </a:lnTo>
                  <a:lnTo>
                    <a:pt x="4110" y="7095"/>
                  </a:lnTo>
                  <a:lnTo>
                    <a:pt x="4147" y="7133"/>
                  </a:lnTo>
                  <a:lnTo>
                    <a:pt x="4185" y="7173"/>
                  </a:lnTo>
                  <a:lnTo>
                    <a:pt x="4225" y="7213"/>
                  </a:lnTo>
                  <a:lnTo>
                    <a:pt x="4267" y="7254"/>
                  </a:lnTo>
                  <a:lnTo>
                    <a:pt x="4311" y="7295"/>
                  </a:lnTo>
                  <a:lnTo>
                    <a:pt x="4356" y="7338"/>
                  </a:lnTo>
                  <a:lnTo>
                    <a:pt x="4403" y="7379"/>
                  </a:lnTo>
                  <a:lnTo>
                    <a:pt x="4451" y="7419"/>
                  </a:lnTo>
                  <a:lnTo>
                    <a:pt x="4500" y="7459"/>
                  </a:lnTo>
                  <a:lnTo>
                    <a:pt x="4550" y="7498"/>
                  </a:lnTo>
                  <a:lnTo>
                    <a:pt x="4601" y="7535"/>
                  </a:lnTo>
                  <a:lnTo>
                    <a:pt x="4652" y="7571"/>
                  </a:lnTo>
                  <a:lnTo>
                    <a:pt x="4704" y="7604"/>
                  </a:lnTo>
                  <a:lnTo>
                    <a:pt x="4756" y="7635"/>
                  </a:lnTo>
                  <a:lnTo>
                    <a:pt x="4808" y="7664"/>
                  </a:lnTo>
                  <a:lnTo>
                    <a:pt x="4861" y="7690"/>
                  </a:lnTo>
                  <a:lnTo>
                    <a:pt x="4912" y="7712"/>
                  </a:lnTo>
                  <a:lnTo>
                    <a:pt x="4965" y="7730"/>
                  </a:lnTo>
                  <a:lnTo>
                    <a:pt x="4991" y="7737"/>
                  </a:lnTo>
                  <a:lnTo>
                    <a:pt x="5017" y="7744"/>
                  </a:lnTo>
                  <a:lnTo>
                    <a:pt x="5042" y="7750"/>
                  </a:lnTo>
                  <a:lnTo>
                    <a:pt x="5067" y="7754"/>
                  </a:lnTo>
                  <a:lnTo>
                    <a:pt x="5092" y="7757"/>
                  </a:lnTo>
                  <a:lnTo>
                    <a:pt x="5117" y="7759"/>
                  </a:lnTo>
                  <a:lnTo>
                    <a:pt x="5163" y="7758"/>
                  </a:lnTo>
                  <a:lnTo>
                    <a:pt x="5210" y="7755"/>
                  </a:lnTo>
                  <a:lnTo>
                    <a:pt x="5256" y="7750"/>
                  </a:lnTo>
                  <a:lnTo>
                    <a:pt x="5302" y="7742"/>
                  </a:lnTo>
                  <a:lnTo>
                    <a:pt x="5347" y="7733"/>
                  </a:lnTo>
                  <a:lnTo>
                    <a:pt x="5393" y="7723"/>
                  </a:lnTo>
                  <a:lnTo>
                    <a:pt x="5437" y="7711"/>
                  </a:lnTo>
                  <a:lnTo>
                    <a:pt x="5482" y="7696"/>
                  </a:lnTo>
                  <a:lnTo>
                    <a:pt x="5527" y="7681"/>
                  </a:lnTo>
                  <a:lnTo>
                    <a:pt x="5571" y="7664"/>
                  </a:lnTo>
                  <a:lnTo>
                    <a:pt x="5616" y="7646"/>
                  </a:lnTo>
                  <a:lnTo>
                    <a:pt x="5660" y="7626"/>
                  </a:lnTo>
                  <a:lnTo>
                    <a:pt x="5704" y="7605"/>
                  </a:lnTo>
                  <a:lnTo>
                    <a:pt x="5749" y="7584"/>
                  </a:lnTo>
                  <a:lnTo>
                    <a:pt x="5838" y="7538"/>
                  </a:lnTo>
                  <a:lnTo>
                    <a:pt x="5927" y="7487"/>
                  </a:lnTo>
                  <a:lnTo>
                    <a:pt x="6017" y="7435"/>
                  </a:lnTo>
                  <a:lnTo>
                    <a:pt x="6108" y="7381"/>
                  </a:lnTo>
                  <a:lnTo>
                    <a:pt x="6200" y="7325"/>
                  </a:lnTo>
                  <a:lnTo>
                    <a:pt x="6293" y="7269"/>
                  </a:lnTo>
                  <a:lnTo>
                    <a:pt x="6388" y="7213"/>
                  </a:lnTo>
                  <a:lnTo>
                    <a:pt x="6484" y="7158"/>
                  </a:lnTo>
                  <a:lnTo>
                    <a:pt x="6582" y="7105"/>
                  </a:lnTo>
                  <a:lnTo>
                    <a:pt x="6618" y="7087"/>
                  </a:lnTo>
                  <a:lnTo>
                    <a:pt x="6653" y="7072"/>
                  </a:lnTo>
                  <a:lnTo>
                    <a:pt x="6690" y="7059"/>
                  </a:lnTo>
                  <a:lnTo>
                    <a:pt x="6727" y="7045"/>
                  </a:lnTo>
                  <a:lnTo>
                    <a:pt x="6764" y="7034"/>
                  </a:lnTo>
                  <a:lnTo>
                    <a:pt x="6803" y="7025"/>
                  </a:lnTo>
                  <a:lnTo>
                    <a:pt x="6840" y="7015"/>
                  </a:lnTo>
                  <a:lnTo>
                    <a:pt x="6878" y="7007"/>
                  </a:lnTo>
                  <a:lnTo>
                    <a:pt x="6916" y="7001"/>
                  </a:lnTo>
                  <a:lnTo>
                    <a:pt x="6954" y="6995"/>
                  </a:lnTo>
                  <a:lnTo>
                    <a:pt x="7029" y="6986"/>
                  </a:lnTo>
                  <a:lnTo>
                    <a:pt x="7103" y="6981"/>
                  </a:lnTo>
                  <a:lnTo>
                    <a:pt x="7174" y="6980"/>
                  </a:lnTo>
                  <a:lnTo>
                    <a:pt x="7237" y="6981"/>
                  </a:lnTo>
                  <a:lnTo>
                    <a:pt x="7298" y="6984"/>
                  </a:lnTo>
                  <a:lnTo>
                    <a:pt x="7356" y="6988"/>
                  </a:lnTo>
                  <a:lnTo>
                    <a:pt x="7411" y="6995"/>
                  </a:lnTo>
                  <a:lnTo>
                    <a:pt x="7463" y="7002"/>
                  </a:lnTo>
                  <a:lnTo>
                    <a:pt x="7512" y="7009"/>
                  </a:lnTo>
                  <a:lnTo>
                    <a:pt x="7557" y="7018"/>
                  </a:lnTo>
                  <a:lnTo>
                    <a:pt x="7599" y="7027"/>
                  </a:lnTo>
                  <a:lnTo>
                    <a:pt x="7618" y="7031"/>
                  </a:lnTo>
                  <a:lnTo>
                    <a:pt x="7636" y="7035"/>
                  </a:lnTo>
                  <a:lnTo>
                    <a:pt x="7653" y="7040"/>
                  </a:lnTo>
                  <a:lnTo>
                    <a:pt x="7669" y="7044"/>
                  </a:lnTo>
                  <a:lnTo>
                    <a:pt x="7684" y="7048"/>
                  </a:lnTo>
                  <a:lnTo>
                    <a:pt x="7698" y="7051"/>
                  </a:lnTo>
                  <a:lnTo>
                    <a:pt x="7710" y="7055"/>
                  </a:lnTo>
                  <a:lnTo>
                    <a:pt x="7721" y="7059"/>
                  </a:lnTo>
                  <a:lnTo>
                    <a:pt x="7732" y="7062"/>
                  </a:lnTo>
                  <a:lnTo>
                    <a:pt x="7741" y="7065"/>
                  </a:lnTo>
                  <a:lnTo>
                    <a:pt x="7748" y="7067"/>
                  </a:lnTo>
                  <a:lnTo>
                    <a:pt x="7754" y="7069"/>
                  </a:lnTo>
                  <a:lnTo>
                    <a:pt x="7760" y="7071"/>
                  </a:lnTo>
                  <a:lnTo>
                    <a:pt x="7763" y="7072"/>
                  </a:lnTo>
                  <a:lnTo>
                    <a:pt x="7766" y="7073"/>
                  </a:lnTo>
                  <a:lnTo>
                    <a:pt x="7766" y="7073"/>
                  </a:lnTo>
                  <a:lnTo>
                    <a:pt x="7766" y="7073"/>
                  </a:lnTo>
                  <a:lnTo>
                    <a:pt x="7767" y="7071"/>
                  </a:lnTo>
                  <a:lnTo>
                    <a:pt x="7768" y="7069"/>
                  </a:lnTo>
                  <a:lnTo>
                    <a:pt x="7769" y="7065"/>
                  </a:lnTo>
                  <a:lnTo>
                    <a:pt x="7772" y="7054"/>
                  </a:lnTo>
                  <a:lnTo>
                    <a:pt x="7775" y="7040"/>
                  </a:lnTo>
                  <a:lnTo>
                    <a:pt x="7780" y="7021"/>
                  </a:lnTo>
                  <a:lnTo>
                    <a:pt x="7786" y="7000"/>
                  </a:lnTo>
                  <a:lnTo>
                    <a:pt x="7794" y="6974"/>
                  </a:lnTo>
                  <a:lnTo>
                    <a:pt x="7801" y="6945"/>
                  </a:lnTo>
                  <a:lnTo>
                    <a:pt x="7809" y="6913"/>
                  </a:lnTo>
                  <a:lnTo>
                    <a:pt x="7817" y="6879"/>
                  </a:lnTo>
                  <a:lnTo>
                    <a:pt x="7827" y="6841"/>
                  </a:lnTo>
                  <a:lnTo>
                    <a:pt x="7837" y="6800"/>
                  </a:lnTo>
                  <a:lnTo>
                    <a:pt x="7847" y="6758"/>
                  </a:lnTo>
                  <a:lnTo>
                    <a:pt x="7858" y="6711"/>
                  </a:lnTo>
                  <a:lnTo>
                    <a:pt x="7868" y="6664"/>
                  </a:lnTo>
                  <a:lnTo>
                    <a:pt x="7879" y="6614"/>
                  </a:lnTo>
                  <a:lnTo>
                    <a:pt x="7890" y="6562"/>
                  </a:lnTo>
                  <a:lnTo>
                    <a:pt x="7901" y="6507"/>
                  </a:lnTo>
                  <a:lnTo>
                    <a:pt x="7912" y="6452"/>
                  </a:lnTo>
                  <a:lnTo>
                    <a:pt x="7923" y="6395"/>
                  </a:lnTo>
                  <a:lnTo>
                    <a:pt x="7933" y="6336"/>
                  </a:lnTo>
                  <a:lnTo>
                    <a:pt x="7943" y="6276"/>
                  </a:lnTo>
                  <a:lnTo>
                    <a:pt x="7954" y="6215"/>
                  </a:lnTo>
                  <a:lnTo>
                    <a:pt x="7963" y="6153"/>
                  </a:lnTo>
                  <a:lnTo>
                    <a:pt x="7981" y="6026"/>
                  </a:lnTo>
                  <a:lnTo>
                    <a:pt x="7996" y="5899"/>
                  </a:lnTo>
                  <a:lnTo>
                    <a:pt x="8007" y="5769"/>
                  </a:lnTo>
                  <a:lnTo>
                    <a:pt x="8012" y="5704"/>
                  </a:lnTo>
                  <a:lnTo>
                    <a:pt x="8016" y="5640"/>
                  </a:lnTo>
                  <a:lnTo>
                    <a:pt x="8017" y="5597"/>
                  </a:lnTo>
                  <a:lnTo>
                    <a:pt x="8017" y="5555"/>
                  </a:lnTo>
                  <a:lnTo>
                    <a:pt x="8017" y="5513"/>
                  </a:lnTo>
                  <a:lnTo>
                    <a:pt x="8016" y="5473"/>
                  </a:lnTo>
                  <a:lnTo>
                    <a:pt x="8012" y="5397"/>
                  </a:lnTo>
                  <a:lnTo>
                    <a:pt x="8004" y="5323"/>
                  </a:lnTo>
                  <a:lnTo>
                    <a:pt x="7996" y="5253"/>
                  </a:lnTo>
                  <a:lnTo>
                    <a:pt x="7986" y="5186"/>
                  </a:lnTo>
                  <a:lnTo>
                    <a:pt x="7972" y="5121"/>
                  </a:lnTo>
                  <a:lnTo>
                    <a:pt x="7959" y="5058"/>
                  </a:lnTo>
                  <a:lnTo>
                    <a:pt x="7943" y="4997"/>
                  </a:lnTo>
                  <a:lnTo>
                    <a:pt x="7927" y="4938"/>
                  </a:lnTo>
                  <a:lnTo>
                    <a:pt x="7892" y="4820"/>
                  </a:lnTo>
                  <a:lnTo>
                    <a:pt x="7855" y="4704"/>
                  </a:lnTo>
                  <a:lnTo>
                    <a:pt x="7835" y="4644"/>
                  </a:lnTo>
                  <a:lnTo>
                    <a:pt x="7817" y="4584"/>
                  </a:lnTo>
                  <a:lnTo>
                    <a:pt x="7799" y="4523"/>
                  </a:lnTo>
                  <a:lnTo>
                    <a:pt x="7781" y="4460"/>
                  </a:lnTo>
                  <a:lnTo>
                    <a:pt x="7765" y="4395"/>
                  </a:lnTo>
                  <a:lnTo>
                    <a:pt x="7750" y="4327"/>
                  </a:lnTo>
                  <a:lnTo>
                    <a:pt x="7736" y="4256"/>
                  </a:lnTo>
                  <a:lnTo>
                    <a:pt x="7723" y="4183"/>
                  </a:lnTo>
                  <a:lnTo>
                    <a:pt x="7713" y="4104"/>
                  </a:lnTo>
                  <a:lnTo>
                    <a:pt x="7709" y="4064"/>
                  </a:lnTo>
                  <a:lnTo>
                    <a:pt x="7705" y="4023"/>
                  </a:lnTo>
                  <a:lnTo>
                    <a:pt x="7701" y="3981"/>
                  </a:lnTo>
                  <a:lnTo>
                    <a:pt x="7698" y="3936"/>
                  </a:lnTo>
                  <a:lnTo>
                    <a:pt x="7696" y="3892"/>
                  </a:lnTo>
                  <a:lnTo>
                    <a:pt x="7695" y="3846"/>
                  </a:lnTo>
                  <a:lnTo>
                    <a:pt x="7694" y="3798"/>
                  </a:lnTo>
                  <a:lnTo>
                    <a:pt x="7694" y="3750"/>
                  </a:lnTo>
                  <a:lnTo>
                    <a:pt x="7694" y="3700"/>
                  </a:lnTo>
                  <a:lnTo>
                    <a:pt x="7695" y="3648"/>
                  </a:lnTo>
                  <a:lnTo>
                    <a:pt x="7697" y="3596"/>
                  </a:lnTo>
                  <a:lnTo>
                    <a:pt x="7700" y="3541"/>
                  </a:lnTo>
                  <a:lnTo>
                    <a:pt x="7703" y="3484"/>
                  </a:lnTo>
                  <a:lnTo>
                    <a:pt x="7708" y="3427"/>
                  </a:lnTo>
                  <a:lnTo>
                    <a:pt x="7713" y="3367"/>
                  </a:lnTo>
                  <a:lnTo>
                    <a:pt x="7719" y="3306"/>
                  </a:lnTo>
                  <a:lnTo>
                    <a:pt x="7727" y="3243"/>
                  </a:lnTo>
                  <a:lnTo>
                    <a:pt x="7735" y="3178"/>
                  </a:lnTo>
                  <a:lnTo>
                    <a:pt x="7715" y="3213"/>
                  </a:lnTo>
                  <a:lnTo>
                    <a:pt x="7695" y="3250"/>
                  </a:lnTo>
                  <a:lnTo>
                    <a:pt x="7675" y="3289"/>
                  </a:lnTo>
                  <a:lnTo>
                    <a:pt x="7655" y="3328"/>
                  </a:lnTo>
                  <a:lnTo>
                    <a:pt x="7637" y="3368"/>
                  </a:lnTo>
                  <a:lnTo>
                    <a:pt x="7618" y="3410"/>
                  </a:lnTo>
                  <a:lnTo>
                    <a:pt x="7601" y="3453"/>
                  </a:lnTo>
                  <a:lnTo>
                    <a:pt x="7584" y="3499"/>
                  </a:lnTo>
                  <a:lnTo>
                    <a:pt x="7568" y="3545"/>
                  </a:lnTo>
                  <a:lnTo>
                    <a:pt x="7552" y="3592"/>
                  </a:lnTo>
                  <a:lnTo>
                    <a:pt x="7538" y="3643"/>
                  </a:lnTo>
                  <a:lnTo>
                    <a:pt x="7524" y="3694"/>
                  </a:lnTo>
                  <a:lnTo>
                    <a:pt x="7512" y="3747"/>
                  </a:lnTo>
                  <a:lnTo>
                    <a:pt x="7501" y="3803"/>
                  </a:lnTo>
                  <a:lnTo>
                    <a:pt x="7490" y="3859"/>
                  </a:lnTo>
                  <a:lnTo>
                    <a:pt x="7482" y="3918"/>
                  </a:lnTo>
                  <a:lnTo>
                    <a:pt x="7475" y="3979"/>
                  </a:lnTo>
                  <a:lnTo>
                    <a:pt x="7469" y="4042"/>
                  </a:lnTo>
                  <a:lnTo>
                    <a:pt x="7464" y="4107"/>
                  </a:lnTo>
                  <a:lnTo>
                    <a:pt x="7461" y="4174"/>
                  </a:lnTo>
                  <a:lnTo>
                    <a:pt x="7460" y="4243"/>
                  </a:lnTo>
                  <a:lnTo>
                    <a:pt x="7461" y="4316"/>
                  </a:lnTo>
                  <a:lnTo>
                    <a:pt x="7463" y="4390"/>
                  </a:lnTo>
                  <a:lnTo>
                    <a:pt x="7467" y="4466"/>
                  </a:lnTo>
                  <a:lnTo>
                    <a:pt x="7474" y="4545"/>
                  </a:lnTo>
                  <a:lnTo>
                    <a:pt x="7482" y="4627"/>
                  </a:lnTo>
                  <a:lnTo>
                    <a:pt x="7493" y="4711"/>
                  </a:lnTo>
                  <a:lnTo>
                    <a:pt x="7506" y="4798"/>
                  </a:lnTo>
                  <a:lnTo>
                    <a:pt x="7520" y="4887"/>
                  </a:lnTo>
                  <a:lnTo>
                    <a:pt x="7538" y="4980"/>
                  </a:lnTo>
                  <a:lnTo>
                    <a:pt x="7557" y="5075"/>
                  </a:lnTo>
                  <a:lnTo>
                    <a:pt x="7579" y="5173"/>
                  </a:lnTo>
                  <a:lnTo>
                    <a:pt x="7592" y="5228"/>
                  </a:lnTo>
                  <a:lnTo>
                    <a:pt x="7603" y="5287"/>
                  </a:lnTo>
                  <a:lnTo>
                    <a:pt x="7611" y="5346"/>
                  </a:lnTo>
                  <a:lnTo>
                    <a:pt x="7616" y="5405"/>
                  </a:lnTo>
                  <a:lnTo>
                    <a:pt x="7619" y="5466"/>
                  </a:lnTo>
                  <a:lnTo>
                    <a:pt x="7620" y="5528"/>
                  </a:lnTo>
                  <a:lnTo>
                    <a:pt x="7619" y="5589"/>
                  </a:lnTo>
                  <a:lnTo>
                    <a:pt x="7616" y="5651"/>
                  </a:lnTo>
                  <a:lnTo>
                    <a:pt x="7611" y="5713"/>
                  </a:lnTo>
                  <a:lnTo>
                    <a:pt x="7605" y="5774"/>
                  </a:lnTo>
                  <a:lnTo>
                    <a:pt x="7598" y="5836"/>
                  </a:lnTo>
                  <a:lnTo>
                    <a:pt x="7588" y="5896"/>
                  </a:lnTo>
                  <a:lnTo>
                    <a:pt x="7579" y="5955"/>
                  </a:lnTo>
                  <a:lnTo>
                    <a:pt x="7568" y="6014"/>
                  </a:lnTo>
                  <a:lnTo>
                    <a:pt x="7556" y="6071"/>
                  </a:lnTo>
                  <a:lnTo>
                    <a:pt x="7544" y="6126"/>
                  </a:lnTo>
                  <a:lnTo>
                    <a:pt x="7531" y="6181"/>
                  </a:lnTo>
                  <a:lnTo>
                    <a:pt x="7519" y="6232"/>
                  </a:lnTo>
                  <a:lnTo>
                    <a:pt x="7506" y="6282"/>
                  </a:lnTo>
                  <a:lnTo>
                    <a:pt x="7492" y="6329"/>
                  </a:lnTo>
                  <a:lnTo>
                    <a:pt x="7480" y="6375"/>
                  </a:lnTo>
                  <a:lnTo>
                    <a:pt x="7467" y="6417"/>
                  </a:lnTo>
                  <a:lnTo>
                    <a:pt x="7455" y="6456"/>
                  </a:lnTo>
                  <a:lnTo>
                    <a:pt x="7444" y="6491"/>
                  </a:lnTo>
                  <a:lnTo>
                    <a:pt x="7432" y="6524"/>
                  </a:lnTo>
                  <a:lnTo>
                    <a:pt x="7423" y="6553"/>
                  </a:lnTo>
                  <a:lnTo>
                    <a:pt x="7414" y="6578"/>
                  </a:lnTo>
                  <a:lnTo>
                    <a:pt x="7411" y="6589"/>
                  </a:lnTo>
                  <a:lnTo>
                    <a:pt x="7407" y="6598"/>
                  </a:lnTo>
                  <a:lnTo>
                    <a:pt x="7403" y="6607"/>
                  </a:lnTo>
                  <a:lnTo>
                    <a:pt x="7400" y="6615"/>
                  </a:lnTo>
                  <a:lnTo>
                    <a:pt x="7398" y="6622"/>
                  </a:lnTo>
                  <a:lnTo>
                    <a:pt x="7396" y="6627"/>
                  </a:lnTo>
                  <a:lnTo>
                    <a:pt x="7394" y="6631"/>
                  </a:lnTo>
                  <a:lnTo>
                    <a:pt x="7393" y="6634"/>
                  </a:lnTo>
                  <a:lnTo>
                    <a:pt x="7393" y="6636"/>
                  </a:lnTo>
                  <a:lnTo>
                    <a:pt x="7392" y="6637"/>
                  </a:lnTo>
                  <a:lnTo>
                    <a:pt x="7391" y="6636"/>
                  </a:lnTo>
                  <a:lnTo>
                    <a:pt x="7388" y="6635"/>
                  </a:lnTo>
                  <a:lnTo>
                    <a:pt x="7383" y="6634"/>
                  </a:lnTo>
                  <a:lnTo>
                    <a:pt x="7376" y="6632"/>
                  </a:lnTo>
                  <a:lnTo>
                    <a:pt x="7366" y="6630"/>
                  </a:lnTo>
                  <a:lnTo>
                    <a:pt x="7355" y="6627"/>
                  </a:lnTo>
                  <a:lnTo>
                    <a:pt x="7342" y="6625"/>
                  </a:lnTo>
                  <a:lnTo>
                    <a:pt x="7326" y="6622"/>
                  </a:lnTo>
                  <a:lnTo>
                    <a:pt x="7310" y="6619"/>
                  </a:lnTo>
                  <a:lnTo>
                    <a:pt x="7291" y="6616"/>
                  </a:lnTo>
                  <a:lnTo>
                    <a:pt x="7270" y="6614"/>
                  </a:lnTo>
                  <a:lnTo>
                    <a:pt x="7248" y="6610"/>
                  </a:lnTo>
                  <a:lnTo>
                    <a:pt x="7224" y="6609"/>
                  </a:lnTo>
                  <a:lnTo>
                    <a:pt x="7199" y="6607"/>
                  </a:lnTo>
                  <a:lnTo>
                    <a:pt x="7171" y="6606"/>
                  </a:lnTo>
                  <a:lnTo>
                    <a:pt x="7143" y="6606"/>
                  </a:lnTo>
                  <a:lnTo>
                    <a:pt x="7125" y="6606"/>
                  </a:lnTo>
                  <a:lnTo>
                    <a:pt x="7105" y="6606"/>
                  </a:lnTo>
                  <a:lnTo>
                    <a:pt x="7084" y="6606"/>
                  </a:lnTo>
                  <a:lnTo>
                    <a:pt x="7063" y="6606"/>
                  </a:lnTo>
                  <a:lnTo>
                    <a:pt x="7039" y="6607"/>
                  </a:lnTo>
                  <a:lnTo>
                    <a:pt x="7015" y="6607"/>
                  </a:lnTo>
                  <a:lnTo>
                    <a:pt x="6964" y="6610"/>
                  </a:lnTo>
                  <a:lnTo>
                    <a:pt x="6910" y="6614"/>
                  </a:lnTo>
                  <a:lnTo>
                    <a:pt x="6854" y="6619"/>
                  </a:lnTo>
                  <a:lnTo>
                    <a:pt x="6796" y="6627"/>
                  </a:lnTo>
                  <a:lnTo>
                    <a:pt x="6738" y="6637"/>
                  </a:lnTo>
                  <a:lnTo>
                    <a:pt x="6693" y="6648"/>
                  </a:lnTo>
                  <a:lnTo>
                    <a:pt x="6648" y="6660"/>
                  </a:lnTo>
                  <a:lnTo>
                    <a:pt x="6600" y="6675"/>
                  </a:lnTo>
                  <a:lnTo>
                    <a:pt x="6552" y="6692"/>
                  </a:lnTo>
                  <a:lnTo>
                    <a:pt x="6503" y="6711"/>
                  </a:lnTo>
                  <a:lnTo>
                    <a:pt x="6453" y="6733"/>
                  </a:lnTo>
                  <a:lnTo>
                    <a:pt x="6402" y="6756"/>
                  </a:lnTo>
                  <a:lnTo>
                    <a:pt x="6351" y="6779"/>
                  </a:lnTo>
                  <a:lnTo>
                    <a:pt x="6299" y="6805"/>
                  </a:lnTo>
                  <a:lnTo>
                    <a:pt x="6246" y="6832"/>
                  </a:lnTo>
                  <a:lnTo>
                    <a:pt x="6141" y="6889"/>
                  </a:lnTo>
                  <a:lnTo>
                    <a:pt x="6036" y="6947"/>
                  </a:lnTo>
                  <a:lnTo>
                    <a:pt x="5931" y="7007"/>
                  </a:lnTo>
                  <a:lnTo>
                    <a:pt x="5829" y="7067"/>
                  </a:lnTo>
                  <a:lnTo>
                    <a:pt x="5729" y="7124"/>
                  </a:lnTo>
                  <a:lnTo>
                    <a:pt x="5681" y="7152"/>
                  </a:lnTo>
                  <a:lnTo>
                    <a:pt x="5633" y="7179"/>
                  </a:lnTo>
                  <a:lnTo>
                    <a:pt x="5587" y="7205"/>
                  </a:lnTo>
                  <a:lnTo>
                    <a:pt x="5541" y="7228"/>
                  </a:lnTo>
                  <a:lnTo>
                    <a:pt x="5498" y="7251"/>
                  </a:lnTo>
                  <a:lnTo>
                    <a:pt x="5455" y="7273"/>
                  </a:lnTo>
                  <a:lnTo>
                    <a:pt x="5415" y="7292"/>
                  </a:lnTo>
                  <a:lnTo>
                    <a:pt x="5377" y="7309"/>
                  </a:lnTo>
                  <a:lnTo>
                    <a:pt x="5340" y="7324"/>
                  </a:lnTo>
                  <a:lnTo>
                    <a:pt x="5305" y="7337"/>
                  </a:lnTo>
                  <a:lnTo>
                    <a:pt x="5273" y="7347"/>
                  </a:lnTo>
                  <a:lnTo>
                    <a:pt x="5242" y="7354"/>
                  </a:lnTo>
                  <a:lnTo>
                    <a:pt x="5180" y="7354"/>
                  </a:lnTo>
                  <a:lnTo>
                    <a:pt x="5142" y="7352"/>
                  </a:lnTo>
                  <a:lnTo>
                    <a:pt x="5105" y="7349"/>
                  </a:lnTo>
                  <a:lnTo>
                    <a:pt x="5066" y="7343"/>
                  </a:lnTo>
                  <a:lnTo>
                    <a:pt x="5030" y="7334"/>
                  </a:lnTo>
                  <a:lnTo>
                    <a:pt x="4993" y="7323"/>
                  </a:lnTo>
                  <a:lnTo>
                    <a:pt x="4957" y="7311"/>
                  </a:lnTo>
                  <a:lnTo>
                    <a:pt x="4922" y="7296"/>
                  </a:lnTo>
                  <a:lnTo>
                    <a:pt x="4887" y="7281"/>
                  </a:lnTo>
                  <a:lnTo>
                    <a:pt x="4853" y="7264"/>
                  </a:lnTo>
                  <a:lnTo>
                    <a:pt x="4820" y="7245"/>
                  </a:lnTo>
                  <a:lnTo>
                    <a:pt x="4755" y="7206"/>
                  </a:lnTo>
                  <a:lnTo>
                    <a:pt x="4725" y="7185"/>
                  </a:lnTo>
                  <a:lnTo>
                    <a:pt x="4695" y="7164"/>
                  </a:lnTo>
                  <a:lnTo>
                    <a:pt x="4666" y="7142"/>
                  </a:lnTo>
                  <a:lnTo>
                    <a:pt x="4638" y="7120"/>
                  </a:lnTo>
                  <a:lnTo>
                    <a:pt x="4611" y="7099"/>
                  </a:lnTo>
                  <a:lnTo>
                    <a:pt x="4586" y="7076"/>
                  </a:lnTo>
                  <a:lnTo>
                    <a:pt x="4563" y="7055"/>
                  </a:lnTo>
                  <a:lnTo>
                    <a:pt x="4540" y="7034"/>
                  </a:lnTo>
                  <a:lnTo>
                    <a:pt x="4519" y="7014"/>
                  </a:lnTo>
                  <a:lnTo>
                    <a:pt x="4500" y="6995"/>
                  </a:lnTo>
                  <a:lnTo>
                    <a:pt x="4481" y="6976"/>
                  </a:lnTo>
                  <a:lnTo>
                    <a:pt x="4465" y="6960"/>
                  </a:lnTo>
                  <a:lnTo>
                    <a:pt x="4450" y="6943"/>
                  </a:lnTo>
                  <a:lnTo>
                    <a:pt x="4438" y="6930"/>
                  </a:lnTo>
                  <a:lnTo>
                    <a:pt x="4426" y="6917"/>
                  </a:lnTo>
                  <a:lnTo>
                    <a:pt x="4417" y="6906"/>
                  </a:lnTo>
                  <a:lnTo>
                    <a:pt x="4410" y="6898"/>
                  </a:lnTo>
                  <a:lnTo>
                    <a:pt x="4405" y="6892"/>
                  </a:lnTo>
                  <a:lnTo>
                    <a:pt x="4401" y="6888"/>
                  </a:lnTo>
                  <a:lnTo>
                    <a:pt x="4400" y="6887"/>
                  </a:lnTo>
                  <a:lnTo>
                    <a:pt x="5242" y="5142"/>
                  </a:lnTo>
                  <a:lnTo>
                    <a:pt x="4525" y="5983"/>
                  </a:lnTo>
                  <a:lnTo>
                    <a:pt x="4524" y="5981"/>
                  </a:lnTo>
                  <a:lnTo>
                    <a:pt x="4522" y="5977"/>
                  </a:lnTo>
                  <a:lnTo>
                    <a:pt x="4518" y="5970"/>
                  </a:lnTo>
                  <a:lnTo>
                    <a:pt x="4513" y="5959"/>
                  </a:lnTo>
                  <a:lnTo>
                    <a:pt x="4506" y="5946"/>
                  </a:lnTo>
                  <a:lnTo>
                    <a:pt x="4497" y="5931"/>
                  </a:lnTo>
                  <a:lnTo>
                    <a:pt x="4487" y="5911"/>
                  </a:lnTo>
                  <a:lnTo>
                    <a:pt x="4475" y="5889"/>
                  </a:lnTo>
                  <a:lnTo>
                    <a:pt x="4460" y="5865"/>
                  </a:lnTo>
                  <a:lnTo>
                    <a:pt x="4445" y="5837"/>
                  </a:lnTo>
                  <a:lnTo>
                    <a:pt x="4426" y="5806"/>
                  </a:lnTo>
                  <a:lnTo>
                    <a:pt x="4407" y="5772"/>
                  </a:lnTo>
                  <a:lnTo>
                    <a:pt x="4385" y="5736"/>
                  </a:lnTo>
                  <a:lnTo>
                    <a:pt x="4361" y="5697"/>
                  </a:lnTo>
                  <a:lnTo>
                    <a:pt x="4335" y="5654"/>
                  </a:lnTo>
                  <a:lnTo>
                    <a:pt x="4307" y="5608"/>
                  </a:lnTo>
                  <a:lnTo>
                    <a:pt x="4276" y="5562"/>
                  </a:lnTo>
                  <a:lnTo>
                    <a:pt x="4241" y="5517"/>
                  </a:lnTo>
                  <a:lnTo>
                    <a:pt x="4205" y="5471"/>
                  </a:lnTo>
                  <a:lnTo>
                    <a:pt x="4168" y="5426"/>
                  </a:lnTo>
                  <a:lnTo>
                    <a:pt x="4091" y="5336"/>
                  </a:lnTo>
                  <a:lnTo>
                    <a:pt x="4053" y="5292"/>
                  </a:lnTo>
                  <a:lnTo>
                    <a:pt x="4014" y="5247"/>
                  </a:lnTo>
                  <a:lnTo>
                    <a:pt x="3979" y="5201"/>
                  </a:lnTo>
                  <a:lnTo>
                    <a:pt x="3946" y="5155"/>
                  </a:lnTo>
                  <a:lnTo>
                    <a:pt x="3916" y="5109"/>
                  </a:lnTo>
                  <a:lnTo>
                    <a:pt x="3903" y="5085"/>
                  </a:lnTo>
                  <a:lnTo>
                    <a:pt x="3890" y="5061"/>
                  </a:lnTo>
                  <a:lnTo>
                    <a:pt x="3879" y="5037"/>
                  </a:lnTo>
                  <a:lnTo>
                    <a:pt x="3870" y="5013"/>
                  </a:lnTo>
                  <a:lnTo>
                    <a:pt x="3861" y="4988"/>
                  </a:lnTo>
                  <a:lnTo>
                    <a:pt x="3853" y="4963"/>
                  </a:lnTo>
                  <a:lnTo>
                    <a:pt x="3847" y="4938"/>
                  </a:lnTo>
                  <a:lnTo>
                    <a:pt x="3843" y="4913"/>
                  </a:lnTo>
                  <a:lnTo>
                    <a:pt x="3841" y="4887"/>
                  </a:lnTo>
                  <a:lnTo>
                    <a:pt x="3840" y="4860"/>
                  </a:lnTo>
                  <a:lnTo>
                    <a:pt x="3841" y="4833"/>
                  </a:lnTo>
                  <a:lnTo>
                    <a:pt x="3846" y="4803"/>
                  </a:lnTo>
                  <a:lnTo>
                    <a:pt x="3853" y="4770"/>
                  </a:lnTo>
                  <a:lnTo>
                    <a:pt x="3864" y="4734"/>
                  </a:lnTo>
                  <a:lnTo>
                    <a:pt x="3877" y="4696"/>
                  </a:lnTo>
                  <a:lnTo>
                    <a:pt x="3893" y="4655"/>
                  </a:lnTo>
                  <a:lnTo>
                    <a:pt x="3910" y="4612"/>
                  </a:lnTo>
                  <a:lnTo>
                    <a:pt x="3931" y="4568"/>
                  </a:lnTo>
                  <a:lnTo>
                    <a:pt x="3954" y="4522"/>
                  </a:lnTo>
                  <a:lnTo>
                    <a:pt x="3979" y="4473"/>
                  </a:lnTo>
                  <a:lnTo>
                    <a:pt x="4007" y="4423"/>
                  </a:lnTo>
                  <a:lnTo>
                    <a:pt x="4037" y="4371"/>
                  </a:lnTo>
                  <a:lnTo>
                    <a:pt x="4068" y="4319"/>
                  </a:lnTo>
                  <a:lnTo>
                    <a:pt x="4102" y="4264"/>
                  </a:lnTo>
                  <a:lnTo>
                    <a:pt x="4137" y="4208"/>
                  </a:lnTo>
                  <a:lnTo>
                    <a:pt x="4174" y="4152"/>
                  </a:lnTo>
                  <a:lnTo>
                    <a:pt x="4214" y="4094"/>
                  </a:lnTo>
                  <a:lnTo>
                    <a:pt x="4254" y="4036"/>
                  </a:lnTo>
                  <a:lnTo>
                    <a:pt x="4295" y="3978"/>
                  </a:lnTo>
                  <a:lnTo>
                    <a:pt x="4339" y="3918"/>
                  </a:lnTo>
                  <a:lnTo>
                    <a:pt x="4383" y="3858"/>
                  </a:lnTo>
                  <a:lnTo>
                    <a:pt x="4428" y="3798"/>
                  </a:lnTo>
                  <a:lnTo>
                    <a:pt x="4476" y="3738"/>
                  </a:lnTo>
                  <a:lnTo>
                    <a:pt x="4523" y="3678"/>
                  </a:lnTo>
                  <a:lnTo>
                    <a:pt x="4621" y="3557"/>
                  </a:lnTo>
                  <a:lnTo>
                    <a:pt x="4723" y="3439"/>
                  </a:lnTo>
                  <a:lnTo>
                    <a:pt x="4826" y="3323"/>
                  </a:lnTo>
                  <a:lnTo>
                    <a:pt x="4877" y="3265"/>
                  </a:lnTo>
                  <a:lnTo>
                    <a:pt x="4930" y="3209"/>
                  </a:lnTo>
                  <a:lnTo>
                    <a:pt x="5030" y="3097"/>
                  </a:lnTo>
                  <a:lnTo>
                    <a:pt x="5129" y="2984"/>
                  </a:lnTo>
                  <a:lnTo>
                    <a:pt x="5229" y="2870"/>
                  </a:lnTo>
                  <a:lnTo>
                    <a:pt x="5329" y="2758"/>
                  </a:lnTo>
                  <a:lnTo>
                    <a:pt x="5426" y="2648"/>
                  </a:lnTo>
                  <a:lnTo>
                    <a:pt x="5522" y="2541"/>
                  </a:lnTo>
                  <a:lnTo>
                    <a:pt x="5568" y="2489"/>
                  </a:lnTo>
                  <a:lnTo>
                    <a:pt x="5614" y="2438"/>
                  </a:lnTo>
                  <a:lnTo>
                    <a:pt x="5661" y="2388"/>
                  </a:lnTo>
                  <a:lnTo>
                    <a:pt x="5705" y="2340"/>
                  </a:lnTo>
                  <a:lnTo>
                    <a:pt x="5750" y="2294"/>
                  </a:lnTo>
                  <a:lnTo>
                    <a:pt x="5793" y="2248"/>
                  </a:lnTo>
                  <a:lnTo>
                    <a:pt x="5835" y="2205"/>
                  </a:lnTo>
                  <a:lnTo>
                    <a:pt x="5877" y="2164"/>
                  </a:lnTo>
                  <a:lnTo>
                    <a:pt x="5917" y="2125"/>
                  </a:lnTo>
                  <a:lnTo>
                    <a:pt x="5956" y="2089"/>
                  </a:lnTo>
                  <a:lnTo>
                    <a:pt x="5993" y="2054"/>
                  </a:lnTo>
                  <a:lnTo>
                    <a:pt x="6030" y="2022"/>
                  </a:lnTo>
                  <a:lnTo>
                    <a:pt x="6066" y="1992"/>
                  </a:lnTo>
                  <a:lnTo>
                    <a:pt x="6100" y="1965"/>
                  </a:lnTo>
                  <a:lnTo>
                    <a:pt x="6132" y="1941"/>
                  </a:lnTo>
                  <a:lnTo>
                    <a:pt x="6163" y="1920"/>
                  </a:lnTo>
                  <a:lnTo>
                    <a:pt x="6193" y="1902"/>
                  </a:lnTo>
                  <a:lnTo>
                    <a:pt x="6220" y="1888"/>
                  </a:lnTo>
                  <a:lnTo>
                    <a:pt x="6246" y="1876"/>
                  </a:lnTo>
                  <a:lnTo>
                    <a:pt x="6270" y="1869"/>
                  </a:lnTo>
                  <a:lnTo>
                    <a:pt x="6863" y="1775"/>
                  </a:lnTo>
                  <a:lnTo>
                    <a:pt x="6919" y="1767"/>
                  </a:lnTo>
                  <a:lnTo>
                    <a:pt x="6975" y="1758"/>
                  </a:lnTo>
                  <a:lnTo>
                    <a:pt x="7029" y="1749"/>
                  </a:lnTo>
                  <a:lnTo>
                    <a:pt x="7080" y="1739"/>
                  </a:lnTo>
                  <a:lnTo>
                    <a:pt x="7130" y="1730"/>
                  </a:lnTo>
                  <a:lnTo>
                    <a:pt x="7177" y="1721"/>
                  </a:lnTo>
                  <a:lnTo>
                    <a:pt x="7223" y="1712"/>
                  </a:lnTo>
                  <a:lnTo>
                    <a:pt x="7266" y="1702"/>
                  </a:lnTo>
                  <a:lnTo>
                    <a:pt x="7309" y="1693"/>
                  </a:lnTo>
                  <a:lnTo>
                    <a:pt x="7348" y="1684"/>
                  </a:lnTo>
                  <a:lnTo>
                    <a:pt x="7386" y="1674"/>
                  </a:lnTo>
                  <a:lnTo>
                    <a:pt x="7422" y="1665"/>
                  </a:lnTo>
                  <a:lnTo>
                    <a:pt x="7456" y="1657"/>
                  </a:lnTo>
                  <a:lnTo>
                    <a:pt x="7489" y="1648"/>
                  </a:lnTo>
                  <a:lnTo>
                    <a:pt x="7519" y="1639"/>
                  </a:lnTo>
                  <a:lnTo>
                    <a:pt x="7548" y="1631"/>
                  </a:lnTo>
                  <a:lnTo>
                    <a:pt x="7575" y="1623"/>
                  </a:lnTo>
                  <a:lnTo>
                    <a:pt x="7600" y="1616"/>
                  </a:lnTo>
                  <a:lnTo>
                    <a:pt x="7623" y="1609"/>
                  </a:lnTo>
                  <a:lnTo>
                    <a:pt x="7645" y="1601"/>
                  </a:lnTo>
                  <a:lnTo>
                    <a:pt x="7665" y="1595"/>
                  </a:lnTo>
                  <a:lnTo>
                    <a:pt x="7682" y="1589"/>
                  </a:lnTo>
                  <a:lnTo>
                    <a:pt x="7698" y="1584"/>
                  </a:lnTo>
                  <a:lnTo>
                    <a:pt x="7712" y="1579"/>
                  </a:lnTo>
                  <a:lnTo>
                    <a:pt x="7726" y="1574"/>
                  </a:lnTo>
                  <a:lnTo>
                    <a:pt x="7736" y="1569"/>
                  </a:lnTo>
                  <a:lnTo>
                    <a:pt x="7745" y="1566"/>
                  </a:lnTo>
                  <a:lnTo>
                    <a:pt x="7752" y="1563"/>
                  </a:lnTo>
                  <a:lnTo>
                    <a:pt x="7759" y="1560"/>
                  </a:lnTo>
                  <a:lnTo>
                    <a:pt x="7763" y="1559"/>
                  </a:lnTo>
                  <a:lnTo>
                    <a:pt x="7765" y="1558"/>
                  </a:lnTo>
                  <a:lnTo>
                    <a:pt x="7766" y="1557"/>
                  </a:lnTo>
                  <a:lnTo>
                    <a:pt x="6769" y="1589"/>
                  </a:lnTo>
                  <a:lnTo>
                    <a:pt x="6771" y="1588"/>
                  </a:lnTo>
                  <a:lnTo>
                    <a:pt x="6774" y="1585"/>
                  </a:lnTo>
                  <a:lnTo>
                    <a:pt x="6777" y="1581"/>
                  </a:lnTo>
                  <a:lnTo>
                    <a:pt x="6781" y="1575"/>
                  </a:lnTo>
                  <a:lnTo>
                    <a:pt x="6786" y="1567"/>
                  </a:lnTo>
                  <a:lnTo>
                    <a:pt x="6792" y="1558"/>
                  </a:lnTo>
                  <a:lnTo>
                    <a:pt x="6800" y="1548"/>
                  </a:lnTo>
                  <a:lnTo>
                    <a:pt x="6807" y="1535"/>
                  </a:lnTo>
                  <a:lnTo>
                    <a:pt x="6816" y="1522"/>
                  </a:lnTo>
                  <a:lnTo>
                    <a:pt x="6825" y="1507"/>
                  </a:lnTo>
                  <a:lnTo>
                    <a:pt x="6836" y="1491"/>
                  </a:lnTo>
                  <a:lnTo>
                    <a:pt x="6847" y="1474"/>
                  </a:lnTo>
                  <a:lnTo>
                    <a:pt x="6860" y="1455"/>
                  </a:lnTo>
                  <a:lnTo>
                    <a:pt x="6874" y="1436"/>
                  </a:lnTo>
                  <a:lnTo>
                    <a:pt x="6888" y="1415"/>
                  </a:lnTo>
                  <a:lnTo>
                    <a:pt x="6904" y="1394"/>
                  </a:lnTo>
                  <a:lnTo>
                    <a:pt x="6920" y="1372"/>
                  </a:lnTo>
                  <a:lnTo>
                    <a:pt x="6938" y="1348"/>
                  </a:lnTo>
                  <a:lnTo>
                    <a:pt x="6958" y="1324"/>
                  </a:lnTo>
                  <a:lnTo>
                    <a:pt x="6977" y="1300"/>
                  </a:lnTo>
                  <a:lnTo>
                    <a:pt x="6999" y="1274"/>
                  </a:lnTo>
                  <a:lnTo>
                    <a:pt x="7020" y="1248"/>
                  </a:lnTo>
                  <a:lnTo>
                    <a:pt x="7044" y="1221"/>
                  </a:lnTo>
                  <a:lnTo>
                    <a:pt x="7069" y="1194"/>
                  </a:lnTo>
                  <a:lnTo>
                    <a:pt x="7095" y="1167"/>
                  </a:lnTo>
                  <a:lnTo>
                    <a:pt x="7122" y="1139"/>
                  </a:lnTo>
                  <a:lnTo>
                    <a:pt x="7150" y="1110"/>
                  </a:lnTo>
                  <a:lnTo>
                    <a:pt x="7179" y="1081"/>
                  </a:lnTo>
                  <a:lnTo>
                    <a:pt x="7210" y="1052"/>
                  </a:lnTo>
                  <a:lnTo>
                    <a:pt x="7242" y="1023"/>
                  </a:lnTo>
                  <a:lnTo>
                    <a:pt x="7275" y="995"/>
                  </a:lnTo>
                  <a:lnTo>
                    <a:pt x="7311" y="966"/>
                  </a:lnTo>
                  <a:lnTo>
                    <a:pt x="7347" y="936"/>
                  </a:lnTo>
                  <a:lnTo>
                    <a:pt x="7384" y="907"/>
                  </a:lnTo>
                  <a:lnTo>
                    <a:pt x="7423" y="878"/>
                  </a:lnTo>
                  <a:lnTo>
                    <a:pt x="7463" y="849"/>
                  </a:lnTo>
                  <a:lnTo>
                    <a:pt x="7505" y="821"/>
                  </a:lnTo>
                  <a:lnTo>
                    <a:pt x="7548" y="792"/>
                  </a:lnTo>
                  <a:lnTo>
                    <a:pt x="7592" y="764"/>
                  </a:lnTo>
                  <a:lnTo>
                    <a:pt x="7639" y="736"/>
                  </a:lnTo>
                  <a:lnTo>
                    <a:pt x="7686" y="709"/>
                  </a:lnTo>
                  <a:lnTo>
                    <a:pt x="7735" y="683"/>
                  </a:lnTo>
                  <a:lnTo>
                    <a:pt x="7785" y="657"/>
                  </a:lnTo>
                  <a:lnTo>
                    <a:pt x="7838" y="631"/>
                  </a:lnTo>
                  <a:lnTo>
                    <a:pt x="7892" y="606"/>
                  </a:lnTo>
                  <a:lnTo>
                    <a:pt x="7946" y="583"/>
                  </a:lnTo>
                  <a:lnTo>
                    <a:pt x="8003" y="559"/>
                  </a:lnTo>
                  <a:lnTo>
                    <a:pt x="8062" y="536"/>
                  </a:lnTo>
                  <a:lnTo>
                    <a:pt x="8122" y="516"/>
                  </a:lnTo>
                  <a:lnTo>
                    <a:pt x="8184" y="495"/>
                  </a:lnTo>
                  <a:lnTo>
                    <a:pt x="8247" y="476"/>
                  </a:lnTo>
                  <a:lnTo>
                    <a:pt x="8312" y="457"/>
                  </a:lnTo>
                  <a:lnTo>
                    <a:pt x="8379" y="439"/>
                  </a:lnTo>
                  <a:lnTo>
                    <a:pt x="8447" y="424"/>
                  </a:lnTo>
                  <a:lnTo>
                    <a:pt x="8517" y="409"/>
                  </a:lnTo>
                  <a:lnTo>
                    <a:pt x="8590" y="395"/>
                  </a:lnTo>
                  <a:lnTo>
                    <a:pt x="8663" y="384"/>
                  </a:lnTo>
                  <a:lnTo>
                    <a:pt x="8739" y="373"/>
                  </a:lnTo>
                  <a:lnTo>
                    <a:pt x="8817" y="363"/>
                  </a:lnTo>
                  <a:lnTo>
                    <a:pt x="8895" y="356"/>
                  </a:lnTo>
                  <a:lnTo>
                    <a:pt x="8977" y="350"/>
                  </a:lnTo>
                  <a:lnTo>
                    <a:pt x="9059" y="346"/>
                  </a:lnTo>
                  <a:lnTo>
                    <a:pt x="9144" y="343"/>
                  </a:lnTo>
                  <a:lnTo>
                    <a:pt x="9231" y="342"/>
                  </a:lnTo>
                  <a:lnTo>
                    <a:pt x="9231" y="342"/>
                  </a:lnTo>
                  <a:close/>
                  <a:moveTo>
                    <a:pt x="13524" y="1924"/>
                  </a:moveTo>
                  <a:lnTo>
                    <a:pt x="13549" y="1924"/>
                  </a:lnTo>
                  <a:lnTo>
                    <a:pt x="13574" y="1921"/>
                  </a:lnTo>
                  <a:lnTo>
                    <a:pt x="13600" y="1918"/>
                  </a:lnTo>
                  <a:lnTo>
                    <a:pt x="13628" y="1912"/>
                  </a:lnTo>
                  <a:lnTo>
                    <a:pt x="13657" y="1905"/>
                  </a:lnTo>
                  <a:lnTo>
                    <a:pt x="13688" y="1896"/>
                  </a:lnTo>
                  <a:lnTo>
                    <a:pt x="13719" y="1886"/>
                  </a:lnTo>
                  <a:lnTo>
                    <a:pt x="13750" y="1873"/>
                  </a:lnTo>
                  <a:lnTo>
                    <a:pt x="13783" y="1860"/>
                  </a:lnTo>
                  <a:lnTo>
                    <a:pt x="13816" y="1843"/>
                  </a:lnTo>
                  <a:lnTo>
                    <a:pt x="13849" y="1826"/>
                  </a:lnTo>
                  <a:lnTo>
                    <a:pt x="13883" y="1806"/>
                  </a:lnTo>
                  <a:lnTo>
                    <a:pt x="13918" y="1785"/>
                  </a:lnTo>
                  <a:lnTo>
                    <a:pt x="13954" y="1760"/>
                  </a:lnTo>
                  <a:lnTo>
                    <a:pt x="13988" y="1734"/>
                  </a:lnTo>
                  <a:lnTo>
                    <a:pt x="14023" y="1706"/>
                  </a:lnTo>
                  <a:lnTo>
                    <a:pt x="14046" y="1688"/>
                  </a:lnTo>
                  <a:lnTo>
                    <a:pt x="14069" y="1669"/>
                  </a:lnTo>
                  <a:lnTo>
                    <a:pt x="14114" y="1628"/>
                  </a:lnTo>
                  <a:lnTo>
                    <a:pt x="14156" y="1585"/>
                  </a:lnTo>
                  <a:lnTo>
                    <a:pt x="14195" y="1539"/>
                  </a:lnTo>
                  <a:lnTo>
                    <a:pt x="14233" y="1490"/>
                  </a:lnTo>
                  <a:lnTo>
                    <a:pt x="14267" y="1442"/>
                  </a:lnTo>
                  <a:lnTo>
                    <a:pt x="14299" y="1392"/>
                  </a:lnTo>
                  <a:lnTo>
                    <a:pt x="14327" y="1344"/>
                  </a:lnTo>
                  <a:lnTo>
                    <a:pt x="14351" y="1296"/>
                  </a:lnTo>
                  <a:lnTo>
                    <a:pt x="14362" y="1273"/>
                  </a:lnTo>
                  <a:lnTo>
                    <a:pt x="14372" y="1250"/>
                  </a:lnTo>
                  <a:lnTo>
                    <a:pt x="14381" y="1228"/>
                  </a:lnTo>
                  <a:lnTo>
                    <a:pt x="14388" y="1207"/>
                  </a:lnTo>
                  <a:lnTo>
                    <a:pt x="14394" y="1187"/>
                  </a:lnTo>
                  <a:lnTo>
                    <a:pt x="14401" y="1167"/>
                  </a:lnTo>
                  <a:lnTo>
                    <a:pt x="14405" y="1148"/>
                  </a:lnTo>
                  <a:lnTo>
                    <a:pt x="14407" y="1131"/>
                  </a:lnTo>
                  <a:lnTo>
                    <a:pt x="14409" y="1114"/>
                  </a:lnTo>
                  <a:lnTo>
                    <a:pt x="14409" y="1099"/>
                  </a:lnTo>
                  <a:lnTo>
                    <a:pt x="14409" y="1085"/>
                  </a:lnTo>
                  <a:lnTo>
                    <a:pt x="14406" y="1072"/>
                  </a:lnTo>
                  <a:lnTo>
                    <a:pt x="14403" y="1062"/>
                  </a:lnTo>
                  <a:lnTo>
                    <a:pt x="14397" y="1051"/>
                  </a:lnTo>
                  <a:lnTo>
                    <a:pt x="14397" y="1050"/>
                  </a:lnTo>
                  <a:lnTo>
                    <a:pt x="14396" y="1047"/>
                  </a:lnTo>
                  <a:lnTo>
                    <a:pt x="14395" y="1042"/>
                  </a:lnTo>
                  <a:lnTo>
                    <a:pt x="14393" y="1036"/>
                  </a:lnTo>
                  <a:lnTo>
                    <a:pt x="14389" y="1031"/>
                  </a:lnTo>
                  <a:lnTo>
                    <a:pt x="14384" y="1026"/>
                  </a:lnTo>
                  <a:lnTo>
                    <a:pt x="14377" y="1022"/>
                  </a:lnTo>
                  <a:lnTo>
                    <a:pt x="14366" y="1020"/>
                  </a:lnTo>
                  <a:lnTo>
                    <a:pt x="14357" y="1021"/>
                  </a:lnTo>
                  <a:lnTo>
                    <a:pt x="14348" y="1025"/>
                  </a:lnTo>
                  <a:lnTo>
                    <a:pt x="14339" y="1030"/>
                  </a:lnTo>
                  <a:lnTo>
                    <a:pt x="14328" y="1036"/>
                  </a:lnTo>
                  <a:lnTo>
                    <a:pt x="14318" y="1044"/>
                  </a:lnTo>
                  <a:lnTo>
                    <a:pt x="14307" y="1053"/>
                  </a:lnTo>
                  <a:lnTo>
                    <a:pt x="14296" y="1065"/>
                  </a:lnTo>
                  <a:lnTo>
                    <a:pt x="14285" y="1077"/>
                  </a:lnTo>
                  <a:lnTo>
                    <a:pt x="14273" y="1090"/>
                  </a:lnTo>
                  <a:lnTo>
                    <a:pt x="14260" y="1105"/>
                  </a:lnTo>
                  <a:lnTo>
                    <a:pt x="14248" y="1120"/>
                  </a:lnTo>
                  <a:lnTo>
                    <a:pt x="14234" y="1137"/>
                  </a:lnTo>
                  <a:lnTo>
                    <a:pt x="14208" y="1173"/>
                  </a:lnTo>
                  <a:lnTo>
                    <a:pt x="14180" y="1211"/>
                  </a:lnTo>
                  <a:lnTo>
                    <a:pt x="14150" y="1252"/>
                  </a:lnTo>
                  <a:lnTo>
                    <a:pt x="14118" y="1293"/>
                  </a:lnTo>
                  <a:lnTo>
                    <a:pt x="14085" y="1335"/>
                  </a:lnTo>
                  <a:lnTo>
                    <a:pt x="14051" y="1376"/>
                  </a:lnTo>
                  <a:lnTo>
                    <a:pt x="14014" y="1415"/>
                  </a:lnTo>
                  <a:lnTo>
                    <a:pt x="13977" y="1453"/>
                  </a:lnTo>
                  <a:lnTo>
                    <a:pt x="13939" y="1488"/>
                  </a:lnTo>
                  <a:lnTo>
                    <a:pt x="13918" y="1505"/>
                  </a:lnTo>
                  <a:lnTo>
                    <a:pt x="13899" y="1519"/>
                  </a:lnTo>
                  <a:lnTo>
                    <a:pt x="13863" y="1548"/>
                  </a:lnTo>
                  <a:lnTo>
                    <a:pt x="13823" y="1575"/>
                  </a:lnTo>
                  <a:lnTo>
                    <a:pt x="13783" y="1600"/>
                  </a:lnTo>
                  <a:lnTo>
                    <a:pt x="13742" y="1624"/>
                  </a:lnTo>
                  <a:lnTo>
                    <a:pt x="13701" y="1646"/>
                  </a:lnTo>
                  <a:lnTo>
                    <a:pt x="13658" y="1666"/>
                  </a:lnTo>
                  <a:lnTo>
                    <a:pt x="13618" y="1685"/>
                  </a:lnTo>
                  <a:lnTo>
                    <a:pt x="13579" y="1702"/>
                  </a:lnTo>
                  <a:lnTo>
                    <a:pt x="13543" y="1718"/>
                  </a:lnTo>
                  <a:lnTo>
                    <a:pt x="13509" y="1731"/>
                  </a:lnTo>
                  <a:lnTo>
                    <a:pt x="13478" y="1742"/>
                  </a:lnTo>
                  <a:lnTo>
                    <a:pt x="13464" y="1747"/>
                  </a:lnTo>
                  <a:lnTo>
                    <a:pt x="13452" y="1752"/>
                  </a:lnTo>
                  <a:lnTo>
                    <a:pt x="13440" y="1756"/>
                  </a:lnTo>
                  <a:lnTo>
                    <a:pt x="13430" y="1759"/>
                  </a:lnTo>
                  <a:lnTo>
                    <a:pt x="13421" y="1762"/>
                  </a:lnTo>
                  <a:lnTo>
                    <a:pt x="13414" y="1764"/>
                  </a:lnTo>
                  <a:lnTo>
                    <a:pt x="13407" y="1766"/>
                  </a:lnTo>
                  <a:lnTo>
                    <a:pt x="13403" y="1767"/>
                  </a:lnTo>
                  <a:lnTo>
                    <a:pt x="13401" y="1768"/>
                  </a:lnTo>
                  <a:lnTo>
                    <a:pt x="13400" y="1768"/>
                  </a:lnTo>
                  <a:lnTo>
                    <a:pt x="13399" y="1768"/>
                  </a:lnTo>
                  <a:lnTo>
                    <a:pt x="13397" y="1768"/>
                  </a:lnTo>
                  <a:lnTo>
                    <a:pt x="13391" y="1770"/>
                  </a:lnTo>
                  <a:lnTo>
                    <a:pt x="13382" y="1773"/>
                  </a:lnTo>
                  <a:lnTo>
                    <a:pt x="13378" y="1776"/>
                  </a:lnTo>
                  <a:lnTo>
                    <a:pt x="13372" y="1781"/>
                  </a:lnTo>
                  <a:lnTo>
                    <a:pt x="13368" y="1785"/>
                  </a:lnTo>
                  <a:lnTo>
                    <a:pt x="13365" y="1791"/>
                  </a:lnTo>
                  <a:lnTo>
                    <a:pt x="13362" y="1799"/>
                  </a:lnTo>
                  <a:lnTo>
                    <a:pt x="13361" y="1808"/>
                  </a:lnTo>
                  <a:lnTo>
                    <a:pt x="13360" y="1819"/>
                  </a:lnTo>
                  <a:lnTo>
                    <a:pt x="13361" y="1831"/>
                  </a:lnTo>
                  <a:lnTo>
                    <a:pt x="13364" y="1845"/>
                  </a:lnTo>
                  <a:lnTo>
                    <a:pt x="13369" y="1862"/>
                  </a:lnTo>
                  <a:lnTo>
                    <a:pt x="13381" y="1873"/>
                  </a:lnTo>
                  <a:lnTo>
                    <a:pt x="13393" y="1885"/>
                  </a:lnTo>
                  <a:lnTo>
                    <a:pt x="13407" y="1895"/>
                  </a:lnTo>
                  <a:lnTo>
                    <a:pt x="13423" y="1905"/>
                  </a:lnTo>
                  <a:lnTo>
                    <a:pt x="13443" y="1912"/>
                  </a:lnTo>
                  <a:lnTo>
                    <a:pt x="13453" y="1916"/>
                  </a:lnTo>
                  <a:lnTo>
                    <a:pt x="13465" y="1919"/>
                  </a:lnTo>
                  <a:lnTo>
                    <a:pt x="13478" y="1921"/>
                  </a:lnTo>
                  <a:lnTo>
                    <a:pt x="13492" y="1923"/>
                  </a:lnTo>
                  <a:lnTo>
                    <a:pt x="13508" y="1924"/>
                  </a:lnTo>
                  <a:lnTo>
                    <a:pt x="13524" y="1924"/>
                  </a:lnTo>
                  <a:lnTo>
                    <a:pt x="13524" y="1924"/>
                  </a:lnTo>
                  <a:close/>
                  <a:moveTo>
                    <a:pt x="8857" y="3146"/>
                  </a:moveTo>
                  <a:lnTo>
                    <a:pt x="8858" y="3145"/>
                  </a:lnTo>
                  <a:lnTo>
                    <a:pt x="8860" y="3140"/>
                  </a:lnTo>
                  <a:lnTo>
                    <a:pt x="8864" y="3133"/>
                  </a:lnTo>
                  <a:lnTo>
                    <a:pt x="8869" y="3123"/>
                  </a:lnTo>
                  <a:lnTo>
                    <a:pt x="8877" y="3109"/>
                  </a:lnTo>
                  <a:lnTo>
                    <a:pt x="8885" y="3094"/>
                  </a:lnTo>
                  <a:lnTo>
                    <a:pt x="8893" y="3076"/>
                  </a:lnTo>
                  <a:lnTo>
                    <a:pt x="8904" y="3057"/>
                  </a:lnTo>
                  <a:lnTo>
                    <a:pt x="8916" y="3035"/>
                  </a:lnTo>
                  <a:lnTo>
                    <a:pt x="8928" y="3011"/>
                  </a:lnTo>
                  <a:lnTo>
                    <a:pt x="8942" y="2987"/>
                  </a:lnTo>
                  <a:lnTo>
                    <a:pt x="8956" y="2961"/>
                  </a:lnTo>
                  <a:lnTo>
                    <a:pt x="8971" y="2934"/>
                  </a:lnTo>
                  <a:lnTo>
                    <a:pt x="8987" y="2905"/>
                  </a:lnTo>
                  <a:lnTo>
                    <a:pt x="9021" y="2847"/>
                  </a:lnTo>
                  <a:lnTo>
                    <a:pt x="9057" y="2786"/>
                  </a:lnTo>
                  <a:lnTo>
                    <a:pt x="9094" y="2725"/>
                  </a:lnTo>
                  <a:lnTo>
                    <a:pt x="9134" y="2665"/>
                  </a:lnTo>
                  <a:lnTo>
                    <a:pt x="9173" y="2608"/>
                  </a:lnTo>
                  <a:lnTo>
                    <a:pt x="9192" y="2580"/>
                  </a:lnTo>
                  <a:lnTo>
                    <a:pt x="9212" y="2554"/>
                  </a:lnTo>
                  <a:lnTo>
                    <a:pt x="9232" y="2529"/>
                  </a:lnTo>
                  <a:lnTo>
                    <a:pt x="9250" y="2506"/>
                  </a:lnTo>
                  <a:lnTo>
                    <a:pt x="9270" y="2483"/>
                  </a:lnTo>
                  <a:lnTo>
                    <a:pt x="9288" y="2464"/>
                  </a:lnTo>
                  <a:lnTo>
                    <a:pt x="9307" y="2446"/>
                  </a:lnTo>
                  <a:lnTo>
                    <a:pt x="9325" y="2430"/>
                  </a:lnTo>
                  <a:lnTo>
                    <a:pt x="9345" y="2413"/>
                  </a:lnTo>
                  <a:lnTo>
                    <a:pt x="9367" y="2397"/>
                  </a:lnTo>
                  <a:lnTo>
                    <a:pt x="9412" y="2368"/>
                  </a:lnTo>
                  <a:lnTo>
                    <a:pt x="9460" y="2343"/>
                  </a:lnTo>
                  <a:lnTo>
                    <a:pt x="9509" y="2321"/>
                  </a:lnTo>
                  <a:lnTo>
                    <a:pt x="9559" y="2304"/>
                  </a:lnTo>
                  <a:lnTo>
                    <a:pt x="9607" y="2288"/>
                  </a:lnTo>
                  <a:lnTo>
                    <a:pt x="9656" y="2276"/>
                  </a:lnTo>
                  <a:lnTo>
                    <a:pt x="9702" y="2266"/>
                  </a:lnTo>
                  <a:lnTo>
                    <a:pt x="9747" y="2259"/>
                  </a:lnTo>
                  <a:lnTo>
                    <a:pt x="9787" y="2252"/>
                  </a:lnTo>
                  <a:lnTo>
                    <a:pt x="9806" y="2250"/>
                  </a:lnTo>
                  <a:lnTo>
                    <a:pt x="9823" y="2248"/>
                  </a:lnTo>
                  <a:lnTo>
                    <a:pt x="9840" y="2247"/>
                  </a:lnTo>
                  <a:lnTo>
                    <a:pt x="9855" y="2246"/>
                  </a:lnTo>
                  <a:lnTo>
                    <a:pt x="9869" y="2245"/>
                  </a:lnTo>
                  <a:lnTo>
                    <a:pt x="9881" y="2244"/>
                  </a:lnTo>
                  <a:lnTo>
                    <a:pt x="9891" y="2243"/>
                  </a:lnTo>
                  <a:lnTo>
                    <a:pt x="9901" y="2243"/>
                  </a:lnTo>
                  <a:lnTo>
                    <a:pt x="9908" y="2243"/>
                  </a:lnTo>
                  <a:lnTo>
                    <a:pt x="9913" y="2243"/>
                  </a:lnTo>
                  <a:lnTo>
                    <a:pt x="9916" y="2243"/>
                  </a:lnTo>
                  <a:lnTo>
                    <a:pt x="9917" y="2243"/>
                  </a:lnTo>
                  <a:lnTo>
                    <a:pt x="9916" y="2243"/>
                  </a:lnTo>
                  <a:lnTo>
                    <a:pt x="9913" y="2242"/>
                  </a:lnTo>
                  <a:lnTo>
                    <a:pt x="9909" y="2241"/>
                  </a:lnTo>
                  <a:lnTo>
                    <a:pt x="9903" y="2239"/>
                  </a:lnTo>
                  <a:lnTo>
                    <a:pt x="9895" y="2237"/>
                  </a:lnTo>
                  <a:lnTo>
                    <a:pt x="9886" y="2234"/>
                  </a:lnTo>
                  <a:lnTo>
                    <a:pt x="9876" y="2232"/>
                  </a:lnTo>
                  <a:lnTo>
                    <a:pt x="9865" y="2229"/>
                  </a:lnTo>
                  <a:lnTo>
                    <a:pt x="9851" y="2225"/>
                  </a:lnTo>
                  <a:lnTo>
                    <a:pt x="9837" y="2221"/>
                  </a:lnTo>
                  <a:lnTo>
                    <a:pt x="9821" y="2217"/>
                  </a:lnTo>
                  <a:lnTo>
                    <a:pt x="9805" y="2213"/>
                  </a:lnTo>
                  <a:lnTo>
                    <a:pt x="9770" y="2205"/>
                  </a:lnTo>
                  <a:lnTo>
                    <a:pt x="9730" y="2197"/>
                  </a:lnTo>
                  <a:lnTo>
                    <a:pt x="9688" y="2187"/>
                  </a:lnTo>
                  <a:lnTo>
                    <a:pt x="9643" y="2179"/>
                  </a:lnTo>
                  <a:lnTo>
                    <a:pt x="9596" y="2171"/>
                  </a:lnTo>
                  <a:lnTo>
                    <a:pt x="9549" y="2164"/>
                  </a:lnTo>
                  <a:lnTo>
                    <a:pt x="9500" y="2159"/>
                  </a:lnTo>
                  <a:lnTo>
                    <a:pt x="9452" y="2153"/>
                  </a:lnTo>
                  <a:lnTo>
                    <a:pt x="9403" y="2150"/>
                  </a:lnTo>
                  <a:lnTo>
                    <a:pt x="9356" y="2149"/>
                  </a:lnTo>
                  <a:lnTo>
                    <a:pt x="9320" y="2149"/>
                  </a:lnTo>
                  <a:lnTo>
                    <a:pt x="9286" y="2150"/>
                  </a:lnTo>
                  <a:lnTo>
                    <a:pt x="9252" y="2152"/>
                  </a:lnTo>
                  <a:lnTo>
                    <a:pt x="9219" y="2158"/>
                  </a:lnTo>
                  <a:lnTo>
                    <a:pt x="9188" y="2165"/>
                  </a:lnTo>
                  <a:lnTo>
                    <a:pt x="9173" y="2170"/>
                  </a:lnTo>
                  <a:lnTo>
                    <a:pt x="9158" y="2176"/>
                  </a:lnTo>
                  <a:lnTo>
                    <a:pt x="9145" y="2183"/>
                  </a:lnTo>
                  <a:lnTo>
                    <a:pt x="9132" y="2192"/>
                  </a:lnTo>
                  <a:lnTo>
                    <a:pt x="9118" y="2201"/>
                  </a:lnTo>
                  <a:lnTo>
                    <a:pt x="9107" y="2212"/>
                  </a:lnTo>
                  <a:lnTo>
                    <a:pt x="9100" y="2217"/>
                  </a:lnTo>
                  <a:lnTo>
                    <a:pt x="9092" y="2222"/>
                  </a:lnTo>
                  <a:lnTo>
                    <a:pt x="9078" y="2238"/>
                  </a:lnTo>
                  <a:lnTo>
                    <a:pt x="9064" y="2256"/>
                  </a:lnTo>
                  <a:lnTo>
                    <a:pt x="9051" y="2279"/>
                  </a:lnTo>
                  <a:lnTo>
                    <a:pt x="9039" y="2305"/>
                  </a:lnTo>
                  <a:lnTo>
                    <a:pt x="9025" y="2333"/>
                  </a:lnTo>
                  <a:lnTo>
                    <a:pt x="9014" y="2364"/>
                  </a:lnTo>
                  <a:lnTo>
                    <a:pt x="9002" y="2398"/>
                  </a:lnTo>
                  <a:lnTo>
                    <a:pt x="8990" y="2433"/>
                  </a:lnTo>
                  <a:lnTo>
                    <a:pt x="8980" y="2470"/>
                  </a:lnTo>
                  <a:lnTo>
                    <a:pt x="8970" y="2509"/>
                  </a:lnTo>
                  <a:lnTo>
                    <a:pt x="8959" y="2549"/>
                  </a:lnTo>
                  <a:lnTo>
                    <a:pt x="8941" y="2630"/>
                  </a:lnTo>
                  <a:lnTo>
                    <a:pt x="8923" y="2714"/>
                  </a:lnTo>
                  <a:lnTo>
                    <a:pt x="8909" y="2796"/>
                  </a:lnTo>
                  <a:lnTo>
                    <a:pt x="8901" y="2836"/>
                  </a:lnTo>
                  <a:lnTo>
                    <a:pt x="8895" y="2876"/>
                  </a:lnTo>
                  <a:lnTo>
                    <a:pt x="8889" y="2913"/>
                  </a:lnTo>
                  <a:lnTo>
                    <a:pt x="8884" y="2949"/>
                  </a:lnTo>
                  <a:lnTo>
                    <a:pt x="8879" y="2983"/>
                  </a:lnTo>
                  <a:lnTo>
                    <a:pt x="8875" y="3014"/>
                  </a:lnTo>
                  <a:lnTo>
                    <a:pt x="8870" y="3042"/>
                  </a:lnTo>
                  <a:lnTo>
                    <a:pt x="8867" y="3068"/>
                  </a:lnTo>
                  <a:lnTo>
                    <a:pt x="8864" y="3091"/>
                  </a:lnTo>
                  <a:lnTo>
                    <a:pt x="8861" y="3110"/>
                  </a:lnTo>
                  <a:lnTo>
                    <a:pt x="8860" y="3126"/>
                  </a:lnTo>
                  <a:lnTo>
                    <a:pt x="8859" y="3132"/>
                  </a:lnTo>
                  <a:lnTo>
                    <a:pt x="8858" y="3137"/>
                  </a:lnTo>
                  <a:lnTo>
                    <a:pt x="8858" y="3141"/>
                  </a:lnTo>
                  <a:lnTo>
                    <a:pt x="8858" y="3144"/>
                  </a:lnTo>
                  <a:lnTo>
                    <a:pt x="8857" y="3146"/>
                  </a:lnTo>
                  <a:lnTo>
                    <a:pt x="8857" y="3146"/>
                  </a:lnTo>
                  <a:lnTo>
                    <a:pt x="8857" y="3146"/>
                  </a:lnTo>
                  <a:close/>
                  <a:moveTo>
                    <a:pt x="9387" y="3926"/>
                  </a:moveTo>
                  <a:lnTo>
                    <a:pt x="9389" y="3924"/>
                  </a:lnTo>
                  <a:lnTo>
                    <a:pt x="9393" y="3920"/>
                  </a:lnTo>
                  <a:lnTo>
                    <a:pt x="9399" y="3914"/>
                  </a:lnTo>
                  <a:lnTo>
                    <a:pt x="9407" y="3906"/>
                  </a:lnTo>
                  <a:lnTo>
                    <a:pt x="9418" y="3895"/>
                  </a:lnTo>
                  <a:lnTo>
                    <a:pt x="9430" y="3883"/>
                  </a:lnTo>
                  <a:lnTo>
                    <a:pt x="9443" y="3870"/>
                  </a:lnTo>
                  <a:lnTo>
                    <a:pt x="9457" y="3856"/>
                  </a:lnTo>
                  <a:lnTo>
                    <a:pt x="9488" y="3825"/>
                  </a:lnTo>
                  <a:lnTo>
                    <a:pt x="9519" y="3794"/>
                  </a:lnTo>
                  <a:lnTo>
                    <a:pt x="9548" y="3764"/>
                  </a:lnTo>
                  <a:lnTo>
                    <a:pt x="9561" y="3751"/>
                  </a:lnTo>
                  <a:lnTo>
                    <a:pt x="9573" y="3739"/>
                  </a:lnTo>
                  <a:lnTo>
                    <a:pt x="9597" y="3717"/>
                  </a:lnTo>
                  <a:lnTo>
                    <a:pt x="9620" y="3699"/>
                  </a:lnTo>
                  <a:lnTo>
                    <a:pt x="9641" y="3682"/>
                  </a:lnTo>
                  <a:lnTo>
                    <a:pt x="9659" y="3669"/>
                  </a:lnTo>
                  <a:lnTo>
                    <a:pt x="9676" y="3658"/>
                  </a:lnTo>
                  <a:lnTo>
                    <a:pt x="9682" y="3654"/>
                  </a:lnTo>
                  <a:lnTo>
                    <a:pt x="9688" y="3651"/>
                  </a:lnTo>
                  <a:lnTo>
                    <a:pt x="9692" y="3648"/>
                  </a:lnTo>
                  <a:lnTo>
                    <a:pt x="9696" y="3647"/>
                  </a:lnTo>
                  <a:lnTo>
                    <a:pt x="9698" y="3646"/>
                  </a:lnTo>
                  <a:lnTo>
                    <a:pt x="9698" y="3645"/>
                  </a:lnTo>
                  <a:lnTo>
                    <a:pt x="9699" y="3652"/>
                  </a:lnTo>
                  <a:lnTo>
                    <a:pt x="9700" y="3659"/>
                  </a:lnTo>
                  <a:lnTo>
                    <a:pt x="9702" y="3669"/>
                  </a:lnTo>
                  <a:lnTo>
                    <a:pt x="9705" y="3679"/>
                  </a:lnTo>
                  <a:lnTo>
                    <a:pt x="9714" y="3702"/>
                  </a:lnTo>
                  <a:lnTo>
                    <a:pt x="9719" y="3714"/>
                  </a:lnTo>
                  <a:lnTo>
                    <a:pt x="9726" y="3727"/>
                  </a:lnTo>
                  <a:lnTo>
                    <a:pt x="9733" y="3741"/>
                  </a:lnTo>
                  <a:lnTo>
                    <a:pt x="9743" y="3754"/>
                  </a:lnTo>
                  <a:lnTo>
                    <a:pt x="9753" y="3768"/>
                  </a:lnTo>
                  <a:lnTo>
                    <a:pt x="9764" y="3781"/>
                  </a:lnTo>
                  <a:lnTo>
                    <a:pt x="9777" y="3794"/>
                  </a:lnTo>
                  <a:lnTo>
                    <a:pt x="9791" y="3808"/>
                  </a:lnTo>
                  <a:lnTo>
                    <a:pt x="9807" y="3820"/>
                  </a:lnTo>
                  <a:lnTo>
                    <a:pt x="9823" y="3832"/>
                  </a:lnTo>
                  <a:lnTo>
                    <a:pt x="9846" y="3854"/>
                  </a:lnTo>
                  <a:lnTo>
                    <a:pt x="9869" y="3875"/>
                  </a:lnTo>
                  <a:lnTo>
                    <a:pt x="9889" y="3893"/>
                  </a:lnTo>
                  <a:lnTo>
                    <a:pt x="9910" y="3910"/>
                  </a:lnTo>
                  <a:lnTo>
                    <a:pt x="9929" y="3924"/>
                  </a:lnTo>
                  <a:lnTo>
                    <a:pt x="9947" y="3936"/>
                  </a:lnTo>
                  <a:lnTo>
                    <a:pt x="9964" y="3948"/>
                  </a:lnTo>
                  <a:lnTo>
                    <a:pt x="9979" y="3957"/>
                  </a:lnTo>
                  <a:lnTo>
                    <a:pt x="9993" y="3965"/>
                  </a:lnTo>
                  <a:lnTo>
                    <a:pt x="10005" y="3971"/>
                  </a:lnTo>
                  <a:lnTo>
                    <a:pt x="10016" y="3978"/>
                  </a:lnTo>
                  <a:lnTo>
                    <a:pt x="10025" y="3982"/>
                  </a:lnTo>
                  <a:lnTo>
                    <a:pt x="10032" y="3985"/>
                  </a:lnTo>
                  <a:lnTo>
                    <a:pt x="10037" y="3987"/>
                  </a:lnTo>
                  <a:lnTo>
                    <a:pt x="10040" y="3988"/>
                  </a:lnTo>
                  <a:lnTo>
                    <a:pt x="10041" y="3988"/>
                  </a:lnTo>
                  <a:lnTo>
                    <a:pt x="10040" y="3989"/>
                  </a:lnTo>
                  <a:lnTo>
                    <a:pt x="10037" y="3992"/>
                  </a:lnTo>
                  <a:lnTo>
                    <a:pt x="10033" y="3997"/>
                  </a:lnTo>
                  <a:lnTo>
                    <a:pt x="10027" y="4004"/>
                  </a:lnTo>
                  <a:lnTo>
                    <a:pt x="10018" y="4013"/>
                  </a:lnTo>
                  <a:lnTo>
                    <a:pt x="10010" y="4023"/>
                  </a:lnTo>
                  <a:lnTo>
                    <a:pt x="10001" y="4034"/>
                  </a:lnTo>
                  <a:lnTo>
                    <a:pt x="9990" y="4047"/>
                  </a:lnTo>
                  <a:lnTo>
                    <a:pt x="9980" y="4060"/>
                  </a:lnTo>
                  <a:lnTo>
                    <a:pt x="9970" y="4074"/>
                  </a:lnTo>
                  <a:lnTo>
                    <a:pt x="9949" y="4106"/>
                  </a:lnTo>
                  <a:lnTo>
                    <a:pt x="9932" y="4140"/>
                  </a:lnTo>
                  <a:lnTo>
                    <a:pt x="9923" y="4158"/>
                  </a:lnTo>
                  <a:lnTo>
                    <a:pt x="9917" y="4175"/>
                  </a:lnTo>
                  <a:lnTo>
                    <a:pt x="9895" y="4211"/>
                  </a:lnTo>
                  <a:lnTo>
                    <a:pt x="9876" y="4249"/>
                  </a:lnTo>
                  <a:lnTo>
                    <a:pt x="9859" y="4286"/>
                  </a:lnTo>
                  <a:lnTo>
                    <a:pt x="9853" y="4303"/>
                  </a:lnTo>
                  <a:lnTo>
                    <a:pt x="9847" y="4320"/>
                  </a:lnTo>
                  <a:lnTo>
                    <a:pt x="9841" y="4335"/>
                  </a:lnTo>
                  <a:lnTo>
                    <a:pt x="9837" y="4350"/>
                  </a:lnTo>
                  <a:lnTo>
                    <a:pt x="9833" y="4362"/>
                  </a:lnTo>
                  <a:lnTo>
                    <a:pt x="9828" y="4372"/>
                  </a:lnTo>
                  <a:lnTo>
                    <a:pt x="9826" y="4381"/>
                  </a:lnTo>
                  <a:lnTo>
                    <a:pt x="9824" y="4388"/>
                  </a:lnTo>
                  <a:lnTo>
                    <a:pt x="9823" y="4392"/>
                  </a:lnTo>
                  <a:lnTo>
                    <a:pt x="9823" y="4394"/>
                  </a:lnTo>
                  <a:lnTo>
                    <a:pt x="9823" y="4393"/>
                  </a:lnTo>
                  <a:lnTo>
                    <a:pt x="9826" y="4391"/>
                  </a:lnTo>
                  <a:lnTo>
                    <a:pt x="9829" y="4387"/>
                  </a:lnTo>
                  <a:lnTo>
                    <a:pt x="9835" y="4381"/>
                  </a:lnTo>
                  <a:lnTo>
                    <a:pt x="9841" y="4374"/>
                  </a:lnTo>
                  <a:lnTo>
                    <a:pt x="9848" y="4366"/>
                  </a:lnTo>
                  <a:lnTo>
                    <a:pt x="9856" y="4357"/>
                  </a:lnTo>
                  <a:lnTo>
                    <a:pt x="9867" y="4346"/>
                  </a:lnTo>
                  <a:lnTo>
                    <a:pt x="9877" y="4335"/>
                  </a:lnTo>
                  <a:lnTo>
                    <a:pt x="9889" y="4322"/>
                  </a:lnTo>
                  <a:lnTo>
                    <a:pt x="9903" y="4308"/>
                  </a:lnTo>
                  <a:lnTo>
                    <a:pt x="9917" y="4293"/>
                  </a:lnTo>
                  <a:lnTo>
                    <a:pt x="9948" y="4261"/>
                  </a:lnTo>
                  <a:lnTo>
                    <a:pt x="9983" y="4226"/>
                  </a:lnTo>
                  <a:lnTo>
                    <a:pt x="10021" y="4188"/>
                  </a:lnTo>
                  <a:lnTo>
                    <a:pt x="10062" y="4149"/>
                  </a:lnTo>
                  <a:lnTo>
                    <a:pt x="10106" y="4107"/>
                  </a:lnTo>
                  <a:lnTo>
                    <a:pt x="10153" y="4064"/>
                  </a:lnTo>
                  <a:lnTo>
                    <a:pt x="10200" y="4022"/>
                  </a:lnTo>
                  <a:lnTo>
                    <a:pt x="10250" y="3979"/>
                  </a:lnTo>
                  <a:lnTo>
                    <a:pt x="10301" y="3936"/>
                  </a:lnTo>
                  <a:lnTo>
                    <a:pt x="10353" y="3894"/>
                  </a:lnTo>
                  <a:lnTo>
                    <a:pt x="10429" y="3838"/>
                  </a:lnTo>
                  <a:lnTo>
                    <a:pt x="10505" y="3785"/>
                  </a:lnTo>
                  <a:lnTo>
                    <a:pt x="10578" y="3736"/>
                  </a:lnTo>
                  <a:lnTo>
                    <a:pt x="10651" y="3690"/>
                  </a:lnTo>
                  <a:lnTo>
                    <a:pt x="10720" y="3648"/>
                  </a:lnTo>
                  <a:lnTo>
                    <a:pt x="10787" y="3610"/>
                  </a:lnTo>
                  <a:lnTo>
                    <a:pt x="10819" y="3592"/>
                  </a:lnTo>
                  <a:lnTo>
                    <a:pt x="10851" y="3575"/>
                  </a:lnTo>
                  <a:lnTo>
                    <a:pt x="10881" y="3559"/>
                  </a:lnTo>
                  <a:lnTo>
                    <a:pt x="10910" y="3544"/>
                  </a:lnTo>
                  <a:lnTo>
                    <a:pt x="10938" y="3530"/>
                  </a:lnTo>
                  <a:lnTo>
                    <a:pt x="10965" y="3517"/>
                  </a:lnTo>
                  <a:lnTo>
                    <a:pt x="10990" y="3505"/>
                  </a:lnTo>
                  <a:lnTo>
                    <a:pt x="11014" y="3494"/>
                  </a:lnTo>
                  <a:lnTo>
                    <a:pt x="11036" y="3482"/>
                  </a:lnTo>
                  <a:lnTo>
                    <a:pt x="11057" y="3473"/>
                  </a:lnTo>
                  <a:lnTo>
                    <a:pt x="11076" y="3465"/>
                  </a:lnTo>
                  <a:lnTo>
                    <a:pt x="11094" y="3456"/>
                  </a:lnTo>
                  <a:lnTo>
                    <a:pt x="11110" y="3449"/>
                  </a:lnTo>
                  <a:lnTo>
                    <a:pt x="11123" y="3444"/>
                  </a:lnTo>
                  <a:lnTo>
                    <a:pt x="11135" y="3439"/>
                  </a:lnTo>
                  <a:lnTo>
                    <a:pt x="11146" y="3435"/>
                  </a:lnTo>
                  <a:lnTo>
                    <a:pt x="11153" y="3432"/>
                  </a:lnTo>
                  <a:lnTo>
                    <a:pt x="11159" y="3430"/>
                  </a:lnTo>
                  <a:lnTo>
                    <a:pt x="11162" y="3428"/>
                  </a:lnTo>
                  <a:lnTo>
                    <a:pt x="11163" y="3428"/>
                  </a:lnTo>
                  <a:lnTo>
                    <a:pt x="11162" y="3428"/>
                  </a:lnTo>
                  <a:lnTo>
                    <a:pt x="11158" y="3428"/>
                  </a:lnTo>
                  <a:lnTo>
                    <a:pt x="11151" y="3428"/>
                  </a:lnTo>
                  <a:lnTo>
                    <a:pt x="11142" y="3429"/>
                  </a:lnTo>
                  <a:lnTo>
                    <a:pt x="11131" y="3430"/>
                  </a:lnTo>
                  <a:lnTo>
                    <a:pt x="11118" y="3431"/>
                  </a:lnTo>
                  <a:lnTo>
                    <a:pt x="11102" y="3433"/>
                  </a:lnTo>
                  <a:lnTo>
                    <a:pt x="11086" y="3435"/>
                  </a:lnTo>
                  <a:lnTo>
                    <a:pt x="11067" y="3439"/>
                  </a:lnTo>
                  <a:lnTo>
                    <a:pt x="11048" y="3443"/>
                  </a:lnTo>
                  <a:lnTo>
                    <a:pt x="11027" y="3447"/>
                  </a:lnTo>
                  <a:lnTo>
                    <a:pt x="11005" y="3453"/>
                  </a:lnTo>
                  <a:lnTo>
                    <a:pt x="10984" y="3461"/>
                  </a:lnTo>
                  <a:lnTo>
                    <a:pt x="10961" y="3469"/>
                  </a:lnTo>
                  <a:lnTo>
                    <a:pt x="10937" y="3479"/>
                  </a:lnTo>
                  <a:lnTo>
                    <a:pt x="10914" y="3489"/>
                  </a:lnTo>
                  <a:lnTo>
                    <a:pt x="10892" y="3496"/>
                  </a:lnTo>
                  <a:lnTo>
                    <a:pt x="10872" y="3501"/>
                  </a:lnTo>
                  <a:lnTo>
                    <a:pt x="10853" y="3507"/>
                  </a:lnTo>
                  <a:lnTo>
                    <a:pt x="10837" y="3512"/>
                  </a:lnTo>
                  <a:lnTo>
                    <a:pt x="10823" y="3518"/>
                  </a:lnTo>
                  <a:lnTo>
                    <a:pt x="10810" y="3523"/>
                  </a:lnTo>
                  <a:lnTo>
                    <a:pt x="10799" y="3528"/>
                  </a:lnTo>
                  <a:lnTo>
                    <a:pt x="10789" y="3533"/>
                  </a:lnTo>
                  <a:lnTo>
                    <a:pt x="10781" y="3537"/>
                  </a:lnTo>
                  <a:lnTo>
                    <a:pt x="10775" y="3541"/>
                  </a:lnTo>
                  <a:lnTo>
                    <a:pt x="10769" y="3544"/>
                  </a:lnTo>
                  <a:lnTo>
                    <a:pt x="10765" y="3547"/>
                  </a:lnTo>
                  <a:lnTo>
                    <a:pt x="10762" y="3549"/>
                  </a:lnTo>
                  <a:lnTo>
                    <a:pt x="10760" y="3550"/>
                  </a:lnTo>
                  <a:lnTo>
                    <a:pt x="10759" y="3552"/>
                  </a:lnTo>
                  <a:lnTo>
                    <a:pt x="10759" y="3550"/>
                  </a:lnTo>
                  <a:lnTo>
                    <a:pt x="10759" y="3545"/>
                  </a:lnTo>
                  <a:lnTo>
                    <a:pt x="10757" y="3537"/>
                  </a:lnTo>
                  <a:lnTo>
                    <a:pt x="10756" y="3525"/>
                  </a:lnTo>
                  <a:lnTo>
                    <a:pt x="10754" y="3512"/>
                  </a:lnTo>
                  <a:lnTo>
                    <a:pt x="10751" y="3496"/>
                  </a:lnTo>
                  <a:lnTo>
                    <a:pt x="10748" y="3478"/>
                  </a:lnTo>
                  <a:lnTo>
                    <a:pt x="10743" y="3459"/>
                  </a:lnTo>
                  <a:lnTo>
                    <a:pt x="10736" y="3437"/>
                  </a:lnTo>
                  <a:lnTo>
                    <a:pt x="10728" y="3415"/>
                  </a:lnTo>
                  <a:lnTo>
                    <a:pt x="10717" y="3392"/>
                  </a:lnTo>
                  <a:lnTo>
                    <a:pt x="10706" y="3368"/>
                  </a:lnTo>
                  <a:lnTo>
                    <a:pt x="10691" y="3343"/>
                  </a:lnTo>
                  <a:lnTo>
                    <a:pt x="10675" y="3319"/>
                  </a:lnTo>
                  <a:lnTo>
                    <a:pt x="10655" y="3295"/>
                  </a:lnTo>
                  <a:lnTo>
                    <a:pt x="10634" y="3271"/>
                  </a:lnTo>
                  <a:lnTo>
                    <a:pt x="10615" y="3249"/>
                  </a:lnTo>
                  <a:lnTo>
                    <a:pt x="10597" y="3229"/>
                  </a:lnTo>
                  <a:lnTo>
                    <a:pt x="10579" y="3210"/>
                  </a:lnTo>
                  <a:lnTo>
                    <a:pt x="10560" y="3195"/>
                  </a:lnTo>
                  <a:lnTo>
                    <a:pt x="10542" y="3180"/>
                  </a:lnTo>
                  <a:lnTo>
                    <a:pt x="10523" y="3167"/>
                  </a:lnTo>
                  <a:lnTo>
                    <a:pt x="10506" y="3157"/>
                  </a:lnTo>
                  <a:lnTo>
                    <a:pt x="10489" y="3146"/>
                  </a:lnTo>
                  <a:lnTo>
                    <a:pt x="10474" y="3139"/>
                  </a:lnTo>
                  <a:lnTo>
                    <a:pt x="10460" y="3132"/>
                  </a:lnTo>
                  <a:lnTo>
                    <a:pt x="10447" y="3127"/>
                  </a:lnTo>
                  <a:lnTo>
                    <a:pt x="10436" y="3123"/>
                  </a:lnTo>
                  <a:lnTo>
                    <a:pt x="10427" y="3120"/>
                  </a:lnTo>
                  <a:lnTo>
                    <a:pt x="10421" y="3118"/>
                  </a:lnTo>
                  <a:lnTo>
                    <a:pt x="10417" y="3117"/>
                  </a:lnTo>
                  <a:lnTo>
                    <a:pt x="10416" y="3116"/>
                  </a:lnTo>
                  <a:lnTo>
                    <a:pt x="10416" y="3114"/>
                  </a:lnTo>
                  <a:lnTo>
                    <a:pt x="10418" y="3110"/>
                  </a:lnTo>
                  <a:lnTo>
                    <a:pt x="10419" y="3107"/>
                  </a:lnTo>
                  <a:lnTo>
                    <a:pt x="10422" y="3104"/>
                  </a:lnTo>
                  <a:lnTo>
                    <a:pt x="10426" y="3100"/>
                  </a:lnTo>
                  <a:lnTo>
                    <a:pt x="10431" y="3096"/>
                  </a:lnTo>
                  <a:lnTo>
                    <a:pt x="10437" y="3092"/>
                  </a:lnTo>
                  <a:lnTo>
                    <a:pt x="10446" y="3087"/>
                  </a:lnTo>
                  <a:lnTo>
                    <a:pt x="10456" y="3082"/>
                  </a:lnTo>
                  <a:lnTo>
                    <a:pt x="10468" y="3076"/>
                  </a:lnTo>
                  <a:lnTo>
                    <a:pt x="10482" y="3071"/>
                  </a:lnTo>
                  <a:lnTo>
                    <a:pt x="10499" y="3065"/>
                  </a:lnTo>
                  <a:lnTo>
                    <a:pt x="10518" y="3059"/>
                  </a:lnTo>
                  <a:lnTo>
                    <a:pt x="10540" y="3054"/>
                  </a:lnTo>
                  <a:lnTo>
                    <a:pt x="10562" y="3048"/>
                  </a:lnTo>
                  <a:lnTo>
                    <a:pt x="10584" y="3041"/>
                  </a:lnTo>
                  <a:lnTo>
                    <a:pt x="10604" y="3036"/>
                  </a:lnTo>
                  <a:lnTo>
                    <a:pt x="10622" y="3030"/>
                  </a:lnTo>
                  <a:lnTo>
                    <a:pt x="10639" y="3025"/>
                  </a:lnTo>
                  <a:lnTo>
                    <a:pt x="10654" y="3020"/>
                  </a:lnTo>
                  <a:lnTo>
                    <a:pt x="10668" y="3016"/>
                  </a:lnTo>
                  <a:lnTo>
                    <a:pt x="10680" y="3010"/>
                  </a:lnTo>
                  <a:lnTo>
                    <a:pt x="10691" y="3006"/>
                  </a:lnTo>
                  <a:lnTo>
                    <a:pt x="10701" y="3002"/>
                  </a:lnTo>
                  <a:lnTo>
                    <a:pt x="10709" y="2999"/>
                  </a:lnTo>
                  <a:lnTo>
                    <a:pt x="10715" y="2996"/>
                  </a:lnTo>
                  <a:lnTo>
                    <a:pt x="10720" y="2994"/>
                  </a:lnTo>
                  <a:lnTo>
                    <a:pt x="10724" y="2993"/>
                  </a:lnTo>
                  <a:lnTo>
                    <a:pt x="10727" y="2992"/>
                  </a:lnTo>
                  <a:lnTo>
                    <a:pt x="10728" y="2991"/>
                  </a:lnTo>
                  <a:lnTo>
                    <a:pt x="10723" y="2991"/>
                  </a:lnTo>
                  <a:lnTo>
                    <a:pt x="10718" y="2991"/>
                  </a:lnTo>
                  <a:lnTo>
                    <a:pt x="10710" y="2991"/>
                  </a:lnTo>
                  <a:lnTo>
                    <a:pt x="10702" y="2992"/>
                  </a:lnTo>
                  <a:lnTo>
                    <a:pt x="10690" y="2992"/>
                  </a:lnTo>
                  <a:lnTo>
                    <a:pt x="10679" y="2993"/>
                  </a:lnTo>
                  <a:lnTo>
                    <a:pt x="10665" y="2994"/>
                  </a:lnTo>
                  <a:lnTo>
                    <a:pt x="10650" y="2995"/>
                  </a:lnTo>
                  <a:lnTo>
                    <a:pt x="10634" y="2997"/>
                  </a:lnTo>
                  <a:lnTo>
                    <a:pt x="10615" y="2999"/>
                  </a:lnTo>
                  <a:lnTo>
                    <a:pt x="10595" y="3001"/>
                  </a:lnTo>
                  <a:lnTo>
                    <a:pt x="10576" y="3004"/>
                  </a:lnTo>
                  <a:lnTo>
                    <a:pt x="10554" y="3008"/>
                  </a:lnTo>
                  <a:lnTo>
                    <a:pt x="10530" y="3013"/>
                  </a:lnTo>
                  <a:lnTo>
                    <a:pt x="10507" y="3017"/>
                  </a:lnTo>
                  <a:lnTo>
                    <a:pt x="10482" y="3023"/>
                  </a:lnTo>
                  <a:lnTo>
                    <a:pt x="10428" y="3035"/>
                  </a:lnTo>
                  <a:lnTo>
                    <a:pt x="10371" y="3052"/>
                  </a:lnTo>
                  <a:lnTo>
                    <a:pt x="10312" y="3072"/>
                  </a:lnTo>
                  <a:lnTo>
                    <a:pt x="10281" y="3084"/>
                  </a:lnTo>
                  <a:lnTo>
                    <a:pt x="10250" y="3096"/>
                  </a:lnTo>
                  <a:lnTo>
                    <a:pt x="10217" y="3110"/>
                  </a:lnTo>
                  <a:lnTo>
                    <a:pt x="10185" y="3125"/>
                  </a:lnTo>
                  <a:lnTo>
                    <a:pt x="10150" y="3141"/>
                  </a:lnTo>
                  <a:lnTo>
                    <a:pt x="10117" y="3158"/>
                  </a:lnTo>
                  <a:lnTo>
                    <a:pt x="10083" y="3176"/>
                  </a:lnTo>
                  <a:lnTo>
                    <a:pt x="10048" y="3197"/>
                  </a:lnTo>
                  <a:lnTo>
                    <a:pt x="10014" y="3217"/>
                  </a:lnTo>
                  <a:lnTo>
                    <a:pt x="9979" y="3240"/>
                  </a:lnTo>
                  <a:lnTo>
                    <a:pt x="9944" y="3262"/>
                  </a:lnTo>
                  <a:lnTo>
                    <a:pt x="9911" y="3284"/>
                  </a:lnTo>
                  <a:lnTo>
                    <a:pt x="9878" y="3308"/>
                  </a:lnTo>
                  <a:lnTo>
                    <a:pt x="9846" y="3333"/>
                  </a:lnTo>
                  <a:lnTo>
                    <a:pt x="9785" y="3384"/>
                  </a:lnTo>
                  <a:lnTo>
                    <a:pt x="9728" y="3439"/>
                  </a:lnTo>
                  <a:lnTo>
                    <a:pt x="9676" y="3496"/>
                  </a:lnTo>
                  <a:lnTo>
                    <a:pt x="9651" y="3524"/>
                  </a:lnTo>
                  <a:lnTo>
                    <a:pt x="9627" y="3553"/>
                  </a:lnTo>
                  <a:lnTo>
                    <a:pt x="9604" y="3581"/>
                  </a:lnTo>
                  <a:lnTo>
                    <a:pt x="9583" y="3610"/>
                  </a:lnTo>
                  <a:lnTo>
                    <a:pt x="9562" y="3638"/>
                  </a:lnTo>
                  <a:lnTo>
                    <a:pt x="9542" y="3665"/>
                  </a:lnTo>
                  <a:lnTo>
                    <a:pt x="9524" y="3691"/>
                  </a:lnTo>
                  <a:lnTo>
                    <a:pt x="9507" y="3717"/>
                  </a:lnTo>
                  <a:lnTo>
                    <a:pt x="9491" y="3743"/>
                  </a:lnTo>
                  <a:lnTo>
                    <a:pt x="9475" y="3767"/>
                  </a:lnTo>
                  <a:lnTo>
                    <a:pt x="9462" y="3789"/>
                  </a:lnTo>
                  <a:lnTo>
                    <a:pt x="9449" y="3811"/>
                  </a:lnTo>
                  <a:lnTo>
                    <a:pt x="9437" y="3831"/>
                  </a:lnTo>
                  <a:lnTo>
                    <a:pt x="9427" y="3850"/>
                  </a:lnTo>
                  <a:lnTo>
                    <a:pt x="9418" y="3866"/>
                  </a:lnTo>
                  <a:lnTo>
                    <a:pt x="9409" y="3881"/>
                  </a:lnTo>
                  <a:lnTo>
                    <a:pt x="9403" y="3894"/>
                  </a:lnTo>
                  <a:lnTo>
                    <a:pt x="9397" y="3906"/>
                  </a:lnTo>
                  <a:lnTo>
                    <a:pt x="9393" y="3914"/>
                  </a:lnTo>
                  <a:lnTo>
                    <a:pt x="9390" y="3921"/>
                  </a:lnTo>
                  <a:lnTo>
                    <a:pt x="9388" y="3924"/>
                  </a:lnTo>
                  <a:lnTo>
                    <a:pt x="9387" y="3926"/>
                  </a:lnTo>
                  <a:lnTo>
                    <a:pt x="9387" y="3926"/>
                  </a:lnTo>
                  <a:close/>
                  <a:moveTo>
                    <a:pt x="9231" y="0"/>
                  </a:moveTo>
                  <a:lnTo>
                    <a:pt x="9134" y="1"/>
                  </a:lnTo>
                  <a:lnTo>
                    <a:pt x="9040" y="4"/>
                  </a:lnTo>
                  <a:lnTo>
                    <a:pt x="8947" y="8"/>
                  </a:lnTo>
                  <a:lnTo>
                    <a:pt x="8856" y="15"/>
                  </a:lnTo>
                  <a:lnTo>
                    <a:pt x="8767" y="23"/>
                  </a:lnTo>
                  <a:lnTo>
                    <a:pt x="8680" y="34"/>
                  </a:lnTo>
                  <a:lnTo>
                    <a:pt x="8596" y="46"/>
                  </a:lnTo>
                  <a:lnTo>
                    <a:pt x="8513" y="59"/>
                  </a:lnTo>
                  <a:lnTo>
                    <a:pt x="8433" y="75"/>
                  </a:lnTo>
                  <a:lnTo>
                    <a:pt x="8354" y="91"/>
                  </a:lnTo>
                  <a:lnTo>
                    <a:pt x="8277" y="110"/>
                  </a:lnTo>
                  <a:lnTo>
                    <a:pt x="8202" y="129"/>
                  </a:lnTo>
                  <a:lnTo>
                    <a:pt x="8129" y="150"/>
                  </a:lnTo>
                  <a:lnTo>
                    <a:pt x="8058" y="172"/>
                  </a:lnTo>
                  <a:lnTo>
                    <a:pt x="7989" y="195"/>
                  </a:lnTo>
                  <a:lnTo>
                    <a:pt x="7921" y="219"/>
                  </a:lnTo>
                  <a:lnTo>
                    <a:pt x="7856" y="245"/>
                  </a:lnTo>
                  <a:lnTo>
                    <a:pt x="7792" y="272"/>
                  </a:lnTo>
                  <a:lnTo>
                    <a:pt x="7730" y="298"/>
                  </a:lnTo>
                  <a:lnTo>
                    <a:pt x="7669" y="326"/>
                  </a:lnTo>
                  <a:lnTo>
                    <a:pt x="7610" y="355"/>
                  </a:lnTo>
                  <a:lnTo>
                    <a:pt x="7553" y="385"/>
                  </a:lnTo>
                  <a:lnTo>
                    <a:pt x="7497" y="416"/>
                  </a:lnTo>
                  <a:lnTo>
                    <a:pt x="7444" y="447"/>
                  </a:lnTo>
                  <a:lnTo>
                    <a:pt x="7392" y="478"/>
                  </a:lnTo>
                  <a:lnTo>
                    <a:pt x="7342" y="510"/>
                  </a:lnTo>
                  <a:lnTo>
                    <a:pt x="7293" y="542"/>
                  </a:lnTo>
                  <a:lnTo>
                    <a:pt x="7246" y="575"/>
                  </a:lnTo>
                  <a:lnTo>
                    <a:pt x="7200" y="608"/>
                  </a:lnTo>
                  <a:lnTo>
                    <a:pt x="7157" y="641"/>
                  </a:lnTo>
                  <a:lnTo>
                    <a:pt x="7113" y="675"/>
                  </a:lnTo>
                  <a:lnTo>
                    <a:pt x="7073" y="708"/>
                  </a:lnTo>
                  <a:lnTo>
                    <a:pt x="7034" y="742"/>
                  </a:lnTo>
                  <a:lnTo>
                    <a:pt x="6996" y="775"/>
                  </a:lnTo>
                  <a:lnTo>
                    <a:pt x="6960" y="809"/>
                  </a:lnTo>
                  <a:lnTo>
                    <a:pt x="6924" y="842"/>
                  </a:lnTo>
                  <a:lnTo>
                    <a:pt x="6890" y="875"/>
                  </a:lnTo>
                  <a:lnTo>
                    <a:pt x="6858" y="908"/>
                  </a:lnTo>
                  <a:lnTo>
                    <a:pt x="6827" y="941"/>
                  </a:lnTo>
                  <a:lnTo>
                    <a:pt x="6799" y="973"/>
                  </a:lnTo>
                  <a:lnTo>
                    <a:pt x="6771" y="1005"/>
                  </a:lnTo>
                  <a:lnTo>
                    <a:pt x="6744" y="1036"/>
                  </a:lnTo>
                  <a:lnTo>
                    <a:pt x="6718" y="1067"/>
                  </a:lnTo>
                  <a:lnTo>
                    <a:pt x="6694" y="1097"/>
                  </a:lnTo>
                  <a:lnTo>
                    <a:pt x="6672" y="1127"/>
                  </a:lnTo>
                  <a:lnTo>
                    <a:pt x="6650" y="1154"/>
                  </a:lnTo>
                  <a:lnTo>
                    <a:pt x="6629" y="1182"/>
                  </a:lnTo>
                  <a:lnTo>
                    <a:pt x="6611" y="1209"/>
                  </a:lnTo>
                  <a:lnTo>
                    <a:pt x="6593" y="1235"/>
                  </a:lnTo>
                  <a:lnTo>
                    <a:pt x="6576" y="1259"/>
                  </a:lnTo>
                  <a:lnTo>
                    <a:pt x="6560" y="1283"/>
                  </a:lnTo>
                  <a:lnTo>
                    <a:pt x="6547" y="1306"/>
                  </a:lnTo>
                  <a:lnTo>
                    <a:pt x="6533" y="1327"/>
                  </a:lnTo>
                  <a:lnTo>
                    <a:pt x="6521" y="1347"/>
                  </a:lnTo>
                  <a:lnTo>
                    <a:pt x="6509" y="1365"/>
                  </a:lnTo>
                  <a:lnTo>
                    <a:pt x="6500" y="1383"/>
                  </a:lnTo>
                  <a:lnTo>
                    <a:pt x="6491" y="1399"/>
                  </a:lnTo>
                  <a:lnTo>
                    <a:pt x="6484" y="1414"/>
                  </a:lnTo>
                  <a:lnTo>
                    <a:pt x="6476" y="1426"/>
                  </a:lnTo>
                  <a:lnTo>
                    <a:pt x="6471" y="1438"/>
                  </a:lnTo>
                  <a:lnTo>
                    <a:pt x="6466" y="1447"/>
                  </a:lnTo>
                  <a:lnTo>
                    <a:pt x="6462" y="1454"/>
                  </a:lnTo>
                  <a:lnTo>
                    <a:pt x="6460" y="1460"/>
                  </a:lnTo>
                  <a:lnTo>
                    <a:pt x="6458" y="1464"/>
                  </a:lnTo>
                  <a:lnTo>
                    <a:pt x="6431" y="1476"/>
                  </a:lnTo>
                  <a:lnTo>
                    <a:pt x="6402" y="1487"/>
                  </a:lnTo>
                  <a:lnTo>
                    <a:pt x="6373" y="1496"/>
                  </a:lnTo>
                  <a:lnTo>
                    <a:pt x="6343" y="1506"/>
                  </a:lnTo>
                  <a:lnTo>
                    <a:pt x="6311" y="1513"/>
                  </a:lnTo>
                  <a:lnTo>
                    <a:pt x="6278" y="1519"/>
                  </a:lnTo>
                  <a:lnTo>
                    <a:pt x="6244" y="1523"/>
                  </a:lnTo>
                  <a:lnTo>
                    <a:pt x="6208" y="1526"/>
                  </a:lnTo>
                  <a:lnTo>
                    <a:pt x="6161" y="1540"/>
                  </a:lnTo>
                  <a:lnTo>
                    <a:pt x="6114" y="1557"/>
                  </a:lnTo>
                  <a:lnTo>
                    <a:pt x="6090" y="1567"/>
                  </a:lnTo>
                  <a:lnTo>
                    <a:pt x="6067" y="1579"/>
                  </a:lnTo>
                  <a:lnTo>
                    <a:pt x="6043" y="1591"/>
                  </a:lnTo>
                  <a:lnTo>
                    <a:pt x="6018" y="1604"/>
                  </a:lnTo>
                  <a:lnTo>
                    <a:pt x="5994" y="1619"/>
                  </a:lnTo>
                  <a:lnTo>
                    <a:pt x="5970" y="1634"/>
                  </a:lnTo>
                  <a:lnTo>
                    <a:pt x="5945" y="1651"/>
                  </a:lnTo>
                  <a:lnTo>
                    <a:pt x="5919" y="1668"/>
                  </a:lnTo>
                  <a:lnTo>
                    <a:pt x="5893" y="1688"/>
                  </a:lnTo>
                  <a:lnTo>
                    <a:pt x="5867" y="1708"/>
                  </a:lnTo>
                  <a:lnTo>
                    <a:pt x="5842" y="1729"/>
                  </a:lnTo>
                  <a:lnTo>
                    <a:pt x="5815" y="1752"/>
                  </a:lnTo>
                  <a:lnTo>
                    <a:pt x="5787" y="1776"/>
                  </a:lnTo>
                  <a:lnTo>
                    <a:pt x="5759" y="1801"/>
                  </a:lnTo>
                  <a:lnTo>
                    <a:pt x="5731" y="1828"/>
                  </a:lnTo>
                  <a:lnTo>
                    <a:pt x="5702" y="1856"/>
                  </a:lnTo>
                  <a:lnTo>
                    <a:pt x="5673" y="1886"/>
                  </a:lnTo>
                  <a:lnTo>
                    <a:pt x="5643" y="1917"/>
                  </a:lnTo>
                  <a:lnTo>
                    <a:pt x="5612" y="1948"/>
                  </a:lnTo>
                  <a:lnTo>
                    <a:pt x="5581" y="1981"/>
                  </a:lnTo>
                  <a:lnTo>
                    <a:pt x="5549" y="2017"/>
                  </a:lnTo>
                  <a:lnTo>
                    <a:pt x="5516" y="2054"/>
                  </a:lnTo>
                  <a:lnTo>
                    <a:pt x="5483" y="2092"/>
                  </a:lnTo>
                  <a:lnTo>
                    <a:pt x="5449" y="2131"/>
                  </a:lnTo>
                  <a:lnTo>
                    <a:pt x="5414" y="2172"/>
                  </a:lnTo>
                  <a:lnTo>
                    <a:pt x="5379" y="2215"/>
                  </a:lnTo>
                  <a:lnTo>
                    <a:pt x="5342" y="2260"/>
                  </a:lnTo>
                  <a:lnTo>
                    <a:pt x="5305" y="2305"/>
                  </a:lnTo>
                  <a:lnTo>
                    <a:pt x="4961" y="2368"/>
                  </a:lnTo>
                  <a:lnTo>
                    <a:pt x="4957" y="2368"/>
                  </a:lnTo>
                  <a:lnTo>
                    <a:pt x="4951" y="2368"/>
                  </a:lnTo>
                  <a:lnTo>
                    <a:pt x="4942" y="2369"/>
                  </a:lnTo>
                  <a:lnTo>
                    <a:pt x="4932" y="2370"/>
                  </a:lnTo>
                  <a:lnTo>
                    <a:pt x="4920" y="2371"/>
                  </a:lnTo>
                  <a:lnTo>
                    <a:pt x="4904" y="2373"/>
                  </a:lnTo>
                  <a:lnTo>
                    <a:pt x="4888" y="2375"/>
                  </a:lnTo>
                  <a:lnTo>
                    <a:pt x="4869" y="2378"/>
                  </a:lnTo>
                  <a:lnTo>
                    <a:pt x="4848" y="2380"/>
                  </a:lnTo>
                  <a:lnTo>
                    <a:pt x="4826" y="2384"/>
                  </a:lnTo>
                  <a:lnTo>
                    <a:pt x="4802" y="2387"/>
                  </a:lnTo>
                  <a:lnTo>
                    <a:pt x="4776" y="2391"/>
                  </a:lnTo>
                  <a:lnTo>
                    <a:pt x="4748" y="2397"/>
                  </a:lnTo>
                  <a:lnTo>
                    <a:pt x="4719" y="2402"/>
                  </a:lnTo>
                  <a:lnTo>
                    <a:pt x="4688" y="2407"/>
                  </a:lnTo>
                  <a:lnTo>
                    <a:pt x="4656" y="2413"/>
                  </a:lnTo>
                  <a:lnTo>
                    <a:pt x="4622" y="2419"/>
                  </a:lnTo>
                  <a:lnTo>
                    <a:pt x="4587" y="2426"/>
                  </a:lnTo>
                  <a:lnTo>
                    <a:pt x="4550" y="2435"/>
                  </a:lnTo>
                  <a:lnTo>
                    <a:pt x="4512" y="2443"/>
                  </a:lnTo>
                  <a:lnTo>
                    <a:pt x="4473" y="2451"/>
                  </a:lnTo>
                  <a:lnTo>
                    <a:pt x="4432" y="2460"/>
                  </a:lnTo>
                  <a:lnTo>
                    <a:pt x="4390" y="2471"/>
                  </a:lnTo>
                  <a:lnTo>
                    <a:pt x="4347" y="2481"/>
                  </a:lnTo>
                  <a:lnTo>
                    <a:pt x="4303" y="2492"/>
                  </a:lnTo>
                  <a:lnTo>
                    <a:pt x="4258" y="2505"/>
                  </a:lnTo>
                  <a:lnTo>
                    <a:pt x="4165" y="2530"/>
                  </a:lnTo>
                  <a:lnTo>
                    <a:pt x="4068" y="2558"/>
                  </a:lnTo>
                  <a:lnTo>
                    <a:pt x="3968" y="2590"/>
                  </a:lnTo>
                  <a:lnTo>
                    <a:pt x="3865" y="2624"/>
                  </a:lnTo>
                  <a:lnTo>
                    <a:pt x="3759" y="2662"/>
                  </a:lnTo>
                  <a:lnTo>
                    <a:pt x="3652" y="2702"/>
                  </a:lnTo>
                  <a:lnTo>
                    <a:pt x="3544" y="2747"/>
                  </a:lnTo>
                  <a:lnTo>
                    <a:pt x="3433" y="2795"/>
                  </a:lnTo>
                  <a:lnTo>
                    <a:pt x="3322" y="2846"/>
                  </a:lnTo>
                  <a:lnTo>
                    <a:pt x="3210" y="2901"/>
                  </a:lnTo>
                  <a:lnTo>
                    <a:pt x="3099" y="2960"/>
                  </a:lnTo>
                  <a:lnTo>
                    <a:pt x="2987" y="3023"/>
                  </a:lnTo>
                  <a:lnTo>
                    <a:pt x="2931" y="3056"/>
                  </a:lnTo>
                  <a:lnTo>
                    <a:pt x="2877" y="3090"/>
                  </a:lnTo>
                  <a:lnTo>
                    <a:pt x="2822" y="3125"/>
                  </a:lnTo>
                  <a:lnTo>
                    <a:pt x="2767" y="3161"/>
                  </a:lnTo>
                  <a:lnTo>
                    <a:pt x="2713" y="3198"/>
                  </a:lnTo>
                  <a:lnTo>
                    <a:pt x="2659" y="3236"/>
                  </a:lnTo>
                  <a:lnTo>
                    <a:pt x="2605" y="3275"/>
                  </a:lnTo>
                  <a:lnTo>
                    <a:pt x="2553" y="3315"/>
                  </a:lnTo>
                  <a:lnTo>
                    <a:pt x="2501" y="3358"/>
                  </a:lnTo>
                  <a:lnTo>
                    <a:pt x="2449" y="3400"/>
                  </a:lnTo>
                  <a:lnTo>
                    <a:pt x="2398" y="3444"/>
                  </a:lnTo>
                  <a:lnTo>
                    <a:pt x="2348" y="3489"/>
                  </a:lnTo>
                  <a:lnTo>
                    <a:pt x="2299" y="3536"/>
                  </a:lnTo>
                  <a:lnTo>
                    <a:pt x="2250" y="3583"/>
                  </a:lnTo>
                  <a:lnTo>
                    <a:pt x="2217" y="3616"/>
                  </a:lnTo>
                  <a:lnTo>
                    <a:pt x="2184" y="3650"/>
                  </a:lnTo>
                  <a:lnTo>
                    <a:pt x="2150" y="3687"/>
                  </a:lnTo>
                  <a:lnTo>
                    <a:pt x="2116" y="3725"/>
                  </a:lnTo>
                  <a:lnTo>
                    <a:pt x="2081" y="3764"/>
                  </a:lnTo>
                  <a:lnTo>
                    <a:pt x="2046" y="3805"/>
                  </a:lnTo>
                  <a:lnTo>
                    <a:pt x="1973" y="3888"/>
                  </a:lnTo>
                  <a:lnTo>
                    <a:pt x="1901" y="3975"/>
                  </a:lnTo>
                  <a:lnTo>
                    <a:pt x="1829" y="4063"/>
                  </a:lnTo>
                  <a:lnTo>
                    <a:pt x="1759" y="4151"/>
                  </a:lnTo>
                  <a:lnTo>
                    <a:pt x="1690" y="4236"/>
                  </a:lnTo>
                  <a:lnTo>
                    <a:pt x="1657" y="4278"/>
                  </a:lnTo>
                  <a:lnTo>
                    <a:pt x="1625" y="4320"/>
                  </a:lnTo>
                  <a:lnTo>
                    <a:pt x="1593" y="4360"/>
                  </a:lnTo>
                  <a:lnTo>
                    <a:pt x="1563" y="4399"/>
                  </a:lnTo>
                  <a:lnTo>
                    <a:pt x="1533" y="4436"/>
                  </a:lnTo>
                  <a:lnTo>
                    <a:pt x="1505" y="4472"/>
                  </a:lnTo>
                  <a:lnTo>
                    <a:pt x="1478" y="4506"/>
                  </a:lnTo>
                  <a:lnTo>
                    <a:pt x="1453" y="4538"/>
                  </a:lnTo>
                  <a:lnTo>
                    <a:pt x="1429" y="4568"/>
                  </a:lnTo>
                  <a:lnTo>
                    <a:pt x="1407" y="4596"/>
                  </a:lnTo>
                  <a:lnTo>
                    <a:pt x="1387" y="4621"/>
                  </a:lnTo>
                  <a:lnTo>
                    <a:pt x="1369" y="4644"/>
                  </a:lnTo>
                  <a:lnTo>
                    <a:pt x="1352" y="4664"/>
                  </a:lnTo>
                  <a:lnTo>
                    <a:pt x="1338" y="4681"/>
                  </a:lnTo>
                  <a:lnTo>
                    <a:pt x="1325" y="4695"/>
                  </a:lnTo>
                  <a:lnTo>
                    <a:pt x="1315" y="4705"/>
                  </a:lnTo>
                  <a:lnTo>
                    <a:pt x="1315" y="4699"/>
                  </a:lnTo>
                  <a:lnTo>
                    <a:pt x="1315" y="4689"/>
                  </a:lnTo>
                  <a:lnTo>
                    <a:pt x="1315" y="4678"/>
                  </a:lnTo>
                  <a:lnTo>
                    <a:pt x="1315" y="4666"/>
                  </a:lnTo>
                  <a:lnTo>
                    <a:pt x="1315" y="4651"/>
                  </a:lnTo>
                  <a:lnTo>
                    <a:pt x="1316" y="4636"/>
                  </a:lnTo>
                  <a:lnTo>
                    <a:pt x="1316" y="4618"/>
                  </a:lnTo>
                  <a:lnTo>
                    <a:pt x="1316" y="4599"/>
                  </a:lnTo>
                  <a:lnTo>
                    <a:pt x="1316" y="4579"/>
                  </a:lnTo>
                  <a:lnTo>
                    <a:pt x="1317" y="4558"/>
                  </a:lnTo>
                  <a:lnTo>
                    <a:pt x="1317" y="4535"/>
                  </a:lnTo>
                  <a:lnTo>
                    <a:pt x="1318" y="4511"/>
                  </a:lnTo>
                  <a:lnTo>
                    <a:pt x="1320" y="4462"/>
                  </a:lnTo>
                  <a:lnTo>
                    <a:pt x="1322" y="4410"/>
                  </a:lnTo>
                  <a:lnTo>
                    <a:pt x="1325" y="4356"/>
                  </a:lnTo>
                  <a:lnTo>
                    <a:pt x="1329" y="4300"/>
                  </a:lnTo>
                  <a:lnTo>
                    <a:pt x="1334" y="4244"/>
                  </a:lnTo>
                  <a:lnTo>
                    <a:pt x="1341" y="4189"/>
                  </a:lnTo>
                  <a:lnTo>
                    <a:pt x="1348" y="4135"/>
                  </a:lnTo>
                  <a:lnTo>
                    <a:pt x="1356" y="4083"/>
                  </a:lnTo>
                  <a:lnTo>
                    <a:pt x="1366" y="4033"/>
                  </a:lnTo>
                  <a:lnTo>
                    <a:pt x="1372" y="4011"/>
                  </a:lnTo>
                  <a:lnTo>
                    <a:pt x="1378" y="3988"/>
                  </a:lnTo>
                  <a:lnTo>
                    <a:pt x="1398" y="3917"/>
                  </a:lnTo>
                  <a:lnTo>
                    <a:pt x="1421" y="3848"/>
                  </a:lnTo>
                  <a:lnTo>
                    <a:pt x="1447" y="3779"/>
                  </a:lnTo>
                  <a:lnTo>
                    <a:pt x="1474" y="3711"/>
                  </a:lnTo>
                  <a:lnTo>
                    <a:pt x="1503" y="3644"/>
                  </a:lnTo>
                  <a:lnTo>
                    <a:pt x="1534" y="3578"/>
                  </a:lnTo>
                  <a:lnTo>
                    <a:pt x="1566" y="3512"/>
                  </a:lnTo>
                  <a:lnTo>
                    <a:pt x="1600" y="3446"/>
                  </a:lnTo>
                  <a:lnTo>
                    <a:pt x="1634" y="3381"/>
                  </a:lnTo>
                  <a:lnTo>
                    <a:pt x="1670" y="3316"/>
                  </a:lnTo>
                  <a:lnTo>
                    <a:pt x="1743" y="3186"/>
                  </a:lnTo>
                  <a:lnTo>
                    <a:pt x="1820" y="3054"/>
                  </a:lnTo>
                  <a:lnTo>
                    <a:pt x="1897" y="2921"/>
                  </a:lnTo>
                  <a:lnTo>
                    <a:pt x="1780" y="2979"/>
                  </a:lnTo>
                  <a:lnTo>
                    <a:pt x="1665" y="3037"/>
                  </a:lnTo>
                  <a:lnTo>
                    <a:pt x="1547" y="3096"/>
                  </a:lnTo>
                  <a:lnTo>
                    <a:pt x="1487" y="3127"/>
                  </a:lnTo>
                  <a:lnTo>
                    <a:pt x="1425" y="3158"/>
                  </a:lnTo>
                  <a:lnTo>
                    <a:pt x="1363" y="3191"/>
                  </a:lnTo>
                  <a:lnTo>
                    <a:pt x="1298" y="3224"/>
                  </a:lnTo>
                  <a:lnTo>
                    <a:pt x="1232" y="3259"/>
                  </a:lnTo>
                  <a:lnTo>
                    <a:pt x="1164" y="3296"/>
                  </a:lnTo>
                  <a:lnTo>
                    <a:pt x="1093" y="3334"/>
                  </a:lnTo>
                  <a:lnTo>
                    <a:pt x="1020" y="3374"/>
                  </a:lnTo>
                  <a:lnTo>
                    <a:pt x="944" y="3415"/>
                  </a:lnTo>
                  <a:lnTo>
                    <a:pt x="865" y="3460"/>
                  </a:lnTo>
                  <a:lnTo>
                    <a:pt x="797" y="3496"/>
                  </a:lnTo>
                  <a:lnTo>
                    <a:pt x="731" y="3534"/>
                  </a:lnTo>
                  <a:lnTo>
                    <a:pt x="664" y="3573"/>
                  </a:lnTo>
                  <a:lnTo>
                    <a:pt x="600" y="3615"/>
                  </a:lnTo>
                  <a:lnTo>
                    <a:pt x="538" y="3658"/>
                  </a:lnTo>
                  <a:lnTo>
                    <a:pt x="477" y="3705"/>
                  </a:lnTo>
                  <a:lnTo>
                    <a:pt x="418" y="3754"/>
                  </a:lnTo>
                  <a:lnTo>
                    <a:pt x="362" y="3807"/>
                  </a:lnTo>
                  <a:lnTo>
                    <a:pt x="308" y="3862"/>
                  </a:lnTo>
                  <a:lnTo>
                    <a:pt x="259" y="3921"/>
                  </a:lnTo>
                  <a:lnTo>
                    <a:pt x="211" y="3984"/>
                  </a:lnTo>
                  <a:lnTo>
                    <a:pt x="190" y="4017"/>
                  </a:lnTo>
                  <a:lnTo>
                    <a:pt x="168" y="4051"/>
                  </a:lnTo>
                  <a:lnTo>
                    <a:pt x="148" y="4086"/>
                  </a:lnTo>
                  <a:lnTo>
                    <a:pt x="129" y="4122"/>
                  </a:lnTo>
                  <a:lnTo>
                    <a:pt x="111" y="4159"/>
                  </a:lnTo>
                  <a:lnTo>
                    <a:pt x="94" y="4197"/>
                  </a:lnTo>
                  <a:lnTo>
                    <a:pt x="78" y="4236"/>
                  </a:lnTo>
                  <a:lnTo>
                    <a:pt x="63" y="4277"/>
                  </a:lnTo>
                  <a:lnTo>
                    <a:pt x="49" y="4319"/>
                  </a:lnTo>
                  <a:lnTo>
                    <a:pt x="37" y="4362"/>
                  </a:lnTo>
                  <a:lnTo>
                    <a:pt x="29" y="4394"/>
                  </a:lnTo>
                  <a:lnTo>
                    <a:pt x="21" y="4425"/>
                  </a:lnTo>
                  <a:lnTo>
                    <a:pt x="15" y="4456"/>
                  </a:lnTo>
                  <a:lnTo>
                    <a:pt x="11" y="4485"/>
                  </a:lnTo>
                  <a:lnTo>
                    <a:pt x="3" y="4542"/>
                  </a:lnTo>
                  <a:lnTo>
                    <a:pt x="0" y="4597"/>
                  </a:lnTo>
                  <a:lnTo>
                    <a:pt x="0" y="4649"/>
                  </a:lnTo>
                  <a:lnTo>
                    <a:pt x="3" y="4699"/>
                  </a:lnTo>
                  <a:lnTo>
                    <a:pt x="9" y="4746"/>
                  </a:lnTo>
                  <a:lnTo>
                    <a:pt x="17" y="4790"/>
                  </a:lnTo>
                  <a:lnTo>
                    <a:pt x="30" y="4834"/>
                  </a:lnTo>
                  <a:lnTo>
                    <a:pt x="43" y="4874"/>
                  </a:lnTo>
                  <a:lnTo>
                    <a:pt x="59" y="4913"/>
                  </a:lnTo>
                  <a:lnTo>
                    <a:pt x="77" y="4949"/>
                  </a:lnTo>
                  <a:lnTo>
                    <a:pt x="96" y="4984"/>
                  </a:lnTo>
                  <a:lnTo>
                    <a:pt x="117" y="5018"/>
                  </a:lnTo>
                  <a:lnTo>
                    <a:pt x="139" y="5049"/>
                  </a:lnTo>
                  <a:lnTo>
                    <a:pt x="162" y="5079"/>
                  </a:lnTo>
                  <a:lnTo>
                    <a:pt x="165" y="5104"/>
                  </a:lnTo>
                  <a:lnTo>
                    <a:pt x="169" y="5128"/>
                  </a:lnTo>
                  <a:lnTo>
                    <a:pt x="173" y="5154"/>
                  </a:lnTo>
                  <a:lnTo>
                    <a:pt x="178" y="5182"/>
                  </a:lnTo>
                  <a:lnTo>
                    <a:pt x="191" y="5238"/>
                  </a:lnTo>
                  <a:lnTo>
                    <a:pt x="206" y="5298"/>
                  </a:lnTo>
                  <a:lnTo>
                    <a:pt x="225" y="5360"/>
                  </a:lnTo>
                  <a:lnTo>
                    <a:pt x="246" y="5424"/>
                  </a:lnTo>
                  <a:lnTo>
                    <a:pt x="272" y="5487"/>
                  </a:lnTo>
                  <a:lnTo>
                    <a:pt x="287" y="5519"/>
                  </a:lnTo>
                  <a:lnTo>
                    <a:pt x="302" y="5551"/>
                  </a:lnTo>
                  <a:lnTo>
                    <a:pt x="319" y="5581"/>
                  </a:lnTo>
                  <a:lnTo>
                    <a:pt x="336" y="5612"/>
                  </a:lnTo>
                  <a:lnTo>
                    <a:pt x="356" y="5643"/>
                  </a:lnTo>
                  <a:lnTo>
                    <a:pt x="375" y="5673"/>
                  </a:lnTo>
                  <a:lnTo>
                    <a:pt x="397" y="5702"/>
                  </a:lnTo>
                  <a:lnTo>
                    <a:pt x="420" y="5730"/>
                  </a:lnTo>
                  <a:lnTo>
                    <a:pt x="444" y="5758"/>
                  </a:lnTo>
                  <a:lnTo>
                    <a:pt x="468" y="5784"/>
                  </a:lnTo>
                  <a:lnTo>
                    <a:pt x="495" y="5810"/>
                  </a:lnTo>
                  <a:lnTo>
                    <a:pt x="523" y="5835"/>
                  </a:lnTo>
                  <a:lnTo>
                    <a:pt x="553" y="5858"/>
                  </a:lnTo>
                  <a:lnTo>
                    <a:pt x="584" y="5879"/>
                  </a:lnTo>
                  <a:lnTo>
                    <a:pt x="616" y="5900"/>
                  </a:lnTo>
                  <a:lnTo>
                    <a:pt x="650" y="5918"/>
                  </a:lnTo>
                  <a:lnTo>
                    <a:pt x="686" y="5936"/>
                  </a:lnTo>
                  <a:lnTo>
                    <a:pt x="723" y="5951"/>
                  </a:lnTo>
                  <a:lnTo>
                    <a:pt x="751" y="5963"/>
                  </a:lnTo>
                  <a:lnTo>
                    <a:pt x="779" y="5974"/>
                  </a:lnTo>
                  <a:lnTo>
                    <a:pt x="805" y="5983"/>
                  </a:lnTo>
                  <a:lnTo>
                    <a:pt x="830" y="5992"/>
                  </a:lnTo>
                  <a:lnTo>
                    <a:pt x="877" y="6009"/>
                  </a:lnTo>
                  <a:lnTo>
                    <a:pt x="922" y="6021"/>
                  </a:lnTo>
                  <a:lnTo>
                    <a:pt x="965" y="6032"/>
                  </a:lnTo>
                  <a:lnTo>
                    <a:pt x="1008" y="6039"/>
                  </a:lnTo>
                  <a:lnTo>
                    <a:pt x="1052" y="6043"/>
                  </a:lnTo>
                  <a:lnTo>
                    <a:pt x="1097" y="6045"/>
                  </a:lnTo>
                  <a:lnTo>
                    <a:pt x="1094" y="6086"/>
                  </a:lnTo>
                  <a:lnTo>
                    <a:pt x="1091" y="6129"/>
                  </a:lnTo>
                  <a:lnTo>
                    <a:pt x="1089" y="6173"/>
                  </a:lnTo>
                  <a:lnTo>
                    <a:pt x="1086" y="6218"/>
                  </a:lnTo>
                  <a:lnTo>
                    <a:pt x="1081" y="6311"/>
                  </a:lnTo>
                  <a:lnTo>
                    <a:pt x="1077" y="6408"/>
                  </a:lnTo>
                  <a:lnTo>
                    <a:pt x="1075" y="6507"/>
                  </a:lnTo>
                  <a:lnTo>
                    <a:pt x="1075" y="6609"/>
                  </a:lnTo>
                  <a:lnTo>
                    <a:pt x="1077" y="6714"/>
                  </a:lnTo>
                  <a:lnTo>
                    <a:pt x="1082" y="6821"/>
                  </a:lnTo>
                  <a:lnTo>
                    <a:pt x="1089" y="6928"/>
                  </a:lnTo>
                  <a:lnTo>
                    <a:pt x="1099" y="7035"/>
                  </a:lnTo>
                  <a:lnTo>
                    <a:pt x="1114" y="7143"/>
                  </a:lnTo>
                  <a:lnTo>
                    <a:pt x="1123" y="7197"/>
                  </a:lnTo>
                  <a:lnTo>
                    <a:pt x="1132" y="7250"/>
                  </a:lnTo>
                  <a:lnTo>
                    <a:pt x="1142" y="7304"/>
                  </a:lnTo>
                  <a:lnTo>
                    <a:pt x="1155" y="7356"/>
                  </a:lnTo>
                  <a:lnTo>
                    <a:pt x="1168" y="7410"/>
                  </a:lnTo>
                  <a:lnTo>
                    <a:pt x="1182" y="7461"/>
                  </a:lnTo>
                  <a:lnTo>
                    <a:pt x="1198" y="7514"/>
                  </a:lnTo>
                  <a:lnTo>
                    <a:pt x="1215" y="7564"/>
                  </a:lnTo>
                  <a:lnTo>
                    <a:pt x="1233" y="7616"/>
                  </a:lnTo>
                  <a:lnTo>
                    <a:pt x="1253" y="7665"/>
                  </a:lnTo>
                  <a:lnTo>
                    <a:pt x="1277" y="7727"/>
                  </a:lnTo>
                  <a:lnTo>
                    <a:pt x="1301" y="7789"/>
                  </a:lnTo>
                  <a:lnTo>
                    <a:pt x="1354" y="7912"/>
                  </a:lnTo>
                  <a:lnTo>
                    <a:pt x="1410" y="8037"/>
                  </a:lnTo>
                  <a:lnTo>
                    <a:pt x="1468" y="8161"/>
                  </a:lnTo>
                  <a:lnTo>
                    <a:pt x="1528" y="8282"/>
                  </a:lnTo>
                  <a:lnTo>
                    <a:pt x="1589" y="8402"/>
                  </a:lnTo>
                  <a:lnTo>
                    <a:pt x="1650" y="8518"/>
                  </a:lnTo>
                  <a:lnTo>
                    <a:pt x="1681" y="8576"/>
                  </a:lnTo>
                  <a:lnTo>
                    <a:pt x="1712" y="8631"/>
                  </a:lnTo>
                  <a:lnTo>
                    <a:pt x="1743" y="8686"/>
                  </a:lnTo>
                  <a:lnTo>
                    <a:pt x="1773" y="8741"/>
                  </a:lnTo>
                  <a:lnTo>
                    <a:pt x="1803" y="8793"/>
                  </a:lnTo>
                  <a:lnTo>
                    <a:pt x="1833" y="8844"/>
                  </a:lnTo>
                  <a:lnTo>
                    <a:pt x="1862" y="8893"/>
                  </a:lnTo>
                  <a:lnTo>
                    <a:pt x="1890" y="8941"/>
                  </a:lnTo>
                  <a:lnTo>
                    <a:pt x="1918" y="8988"/>
                  </a:lnTo>
                  <a:lnTo>
                    <a:pt x="1946" y="9033"/>
                  </a:lnTo>
                  <a:lnTo>
                    <a:pt x="1971" y="9075"/>
                  </a:lnTo>
                  <a:lnTo>
                    <a:pt x="1997" y="9117"/>
                  </a:lnTo>
                  <a:lnTo>
                    <a:pt x="2021" y="9156"/>
                  </a:lnTo>
                  <a:lnTo>
                    <a:pt x="2045" y="9193"/>
                  </a:lnTo>
                  <a:lnTo>
                    <a:pt x="2066" y="9227"/>
                  </a:lnTo>
                  <a:lnTo>
                    <a:pt x="2088" y="9260"/>
                  </a:lnTo>
                  <a:lnTo>
                    <a:pt x="2108" y="9290"/>
                  </a:lnTo>
                  <a:lnTo>
                    <a:pt x="2125" y="9317"/>
                  </a:lnTo>
                  <a:lnTo>
                    <a:pt x="2121" y="9342"/>
                  </a:lnTo>
                  <a:lnTo>
                    <a:pt x="2115" y="9371"/>
                  </a:lnTo>
                  <a:lnTo>
                    <a:pt x="2108" y="9404"/>
                  </a:lnTo>
                  <a:lnTo>
                    <a:pt x="2099" y="9439"/>
                  </a:lnTo>
                  <a:lnTo>
                    <a:pt x="2089" y="9477"/>
                  </a:lnTo>
                  <a:lnTo>
                    <a:pt x="2078" y="9518"/>
                  </a:lnTo>
                  <a:lnTo>
                    <a:pt x="2065" y="9562"/>
                  </a:lnTo>
                  <a:lnTo>
                    <a:pt x="2052" y="9607"/>
                  </a:lnTo>
                  <a:lnTo>
                    <a:pt x="2037" y="9653"/>
                  </a:lnTo>
                  <a:lnTo>
                    <a:pt x="2023" y="9703"/>
                  </a:lnTo>
                  <a:lnTo>
                    <a:pt x="2008" y="9752"/>
                  </a:lnTo>
                  <a:lnTo>
                    <a:pt x="1991" y="9804"/>
                  </a:lnTo>
                  <a:lnTo>
                    <a:pt x="1958" y="9908"/>
                  </a:lnTo>
                  <a:lnTo>
                    <a:pt x="1925" y="10014"/>
                  </a:lnTo>
                  <a:lnTo>
                    <a:pt x="1893" y="10119"/>
                  </a:lnTo>
                  <a:lnTo>
                    <a:pt x="1876" y="10170"/>
                  </a:lnTo>
                  <a:lnTo>
                    <a:pt x="1862" y="10221"/>
                  </a:lnTo>
                  <a:lnTo>
                    <a:pt x="1848" y="10270"/>
                  </a:lnTo>
                  <a:lnTo>
                    <a:pt x="1833" y="10319"/>
                  </a:lnTo>
                  <a:lnTo>
                    <a:pt x="1821" y="10365"/>
                  </a:lnTo>
                  <a:lnTo>
                    <a:pt x="1808" y="10409"/>
                  </a:lnTo>
                  <a:lnTo>
                    <a:pt x="1797" y="10452"/>
                  </a:lnTo>
                  <a:lnTo>
                    <a:pt x="1788" y="10492"/>
                  </a:lnTo>
                  <a:lnTo>
                    <a:pt x="1779" y="10528"/>
                  </a:lnTo>
                  <a:lnTo>
                    <a:pt x="1773" y="10562"/>
                  </a:lnTo>
                  <a:lnTo>
                    <a:pt x="1768" y="10593"/>
                  </a:lnTo>
                  <a:lnTo>
                    <a:pt x="1764" y="10620"/>
                  </a:lnTo>
                  <a:lnTo>
                    <a:pt x="1763" y="10644"/>
                  </a:lnTo>
                  <a:lnTo>
                    <a:pt x="1763" y="10654"/>
                  </a:lnTo>
                  <a:lnTo>
                    <a:pt x="1763" y="10664"/>
                  </a:lnTo>
                  <a:lnTo>
                    <a:pt x="1766" y="10683"/>
                  </a:lnTo>
                  <a:lnTo>
                    <a:pt x="1772" y="10704"/>
                  </a:lnTo>
                  <a:lnTo>
                    <a:pt x="1780" y="10724"/>
                  </a:lnTo>
                  <a:lnTo>
                    <a:pt x="1792" y="10745"/>
                  </a:lnTo>
                  <a:lnTo>
                    <a:pt x="1805" y="10766"/>
                  </a:lnTo>
                  <a:lnTo>
                    <a:pt x="1822" y="10786"/>
                  </a:lnTo>
                  <a:lnTo>
                    <a:pt x="1840" y="10807"/>
                  </a:lnTo>
                  <a:lnTo>
                    <a:pt x="1861" y="10829"/>
                  </a:lnTo>
                  <a:lnTo>
                    <a:pt x="1884" y="10849"/>
                  </a:lnTo>
                  <a:lnTo>
                    <a:pt x="1909" y="10870"/>
                  </a:lnTo>
                  <a:lnTo>
                    <a:pt x="1936" y="10891"/>
                  </a:lnTo>
                  <a:lnTo>
                    <a:pt x="1966" y="10912"/>
                  </a:lnTo>
                  <a:lnTo>
                    <a:pt x="1997" y="10933"/>
                  </a:lnTo>
                  <a:lnTo>
                    <a:pt x="2030" y="10954"/>
                  </a:lnTo>
                  <a:lnTo>
                    <a:pt x="2065" y="10975"/>
                  </a:lnTo>
                  <a:lnTo>
                    <a:pt x="2101" y="10995"/>
                  </a:lnTo>
                  <a:lnTo>
                    <a:pt x="2140" y="11015"/>
                  </a:lnTo>
                  <a:lnTo>
                    <a:pt x="2179" y="11036"/>
                  </a:lnTo>
                  <a:lnTo>
                    <a:pt x="2219" y="11055"/>
                  </a:lnTo>
                  <a:lnTo>
                    <a:pt x="2261" y="11076"/>
                  </a:lnTo>
                  <a:lnTo>
                    <a:pt x="2305" y="11095"/>
                  </a:lnTo>
                  <a:lnTo>
                    <a:pt x="2349" y="11114"/>
                  </a:lnTo>
                  <a:lnTo>
                    <a:pt x="2395" y="11133"/>
                  </a:lnTo>
                  <a:lnTo>
                    <a:pt x="2441" y="11152"/>
                  </a:lnTo>
                  <a:lnTo>
                    <a:pt x="2536" y="11188"/>
                  </a:lnTo>
                  <a:lnTo>
                    <a:pt x="2634" y="11223"/>
                  </a:lnTo>
                  <a:lnTo>
                    <a:pt x="2734" y="11256"/>
                  </a:lnTo>
                  <a:lnTo>
                    <a:pt x="2836" y="11287"/>
                  </a:lnTo>
                  <a:lnTo>
                    <a:pt x="2939" y="11316"/>
                  </a:lnTo>
                  <a:lnTo>
                    <a:pt x="3041" y="11342"/>
                  </a:lnTo>
                  <a:lnTo>
                    <a:pt x="3143" y="11367"/>
                  </a:lnTo>
                  <a:lnTo>
                    <a:pt x="3243" y="11389"/>
                  </a:lnTo>
                  <a:lnTo>
                    <a:pt x="3341" y="11407"/>
                  </a:lnTo>
                  <a:lnTo>
                    <a:pt x="3437" y="11424"/>
                  </a:lnTo>
                  <a:lnTo>
                    <a:pt x="3529" y="11436"/>
                  </a:lnTo>
                  <a:lnTo>
                    <a:pt x="3574" y="11441"/>
                  </a:lnTo>
                  <a:lnTo>
                    <a:pt x="3618" y="11445"/>
                  </a:lnTo>
                  <a:lnTo>
                    <a:pt x="3660" y="11449"/>
                  </a:lnTo>
                  <a:lnTo>
                    <a:pt x="3702" y="11452"/>
                  </a:lnTo>
                  <a:lnTo>
                    <a:pt x="3741" y="11453"/>
                  </a:lnTo>
                  <a:lnTo>
                    <a:pt x="3779" y="11453"/>
                  </a:lnTo>
                  <a:lnTo>
                    <a:pt x="3816" y="11453"/>
                  </a:lnTo>
                  <a:lnTo>
                    <a:pt x="3851" y="11452"/>
                  </a:lnTo>
                  <a:lnTo>
                    <a:pt x="3884" y="11449"/>
                  </a:lnTo>
                  <a:lnTo>
                    <a:pt x="3916" y="11445"/>
                  </a:lnTo>
                  <a:lnTo>
                    <a:pt x="3946" y="11440"/>
                  </a:lnTo>
                  <a:lnTo>
                    <a:pt x="3974" y="11435"/>
                  </a:lnTo>
                  <a:lnTo>
                    <a:pt x="4000" y="11428"/>
                  </a:lnTo>
                  <a:lnTo>
                    <a:pt x="4024" y="11420"/>
                  </a:lnTo>
                  <a:lnTo>
                    <a:pt x="4045" y="11410"/>
                  </a:lnTo>
                  <a:lnTo>
                    <a:pt x="4064" y="11400"/>
                  </a:lnTo>
                  <a:lnTo>
                    <a:pt x="4080" y="11389"/>
                  </a:lnTo>
                  <a:lnTo>
                    <a:pt x="4095" y="11376"/>
                  </a:lnTo>
                  <a:lnTo>
                    <a:pt x="4122" y="11347"/>
                  </a:lnTo>
                  <a:lnTo>
                    <a:pt x="4147" y="11317"/>
                  </a:lnTo>
                  <a:lnTo>
                    <a:pt x="4170" y="11287"/>
                  </a:lnTo>
                  <a:lnTo>
                    <a:pt x="4192" y="11256"/>
                  </a:lnTo>
                  <a:lnTo>
                    <a:pt x="4213" y="11224"/>
                  </a:lnTo>
                  <a:lnTo>
                    <a:pt x="4232" y="11192"/>
                  </a:lnTo>
                  <a:lnTo>
                    <a:pt x="4250" y="11159"/>
                  </a:lnTo>
                  <a:lnTo>
                    <a:pt x="4266" y="11126"/>
                  </a:lnTo>
                  <a:lnTo>
                    <a:pt x="4282" y="11093"/>
                  </a:lnTo>
                  <a:lnTo>
                    <a:pt x="4296" y="11060"/>
                  </a:lnTo>
                  <a:lnTo>
                    <a:pt x="4309" y="11027"/>
                  </a:lnTo>
                  <a:lnTo>
                    <a:pt x="4321" y="10994"/>
                  </a:lnTo>
                  <a:lnTo>
                    <a:pt x="4331" y="10961"/>
                  </a:lnTo>
                  <a:lnTo>
                    <a:pt x="4341" y="10928"/>
                  </a:lnTo>
                  <a:lnTo>
                    <a:pt x="4358" y="10862"/>
                  </a:lnTo>
                  <a:lnTo>
                    <a:pt x="4371" y="10799"/>
                  </a:lnTo>
                  <a:lnTo>
                    <a:pt x="4381" y="10737"/>
                  </a:lnTo>
                  <a:lnTo>
                    <a:pt x="4389" y="10677"/>
                  </a:lnTo>
                  <a:lnTo>
                    <a:pt x="4394" y="10621"/>
                  </a:lnTo>
                  <a:lnTo>
                    <a:pt x="4396" y="10595"/>
                  </a:lnTo>
                  <a:lnTo>
                    <a:pt x="4397" y="10569"/>
                  </a:lnTo>
                  <a:lnTo>
                    <a:pt x="4398" y="10544"/>
                  </a:lnTo>
                  <a:lnTo>
                    <a:pt x="4399" y="10521"/>
                  </a:lnTo>
                  <a:lnTo>
                    <a:pt x="4400" y="10498"/>
                  </a:lnTo>
                  <a:lnTo>
                    <a:pt x="4400" y="10477"/>
                  </a:lnTo>
                  <a:lnTo>
                    <a:pt x="4400" y="10458"/>
                  </a:lnTo>
                  <a:lnTo>
                    <a:pt x="4400" y="10439"/>
                  </a:lnTo>
                  <a:lnTo>
                    <a:pt x="4400" y="10376"/>
                  </a:lnTo>
                  <a:lnTo>
                    <a:pt x="4405" y="10369"/>
                  </a:lnTo>
                  <a:lnTo>
                    <a:pt x="4410" y="10359"/>
                  </a:lnTo>
                  <a:lnTo>
                    <a:pt x="4416" y="10346"/>
                  </a:lnTo>
                  <a:lnTo>
                    <a:pt x="4423" y="10332"/>
                  </a:lnTo>
                  <a:lnTo>
                    <a:pt x="4431" y="10315"/>
                  </a:lnTo>
                  <a:lnTo>
                    <a:pt x="4441" y="10295"/>
                  </a:lnTo>
                  <a:lnTo>
                    <a:pt x="4451" y="10274"/>
                  </a:lnTo>
                  <a:lnTo>
                    <a:pt x="4462" y="10251"/>
                  </a:lnTo>
                  <a:lnTo>
                    <a:pt x="4474" y="10227"/>
                  </a:lnTo>
                  <a:lnTo>
                    <a:pt x="4487" y="10200"/>
                  </a:lnTo>
                  <a:lnTo>
                    <a:pt x="4500" y="10173"/>
                  </a:lnTo>
                  <a:lnTo>
                    <a:pt x="4513" y="10146"/>
                  </a:lnTo>
                  <a:lnTo>
                    <a:pt x="4540" y="10087"/>
                  </a:lnTo>
                  <a:lnTo>
                    <a:pt x="4568" y="10026"/>
                  </a:lnTo>
                  <a:lnTo>
                    <a:pt x="4596" y="9964"/>
                  </a:lnTo>
                  <a:lnTo>
                    <a:pt x="4621" y="9904"/>
                  </a:lnTo>
                  <a:lnTo>
                    <a:pt x="4646" y="9845"/>
                  </a:lnTo>
                  <a:lnTo>
                    <a:pt x="4658" y="9817"/>
                  </a:lnTo>
                  <a:lnTo>
                    <a:pt x="4668" y="9789"/>
                  </a:lnTo>
                  <a:lnTo>
                    <a:pt x="4677" y="9763"/>
                  </a:lnTo>
                  <a:lnTo>
                    <a:pt x="4686" y="9739"/>
                  </a:lnTo>
                  <a:lnTo>
                    <a:pt x="4694" y="9716"/>
                  </a:lnTo>
                  <a:lnTo>
                    <a:pt x="4700" y="9694"/>
                  </a:lnTo>
                  <a:lnTo>
                    <a:pt x="4705" y="9675"/>
                  </a:lnTo>
                  <a:lnTo>
                    <a:pt x="4709" y="9657"/>
                  </a:lnTo>
                  <a:lnTo>
                    <a:pt x="4711" y="9642"/>
                  </a:lnTo>
                  <a:lnTo>
                    <a:pt x="4712" y="9628"/>
                  </a:lnTo>
                  <a:lnTo>
                    <a:pt x="4713" y="9604"/>
                  </a:lnTo>
                  <a:lnTo>
                    <a:pt x="4717" y="9576"/>
                  </a:lnTo>
                  <a:lnTo>
                    <a:pt x="4722" y="9546"/>
                  </a:lnTo>
                  <a:lnTo>
                    <a:pt x="4728" y="9512"/>
                  </a:lnTo>
                  <a:lnTo>
                    <a:pt x="4734" y="9476"/>
                  </a:lnTo>
                  <a:lnTo>
                    <a:pt x="4739" y="9436"/>
                  </a:lnTo>
                  <a:lnTo>
                    <a:pt x="4742" y="9394"/>
                  </a:lnTo>
                  <a:lnTo>
                    <a:pt x="4743" y="9348"/>
                  </a:lnTo>
                  <a:lnTo>
                    <a:pt x="4779" y="9366"/>
                  </a:lnTo>
                  <a:lnTo>
                    <a:pt x="4816" y="9382"/>
                  </a:lnTo>
                  <a:lnTo>
                    <a:pt x="4855" y="9398"/>
                  </a:lnTo>
                  <a:lnTo>
                    <a:pt x="4894" y="9412"/>
                  </a:lnTo>
                  <a:lnTo>
                    <a:pt x="4935" y="9426"/>
                  </a:lnTo>
                  <a:lnTo>
                    <a:pt x="4976" y="9439"/>
                  </a:lnTo>
                  <a:lnTo>
                    <a:pt x="5020" y="9450"/>
                  </a:lnTo>
                  <a:lnTo>
                    <a:pt x="5063" y="9462"/>
                  </a:lnTo>
                  <a:lnTo>
                    <a:pt x="5107" y="9471"/>
                  </a:lnTo>
                  <a:lnTo>
                    <a:pt x="5152" y="9479"/>
                  </a:lnTo>
                  <a:lnTo>
                    <a:pt x="5197" y="9486"/>
                  </a:lnTo>
                  <a:lnTo>
                    <a:pt x="5243" y="9493"/>
                  </a:lnTo>
                  <a:lnTo>
                    <a:pt x="5289" y="9498"/>
                  </a:lnTo>
                  <a:lnTo>
                    <a:pt x="5336" y="9502"/>
                  </a:lnTo>
                  <a:lnTo>
                    <a:pt x="5382" y="9504"/>
                  </a:lnTo>
                  <a:lnTo>
                    <a:pt x="5429" y="9504"/>
                  </a:lnTo>
                  <a:lnTo>
                    <a:pt x="5406" y="9540"/>
                  </a:lnTo>
                  <a:lnTo>
                    <a:pt x="5382" y="9575"/>
                  </a:lnTo>
                  <a:lnTo>
                    <a:pt x="5361" y="9613"/>
                  </a:lnTo>
                  <a:lnTo>
                    <a:pt x="5340" y="9652"/>
                  </a:lnTo>
                  <a:lnTo>
                    <a:pt x="5320" y="9694"/>
                  </a:lnTo>
                  <a:lnTo>
                    <a:pt x="5311" y="9717"/>
                  </a:lnTo>
                  <a:lnTo>
                    <a:pt x="5302" y="9741"/>
                  </a:lnTo>
                  <a:lnTo>
                    <a:pt x="5293" y="9765"/>
                  </a:lnTo>
                  <a:lnTo>
                    <a:pt x="5286" y="9791"/>
                  </a:lnTo>
                  <a:lnTo>
                    <a:pt x="5279" y="9819"/>
                  </a:lnTo>
                  <a:lnTo>
                    <a:pt x="5273" y="9847"/>
                  </a:lnTo>
                  <a:lnTo>
                    <a:pt x="5269" y="9894"/>
                  </a:lnTo>
                  <a:lnTo>
                    <a:pt x="5268" y="9942"/>
                  </a:lnTo>
                  <a:lnTo>
                    <a:pt x="5270" y="9991"/>
                  </a:lnTo>
                  <a:lnTo>
                    <a:pt x="5274" y="10041"/>
                  </a:lnTo>
                  <a:lnTo>
                    <a:pt x="5282" y="10091"/>
                  </a:lnTo>
                  <a:lnTo>
                    <a:pt x="5294" y="10142"/>
                  </a:lnTo>
                  <a:lnTo>
                    <a:pt x="5309" y="10195"/>
                  </a:lnTo>
                  <a:lnTo>
                    <a:pt x="5327" y="10249"/>
                  </a:lnTo>
                  <a:lnTo>
                    <a:pt x="5350" y="10303"/>
                  </a:lnTo>
                  <a:lnTo>
                    <a:pt x="5376" y="10359"/>
                  </a:lnTo>
                  <a:lnTo>
                    <a:pt x="5406" y="10415"/>
                  </a:lnTo>
                  <a:lnTo>
                    <a:pt x="5440" y="10473"/>
                  </a:lnTo>
                  <a:lnTo>
                    <a:pt x="5477" y="10533"/>
                  </a:lnTo>
                  <a:lnTo>
                    <a:pt x="5498" y="10564"/>
                  </a:lnTo>
                  <a:lnTo>
                    <a:pt x="5519" y="10594"/>
                  </a:lnTo>
                  <a:lnTo>
                    <a:pt x="5542" y="10625"/>
                  </a:lnTo>
                  <a:lnTo>
                    <a:pt x="5565" y="10656"/>
                  </a:lnTo>
                  <a:lnTo>
                    <a:pt x="5590" y="10687"/>
                  </a:lnTo>
                  <a:lnTo>
                    <a:pt x="5616" y="10719"/>
                  </a:lnTo>
                  <a:lnTo>
                    <a:pt x="5651" y="10763"/>
                  </a:lnTo>
                  <a:lnTo>
                    <a:pt x="5685" y="10805"/>
                  </a:lnTo>
                  <a:lnTo>
                    <a:pt x="5718" y="10846"/>
                  </a:lnTo>
                  <a:lnTo>
                    <a:pt x="5751" y="10886"/>
                  </a:lnTo>
                  <a:lnTo>
                    <a:pt x="5783" y="10924"/>
                  </a:lnTo>
                  <a:lnTo>
                    <a:pt x="5815" y="10962"/>
                  </a:lnTo>
                  <a:lnTo>
                    <a:pt x="5846" y="10998"/>
                  </a:lnTo>
                  <a:lnTo>
                    <a:pt x="5877" y="11033"/>
                  </a:lnTo>
                  <a:lnTo>
                    <a:pt x="5907" y="11067"/>
                  </a:lnTo>
                  <a:lnTo>
                    <a:pt x="5937" y="11100"/>
                  </a:lnTo>
                  <a:lnTo>
                    <a:pt x="5966" y="11131"/>
                  </a:lnTo>
                  <a:lnTo>
                    <a:pt x="5995" y="11162"/>
                  </a:lnTo>
                  <a:lnTo>
                    <a:pt x="6024" y="11190"/>
                  </a:lnTo>
                  <a:lnTo>
                    <a:pt x="6053" y="11218"/>
                  </a:lnTo>
                  <a:lnTo>
                    <a:pt x="6082" y="11244"/>
                  </a:lnTo>
                  <a:lnTo>
                    <a:pt x="6111" y="11269"/>
                  </a:lnTo>
                  <a:lnTo>
                    <a:pt x="6139" y="11292"/>
                  </a:lnTo>
                  <a:lnTo>
                    <a:pt x="6168" y="11315"/>
                  </a:lnTo>
                  <a:lnTo>
                    <a:pt x="6196" y="11335"/>
                  </a:lnTo>
                  <a:lnTo>
                    <a:pt x="6225" y="11354"/>
                  </a:lnTo>
                  <a:lnTo>
                    <a:pt x="6252" y="11372"/>
                  </a:lnTo>
                  <a:lnTo>
                    <a:pt x="6281" y="11388"/>
                  </a:lnTo>
                  <a:lnTo>
                    <a:pt x="6310" y="11403"/>
                  </a:lnTo>
                  <a:lnTo>
                    <a:pt x="6339" y="11417"/>
                  </a:lnTo>
                  <a:lnTo>
                    <a:pt x="6368" y="11428"/>
                  </a:lnTo>
                  <a:lnTo>
                    <a:pt x="6398" y="11438"/>
                  </a:lnTo>
                  <a:lnTo>
                    <a:pt x="6427" y="11448"/>
                  </a:lnTo>
                  <a:lnTo>
                    <a:pt x="6458" y="11455"/>
                  </a:lnTo>
                  <a:lnTo>
                    <a:pt x="6488" y="11460"/>
                  </a:lnTo>
                  <a:lnTo>
                    <a:pt x="6519" y="11464"/>
                  </a:lnTo>
                  <a:lnTo>
                    <a:pt x="6550" y="11466"/>
                  </a:lnTo>
                  <a:lnTo>
                    <a:pt x="6582" y="11467"/>
                  </a:lnTo>
                  <a:lnTo>
                    <a:pt x="6628" y="11466"/>
                  </a:lnTo>
                  <a:lnTo>
                    <a:pt x="6674" y="11460"/>
                  </a:lnTo>
                  <a:lnTo>
                    <a:pt x="6719" y="11452"/>
                  </a:lnTo>
                  <a:lnTo>
                    <a:pt x="6763" y="11440"/>
                  </a:lnTo>
                  <a:lnTo>
                    <a:pt x="6807" y="11427"/>
                  </a:lnTo>
                  <a:lnTo>
                    <a:pt x="6849" y="11410"/>
                  </a:lnTo>
                  <a:lnTo>
                    <a:pt x="6891" y="11391"/>
                  </a:lnTo>
                  <a:lnTo>
                    <a:pt x="6933" y="11370"/>
                  </a:lnTo>
                  <a:lnTo>
                    <a:pt x="6973" y="11348"/>
                  </a:lnTo>
                  <a:lnTo>
                    <a:pt x="7013" y="11323"/>
                  </a:lnTo>
                  <a:lnTo>
                    <a:pt x="7052" y="11297"/>
                  </a:lnTo>
                  <a:lnTo>
                    <a:pt x="7091" y="11270"/>
                  </a:lnTo>
                  <a:lnTo>
                    <a:pt x="7165" y="11214"/>
                  </a:lnTo>
                  <a:lnTo>
                    <a:pt x="7236" y="11156"/>
                  </a:lnTo>
                  <a:lnTo>
                    <a:pt x="7271" y="11131"/>
                  </a:lnTo>
                  <a:lnTo>
                    <a:pt x="7306" y="11105"/>
                  </a:lnTo>
                  <a:lnTo>
                    <a:pt x="7342" y="11076"/>
                  </a:lnTo>
                  <a:lnTo>
                    <a:pt x="7377" y="11047"/>
                  </a:lnTo>
                  <a:lnTo>
                    <a:pt x="7412" y="11018"/>
                  </a:lnTo>
                  <a:lnTo>
                    <a:pt x="7447" y="10989"/>
                  </a:lnTo>
                  <a:lnTo>
                    <a:pt x="7482" y="10962"/>
                  </a:lnTo>
                  <a:lnTo>
                    <a:pt x="7517" y="10938"/>
                  </a:lnTo>
                  <a:lnTo>
                    <a:pt x="7658" y="10820"/>
                  </a:lnTo>
                  <a:lnTo>
                    <a:pt x="7802" y="10703"/>
                  </a:lnTo>
                  <a:lnTo>
                    <a:pt x="7944" y="10583"/>
                  </a:lnTo>
                  <a:lnTo>
                    <a:pt x="8086" y="10462"/>
                  </a:lnTo>
                  <a:lnTo>
                    <a:pt x="8156" y="10401"/>
                  </a:lnTo>
                  <a:lnTo>
                    <a:pt x="8224" y="10338"/>
                  </a:lnTo>
                  <a:lnTo>
                    <a:pt x="8292" y="10274"/>
                  </a:lnTo>
                  <a:lnTo>
                    <a:pt x="8358" y="10210"/>
                  </a:lnTo>
                  <a:lnTo>
                    <a:pt x="8423" y="10145"/>
                  </a:lnTo>
                  <a:lnTo>
                    <a:pt x="8487" y="10078"/>
                  </a:lnTo>
                  <a:lnTo>
                    <a:pt x="8548" y="10010"/>
                  </a:lnTo>
                  <a:lnTo>
                    <a:pt x="8608" y="9941"/>
                  </a:lnTo>
                  <a:lnTo>
                    <a:pt x="8623" y="9921"/>
                  </a:lnTo>
                  <a:lnTo>
                    <a:pt x="8638" y="9900"/>
                  </a:lnTo>
                  <a:lnTo>
                    <a:pt x="8653" y="9878"/>
                  </a:lnTo>
                  <a:lnTo>
                    <a:pt x="8668" y="9855"/>
                  </a:lnTo>
                  <a:lnTo>
                    <a:pt x="8685" y="9831"/>
                  </a:lnTo>
                  <a:lnTo>
                    <a:pt x="8700" y="9807"/>
                  </a:lnTo>
                  <a:lnTo>
                    <a:pt x="8733" y="9754"/>
                  </a:lnTo>
                  <a:lnTo>
                    <a:pt x="8766" y="9698"/>
                  </a:lnTo>
                  <a:lnTo>
                    <a:pt x="8799" y="9638"/>
                  </a:lnTo>
                  <a:lnTo>
                    <a:pt x="8834" y="9575"/>
                  </a:lnTo>
                  <a:lnTo>
                    <a:pt x="8868" y="9510"/>
                  </a:lnTo>
                  <a:lnTo>
                    <a:pt x="8903" y="9442"/>
                  </a:lnTo>
                  <a:lnTo>
                    <a:pt x="8939" y="9372"/>
                  </a:lnTo>
                  <a:lnTo>
                    <a:pt x="8975" y="9300"/>
                  </a:lnTo>
                  <a:lnTo>
                    <a:pt x="9010" y="9227"/>
                  </a:lnTo>
                  <a:lnTo>
                    <a:pt x="9045" y="9153"/>
                  </a:lnTo>
                  <a:lnTo>
                    <a:pt x="9080" y="9076"/>
                  </a:lnTo>
                  <a:lnTo>
                    <a:pt x="9149" y="8924"/>
                  </a:lnTo>
                  <a:lnTo>
                    <a:pt x="9217" y="8770"/>
                  </a:lnTo>
                  <a:lnTo>
                    <a:pt x="9250" y="8694"/>
                  </a:lnTo>
                  <a:lnTo>
                    <a:pt x="9282" y="8619"/>
                  </a:lnTo>
                  <a:lnTo>
                    <a:pt x="9313" y="8545"/>
                  </a:lnTo>
                  <a:lnTo>
                    <a:pt x="9343" y="8473"/>
                  </a:lnTo>
                  <a:lnTo>
                    <a:pt x="9373" y="8402"/>
                  </a:lnTo>
                  <a:lnTo>
                    <a:pt x="9401" y="8333"/>
                  </a:lnTo>
                  <a:lnTo>
                    <a:pt x="9428" y="8266"/>
                  </a:lnTo>
                  <a:lnTo>
                    <a:pt x="9454" y="8201"/>
                  </a:lnTo>
                  <a:lnTo>
                    <a:pt x="9477" y="8139"/>
                  </a:lnTo>
                  <a:lnTo>
                    <a:pt x="9500" y="8081"/>
                  </a:lnTo>
                  <a:lnTo>
                    <a:pt x="9522" y="8026"/>
                  </a:lnTo>
                  <a:lnTo>
                    <a:pt x="9540" y="7974"/>
                  </a:lnTo>
                  <a:lnTo>
                    <a:pt x="9550" y="7951"/>
                  </a:lnTo>
                  <a:lnTo>
                    <a:pt x="9558" y="7927"/>
                  </a:lnTo>
                  <a:lnTo>
                    <a:pt x="9566" y="7905"/>
                  </a:lnTo>
                  <a:lnTo>
                    <a:pt x="9573" y="7884"/>
                  </a:lnTo>
                  <a:lnTo>
                    <a:pt x="9644" y="7942"/>
                  </a:lnTo>
                  <a:lnTo>
                    <a:pt x="9714" y="7999"/>
                  </a:lnTo>
                  <a:lnTo>
                    <a:pt x="9784" y="8055"/>
                  </a:lnTo>
                  <a:lnTo>
                    <a:pt x="9819" y="8080"/>
                  </a:lnTo>
                  <a:lnTo>
                    <a:pt x="9854" y="8106"/>
                  </a:lnTo>
                  <a:lnTo>
                    <a:pt x="9889" y="8130"/>
                  </a:lnTo>
                  <a:lnTo>
                    <a:pt x="9924" y="8153"/>
                  </a:lnTo>
                  <a:lnTo>
                    <a:pt x="9960" y="8175"/>
                  </a:lnTo>
                  <a:lnTo>
                    <a:pt x="9995" y="8195"/>
                  </a:lnTo>
                  <a:lnTo>
                    <a:pt x="10030" y="8213"/>
                  </a:lnTo>
                  <a:lnTo>
                    <a:pt x="10065" y="8231"/>
                  </a:lnTo>
                  <a:lnTo>
                    <a:pt x="10100" y="8245"/>
                  </a:lnTo>
                  <a:lnTo>
                    <a:pt x="10135" y="8258"/>
                  </a:lnTo>
                  <a:lnTo>
                    <a:pt x="10205" y="8281"/>
                  </a:lnTo>
                  <a:lnTo>
                    <a:pt x="10274" y="8304"/>
                  </a:lnTo>
                  <a:lnTo>
                    <a:pt x="10344" y="8324"/>
                  </a:lnTo>
                  <a:lnTo>
                    <a:pt x="10412" y="8343"/>
                  </a:lnTo>
                  <a:lnTo>
                    <a:pt x="10478" y="8359"/>
                  </a:lnTo>
                  <a:lnTo>
                    <a:pt x="10511" y="8366"/>
                  </a:lnTo>
                  <a:lnTo>
                    <a:pt x="10543" y="8372"/>
                  </a:lnTo>
                  <a:lnTo>
                    <a:pt x="10574" y="8376"/>
                  </a:lnTo>
                  <a:lnTo>
                    <a:pt x="10605" y="8380"/>
                  </a:lnTo>
                  <a:lnTo>
                    <a:pt x="10636" y="8382"/>
                  </a:lnTo>
                  <a:lnTo>
                    <a:pt x="10665" y="8382"/>
                  </a:lnTo>
                  <a:lnTo>
                    <a:pt x="10706" y="8382"/>
                  </a:lnTo>
                  <a:lnTo>
                    <a:pt x="10745" y="8380"/>
                  </a:lnTo>
                  <a:lnTo>
                    <a:pt x="10785" y="8377"/>
                  </a:lnTo>
                  <a:lnTo>
                    <a:pt x="10825" y="8372"/>
                  </a:lnTo>
                  <a:lnTo>
                    <a:pt x="10863" y="8367"/>
                  </a:lnTo>
                  <a:lnTo>
                    <a:pt x="10901" y="8359"/>
                  </a:lnTo>
                  <a:lnTo>
                    <a:pt x="10938" y="8351"/>
                  </a:lnTo>
                  <a:lnTo>
                    <a:pt x="10975" y="8342"/>
                  </a:lnTo>
                  <a:lnTo>
                    <a:pt x="11011" y="8331"/>
                  </a:lnTo>
                  <a:lnTo>
                    <a:pt x="11048" y="8318"/>
                  </a:lnTo>
                  <a:lnTo>
                    <a:pt x="11083" y="8305"/>
                  </a:lnTo>
                  <a:lnTo>
                    <a:pt x="11118" y="8290"/>
                  </a:lnTo>
                  <a:lnTo>
                    <a:pt x="11152" y="8274"/>
                  </a:lnTo>
                  <a:lnTo>
                    <a:pt x="11186" y="8258"/>
                  </a:lnTo>
                  <a:lnTo>
                    <a:pt x="11220" y="8239"/>
                  </a:lnTo>
                  <a:lnTo>
                    <a:pt x="11253" y="8218"/>
                  </a:lnTo>
                  <a:lnTo>
                    <a:pt x="11286" y="8198"/>
                  </a:lnTo>
                  <a:lnTo>
                    <a:pt x="11318" y="8175"/>
                  </a:lnTo>
                  <a:lnTo>
                    <a:pt x="11349" y="8151"/>
                  </a:lnTo>
                  <a:lnTo>
                    <a:pt x="11381" y="8127"/>
                  </a:lnTo>
                  <a:lnTo>
                    <a:pt x="11412" y="8101"/>
                  </a:lnTo>
                  <a:lnTo>
                    <a:pt x="11442" y="8073"/>
                  </a:lnTo>
                  <a:lnTo>
                    <a:pt x="11472" y="8044"/>
                  </a:lnTo>
                  <a:lnTo>
                    <a:pt x="11502" y="8014"/>
                  </a:lnTo>
                  <a:lnTo>
                    <a:pt x="11531" y="7982"/>
                  </a:lnTo>
                  <a:lnTo>
                    <a:pt x="11560" y="7951"/>
                  </a:lnTo>
                  <a:lnTo>
                    <a:pt x="11587" y="7917"/>
                  </a:lnTo>
                  <a:lnTo>
                    <a:pt x="11616" y="7882"/>
                  </a:lnTo>
                  <a:lnTo>
                    <a:pt x="11643" y="7844"/>
                  </a:lnTo>
                  <a:lnTo>
                    <a:pt x="11671" y="7807"/>
                  </a:lnTo>
                  <a:lnTo>
                    <a:pt x="11698" y="7768"/>
                  </a:lnTo>
                  <a:lnTo>
                    <a:pt x="11724" y="7728"/>
                  </a:lnTo>
                  <a:lnTo>
                    <a:pt x="11746" y="7693"/>
                  </a:lnTo>
                  <a:lnTo>
                    <a:pt x="11768" y="7658"/>
                  </a:lnTo>
                  <a:lnTo>
                    <a:pt x="11788" y="7623"/>
                  </a:lnTo>
                  <a:lnTo>
                    <a:pt x="11806" y="7589"/>
                  </a:lnTo>
                  <a:lnTo>
                    <a:pt x="11824" y="7555"/>
                  </a:lnTo>
                  <a:lnTo>
                    <a:pt x="11839" y="7522"/>
                  </a:lnTo>
                  <a:lnTo>
                    <a:pt x="11855" y="7490"/>
                  </a:lnTo>
                  <a:lnTo>
                    <a:pt x="11868" y="7459"/>
                  </a:lnTo>
                  <a:lnTo>
                    <a:pt x="11881" y="7429"/>
                  </a:lnTo>
                  <a:lnTo>
                    <a:pt x="11893" y="7401"/>
                  </a:lnTo>
                  <a:lnTo>
                    <a:pt x="11903" y="7373"/>
                  </a:lnTo>
                  <a:lnTo>
                    <a:pt x="11913" y="7347"/>
                  </a:lnTo>
                  <a:lnTo>
                    <a:pt x="11921" y="7322"/>
                  </a:lnTo>
                  <a:lnTo>
                    <a:pt x="11929" y="7300"/>
                  </a:lnTo>
                  <a:lnTo>
                    <a:pt x="11936" y="7279"/>
                  </a:lnTo>
                  <a:lnTo>
                    <a:pt x="11943" y="7260"/>
                  </a:lnTo>
                  <a:lnTo>
                    <a:pt x="12038" y="7282"/>
                  </a:lnTo>
                  <a:lnTo>
                    <a:pt x="12135" y="7302"/>
                  </a:lnTo>
                  <a:lnTo>
                    <a:pt x="12235" y="7317"/>
                  </a:lnTo>
                  <a:lnTo>
                    <a:pt x="12336" y="7330"/>
                  </a:lnTo>
                  <a:lnTo>
                    <a:pt x="12439" y="7341"/>
                  </a:lnTo>
                  <a:lnTo>
                    <a:pt x="12543" y="7348"/>
                  </a:lnTo>
                  <a:lnTo>
                    <a:pt x="12648" y="7352"/>
                  </a:lnTo>
                  <a:lnTo>
                    <a:pt x="12753" y="7354"/>
                  </a:lnTo>
                  <a:lnTo>
                    <a:pt x="12846" y="7354"/>
                  </a:lnTo>
                  <a:lnTo>
                    <a:pt x="12899" y="7353"/>
                  </a:lnTo>
                  <a:lnTo>
                    <a:pt x="12951" y="7351"/>
                  </a:lnTo>
                  <a:lnTo>
                    <a:pt x="13004" y="7347"/>
                  </a:lnTo>
                  <a:lnTo>
                    <a:pt x="13056" y="7341"/>
                  </a:lnTo>
                  <a:lnTo>
                    <a:pt x="13109" y="7334"/>
                  </a:lnTo>
                  <a:lnTo>
                    <a:pt x="13161" y="7324"/>
                  </a:lnTo>
                  <a:lnTo>
                    <a:pt x="13213" y="7314"/>
                  </a:lnTo>
                  <a:lnTo>
                    <a:pt x="13265" y="7303"/>
                  </a:lnTo>
                  <a:lnTo>
                    <a:pt x="13318" y="7288"/>
                  </a:lnTo>
                  <a:lnTo>
                    <a:pt x="13369" y="7274"/>
                  </a:lnTo>
                  <a:lnTo>
                    <a:pt x="13421" y="7257"/>
                  </a:lnTo>
                  <a:lnTo>
                    <a:pt x="13472" y="7239"/>
                  </a:lnTo>
                  <a:lnTo>
                    <a:pt x="13524" y="7219"/>
                  </a:lnTo>
                  <a:lnTo>
                    <a:pt x="13575" y="7198"/>
                  </a:lnTo>
                  <a:lnTo>
                    <a:pt x="13625" y="7175"/>
                  </a:lnTo>
                  <a:lnTo>
                    <a:pt x="13676" y="7151"/>
                  </a:lnTo>
                  <a:lnTo>
                    <a:pt x="13726" y="7125"/>
                  </a:lnTo>
                  <a:lnTo>
                    <a:pt x="13776" y="7099"/>
                  </a:lnTo>
                  <a:lnTo>
                    <a:pt x="13826" y="7070"/>
                  </a:lnTo>
                  <a:lnTo>
                    <a:pt x="13875" y="7040"/>
                  </a:lnTo>
                  <a:lnTo>
                    <a:pt x="13925" y="7009"/>
                  </a:lnTo>
                  <a:lnTo>
                    <a:pt x="13973" y="6976"/>
                  </a:lnTo>
                  <a:lnTo>
                    <a:pt x="14022" y="6942"/>
                  </a:lnTo>
                  <a:lnTo>
                    <a:pt x="14069" y="6907"/>
                  </a:lnTo>
                  <a:lnTo>
                    <a:pt x="14117" y="6870"/>
                  </a:lnTo>
                  <a:lnTo>
                    <a:pt x="14164" y="6832"/>
                  </a:lnTo>
                  <a:lnTo>
                    <a:pt x="14211" y="6792"/>
                  </a:lnTo>
                  <a:lnTo>
                    <a:pt x="14256" y="6752"/>
                  </a:lnTo>
                  <a:lnTo>
                    <a:pt x="14302" y="6709"/>
                  </a:lnTo>
                  <a:lnTo>
                    <a:pt x="14347" y="6666"/>
                  </a:lnTo>
                  <a:lnTo>
                    <a:pt x="14392" y="6621"/>
                  </a:lnTo>
                  <a:lnTo>
                    <a:pt x="14436" y="6574"/>
                  </a:lnTo>
                  <a:lnTo>
                    <a:pt x="14502" y="6500"/>
                  </a:lnTo>
                  <a:lnTo>
                    <a:pt x="14566" y="6424"/>
                  </a:lnTo>
                  <a:lnTo>
                    <a:pt x="14629" y="6345"/>
                  </a:lnTo>
                  <a:lnTo>
                    <a:pt x="14689" y="6264"/>
                  </a:lnTo>
                  <a:lnTo>
                    <a:pt x="14746" y="6181"/>
                  </a:lnTo>
                  <a:lnTo>
                    <a:pt x="14802" y="6095"/>
                  </a:lnTo>
                  <a:lnTo>
                    <a:pt x="14856" y="6008"/>
                  </a:lnTo>
                  <a:lnTo>
                    <a:pt x="14907" y="5918"/>
                  </a:lnTo>
                  <a:lnTo>
                    <a:pt x="14957" y="5826"/>
                  </a:lnTo>
                  <a:lnTo>
                    <a:pt x="15004" y="5732"/>
                  </a:lnTo>
                  <a:lnTo>
                    <a:pt x="15050" y="5636"/>
                  </a:lnTo>
                  <a:lnTo>
                    <a:pt x="15092" y="5539"/>
                  </a:lnTo>
                  <a:lnTo>
                    <a:pt x="15133" y="5439"/>
                  </a:lnTo>
                  <a:lnTo>
                    <a:pt x="15172" y="5337"/>
                  </a:lnTo>
                  <a:lnTo>
                    <a:pt x="15208" y="5234"/>
                  </a:lnTo>
                  <a:lnTo>
                    <a:pt x="15242" y="5129"/>
                  </a:lnTo>
                  <a:lnTo>
                    <a:pt x="15274" y="5023"/>
                  </a:lnTo>
                  <a:lnTo>
                    <a:pt x="15303" y="4914"/>
                  </a:lnTo>
                  <a:lnTo>
                    <a:pt x="15331" y="4804"/>
                  </a:lnTo>
                  <a:lnTo>
                    <a:pt x="15355" y="4693"/>
                  </a:lnTo>
                  <a:lnTo>
                    <a:pt x="15377" y="4579"/>
                  </a:lnTo>
                  <a:lnTo>
                    <a:pt x="15398" y="4464"/>
                  </a:lnTo>
                  <a:lnTo>
                    <a:pt x="15415" y="4348"/>
                  </a:lnTo>
                  <a:lnTo>
                    <a:pt x="15431" y="4230"/>
                  </a:lnTo>
                  <a:lnTo>
                    <a:pt x="15443" y="4111"/>
                  </a:lnTo>
                  <a:lnTo>
                    <a:pt x="15454" y="3990"/>
                  </a:lnTo>
                  <a:lnTo>
                    <a:pt x="15462" y="3868"/>
                  </a:lnTo>
                  <a:lnTo>
                    <a:pt x="15467" y="3745"/>
                  </a:lnTo>
                  <a:lnTo>
                    <a:pt x="15470" y="3621"/>
                  </a:lnTo>
                  <a:lnTo>
                    <a:pt x="15471" y="3496"/>
                  </a:lnTo>
                  <a:lnTo>
                    <a:pt x="15469" y="3369"/>
                  </a:lnTo>
                  <a:lnTo>
                    <a:pt x="15464" y="3240"/>
                  </a:lnTo>
                  <a:lnTo>
                    <a:pt x="15460" y="3150"/>
                  </a:lnTo>
                  <a:lnTo>
                    <a:pt x="15455" y="3060"/>
                  </a:lnTo>
                  <a:lnTo>
                    <a:pt x="15448" y="2971"/>
                  </a:lnTo>
                  <a:lnTo>
                    <a:pt x="15441" y="2885"/>
                  </a:lnTo>
                  <a:lnTo>
                    <a:pt x="15435" y="2799"/>
                  </a:lnTo>
                  <a:lnTo>
                    <a:pt x="15427" y="2716"/>
                  </a:lnTo>
                  <a:lnTo>
                    <a:pt x="15418" y="2633"/>
                  </a:lnTo>
                  <a:lnTo>
                    <a:pt x="15409" y="2553"/>
                  </a:lnTo>
                  <a:lnTo>
                    <a:pt x="15400" y="2475"/>
                  </a:lnTo>
                  <a:lnTo>
                    <a:pt x="15390" y="2397"/>
                  </a:lnTo>
                  <a:lnTo>
                    <a:pt x="15379" y="2321"/>
                  </a:lnTo>
                  <a:lnTo>
                    <a:pt x="15369" y="2246"/>
                  </a:lnTo>
                  <a:lnTo>
                    <a:pt x="15356" y="2174"/>
                  </a:lnTo>
                  <a:lnTo>
                    <a:pt x="15345" y="2102"/>
                  </a:lnTo>
                  <a:lnTo>
                    <a:pt x="15332" y="2032"/>
                  </a:lnTo>
                  <a:lnTo>
                    <a:pt x="15319" y="1964"/>
                  </a:lnTo>
                  <a:lnTo>
                    <a:pt x="15306" y="1897"/>
                  </a:lnTo>
                  <a:lnTo>
                    <a:pt x="15291" y="1832"/>
                  </a:lnTo>
                  <a:lnTo>
                    <a:pt x="15277" y="1768"/>
                  </a:lnTo>
                  <a:lnTo>
                    <a:pt x="15261" y="1705"/>
                  </a:lnTo>
                  <a:lnTo>
                    <a:pt x="15247" y="1645"/>
                  </a:lnTo>
                  <a:lnTo>
                    <a:pt x="15231" y="1585"/>
                  </a:lnTo>
                  <a:lnTo>
                    <a:pt x="15214" y="1527"/>
                  </a:lnTo>
                  <a:lnTo>
                    <a:pt x="15197" y="1471"/>
                  </a:lnTo>
                  <a:lnTo>
                    <a:pt x="15181" y="1415"/>
                  </a:lnTo>
                  <a:lnTo>
                    <a:pt x="15163" y="1361"/>
                  </a:lnTo>
                  <a:lnTo>
                    <a:pt x="15146" y="1310"/>
                  </a:lnTo>
                  <a:lnTo>
                    <a:pt x="15127" y="1258"/>
                  </a:lnTo>
                  <a:lnTo>
                    <a:pt x="15109" y="1210"/>
                  </a:lnTo>
                  <a:lnTo>
                    <a:pt x="15090" y="1162"/>
                  </a:lnTo>
                  <a:lnTo>
                    <a:pt x="15071" y="1115"/>
                  </a:lnTo>
                  <a:lnTo>
                    <a:pt x="15051" y="1071"/>
                  </a:lnTo>
                  <a:lnTo>
                    <a:pt x="15031" y="1027"/>
                  </a:lnTo>
                  <a:lnTo>
                    <a:pt x="15011" y="985"/>
                  </a:lnTo>
                  <a:lnTo>
                    <a:pt x="14991" y="944"/>
                  </a:lnTo>
                  <a:lnTo>
                    <a:pt x="14969" y="905"/>
                  </a:lnTo>
                  <a:lnTo>
                    <a:pt x="14949" y="867"/>
                  </a:lnTo>
                  <a:lnTo>
                    <a:pt x="14927" y="831"/>
                  </a:lnTo>
                  <a:lnTo>
                    <a:pt x="14905" y="796"/>
                  </a:lnTo>
                  <a:lnTo>
                    <a:pt x="14884" y="763"/>
                  </a:lnTo>
                  <a:lnTo>
                    <a:pt x="14862" y="731"/>
                  </a:lnTo>
                  <a:lnTo>
                    <a:pt x="14839" y="700"/>
                  </a:lnTo>
                  <a:lnTo>
                    <a:pt x="14817" y="670"/>
                  </a:lnTo>
                  <a:lnTo>
                    <a:pt x="14794" y="642"/>
                  </a:lnTo>
                  <a:lnTo>
                    <a:pt x="14771" y="617"/>
                  </a:lnTo>
                  <a:lnTo>
                    <a:pt x="14748" y="591"/>
                  </a:lnTo>
                  <a:lnTo>
                    <a:pt x="14725" y="567"/>
                  </a:lnTo>
                  <a:lnTo>
                    <a:pt x="14702" y="546"/>
                  </a:lnTo>
                  <a:lnTo>
                    <a:pt x="14678" y="524"/>
                  </a:lnTo>
                  <a:lnTo>
                    <a:pt x="14654" y="504"/>
                  </a:lnTo>
                  <a:lnTo>
                    <a:pt x="14630" y="487"/>
                  </a:lnTo>
                  <a:lnTo>
                    <a:pt x="14606" y="469"/>
                  </a:lnTo>
                  <a:lnTo>
                    <a:pt x="14582" y="454"/>
                  </a:lnTo>
                  <a:lnTo>
                    <a:pt x="14557" y="440"/>
                  </a:lnTo>
                  <a:lnTo>
                    <a:pt x="14534" y="427"/>
                  </a:lnTo>
                  <a:lnTo>
                    <a:pt x="14509" y="416"/>
                  </a:lnTo>
                  <a:lnTo>
                    <a:pt x="14484" y="405"/>
                  </a:lnTo>
                  <a:lnTo>
                    <a:pt x="14459" y="397"/>
                  </a:lnTo>
                  <a:lnTo>
                    <a:pt x="14435" y="390"/>
                  </a:lnTo>
                  <a:lnTo>
                    <a:pt x="14410" y="384"/>
                  </a:lnTo>
                  <a:lnTo>
                    <a:pt x="14385" y="380"/>
                  </a:lnTo>
                  <a:lnTo>
                    <a:pt x="14360" y="376"/>
                  </a:lnTo>
                  <a:lnTo>
                    <a:pt x="14336" y="374"/>
                  </a:lnTo>
                  <a:lnTo>
                    <a:pt x="14311" y="374"/>
                  </a:lnTo>
                  <a:lnTo>
                    <a:pt x="14280" y="374"/>
                  </a:lnTo>
                  <a:lnTo>
                    <a:pt x="14251" y="377"/>
                  </a:lnTo>
                  <a:lnTo>
                    <a:pt x="14223" y="381"/>
                  </a:lnTo>
                  <a:lnTo>
                    <a:pt x="14170" y="393"/>
                  </a:lnTo>
                  <a:lnTo>
                    <a:pt x="14121" y="409"/>
                  </a:lnTo>
                  <a:lnTo>
                    <a:pt x="14074" y="428"/>
                  </a:lnTo>
                  <a:lnTo>
                    <a:pt x="14031" y="450"/>
                  </a:lnTo>
                  <a:lnTo>
                    <a:pt x="13990" y="473"/>
                  </a:lnTo>
                  <a:lnTo>
                    <a:pt x="13953" y="500"/>
                  </a:lnTo>
                  <a:lnTo>
                    <a:pt x="13917" y="529"/>
                  </a:lnTo>
                  <a:lnTo>
                    <a:pt x="13885" y="559"/>
                  </a:lnTo>
                  <a:lnTo>
                    <a:pt x="13855" y="590"/>
                  </a:lnTo>
                  <a:lnTo>
                    <a:pt x="13828" y="622"/>
                  </a:lnTo>
                  <a:lnTo>
                    <a:pt x="13802" y="654"/>
                  </a:lnTo>
                  <a:lnTo>
                    <a:pt x="13779" y="686"/>
                  </a:lnTo>
                  <a:lnTo>
                    <a:pt x="13757" y="718"/>
                  </a:lnTo>
                  <a:lnTo>
                    <a:pt x="13737" y="748"/>
                  </a:lnTo>
                  <a:lnTo>
                    <a:pt x="13719" y="778"/>
                  </a:lnTo>
                  <a:lnTo>
                    <a:pt x="13706" y="803"/>
                  </a:lnTo>
                  <a:lnTo>
                    <a:pt x="13690" y="829"/>
                  </a:lnTo>
                  <a:lnTo>
                    <a:pt x="13674" y="857"/>
                  </a:lnTo>
                  <a:lnTo>
                    <a:pt x="13656" y="883"/>
                  </a:lnTo>
                  <a:lnTo>
                    <a:pt x="13639" y="909"/>
                  </a:lnTo>
                  <a:lnTo>
                    <a:pt x="13622" y="932"/>
                  </a:lnTo>
                  <a:lnTo>
                    <a:pt x="13615" y="942"/>
                  </a:lnTo>
                  <a:lnTo>
                    <a:pt x="13607" y="951"/>
                  </a:lnTo>
                  <a:lnTo>
                    <a:pt x="13600" y="959"/>
                  </a:lnTo>
                  <a:lnTo>
                    <a:pt x="13594" y="966"/>
                  </a:lnTo>
                  <a:lnTo>
                    <a:pt x="13559" y="987"/>
                  </a:lnTo>
                  <a:lnTo>
                    <a:pt x="13524" y="1007"/>
                  </a:lnTo>
                  <a:lnTo>
                    <a:pt x="13489" y="1025"/>
                  </a:lnTo>
                  <a:lnTo>
                    <a:pt x="13454" y="1040"/>
                  </a:lnTo>
                  <a:lnTo>
                    <a:pt x="13419" y="1053"/>
                  </a:lnTo>
                  <a:lnTo>
                    <a:pt x="13384" y="1067"/>
                  </a:lnTo>
                  <a:lnTo>
                    <a:pt x="13314" y="1090"/>
                  </a:lnTo>
                  <a:lnTo>
                    <a:pt x="13266" y="1112"/>
                  </a:lnTo>
                  <a:lnTo>
                    <a:pt x="13214" y="1134"/>
                  </a:lnTo>
                  <a:lnTo>
                    <a:pt x="13162" y="1157"/>
                  </a:lnTo>
                  <a:lnTo>
                    <a:pt x="13135" y="1170"/>
                  </a:lnTo>
                  <a:lnTo>
                    <a:pt x="13107" y="1183"/>
                  </a:lnTo>
                  <a:lnTo>
                    <a:pt x="13079" y="1199"/>
                  </a:lnTo>
                  <a:lnTo>
                    <a:pt x="13051" y="1216"/>
                  </a:lnTo>
                  <a:lnTo>
                    <a:pt x="13022" y="1235"/>
                  </a:lnTo>
                  <a:lnTo>
                    <a:pt x="12993" y="1256"/>
                  </a:lnTo>
                  <a:lnTo>
                    <a:pt x="12965" y="1280"/>
                  </a:lnTo>
                  <a:lnTo>
                    <a:pt x="12936" y="1307"/>
                  </a:lnTo>
                  <a:lnTo>
                    <a:pt x="12907" y="1337"/>
                  </a:lnTo>
                  <a:lnTo>
                    <a:pt x="12878" y="1371"/>
                  </a:lnTo>
                  <a:lnTo>
                    <a:pt x="12858" y="1391"/>
                  </a:lnTo>
                  <a:lnTo>
                    <a:pt x="12840" y="1412"/>
                  </a:lnTo>
                  <a:lnTo>
                    <a:pt x="12823" y="1433"/>
                  </a:lnTo>
                  <a:lnTo>
                    <a:pt x="12809" y="1455"/>
                  </a:lnTo>
                  <a:lnTo>
                    <a:pt x="12795" y="1477"/>
                  </a:lnTo>
                  <a:lnTo>
                    <a:pt x="12783" y="1499"/>
                  </a:lnTo>
                  <a:lnTo>
                    <a:pt x="12772" y="1522"/>
                  </a:lnTo>
                  <a:lnTo>
                    <a:pt x="12762" y="1545"/>
                  </a:lnTo>
                  <a:lnTo>
                    <a:pt x="12754" y="1568"/>
                  </a:lnTo>
                  <a:lnTo>
                    <a:pt x="12747" y="1591"/>
                  </a:lnTo>
                  <a:lnTo>
                    <a:pt x="12741" y="1615"/>
                  </a:lnTo>
                  <a:lnTo>
                    <a:pt x="12735" y="1638"/>
                  </a:lnTo>
                  <a:lnTo>
                    <a:pt x="12729" y="1688"/>
                  </a:lnTo>
                  <a:lnTo>
                    <a:pt x="12725" y="1736"/>
                  </a:lnTo>
                  <a:lnTo>
                    <a:pt x="12726" y="1787"/>
                  </a:lnTo>
                  <a:lnTo>
                    <a:pt x="12728" y="1837"/>
                  </a:lnTo>
                  <a:lnTo>
                    <a:pt x="12734" y="1889"/>
                  </a:lnTo>
                  <a:lnTo>
                    <a:pt x="12742" y="1940"/>
                  </a:lnTo>
                  <a:lnTo>
                    <a:pt x="12751" y="1992"/>
                  </a:lnTo>
                  <a:lnTo>
                    <a:pt x="12761" y="2044"/>
                  </a:lnTo>
                  <a:lnTo>
                    <a:pt x="12784" y="2149"/>
                  </a:lnTo>
                  <a:lnTo>
                    <a:pt x="12795" y="2203"/>
                  </a:lnTo>
                  <a:lnTo>
                    <a:pt x="12809" y="2260"/>
                  </a:lnTo>
                  <a:lnTo>
                    <a:pt x="12821" y="2318"/>
                  </a:lnTo>
                  <a:lnTo>
                    <a:pt x="12835" y="2379"/>
                  </a:lnTo>
                  <a:lnTo>
                    <a:pt x="12847" y="2444"/>
                  </a:lnTo>
                  <a:lnTo>
                    <a:pt x="12859" y="2511"/>
                  </a:lnTo>
                  <a:lnTo>
                    <a:pt x="12871" y="2582"/>
                  </a:lnTo>
                  <a:lnTo>
                    <a:pt x="12881" y="2656"/>
                  </a:lnTo>
                  <a:lnTo>
                    <a:pt x="12891" y="2733"/>
                  </a:lnTo>
                  <a:lnTo>
                    <a:pt x="12900" y="2815"/>
                  </a:lnTo>
                  <a:lnTo>
                    <a:pt x="12903" y="2858"/>
                  </a:lnTo>
                  <a:lnTo>
                    <a:pt x="12906" y="2901"/>
                  </a:lnTo>
                  <a:lnTo>
                    <a:pt x="12909" y="2946"/>
                  </a:lnTo>
                  <a:lnTo>
                    <a:pt x="12911" y="2991"/>
                  </a:lnTo>
                  <a:lnTo>
                    <a:pt x="12913" y="3037"/>
                  </a:lnTo>
                  <a:lnTo>
                    <a:pt x="12914" y="3085"/>
                  </a:lnTo>
                  <a:lnTo>
                    <a:pt x="12915" y="3134"/>
                  </a:lnTo>
                  <a:lnTo>
                    <a:pt x="12915" y="3184"/>
                  </a:lnTo>
                  <a:lnTo>
                    <a:pt x="12914" y="3235"/>
                  </a:lnTo>
                  <a:lnTo>
                    <a:pt x="12913" y="3288"/>
                  </a:lnTo>
                  <a:lnTo>
                    <a:pt x="12911" y="3341"/>
                  </a:lnTo>
                  <a:lnTo>
                    <a:pt x="12909" y="3396"/>
                  </a:lnTo>
                  <a:lnTo>
                    <a:pt x="12901" y="3396"/>
                  </a:lnTo>
                  <a:lnTo>
                    <a:pt x="12890" y="3396"/>
                  </a:lnTo>
                  <a:lnTo>
                    <a:pt x="12869" y="3392"/>
                  </a:lnTo>
                  <a:lnTo>
                    <a:pt x="12843" y="3384"/>
                  </a:lnTo>
                  <a:lnTo>
                    <a:pt x="12815" y="3375"/>
                  </a:lnTo>
                  <a:lnTo>
                    <a:pt x="12785" y="3362"/>
                  </a:lnTo>
                  <a:lnTo>
                    <a:pt x="12754" y="3345"/>
                  </a:lnTo>
                  <a:lnTo>
                    <a:pt x="12722" y="3326"/>
                  </a:lnTo>
                  <a:lnTo>
                    <a:pt x="12690" y="3303"/>
                  </a:lnTo>
                  <a:lnTo>
                    <a:pt x="12690" y="3302"/>
                  </a:lnTo>
                  <a:lnTo>
                    <a:pt x="12688" y="3300"/>
                  </a:lnTo>
                  <a:lnTo>
                    <a:pt x="12685" y="3296"/>
                  </a:lnTo>
                  <a:lnTo>
                    <a:pt x="12681" y="3291"/>
                  </a:lnTo>
                  <a:lnTo>
                    <a:pt x="12676" y="3284"/>
                  </a:lnTo>
                  <a:lnTo>
                    <a:pt x="12669" y="3276"/>
                  </a:lnTo>
                  <a:lnTo>
                    <a:pt x="12662" y="3268"/>
                  </a:lnTo>
                  <a:lnTo>
                    <a:pt x="12654" y="3258"/>
                  </a:lnTo>
                  <a:lnTo>
                    <a:pt x="12636" y="3236"/>
                  </a:lnTo>
                  <a:lnTo>
                    <a:pt x="12615" y="3210"/>
                  </a:lnTo>
                  <a:lnTo>
                    <a:pt x="12591" y="3184"/>
                  </a:lnTo>
                  <a:lnTo>
                    <a:pt x="12566" y="3155"/>
                  </a:lnTo>
                  <a:lnTo>
                    <a:pt x="12539" y="3125"/>
                  </a:lnTo>
                  <a:lnTo>
                    <a:pt x="12511" y="3096"/>
                  </a:lnTo>
                  <a:lnTo>
                    <a:pt x="12482" y="3067"/>
                  </a:lnTo>
                  <a:lnTo>
                    <a:pt x="12454" y="3039"/>
                  </a:lnTo>
                  <a:lnTo>
                    <a:pt x="12426" y="3015"/>
                  </a:lnTo>
                  <a:lnTo>
                    <a:pt x="12398" y="2992"/>
                  </a:lnTo>
                  <a:lnTo>
                    <a:pt x="12384" y="2983"/>
                  </a:lnTo>
                  <a:lnTo>
                    <a:pt x="12372" y="2973"/>
                  </a:lnTo>
                  <a:lnTo>
                    <a:pt x="12360" y="2966"/>
                  </a:lnTo>
                  <a:lnTo>
                    <a:pt x="12347" y="2960"/>
                  </a:lnTo>
                  <a:lnTo>
                    <a:pt x="12370" y="2947"/>
                  </a:lnTo>
                  <a:lnTo>
                    <a:pt x="12390" y="2931"/>
                  </a:lnTo>
                  <a:lnTo>
                    <a:pt x="12408" y="2914"/>
                  </a:lnTo>
                  <a:lnTo>
                    <a:pt x="12426" y="2893"/>
                  </a:lnTo>
                  <a:lnTo>
                    <a:pt x="12443" y="2872"/>
                  </a:lnTo>
                  <a:lnTo>
                    <a:pt x="12462" y="2850"/>
                  </a:lnTo>
                  <a:lnTo>
                    <a:pt x="12481" y="2827"/>
                  </a:lnTo>
                  <a:lnTo>
                    <a:pt x="12503" y="2803"/>
                  </a:lnTo>
                  <a:lnTo>
                    <a:pt x="12519" y="2762"/>
                  </a:lnTo>
                  <a:lnTo>
                    <a:pt x="12531" y="2721"/>
                  </a:lnTo>
                  <a:lnTo>
                    <a:pt x="12539" y="2678"/>
                  </a:lnTo>
                  <a:lnTo>
                    <a:pt x="12544" y="2634"/>
                  </a:lnTo>
                  <a:lnTo>
                    <a:pt x="12546" y="2590"/>
                  </a:lnTo>
                  <a:lnTo>
                    <a:pt x="12544" y="2545"/>
                  </a:lnTo>
                  <a:lnTo>
                    <a:pt x="12539" y="2500"/>
                  </a:lnTo>
                  <a:lnTo>
                    <a:pt x="12531" y="2453"/>
                  </a:lnTo>
                  <a:lnTo>
                    <a:pt x="12519" y="2406"/>
                  </a:lnTo>
                  <a:lnTo>
                    <a:pt x="12503" y="2358"/>
                  </a:lnTo>
                  <a:lnTo>
                    <a:pt x="12486" y="2310"/>
                  </a:lnTo>
                  <a:lnTo>
                    <a:pt x="12464" y="2261"/>
                  </a:lnTo>
                  <a:lnTo>
                    <a:pt x="12439" y="2210"/>
                  </a:lnTo>
                  <a:lnTo>
                    <a:pt x="12411" y="2160"/>
                  </a:lnTo>
                  <a:lnTo>
                    <a:pt x="12381" y="2108"/>
                  </a:lnTo>
                  <a:lnTo>
                    <a:pt x="12347" y="2056"/>
                  </a:lnTo>
                  <a:lnTo>
                    <a:pt x="12327" y="2030"/>
                  </a:lnTo>
                  <a:lnTo>
                    <a:pt x="12306" y="2006"/>
                  </a:lnTo>
                  <a:lnTo>
                    <a:pt x="12285" y="1982"/>
                  </a:lnTo>
                  <a:lnTo>
                    <a:pt x="12265" y="1961"/>
                  </a:lnTo>
                  <a:lnTo>
                    <a:pt x="12243" y="1939"/>
                  </a:lnTo>
                  <a:lnTo>
                    <a:pt x="12222" y="1920"/>
                  </a:lnTo>
                  <a:lnTo>
                    <a:pt x="12179" y="1882"/>
                  </a:lnTo>
                  <a:lnTo>
                    <a:pt x="12136" y="1848"/>
                  </a:lnTo>
                  <a:lnTo>
                    <a:pt x="12092" y="1816"/>
                  </a:lnTo>
                  <a:lnTo>
                    <a:pt x="12048" y="1786"/>
                  </a:lnTo>
                  <a:lnTo>
                    <a:pt x="12005" y="1758"/>
                  </a:lnTo>
                  <a:lnTo>
                    <a:pt x="11960" y="1730"/>
                  </a:lnTo>
                  <a:lnTo>
                    <a:pt x="11917" y="1703"/>
                  </a:lnTo>
                  <a:lnTo>
                    <a:pt x="11830" y="1650"/>
                  </a:lnTo>
                  <a:lnTo>
                    <a:pt x="11787" y="1622"/>
                  </a:lnTo>
                  <a:lnTo>
                    <a:pt x="11744" y="1592"/>
                  </a:lnTo>
                  <a:lnTo>
                    <a:pt x="11703" y="1561"/>
                  </a:lnTo>
                  <a:lnTo>
                    <a:pt x="11662" y="1526"/>
                  </a:lnTo>
                  <a:lnTo>
                    <a:pt x="11628" y="1498"/>
                  </a:lnTo>
                  <a:lnTo>
                    <a:pt x="11594" y="1470"/>
                  </a:lnTo>
                  <a:lnTo>
                    <a:pt x="11577" y="1454"/>
                  </a:lnTo>
                  <a:lnTo>
                    <a:pt x="11562" y="1438"/>
                  </a:lnTo>
                  <a:lnTo>
                    <a:pt x="11548" y="1421"/>
                  </a:lnTo>
                  <a:lnTo>
                    <a:pt x="11537" y="1402"/>
                  </a:lnTo>
                  <a:lnTo>
                    <a:pt x="11510" y="1365"/>
                  </a:lnTo>
                  <a:lnTo>
                    <a:pt x="11479" y="1325"/>
                  </a:lnTo>
                  <a:lnTo>
                    <a:pt x="11447" y="1282"/>
                  </a:lnTo>
                  <a:lnTo>
                    <a:pt x="11412" y="1237"/>
                  </a:lnTo>
                  <a:lnTo>
                    <a:pt x="11374" y="1189"/>
                  </a:lnTo>
                  <a:lnTo>
                    <a:pt x="11334" y="1139"/>
                  </a:lnTo>
                  <a:lnTo>
                    <a:pt x="11290" y="1087"/>
                  </a:lnTo>
                  <a:lnTo>
                    <a:pt x="11245" y="1034"/>
                  </a:lnTo>
                  <a:lnTo>
                    <a:pt x="11196" y="979"/>
                  </a:lnTo>
                  <a:lnTo>
                    <a:pt x="11146" y="924"/>
                  </a:lnTo>
                  <a:lnTo>
                    <a:pt x="11092" y="867"/>
                  </a:lnTo>
                  <a:lnTo>
                    <a:pt x="11036" y="810"/>
                  </a:lnTo>
                  <a:lnTo>
                    <a:pt x="10977" y="754"/>
                  </a:lnTo>
                  <a:lnTo>
                    <a:pt x="10916" y="696"/>
                  </a:lnTo>
                  <a:lnTo>
                    <a:pt x="10852" y="639"/>
                  </a:lnTo>
                  <a:lnTo>
                    <a:pt x="10785" y="584"/>
                  </a:lnTo>
                  <a:lnTo>
                    <a:pt x="10716" y="529"/>
                  </a:lnTo>
                  <a:lnTo>
                    <a:pt x="10644" y="474"/>
                  </a:lnTo>
                  <a:lnTo>
                    <a:pt x="10570" y="423"/>
                  </a:lnTo>
                  <a:lnTo>
                    <a:pt x="10492" y="371"/>
                  </a:lnTo>
                  <a:lnTo>
                    <a:pt x="10413" y="323"/>
                  </a:lnTo>
                  <a:lnTo>
                    <a:pt x="10330" y="277"/>
                  </a:lnTo>
                  <a:lnTo>
                    <a:pt x="10244" y="233"/>
                  </a:lnTo>
                  <a:lnTo>
                    <a:pt x="10157" y="192"/>
                  </a:lnTo>
                  <a:lnTo>
                    <a:pt x="10066" y="154"/>
                  </a:lnTo>
                  <a:lnTo>
                    <a:pt x="9973" y="120"/>
                  </a:lnTo>
                  <a:lnTo>
                    <a:pt x="9877" y="89"/>
                  </a:lnTo>
                  <a:lnTo>
                    <a:pt x="9827" y="75"/>
                  </a:lnTo>
                  <a:lnTo>
                    <a:pt x="9778" y="62"/>
                  </a:lnTo>
                  <a:lnTo>
                    <a:pt x="9727" y="50"/>
                  </a:lnTo>
                  <a:lnTo>
                    <a:pt x="9677" y="40"/>
                  </a:lnTo>
                  <a:lnTo>
                    <a:pt x="9625" y="30"/>
                  </a:lnTo>
                  <a:lnTo>
                    <a:pt x="9572" y="21"/>
                  </a:lnTo>
                  <a:lnTo>
                    <a:pt x="9520" y="14"/>
                  </a:lnTo>
                  <a:lnTo>
                    <a:pt x="9465" y="8"/>
                  </a:lnTo>
                  <a:lnTo>
                    <a:pt x="9411" y="3"/>
                  </a:lnTo>
                  <a:lnTo>
                    <a:pt x="9356" y="0"/>
                  </a:lnTo>
                  <a:lnTo>
                    <a:pt x="9231" y="0"/>
                  </a:lnTo>
                  <a:lnTo>
                    <a:pt x="9231" y="0"/>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ctr"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chemeClr val="tx2"/>
                </a:solidFill>
                <a:effectLst/>
                <a:uLnTx/>
                <a:uFillTx/>
              </a:endParaRPr>
            </a:p>
          </p:txBody>
        </p:sp>
        <p:sp>
          <p:nvSpPr>
            <p:cNvPr id="126" name="Freeform 45"/>
            <p:cNvSpPr>
              <a:spLocks/>
            </p:cNvSpPr>
            <p:nvPr/>
          </p:nvSpPr>
          <p:spPr bwMode="auto">
            <a:xfrm>
              <a:off x="1971676" y="4108452"/>
              <a:ext cx="220661" cy="225424"/>
            </a:xfrm>
            <a:custGeom>
              <a:avLst/>
              <a:gdLst>
                <a:gd name="T0" fmla="*/ 2086 w 2090"/>
                <a:gd name="T1" fmla="*/ 1 h 2119"/>
                <a:gd name="T2" fmla="*/ 2063 w 2090"/>
                <a:gd name="T3" fmla="*/ 8 h 2119"/>
                <a:gd name="T4" fmla="*/ 2023 w 2090"/>
                <a:gd name="T5" fmla="*/ 20 h 2119"/>
                <a:gd name="T6" fmla="*/ 1964 w 2090"/>
                <a:gd name="T7" fmla="*/ 35 h 2119"/>
                <a:gd name="T8" fmla="*/ 1887 w 2090"/>
                <a:gd name="T9" fmla="*/ 53 h 2119"/>
                <a:gd name="T10" fmla="*/ 1790 w 2090"/>
                <a:gd name="T11" fmla="*/ 73 h 2119"/>
                <a:gd name="T12" fmla="*/ 1673 w 2090"/>
                <a:gd name="T13" fmla="*/ 96 h 2119"/>
                <a:gd name="T14" fmla="*/ 1536 w 2090"/>
                <a:gd name="T15" fmla="*/ 119 h 2119"/>
                <a:gd name="T16" fmla="*/ 1298 w 2090"/>
                <a:gd name="T17" fmla="*/ 152 h 2119"/>
                <a:gd name="T18" fmla="*/ 1061 w 2090"/>
                <a:gd name="T19" fmla="*/ 171 h 2119"/>
                <a:gd name="T20" fmla="*/ 859 w 2090"/>
                <a:gd name="T21" fmla="*/ 192 h 2119"/>
                <a:gd name="T22" fmla="*/ 693 w 2090"/>
                <a:gd name="T23" fmla="*/ 233 h 2119"/>
                <a:gd name="T24" fmla="*/ 515 w 2090"/>
                <a:gd name="T25" fmla="*/ 347 h 2119"/>
                <a:gd name="T26" fmla="*/ 365 w 2090"/>
                <a:gd name="T27" fmla="*/ 513 h 2119"/>
                <a:gd name="T28" fmla="*/ 248 w 2090"/>
                <a:gd name="T29" fmla="*/ 723 h 2119"/>
                <a:gd name="T30" fmla="*/ 150 w 2090"/>
                <a:gd name="T31" fmla="*/ 986 h 2119"/>
                <a:gd name="T32" fmla="*/ 77 w 2090"/>
                <a:gd name="T33" fmla="*/ 1239 h 2119"/>
                <a:gd name="T34" fmla="*/ 19 w 2090"/>
                <a:gd name="T35" fmla="*/ 1600 h 2119"/>
                <a:gd name="T36" fmla="*/ 7 w 2090"/>
                <a:gd name="T37" fmla="*/ 1765 h 2119"/>
                <a:gd name="T38" fmla="*/ 1 w 2090"/>
                <a:gd name="T39" fmla="*/ 1907 h 2119"/>
                <a:gd name="T40" fmla="*/ 1 w 2090"/>
                <a:gd name="T41" fmla="*/ 2019 h 2119"/>
                <a:gd name="T42" fmla="*/ 2 w 2090"/>
                <a:gd name="T43" fmla="*/ 2093 h 2119"/>
                <a:gd name="T44" fmla="*/ 3 w 2090"/>
                <a:gd name="T45" fmla="*/ 2119 h 2119"/>
                <a:gd name="T46" fmla="*/ 5 w 2090"/>
                <a:gd name="T47" fmla="*/ 2110 h 2119"/>
                <a:gd name="T48" fmla="*/ 12 w 2090"/>
                <a:gd name="T49" fmla="*/ 2082 h 2119"/>
                <a:gd name="T50" fmla="*/ 40 w 2090"/>
                <a:gd name="T51" fmla="*/ 1983 h 2119"/>
                <a:gd name="T52" fmla="*/ 83 w 2090"/>
                <a:gd name="T53" fmla="*/ 1837 h 2119"/>
                <a:gd name="T54" fmla="*/ 139 w 2090"/>
                <a:gd name="T55" fmla="*/ 1659 h 2119"/>
                <a:gd name="T56" fmla="*/ 260 w 2090"/>
                <a:gd name="T57" fmla="*/ 1325 h 2119"/>
                <a:gd name="T58" fmla="*/ 337 w 2090"/>
                <a:gd name="T59" fmla="*/ 1145 h 2119"/>
                <a:gd name="T60" fmla="*/ 419 w 2090"/>
                <a:gd name="T61" fmla="*/ 997 h 2119"/>
                <a:gd name="T62" fmla="*/ 481 w 2090"/>
                <a:gd name="T63" fmla="*/ 901 h 2119"/>
                <a:gd name="T64" fmla="*/ 565 w 2090"/>
                <a:gd name="T65" fmla="*/ 784 h 2119"/>
                <a:gd name="T66" fmla="*/ 636 w 2090"/>
                <a:gd name="T67" fmla="*/ 701 h 2119"/>
                <a:gd name="T68" fmla="*/ 679 w 2090"/>
                <a:gd name="T69" fmla="*/ 662 h 2119"/>
                <a:gd name="T70" fmla="*/ 687 w 2090"/>
                <a:gd name="T71" fmla="*/ 656 h 2119"/>
                <a:gd name="T72" fmla="*/ 675 w 2090"/>
                <a:gd name="T73" fmla="*/ 694 h 2119"/>
                <a:gd name="T74" fmla="*/ 657 w 2090"/>
                <a:gd name="T75" fmla="*/ 770 h 2119"/>
                <a:gd name="T76" fmla="*/ 648 w 2090"/>
                <a:gd name="T77" fmla="*/ 863 h 2119"/>
                <a:gd name="T78" fmla="*/ 663 w 2090"/>
                <a:gd name="T79" fmla="*/ 987 h 2119"/>
                <a:gd name="T80" fmla="*/ 699 w 2090"/>
                <a:gd name="T81" fmla="*/ 1175 h 2119"/>
                <a:gd name="T82" fmla="*/ 741 w 2090"/>
                <a:gd name="T83" fmla="*/ 1322 h 2119"/>
                <a:gd name="T84" fmla="*/ 767 w 2090"/>
                <a:gd name="T85" fmla="*/ 1395 h 2119"/>
                <a:gd name="T86" fmla="*/ 778 w 2090"/>
                <a:gd name="T87" fmla="*/ 1424 h 2119"/>
                <a:gd name="T88" fmla="*/ 782 w 2090"/>
                <a:gd name="T89" fmla="*/ 1434 h 2119"/>
                <a:gd name="T90" fmla="*/ 783 w 2090"/>
                <a:gd name="T91" fmla="*/ 1407 h 2119"/>
                <a:gd name="T92" fmla="*/ 790 w 2090"/>
                <a:gd name="T93" fmla="*/ 1337 h 2119"/>
                <a:gd name="T94" fmla="*/ 803 w 2090"/>
                <a:gd name="T95" fmla="*/ 1231 h 2119"/>
                <a:gd name="T96" fmla="*/ 824 w 2090"/>
                <a:gd name="T97" fmla="*/ 1102 h 2119"/>
                <a:gd name="T98" fmla="*/ 900 w 2090"/>
                <a:gd name="T99" fmla="*/ 816 h 2119"/>
                <a:gd name="T100" fmla="*/ 974 w 2090"/>
                <a:gd name="T101" fmla="*/ 647 h 2119"/>
                <a:gd name="T102" fmla="*/ 1055 w 2090"/>
                <a:gd name="T103" fmla="*/ 533 h 2119"/>
                <a:gd name="T104" fmla="*/ 1165 w 2090"/>
                <a:gd name="T105" fmla="*/ 433 h 2119"/>
                <a:gd name="T106" fmla="*/ 1295 w 2090"/>
                <a:gd name="T107" fmla="*/ 351 h 2119"/>
                <a:gd name="T108" fmla="*/ 1560 w 2090"/>
                <a:gd name="T109" fmla="*/ 249 h 2119"/>
                <a:gd name="T110" fmla="*/ 1736 w 2090"/>
                <a:gd name="T111" fmla="*/ 184 h 2119"/>
                <a:gd name="T112" fmla="*/ 1907 w 2090"/>
                <a:gd name="T113" fmla="*/ 101 h 2119"/>
                <a:gd name="T114" fmla="*/ 2012 w 2090"/>
                <a:gd name="T115" fmla="*/ 45 h 2119"/>
                <a:gd name="T116" fmla="*/ 2060 w 2090"/>
                <a:gd name="T117" fmla="*/ 18 h 2119"/>
                <a:gd name="T118" fmla="*/ 2087 w 2090"/>
                <a:gd name="T119" fmla="*/ 2 h 2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090" h="2119">
                  <a:moveTo>
                    <a:pt x="2090" y="0"/>
                  </a:moveTo>
                  <a:lnTo>
                    <a:pt x="2090" y="0"/>
                  </a:lnTo>
                  <a:lnTo>
                    <a:pt x="2088" y="1"/>
                  </a:lnTo>
                  <a:lnTo>
                    <a:pt x="2086" y="1"/>
                  </a:lnTo>
                  <a:lnTo>
                    <a:pt x="2082" y="3"/>
                  </a:lnTo>
                  <a:lnTo>
                    <a:pt x="2077" y="4"/>
                  </a:lnTo>
                  <a:lnTo>
                    <a:pt x="2070" y="6"/>
                  </a:lnTo>
                  <a:lnTo>
                    <a:pt x="2063" y="8"/>
                  </a:lnTo>
                  <a:lnTo>
                    <a:pt x="2055" y="10"/>
                  </a:lnTo>
                  <a:lnTo>
                    <a:pt x="2046" y="13"/>
                  </a:lnTo>
                  <a:lnTo>
                    <a:pt x="2034" y="17"/>
                  </a:lnTo>
                  <a:lnTo>
                    <a:pt x="2023" y="20"/>
                  </a:lnTo>
                  <a:lnTo>
                    <a:pt x="2009" y="23"/>
                  </a:lnTo>
                  <a:lnTo>
                    <a:pt x="1996" y="27"/>
                  </a:lnTo>
                  <a:lnTo>
                    <a:pt x="1981" y="31"/>
                  </a:lnTo>
                  <a:lnTo>
                    <a:pt x="1964" y="35"/>
                  </a:lnTo>
                  <a:lnTo>
                    <a:pt x="1946" y="39"/>
                  </a:lnTo>
                  <a:lnTo>
                    <a:pt x="1928" y="43"/>
                  </a:lnTo>
                  <a:lnTo>
                    <a:pt x="1907" y="48"/>
                  </a:lnTo>
                  <a:lnTo>
                    <a:pt x="1887" y="53"/>
                  </a:lnTo>
                  <a:lnTo>
                    <a:pt x="1864" y="58"/>
                  </a:lnTo>
                  <a:lnTo>
                    <a:pt x="1840" y="63"/>
                  </a:lnTo>
                  <a:lnTo>
                    <a:pt x="1815" y="68"/>
                  </a:lnTo>
                  <a:lnTo>
                    <a:pt x="1790" y="73"/>
                  </a:lnTo>
                  <a:lnTo>
                    <a:pt x="1762" y="79"/>
                  </a:lnTo>
                  <a:lnTo>
                    <a:pt x="1733" y="85"/>
                  </a:lnTo>
                  <a:lnTo>
                    <a:pt x="1704" y="90"/>
                  </a:lnTo>
                  <a:lnTo>
                    <a:pt x="1673" y="96"/>
                  </a:lnTo>
                  <a:lnTo>
                    <a:pt x="1640" y="102"/>
                  </a:lnTo>
                  <a:lnTo>
                    <a:pt x="1607" y="107"/>
                  </a:lnTo>
                  <a:lnTo>
                    <a:pt x="1572" y="113"/>
                  </a:lnTo>
                  <a:lnTo>
                    <a:pt x="1536" y="119"/>
                  </a:lnTo>
                  <a:lnTo>
                    <a:pt x="1498" y="125"/>
                  </a:lnTo>
                  <a:lnTo>
                    <a:pt x="1429" y="135"/>
                  </a:lnTo>
                  <a:lnTo>
                    <a:pt x="1362" y="144"/>
                  </a:lnTo>
                  <a:lnTo>
                    <a:pt x="1298" y="152"/>
                  </a:lnTo>
                  <a:lnTo>
                    <a:pt x="1235" y="158"/>
                  </a:lnTo>
                  <a:lnTo>
                    <a:pt x="1175" y="163"/>
                  </a:lnTo>
                  <a:lnTo>
                    <a:pt x="1118" y="167"/>
                  </a:lnTo>
                  <a:lnTo>
                    <a:pt x="1061" y="171"/>
                  </a:lnTo>
                  <a:lnTo>
                    <a:pt x="1007" y="175"/>
                  </a:lnTo>
                  <a:lnTo>
                    <a:pt x="957" y="180"/>
                  </a:lnTo>
                  <a:lnTo>
                    <a:pt x="907" y="185"/>
                  </a:lnTo>
                  <a:lnTo>
                    <a:pt x="859" y="192"/>
                  </a:lnTo>
                  <a:lnTo>
                    <a:pt x="815" y="199"/>
                  </a:lnTo>
                  <a:lnTo>
                    <a:pt x="772" y="208"/>
                  </a:lnTo>
                  <a:lnTo>
                    <a:pt x="731" y="219"/>
                  </a:lnTo>
                  <a:lnTo>
                    <a:pt x="693" y="233"/>
                  </a:lnTo>
                  <a:lnTo>
                    <a:pt x="657" y="249"/>
                  </a:lnTo>
                  <a:lnTo>
                    <a:pt x="606" y="279"/>
                  </a:lnTo>
                  <a:lnTo>
                    <a:pt x="559" y="312"/>
                  </a:lnTo>
                  <a:lnTo>
                    <a:pt x="515" y="347"/>
                  </a:lnTo>
                  <a:lnTo>
                    <a:pt x="473" y="384"/>
                  </a:lnTo>
                  <a:lnTo>
                    <a:pt x="435" y="424"/>
                  </a:lnTo>
                  <a:lnTo>
                    <a:pt x="399" y="468"/>
                  </a:lnTo>
                  <a:lnTo>
                    <a:pt x="365" y="513"/>
                  </a:lnTo>
                  <a:lnTo>
                    <a:pt x="334" y="561"/>
                  </a:lnTo>
                  <a:lnTo>
                    <a:pt x="304" y="612"/>
                  </a:lnTo>
                  <a:lnTo>
                    <a:pt x="275" y="667"/>
                  </a:lnTo>
                  <a:lnTo>
                    <a:pt x="248" y="723"/>
                  </a:lnTo>
                  <a:lnTo>
                    <a:pt x="224" y="784"/>
                  </a:lnTo>
                  <a:lnTo>
                    <a:pt x="199" y="848"/>
                  </a:lnTo>
                  <a:lnTo>
                    <a:pt x="174" y="915"/>
                  </a:lnTo>
                  <a:lnTo>
                    <a:pt x="150" y="986"/>
                  </a:lnTo>
                  <a:lnTo>
                    <a:pt x="128" y="1060"/>
                  </a:lnTo>
                  <a:lnTo>
                    <a:pt x="113" y="1104"/>
                  </a:lnTo>
                  <a:lnTo>
                    <a:pt x="100" y="1149"/>
                  </a:lnTo>
                  <a:lnTo>
                    <a:pt x="77" y="1239"/>
                  </a:lnTo>
                  <a:lnTo>
                    <a:pt x="57" y="1331"/>
                  </a:lnTo>
                  <a:lnTo>
                    <a:pt x="42" y="1423"/>
                  </a:lnTo>
                  <a:lnTo>
                    <a:pt x="29" y="1512"/>
                  </a:lnTo>
                  <a:lnTo>
                    <a:pt x="19" y="1600"/>
                  </a:lnTo>
                  <a:lnTo>
                    <a:pt x="15" y="1643"/>
                  </a:lnTo>
                  <a:lnTo>
                    <a:pt x="12" y="1684"/>
                  </a:lnTo>
                  <a:lnTo>
                    <a:pt x="9" y="1725"/>
                  </a:lnTo>
                  <a:lnTo>
                    <a:pt x="7" y="1765"/>
                  </a:lnTo>
                  <a:lnTo>
                    <a:pt x="5" y="1803"/>
                  </a:lnTo>
                  <a:lnTo>
                    <a:pt x="3" y="1839"/>
                  </a:lnTo>
                  <a:lnTo>
                    <a:pt x="2" y="1874"/>
                  </a:lnTo>
                  <a:lnTo>
                    <a:pt x="1" y="1907"/>
                  </a:lnTo>
                  <a:lnTo>
                    <a:pt x="1" y="1939"/>
                  </a:lnTo>
                  <a:lnTo>
                    <a:pt x="0" y="1967"/>
                  </a:lnTo>
                  <a:lnTo>
                    <a:pt x="0" y="1994"/>
                  </a:lnTo>
                  <a:lnTo>
                    <a:pt x="1" y="2019"/>
                  </a:lnTo>
                  <a:lnTo>
                    <a:pt x="1" y="2042"/>
                  </a:lnTo>
                  <a:lnTo>
                    <a:pt x="1" y="2061"/>
                  </a:lnTo>
                  <a:lnTo>
                    <a:pt x="1" y="2079"/>
                  </a:lnTo>
                  <a:lnTo>
                    <a:pt x="2" y="2093"/>
                  </a:lnTo>
                  <a:lnTo>
                    <a:pt x="2" y="2104"/>
                  </a:lnTo>
                  <a:lnTo>
                    <a:pt x="3" y="2113"/>
                  </a:lnTo>
                  <a:lnTo>
                    <a:pt x="3" y="2117"/>
                  </a:lnTo>
                  <a:lnTo>
                    <a:pt x="3" y="2119"/>
                  </a:lnTo>
                  <a:lnTo>
                    <a:pt x="3" y="2119"/>
                  </a:lnTo>
                  <a:lnTo>
                    <a:pt x="4" y="2117"/>
                  </a:lnTo>
                  <a:lnTo>
                    <a:pt x="4" y="2114"/>
                  </a:lnTo>
                  <a:lnTo>
                    <a:pt x="5" y="2110"/>
                  </a:lnTo>
                  <a:lnTo>
                    <a:pt x="7" y="2104"/>
                  </a:lnTo>
                  <a:lnTo>
                    <a:pt x="8" y="2098"/>
                  </a:lnTo>
                  <a:lnTo>
                    <a:pt x="10" y="2091"/>
                  </a:lnTo>
                  <a:lnTo>
                    <a:pt x="12" y="2082"/>
                  </a:lnTo>
                  <a:lnTo>
                    <a:pt x="18" y="2062"/>
                  </a:lnTo>
                  <a:lnTo>
                    <a:pt x="24" y="2040"/>
                  </a:lnTo>
                  <a:lnTo>
                    <a:pt x="32" y="2013"/>
                  </a:lnTo>
                  <a:lnTo>
                    <a:pt x="40" y="1983"/>
                  </a:lnTo>
                  <a:lnTo>
                    <a:pt x="49" y="1950"/>
                  </a:lnTo>
                  <a:lnTo>
                    <a:pt x="59" y="1914"/>
                  </a:lnTo>
                  <a:lnTo>
                    <a:pt x="71" y="1877"/>
                  </a:lnTo>
                  <a:lnTo>
                    <a:pt x="83" y="1837"/>
                  </a:lnTo>
                  <a:lnTo>
                    <a:pt x="96" y="1794"/>
                  </a:lnTo>
                  <a:lnTo>
                    <a:pt x="110" y="1751"/>
                  </a:lnTo>
                  <a:lnTo>
                    <a:pt x="123" y="1706"/>
                  </a:lnTo>
                  <a:lnTo>
                    <a:pt x="139" y="1659"/>
                  </a:lnTo>
                  <a:lnTo>
                    <a:pt x="171" y="1565"/>
                  </a:lnTo>
                  <a:lnTo>
                    <a:pt x="205" y="1468"/>
                  </a:lnTo>
                  <a:lnTo>
                    <a:pt x="241" y="1372"/>
                  </a:lnTo>
                  <a:lnTo>
                    <a:pt x="260" y="1325"/>
                  </a:lnTo>
                  <a:lnTo>
                    <a:pt x="278" y="1277"/>
                  </a:lnTo>
                  <a:lnTo>
                    <a:pt x="298" y="1232"/>
                  </a:lnTo>
                  <a:lnTo>
                    <a:pt x="317" y="1189"/>
                  </a:lnTo>
                  <a:lnTo>
                    <a:pt x="337" y="1145"/>
                  </a:lnTo>
                  <a:lnTo>
                    <a:pt x="358" y="1105"/>
                  </a:lnTo>
                  <a:lnTo>
                    <a:pt x="377" y="1066"/>
                  </a:lnTo>
                  <a:lnTo>
                    <a:pt x="398" y="1030"/>
                  </a:lnTo>
                  <a:lnTo>
                    <a:pt x="419" y="997"/>
                  </a:lnTo>
                  <a:lnTo>
                    <a:pt x="438" y="966"/>
                  </a:lnTo>
                  <a:lnTo>
                    <a:pt x="453" y="944"/>
                  </a:lnTo>
                  <a:lnTo>
                    <a:pt x="467" y="922"/>
                  </a:lnTo>
                  <a:lnTo>
                    <a:pt x="481" y="901"/>
                  </a:lnTo>
                  <a:lnTo>
                    <a:pt x="494" y="881"/>
                  </a:lnTo>
                  <a:lnTo>
                    <a:pt x="520" y="845"/>
                  </a:lnTo>
                  <a:lnTo>
                    <a:pt x="544" y="813"/>
                  </a:lnTo>
                  <a:lnTo>
                    <a:pt x="565" y="784"/>
                  </a:lnTo>
                  <a:lnTo>
                    <a:pt x="586" y="758"/>
                  </a:lnTo>
                  <a:lnTo>
                    <a:pt x="604" y="736"/>
                  </a:lnTo>
                  <a:lnTo>
                    <a:pt x="622" y="717"/>
                  </a:lnTo>
                  <a:lnTo>
                    <a:pt x="636" y="701"/>
                  </a:lnTo>
                  <a:lnTo>
                    <a:pt x="650" y="687"/>
                  </a:lnTo>
                  <a:lnTo>
                    <a:pt x="661" y="677"/>
                  </a:lnTo>
                  <a:lnTo>
                    <a:pt x="671" y="669"/>
                  </a:lnTo>
                  <a:lnTo>
                    <a:pt x="679" y="662"/>
                  </a:lnTo>
                  <a:lnTo>
                    <a:pt x="684" y="657"/>
                  </a:lnTo>
                  <a:lnTo>
                    <a:pt x="687" y="655"/>
                  </a:lnTo>
                  <a:lnTo>
                    <a:pt x="688" y="654"/>
                  </a:lnTo>
                  <a:lnTo>
                    <a:pt x="687" y="656"/>
                  </a:lnTo>
                  <a:lnTo>
                    <a:pt x="685" y="661"/>
                  </a:lnTo>
                  <a:lnTo>
                    <a:pt x="683" y="670"/>
                  </a:lnTo>
                  <a:lnTo>
                    <a:pt x="679" y="681"/>
                  </a:lnTo>
                  <a:lnTo>
                    <a:pt x="675" y="694"/>
                  </a:lnTo>
                  <a:lnTo>
                    <a:pt x="670" y="711"/>
                  </a:lnTo>
                  <a:lnTo>
                    <a:pt x="665" y="728"/>
                  </a:lnTo>
                  <a:lnTo>
                    <a:pt x="661" y="748"/>
                  </a:lnTo>
                  <a:lnTo>
                    <a:pt x="657" y="770"/>
                  </a:lnTo>
                  <a:lnTo>
                    <a:pt x="653" y="791"/>
                  </a:lnTo>
                  <a:lnTo>
                    <a:pt x="650" y="815"/>
                  </a:lnTo>
                  <a:lnTo>
                    <a:pt x="649" y="839"/>
                  </a:lnTo>
                  <a:lnTo>
                    <a:pt x="648" y="863"/>
                  </a:lnTo>
                  <a:lnTo>
                    <a:pt x="649" y="887"/>
                  </a:lnTo>
                  <a:lnTo>
                    <a:pt x="652" y="912"/>
                  </a:lnTo>
                  <a:lnTo>
                    <a:pt x="657" y="935"/>
                  </a:lnTo>
                  <a:lnTo>
                    <a:pt x="663" y="987"/>
                  </a:lnTo>
                  <a:lnTo>
                    <a:pt x="672" y="1037"/>
                  </a:lnTo>
                  <a:lnTo>
                    <a:pt x="680" y="1085"/>
                  </a:lnTo>
                  <a:lnTo>
                    <a:pt x="689" y="1131"/>
                  </a:lnTo>
                  <a:lnTo>
                    <a:pt x="699" y="1175"/>
                  </a:lnTo>
                  <a:lnTo>
                    <a:pt x="710" y="1216"/>
                  </a:lnTo>
                  <a:lnTo>
                    <a:pt x="720" y="1255"/>
                  </a:lnTo>
                  <a:lnTo>
                    <a:pt x="731" y="1290"/>
                  </a:lnTo>
                  <a:lnTo>
                    <a:pt x="741" y="1322"/>
                  </a:lnTo>
                  <a:lnTo>
                    <a:pt x="750" y="1349"/>
                  </a:lnTo>
                  <a:lnTo>
                    <a:pt x="759" y="1374"/>
                  </a:lnTo>
                  <a:lnTo>
                    <a:pt x="762" y="1385"/>
                  </a:lnTo>
                  <a:lnTo>
                    <a:pt x="767" y="1395"/>
                  </a:lnTo>
                  <a:lnTo>
                    <a:pt x="770" y="1404"/>
                  </a:lnTo>
                  <a:lnTo>
                    <a:pt x="773" y="1411"/>
                  </a:lnTo>
                  <a:lnTo>
                    <a:pt x="776" y="1418"/>
                  </a:lnTo>
                  <a:lnTo>
                    <a:pt x="778" y="1424"/>
                  </a:lnTo>
                  <a:lnTo>
                    <a:pt x="779" y="1428"/>
                  </a:lnTo>
                  <a:lnTo>
                    <a:pt x="781" y="1431"/>
                  </a:lnTo>
                  <a:lnTo>
                    <a:pt x="781" y="1433"/>
                  </a:lnTo>
                  <a:lnTo>
                    <a:pt x="782" y="1434"/>
                  </a:lnTo>
                  <a:lnTo>
                    <a:pt x="782" y="1432"/>
                  </a:lnTo>
                  <a:lnTo>
                    <a:pt x="782" y="1427"/>
                  </a:lnTo>
                  <a:lnTo>
                    <a:pt x="783" y="1418"/>
                  </a:lnTo>
                  <a:lnTo>
                    <a:pt x="783" y="1407"/>
                  </a:lnTo>
                  <a:lnTo>
                    <a:pt x="784" y="1394"/>
                  </a:lnTo>
                  <a:lnTo>
                    <a:pt x="786" y="1377"/>
                  </a:lnTo>
                  <a:lnTo>
                    <a:pt x="788" y="1358"/>
                  </a:lnTo>
                  <a:lnTo>
                    <a:pt x="790" y="1337"/>
                  </a:lnTo>
                  <a:lnTo>
                    <a:pt x="792" y="1313"/>
                  </a:lnTo>
                  <a:lnTo>
                    <a:pt x="795" y="1288"/>
                  </a:lnTo>
                  <a:lnTo>
                    <a:pt x="799" y="1261"/>
                  </a:lnTo>
                  <a:lnTo>
                    <a:pt x="803" y="1231"/>
                  </a:lnTo>
                  <a:lnTo>
                    <a:pt x="808" y="1201"/>
                  </a:lnTo>
                  <a:lnTo>
                    <a:pt x="813" y="1169"/>
                  </a:lnTo>
                  <a:lnTo>
                    <a:pt x="818" y="1136"/>
                  </a:lnTo>
                  <a:lnTo>
                    <a:pt x="824" y="1102"/>
                  </a:lnTo>
                  <a:lnTo>
                    <a:pt x="839" y="1032"/>
                  </a:lnTo>
                  <a:lnTo>
                    <a:pt x="856" y="960"/>
                  </a:lnTo>
                  <a:lnTo>
                    <a:pt x="876" y="888"/>
                  </a:lnTo>
                  <a:lnTo>
                    <a:pt x="900" y="816"/>
                  </a:lnTo>
                  <a:lnTo>
                    <a:pt x="927" y="746"/>
                  </a:lnTo>
                  <a:lnTo>
                    <a:pt x="942" y="712"/>
                  </a:lnTo>
                  <a:lnTo>
                    <a:pt x="958" y="679"/>
                  </a:lnTo>
                  <a:lnTo>
                    <a:pt x="974" y="647"/>
                  </a:lnTo>
                  <a:lnTo>
                    <a:pt x="993" y="617"/>
                  </a:lnTo>
                  <a:lnTo>
                    <a:pt x="1011" y="588"/>
                  </a:lnTo>
                  <a:lnTo>
                    <a:pt x="1031" y="561"/>
                  </a:lnTo>
                  <a:lnTo>
                    <a:pt x="1055" y="533"/>
                  </a:lnTo>
                  <a:lnTo>
                    <a:pt x="1080" y="506"/>
                  </a:lnTo>
                  <a:lnTo>
                    <a:pt x="1107" y="480"/>
                  </a:lnTo>
                  <a:lnTo>
                    <a:pt x="1136" y="455"/>
                  </a:lnTo>
                  <a:lnTo>
                    <a:pt x="1165" y="433"/>
                  </a:lnTo>
                  <a:lnTo>
                    <a:pt x="1196" y="410"/>
                  </a:lnTo>
                  <a:lnTo>
                    <a:pt x="1228" y="389"/>
                  </a:lnTo>
                  <a:lnTo>
                    <a:pt x="1261" y="370"/>
                  </a:lnTo>
                  <a:lnTo>
                    <a:pt x="1295" y="351"/>
                  </a:lnTo>
                  <a:lnTo>
                    <a:pt x="1330" y="334"/>
                  </a:lnTo>
                  <a:lnTo>
                    <a:pt x="1403" y="302"/>
                  </a:lnTo>
                  <a:lnTo>
                    <a:pt x="1481" y="274"/>
                  </a:lnTo>
                  <a:lnTo>
                    <a:pt x="1560" y="249"/>
                  </a:lnTo>
                  <a:lnTo>
                    <a:pt x="1603" y="236"/>
                  </a:lnTo>
                  <a:lnTo>
                    <a:pt x="1646" y="221"/>
                  </a:lnTo>
                  <a:lnTo>
                    <a:pt x="1690" y="203"/>
                  </a:lnTo>
                  <a:lnTo>
                    <a:pt x="1736" y="184"/>
                  </a:lnTo>
                  <a:lnTo>
                    <a:pt x="1780" y="164"/>
                  </a:lnTo>
                  <a:lnTo>
                    <a:pt x="1825" y="143"/>
                  </a:lnTo>
                  <a:lnTo>
                    <a:pt x="1867" y="122"/>
                  </a:lnTo>
                  <a:lnTo>
                    <a:pt x="1907" y="101"/>
                  </a:lnTo>
                  <a:lnTo>
                    <a:pt x="1945" y="81"/>
                  </a:lnTo>
                  <a:lnTo>
                    <a:pt x="1981" y="63"/>
                  </a:lnTo>
                  <a:lnTo>
                    <a:pt x="1996" y="54"/>
                  </a:lnTo>
                  <a:lnTo>
                    <a:pt x="2012" y="45"/>
                  </a:lnTo>
                  <a:lnTo>
                    <a:pt x="2026" y="37"/>
                  </a:lnTo>
                  <a:lnTo>
                    <a:pt x="2038" y="30"/>
                  </a:lnTo>
                  <a:lnTo>
                    <a:pt x="2050" y="24"/>
                  </a:lnTo>
                  <a:lnTo>
                    <a:pt x="2060" y="18"/>
                  </a:lnTo>
                  <a:lnTo>
                    <a:pt x="2069" y="12"/>
                  </a:lnTo>
                  <a:lnTo>
                    <a:pt x="2077" y="8"/>
                  </a:lnTo>
                  <a:lnTo>
                    <a:pt x="2083" y="4"/>
                  </a:lnTo>
                  <a:lnTo>
                    <a:pt x="2087" y="2"/>
                  </a:lnTo>
                  <a:lnTo>
                    <a:pt x="2090" y="0"/>
                  </a:lnTo>
                  <a:lnTo>
                    <a:pt x="2090" y="0"/>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ctr"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chemeClr val="tx2"/>
                </a:solidFill>
                <a:effectLst/>
                <a:uLnTx/>
                <a:uFillTx/>
              </a:endParaRPr>
            </a:p>
          </p:txBody>
        </p:sp>
      </p:grpSp>
      <p:cxnSp>
        <p:nvCxnSpPr>
          <p:cNvPr id="16" name="Straight Connector 15"/>
          <p:cNvCxnSpPr/>
          <p:nvPr/>
        </p:nvCxnSpPr>
        <p:spPr>
          <a:xfrm>
            <a:off x="330670" y="4374405"/>
            <a:ext cx="1372693" cy="0"/>
          </a:xfrm>
          <a:prstGeom prst="line">
            <a:avLst/>
          </a:prstGeom>
          <a:ln w="1905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27" name="Freeform 220"/>
          <p:cNvSpPr/>
          <p:nvPr/>
        </p:nvSpPr>
        <p:spPr bwMode="auto">
          <a:xfrm>
            <a:off x="10858048" y="4643506"/>
            <a:ext cx="634010" cy="634010"/>
          </a:xfrm>
          <a:custGeom>
            <a:avLst/>
            <a:gdLst>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3414840 w 6689158"/>
              <a:gd name="connsiteY20" fmla="*/ 2285703 h 6689159"/>
              <a:gd name="connsiteX21" fmla="*/ 3364850 w 6689158"/>
              <a:gd name="connsiteY21" fmla="*/ 2318041 h 6689159"/>
              <a:gd name="connsiteX22" fmla="*/ 2848518 w 6689158"/>
              <a:gd name="connsiteY22" fmla="*/ 2733562 h 6689159"/>
              <a:gd name="connsiteX23" fmla="*/ 2690374 w 6689158"/>
              <a:gd name="connsiteY23" fmla="*/ 2890404 h 6689159"/>
              <a:gd name="connsiteX24" fmla="*/ 2571277 w 6689158"/>
              <a:gd name="connsiteY24" fmla="*/ 3021477 h 6689159"/>
              <a:gd name="connsiteX25" fmla="*/ 2590552 w 6689158"/>
              <a:gd name="connsiteY25" fmla="*/ 3056989 h 6689159"/>
              <a:gd name="connsiteX26" fmla="*/ 2660349 w 6689158"/>
              <a:gd name="connsiteY26" fmla="*/ 3402707 h 6689159"/>
              <a:gd name="connsiteX27" fmla="*/ 2590552 w 6689158"/>
              <a:gd name="connsiteY27" fmla="*/ 3748426 h 6689159"/>
              <a:gd name="connsiteX28" fmla="*/ 2530886 w 6689158"/>
              <a:gd name="connsiteY28" fmla="*/ 3858356 h 6689159"/>
              <a:gd name="connsiteX29" fmla="*/ 2709229 w 6689158"/>
              <a:gd name="connsiteY29" fmla="*/ 4015297 h 6689159"/>
              <a:gd name="connsiteX30" fmla="*/ 3266837 w 6689158"/>
              <a:gd name="connsiteY30" fmla="*/ 4389432 h 6689159"/>
              <a:gd name="connsiteX31" fmla="*/ 3452642 w 6689158"/>
              <a:gd name="connsiteY31" fmla="*/ 4482945 h 6689159"/>
              <a:gd name="connsiteX32" fmla="*/ 3528532 w 6689158"/>
              <a:gd name="connsiteY32" fmla="*/ 4441753 h 6689159"/>
              <a:gd name="connsiteX33" fmla="*/ 3760569 w 6689158"/>
              <a:gd name="connsiteY33" fmla="*/ 4394906 h 6689159"/>
              <a:gd name="connsiteX34" fmla="*/ 4309843 w 6689158"/>
              <a:gd name="connsiteY34" fmla="*/ 4758990 h 6689159"/>
              <a:gd name="connsiteX35" fmla="*/ 4320607 w 6689158"/>
              <a:gd name="connsiteY35" fmla="*/ 4793664 h 6689159"/>
              <a:gd name="connsiteX36" fmla="*/ 4559688 w 6689158"/>
              <a:gd name="connsiteY36" fmla="*/ 4845550 h 6689159"/>
              <a:gd name="connsiteX37" fmla="*/ 5273213 w 6689158"/>
              <a:gd name="connsiteY37" fmla="*/ 4906508 h 6689159"/>
              <a:gd name="connsiteX38" fmla="*/ 5685342 w 6689158"/>
              <a:gd name="connsiteY38" fmla="*/ 4886359 h 6689159"/>
              <a:gd name="connsiteX39" fmla="*/ 5794448 w 6689158"/>
              <a:gd name="connsiteY39" fmla="*/ 4872934 h 6689159"/>
              <a:gd name="connsiteX40" fmla="*/ 5885995 w 6689158"/>
              <a:gd name="connsiteY40" fmla="*/ 4722245 h 6689159"/>
              <a:gd name="connsiteX41" fmla="*/ 6007702 w 6689158"/>
              <a:gd name="connsiteY41" fmla="*/ 4469596 h 6689159"/>
              <a:gd name="connsiteX42" fmla="*/ 6025566 w 6689158"/>
              <a:gd name="connsiteY42" fmla="*/ 4420788 h 6689159"/>
              <a:gd name="connsiteX43" fmla="*/ 5774209 w 6689158"/>
              <a:gd name="connsiteY43" fmla="*/ 4251797 h 6689159"/>
              <a:gd name="connsiteX44" fmla="*/ 5530775 w 6689158"/>
              <a:gd name="connsiteY44" fmla="*/ 4077911 h 6689159"/>
              <a:gd name="connsiteX45" fmla="*/ 5435413 w 6689158"/>
              <a:gd name="connsiteY45" fmla="*/ 4006461 h 6689159"/>
              <a:gd name="connsiteX46" fmla="*/ 5428090 w 6689158"/>
              <a:gd name="connsiteY46" fmla="*/ 4012503 h 6689159"/>
              <a:gd name="connsiteX47" fmla="*/ 5066831 w 6689158"/>
              <a:gd name="connsiteY47" fmla="*/ 4122852 h 6689159"/>
              <a:gd name="connsiteX48" fmla="*/ 4420700 w 6689158"/>
              <a:gd name="connsiteY48" fmla="*/ 3476722 h 6689159"/>
              <a:gd name="connsiteX49" fmla="*/ 4433828 w 6689158"/>
              <a:gd name="connsiteY49" fmla="*/ 3346504 h 6689159"/>
              <a:gd name="connsiteX50" fmla="*/ 4468981 w 6689158"/>
              <a:gd name="connsiteY50" fmla="*/ 3233259 h 6689159"/>
              <a:gd name="connsiteX51" fmla="*/ 4439706 w 6689158"/>
              <a:gd name="connsiteY51" fmla="*/ 3208684 h 6689159"/>
              <a:gd name="connsiteX52" fmla="*/ 3535763 w 6689158"/>
              <a:gd name="connsiteY52" fmla="*/ 2400517 h 6689159"/>
              <a:gd name="connsiteX53" fmla="*/ 851869 w 6689158"/>
              <a:gd name="connsiteY53" fmla="*/ 1886744 h 6689159"/>
              <a:gd name="connsiteX54" fmla="*/ 803165 w 6689158"/>
              <a:gd name="connsiteY54" fmla="*/ 1966913 h 6689159"/>
              <a:gd name="connsiteX55" fmla="*/ 454328 w 6689158"/>
              <a:gd name="connsiteY55" fmla="*/ 3344581 h 6689159"/>
              <a:gd name="connsiteX56" fmla="*/ 947938 w 6689158"/>
              <a:gd name="connsiteY56" fmla="*/ 4960549 h 6689159"/>
              <a:gd name="connsiteX57" fmla="*/ 959588 w 6689158"/>
              <a:gd name="connsiteY57" fmla="*/ 4976126 h 6689159"/>
              <a:gd name="connsiteX58" fmla="*/ 959588 w 6689158"/>
              <a:gd name="connsiteY58" fmla="*/ 4976125 h 6689159"/>
              <a:gd name="connsiteX59" fmla="*/ 964880 w 6689158"/>
              <a:gd name="connsiteY59" fmla="*/ 4912286 h 6689159"/>
              <a:gd name="connsiteX60" fmla="*/ 1095934 w 6689158"/>
              <a:gd name="connsiteY60" fmla="*/ 4201672 h 6689159"/>
              <a:gd name="connsiteX61" fmla="*/ 1147594 w 6689158"/>
              <a:gd name="connsiteY61" fmla="*/ 4033598 h 6689159"/>
              <a:gd name="connsiteX62" fmla="*/ 1144134 w 6689158"/>
              <a:gd name="connsiteY62" fmla="*/ 4030744 h 6689159"/>
              <a:gd name="connsiteX63" fmla="*/ 883992 w 6689158"/>
              <a:gd name="connsiteY63" fmla="*/ 3402708 h 6689159"/>
              <a:gd name="connsiteX64" fmla="*/ 1144135 w 6689158"/>
              <a:gd name="connsiteY64" fmla="*/ 2774670 h 6689159"/>
              <a:gd name="connsiteX65" fmla="*/ 1146941 w 6689158"/>
              <a:gd name="connsiteY65" fmla="*/ 2772355 h 6689159"/>
              <a:gd name="connsiteX66" fmla="*/ 1073336 w 6689158"/>
              <a:gd name="connsiteY66" fmla="*/ 2611529 h 6689159"/>
              <a:gd name="connsiteX67" fmla="*/ 851993 w 6689158"/>
              <a:gd name="connsiteY67" fmla="*/ 1887409 h 6689159"/>
              <a:gd name="connsiteX68" fmla="*/ 5524628 w 6689158"/>
              <a:gd name="connsiteY68" fmla="*/ 1450865 h 6689159"/>
              <a:gd name="connsiteX69" fmla="*/ 5524628 w 6689158"/>
              <a:gd name="connsiteY69" fmla="*/ 1450866 h 6689159"/>
              <a:gd name="connsiteX70" fmla="*/ 5574839 w 6689158"/>
              <a:gd name="connsiteY70" fmla="*/ 1506112 h 6689159"/>
              <a:gd name="connsiteX71" fmla="*/ 5611312 w 6689158"/>
              <a:gd name="connsiteY71" fmla="*/ 1554887 h 6689159"/>
              <a:gd name="connsiteX72" fmla="*/ 5610671 w 6689158"/>
              <a:gd name="connsiteY72" fmla="*/ 1554917 h 6689159"/>
              <a:gd name="connsiteX73" fmla="*/ 3930424 w 6689158"/>
              <a:gd name="connsiteY73" fmla="*/ 1991564 h 6689159"/>
              <a:gd name="connsiteX74" fmla="*/ 3863712 w 6689158"/>
              <a:gd name="connsiteY74" fmla="*/ 2025688 h 6689159"/>
              <a:gd name="connsiteX75" fmla="*/ 3998266 w 6689158"/>
              <a:gd name="connsiteY75" fmla="*/ 2153752 h 6689159"/>
              <a:gd name="connsiteX76" fmla="*/ 4470031 w 6689158"/>
              <a:gd name="connsiteY76" fmla="*/ 2590407 h 6689159"/>
              <a:gd name="connsiteX77" fmla="*/ 4801691 w 6689158"/>
              <a:gd name="connsiteY77" fmla="*/ 2888769 h 6689159"/>
              <a:gd name="connsiteX78" fmla="*/ 4815328 w 6689158"/>
              <a:gd name="connsiteY78" fmla="*/ 2881367 h 6689159"/>
              <a:gd name="connsiteX79" fmla="*/ 5066831 w 6689158"/>
              <a:gd name="connsiteY79" fmla="*/ 2830591 h 6689159"/>
              <a:gd name="connsiteX80" fmla="*/ 5712962 w 6689158"/>
              <a:gd name="connsiteY80" fmla="*/ 3476722 h 6689159"/>
              <a:gd name="connsiteX81" fmla="*/ 5699834 w 6689158"/>
              <a:gd name="connsiteY81" fmla="*/ 3606939 h 6689159"/>
              <a:gd name="connsiteX82" fmla="*/ 5684600 w 6689158"/>
              <a:gd name="connsiteY82" fmla="*/ 3656022 h 6689159"/>
              <a:gd name="connsiteX83" fmla="*/ 5861148 w 6689158"/>
              <a:gd name="connsiteY83" fmla="*/ 3805497 h 6689159"/>
              <a:gd name="connsiteX84" fmla="*/ 6147161 w 6689158"/>
              <a:gd name="connsiteY84" fmla="*/ 4039666 h 6689159"/>
              <a:gd name="connsiteX85" fmla="*/ 6147160 w 6689158"/>
              <a:gd name="connsiteY85" fmla="*/ 4039665 h 6689159"/>
              <a:gd name="connsiteX86" fmla="*/ 6176112 w 6689158"/>
              <a:gd name="connsiteY86" fmla="*/ 3927066 h 6689159"/>
              <a:gd name="connsiteX87" fmla="*/ 6234832 w 6689158"/>
              <a:gd name="connsiteY87" fmla="*/ 3344579 h 6689159"/>
              <a:gd name="connsiteX88" fmla="*/ 5741222 w 6689158"/>
              <a:gd name="connsiteY88" fmla="*/ 1728614 h 6689159"/>
              <a:gd name="connsiteX89" fmla="*/ 5611312 w 6689158"/>
              <a:gd name="connsiteY89" fmla="*/ 1554887 h 6689159"/>
              <a:gd name="connsiteX90" fmla="*/ 5574839 w 6689158"/>
              <a:gd name="connsiteY90" fmla="*/ 1506111 h 6689159"/>
              <a:gd name="connsiteX91" fmla="*/ 1958215 w 6689158"/>
              <a:gd name="connsiteY91" fmla="*/ 808450 h 6689159"/>
              <a:gd name="connsiteX92" fmla="*/ 1728612 w 6689158"/>
              <a:gd name="connsiteY92" fmla="*/ 947938 h 6689159"/>
              <a:gd name="connsiteX93" fmla="*/ 1300863 w 6689158"/>
              <a:gd name="connsiteY93" fmla="*/ 1300863 h 6689159"/>
              <a:gd name="connsiteX94" fmla="*/ 1258822 w 6689158"/>
              <a:gd name="connsiteY94" fmla="*/ 1347119 h 6689159"/>
              <a:gd name="connsiteX95" fmla="*/ 1258823 w 6689158"/>
              <a:gd name="connsiteY95" fmla="*/ 1347121 h 6689159"/>
              <a:gd name="connsiteX96" fmla="*/ 1263190 w 6689158"/>
              <a:gd name="connsiteY96" fmla="*/ 1402742 h 6689159"/>
              <a:gd name="connsiteX97" fmla="*/ 1504198 w 6689158"/>
              <a:gd name="connsiteY97" fmla="*/ 2390321 h 6689159"/>
              <a:gd name="connsiteX98" fmla="*/ 1570031 w 6689158"/>
              <a:gd name="connsiteY98" fmla="*/ 2538525 h 6689159"/>
              <a:gd name="connsiteX99" fmla="*/ 1593172 w 6689158"/>
              <a:gd name="connsiteY99" fmla="*/ 2532572 h 6689159"/>
              <a:gd name="connsiteX100" fmla="*/ 1772170 w 6689158"/>
              <a:gd name="connsiteY100" fmla="*/ 2514528 h 6689159"/>
              <a:gd name="connsiteX101" fmla="*/ 1951170 w 6689158"/>
              <a:gd name="connsiteY101" fmla="*/ 2532573 h 6689159"/>
              <a:gd name="connsiteX102" fmla="*/ 1953707 w 6689158"/>
              <a:gd name="connsiteY102" fmla="*/ 2533225 h 6689159"/>
              <a:gd name="connsiteX103" fmla="*/ 2046764 w 6689158"/>
              <a:gd name="connsiteY103" fmla="*/ 2419427 h 6689159"/>
              <a:gd name="connsiteX104" fmla="*/ 2304042 w 6689158"/>
              <a:gd name="connsiteY104" fmla="*/ 2155240 h 6689159"/>
              <a:gd name="connsiteX105" fmla="*/ 2679904 w 6689158"/>
              <a:gd name="connsiteY105" fmla="*/ 1840257 h 6689159"/>
              <a:gd name="connsiteX106" fmla="*/ 2839402 w 6689158"/>
              <a:gd name="connsiteY106" fmla="*/ 1728600 h 6689159"/>
              <a:gd name="connsiteX107" fmla="*/ 2839403 w 6689158"/>
              <a:gd name="connsiteY107" fmla="*/ 1728599 h 6689159"/>
              <a:gd name="connsiteX108" fmla="*/ 2180258 w 6689158"/>
              <a:gd name="connsiteY108" fmla="*/ 1049601 h 6689159"/>
              <a:gd name="connsiteX109" fmla="*/ 1958217 w 6689158"/>
              <a:gd name="connsiteY109" fmla="*/ 808450 h 6689159"/>
              <a:gd name="connsiteX110" fmla="*/ 1958215 w 6689158"/>
              <a:gd name="connsiteY110" fmla="*/ 808451 h 6689159"/>
              <a:gd name="connsiteX111" fmla="*/ 3344580 w 6689158"/>
              <a:gd name="connsiteY111" fmla="*/ 454327 h 6689159"/>
              <a:gd name="connsiteX112" fmla="*/ 2485108 w 6689158"/>
              <a:gd name="connsiteY112" fmla="*/ 584267 h 6689159"/>
              <a:gd name="connsiteX113" fmla="*/ 2426658 w 6689158"/>
              <a:gd name="connsiteY113" fmla="*/ 605660 h 6689159"/>
              <a:gd name="connsiteX114" fmla="*/ 2608239 w 6689158"/>
              <a:gd name="connsiteY114" fmla="*/ 793623 h 6689159"/>
              <a:gd name="connsiteX115" fmla="*/ 3061380 w 6689158"/>
              <a:gd name="connsiteY115" fmla="*/ 1249579 h 6689159"/>
              <a:gd name="connsiteX116" fmla="*/ 3282982 w 6689158"/>
              <a:gd name="connsiteY116" fmla="*/ 1466429 h 6689159"/>
              <a:gd name="connsiteX117" fmla="*/ 3282982 w 6689158"/>
              <a:gd name="connsiteY117" fmla="*/ 1466430 h 6689159"/>
              <a:gd name="connsiteX118" fmla="*/ 3293669 w 6689158"/>
              <a:gd name="connsiteY118" fmla="*/ 1460635 h 6689159"/>
              <a:gd name="connsiteX119" fmla="*/ 4895242 w 6689158"/>
              <a:gd name="connsiteY119" fmla="*/ 1001928 h 6689159"/>
              <a:gd name="connsiteX120" fmla="*/ 5020677 w 6689158"/>
              <a:gd name="connsiteY120" fmla="*/ 992902 h 6689159"/>
              <a:gd name="connsiteX121" fmla="*/ 5140393 w 6689158"/>
              <a:gd name="connsiteY121" fmla="*/ 1082424 h 6689159"/>
              <a:gd name="connsiteX122" fmla="*/ 5140394 w 6689158"/>
              <a:gd name="connsiteY122" fmla="*/ 1082424 h 6689159"/>
              <a:gd name="connsiteX123" fmla="*/ 5020677 w 6689158"/>
              <a:gd name="connsiteY123" fmla="*/ 992901 h 6689159"/>
              <a:gd name="connsiteX124" fmla="*/ 4960548 w 6689158"/>
              <a:gd name="connsiteY124" fmla="*/ 947937 h 6689159"/>
              <a:gd name="connsiteX125" fmla="*/ 3344580 w 6689158"/>
              <a:gd name="connsiteY125" fmla="*/ 454327 h 6689159"/>
              <a:gd name="connsiteX126" fmla="*/ 3344579 w 6689158"/>
              <a:gd name="connsiteY126" fmla="*/ 0 h 6689159"/>
              <a:gd name="connsiteX127" fmla="*/ 5709555 w 6689158"/>
              <a:gd name="connsiteY127" fmla="*/ 979605 h 6689159"/>
              <a:gd name="connsiteX128" fmla="*/ 5721404 w 6689158"/>
              <a:gd name="connsiteY128" fmla="*/ 992643 h 6689159"/>
              <a:gd name="connsiteX129" fmla="*/ 5925421 w 6689158"/>
              <a:gd name="connsiteY129" fmla="*/ 1217117 h 6689159"/>
              <a:gd name="connsiteX130" fmla="*/ 6117959 w 6689158"/>
              <a:gd name="connsiteY130" fmla="*/ 1474595 h 6689159"/>
              <a:gd name="connsiteX131" fmla="*/ 6162894 w 6689158"/>
              <a:gd name="connsiteY131" fmla="*/ 1548561 h 6689159"/>
              <a:gd name="connsiteX132" fmla="*/ 6162893 w 6689158"/>
              <a:gd name="connsiteY132" fmla="*/ 1548563 h 6689159"/>
              <a:gd name="connsiteX133" fmla="*/ 6285487 w 6689158"/>
              <a:gd name="connsiteY133" fmla="*/ 1750355 h 6689159"/>
              <a:gd name="connsiteX134" fmla="*/ 6689158 w 6689158"/>
              <a:gd name="connsiteY134" fmla="*/ 3344580 h 6689159"/>
              <a:gd name="connsiteX135" fmla="*/ 6538793 w 6689158"/>
              <a:gd name="connsiteY135" fmla="*/ 4339156 h 6689159"/>
              <a:gd name="connsiteX136" fmla="*/ 6534721 w 6689158"/>
              <a:gd name="connsiteY136" fmla="*/ 4350281 h 6689159"/>
              <a:gd name="connsiteX137" fmla="*/ 6426326 w 6689158"/>
              <a:gd name="connsiteY137" fmla="*/ 4646440 h 6689159"/>
              <a:gd name="connsiteX138" fmla="*/ 6421122 w 6689158"/>
              <a:gd name="connsiteY138" fmla="*/ 4657245 h 6689159"/>
              <a:gd name="connsiteX139" fmla="*/ 6372396 w 6689158"/>
              <a:gd name="connsiteY139" fmla="*/ 4758392 h 6689159"/>
              <a:gd name="connsiteX140" fmla="*/ 6285487 w 6689158"/>
              <a:gd name="connsiteY140" fmla="*/ 4938805 h 6689159"/>
              <a:gd name="connsiteX141" fmla="*/ 6117958 w 6689158"/>
              <a:gd name="connsiteY141" fmla="*/ 5214566 h 6689159"/>
              <a:gd name="connsiteX142" fmla="*/ 6035322 w 6689158"/>
              <a:gd name="connsiteY142" fmla="*/ 5325072 h 6689159"/>
              <a:gd name="connsiteX143" fmla="*/ 5925420 w 6689158"/>
              <a:gd name="connsiteY143" fmla="*/ 5472042 h 6689159"/>
              <a:gd name="connsiteX144" fmla="*/ 3344580 w 6689158"/>
              <a:gd name="connsiteY144" fmla="*/ 6689159 h 6689159"/>
              <a:gd name="connsiteX145" fmla="*/ 1474594 w 6689158"/>
              <a:gd name="connsiteY145" fmla="*/ 6117958 h 6689159"/>
              <a:gd name="connsiteX146" fmla="*/ 1464440 w 6689158"/>
              <a:gd name="connsiteY146" fmla="*/ 6110366 h 6689159"/>
              <a:gd name="connsiteX147" fmla="*/ 1217117 w 6689158"/>
              <a:gd name="connsiteY147" fmla="*/ 5925420 h 6689159"/>
              <a:gd name="connsiteX148" fmla="*/ 979606 w 6689158"/>
              <a:gd name="connsiteY148" fmla="*/ 5709555 h 6689159"/>
              <a:gd name="connsiteX149" fmla="*/ 941121 w 6689158"/>
              <a:gd name="connsiteY149" fmla="*/ 5667211 h 6689159"/>
              <a:gd name="connsiteX150" fmla="*/ 763739 w 6689158"/>
              <a:gd name="connsiteY150" fmla="*/ 5472043 h 6689159"/>
              <a:gd name="connsiteX151" fmla="*/ 0 w 6689158"/>
              <a:gd name="connsiteY151" fmla="*/ 3344580 h 6689159"/>
              <a:gd name="connsiteX152" fmla="*/ 763739 w 6689158"/>
              <a:gd name="connsiteY152" fmla="*/ 1217118 h 6689159"/>
              <a:gd name="connsiteX153" fmla="*/ 979605 w 6689158"/>
              <a:gd name="connsiteY153" fmla="*/ 979604 h 6689159"/>
              <a:gd name="connsiteX154" fmla="*/ 1217117 w 6689158"/>
              <a:gd name="connsiteY154" fmla="*/ 763739 h 6689159"/>
              <a:gd name="connsiteX155" fmla="*/ 1252792 w 6689158"/>
              <a:gd name="connsiteY155" fmla="*/ 737062 h 6689159"/>
              <a:gd name="connsiteX156" fmla="*/ 1474594 w 6689158"/>
              <a:gd name="connsiteY156" fmla="*/ 571201 h 6689159"/>
              <a:gd name="connsiteX157" fmla="*/ 1650297 w 6689158"/>
              <a:gd name="connsiteY157" fmla="*/ 464459 h 6689159"/>
              <a:gd name="connsiteX158" fmla="*/ 1750354 w 6689158"/>
              <a:gd name="connsiteY158" fmla="*/ 403673 h 6689159"/>
              <a:gd name="connsiteX159" fmla="*/ 2042719 w 6689158"/>
              <a:gd name="connsiteY159" fmla="*/ 262835 h 6689159"/>
              <a:gd name="connsiteX160" fmla="*/ 2083584 w 6689158"/>
              <a:gd name="connsiteY160" fmla="*/ 247876 h 6689159"/>
              <a:gd name="connsiteX161" fmla="*/ 2350003 w 6689158"/>
              <a:gd name="connsiteY161" fmla="*/ 150366 h 6689159"/>
              <a:gd name="connsiteX162" fmla="*/ 3344579 w 6689158"/>
              <a:gd name="connsiteY162"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574839 w 6689158"/>
              <a:gd name="connsiteY71" fmla="*/ 1506111 h 6689159"/>
              <a:gd name="connsiteX72" fmla="*/ 5524628 w 6689158"/>
              <a:gd name="connsiteY72" fmla="*/ 1450866 h 6689159"/>
              <a:gd name="connsiteX73" fmla="*/ 5574839 w 6689158"/>
              <a:gd name="connsiteY73" fmla="*/ 1506112 h 6689159"/>
              <a:gd name="connsiteX74" fmla="*/ 5611312 w 6689158"/>
              <a:gd name="connsiteY74" fmla="*/ 1554887 h 6689159"/>
              <a:gd name="connsiteX75" fmla="*/ 5610671 w 6689158"/>
              <a:gd name="connsiteY75" fmla="*/ 1554917 h 6689159"/>
              <a:gd name="connsiteX76" fmla="*/ 3930424 w 6689158"/>
              <a:gd name="connsiteY76" fmla="*/ 1991564 h 6689159"/>
              <a:gd name="connsiteX77" fmla="*/ 3863712 w 6689158"/>
              <a:gd name="connsiteY77" fmla="*/ 2025688 h 6689159"/>
              <a:gd name="connsiteX78" fmla="*/ 3998266 w 6689158"/>
              <a:gd name="connsiteY78" fmla="*/ 2153752 h 6689159"/>
              <a:gd name="connsiteX79" fmla="*/ 4470031 w 6689158"/>
              <a:gd name="connsiteY79" fmla="*/ 2590407 h 6689159"/>
              <a:gd name="connsiteX80" fmla="*/ 4801691 w 6689158"/>
              <a:gd name="connsiteY80" fmla="*/ 2888769 h 6689159"/>
              <a:gd name="connsiteX81" fmla="*/ 4815328 w 6689158"/>
              <a:gd name="connsiteY81" fmla="*/ 2881367 h 6689159"/>
              <a:gd name="connsiteX82" fmla="*/ 5066831 w 6689158"/>
              <a:gd name="connsiteY82" fmla="*/ 2830591 h 6689159"/>
              <a:gd name="connsiteX83" fmla="*/ 5712962 w 6689158"/>
              <a:gd name="connsiteY83" fmla="*/ 3476722 h 6689159"/>
              <a:gd name="connsiteX84" fmla="*/ 5699834 w 6689158"/>
              <a:gd name="connsiteY84" fmla="*/ 3606939 h 6689159"/>
              <a:gd name="connsiteX85" fmla="*/ 5684600 w 6689158"/>
              <a:gd name="connsiteY85" fmla="*/ 3656022 h 6689159"/>
              <a:gd name="connsiteX86" fmla="*/ 5861148 w 6689158"/>
              <a:gd name="connsiteY86" fmla="*/ 3805497 h 6689159"/>
              <a:gd name="connsiteX87" fmla="*/ 6147161 w 6689158"/>
              <a:gd name="connsiteY87" fmla="*/ 4039666 h 6689159"/>
              <a:gd name="connsiteX88" fmla="*/ 6147160 w 6689158"/>
              <a:gd name="connsiteY88" fmla="*/ 4039665 h 6689159"/>
              <a:gd name="connsiteX89" fmla="*/ 6176112 w 6689158"/>
              <a:gd name="connsiteY89" fmla="*/ 3927066 h 6689159"/>
              <a:gd name="connsiteX90" fmla="*/ 6234832 w 6689158"/>
              <a:gd name="connsiteY90" fmla="*/ 3344579 h 6689159"/>
              <a:gd name="connsiteX91" fmla="*/ 5741222 w 6689158"/>
              <a:gd name="connsiteY91" fmla="*/ 1728614 h 6689159"/>
              <a:gd name="connsiteX92" fmla="*/ 5611312 w 6689158"/>
              <a:gd name="connsiteY92" fmla="*/ 1554887 h 6689159"/>
              <a:gd name="connsiteX93" fmla="*/ 5574839 w 6689158"/>
              <a:gd name="connsiteY93" fmla="*/ 1506111 h 6689159"/>
              <a:gd name="connsiteX94" fmla="*/ 1958215 w 6689158"/>
              <a:gd name="connsiteY94" fmla="*/ 808450 h 6689159"/>
              <a:gd name="connsiteX95" fmla="*/ 1728612 w 6689158"/>
              <a:gd name="connsiteY95" fmla="*/ 947938 h 6689159"/>
              <a:gd name="connsiteX96" fmla="*/ 1300863 w 6689158"/>
              <a:gd name="connsiteY96" fmla="*/ 1300863 h 6689159"/>
              <a:gd name="connsiteX97" fmla="*/ 1258822 w 6689158"/>
              <a:gd name="connsiteY97" fmla="*/ 1347119 h 6689159"/>
              <a:gd name="connsiteX98" fmla="*/ 1258823 w 6689158"/>
              <a:gd name="connsiteY98" fmla="*/ 1347121 h 6689159"/>
              <a:gd name="connsiteX99" fmla="*/ 1263190 w 6689158"/>
              <a:gd name="connsiteY99" fmla="*/ 1402742 h 6689159"/>
              <a:gd name="connsiteX100" fmla="*/ 1504198 w 6689158"/>
              <a:gd name="connsiteY100" fmla="*/ 2390321 h 6689159"/>
              <a:gd name="connsiteX101" fmla="*/ 1570031 w 6689158"/>
              <a:gd name="connsiteY101" fmla="*/ 2538525 h 6689159"/>
              <a:gd name="connsiteX102" fmla="*/ 1593172 w 6689158"/>
              <a:gd name="connsiteY102" fmla="*/ 2532572 h 6689159"/>
              <a:gd name="connsiteX103" fmla="*/ 1772170 w 6689158"/>
              <a:gd name="connsiteY103" fmla="*/ 2514528 h 6689159"/>
              <a:gd name="connsiteX104" fmla="*/ 1951170 w 6689158"/>
              <a:gd name="connsiteY104" fmla="*/ 2532573 h 6689159"/>
              <a:gd name="connsiteX105" fmla="*/ 1953707 w 6689158"/>
              <a:gd name="connsiteY105" fmla="*/ 2533225 h 6689159"/>
              <a:gd name="connsiteX106" fmla="*/ 2046764 w 6689158"/>
              <a:gd name="connsiteY106" fmla="*/ 2419427 h 6689159"/>
              <a:gd name="connsiteX107" fmla="*/ 2304042 w 6689158"/>
              <a:gd name="connsiteY107" fmla="*/ 2155240 h 6689159"/>
              <a:gd name="connsiteX108" fmla="*/ 2679904 w 6689158"/>
              <a:gd name="connsiteY108" fmla="*/ 1840257 h 6689159"/>
              <a:gd name="connsiteX109" fmla="*/ 2839402 w 6689158"/>
              <a:gd name="connsiteY109" fmla="*/ 1728600 h 6689159"/>
              <a:gd name="connsiteX110" fmla="*/ 2839403 w 6689158"/>
              <a:gd name="connsiteY110" fmla="*/ 1728599 h 6689159"/>
              <a:gd name="connsiteX111" fmla="*/ 2180258 w 6689158"/>
              <a:gd name="connsiteY111" fmla="*/ 1049601 h 6689159"/>
              <a:gd name="connsiteX112" fmla="*/ 1958217 w 6689158"/>
              <a:gd name="connsiteY112" fmla="*/ 808450 h 6689159"/>
              <a:gd name="connsiteX113" fmla="*/ 1958215 w 6689158"/>
              <a:gd name="connsiteY113" fmla="*/ 808451 h 6689159"/>
              <a:gd name="connsiteX114" fmla="*/ 1958215 w 6689158"/>
              <a:gd name="connsiteY114" fmla="*/ 808450 h 6689159"/>
              <a:gd name="connsiteX115" fmla="*/ 3344580 w 6689158"/>
              <a:gd name="connsiteY115" fmla="*/ 454327 h 6689159"/>
              <a:gd name="connsiteX116" fmla="*/ 2485108 w 6689158"/>
              <a:gd name="connsiteY116" fmla="*/ 584267 h 6689159"/>
              <a:gd name="connsiteX117" fmla="*/ 2426658 w 6689158"/>
              <a:gd name="connsiteY117" fmla="*/ 605660 h 6689159"/>
              <a:gd name="connsiteX118" fmla="*/ 2608239 w 6689158"/>
              <a:gd name="connsiteY118" fmla="*/ 793623 h 6689159"/>
              <a:gd name="connsiteX119" fmla="*/ 3061380 w 6689158"/>
              <a:gd name="connsiteY119" fmla="*/ 1249579 h 6689159"/>
              <a:gd name="connsiteX120" fmla="*/ 3282982 w 6689158"/>
              <a:gd name="connsiteY120" fmla="*/ 1466429 h 6689159"/>
              <a:gd name="connsiteX121" fmla="*/ 3282982 w 6689158"/>
              <a:gd name="connsiteY121" fmla="*/ 1466430 h 6689159"/>
              <a:gd name="connsiteX122" fmla="*/ 3293669 w 6689158"/>
              <a:gd name="connsiteY122" fmla="*/ 1460635 h 6689159"/>
              <a:gd name="connsiteX123" fmla="*/ 4895242 w 6689158"/>
              <a:gd name="connsiteY123" fmla="*/ 1001928 h 6689159"/>
              <a:gd name="connsiteX124" fmla="*/ 5020677 w 6689158"/>
              <a:gd name="connsiteY124" fmla="*/ 992902 h 6689159"/>
              <a:gd name="connsiteX125" fmla="*/ 5140393 w 6689158"/>
              <a:gd name="connsiteY125" fmla="*/ 1082424 h 6689159"/>
              <a:gd name="connsiteX126" fmla="*/ 5140394 w 6689158"/>
              <a:gd name="connsiteY126" fmla="*/ 1082424 h 6689159"/>
              <a:gd name="connsiteX127" fmla="*/ 5020677 w 6689158"/>
              <a:gd name="connsiteY127" fmla="*/ 992901 h 6689159"/>
              <a:gd name="connsiteX128" fmla="*/ 4960548 w 6689158"/>
              <a:gd name="connsiteY128" fmla="*/ 947937 h 6689159"/>
              <a:gd name="connsiteX129" fmla="*/ 3344580 w 6689158"/>
              <a:gd name="connsiteY129" fmla="*/ 454327 h 6689159"/>
              <a:gd name="connsiteX130" fmla="*/ 3344579 w 6689158"/>
              <a:gd name="connsiteY130" fmla="*/ 0 h 6689159"/>
              <a:gd name="connsiteX131" fmla="*/ 5709555 w 6689158"/>
              <a:gd name="connsiteY131" fmla="*/ 979605 h 6689159"/>
              <a:gd name="connsiteX132" fmla="*/ 5721404 w 6689158"/>
              <a:gd name="connsiteY132" fmla="*/ 992643 h 6689159"/>
              <a:gd name="connsiteX133" fmla="*/ 5925421 w 6689158"/>
              <a:gd name="connsiteY133" fmla="*/ 1217117 h 6689159"/>
              <a:gd name="connsiteX134" fmla="*/ 6117959 w 6689158"/>
              <a:gd name="connsiteY134" fmla="*/ 1474595 h 6689159"/>
              <a:gd name="connsiteX135" fmla="*/ 6162894 w 6689158"/>
              <a:gd name="connsiteY135" fmla="*/ 1548561 h 6689159"/>
              <a:gd name="connsiteX136" fmla="*/ 6162893 w 6689158"/>
              <a:gd name="connsiteY136" fmla="*/ 1548563 h 6689159"/>
              <a:gd name="connsiteX137" fmla="*/ 6285487 w 6689158"/>
              <a:gd name="connsiteY137" fmla="*/ 1750355 h 6689159"/>
              <a:gd name="connsiteX138" fmla="*/ 6689158 w 6689158"/>
              <a:gd name="connsiteY138" fmla="*/ 3344580 h 6689159"/>
              <a:gd name="connsiteX139" fmla="*/ 6538793 w 6689158"/>
              <a:gd name="connsiteY139" fmla="*/ 4339156 h 6689159"/>
              <a:gd name="connsiteX140" fmla="*/ 6534721 w 6689158"/>
              <a:gd name="connsiteY140" fmla="*/ 4350281 h 6689159"/>
              <a:gd name="connsiteX141" fmla="*/ 6426326 w 6689158"/>
              <a:gd name="connsiteY141" fmla="*/ 4646440 h 6689159"/>
              <a:gd name="connsiteX142" fmla="*/ 6421122 w 6689158"/>
              <a:gd name="connsiteY142" fmla="*/ 4657245 h 6689159"/>
              <a:gd name="connsiteX143" fmla="*/ 6372396 w 6689158"/>
              <a:gd name="connsiteY143" fmla="*/ 4758392 h 6689159"/>
              <a:gd name="connsiteX144" fmla="*/ 6285487 w 6689158"/>
              <a:gd name="connsiteY144" fmla="*/ 4938805 h 6689159"/>
              <a:gd name="connsiteX145" fmla="*/ 6117958 w 6689158"/>
              <a:gd name="connsiteY145" fmla="*/ 5214566 h 6689159"/>
              <a:gd name="connsiteX146" fmla="*/ 6035322 w 6689158"/>
              <a:gd name="connsiteY146" fmla="*/ 5325072 h 6689159"/>
              <a:gd name="connsiteX147" fmla="*/ 5925420 w 6689158"/>
              <a:gd name="connsiteY147" fmla="*/ 5472042 h 6689159"/>
              <a:gd name="connsiteX148" fmla="*/ 3344580 w 6689158"/>
              <a:gd name="connsiteY148" fmla="*/ 6689159 h 6689159"/>
              <a:gd name="connsiteX149" fmla="*/ 1474594 w 6689158"/>
              <a:gd name="connsiteY149" fmla="*/ 6117958 h 6689159"/>
              <a:gd name="connsiteX150" fmla="*/ 1464440 w 6689158"/>
              <a:gd name="connsiteY150" fmla="*/ 6110366 h 6689159"/>
              <a:gd name="connsiteX151" fmla="*/ 1217117 w 6689158"/>
              <a:gd name="connsiteY151" fmla="*/ 5925420 h 6689159"/>
              <a:gd name="connsiteX152" fmla="*/ 979606 w 6689158"/>
              <a:gd name="connsiteY152" fmla="*/ 5709555 h 6689159"/>
              <a:gd name="connsiteX153" fmla="*/ 941121 w 6689158"/>
              <a:gd name="connsiteY153" fmla="*/ 5667211 h 6689159"/>
              <a:gd name="connsiteX154" fmla="*/ 763739 w 6689158"/>
              <a:gd name="connsiteY154" fmla="*/ 5472043 h 6689159"/>
              <a:gd name="connsiteX155" fmla="*/ 0 w 6689158"/>
              <a:gd name="connsiteY155" fmla="*/ 3344580 h 6689159"/>
              <a:gd name="connsiteX156" fmla="*/ 763739 w 6689158"/>
              <a:gd name="connsiteY156" fmla="*/ 1217118 h 6689159"/>
              <a:gd name="connsiteX157" fmla="*/ 979605 w 6689158"/>
              <a:gd name="connsiteY157" fmla="*/ 979604 h 6689159"/>
              <a:gd name="connsiteX158" fmla="*/ 1217117 w 6689158"/>
              <a:gd name="connsiteY158" fmla="*/ 763739 h 6689159"/>
              <a:gd name="connsiteX159" fmla="*/ 1252792 w 6689158"/>
              <a:gd name="connsiteY159" fmla="*/ 737062 h 6689159"/>
              <a:gd name="connsiteX160" fmla="*/ 1474594 w 6689158"/>
              <a:gd name="connsiteY160" fmla="*/ 571201 h 6689159"/>
              <a:gd name="connsiteX161" fmla="*/ 1650297 w 6689158"/>
              <a:gd name="connsiteY161" fmla="*/ 464459 h 6689159"/>
              <a:gd name="connsiteX162" fmla="*/ 1750354 w 6689158"/>
              <a:gd name="connsiteY162" fmla="*/ 403673 h 6689159"/>
              <a:gd name="connsiteX163" fmla="*/ 2042719 w 6689158"/>
              <a:gd name="connsiteY163" fmla="*/ 262835 h 6689159"/>
              <a:gd name="connsiteX164" fmla="*/ 2083584 w 6689158"/>
              <a:gd name="connsiteY164" fmla="*/ 247876 h 6689159"/>
              <a:gd name="connsiteX165" fmla="*/ 2350003 w 6689158"/>
              <a:gd name="connsiteY165" fmla="*/ 150366 h 6689159"/>
              <a:gd name="connsiteX166" fmla="*/ 3344579 w 6689158"/>
              <a:gd name="connsiteY166"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574839 w 6689158"/>
              <a:gd name="connsiteY71" fmla="*/ 1506111 h 6689159"/>
              <a:gd name="connsiteX72" fmla="*/ 5574839 w 6689158"/>
              <a:gd name="connsiteY72" fmla="*/ 1506112 h 6689159"/>
              <a:gd name="connsiteX73" fmla="*/ 5611312 w 6689158"/>
              <a:gd name="connsiteY73" fmla="*/ 1554887 h 6689159"/>
              <a:gd name="connsiteX74" fmla="*/ 5610671 w 6689158"/>
              <a:gd name="connsiteY74" fmla="*/ 1554917 h 6689159"/>
              <a:gd name="connsiteX75" fmla="*/ 3930424 w 6689158"/>
              <a:gd name="connsiteY75" fmla="*/ 1991564 h 6689159"/>
              <a:gd name="connsiteX76" fmla="*/ 3863712 w 6689158"/>
              <a:gd name="connsiteY76" fmla="*/ 2025688 h 6689159"/>
              <a:gd name="connsiteX77" fmla="*/ 3998266 w 6689158"/>
              <a:gd name="connsiteY77" fmla="*/ 2153752 h 6689159"/>
              <a:gd name="connsiteX78" fmla="*/ 4470031 w 6689158"/>
              <a:gd name="connsiteY78" fmla="*/ 2590407 h 6689159"/>
              <a:gd name="connsiteX79" fmla="*/ 4801691 w 6689158"/>
              <a:gd name="connsiteY79" fmla="*/ 2888769 h 6689159"/>
              <a:gd name="connsiteX80" fmla="*/ 4815328 w 6689158"/>
              <a:gd name="connsiteY80" fmla="*/ 2881367 h 6689159"/>
              <a:gd name="connsiteX81" fmla="*/ 5066831 w 6689158"/>
              <a:gd name="connsiteY81" fmla="*/ 2830591 h 6689159"/>
              <a:gd name="connsiteX82" fmla="*/ 5712962 w 6689158"/>
              <a:gd name="connsiteY82" fmla="*/ 3476722 h 6689159"/>
              <a:gd name="connsiteX83" fmla="*/ 5699834 w 6689158"/>
              <a:gd name="connsiteY83" fmla="*/ 3606939 h 6689159"/>
              <a:gd name="connsiteX84" fmla="*/ 5684600 w 6689158"/>
              <a:gd name="connsiteY84" fmla="*/ 3656022 h 6689159"/>
              <a:gd name="connsiteX85" fmla="*/ 5861148 w 6689158"/>
              <a:gd name="connsiteY85" fmla="*/ 3805497 h 6689159"/>
              <a:gd name="connsiteX86" fmla="*/ 6147161 w 6689158"/>
              <a:gd name="connsiteY86" fmla="*/ 4039666 h 6689159"/>
              <a:gd name="connsiteX87" fmla="*/ 6147160 w 6689158"/>
              <a:gd name="connsiteY87" fmla="*/ 4039665 h 6689159"/>
              <a:gd name="connsiteX88" fmla="*/ 6176112 w 6689158"/>
              <a:gd name="connsiteY88" fmla="*/ 3927066 h 6689159"/>
              <a:gd name="connsiteX89" fmla="*/ 6234832 w 6689158"/>
              <a:gd name="connsiteY89" fmla="*/ 3344579 h 6689159"/>
              <a:gd name="connsiteX90" fmla="*/ 5741222 w 6689158"/>
              <a:gd name="connsiteY90" fmla="*/ 1728614 h 6689159"/>
              <a:gd name="connsiteX91" fmla="*/ 5611312 w 6689158"/>
              <a:gd name="connsiteY91" fmla="*/ 1554887 h 6689159"/>
              <a:gd name="connsiteX92" fmla="*/ 5574839 w 6689158"/>
              <a:gd name="connsiteY92" fmla="*/ 1506111 h 6689159"/>
              <a:gd name="connsiteX93" fmla="*/ 1958215 w 6689158"/>
              <a:gd name="connsiteY93" fmla="*/ 808450 h 6689159"/>
              <a:gd name="connsiteX94" fmla="*/ 1728612 w 6689158"/>
              <a:gd name="connsiteY94" fmla="*/ 947938 h 6689159"/>
              <a:gd name="connsiteX95" fmla="*/ 1300863 w 6689158"/>
              <a:gd name="connsiteY95" fmla="*/ 1300863 h 6689159"/>
              <a:gd name="connsiteX96" fmla="*/ 1258822 w 6689158"/>
              <a:gd name="connsiteY96" fmla="*/ 1347119 h 6689159"/>
              <a:gd name="connsiteX97" fmla="*/ 1258823 w 6689158"/>
              <a:gd name="connsiteY97" fmla="*/ 1347121 h 6689159"/>
              <a:gd name="connsiteX98" fmla="*/ 1263190 w 6689158"/>
              <a:gd name="connsiteY98" fmla="*/ 1402742 h 6689159"/>
              <a:gd name="connsiteX99" fmla="*/ 1504198 w 6689158"/>
              <a:gd name="connsiteY99" fmla="*/ 2390321 h 6689159"/>
              <a:gd name="connsiteX100" fmla="*/ 1570031 w 6689158"/>
              <a:gd name="connsiteY100" fmla="*/ 2538525 h 6689159"/>
              <a:gd name="connsiteX101" fmla="*/ 1593172 w 6689158"/>
              <a:gd name="connsiteY101" fmla="*/ 2532572 h 6689159"/>
              <a:gd name="connsiteX102" fmla="*/ 1772170 w 6689158"/>
              <a:gd name="connsiteY102" fmla="*/ 2514528 h 6689159"/>
              <a:gd name="connsiteX103" fmla="*/ 1951170 w 6689158"/>
              <a:gd name="connsiteY103" fmla="*/ 2532573 h 6689159"/>
              <a:gd name="connsiteX104" fmla="*/ 1953707 w 6689158"/>
              <a:gd name="connsiteY104" fmla="*/ 2533225 h 6689159"/>
              <a:gd name="connsiteX105" fmla="*/ 2046764 w 6689158"/>
              <a:gd name="connsiteY105" fmla="*/ 2419427 h 6689159"/>
              <a:gd name="connsiteX106" fmla="*/ 2304042 w 6689158"/>
              <a:gd name="connsiteY106" fmla="*/ 2155240 h 6689159"/>
              <a:gd name="connsiteX107" fmla="*/ 2679904 w 6689158"/>
              <a:gd name="connsiteY107" fmla="*/ 1840257 h 6689159"/>
              <a:gd name="connsiteX108" fmla="*/ 2839402 w 6689158"/>
              <a:gd name="connsiteY108" fmla="*/ 1728600 h 6689159"/>
              <a:gd name="connsiteX109" fmla="*/ 2839403 w 6689158"/>
              <a:gd name="connsiteY109" fmla="*/ 1728599 h 6689159"/>
              <a:gd name="connsiteX110" fmla="*/ 2180258 w 6689158"/>
              <a:gd name="connsiteY110" fmla="*/ 1049601 h 6689159"/>
              <a:gd name="connsiteX111" fmla="*/ 1958217 w 6689158"/>
              <a:gd name="connsiteY111" fmla="*/ 808450 h 6689159"/>
              <a:gd name="connsiteX112" fmla="*/ 1958215 w 6689158"/>
              <a:gd name="connsiteY112" fmla="*/ 808451 h 6689159"/>
              <a:gd name="connsiteX113" fmla="*/ 1958215 w 6689158"/>
              <a:gd name="connsiteY113" fmla="*/ 808450 h 6689159"/>
              <a:gd name="connsiteX114" fmla="*/ 3344580 w 6689158"/>
              <a:gd name="connsiteY114" fmla="*/ 454327 h 6689159"/>
              <a:gd name="connsiteX115" fmla="*/ 2485108 w 6689158"/>
              <a:gd name="connsiteY115" fmla="*/ 584267 h 6689159"/>
              <a:gd name="connsiteX116" fmla="*/ 2426658 w 6689158"/>
              <a:gd name="connsiteY116" fmla="*/ 605660 h 6689159"/>
              <a:gd name="connsiteX117" fmla="*/ 2608239 w 6689158"/>
              <a:gd name="connsiteY117" fmla="*/ 793623 h 6689159"/>
              <a:gd name="connsiteX118" fmla="*/ 3061380 w 6689158"/>
              <a:gd name="connsiteY118" fmla="*/ 1249579 h 6689159"/>
              <a:gd name="connsiteX119" fmla="*/ 3282982 w 6689158"/>
              <a:gd name="connsiteY119" fmla="*/ 1466429 h 6689159"/>
              <a:gd name="connsiteX120" fmla="*/ 3282982 w 6689158"/>
              <a:gd name="connsiteY120" fmla="*/ 1466430 h 6689159"/>
              <a:gd name="connsiteX121" fmla="*/ 3293669 w 6689158"/>
              <a:gd name="connsiteY121" fmla="*/ 1460635 h 6689159"/>
              <a:gd name="connsiteX122" fmla="*/ 4895242 w 6689158"/>
              <a:gd name="connsiteY122" fmla="*/ 1001928 h 6689159"/>
              <a:gd name="connsiteX123" fmla="*/ 5020677 w 6689158"/>
              <a:gd name="connsiteY123" fmla="*/ 992902 h 6689159"/>
              <a:gd name="connsiteX124" fmla="*/ 5140393 w 6689158"/>
              <a:gd name="connsiteY124" fmla="*/ 1082424 h 6689159"/>
              <a:gd name="connsiteX125" fmla="*/ 5140394 w 6689158"/>
              <a:gd name="connsiteY125" fmla="*/ 1082424 h 6689159"/>
              <a:gd name="connsiteX126" fmla="*/ 5020677 w 6689158"/>
              <a:gd name="connsiteY126" fmla="*/ 992901 h 6689159"/>
              <a:gd name="connsiteX127" fmla="*/ 4960548 w 6689158"/>
              <a:gd name="connsiteY127" fmla="*/ 947937 h 6689159"/>
              <a:gd name="connsiteX128" fmla="*/ 3344580 w 6689158"/>
              <a:gd name="connsiteY128" fmla="*/ 454327 h 6689159"/>
              <a:gd name="connsiteX129" fmla="*/ 3344579 w 6689158"/>
              <a:gd name="connsiteY129" fmla="*/ 0 h 6689159"/>
              <a:gd name="connsiteX130" fmla="*/ 5709555 w 6689158"/>
              <a:gd name="connsiteY130" fmla="*/ 979605 h 6689159"/>
              <a:gd name="connsiteX131" fmla="*/ 5721404 w 6689158"/>
              <a:gd name="connsiteY131" fmla="*/ 992643 h 6689159"/>
              <a:gd name="connsiteX132" fmla="*/ 5925421 w 6689158"/>
              <a:gd name="connsiteY132" fmla="*/ 1217117 h 6689159"/>
              <a:gd name="connsiteX133" fmla="*/ 6117959 w 6689158"/>
              <a:gd name="connsiteY133" fmla="*/ 1474595 h 6689159"/>
              <a:gd name="connsiteX134" fmla="*/ 6162894 w 6689158"/>
              <a:gd name="connsiteY134" fmla="*/ 1548561 h 6689159"/>
              <a:gd name="connsiteX135" fmla="*/ 6162893 w 6689158"/>
              <a:gd name="connsiteY135" fmla="*/ 1548563 h 6689159"/>
              <a:gd name="connsiteX136" fmla="*/ 6285487 w 6689158"/>
              <a:gd name="connsiteY136" fmla="*/ 1750355 h 6689159"/>
              <a:gd name="connsiteX137" fmla="*/ 6689158 w 6689158"/>
              <a:gd name="connsiteY137" fmla="*/ 3344580 h 6689159"/>
              <a:gd name="connsiteX138" fmla="*/ 6538793 w 6689158"/>
              <a:gd name="connsiteY138" fmla="*/ 4339156 h 6689159"/>
              <a:gd name="connsiteX139" fmla="*/ 6534721 w 6689158"/>
              <a:gd name="connsiteY139" fmla="*/ 4350281 h 6689159"/>
              <a:gd name="connsiteX140" fmla="*/ 6426326 w 6689158"/>
              <a:gd name="connsiteY140" fmla="*/ 4646440 h 6689159"/>
              <a:gd name="connsiteX141" fmla="*/ 6421122 w 6689158"/>
              <a:gd name="connsiteY141" fmla="*/ 4657245 h 6689159"/>
              <a:gd name="connsiteX142" fmla="*/ 6372396 w 6689158"/>
              <a:gd name="connsiteY142" fmla="*/ 4758392 h 6689159"/>
              <a:gd name="connsiteX143" fmla="*/ 6285487 w 6689158"/>
              <a:gd name="connsiteY143" fmla="*/ 4938805 h 6689159"/>
              <a:gd name="connsiteX144" fmla="*/ 6117958 w 6689158"/>
              <a:gd name="connsiteY144" fmla="*/ 5214566 h 6689159"/>
              <a:gd name="connsiteX145" fmla="*/ 6035322 w 6689158"/>
              <a:gd name="connsiteY145" fmla="*/ 5325072 h 6689159"/>
              <a:gd name="connsiteX146" fmla="*/ 5925420 w 6689158"/>
              <a:gd name="connsiteY146" fmla="*/ 5472042 h 6689159"/>
              <a:gd name="connsiteX147" fmla="*/ 3344580 w 6689158"/>
              <a:gd name="connsiteY147" fmla="*/ 6689159 h 6689159"/>
              <a:gd name="connsiteX148" fmla="*/ 1474594 w 6689158"/>
              <a:gd name="connsiteY148" fmla="*/ 6117958 h 6689159"/>
              <a:gd name="connsiteX149" fmla="*/ 1464440 w 6689158"/>
              <a:gd name="connsiteY149" fmla="*/ 6110366 h 6689159"/>
              <a:gd name="connsiteX150" fmla="*/ 1217117 w 6689158"/>
              <a:gd name="connsiteY150" fmla="*/ 5925420 h 6689159"/>
              <a:gd name="connsiteX151" fmla="*/ 979606 w 6689158"/>
              <a:gd name="connsiteY151" fmla="*/ 5709555 h 6689159"/>
              <a:gd name="connsiteX152" fmla="*/ 941121 w 6689158"/>
              <a:gd name="connsiteY152" fmla="*/ 5667211 h 6689159"/>
              <a:gd name="connsiteX153" fmla="*/ 763739 w 6689158"/>
              <a:gd name="connsiteY153" fmla="*/ 5472043 h 6689159"/>
              <a:gd name="connsiteX154" fmla="*/ 0 w 6689158"/>
              <a:gd name="connsiteY154" fmla="*/ 3344580 h 6689159"/>
              <a:gd name="connsiteX155" fmla="*/ 763739 w 6689158"/>
              <a:gd name="connsiteY155" fmla="*/ 1217118 h 6689159"/>
              <a:gd name="connsiteX156" fmla="*/ 979605 w 6689158"/>
              <a:gd name="connsiteY156" fmla="*/ 979604 h 6689159"/>
              <a:gd name="connsiteX157" fmla="*/ 1217117 w 6689158"/>
              <a:gd name="connsiteY157" fmla="*/ 763739 h 6689159"/>
              <a:gd name="connsiteX158" fmla="*/ 1252792 w 6689158"/>
              <a:gd name="connsiteY158" fmla="*/ 737062 h 6689159"/>
              <a:gd name="connsiteX159" fmla="*/ 1474594 w 6689158"/>
              <a:gd name="connsiteY159" fmla="*/ 571201 h 6689159"/>
              <a:gd name="connsiteX160" fmla="*/ 1650297 w 6689158"/>
              <a:gd name="connsiteY160" fmla="*/ 464459 h 6689159"/>
              <a:gd name="connsiteX161" fmla="*/ 1750354 w 6689158"/>
              <a:gd name="connsiteY161" fmla="*/ 403673 h 6689159"/>
              <a:gd name="connsiteX162" fmla="*/ 2042719 w 6689158"/>
              <a:gd name="connsiteY162" fmla="*/ 262835 h 6689159"/>
              <a:gd name="connsiteX163" fmla="*/ 2083584 w 6689158"/>
              <a:gd name="connsiteY163" fmla="*/ 247876 h 6689159"/>
              <a:gd name="connsiteX164" fmla="*/ 2350003 w 6689158"/>
              <a:gd name="connsiteY164" fmla="*/ 150366 h 6689159"/>
              <a:gd name="connsiteX165" fmla="*/ 3344579 w 6689158"/>
              <a:gd name="connsiteY165"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611312 w 6689158"/>
              <a:gd name="connsiteY71" fmla="*/ 1554887 h 6689159"/>
              <a:gd name="connsiteX72" fmla="*/ 5574839 w 6689158"/>
              <a:gd name="connsiteY72" fmla="*/ 1506112 h 6689159"/>
              <a:gd name="connsiteX73" fmla="*/ 5611312 w 6689158"/>
              <a:gd name="connsiteY73" fmla="*/ 1554887 h 6689159"/>
              <a:gd name="connsiteX74" fmla="*/ 5610671 w 6689158"/>
              <a:gd name="connsiteY74" fmla="*/ 1554917 h 6689159"/>
              <a:gd name="connsiteX75" fmla="*/ 3930424 w 6689158"/>
              <a:gd name="connsiteY75" fmla="*/ 1991564 h 6689159"/>
              <a:gd name="connsiteX76" fmla="*/ 3863712 w 6689158"/>
              <a:gd name="connsiteY76" fmla="*/ 2025688 h 6689159"/>
              <a:gd name="connsiteX77" fmla="*/ 3998266 w 6689158"/>
              <a:gd name="connsiteY77" fmla="*/ 2153752 h 6689159"/>
              <a:gd name="connsiteX78" fmla="*/ 4470031 w 6689158"/>
              <a:gd name="connsiteY78" fmla="*/ 2590407 h 6689159"/>
              <a:gd name="connsiteX79" fmla="*/ 4801691 w 6689158"/>
              <a:gd name="connsiteY79" fmla="*/ 2888769 h 6689159"/>
              <a:gd name="connsiteX80" fmla="*/ 4815328 w 6689158"/>
              <a:gd name="connsiteY80" fmla="*/ 2881367 h 6689159"/>
              <a:gd name="connsiteX81" fmla="*/ 5066831 w 6689158"/>
              <a:gd name="connsiteY81" fmla="*/ 2830591 h 6689159"/>
              <a:gd name="connsiteX82" fmla="*/ 5712962 w 6689158"/>
              <a:gd name="connsiteY82" fmla="*/ 3476722 h 6689159"/>
              <a:gd name="connsiteX83" fmla="*/ 5699834 w 6689158"/>
              <a:gd name="connsiteY83" fmla="*/ 3606939 h 6689159"/>
              <a:gd name="connsiteX84" fmla="*/ 5684600 w 6689158"/>
              <a:gd name="connsiteY84" fmla="*/ 3656022 h 6689159"/>
              <a:gd name="connsiteX85" fmla="*/ 5861148 w 6689158"/>
              <a:gd name="connsiteY85" fmla="*/ 3805497 h 6689159"/>
              <a:gd name="connsiteX86" fmla="*/ 6147161 w 6689158"/>
              <a:gd name="connsiteY86" fmla="*/ 4039666 h 6689159"/>
              <a:gd name="connsiteX87" fmla="*/ 6147160 w 6689158"/>
              <a:gd name="connsiteY87" fmla="*/ 4039665 h 6689159"/>
              <a:gd name="connsiteX88" fmla="*/ 6176112 w 6689158"/>
              <a:gd name="connsiteY88" fmla="*/ 3927066 h 6689159"/>
              <a:gd name="connsiteX89" fmla="*/ 6234832 w 6689158"/>
              <a:gd name="connsiteY89" fmla="*/ 3344579 h 6689159"/>
              <a:gd name="connsiteX90" fmla="*/ 5741222 w 6689158"/>
              <a:gd name="connsiteY90" fmla="*/ 1728614 h 6689159"/>
              <a:gd name="connsiteX91" fmla="*/ 5611312 w 6689158"/>
              <a:gd name="connsiteY91" fmla="*/ 1554887 h 6689159"/>
              <a:gd name="connsiteX92" fmla="*/ 1958215 w 6689158"/>
              <a:gd name="connsiteY92" fmla="*/ 808450 h 6689159"/>
              <a:gd name="connsiteX93" fmla="*/ 1728612 w 6689158"/>
              <a:gd name="connsiteY93" fmla="*/ 947938 h 6689159"/>
              <a:gd name="connsiteX94" fmla="*/ 1300863 w 6689158"/>
              <a:gd name="connsiteY94" fmla="*/ 1300863 h 6689159"/>
              <a:gd name="connsiteX95" fmla="*/ 1258822 w 6689158"/>
              <a:gd name="connsiteY95" fmla="*/ 1347119 h 6689159"/>
              <a:gd name="connsiteX96" fmla="*/ 1258823 w 6689158"/>
              <a:gd name="connsiteY96" fmla="*/ 1347121 h 6689159"/>
              <a:gd name="connsiteX97" fmla="*/ 1263190 w 6689158"/>
              <a:gd name="connsiteY97" fmla="*/ 1402742 h 6689159"/>
              <a:gd name="connsiteX98" fmla="*/ 1504198 w 6689158"/>
              <a:gd name="connsiteY98" fmla="*/ 2390321 h 6689159"/>
              <a:gd name="connsiteX99" fmla="*/ 1570031 w 6689158"/>
              <a:gd name="connsiteY99" fmla="*/ 2538525 h 6689159"/>
              <a:gd name="connsiteX100" fmla="*/ 1593172 w 6689158"/>
              <a:gd name="connsiteY100" fmla="*/ 2532572 h 6689159"/>
              <a:gd name="connsiteX101" fmla="*/ 1772170 w 6689158"/>
              <a:gd name="connsiteY101" fmla="*/ 2514528 h 6689159"/>
              <a:gd name="connsiteX102" fmla="*/ 1951170 w 6689158"/>
              <a:gd name="connsiteY102" fmla="*/ 2532573 h 6689159"/>
              <a:gd name="connsiteX103" fmla="*/ 1953707 w 6689158"/>
              <a:gd name="connsiteY103" fmla="*/ 2533225 h 6689159"/>
              <a:gd name="connsiteX104" fmla="*/ 2046764 w 6689158"/>
              <a:gd name="connsiteY104" fmla="*/ 2419427 h 6689159"/>
              <a:gd name="connsiteX105" fmla="*/ 2304042 w 6689158"/>
              <a:gd name="connsiteY105" fmla="*/ 2155240 h 6689159"/>
              <a:gd name="connsiteX106" fmla="*/ 2679904 w 6689158"/>
              <a:gd name="connsiteY106" fmla="*/ 1840257 h 6689159"/>
              <a:gd name="connsiteX107" fmla="*/ 2839402 w 6689158"/>
              <a:gd name="connsiteY107" fmla="*/ 1728600 h 6689159"/>
              <a:gd name="connsiteX108" fmla="*/ 2839403 w 6689158"/>
              <a:gd name="connsiteY108" fmla="*/ 1728599 h 6689159"/>
              <a:gd name="connsiteX109" fmla="*/ 2180258 w 6689158"/>
              <a:gd name="connsiteY109" fmla="*/ 1049601 h 6689159"/>
              <a:gd name="connsiteX110" fmla="*/ 1958217 w 6689158"/>
              <a:gd name="connsiteY110" fmla="*/ 808450 h 6689159"/>
              <a:gd name="connsiteX111" fmla="*/ 1958215 w 6689158"/>
              <a:gd name="connsiteY111" fmla="*/ 808451 h 6689159"/>
              <a:gd name="connsiteX112" fmla="*/ 1958215 w 6689158"/>
              <a:gd name="connsiteY112" fmla="*/ 808450 h 6689159"/>
              <a:gd name="connsiteX113" fmla="*/ 3344580 w 6689158"/>
              <a:gd name="connsiteY113" fmla="*/ 454327 h 6689159"/>
              <a:gd name="connsiteX114" fmla="*/ 2485108 w 6689158"/>
              <a:gd name="connsiteY114" fmla="*/ 584267 h 6689159"/>
              <a:gd name="connsiteX115" fmla="*/ 2426658 w 6689158"/>
              <a:gd name="connsiteY115" fmla="*/ 605660 h 6689159"/>
              <a:gd name="connsiteX116" fmla="*/ 2608239 w 6689158"/>
              <a:gd name="connsiteY116" fmla="*/ 793623 h 6689159"/>
              <a:gd name="connsiteX117" fmla="*/ 3061380 w 6689158"/>
              <a:gd name="connsiteY117" fmla="*/ 1249579 h 6689159"/>
              <a:gd name="connsiteX118" fmla="*/ 3282982 w 6689158"/>
              <a:gd name="connsiteY118" fmla="*/ 1466429 h 6689159"/>
              <a:gd name="connsiteX119" fmla="*/ 3282982 w 6689158"/>
              <a:gd name="connsiteY119" fmla="*/ 1466430 h 6689159"/>
              <a:gd name="connsiteX120" fmla="*/ 3293669 w 6689158"/>
              <a:gd name="connsiteY120" fmla="*/ 1460635 h 6689159"/>
              <a:gd name="connsiteX121" fmla="*/ 4895242 w 6689158"/>
              <a:gd name="connsiteY121" fmla="*/ 1001928 h 6689159"/>
              <a:gd name="connsiteX122" fmla="*/ 5020677 w 6689158"/>
              <a:gd name="connsiteY122" fmla="*/ 992902 h 6689159"/>
              <a:gd name="connsiteX123" fmla="*/ 5140393 w 6689158"/>
              <a:gd name="connsiteY123" fmla="*/ 1082424 h 6689159"/>
              <a:gd name="connsiteX124" fmla="*/ 5140394 w 6689158"/>
              <a:gd name="connsiteY124" fmla="*/ 1082424 h 6689159"/>
              <a:gd name="connsiteX125" fmla="*/ 5020677 w 6689158"/>
              <a:gd name="connsiteY125" fmla="*/ 992901 h 6689159"/>
              <a:gd name="connsiteX126" fmla="*/ 4960548 w 6689158"/>
              <a:gd name="connsiteY126" fmla="*/ 947937 h 6689159"/>
              <a:gd name="connsiteX127" fmla="*/ 3344580 w 6689158"/>
              <a:gd name="connsiteY127" fmla="*/ 454327 h 6689159"/>
              <a:gd name="connsiteX128" fmla="*/ 3344579 w 6689158"/>
              <a:gd name="connsiteY128" fmla="*/ 0 h 6689159"/>
              <a:gd name="connsiteX129" fmla="*/ 5709555 w 6689158"/>
              <a:gd name="connsiteY129" fmla="*/ 979605 h 6689159"/>
              <a:gd name="connsiteX130" fmla="*/ 5721404 w 6689158"/>
              <a:gd name="connsiteY130" fmla="*/ 992643 h 6689159"/>
              <a:gd name="connsiteX131" fmla="*/ 5925421 w 6689158"/>
              <a:gd name="connsiteY131" fmla="*/ 1217117 h 6689159"/>
              <a:gd name="connsiteX132" fmla="*/ 6117959 w 6689158"/>
              <a:gd name="connsiteY132" fmla="*/ 1474595 h 6689159"/>
              <a:gd name="connsiteX133" fmla="*/ 6162894 w 6689158"/>
              <a:gd name="connsiteY133" fmla="*/ 1548561 h 6689159"/>
              <a:gd name="connsiteX134" fmla="*/ 6162893 w 6689158"/>
              <a:gd name="connsiteY134" fmla="*/ 1548563 h 6689159"/>
              <a:gd name="connsiteX135" fmla="*/ 6285487 w 6689158"/>
              <a:gd name="connsiteY135" fmla="*/ 1750355 h 6689159"/>
              <a:gd name="connsiteX136" fmla="*/ 6689158 w 6689158"/>
              <a:gd name="connsiteY136" fmla="*/ 3344580 h 6689159"/>
              <a:gd name="connsiteX137" fmla="*/ 6538793 w 6689158"/>
              <a:gd name="connsiteY137" fmla="*/ 4339156 h 6689159"/>
              <a:gd name="connsiteX138" fmla="*/ 6534721 w 6689158"/>
              <a:gd name="connsiteY138" fmla="*/ 4350281 h 6689159"/>
              <a:gd name="connsiteX139" fmla="*/ 6426326 w 6689158"/>
              <a:gd name="connsiteY139" fmla="*/ 4646440 h 6689159"/>
              <a:gd name="connsiteX140" fmla="*/ 6421122 w 6689158"/>
              <a:gd name="connsiteY140" fmla="*/ 4657245 h 6689159"/>
              <a:gd name="connsiteX141" fmla="*/ 6372396 w 6689158"/>
              <a:gd name="connsiteY141" fmla="*/ 4758392 h 6689159"/>
              <a:gd name="connsiteX142" fmla="*/ 6285487 w 6689158"/>
              <a:gd name="connsiteY142" fmla="*/ 4938805 h 6689159"/>
              <a:gd name="connsiteX143" fmla="*/ 6117958 w 6689158"/>
              <a:gd name="connsiteY143" fmla="*/ 5214566 h 6689159"/>
              <a:gd name="connsiteX144" fmla="*/ 6035322 w 6689158"/>
              <a:gd name="connsiteY144" fmla="*/ 5325072 h 6689159"/>
              <a:gd name="connsiteX145" fmla="*/ 5925420 w 6689158"/>
              <a:gd name="connsiteY145" fmla="*/ 5472042 h 6689159"/>
              <a:gd name="connsiteX146" fmla="*/ 3344580 w 6689158"/>
              <a:gd name="connsiteY146" fmla="*/ 6689159 h 6689159"/>
              <a:gd name="connsiteX147" fmla="*/ 1474594 w 6689158"/>
              <a:gd name="connsiteY147" fmla="*/ 6117958 h 6689159"/>
              <a:gd name="connsiteX148" fmla="*/ 1464440 w 6689158"/>
              <a:gd name="connsiteY148" fmla="*/ 6110366 h 6689159"/>
              <a:gd name="connsiteX149" fmla="*/ 1217117 w 6689158"/>
              <a:gd name="connsiteY149" fmla="*/ 5925420 h 6689159"/>
              <a:gd name="connsiteX150" fmla="*/ 979606 w 6689158"/>
              <a:gd name="connsiteY150" fmla="*/ 5709555 h 6689159"/>
              <a:gd name="connsiteX151" fmla="*/ 941121 w 6689158"/>
              <a:gd name="connsiteY151" fmla="*/ 5667211 h 6689159"/>
              <a:gd name="connsiteX152" fmla="*/ 763739 w 6689158"/>
              <a:gd name="connsiteY152" fmla="*/ 5472043 h 6689159"/>
              <a:gd name="connsiteX153" fmla="*/ 0 w 6689158"/>
              <a:gd name="connsiteY153" fmla="*/ 3344580 h 6689159"/>
              <a:gd name="connsiteX154" fmla="*/ 763739 w 6689158"/>
              <a:gd name="connsiteY154" fmla="*/ 1217118 h 6689159"/>
              <a:gd name="connsiteX155" fmla="*/ 979605 w 6689158"/>
              <a:gd name="connsiteY155" fmla="*/ 979604 h 6689159"/>
              <a:gd name="connsiteX156" fmla="*/ 1217117 w 6689158"/>
              <a:gd name="connsiteY156" fmla="*/ 763739 h 6689159"/>
              <a:gd name="connsiteX157" fmla="*/ 1252792 w 6689158"/>
              <a:gd name="connsiteY157" fmla="*/ 737062 h 6689159"/>
              <a:gd name="connsiteX158" fmla="*/ 1474594 w 6689158"/>
              <a:gd name="connsiteY158" fmla="*/ 571201 h 6689159"/>
              <a:gd name="connsiteX159" fmla="*/ 1650297 w 6689158"/>
              <a:gd name="connsiteY159" fmla="*/ 464459 h 6689159"/>
              <a:gd name="connsiteX160" fmla="*/ 1750354 w 6689158"/>
              <a:gd name="connsiteY160" fmla="*/ 403673 h 6689159"/>
              <a:gd name="connsiteX161" fmla="*/ 2042719 w 6689158"/>
              <a:gd name="connsiteY161" fmla="*/ 262835 h 6689159"/>
              <a:gd name="connsiteX162" fmla="*/ 2083584 w 6689158"/>
              <a:gd name="connsiteY162" fmla="*/ 247876 h 6689159"/>
              <a:gd name="connsiteX163" fmla="*/ 2350003 w 6689158"/>
              <a:gd name="connsiteY163" fmla="*/ 150366 h 6689159"/>
              <a:gd name="connsiteX164" fmla="*/ 3344579 w 6689158"/>
              <a:gd name="connsiteY164"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611312 w 6689158"/>
              <a:gd name="connsiteY71" fmla="*/ 1554887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5611312 w 6689158"/>
              <a:gd name="connsiteY90" fmla="*/ 1554887 h 6689159"/>
              <a:gd name="connsiteX91" fmla="*/ 1958215 w 6689158"/>
              <a:gd name="connsiteY91" fmla="*/ 808450 h 6689159"/>
              <a:gd name="connsiteX92" fmla="*/ 1728612 w 6689158"/>
              <a:gd name="connsiteY92" fmla="*/ 947938 h 6689159"/>
              <a:gd name="connsiteX93" fmla="*/ 1300863 w 6689158"/>
              <a:gd name="connsiteY93" fmla="*/ 1300863 h 6689159"/>
              <a:gd name="connsiteX94" fmla="*/ 1258822 w 6689158"/>
              <a:gd name="connsiteY94" fmla="*/ 1347119 h 6689159"/>
              <a:gd name="connsiteX95" fmla="*/ 1258823 w 6689158"/>
              <a:gd name="connsiteY95" fmla="*/ 1347121 h 6689159"/>
              <a:gd name="connsiteX96" fmla="*/ 1263190 w 6689158"/>
              <a:gd name="connsiteY96" fmla="*/ 1402742 h 6689159"/>
              <a:gd name="connsiteX97" fmla="*/ 1504198 w 6689158"/>
              <a:gd name="connsiteY97" fmla="*/ 2390321 h 6689159"/>
              <a:gd name="connsiteX98" fmla="*/ 1570031 w 6689158"/>
              <a:gd name="connsiteY98" fmla="*/ 2538525 h 6689159"/>
              <a:gd name="connsiteX99" fmla="*/ 1593172 w 6689158"/>
              <a:gd name="connsiteY99" fmla="*/ 2532572 h 6689159"/>
              <a:gd name="connsiteX100" fmla="*/ 1772170 w 6689158"/>
              <a:gd name="connsiteY100" fmla="*/ 2514528 h 6689159"/>
              <a:gd name="connsiteX101" fmla="*/ 1951170 w 6689158"/>
              <a:gd name="connsiteY101" fmla="*/ 2532573 h 6689159"/>
              <a:gd name="connsiteX102" fmla="*/ 1953707 w 6689158"/>
              <a:gd name="connsiteY102" fmla="*/ 2533225 h 6689159"/>
              <a:gd name="connsiteX103" fmla="*/ 2046764 w 6689158"/>
              <a:gd name="connsiteY103" fmla="*/ 2419427 h 6689159"/>
              <a:gd name="connsiteX104" fmla="*/ 2304042 w 6689158"/>
              <a:gd name="connsiteY104" fmla="*/ 2155240 h 6689159"/>
              <a:gd name="connsiteX105" fmla="*/ 2679904 w 6689158"/>
              <a:gd name="connsiteY105" fmla="*/ 1840257 h 6689159"/>
              <a:gd name="connsiteX106" fmla="*/ 2839402 w 6689158"/>
              <a:gd name="connsiteY106" fmla="*/ 1728600 h 6689159"/>
              <a:gd name="connsiteX107" fmla="*/ 2839403 w 6689158"/>
              <a:gd name="connsiteY107" fmla="*/ 1728599 h 6689159"/>
              <a:gd name="connsiteX108" fmla="*/ 2180258 w 6689158"/>
              <a:gd name="connsiteY108" fmla="*/ 1049601 h 6689159"/>
              <a:gd name="connsiteX109" fmla="*/ 1958217 w 6689158"/>
              <a:gd name="connsiteY109" fmla="*/ 808450 h 6689159"/>
              <a:gd name="connsiteX110" fmla="*/ 1958215 w 6689158"/>
              <a:gd name="connsiteY110" fmla="*/ 808451 h 6689159"/>
              <a:gd name="connsiteX111" fmla="*/ 1958215 w 6689158"/>
              <a:gd name="connsiteY111" fmla="*/ 808450 h 6689159"/>
              <a:gd name="connsiteX112" fmla="*/ 3344580 w 6689158"/>
              <a:gd name="connsiteY112" fmla="*/ 454327 h 6689159"/>
              <a:gd name="connsiteX113" fmla="*/ 2485108 w 6689158"/>
              <a:gd name="connsiteY113" fmla="*/ 584267 h 6689159"/>
              <a:gd name="connsiteX114" fmla="*/ 2426658 w 6689158"/>
              <a:gd name="connsiteY114" fmla="*/ 605660 h 6689159"/>
              <a:gd name="connsiteX115" fmla="*/ 2608239 w 6689158"/>
              <a:gd name="connsiteY115" fmla="*/ 793623 h 6689159"/>
              <a:gd name="connsiteX116" fmla="*/ 3061380 w 6689158"/>
              <a:gd name="connsiteY116" fmla="*/ 1249579 h 6689159"/>
              <a:gd name="connsiteX117" fmla="*/ 3282982 w 6689158"/>
              <a:gd name="connsiteY117" fmla="*/ 1466429 h 6689159"/>
              <a:gd name="connsiteX118" fmla="*/ 3282982 w 6689158"/>
              <a:gd name="connsiteY118" fmla="*/ 1466430 h 6689159"/>
              <a:gd name="connsiteX119" fmla="*/ 3293669 w 6689158"/>
              <a:gd name="connsiteY119" fmla="*/ 1460635 h 6689159"/>
              <a:gd name="connsiteX120" fmla="*/ 4895242 w 6689158"/>
              <a:gd name="connsiteY120" fmla="*/ 1001928 h 6689159"/>
              <a:gd name="connsiteX121" fmla="*/ 5020677 w 6689158"/>
              <a:gd name="connsiteY121" fmla="*/ 992902 h 6689159"/>
              <a:gd name="connsiteX122" fmla="*/ 5140393 w 6689158"/>
              <a:gd name="connsiteY122" fmla="*/ 1082424 h 6689159"/>
              <a:gd name="connsiteX123" fmla="*/ 5140394 w 6689158"/>
              <a:gd name="connsiteY123" fmla="*/ 1082424 h 6689159"/>
              <a:gd name="connsiteX124" fmla="*/ 5020677 w 6689158"/>
              <a:gd name="connsiteY124" fmla="*/ 992901 h 6689159"/>
              <a:gd name="connsiteX125" fmla="*/ 4960548 w 6689158"/>
              <a:gd name="connsiteY125" fmla="*/ 947937 h 6689159"/>
              <a:gd name="connsiteX126" fmla="*/ 3344580 w 6689158"/>
              <a:gd name="connsiteY126" fmla="*/ 454327 h 6689159"/>
              <a:gd name="connsiteX127" fmla="*/ 3344579 w 6689158"/>
              <a:gd name="connsiteY127" fmla="*/ 0 h 6689159"/>
              <a:gd name="connsiteX128" fmla="*/ 5709555 w 6689158"/>
              <a:gd name="connsiteY128" fmla="*/ 979605 h 6689159"/>
              <a:gd name="connsiteX129" fmla="*/ 5721404 w 6689158"/>
              <a:gd name="connsiteY129" fmla="*/ 992643 h 6689159"/>
              <a:gd name="connsiteX130" fmla="*/ 5925421 w 6689158"/>
              <a:gd name="connsiteY130" fmla="*/ 1217117 h 6689159"/>
              <a:gd name="connsiteX131" fmla="*/ 6117959 w 6689158"/>
              <a:gd name="connsiteY131" fmla="*/ 1474595 h 6689159"/>
              <a:gd name="connsiteX132" fmla="*/ 6162894 w 6689158"/>
              <a:gd name="connsiteY132" fmla="*/ 1548561 h 6689159"/>
              <a:gd name="connsiteX133" fmla="*/ 6162893 w 6689158"/>
              <a:gd name="connsiteY133" fmla="*/ 1548563 h 6689159"/>
              <a:gd name="connsiteX134" fmla="*/ 6285487 w 6689158"/>
              <a:gd name="connsiteY134" fmla="*/ 1750355 h 6689159"/>
              <a:gd name="connsiteX135" fmla="*/ 6689158 w 6689158"/>
              <a:gd name="connsiteY135" fmla="*/ 3344580 h 6689159"/>
              <a:gd name="connsiteX136" fmla="*/ 6538793 w 6689158"/>
              <a:gd name="connsiteY136" fmla="*/ 4339156 h 6689159"/>
              <a:gd name="connsiteX137" fmla="*/ 6534721 w 6689158"/>
              <a:gd name="connsiteY137" fmla="*/ 4350281 h 6689159"/>
              <a:gd name="connsiteX138" fmla="*/ 6426326 w 6689158"/>
              <a:gd name="connsiteY138" fmla="*/ 4646440 h 6689159"/>
              <a:gd name="connsiteX139" fmla="*/ 6421122 w 6689158"/>
              <a:gd name="connsiteY139" fmla="*/ 4657245 h 6689159"/>
              <a:gd name="connsiteX140" fmla="*/ 6372396 w 6689158"/>
              <a:gd name="connsiteY140" fmla="*/ 4758392 h 6689159"/>
              <a:gd name="connsiteX141" fmla="*/ 6285487 w 6689158"/>
              <a:gd name="connsiteY141" fmla="*/ 4938805 h 6689159"/>
              <a:gd name="connsiteX142" fmla="*/ 6117958 w 6689158"/>
              <a:gd name="connsiteY142" fmla="*/ 5214566 h 6689159"/>
              <a:gd name="connsiteX143" fmla="*/ 6035322 w 6689158"/>
              <a:gd name="connsiteY143" fmla="*/ 5325072 h 6689159"/>
              <a:gd name="connsiteX144" fmla="*/ 5925420 w 6689158"/>
              <a:gd name="connsiteY144" fmla="*/ 5472042 h 6689159"/>
              <a:gd name="connsiteX145" fmla="*/ 3344580 w 6689158"/>
              <a:gd name="connsiteY145" fmla="*/ 6689159 h 6689159"/>
              <a:gd name="connsiteX146" fmla="*/ 1474594 w 6689158"/>
              <a:gd name="connsiteY146" fmla="*/ 6117958 h 6689159"/>
              <a:gd name="connsiteX147" fmla="*/ 1464440 w 6689158"/>
              <a:gd name="connsiteY147" fmla="*/ 6110366 h 6689159"/>
              <a:gd name="connsiteX148" fmla="*/ 1217117 w 6689158"/>
              <a:gd name="connsiteY148" fmla="*/ 5925420 h 6689159"/>
              <a:gd name="connsiteX149" fmla="*/ 979606 w 6689158"/>
              <a:gd name="connsiteY149" fmla="*/ 5709555 h 6689159"/>
              <a:gd name="connsiteX150" fmla="*/ 941121 w 6689158"/>
              <a:gd name="connsiteY150" fmla="*/ 5667211 h 6689159"/>
              <a:gd name="connsiteX151" fmla="*/ 763739 w 6689158"/>
              <a:gd name="connsiteY151" fmla="*/ 5472043 h 6689159"/>
              <a:gd name="connsiteX152" fmla="*/ 0 w 6689158"/>
              <a:gd name="connsiteY152" fmla="*/ 3344580 h 6689159"/>
              <a:gd name="connsiteX153" fmla="*/ 763739 w 6689158"/>
              <a:gd name="connsiteY153" fmla="*/ 1217118 h 6689159"/>
              <a:gd name="connsiteX154" fmla="*/ 979605 w 6689158"/>
              <a:gd name="connsiteY154" fmla="*/ 979604 h 6689159"/>
              <a:gd name="connsiteX155" fmla="*/ 1217117 w 6689158"/>
              <a:gd name="connsiteY155" fmla="*/ 763739 h 6689159"/>
              <a:gd name="connsiteX156" fmla="*/ 1252792 w 6689158"/>
              <a:gd name="connsiteY156" fmla="*/ 737062 h 6689159"/>
              <a:gd name="connsiteX157" fmla="*/ 1474594 w 6689158"/>
              <a:gd name="connsiteY157" fmla="*/ 571201 h 6689159"/>
              <a:gd name="connsiteX158" fmla="*/ 1650297 w 6689158"/>
              <a:gd name="connsiteY158" fmla="*/ 464459 h 6689159"/>
              <a:gd name="connsiteX159" fmla="*/ 1750354 w 6689158"/>
              <a:gd name="connsiteY159" fmla="*/ 403673 h 6689159"/>
              <a:gd name="connsiteX160" fmla="*/ 2042719 w 6689158"/>
              <a:gd name="connsiteY160" fmla="*/ 262835 h 6689159"/>
              <a:gd name="connsiteX161" fmla="*/ 2083584 w 6689158"/>
              <a:gd name="connsiteY161" fmla="*/ 247876 h 6689159"/>
              <a:gd name="connsiteX162" fmla="*/ 2350003 w 6689158"/>
              <a:gd name="connsiteY162" fmla="*/ 150366 h 6689159"/>
              <a:gd name="connsiteX163" fmla="*/ 3344579 w 6689158"/>
              <a:gd name="connsiteY163"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611312 w 6689158"/>
              <a:gd name="connsiteY71" fmla="*/ 1554887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5611312 w 6689158"/>
              <a:gd name="connsiteY90" fmla="*/ 1554887 h 6689159"/>
              <a:gd name="connsiteX91" fmla="*/ 1958215 w 6689158"/>
              <a:gd name="connsiteY91" fmla="*/ 808450 h 6689159"/>
              <a:gd name="connsiteX92" fmla="*/ 1728612 w 6689158"/>
              <a:gd name="connsiteY92" fmla="*/ 947938 h 6689159"/>
              <a:gd name="connsiteX93" fmla="*/ 1300863 w 6689158"/>
              <a:gd name="connsiteY93" fmla="*/ 1300863 h 6689159"/>
              <a:gd name="connsiteX94" fmla="*/ 1258822 w 6689158"/>
              <a:gd name="connsiteY94" fmla="*/ 1347119 h 6689159"/>
              <a:gd name="connsiteX95" fmla="*/ 1258823 w 6689158"/>
              <a:gd name="connsiteY95" fmla="*/ 1347121 h 6689159"/>
              <a:gd name="connsiteX96" fmla="*/ 1263190 w 6689158"/>
              <a:gd name="connsiteY96" fmla="*/ 1402742 h 6689159"/>
              <a:gd name="connsiteX97" fmla="*/ 1504198 w 6689158"/>
              <a:gd name="connsiteY97" fmla="*/ 2390321 h 6689159"/>
              <a:gd name="connsiteX98" fmla="*/ 1570031 w 6689158"/>
              <a:gd name="connsiteY98" fmla="*/ 2538525 h 6689159"/>
              <a:gd name="connsiteX99" fmla="*/ 1593172 w 6689158"/>
              <a:gd name="connsiteY99" fmla="*/ 2532572 h 6689159"/>
              <a:gd name="connsiteX100" fmla="*/ 1772170 w 6689158"/>
              <a:gd name="connsiteY100" fmla="*/ 2514528 h 6689159"/>
              <a:gd name="connsiteX101" fmla="*/ 1951170 w 6689158"/>
              <a:gd name="connsiteY101" fmla="*/ 2532573 h 6689159"/>
              <a:gd name="connsiteX102" fmla="*/ 1953707 w 6689158"/>
              <a:gd name="connsiteY102" fmla="*/ 2533225 h 6689159"/>
              <a:gd name="connsiteX103" fmla="*/ 2046764 w 6689158"/>
              <a:gd name="connsiteY103" fmla="*/ 2419427 h 6689159"/>
              <a:gd name="connsiteX104" fmla="*/ 2304042 w 6689158"/>
              <a:gd name="connsiteY104" fmla="*/ 2155240 h 6689159"/>
              <a:gd name="connsiteX105" fmla="*/ 2679904 w 6689158"/>
              <a:gd name="connsiteY105" fmla="*/ 1840257 h 6689159"/>
              <a:gd name="connsiteX106" fmla="*/ 2839402 w 6689158"/>
              <a:gd name="connsiteY106" fmla="*/ 1728600 h 6689159"/>
              <a:gd name="connsiteX107" fmla="*/ 2839403 w 6689158"/>
              <a:gd name="connsiteY107" fmla="*/ 1728599 h 6689159"/>
              <a:gd name="connsiteX108" fmla="*/ 2180258 w 6689158"/>
              <a:gd name="connsiteY108" fmla="*/ 1049601 h 6689159"/>
              <a:gd name="connsiteX109" fmla="*/ 1958217 w 6689158"/>
              <a:gd name="connsiteY109" fmla="*/ 808450 h 6689159"/>
              <a:gd name="connsiteX110" fmla="*/ 1958215 w 6689158"/>
              <a:gd name="connsiteY110" fmla="*/ 808451 h 6689159"/>
              <a:gd name="connsiteX111" fmla="*/ 1958215 w 6689158"/>
              <a:gd name="connsiteY111" fmla="*/ 808450 h 6689159"/>
              <a:gd name="connsiteX112" fmla="*/ 3344580 w 6689158"/>
              <a:gd name="connsiteY112" fmla="*/ 454327 h 6689159"/>
              <a:gd name="connsiteX113" fmla="*/ 2485108 w 6689158"/>
              <a:gd name="connsiteY113" fmla="*/ 584267 h 6689159"/>
              <a:gd name="connsiteX114" fmla="*/ 2426658 w 6689158"/>
              <a:gd name="connsiteY114" fmla="*/ 605660 h 6689159"/>
              <a:gd name="connsiteX115" fmla="*/ 2608239 w 6689158"/>
              <a:gd name="connsiteY115" fmla="*/ 793623 h 6689159"/>
              <a:gd name="connsiteX116" fmla="*/ 3061380 w 6689158"/>
              <a:gd name="connsiteY116" fmla="*/ 1249579 h 6689159"/>
              <a:gd name="connsiteX117" fmla="*/ 3282982 w 6689158"/>
              <a:gd name="connsiteY117" fmla="*/ 1466429 h 6689159"/>
              <a:gd name="connsiteX118" fmla="*/ 3282982 w 6689158"/>
              <a:gd name="connsiteY118" fmla="*/ 1466430 h 6689159"/>
              <a:gd name="connsiteX119" fmla="*/ 3293669 w 6689158"/>
              <a:gd name="connsiteY119" fmla="*/ 1460635 h 6689159"/>
              <a:gd name="connsiteX120" fmla="*/ 4895242 w 6689158"/>
              <a:gd name="connsiteY120" fmla="*/ 1001928 h 6689159"/>
              <a:gd name="connsiteX121" fmla="*/ 5020677 w 6689158"/>
              <a:gd name="connsiteY121" fmla="*/ 992902 h 6689159"/>
              <a:gd name="connsiteX122" fmla="*/ 5140393 w 6689158"/>
              <a:gd name="connsiteY122" fmla="*/ 1082424 h 6689159"/>
              <a:gd name="connsiteX123" fmla="*/ 5020677 w 6689158"/>
              <a:gd name="connsiteY123" fmla="*/ 992901 h 6689159"/>
              <a:gd name="connsiteX124" fmla="*/ 4960548 w 6689158"/>
              <a:gd name="connsiteY124" fmla="*/ 947937 h 6689159"/>
              <a:gd name="connsiteX125" fmla="*/ 3344580 w 6689158"/>
              <a:gd name="connsiteY125" fmla="*/ 454327 h 6689159"/>
              <a:gd name="connsiteX126" fmla="*/ 3344579 w 6689158"/>
              <a:gd name="connsiteY126" fmla="*/ 0 h 6689159"/>
              <a:gd name="connsiteX127" fmla="*/ 5709555 w 6689158"/>
              <a:gd name="connsiteY127" fmla="*/ 979605 h 6689159"/>
              <a:gd name="connsiteX128" fmla="*/ 5721404 w 6689158"/>
              <a:gd name="connsiteY128" fmla="*/ 992643 h 6689159"/>
              <a:gd name="connsiteX129" fmla="*/ 5925421 w 6689158"/>
              <a:gd name="connsiteY129" fmla="*/ 1217117 h 6689159"/>
              <a:gd name="connsiteX130" fmla="*/ 6117959 w 6689158"/>
              <a:gd name="connsiteY130" fmla="*/ 1474595 h 6689159"/>
              <a:gd name="connsiteX131" fmla="*/ 6162894 w 6689158"/>
              <a:gd name="connsiteY131" fmla="*/ 1548561 h 6689159"/>
              <a:gd name="connsiteX132" fmla="*/ 6162893 w 6689158"/>
              <a:gd name="connsiteY132" fmla="*/ 1548563 h 6689159"/>
              <a:gd name="connsiteX133" fmla="*/ 6285487 w 6689158"/>
              <a:gd name="connsiteY133" fmla="*/ 1750355 h 6689159"/>
              <a:gd name="connsiteX134" fmla="*/ 6689158 w 6689158"/>
              <a:gd name="connsiteY134" fmla="*/ 3344580 h 6689159"/>
              <a:gd name="connsiteX135" fmla="*/ 6538793 w 6689158"/>
              <a:gd name="connsiteY135" fmla="*/ 4339156 h 6689159"/>
              <a:gd name="connsiteX136" fmla="*/ 6534721 w 6689158"/>
              <a:gd name="connsiteY136" fmla="*/ 4350281 h 6689159"/>
              <a:gd name="connsiteX137" fmla="*/ 6426326 w 6689158"/>
              <a:gd name="connsiteY137" fmla="*/ 4646440 h 6689159"/>
              <a:gd name="connsiteX138" fmla="*/ 6421122 w 6689158"/>
              <a:gd name="connsiteY138" fmla="*/ 4657245 h 6689159"/>
              <a:gd name="connsiteX139" fmla="*/ 6372396 w 6689158"/>
              <a:gd name="connsiteY139" fmla="*/ 4758392 h 6689159"/>
              <a:gd name="connsiteX140" fmla="*/ 6285487 w 6689158"/>
              <a:gd name="connsiteY140" fmla="*/ 4938805 h 6689159"/>
              <a:gd name="connsiteX141" fmla="*/ 6117958 w 6689158"/>
              <a:gd name="connsiteY141" fmla="*/ 5214566 h 6689159"/>
              <a:gd name="connsiteX142" fmla="*/ 6035322 w 6689158"/>
              <a:gd name="connsiteY142" fmla="*/ 5325072 h 6689159"/>
              <a:gd name="connsiteX143" fmla="*/ 5925420 w 6689158"/>
              <a:gd name="connsiteY143" fmla="*/ 5472042 h 6689159"/>
              <a:gd name="connsiteX144" fmla="*/ 3344580 w 6689158"/>
              <a:gd name="connsiteY144" fmla="*/ 6689159 h 6689159"/>
              <a:gd name="connsiteX145" fmla="*/ 1474594 w 6689158"/>
              <a:gd name="connsiteY145" fmla="*/ 6117958 h 6689159"/>
              <a:gd name="connsiteX146" fmla="*/ 1464440 w 6689158"/>
              <a:gd name="connsiteY146" fmla="*/ 6110366 h 6689159"/>
              <a:gd name="connsiteX147" fmla="*/ 1217117 w 6689158"/>
              <a:gd name="connsiteY147" fmla="*/ 5925420 h 6689159"/>
              <a:gd name="connsiteX148" fmla="*/ 979606 w 6689158"/>
              <a:gd name="connsiteY148" fmla="*/ 5709555 h 6689159"/>
              <a:gd name="connsiteX149" fmla="*/ 941121 w 6689158"/>
              <a:gd name="connsiteY149" fmla="*/ 5667211 h 6689159"/>
              <a:gd name="connsiteX150" fmla="*/ 763739 w 6689158"/>
              <a:gd name="connsiteY150" fmla="*/ 5472043 h 6689159"/>
              <a:gd name="connsiteX151" fmla="*/ 0 w 6689158"/>
              <a:gd name="connsiteY151" fmla="*/ 3344580 h 6689159"/>
              <a:gd name="connsiteX152" fmla="*/ 763739 w 6689158"/>
              <a:gd name="connsiteY152" fmla="*/ 1217118 h 6689159"/>
              <a:gd name="connsiteX153" fmla="*/ 979605 w 6689158"/>
              <a:gd name="connsiteY153" fmla="*/ 979604 h 6689159"/>
              <a:gd name="connsiteX154" fmla="*/ 1217117 w 6689158"/>
              <a:gd name="connsiteY154" fmla="*/ 763739 h 6689159"/>
              <a:gd name="connsiteX155" fmla="*/ 1252792 w 6689158"/>
              <a:gd name="connsiteY155" fmla="*/ 737062 h 6689159"/>
              <a:gd name="connsiteX156" fmla="*/ 1474594 w 6689158"/>
              <a:gd name="connsiteY156" fmla="*/ 571201 h 6689159"/>
              <a:gd name="connsiteX157" fmla="*/ 1650297 w 6689158"/>
              <a:gd name="connsiteY157" fmla="*/ 464459 h 6689159"/>
              <a:gd name="connsiteX158" fmla="*/ 1750354 w 6689158"/>
              <a:gd name="connsiteY158" fmla="*/ 403673 h 6689159"/>
              <a:gd name="connsiteX159" fmla="*/ 2042719 w 6689158"/>
              <a:gd name="connsiteY159" fmla="*/ 262835 h 6689159"/>
              <a:gd name="connsiteX160" fmla="*/ 2083584 w 6689158"/>
              <a:gd name="connsiteY160" fmla="*/ 247876 h 6689159"/>
              <a:gd name="connsiteX161" fmla="*/ 2350003 w 6689158"/>
              <a:gd name="connsiteY161" fmla="*/ 150366 h 6689159"/>
              <a:gd name="connsiteX162" fmla="*/ 3344579 w 6689158"/>
              <a:gd name="connsiteY162"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611312 w 6689158"/>
              <a:gd name="connsiteY71" fmla="*/ 1554887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5611312 w 6689158"/>
              <a:gd name="connsiteY90" fmla="*/ 1554887 h 6689159"/>
              <a:gd name="connsiteX91" fmla="*/ 1958215 w 6689158"/>
              <a:gd name="connsiteY91" fmla="*/ 808450 h 6689159"/>
              <a:gd name="connsiteX92" fmla="*/ 1728612 w 6689158"/>
              <a:gd name="connsiteY92" fmla="*/ 947938 h 6689159"/>
              <a:gd name="connsiteX93" fmla="*/ 1300863 w 6689158"/>
              <a:gd name="connsiteY93" fmla="*/ 1300863 h 6689159"/>
              <a:gd name="connsiteX94" fmla="*/ 1258822 w 6689158"/>
              <a:gd name="connsiteY94" fmla="*/ 1347119 h 6689159"/>
              <a:gd name="connsiteX95" fmla="*/ 1258823 w 6689158"/>
              <a:gd name="connsiteY95" fmla="*/ 1347121 h 6689159"/>
              <a:gd name="connsiteX96" fmla="*/ 1263190 w 6689158"/>
              <a:gd name="connsiteY96" fmla="*/ 1402742 h 6689159"/>
              <a:gd name="connsiteX97" fmla="*/ 1504198 w 6689158"/>
              <a:gd name="connsiteY97" fmla="*/ 2390321 h 6689159"/>
              <a:gd name="connsiteX98" fmla="*/ 1570031 w 6689158"/>
              <a:gd name="connsiteY98" fmla="*/ 2538525 h 6689159"/>
              <a:gd name="connsiteX99" fmla="*/ 1593172 w 6689158"/>
              <a:gd name="connsiteY99" fmla="*/ 2532572 h 6689159"/>
              <a:gd name="connsiteX100" fmla="*/ 1772170 w 6689158"/>
              <a:gd name="connsiteY100" fmla="*/ 2514528 h 6689159"/>
              <a:gd name="connsiteX101" fmla="*/ 1951170 w 6689158"/>
              <a:gd name="connsiteY101" fmla="*/ 2532573 h 6689159"/>
              <a:gd name="connsiteX102" fmla="*/ 1953707 w 6689158"/>
              <a:gd name="connsiteY102" fmla="*/ 2533225 h 6689159"/>
              <a:gd name="connsiteX103" fmla="*/ 2046764 w 6689158"/>
              <a:gd name="connsiteY103" fmla="*/ 2419427 h 6689159"/>
              <a:gd name="connsiteX104" fmla="*/ 2304042 w 6689158"/>
              <a:gd name="connsiteY104" fmla="*/ 2155240 h 6689159"/>
              <a:gd name="connsiteX105" fmla="*/ 2679904 w 6689158"/>
              <a:gd name="connsiteY105" fmla="*/ 1840257 h 6689159"/>
              <a:gd name="connsiteX106" fmla="*/ 2839402 w 6689158"/>
              <a:gd name="connsiteY106" fmla="*/ 1728600 h 6689159"/>
              <a:gd name="connsiteX107" fmla="*/ 2839403 w 6689158"/>
              <a:gd name="connsiteY107" fmla="*/ 1728599 h 6689159"/>
              <a:gd name="connsiteX108" fmla="*/ 2180258 w 6689158"/>
              <a:gd name="connsiteY108" fmla="*/ 1049601 h 6689159"/>
              <a:gd name="connsiteX109" fmla="*/ 1958217 w 6689158"/>
              <a:gd name="connsiteY109" fmla="*/ 808450 h 6689159"/>
              <a:gd name="connsiteX110" fmla="*/ 1958215 w 6689158"/>
              <a:gd name="connsiteY110" fmla="*/ 808451 h 6689159"/>
              <a:gd name="connsiteX111" fmla="*/ 1958215 w 6689158"/>
              <a:gd name="connsiteY111" fmla="*/ 808450 h 6689159"/>
              <a:gd name="connsiteX112" fmla="*/ 3344580 w 6689158"/>
              <a:gd name="connsiteY112" fmla="*/ 454327 h 6689159"/>
              <a:gd name="connsiteX113" fmla="*/ 2485108 w 6689158"/>
              <a:gd name="connsiteY113" fmla="*/ 584267 h 6689159"/>
              <a:gd name="connsiteX114" fmla="*/ 2426658 w 6689158"/>
              <a:gd name="connsiteY114" fmla="*/ 605660 h 6689159"/>
              <a:gd name="connsiteX115" fmla="*/ 2608239 w 6689158"/>
              <a:gd name="connsiteY115" fmla="*/ 793623 h 6689159"/>
              <a:gd name="connsiteX116" fmla="*/ 3061380 w 6689158"/>
              <a:gd name="connsiteY116" fmla="*/ 1249579 h 6689159"/>
              <a:gd name="connsiteX117" fmla="*/ 3282982 w 6689158"/>
              <a:gd name="connsiteY117" fmla="*/ 1466429 h 6689159"/>
              <a:gd name="connsiteX118" fmla="*/ 3282982 w 6689158"/>
              <a:gd name="connsiteY118" fmla="*/ 1466430 h 6689159"/>
              <a:gd name="connsiteX119" fmla="*/ 3293669 w 6689158"/>
              <a:gd name="connsiteY119" fmla="*/ 1460635 h 6689159"/>
              <a:gd name="connsiteX120" fmla="*/ 4895242 w 6689158"/>
              <a:gd name="connsiteY120" fmla="*/ 1001928 h 6689159"/>
              <a:gd name="connsiteX121" fmla="*/ 5020677 w 6689158"/>
              <a:gd name="connsiteY121" fmla="*/ 992902 h 6689159"/>
              <a:gd name="connsiteX122" fmla="*/ 5020677 w 6689158"/>
              <a:gd name="connsiteY122" fmla="*/ 992901 h 6689159"/>
              <a:gd name="connsiteX123" fmla="*/ 4960548 w 6689158"/>
              <a:gd name="connsiteY123" fmla="*/ 947937 h 6689159"/>
              <a:gd name="connsiteX124" fmla="*/ 3344580 w 6689158"/>
              <a:gd name="connsiteY124" fmla="*/ 454327 h 6689159"/>
              <a:gd name="connsiteX125" fmla="*/ 3344579 w 6689158"/>
              <a:gd name="connsiteY125" fmla="*/ 0 h 6689159"/>
              <a:gd name="connsiteX126" fmla="*/ 5709555 w 6689158"/>
              <a:gd name="connsiteY126" fmla="*/ 979605 h 6689159"/>
              <a:gd name="connsiteX127" fmla="*/ 5721404 w 6689158"/>
              <a:gd name="connsiteY127" fmla="*/ 992643 h 6689159"/>
              <a:gd name="connsiteX128" fmla="*/ 5925421 w 6689158"/>
              <a:gd name="connsiteY128" fmla="*/ 1217117 h 6689159"/>
              <a:gd name="connsiteX129" fmla="*/ 6117959 w 6689158"/>
              <a:gd name="connsiteY129" fmla="*/ 1474595 h 6689159"/>
              <a:gd name="connsiteX130" fmla="*/ 6162894 w 6689158"/>
              <a:gd name="connsiteY130" fmla="*/ 1548561 h 6689159"/>
              <a:gd name="connsiteX131" fmla="*/ 6162893 w 6689158"/>
              <a:gd name="connsiteY131" fmla="*/ 1548563 h 6689159"/>
              <a:gd name="connsiteX132" fmla="*/ 6285487 w 6689158"/>
              <a:gd name="connsiteY132" fmla="*/ 1750355 h 6689159"/>
              <a:gd name="connsiteX133" fmla="*/ 6689158 w 6689158"/>
              <a:gd name="connsiteY133" fmla="*/ 3344580 h 6689159"/>
              <a:gd name="connsiteX134" fmla="*/ 6538793 w 6689158"/>
              <a:gd name="connsiteY134" fmla="*/ 4339156 h 6689159"/>
              <a:gd name="connsiteX135" fmla="*/ 6534721 w 6689158"/>
              <a:gd name="connsiteY135" fmla="*/ 4350281 h 6689159"/>
              <a:gd name="connsiteX136" fmla="*/ 6426326 w 6689158"/>
              <a:gd name="connsiteY136" fmla="*/ 4646440 h 6689159"/>
              <a:gd name="connsiteX137" fmla="*/ 6421122 w 6689158"/>
              <a:gd name="connsiteY137" fmla="*/ 4657245 h 6689159"/>
              <a:gd name="connsiteX138" fmla="*/ 6372396 w 6689158"/>
              <a:gd name="connsiteY138" fmla="*/ 4758392 h 6689159"/>
              <a:gd name="connsiteX139" fmla="*/ 6285487 w 6689158"/>
              <a:gd name="connsiteY139" fmla="*/ 4938805 h 6689159"/>
              <a:gd name="connsiteX140" fmla="*/ 6117958 w 6689158"/>
              <a:gd name="connsiteY140" fmla="*/ 5214566 h 6689159"/>
              <a:gd name="connsiteX141" fmla="*/ 6035322 w 6689158"/>
              <a:gd name="connsiteY141" fmla="*/ 5325072 h 6689159"/>
              <a:gd name="connsiteX142" fmla="*/ 5925420 w 6689158"/>
              <a:gd name="connsiteY142" fmla="*/ 5472042 h 6689159"/>
              <a:gd name="connsiteX143" fmla="*/ 3344580 w 6689158"/>
              <a:gd name="connsiteY143" fmla="*/ 6689159 h 6689159"/>
              <a:gd name="connsiteX144" fmla="*/ 1474594 w 6689158"/>
              <a:gd name="connsiteY144" fmla="*/ 6117958 h 6689159"/>
              <a:gd name="connsiteX145" fmla="*/ 1464440 w 6689158"/>
              <a:gd name="connsiteY145" fmla="*/ 6110366 h 6689159"/>
              <a:gd name="connsiteX146" fmla="*/ 1217117 w 6689158"/>
              <a:gd name="connsiteY146" fmla="*/ 5925420 h 6689159"/>
              <a:gd name="connsiteX147" fmla="*/ 979606 w 6689158"/>
              <a:gd name="connsiteY147" fmla="*/ 5709555 h 6689159"/>
              <a:gd name="connsiteX148" fmla="*/ 941121 w 6689158"/>
              <a:gd name="connsiteY148" fmla="*/ 5667211 h 6689159"/>
              <a:gd name="connsiteX149" fmla="*/ 763739 w 6689158"/>
              <a:gd name="connsiteY149" fmla="*/ 5472043 h 6689159"/>
              <a:gd name="connsiteX150" fmla="*/ 0 w 6689158"/>
              <a:gd name="connsiteY150" fmla="*/ 3344580 h 6689159"/>
              <a:gd name="connsiteX151" fmla="*/ 763739 w 6689158"/>
              <a:gd name="connsiteY151" fmla="*/ 1217118 h 6689159"/>
              <a:gd name="connsiteX152" fmla="*/ 979605 w 6689158"/>
              <a:gd name="connsiteY152" fmla="*/ 979604 h 6689159"/>
              <a:gd name="connsiteX153" fmla="*/ 1217117 w 6689158"/>
              <a:gd name="connsiteY153" fmla="*/ 763739 h 6689159"/>
              <a:gd name="connsiteX154" fmla="*/ 1252792 w 6689158"/>
              <a:gd name="connsiteY154" fmla="*/ 737062 h 6689159"/>
              <a:gd name="connsiteX155" fmla="*/ 1474594 w 6689158"/>
              <a:gd name="connsiteY155" fmla="*/ 571201 h 6689159"/>
              <a:gd name="connsiteX156" fmla="*/ 1650297 w 6689158"/>
              <a:gd name="connsiteY156" fmla="*/ 464459 h 6689159"/>
              <a:gd name="connsiteX157" fmla="*/ 1750354 w 6689158"/>
              <a:gd name="connsiteY157" fmla="*/ 403673 h 6689159"/>
              <a:gd name="connsiteX158" fmla="*/ 2042719 w 6689158"/>
              <a:gd name="connsiteY158" fmla="*/ 262835 h 6689159"/>
              <a:gd name="connsiteX159" fmla="*/ 2083584 w 6689158"/>
              <a:gd name="connsiteY159" fmla="*/ 247876 h 6689159"/>
              <a:gd name="connsiteX160" fmla="*/ 2350003 w 6689158"/>
              <a:gd name="connsiteY160" fmla="*/ 150366 h 6689159"/>
              <a:gd name="connsiteX161" fmla="*/ 3344579 w 6689158"/>
              <a:gd name="connsiteY161"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611312 w 6689158"/>
              <a:gd name="connsiteY71" fmla="*/ 1554887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5611312 w 6689158"/>
              <a:gd name="connsiteY90" fmla="*/ 1554887 h 6689159"/>
              <a:gd name="connsiteX91" fmla="*/ 1958215 w 6689158"/>
              <a:gd name="connsiteY91" fmla="*/ 808450 h 6689159"/>
              <a:gd name="connsiteX92" fmla="*/ 1728612 w 6689158"/>
              <a:gd name="connsiteY92" fmla="*/ 947938 h 6689159"/>
              <a:gd name="connsiteX93" fmla="*/ 1300863 w 6689158"/>
              <a:gd name="connsiteY93" fmla="*/ 1300863 h 6689159"/>
              <a:gd name="connsiteX94" fmla="*/ 1258822 w 6689158"/>
              <a:gd name="connsiteY94" fmla="*/ 1347119 h 6689159"/>
              <a:gd name="connsiteX95" fmla="*/ 1258823 w 6689158"/>
              <a:gd name="connsiteY95" fmla="*/ 1347121 h 6689159"/>
              <a:gd name="connsiteX96" fmla="*/ 1263190 w 6689158"/>
              <a:gd name="connsiteY96" fmla="*/ 1402742 h 6689159"/>
              <a:gd name="connsiteX97" fmla="*/ 1504198 w 6689158"/>
              <a:gd name="connsiteY97" fmla="*/ 2390321 h 6689159"/>
              <a:gd name="connsiteX98" fmla="*/ 1570031 w 6689158"/>
              <a:gd name="connsiteY98" fmla="*/ 2538525 h 6689159"/>
              <a:gd name="connsiteX99" fmla="*/ 1593172 w 6689158"/>
              <a:gd name="connsiteY99" fmla="*/ 2532572 h 6689159"/>
              <a:gd name="connsiteX100" fmla="*/ 1772170 w 6689158"/>
              <a:gd name="connsiteY100" fmla="*/ 2514528 h 6689159"/>
              <a:gd name="connsiteX101" fmla="*/ 1951170 w 6689158"/>
              <a:gd name="connsiteY101" fmla="*/ 2532573 h 6689159"/>
              <a:gd name="connsiteX102" fmla="*/ 1953707 w 6689158"/>
              <a:gd name="connsiteY102" fmla="*/ 2533225 h 6689159"/>
              <a:gd name="connsiteX103" fmla="*/ 2046764 w 6689158"/>
              <a:gd name="connsiteY103" fmla="*/ 2419427 h 6689159"/>
              <a:gd name="connsiteX104" fmla="*/ 2304042 w 6689158"/>
              <a:gd name="connsiteY104" fmla="*/ 2155240 h 6689159"/>
              <a:gd name="connsiteX105" fmla="*/ 2679904 w 6689158"/>
              <a:gd name="connsiteY105" fmla="*/ 1840257 h 6689159"/>
              <a:gd name="connsiteX106" fmla="*/ 2839402 w 6689158"/>
              <a:gd name="connsiteY106" fmla="*/ 1728600 h 6689159"/>
              <a:gd name="connsiteX107" fmla="*/ 2839403 w 6689158"/>
              <a:gd name="connsiteY107" fmla="*/ 1728599 h 6689159"/>
              <a:gd name="connsiteX108" fmla="*/ 2180258 w 6689158"/>
              <a:gd name="connsiteY108" fmla="*/ 1049601 h 6689159"/>
              <a:gd name="connsiteX109" fmla="*/ 1958217 w 6689158"/>
              <a:gd name="connsiteY109" fmla="*/ 808450 h 6689159"/>
              <a:gd name="connsiteX110" fmla="*/ 1958215 w 6689158"/>
              <a:gd name="connsiteY110" fmla="*/ 808451 h 6689159"/>
              <a:gd name="connsiteX111" fmla="*/ 1958215 w 6689158"/>
              <a:gd name="connsiteY111" fmla="*/ 808450 h 6689159"/>
              <a:gd name="connsiteX112" fmla="*/ 3344580 w 6689158"/>
              <a:gd name="connsiteY112" fmla="*/ 454327 h 6689159"/>
              <a:gd name="connsiteX113" fmla="*/ 2485108 w 6689158"/>
              <a:gd name="connsiteY113" fmla="*/ 584267 h 6689159"/>
              <a:gd name="connsiteX114" fmla="*/ 2426658 w 6689158"/>
              <a:gd name="connsiteY114" fmla="*/ 605660 h 6689159"/>
              <a:gd name="connsiteX115" fmla="*/ 2608239 w 6689158"/>
              <a:gd name="connsiteY115" fmla="*/ 793623 h 6689159"/>
              <a:gd name="connsiteX116" fmla="*/ 3061380 w 6689158"/>
              <a:gd name="connsiteY116" fmla="*/ 1249579 h 6689159"/>
              <a:gd name="connsiteX117" fmla="*/ 3282982 w 6689158"/>
              <a:gd name="connsiteY117" fmla="*/ 1466429 h 6689159"/>
              <a:gd name="connsiteX118" fmla="*/ 3282982 w 6689158"/>
              <a:gd name="connsiteY118" fmla="*/ 1466430 h 6689159"/>
              <a:gd name="connsiteX119" fmla="*/ 3293669 w 6689158"/>
              <a:gd name="connsiteY119" fmla="*/ 1460635 h 6689159"/>
              <a:gd name="connsiteX120" fmla="*/ 4895242 w 6689158"/>
              <a:gd name="connsiteY120" fmla="*/ 1001928 h 6689159"/>
              <a:gd name="connsiteX121" fmla="*/ 5020677 w 6689158"/>
              <a:gd name="connsiteY121" fmla="*/ 992902 h 6689159"/>
              <a:gd name="connsiteX122" fmla="*/ 4960548 w 6689158"/>
              <a:gd name="connsiteY122" fmla="*/ 947937 h 6689159"/>
              <a:gd name="connsiteX123" fmla="*/ 3344580 w 6689158"/>
              <a:gd name="connsiteY123" fmla="*/ 454327 h 6689159"/>
              <a:gd name="connsiteX124" fmla="*/ 3344579 w 6689158"/>
              <a:gd name="connsiteY124" fmla="*/ 0 h 6689159"/>
              <a:gd name="connsiteX125" fmla="*/ 5709555 w 6689158"/>
              <a:gd name="connsiteY125" fmla="*/ 979605 h 6689159"/>
              <a:gd name="connsiteX126" fmla="*/ 5721404 w 6689158"/>
              <a:gd name="connsiteY126" fmla="*/ 992643 h 6689159"/>
              <a:gd name="connsiteX127" fmla="*/ 5925421 w 6689158"/>
              <a:gd name="connsiteY127" fmla="*/ 1217117 h 6689159"/>
              <a:gd name="connsiteX128" fmla="*/ 6117959 w 6689158"/>
              <a:gd name="connsiteY128" fmla="*/ 1474595 h 6689159"/>
              <a:gd name="connsiteX129" fmla="*/ 6162894 w 6689158"/>
              <a:gd name="connsiteY129" fmla="*/ 1548561 h 6689159"/>
              <a:gd name="connsiteX130" fmla="*/ 6162893 w 6689158"/>
              <a:gd name="connsiteY130" fmla="*/ 1548563 h 6689159"/>
              <a:gd name="connsiteX131" fmla="*/ 6285487 w 6689158"/>
              <a:gd name="connsiteY131" fmla="*/ 1750355 h 6689159"/>
              <a:gd name="connsiteX132" fmla="*/ 6689158 w 6689158"/>
              <a:gd name="connsiteY132" fmla="*/ 3344580 h 6689159"/>
              <a:gd name="connsiteX133" fmla="*/ 6538793 w 6689158"/>
              <a:gd name="connsiteY133" fmla="*/ 4339156 h 6689159"/>
              <a:gd name="connsiteX134" fmla="*/ 6534721 w 6689158"/>
              <a:gd name="connsiteY134" fmla="*/ 4350281 h 6689159"/>
              <a:gd name="connsiteX135" fmla="*/ 6426326 w 6689158"/>
              <a:gd name="connsiteY135" fmla="*/ 4646440 h 6689159"/>
              <a:gd name="connsiteX136" fmla="*/ 6421122 w 6689158"/>
              <a:gd name="connsiteY136" fmla="*/ 4657245 h 6689159"/>
              <a:gd name="connsiteX137" fmla="*/ 6372396 w 6689158"/>
              <a:gd name="connsiteY137" fmla="*/ 4758392 h 6689159"/>
              <a:gd name="connsiteX138" fmla="*/ 6285487 w 6689158"/>
              <a:gd name="connsiteY138" fmla="*/ 4938805 h 6689159"/>
              <a:gd name="connsiteX139" fmla="*/ 6117958 w 6689158"/>
              <a:gd name="connsiteY139" fmla="*/ 5214566 h 6689159"/>
              <a:gd name="connsiteX140" fmla="*/ 6035322 w 6689158"/>
              <a:gd name="connsiteY140" fmla="*/ 5325072 h 6689159"/>
              <a:gd name="connsiteX141" fmla="*/ 5925420 w 6689158"/>
              <a:gd name="connsiteY141" fmla="*/ 5472042 h 6689159"/>
              <a:gd name="connsiteX142" fmla="*/ 3344580 w 6689158"/>
              <a:gd name="connsiteY142" fmla="*/ 6689159 h 6689159"/>
              <a:gd name="connsiteX143" fmla="*/ 1474594 w 6689158"/>
              <a:gd name="connsiteY143" fmla="*/ 6117958 h 6689159"/>
              <a:gd name="connsiteX144" fmla="*/ 1464440 w 6689158"/>
              <a:gd name="connsiteY144" fmla="*/ 6110366 h 6689159"/>
              <a:gd name="connsiteX145" fmla="*/ 1217117 w 6689158"/>
              <a:gd name="connsiteY145" fmla="*/ 5925420 h 6689159"/>
              <a:gd name="connsiteX146" fmla="*/ 979606 w 6689158"/>
              <a:gd name="connsiteY146" fmla="*/ 5709555 h 6689159"/>
              <a:gd name="connsiteX147" fmla="*/ 941121 w 6689158"/>
              <a:gd name="connsiteY147" fmla="*/ 5667211 h 6689159"/>
              <a:gd name="connsiteX148" fmla="*/ 763739 w 6689158"/>
              <a:gd name="connsiteY148" fmla="*/ 5472043 h 6689159"/>
              <a:gd name="connsiteX149" fmla="*/ 0 w 6689158"/>
              <a:gd name="connsiteY149" fmla="*/ 3344580 h 6689159"/>
              <a:gd name="connsiteX150" fmla="*/ 763739 w 6689158"/>
              <a:gd name="connsiteY150" fmla="*/ 1217118 h 6689159"/>
              <a:gd name="connsiteX151" fmla="*/ 979605 w 6689158"/>
              <a:gd name="connsiteY151" fmla="*/ 979604 h 6689159"/>
              <a:gd name="connsiteX152" fmla="*/ 1217117 w 6689158"/>
              <a:gd name="connsiteY152" fmla="*/ 763739 h 6689159"/>
              <a:gd name="connsiteX153" fmla="*/ 1252792 w 6689158"/>
              <a:gd name="connsiteY153" fmla="*/ 737062 h 6689159"/>
              <a:gd name="connsiteX154" fmla="*/ 1474594 w 6689158"/>
              <a:gd name="connsiteY154" fmla="*/ 571201 h 6689159"/>
              <a:gd name="connsiteX155" fmla="*/ 1650297 w 6689158"/>
              <a:gd name="connsiteY155" fmla="*/ 464459 h 6689159"/>
              <a:gd name="connsiteX156" fmla="*/ 1750354 w 6689158"/>
              <a:gd name="connsiteY156" fmla="*/ 403673 h 6689159"/>
              <a:gd name="connsiteX157" fmla="*/ 2042719 w 6689158"/>
              <a:gd name="connsiteY157" fmla="*/ 262835 h 6689159"/>
              <a:gd name="connsiteX158" fmla="*/ 2083584 w 6689158"/>
              <a:gd name="connsiteY158" fmla="*/ 247876 h 6689159"/>
              <a:gd name="connsiteX159" fmla="*/ 2350003 w 6689158"/>
              <a:gd name="connsiteY159" fmla="*/ 150366 h 6689159"/>
              <a:gd name="connsiteX160" fmla="*/ 3344579 w 6689158"/>
              <a:gd name="connsiteY160"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741222 w 6689158"/>
              <a:gd name="connsiteY71" fmla="*/ 1728614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1958215 w 6689158"/>
              <a:gd name="connsiteY90" fmla="*/ 808450 h 6689159"/>
              <a:gd name="connsiteX91" fmla="*/ 1728612 w 6689158"/>
              <a:gd name="connsiteY91" fmla="*/ 947938 h 6689159"/>
              <a:gd name="connsiteX92" fmla="*/ 1300863 w 6689158"/>
              <a:gd name="connsiteY92" fmla="*/ 1300863 h 6689159"/>
              <a:gd name="connsiteX93" fmla="*/ 1258822 w 6689158"/>
              <a:gd name="connsiteY93" fmla="*/ 1347119 h 6689159"/>
              <a:gd name="connsiteX94" fmla="*/ 1258823 w 6689158"/>
              <a:gd name="connsiteY94" fmla="*/ 1347121 h 6689159"/>
              <a:gd name="connsiteX95" fmla="*/ 1263190 w 6689158"/>
              <a:gd name="connsiteY95" fmla="*/ 1402742 h 6689159"/>
              <a:gd name="connsiteX96" fmla="*/ 1504198 w 6689158"/>
              <a:gd name="connsiteY96" fmla="*/ 2390321 h 6689159"/>
              <a:gd name="connsiteX97" fmla="*/ 1570031 w 6689158"/>
              <a:gd name="connsiteY97" fmla="*/ 2538525 h 6689159"/>
              <a:gd name="connsiteX98" fmla="*/ 1593172 w 6689158"/>
              <a:gd name="connsiteY98" fmla="*/ 2532572 h 6689159"/>
              <a:gd name="connsiteX99" fmla="*/ 1772170 w 6689158"/>
              <a:gd name="connsiteY99" fmla="*/ 2514528 h 6689159"/>
              <a:gd name="connsiteX100" fmla="*/ 1951170 w 6689158"/>
              <a:gd name="connsiteY100" fmla="*/ 2532573 h 6689159"/>
              <a:gd name="connsiteX101" fmla="*/ 1953707 w 6689158"/>
              <a:gd name="connsiteY101" fmla="*/ 2533225 h 6689159"/>
              <a:gd name="connsiteX102" fmla="*/ 2046764 w 6689158"/>
              <a:gd name="connsiteY102" fmla="*/ 2419427 h 6689159"/>
              <a:gd name="connsiteX103" fmla="*/ 2304042 w 6689158"/>
              <a:gd name="connsiteY103" fmla="*/ 2155240 h 6689159"/>
              <a:gd name="connsiteX104" fmla="*/ 2679904 w 6689158"/>
              <a:gd name="connsiteY104" fmla="*/ 1840257 h 6689159"/>
              <a:gd name="connsiteX105" fmla="*/ 2839402 w 6689158"/>
              <a:gd name="connsiteY105" fmla="*/ 1728600 h 6689159"/>
              <a:gd name="connsiteX106" fmla="*/ 2839403 w 6689158"/>
              <a:gd name="connsiteY106" fmla="*/ 1728599 h 6689159"/>
              <a:gd name="connsiteX107" fmla="*/ 2180258 w 6689158"/>
              <a:gd name="connsiteY107" fmla="*/ 1049601 h 6689159"/>
              <a:gd name="connsiteX108" fmla="*/ 1958217 w 6689158"/>
              <a:gd name="connsiteY108" fmla="*/ 808450 h 6689159"/>
              <a:gd name="connsiteX109" fmla="*/ 1958215 w 6689158"/>
              <a:gd name="connsiteY109" fmla="*/ 808451 h 6689159"/>
              <a:gd name="connsiteX110" fmla="*/ 1958215 w 6689158"/>
              <a:gd name="connsiteY110" fmla="*/ 808450 h 6689159"/>
              <a:gd name="connsiteX111" fmla="*/ 3344580 w 6689158"/>
              <a:gd name="connsiteY111" fmla="*/ 454327 h 6689159"/>
              <a:gd name="connsiteX112" fmla="*/ 2485108 w 6689158"/>
              <a:gd name="connsiteY112" fmla="*/ 584267 h 6689159"/>
              <a:gd name="connsiteX113" fmla="*/ 2426658 w 6689158"/>
              <a:gd name="connsiteY113" fmla="*/ 605660 h 6689159"/>
              <a:gd name="connsiteX114" fmla="*/ 2608239 w 6689158"/>
              <a:gd name="connsiteY114" fmla="*/ 793623 h 6689159"/>
              <a:gd name="connsiteX115" fmla="*/ 3061380 w 6689158"/>
              <a:gd name="connsiteY115" fmla="*/ 1249579 h 6689159"/>
              <a:gd name="connsiteX116" fmla="*/ 3282982 w 6689158"/>
              <a:gd name="connsiteY116" fmla="*/ 1466429 h 6689159"/>
              <a:gd name="connsiteX117" fmla="*/ 3282982 w 6689158"/>
              <a:gd name="connsiteY117" fmla="*/ 1466430 h 6689159"/>
              <a:gd name="connsiteX118" fmla="*/ 3293669 w 6689158"/>
              <a:gd name="connsiteY118" fmla="*/ 1460635 h 6689159"/>
              <a:gd name="connsiteX119" fmla="*/ 4895242 w 6689158"/>
              <a:gd name="connsiteY119" fmla="*/ 1001928 h 6689159"/>
              <a:gd name="connsiteX120" fmla="*/ 5020677 w 6689158"/>
              <a:gd name="connsiteY120" fmla="*/ 992902 h 6689159"/>
              <a:gd name="connsiteX121" fmla="*/ 4960548 w 6689158"/>
              <a:gd name="connsiteY121" fmla="*/ 947937 h 6689159"/>
              <a:gd name="connsiteX122" fmla="*/ 3344580 w 6689158"/>
              <a:gd name="connsiteY122" fmla="*/ 454327 h 6689159"/>
              <a:gd name="connsiteX123" fmla="*/ 3344579 w 6689158"/>
              <a:gd name="connsiteY123" fmla="*/ 0 h 6689159"/>
              <a:gd name="connsiteX124" fmla="*/ 5709555 w 6689158"/>
              <a:gd name="connsiteY124" fmla="*/ 979605 h 6689159"/>
              <a:gd name="connsiteX125" fmla="*/ 5721404 w 6689158"/>
              <a:gd name="connsiteY125" fmla="*/ 992643 h 6689159"/>
              <a:gd name="connsiteX126" fmla="*/ 5925421 w 6689158"/>
              <a:gd name="connsiteY126" fmla="*/ 1217117 h 6689159"/>
              <a:gd name="connsiteX127" fmla="*/ 6117959 w 6689158"/>
              <a:gd name="connsiteY127" fmla="*/ 1474595 h 6689159"/>
              <a:gd name="connsiteX128" fmla="*/ 6162894 w 6689158"/>
              <a:gd name="connsiteY128" fmla="*/ 1548561 h 6689159"/>
              <a:gd name="connsiteX129" fmla="*/ 6162893 w 6689158"/>
              <a:gd name="connsiteY129" fmla="*/ 1548563 h 6689159"/>
              <a:gd name="connsiteX130" fmla="*/ 6285487 w 6689158"/>
              <a:gd name="connsiteY130" fmla="*/ 1750355 h 6689159"/>
              <a:gd name="connsiteX131" fmla="*/ 6689158 w 6689158"/>
              <a:gd name="connsiteY131" fmla="*/ 3344580 h 6689159"/>
              <a:gd name="connsiteX132" fmla="*/ 6538793 w 6689158"/>
              <a:gd name="connsiteY132" fmla="*/ 4339156 h 6689159"/>
              <a:gd name="connsiteX133" fmla="*/ 6534721 w 6689158"/>
              <a:gd name="connsiteY133" fmla="*/ 4350281 h 6689159"/>
              <a:gd name="connsiteX134" fmla="*/ 6426326 w 6689158"/>
              <a:gd name="connsiteY134" fmla="*/ 4646440 h 6689159"/>
              <a:gd name="connsiteX135" fmla="*/ 6421122 w 6689158"/>
              <a:gd name="connsiteY135" fmla="*/ 4657245 h 6689159"/>
              <a:gd name="connsiteX136" fmla="*/ 6372396 w 6689158"/>
              <a:gd name="connsiteY136" fmla="*/ 4758392 h 6689159"/>
              <a:gd name="connsiteX137" fmla="*/ 6285487 w 6689158"/>
              <a:gd name="connsiteY137" fmla="*/ 4938805 h 6689159"/>
              <a:gd name="connsiteX138" fmla="*/ 6117958 w 6689158"/>
              <a:gd name="connsiteY138" fmla="*/ 5214566 h 6689159"/>
              <a:gd name="connsiteX139" fmla="*/ 6035322 w 6689158"/>
              <a:gd name="connsiteY139" fmla="*/ 5325072 h 6689159"/>
              <a:gd name="connsiteX140" fmla="*/ 5925420 w 6689158"/>
              <a:gd name="connsiteY140" fmla="*/ 5472042 h 6689159"/>
              <a:gd name="connsiteX141" fmla="*/ 3344580 w 6689158"/>
              <a:gd name="connsiteY141" fmla="*/ 6689159 h 6689159"/>
              <a:gd name="connsiteX142" fmla="*/ 1474594 w 6689158"/>
              <a:gd name="connsiteY142" fmla="*/ 6117958 h 6689159"/>
              <a:gd name="connsiteX143" fmla="*/ 1464440 w 6689158"/>
              <a:gd name="connsiteY143" fmla="*/ 6110366 h 6689159"/>
              <a:gd name="connsiteX144" fmla="*/ 1217117 w 6689158"/>
              <a:gd name="connsiteY144" fmla="*/ 5925420 h 6689159"/>
              <a:gd name="connsiteX145" fmla="*/ 979606 w 6689158"/>
              <a:gd name="connsiteY145" fmla="*/ 5709555 h 6689159"/>
              <a:gd name="connsiteX146" fmla="*/ 941121 w 6689158"/>
              <a:gd name="connsiteY146" fmla="*/ 5667211 h 6689159"/>
              <a:gd name="connsiteX147" fmla="*/ 763739 w 6689158"/>
              <a:gd name="connsiteY147" fmla="*/ 5472043 h 6689159"/>
              <a:gd name="connsiteX148" fmla="*/ 0 w 6689158"/>
              <a:gd name="connsiteY148" fmla="*/ 3344580 h 6689159"/>
              <a:gd name="connsiteX149" fmla="*/ 763739 w 6689158"/>
              <a:gd name="connsiteY149" fmla="*/ 1217118 h 6689159"/>
              <a:gd name="connsiteX150" fmla="*/ 979605 w 6689158"/>
              <a:gd name="connsiteY150" fmla="*/ 979604 h 6689159"/>
              <a:gd name="connsiteX151" fmla="*/ 1217117 w 6689158"/>
              <a:gd name="connsiteY151" fmla="*/ 763739 h 6689159"/>
              <a:gd name="connsiteX152" fmla="*/ 1252792 w 6689158"/>
              <a:gd name="connsiteY152" fmla="*/ 737062 h 6689159"/>
              <a:gd name="connsiteX153" fmla="*/ 1474594 w 6689158"/>
              <a:gd name="connsiteY153" fmla="*/ 571201 h 6689159"/>
              <a:gd name="connsiteX154" fmla="*/ 1650297 w 6689158"/>
              <a:gd name="connsiteY154" fmla="*/ 464459 h 6689159"/>
              <a:gd name="connsiteX155" fmla="*/ 1750354 w 6689158"/>
              <a:gd name="connsiteY155" fmla="*/ 403673 h 6689159"/>
              <a:gd name="connsiteX156" fmla="*/ 2042719 w 6689158"/>
              <a:gd name="connsiteY156" fmla="*/ 262835 h 6689159"/>
              <a:gd name="connsiteX157" fmla="*/ 2083584 w 6689158"/>
              <a:gd name="connsiteY157" fmla="*/ 247876 h 6689159"/>
              <a:gd name="connsiteX158" fmla="*/ 2350003 w 6689158"/>
              <a:gd name="connsiteY158" fmla="*/ 150366 h 6689159"/>
              <a:gd name="connsiteX159" fmla="*/ 3344579 w 6689158"/>
              <a:gd name="connsiteY159"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741222 w 6689158"/>
              <a:gd name="connsiteY71" fmla="*/ 1728614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1958215 w 6689158"/>
              <a:gd name="connsiteY90" fmla="*/ 808450 h 6689159"/>
              <a:gd name="connsiteX91" fmla="*/ 1728612 w 6689158"/>
              <a:gd name="connsiteY91" fmla="*/ 947938 h 6689159"/>
              <a:gd name="connsiteX92" fmla="*/ 1300863 w 6689158"/>
              <a:gd name="connsiteY92" fmla="*/ 1300863 h 6689159"/>
              <a:gd name="connsiteX93" fmla="*/ 1258822 w 6689158"/>
              <a:gd name="connsiteY93" fmla="*/ 1347119 h 6689159"/>
              <a:gd name="connsiteX94" fmla="*/ 1258823 w 6689158"/>
              <a:gd name="connsiteY94" fmla="*/ 1347121 h 6689159"/>
              <a:gd name="connsiteX95" fmla="*/ 1263190 w 6689158"/>
              <a:gd name="connsiteY95" fmla="*/ 1402742 h 6689159"/>
              <a:gd name="connsiteX96" fmla="*/ 1504198 w 6689158"/>
              <a:gd name="connsiteY96" fmla="*/ 2390321 h 6689159"/>
              <a:gd name="connsiteX97" fmla="*/ 1570031 w 6689158"/>
              <a:gd name="connsiteY97" fmla="*/ 2538525 h 6689159"/>
              <a:gd name="connsiteX98" fmla="*/ 1593172 w 6689158"/>
              <a:gd name="connsiteY98" fmla="*/ 2532572 h 6689159"/>
              <a:gd name="connsiteX99" fmla="*/ 1772170 w 6689158"/>
              <a:gd name="connsiteY99" fmla="*/ 2514528 h 6689159"/>
              <a:gd name="connsiteX100" fmla="*/ 1951170 w 6689158"/>
              <a:gd name="connsiteY100" fmla="*/ 2532573 h 6689159"/>
              <a:gd name="connsiteX101" fmla="*/ 1953707 w 6689158"/>
              <a:gd name="connsiteY101" fmla="*/ 2533225 h 6689159"/>
              <a:gd name="connsiteX102" fmla="*/ 2046764 w 6689158"/>
              <a:gd name="connsiteY102" fmla="*/ 2419427 h 6689159"/>
              <a:gd name="connsiteX103" fmla="*/ 2304042 w 6689158"/>
              <a:gd name="connsiteY103" fmla="*/ 2155240 h 6689159"/>
              <a:gd name="connsiteX104" fmla="*/ 2679904 w 6689158"/>
              <a:gd name="connsiteY104" fmla="*/ 1840257 h 6689159"/>
              <a:gd name="connsiteX105" fmla="*/ 2839402 w 6689158"/>
              <a:gd name="connsiteY105" fmla="*/ 1728600 h 6689159"/>
              <a:gd name="connsiteX106" fmla="*/ 2839403 w 6689158"/>
              <a:gd name="connsiteY106" fmla="*/ 1728599 h 6689159"/>
              <a:gd name="connsiteX107" fmla="*/ 2180258 w 6689158"/>
              <a:gd name="connsiteY107" fmla="*/ 1049601 h 6689159"/>
              <a:gd name="connsiteX108" fmla="*/ 1958217 w 6689158"/>
              <a:gd name="connsiteY108" fmla="*/ 808450 h 6689159"/>
              <a:gd name="connsiteX109" fmla="*/ 1958215 w 6689158"/>
              <a:gd name="connsiteY109" fmla="*/ 808451 h 6689159"/>
              <a:gd name="connsiteX110" fmla="*/ 1958215 w 6689158"/>
              <a:gd name="connsiteY110" fmla="*/ 808450 h 6689159"/>
              <a:gd name="connsiteX111" fmla="*/ 3344580 w 6689158"/>
              <a:gd name="connsiteY111" fmla="*/ 454327 h 6689159"/>
              <a:gd name="connsiteX112" fmla="*/ 2485108 w 6689158"/>
              <a:gd name="connsiteY112" fmla="*/ 584267 h 6689159"/>
              <a:gd name="connsiteX113" fmla="*/ 2426658 w 6689158"/>
              <a:gd name="connsiteY113" fmla="*/ 605660 h 6689159"/>
              <a:gd name="connsiteX114" fmla="*/ 2608239 w 6689158"/>
              <a:gd name="connsiteY114" fmla="*/ 793623 h 6689159"/>
              <a:gd name="connsiteX115" fmla="*/ 3061380 w 6689158"/>
              <a:gd name="connsiteY115" fmla="*/ 1249579 h 6689159"/>
              <a:gd name="connsiteX116" fmla="*/ 3282982 w 6689158"/>
              <a:gd name="connsiteY116" fmla="*/ 1466429 h 6689159"/>
              <a:gd name="connsiteX117" fmla="*/ 3282982 w 6689158"/>
              <a:gd name="connsiteY117" fmla="*/ 1466430 h 6689159"/>
              <a:gd name="connsiteX118" fmla="*/ 3293669 w 6689158"/>
              <a:gd name="connsiteY118" fmla="*/ 1460635 h 6689159"/>
              <a:gd name="connsiteX119" fmla="*/ 4895242 w 6689158"/>
              <a:gd name="connsiteY119" fmla="*/ 1001928 h 6689159"/>
              <a:gd name="connsiteX120" fmla="*/ 5020677 w 6689158"/>
              <a:gd name="connsiteY120" fmla="*/ 992902 h 6689159"/>
              <a:gd name="connsiteX121" fmla="*/ 4960548 w 6689158"/>
              <a:gd name="connsiteY121" fmla="*/ 947937 h 6689159"/>
              <a:gd name="connsiteX122" fmla="*/ 3344580 w 6689158"/>
              <a:gd name="connsiteY122" fmla="*/ 454327 h 6689159"/>
              <a:gd name="connsiteX123" fmla="*/ 3344579 w 6689158"/>
              <a:gd name="connsiteY123" fmla="*/ 0 h 6689159"/>
              <a:gd name="connsiteX124" fmla="*/ 5709555 w 6689158"/>
              <a:gd name="connsiteY124" fmla="*/ 979605 h 6689159"/>
              <a:gd name="connsiteX125" fmla="*/ 5925421 w 6689158"/>
              <a:gd name="connsiteY125" fmla="*/ 1217117 h 6689159"/>
              <a:gd name="connsiteX126" fmla="*/ 6117959 w 6689158"/>
              <a:gd name="connsiteY126" fmla="*/ 1474595 h 6689159"/>
              <a:gd name="connsiteX127" fmla="*/ 6162894 w 6689158"/>
              <a:gd name="connsiteY127" fmla="*/ 1548561 h 6689159"/>
              <a:gd name="connsiteX128" fmla="*/ 6162893 w 6689158"/>
              <a:gd name="connsiteY128" fmla="*/ 1548563 h 6689159"/>
              <a:gd name="connsiteX129" fmla="*/ 6285487 w 6689158"/>
              <a:gd name="connsiteY129" fmla="*/ 1750355 h 6689159"/>
              <a:gd name="connsiteX130" fmla="*/ 6689158 w 6689158"/>
              <a:gd name="connsiteY130" fmla="*/ 3344580 h 6689159"/>
              <a:gd name="connsiteX131" fmla="*/ 6538793 w 6689158"/>
              <a:gd name="connsiteY131" fmla="*/ 4339156 h 6689159"/>
              <a:gd name="connsiteX132" fmla="*/ 6534721 w 6689158"/>
              <a:gd name="connsiteY132" fmla="*/ 4350281 h 6689159"/>
              <a:gd name="connsiteX133" fmla="*/ 6426326 w 6689158"/>
              <a:gd name="connsiteY133" fmla="*/ 4646440 h 6689159"/>
              <a:gd name="connsiteX134" fmla="*/ 6421122 w 6689158"/>
              <a:gd name="connsiteY134" fmla="*/ 4657245 h 6689159"/>
              <a:gd name="connsiteX135" fmla="*/ 6372396 w 6689158"/>
              <a:gd name="connsiteY135" fmla="*/ 4758392 h 6689159"/>
              <a:gd name="connsiteX136" fmla="*/ 6285487 w 6689158"/>
              <a:gd name="connsiteY136" fmla="*/ 4938805 h 6689159"/>
              <a:gd name="connsiteX137" fmla="*/ 6117958 w 6689158"/>
              <a:gd name="connsiteY137" fmla="*/ 5214566 h 6689159"/>
              <a:gd name="connsiteX138" fmla="*/ 6035322 w 6689158"/>
              <a:gd name="connsiteY138" fmla="*/ 5325072 h 6689159"/>
              <a:gd name="connsiteX139" fmla="*/ 5925420 w 6689158"/>
              <a:gd name="connsiteY139" fmla="*/ 5472042 h 6689159"/>
              <a:gd name="connsiteX140" fmla="*/ 3344580 w 6689158"/>
              <a:gd name="connsiteY140" fmla="*/ 6689159 h 6689159"/>
              <a:gd name="connsiteX141" fmla="*/ 1474594 w 6689158"/>
              <a:gd name="connsiteY141" fmla="*/ 6117958 h 6689159"/>
              <a:gd name="connsiteX142" fmla="*/ 1464440 w 6689158"/>
              <a:gd name="connsiteY142" fmla="*/ 6110366 h 6689159"/>
              <a:gd name="connsiteX143" fmla="*/ 1217117 w 6689158"/>
              <a:gd name="connsiteY143" fmla="*/ 5925420 h 6689159"/>
              <a:gd name="connsiteX144" fmla="*/ 979606 w 6689158"/>
              <a:gd name="connsiteY144" fmla="*/ 5709555 h 6689159"/>
              <a:gd name="connsiteX145" fmla="*/ 941121 w 6689158"/>
              <a:gd name="connsiteY145" fmla="*/ 5667211 h 6689159"/>
              <a:gd name="connsiteX146" fmla="*/ 763739 w 6689158"/>
              <a:gd name="connsiteY146" fmla="*/ 5472043 h 6689159"/>
              <a:gd name="connsiteX147" fmla="*/ 0 w 6689158"/>
              <a:gd name="connsiteY147" fmla="*/ 3344580 h 6689159"/>
              <a:gd name="connsiteX148" fmla="*/ 763739 w 6689158"/>
              <a:gd name="connsiteY148" fmla="*/ 1217118 h 6689159"/>
              <a:gd name="connsiteX149" fmla="*/ 979605 w 6689158"/>
              <a:gd name="connsiteY149" fmla="*/ 979604 h 6689159"/>
              <a:gd name="connsiteX150" fmla="*/ 1217117 w 6689158"/>
              <a:gd name="connsiteY150" fmla="*/ 763739 h 6689159"/>
              <a:gd name="connsiteX151" fmla="*/ 1252792 w 6689158"/>
              <a:gd name="connsiteY151" fmla="*/ 737062 h 6689159"/>
              <a:gd name="connsiteX152" fmla="*/ 1474594 w 6689158"/>
              <a:gd name="connsiteY152" fmla="*/ 571201 h 6689159"/>
              <a:gd name="connsiteX153" fmla="*/ 1650297 w 6689158"/>
              <a:gd name="connsiteY153" fmla="*/ 464459 h 6689159"/>
              <a:gd name="connsiteX154" fmla="*/ 1750354 w 6689158"/>
              <a:gd name="connsiteY154" fmla="*/ 403673 h 6689159"/>
              <a:gd name="connsiteX155" fmla="*/ 2042719 w 6689158"/>
              <a:gd name="connsiteY155" fmla="*/ 262835 h 6689159"/>
              <a:gd name="connsiteX156" fmla="*/ 2083584 w 6689158"/>
              <a:gd name="connsiteY156" fmla="*/ 247876 h 6689159"/>
              <a:gd name="connsiteX157" fmla="*/ 2350003 w 6689158"/>
              <a:gd name="connsiteY157" fmla="*/ 150366 h 6689159"/>
              <a:gd name="connsiteX158" fmla="*/ 3344579 w 6689158"/>
              <a:gd name="connsiteY158" fmla="*/ 0 h 66891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Lst>
            <a:rect l="l" t="t" r="r" b="b"/>
            <a:pathLst>
              <a:path w="6689158" h="6689159">
                <a:moveTo>
                  <a:pt x="2177650" y="4188652"/>
                </a:moveTo>
                <a:lnTo>
                  <a:pt x="2117889" y="4221089"/>
                </a:lnTo>
                <a:cubicBezTo>
                  <a:pt x="2038196" y="4254797"/>
                  <a:pt x="1952555" y="4277204"/>
                  <a:pt x="1862982" y="4286300"/>
                </a:cubicBezTo>
                <a:lnTo>
                  <a:pt x="1796860" y="4289641"/>
                </a:lnTo>
                <a:lnTo>
                  <a:pt x="1788544" y="4308481"/>
                </a:lnTo>
                <a:cubicBezTo>
                  <a:pt x="1649933" y="4662588"/>
                  <a:pt x="1555530" y="5035690"/>
                  <a:pt x="1505667" y="5419718"/>
                </a:cubicBezTo>
                <a:lnTo>
                  <a:pt x="1490555" y="5560700"/>
                </a:lnTo>
                <a:lnTo>
                  <a:pt x="1506111" y="5574838"/>
                </a:lnTo>
                <a:cubicBezTo>
                  <a:pt x="2005718" y="5987150"/>
                  <a:pt x="2646224" y="6234831"/>
                  <a:pt x="3344580" y="6234832"/>
                </a:cubicBezTo>
                <a:cubicBezTo>
                  <a:pt x="4142701" y="6234832"/>
                  <a:pt x="4865264" y="5911329"/>
                  <a:pt x="5388297" y="5388296"/>
                </a:cubicBezTo>
                <a:lnTo>
                  <a:pt x="5390660" y="5385697"/>
                </a:lnTo>
                <a:lnTo>
                  <a:pt x="5273213" y="5388582"/>
                </a:lnTo>
                <a:cubicBezTo>
                  <a:pt x="5000604" y="5388582"/>
                  <a:pt x="4733644" y="5365097"/>
                  <a:pt x="4474354" y="5320095"/>
                </a:cubicBezTo>
                <a:lnTo>
                  <a:pt x="4280135" y="5277799"/>
                </a:lnTo>
                <a:lnTo>
                  <a:pt x="4254882" y="5324324"/>
                </a:lnTo>
                <a:cubicBezTo>
                  <a:pt x="4147754" y="5482893"/>
                  <a:pt x="3966336" y="5587147"/>
                  <a:pt x="3760568" y="5587147"/>
                </a:cubicBezTo>
                <a:cubicBezTo>
                  <a:pt x="3431341" y="5587148"/>
                  <a:pt x="3164448" y="5320255"/>
                  <a:pt x="3164448" y="4991027"/>
                </a:cubicBezTo>
                <a:lnTo>
                  <a:pt x="3175376" y="4882633"/>
                </a:lnTo>
                <a:lnTo>
                  <a:pt x="3026882" y="4807637"/>
                </a:lnTo>
                <a:cubicBezTo>
                  <a:pt x="2806384" y="4684443"/>
                  <a:pt x="2597608" y="4543671"/>
                  <a:pt x="2402585" y="4387289"/>
                </a:cubicBezTo>
                <a:lnTo>
                  <a:pt x="2177650" y="4188652"/>
                </a:lnTo>
                <a:close/>
                <a:moveTo>
                  <a:pt x="3414840" y="2285703"/>
                </a:moveTo>
                <a:lnTo>
                  <a:pt x="3364850" y="2318041"/>
                </a:lnTo>
                <a:cubicBezTo>
                  <a:pt x="3184029" y="2441699"/>
                  <a:pt x="3011417" y="2580194"/>
                  <a:pt x="2848518" y="2733562"/>
                </a:cubicBezTo>
                <a:cubicBezTo>
                  <a:pt x="2794219" y="2784685"/>
                  <a:pt x="2741504" y="2836983"/>
                  <a:pt x="2690374" y="2890404"/>
                </a:cubicBezTo>
                <a:lnTo>
                  <a:pt x="2571277" y="3021477"/>
                </a:lnTo>
                <a:lnTo>
                  <a:pt x="2590552" y="3056989"/>
                </a:lnTo>
                <a:cubicBezTo>
                  <a:pt x="2635496" y="3163249"/>
                  <a:pt x="2660350" y="3280075"/>
                  <a:pt x="2660349" y="3402707"/>
                </a:cubicBezTo>
                <a:cubicBezTo>
                  <a:pt x="2660349" y="3525339"/>
                  <a:pt x="2635496" y="3642166"/>
                  <a:pt x="2590552" y="3748426"/>
                </a:cubicBezTo>
                <a:lnTo>
                  <a:pt x="2530886" y="3858356"/>
                </a:lnTo>
                <a:lnTo>
                  <a:pt x="2709229" y="4015297"/>
                </a:lnTo>
                <a:cubicBezTo>
                  <a:pt x="2883421" y="4154485"/>
                  <a:pt x="3069894" y="4279782"/>
                  <a:pt x="3266837" y="4389432"/>
                </a:cubicBezTo>
                <a:lnTo>
                  <a:pt x="3452642" y="4482945"/>
                </a:lnTo>
                <a:lnTo>
                  <a:pt x="3528532" y="4441753"/>
                </a:lnTo>
                <a:cubicBezTo>
                  <a:pt x="3599851" y="4411587"/>
                  <a:pt x="3678262" y="4394906"/>
                  <a:pt x="3760569" y="4394906"/>
                </a:cubicBezTo>
                <a:cubicBezTo>
                  <a:pt x="4007489" y="4394906"/>
                  <a:pt x="4219347" y="4545034"/>
                  <a:pt x="4309843" y="4758990"/>
                </a:cubicBezTo>
                <a:lnTo>
                  <a:pt x="4320607" y="4793664"/>
                </a:lnTo>
                <a:lnTo>
                  <a:pt x="4559688" y="4845550"/>
                </a:lnTo>
                <a:cubicBezTo>
                  <a:pt x="4791281" y="4885605"/>
                  <a:pt x="5029726" y="4906507"/>
                  <a:pt x="5273213" y="4906508"/>
                </a:cubicBezTo>
                <a:cubicBezTo>
                  <a:pt x="5412349" y="4906509"/>
                  <a:pt x="5549838" y="4899682"/>
                  <a:pt x="5685342" y="4886359"/>
                </a:cubicBezTo>
                <a:lnTo>
                  <a:pt x="5794448" y="4872934"/>
                </a:lnTo>
                <a:lnTo>
                  <a:pt x="5885995" y="4722245"/>
                </a:lnTo>
                <a:cubicBezTo>
                  <a:pt x="5930488" y="4640341"/>
                  <a:pt x="5971138" y="4556042"/>
                  <a:pt x="6007702" y="4469596"/>
                </a:cubicBezTo>
                <a:lnTo>
                  <a:pt x="6025566" y="4420788"/>
                </a:lnTo>
                <a:lnTo>
                  <a:pt x="5774209" y="4251797"/>
                </a:lnTo>
                <a:cubicBezTo>
                  <a:pt x="5695392" y="4196988"/>
                  <a:pt x="5614173" y="4138974"/>
                  <a:pt x="5530775" y="4077911"/>
                </a:cubicBezTo>
                <a:lnTo>
                  <a:pt x="5435413" y="4006461"/>
                </a:lnTo>
                <a:lnTo>
                  <a:pt x="5428090" y="4012503"/>
                </a:lnTo>
                <a:cubicBezTo>
                  <a:pt x="5324966" y="4082173"/>
                  <a:pt x="5200649" y="4122851"/>
                  <a:pt x="5066831" y="4122852"/>
                </a:cubicBezTo>
                <a:cubicBezTo>
                  <a:pt x="4709982" y="4122851"/>
                  <a:pt x="4420700" y="3833569"/>
                  <a:pt x="4420700" y="3476722"/>
                </a:cubicBezTo>
                <a:cubicBezTo>
                  <a:pt x="4420700" y="3432115"/>
                  <a:pt x="4425221" y="3388566"/>
                  <a:pt x="4433828" y="3346504"/>
                </a:cubicBezTo>
                <a:lnTo>
                  <a:pt x="4468981" y="3233259"/>
                </a:lnTo>
                <a:lnTo>
                  <a:pt x="4439706" y="3208684"/>
                </a:lnTo>
                <a:cubicBezTo>
                  <a:pt x="4147944" y="2959751"/>
                  <a:pt x="3844619" y="2688962"/>
                  <a:pt x="3535763" y="2400517"/>
                </a:cubicBezTo>
                <a:lnTo>
                  <a:pt x="3414840" y="2285703"/>
                </a:lnTo>
                <a:close/>
                <a:moveTo>
                  <a:pt x="851869" y="1886744"/>
                </a:moveTo>
                <a:lnTo>
                  <a:pt x="803165" y="1966913"/>
                </a:lnTo>
                <a:cubicBezTo>
                  <a:pt x="580695" y="2376442"/>
                  <a:pt x="454327" y="2845754"/>
                  <a:pt x="454328" y="3344581"/>
                </a:cubicBezTo>
                <a:cubicBezTo>
                  <a:pt x="454328" y="3943171"/>
                  <a:pt x="636299" y="4499261"/>
                  <a:pt x="947938" y="4960549"/>
                </a:cubicBezTo>
                <a:lnTo>
                  <a:pt x="959588" y="4976126"/>
                </a:lnTo>
                <a:lnTo>
                  <a:pt x="959588" y="4976125"/>
                </a:lnTo>
                <a:lnTo>
                  <a:pt x="964880" y="4912286"/>
                </a:lnTo>
                <a:cubicBezTo>
                  <a:pt x="990878" y="4670949"/>
                  <a:pt x="1034536" y="4433392"/>
                  <a:pt x="1095934" y="4201672"/>
                </a:cubicBezTo>
                <a:lnTo>
                  <a:pt x="1147594" y="4033598"/>
                </a:lnTo>
                <a:lnTo>
                  <a:pt x="1144134" y="4030744"/>
                </a:lnTo>
                <a:cubicBezTo>
                  <a:pt x="983406" y="3870015"/>
                  <a:pt x="883992" y="3647972"/>
                  <a:pt x="883992" y="3402708"/>
                </a:cubicBezTo>
                <a:cubicBezTo>
                  <a:pt x="883992" y="3157445"/>
                  <a:pt x="983406" y="2935399"/>
                  <a:pt x="1144135" y="2774670"/>
                </a:cubicBezTo>
                <a:lnTo>
                  <a:pt x="1146941" y="2772355"/>
                </a:lnTo>
                <a:lnTo>
                  <a:pt x="1073336" y="2611529"/>
                </a:lnTo>
                <a:cubicBezTo>
                  <a:pt x="979051" y="2379203"/>
                  <a:pt x="904593" y="2137173"/>
                  <a:pt x="851993" y="1887409"/>
                </a:cubicBezTo>
                <a:cubicBezTo>
                  <a:pt x="851952" y="1887187"/>
                  <a:pt x="851910" y="1886966"/>
                  <a:pt x="851869" y="1886744"/>
                </a:cubicBezTo>
                <a:close/>
                <a:moveTo>
                  <a:pt x="5741222" y="1728614"/>
                </a:moveTo>
                <a:lnTo>
                  <a:pt x="5611312" y="1554887"/>
                </a:lnTo>
                <a:lnTo>
                  <a:pt x="5610671" y="1554917"/>
                </a:lnTo>
                <a:cubicBezTo>
                  <a:pt x="5021968" y="1595521"/>
                  <a:pt x="4452369" y="1740883"/>
                  <a:pt x="3930424" y="1991564"/>
                </a:cubicBezTo>
                <a:lnTo>
                  <a:pt x="3863712" y="2025688"/>
                </a:lnTo>
                <a:lnTo>
                  <a:pt x="3998266" y="2153752"/>
                </a:lnTo>
                <a:cubicBezTo>
                  <a:pt x="4155631" y="2301454"/>
                  <a:pt x="4313025" y="2447127"/>
                  <a:pt x="4470031" y="2590407"/>
                </a:cubicBezTo>
                <a:lnTo>
                  <a:pt x="4801691" y="2888769"/>
                </a:lnTo>
                <a:lnTo>
                  <a:pt x="4815328" y="2881367"/>
                </a:lnTo>
                <a:cubicBezTo>
                  <a:pt x="4892631" y="2848671"/>
                  <a:pt x="4977620" y="2830591"/>
                  <a:pt x="5066831" y="2830591"/>
                </a:cubicBezTo>
                <a:cubicBezTo>
                  <a:pt x="5423680" y="2830591"/>
                  <a:pt x="5712962" y="3119873"/>
                  <a:pt x="5712962" y="3476722"/>
                </a:cubicBezTo>
                <a:cubicBezTo>
                  <a:pt x="5712962" y="3521327"/>
                  <a:pt x="5708442" y="3564877"/>
                  <a:pt x="5699834" y="3606939"/>
                </a:cubicBezTo>
                <a:lnTo>
                  <a:pt x="5684600" y="3656022"/>
                </a:lnTo>
                <a:lnTo>
                  <a:pt x="5861148" y="3805497"/>
                </a:lnTo>
                <a:lnTo>
                  <a:pt x="6147161" y="4039666"/>
                </a:lnTo>
                <a:lnTo>
                  <a:pt x="6147160" y="4039665"/>
                </a:lnTo>
                <a:lnTo>
                  <a:pt x="6176112" y="3927066"/>
                </a:lnTo>
                <a:cubicBezTo>
                  <a:pt x="6214612" y="3738918"/>
                  <a:pt x="6234831" y="3544110"/>
                  <a:pt x="6234832" y="3344579"/>
                </a:cubicBezTo>
                <a:cubicBezTo>
                  <a:pt x="6234832" y="2745990"/>
                  <a:pt x="6052862" y="2189901"/>
                  <a:pt x="5741222" y="1728614"/>
                </a:cubicBezTo>
                <a:close/>
                <a:moveTo>
                  <a:pt x="1958215" y="808450"/>
                </a:moveTo>
                <a:lnTo>
                  <a:pt x="1728612" y="947938"/>
                </a:lnTo>
                <a:cubicBezTo>
                  <a:pt x="1574851" y="1051818"/>
                  <a:pt x="1431621" y="1170105"/>
                  <a:pt x="1300863" y="1300863"/>
                </a:cubicBezTo>
                <a:lnTo>
                  <a:pt x="1258822" y="1347119"/>
                </a:lnTo>
                <a:cubicBezTo>
                  <a:pt x="1258822" y="1347120"/>
                  <a:pt x="1258823" y="1347120"/>
                  <a:pt x="1258823" y="1347121"/>
                </a:cubicBezTo>
                <a:lnTo>
                  <a:pt x="1263190" y="1402742"/>
                </a:lnTo>
                <a:cubicBezTo>
                  <a:pt x="1299315" y="1747145"/>
                  <a:pt x="1381685" y="2078308"/>
                  <a:pt x="1504198" y="2390321"/>
                </a:cubicBezTo>
                <a:lnTo>
                  <a:pt x="1570031" y="2538525"/>
                </a:lnTo>
                <a:lnTo>
                  <a:pt x="1593172" y="2532572"/>
                </a:lnTo>
                <a:cubicBezTo>
                  <a:pt x="1650990" y="2520742"/>
                  <a:pt x="1710855" y="2514529"/>
                  <a:pt x="1772170" y="2514528"/>
                </a:cubicBezTo>
                <a:cubicBezTo>
                  <a:pt x="1833487" y="2514528"/>
                  <a:pt x="1893351" y="2520742"/>
                  <a:pt x="1951170" y="2532573"/>
                </a:cubicBezTo>
                <a:lnTo>
                  <a:pt x="1953707" y="2533225"/>
                </a:lnTo>
                <a:lnTo>
                  <a:pt x="2046764" y="2419427"/>
                </a:lnTo>
                <a:cubicBezTo>
                  <a:pt x="2128031" y="2328363"/>
                  <a:pt x="2213787" y="2240216"/>
                  <a:pt x="2304042" y="2155240"/>
                </a:cubicBezTo>
                <a:cubicBezTo>
                  <a:pt x="2424382" y="2041945"/>
                  <a:pt x="2549872" y="1936968"/>
                  <a:pt x="2679904" y="1840257"/>
                </a:cubicBezTo>
                <a:lnTo>
                  <a:pt x="2839402" y="1728600"/>
                </a:lnTo>
                <a:lnTo>
                  <a:pt x="2839403" y="1728599"/>
                </a:lnTo>
                <a:lnTo>
                  <a:pt x="2180258" y="1049601"/>
                </a:lnTo>
                <a:lnTo>
                  <a:pt x="1958217" y="808450"/>
                </a:lnTo>
                <a:cubicBezTo>
                  <a:pt x="1958215" y="808450"/>
                  <a:pt x="1958216" y="808451"/>
                  <a:pt x="1958215" y="808451"/>
                </a:cubicBezTo>
                <a:lnTo>
                  <a:pt x="1958215" y="808450"/>
                </a:lnTo>
                <a:close/>
                <a:moveTo>
                  <a:pt x="3344580" y="454327"/>
                </a:moveTo>
                <a:cubicBezTo>
                  <a:pt x="3045285" y="454327"/>
                  <a:pt x="2756615" y="499820"/>
                  <a:pt x="2485108" y="584267"/>
                </a:cubicBezTo>
                <a:lnTo>
                  <a:pt x="2426658" y="605660"/>
                </a:lnTo>
                <a:lnTo>
                  <a:pt x="2608239" y="793623"/>
                </a:lnTo>
                <a:cubicBezTo>
                  <a:pt x="2757007" y="945441"/>
                  <a:pt x="2908179" y="1097562"/>
                  <a:pt x="3061380" y="1249579"/>
                </a:cubicBezTo>
                <a:lnTo>
                  <a:pt x="3282982" y="1466429"/>
                </a:lnTo>
                <a:lnTo>
                  <a:pt x="3282982" y="1466430"/>
                </a:lnTo>
                <a:lnTo>
                  <a:pt x="3293669" y="1460635"/>
                </a:lnTo>
                <a:cubicBezTo>
                  <a:pt x="3791705" y="1208444"/>
                  <a:pt x="4334237" y="1056393"/>
                  <a:pt x="4895242" y="1001928"/>
                </a:cubicBezTo>
                <a:lnTo>
                  <a:pt x="5020677" y="992902"/>
                </a:lnTo>
                <a:lnTo>
                  <a:pt x="4960548" y="947937"/>
                </a:lnTo>
                <a:cubicBezTo>
                  <a:pt x="4499260" y="636298"/>
                  <a:pt x="3943171" y="454328"/>
                  <a:pt x="3344580" y="454327"/>
                </a:cubicBezTo>
                <a:close/>
                <a:moveTo>
                  <a:pt x="3344579" y="0"/>
                </a:moveTo>
                <a:cubicBezTo>
                  <a:pt x="4268160" y="-1"/>
                  <a:pt x="5104305" y="374355"/>
                  <a:pt x="5709555" y="979605"/>
                </a:cubicBezTo>
                <a:lnTo>
                  <a:pt x="5925421" y="1217117"/>
                </a:lnTo>
                <a:cubicBezTo>
                  <a:pt x="5993582" y="1299709"/>
                  <a:pt x="6057852" y="1385627"/>
                  <a:pt x="6117959" y="1474595"/>
                </a:cubicBezTo>
                <a:lnTo>
                  <a:pt x="6162894" y="1548561"/>
                </a:lnTo>
                <a:cubicBezTo>
                  <a:pt x="6162893" y="1548562"/>
                  <a:pt x="6162894" y="1548563"/>
                  <a:pt x="6162893" y="1548563"/>
                </a:cubicBezTo>
                <a:lnTo>
                  <a:pt x="6285487" y="1750355"/>
                </a:lnTo>
                <a:cubicBezTo>
                  <a:pt x="6542927" y="2224259"/>
                  <a:pt x="6689159" y="2767342"/>
                  <a:pt x="6689158" y="3344580"/>
                </a:cubicBezTo>
                <a:cubicBezTo>
                  <a:pt x="6689160" y="3690923"/>
                  <a:pt x="6636516" y="4024970"/>
                  <a:pt x="6538793" y="4339156"/>
                </a:cubicBezTo>
                <a:lnTo>
                  <a:pt x="6534721" y="4350281"/>
                </a:lnTo>
                <a:lnTo>
                  <a:pt x="6426326" y="4646440"/>
                </a:lnTo>
                <a:lnTo>
                  <a:pt x="6421122" y="4657245"/>
                </a:lnTo>
                <a:lnTo>
                  <a:pt x="6372396" y="4758392"/>
                </a:lnTo>
                <a:lnTo>
                  <a:pt x="6285487" y="4938805"/>
                </a:lnTo>
                <a:cubicBezTo>
                  <a:pt x="6233999" y="5033584"/>
                  <a:pt x="6178063" y="5125599"/>
                  <a:pt x="6117958" y="5214566"/>
                </a:cubicBezTo>
                <a:lnTo>
                  <a:pt x="6035322" y="5325072"/>
                </a:lnTo>
                <a:lnTo>
                  <a:pt x="5925420" y="5472042"/>
                </a:lnTo>
                <a:cubicBezTo>
                  <a:pt x="5311975" y="6215366"/>
                  <a:pt x="4383609" y="6689158"/>
                  <a:pt x="3344580" y="6689159"/>
                </a:cubicBezTo>
                <a:cubicBezTo>
                  <a:pt x="2651895" y="6689159"/>
                  <a:pt x="2008392" y="6478585"/>
                  <a:pt x="1474594" y="6117958"/>
                </a:cubicBezTo>
                <a:lnTo>
                  <a:pt x="1464440" y="6110366"/>
                </a:lnTo>
                <a:lnTo>
                  <a:pt x="1217117" y="5925420"/>
                </a:lnTo>
                <a:cubicBezTo>
                  <a:pt x="1134526" y="5857259"/>
                  <a:pt x="1055262" y="5785212"/>
                  <a:pt x="979606" y="5709555"/>
                </a:cubicBezTo>
                <a:lnTo>
                  <a:pt x="941121" y="5667211"/>
                </a:lnTo>
                <a:lnTo>
                  <a:pt x="763739" y="5472043"/>
                </a:lnTo>
                <a:cubicBezTo>
                  <a:pt x="286616" y="4893903"/>
                  <a:pt x="1" y="4152713"/>
                  <a:pt x="0" y="3344580"/>
                </a:cubicBezTo>
                <a:cubicBezTo>
                  <a:pt x="0" y="2536448"/>
                  <a:pt x="286616" y="1795258"/>
                  <a:pt x="763739" y="1217118"/>
                </a:cubicBezTo>
                <a:lnTo>
                  <a:pt x="979605" y="979604"/>
                </a:lnTo>
                <a:cubicBezTo>
                  <a:pt x="1055262" y="903949"/>
                  <a:pt x="1134525" y="831900"/>
                  <a:pt x="1217117" y="763739"/>
                </a:cubicBezTo>
                <a:lnTo>
                  <a:pt x="1252792" y="737062"/>
                </a:lnTo>
                <a:lnTo>
                  <a:pt x="1474594" y="571201"/>
                </a:lnTo>
                <a:lnTo>
                  <a:pt x="1650297" y="464459"/>
                </a:lnTo>
                <a:lnTo>
                  <a:pt x="1750354" y="403673"/>
                </a:lnTo>
                <a:cubicBezTo>
                  <a:pt x="1845135" y="352185"/>
                  <a:pt x="1942683" y="305145"/>
                  <a:pt x="2042719" y="262835"/>
                </a:cubicBezTo>
                <a:lnTo>
                  <a:pt x="2083584" y="247876"/>
                </a:lnTo>
                <a:lnTo>
                  <a:pt x="2350003" y="150366"/>
                </a:lnTo>
                <a:cubicBezTo>
                  <a:pt x="2664191" y="52644"/>
                  <a:pt x="2998237" y="0"/>
                  <a:pt x="3344579"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1200" b="0" i="0" u="none" strike="noStrike" kern="0" cap="none" spc="0" normalizeH="0" baseline="0" noProof="0" dirty="0" err="1">
              <a:ln>
                <a:noFill/>
              </a:ln>
              <a:solidFill>
                <a:schemeClr val="tx2"/>
              </a:solidFill>
              <a:effectLst/>
              <a:uLnTx/>
              <a:uFillTx/>
              <a:ea typeface="Segoe UI" pitchFamily="34" charset="0"/>
              <a:cs typeface="Segoe UI" pitchFamily="34" charset="0"/>
            </a:endParaRPr>
          </a:p>
        </p:txBody>
      </p:sp>
      <p:sp>
        <p:nvSpPr>
          <p:cNvPr id="147" name="Freeform 271"/>
          <p:cNvSpPr/>
          <p:nvPr/>
        </p:nvSpPr>
        <p:spPr>
          <a:xfrm>
            <a:off x="10855527" y="2482365"/>
            <a:ext cx="639052" cy="482484"/>
          </a:xfrm>
          <a:custGeom>
            <a:avLst/>
            <a:gdLst>
              <a:gd name="connsiteX0" fmla="*/ 1765758 w 7620000"/>
              <a:gd name="connsiteY0" fmla="*/ 3905250 h 5753101"/>
              <a:gd name="connsiteX1" fmla="*/ 2193023 w 7620000"/>
              <a:gd name="connsiteY1" fmla="*/ 4332515 h 5753101"/>
              <a:gd name="connsiteX2" fmla="*/ 2193022 w 7620000"/>
              <a:gd name="connsiteY2" fmla="*/ 5325836 h 5753101"/>
              <a:gd name="connsiteX3" fmla="*/ 1765757 w 7620000"/>
              <a:gd name="connsiteY3" fmla="*/ 5753101 h 5753101"/>
              <a:gd name="connsiteX4" fmla="*/ 1765758 w 7620000"/>
              <a:gd name="connsiteY4" fmla="*/ 5753100 h 5753101"/>
              <a:gd name="connsiteX5" fmla="*/ 1338493 w 7620000"/>
              <a:gd name="connsiteY5" fmla="*/ 5325835 h 5753101"/>
              <a:gd name="connsiteX6" fmla="*/ 1338493 w 7620000"/>
              <a:gd name="connsiteY6" fmla="*/ 4332515 h 5753101"/>
              <a:gd name="connsiteX7" fmla="*/ 1765758 w 7620000"/>
              <a:gd name="connsiteY7" fmla="*/ 3905250 h 5753101"/>
              <a:gd name="connsiteX8" fmla="*/ 4501698 w 7620000"/>
              <a:gd name="connsiteY8" fmla="*/ 2990850 h 5753101"/>
              <a:gd name="connsiteX9" fmla="*/ 4928963 w 7620000"/>
              <a:gd name="connsiteY9" fmla="*/ 3418115 h 5753101"/>
              <a:gd name="connsiteX10" fmla="*/ 4928962 w 7620000"/>
              <a:gd name="connsiteY10" fmla="*/ 5325836 h 5753101"/>
              <a:gd name="connsiteX11" fmla="*/ 4501697 w 7620000"/>
              <a:gd name="connsiteY11" fmla="*/ 5753101 h 5753101"/>
              <a:gd name="connsiteX12" fmla="*/ 4501698 w 7620000"/>
              <a:gd name="connsiteY12" fmla="*/ 5753100 h 5753101"/>
              <a:gd name="connsiteX13" fmla="*/ 4074433 w 7620000"/>
              <a:gd name="connsiteY13" fmla="*/ 5325835 h 5753101"/>
              <a:gd name="connsiteX14" fmla="*/ 4074433 w 7620000"/>
              <a:gd name="connsiteY14" fmla="*/ 3418115 h 5753101"/>
              <a:gd name="connsiteX15" fmla="*/ 4501698 w 7620000"/>
              <a:gd name="connsiteY15" fmla="*/ 2990850 h 5753101"/>
              <a:gd name="connsiteX16" fmla="*/ 3133728 w 7620000"/>
              <a:gd name="connsiteY16" fmla="*/ 2352675 h 5753101"/>
              <a:gd name="connsiteX17" fmla="*/ 3560993 w 7620000"/>
              <a:gd name="connsiteY17" fmla="*/ 2779940 h 5753101"/>
              <a:gd name="connsiteX18" fmla="*/ 3560992 w 7620000"/>
              <a:gd name="connsiteY18" fmla="*/ 5325836 h 5753101"/>
              <a:gd name="connsiteX19" fmla="*/ 3133727 w 7620000"/>
              <a:gd name="connsiteY19" fmla="*/ 5753101 h 5753101"/>
              <a:gd name="connsiteX20" fmla="*/ 3133728 w 7620000"/>
              <a:gd name="connsiteY20" fmla="*/ 5753100 h 5753101"/>
              <a:gd name="connsiteX21" fmla="*/ 2706463 w 7620000"/>
              <a:gd name="connsiteY21" fmla="*/ 5325835 h 5753101"/>
              <a:gd name="connsiteX22" fmla="*/ 2706463 w 7620000"/>
              <a:gd name="connsiteY22" fmla="*/ 2779940 h 5753101"/>
              <a:gd name="connsiteX23" fmla="*/ 3133728 w 7620000"/>
              <a:gd name="connsiteY23" fmla="*/ 2352675 h 5753101"/>
              <a:gd name="connsiteX24" fmla="*/ 5846990 w 7620000"/>
              <a:gd name="connsiteY24" fmla="*/ 1247321 h 5753101"/>
              <a:gd name="connsiteX25" fmla="*/ 6274255 w 7620000"/>
              <a:gd name="connsiteY25" fmla="*/ 1674586 h 5753101"/>
              <a:gd name="connsiteX26" fmla="*/ 6274254 w 7620000"/>
              <a:gd name="connsiteY26" fmla="*/ 5325836 h 5753101"/>
              <a:gd name="connsiteX27" fmla="*/ 5846989 w 7620000"/>
              <a:gd name="connsiteY27" fmla="*/ 5753101 h 5753101"/>
              <a:gd name="connsiteX28" fmla="*/ 5846990 w 7620000"/>
              <a:gd name="connsiteY28" fmla="*/ 5753100 h 5753101"/>
              <a:gd name="connsiteX29" fmla="*/ 5419725 w 7620000"/>
              <a:gd name="connsiteY29" fmla="*/ 5325835 h 5753101"/>
              <a:gd name="connsiteX30" fmla="*/ 5419725 w 7620000"/>
              <a:gd name="connsiteY30" fmla="*/ 1674586 h 5753101"/>
              <a:gd name="connsiteX31" fmla="*/ 5846990 w 7620000"/>
              <a:gd name="connsiteY31" fmla="*/ 1247321 h 5753101"/>
              <a:gd name="connsiteX32" fmla="*/ 946184 w 7620000"/>
              <a:gd name="connsiteY32" fmla="*/ 0 h 5753101"/>
              <a:gd name="connsiteX33" fmla="*/ 6673816 w 7620000"/>
              <a:gd name="connsiteY33" fmla="*/ 0 h 5753101"/>
              <a:gd name="connsiteX34" fmla="*/ 7620000 w 7620000"/>
              <a:gd name="connsiteY34" fmla="*/ 946185 h 5753101"/>
              <a:gd name="connsiteX35" fmla="*/ 7620000 w 7620000"/>
              <a:gd name="connsiteY35" fmla="*/ 3987766 h 5753101"/>
              <a:gd name="connsiteX36" fmla="*/ 6673816 w 7620000"/>
              <a:gd name="connsiteY36" fmla="*/ 4933950 h 5753101"/>
              <a:gd name="connsiteX37" fmla="*/ 6572250 w 7620000"/>
              <a:gd name="connsiteY37" fmla="*/ 4933950 h 5753101"/>
              <a:gd name="connsiteX38" fmla="*/ 6572250 w 7620000"/>
              <a:gd name="connsiteY38" fmla="*/ 4613702 h 5753101"/>
              <a:gd name="connsiteX39" fmla="*/ 6711353 w 7620000"/>
              <a:gd name="connsiteY39" fmla="*/ 4613702 h 5753101"/>
              <a:gd name="connsiteX40" fmla="*/ 7324725 w 7620000"/>
              <a:gd name="connsiteY40" fmla="*/ 4000330 h 5753101"/>
              <a:gd name="connsiteX41" fmla="*/ 7324725 w 7620000"/>
              <a:gd name="connsiteY41" fmla="*/ 918172 h 5753101"/>
              <a:gd name="connsiteX42" fmla="*/ 6711353 w 7620000"/>
              <a:gd name="connsiteY42" fmla="*/ 304800 h 5753101"/>
              <a:gd name="connsiteX43" fmla="*/ 937223 w 7620000"/>
              <a:gd name="connsiteY43" fmla="*/ 304800 h 5753101"/>
              <a:gd name="connsiteX44" fmla="*/ 323850 w 7620000"/>
              <a:gd name="connsiteY44" fmla="*/ 918172 h 5753101"/>
              <a:gd name="connsiteX45" fmla="*/ 323850 w 7620000"/>
              <a:gd name="connsiteY45" fmla="*/ 4000330 h 5753101"/>
              <a:gd name="connsiteX46" fmla="*/ 937223 w 7620000"/>
              <a:gd name="connsiteY46" fmla="*/ 4613702 h 5753101"/>
              <a:gd name="connsiteX47" fmla="*/ 1076325 w 7620000"/>
              <a:gd name="connsiteY47" fmla="*/ 4613702 h 5753101"/>
              <a:gd name="connsiteX48" fmla="*/ 1076325 w 7620000"/>
              <a:gd name="connsiteY48" fmla="*/ 4933950 h 5753101"/>
              <a:gd name="connsiteX49" fmla="*/ 946184 w 7620000"/>
              <a:gd name="connsiteY49" fmla="*/ 4933950 h 5753101"/>
              <a:gd name="connsiteX50" fmla="*/ 0 w 7620000"/>
              <a:gd name="connsiteY50" fmla="*/ 3987766 h 5753101"/>
              <a:gd name="connsiteX51" fmla="*/ 0 w 7620000"/>
              <a:gd name="connsiteY51" fmla="*/ 946185 h 5753101"/>
              <a:gd name="connsiteX52" fmla="*/ 946184 w 7620000"/>
              <a:gd name="connsiteY52" fmla="*/ 0 h 57531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7620000" h="5753101">
                <a:moveTo>
                  <a:pt x="1765758" y="3905250"/>
                </a:moveTo>
                <a:cubicBezTo>
                  <a:pt x="2001730" y="3905250"/>
                  <a:pt x="2193023" y="4096543"/>
                  <a:pt x="2193023" y="4332515"/>
                </a:cubicBezTo>
                <a:cubicBezTo>
                  <a:pt x="2193023" y="4663622"/>
                  <a:pt x="2193022" y="4994729"/>
                  <a:pt x="2193022" y="5325836"/>
                </a:cubicBezTo>
                <a:cubicBezTo>
                  <a:pt x="2193022" y="5561808"/>
                  <a:pt x="2001729" y="5753101"/>
                  <a:pt x="1765757" y="5753101"/>
                </a:cubicBezTo>
                <a:lnTo>
                  <a:pt x="1765758" y="5753100"/>
                </a:lnTo>
                <a:cubicBezTo>
                  <a:pt x="1529786" y="5753100"/>
                  <a:pt x="1338493" y="5561807"/>
                  <a:pt x="1338493" y="5325835"/>
                </a:cubicBezTo>
                <a:lnTo>
                  <a:pt x="1338493" y="4332515"/>
                </a:lnTo>
                <a:cubicBezTo>
                  <a:pt x="1338493" y="4096543"/>
                  <a:pt x="1529786" y="3905250"/>
                  <a:pt x="1765758" y="3905250"/>
                </a:cubicBezTo>
                <a:close/>
                <a:moveTo>
                  <a:pt x="4501698" y="2990850"/>
                </a:moveTo>
                <a:cubicBezTo>
                  <a:pt x="4737670" y="2990850"/>
                  <a:pt x="4928963" y="3182143"/>
                  <a:pt x="4928963" y="3418115"/>
                </a:cubicBezTo>
                <a:cubicBezTo>
                  <a:pt x="4928963" y="4054022"/>
                  <a:pt x="4928962" y="4689929"/>
                  <a:pt x="4928962" y="5325836"/>
                </a:cubicBezTo>
                <a:cubicBezTo>
                  <a:pt x="4928962" y="5561808"/>
                  <a:pt x="4737669" y="5753101"/>
                  <a:pt x="4501697" y="5753101"/>
                </a:cubicBezTo>
                <a:lnTo>
                  <a:pt x="4501698" y="5753100"/>
                </a:lnTo>
                <a:cubicBezTo>
                  <a:pt x="4265726" y="5753100"/>
                  <a:pt x="4074433" y="5561807"/>
                  <a:pt x="4074433" y="5325835"/>
                </a:cubicBezTo>
                <a:lnTo>
                  <a:pt x="4074433" y="3418115"/>
                </a:lnTo>
                <a:cubicBezTo>
                  <a:pt x="4074433" y="3182143"/>
                  <a:pt x="4265726" y="2990850"/>
                  <a:pt x="4501698" y="2990850"/>
                </a:cubicBezTo>
                <a:close/>
                <a:moveTo>
                  <a:pt x="3133728" y="2352675"/>
                </a:moveTo>
                <a:cubicBezTo>
                  <a:pt x="3369700" y="2352675"/>
                  <a:pt x="3560993" y="2543968"/>
                  <a:pt x="3560993" y="2779940"/>
                </a:cubicBezTo>
                <a:cubicBezTo>
                  <a:pt x="3560993" y="3628572"/>
                  <a:pt x="3560992" y="4477204"/>
                  <a:pt x="3560992" y="5325836"/>
                </a:cubicBezTo>
                <a:cubicBezTo>
                  <a:pt x="3560992" y="5561808"/>
                  <a:pt x="3369699" y="5753101"/>
                  <a:pt x="3133727" y="5753101"/>
                </a:cubicBezTo>
                <a:lnTo>
                  <a:pt x="3133728" y="5753100"/>
                </a:lnTo>
                <a:cubicBezTo>
                  <a:pt x="2897756" y="5753100"/>
                  <a:pt x="2706463" y="5561807"/>
                  <a:pt x="2706463" y="5325835"/>
                </a:cubicBezTo>
                <a:lnTo>
                  <a:pt x="2706463" y="2779940"/>
                </a:lnTo>
                <a:cubicBezTo>
                  <a:pt x="2706463" y="2543968"/>
                  <a:pt x="2897756" y="2352675"/>
                  <a:pt x="3133728" y="2352675"/>
                </a:cubicBezTo>
                <a:close/>
                <a:moveTo>
                  <a:pt x="5846990" y="1247321"/>
                </a:moveTo>
                <a:cubicBezTo>
                  <a:pt x="6082962" y="1247321"/>
                  <a:pt x="6274255" y="1438614"/>
                  <a:pt x="6274255" y="1674586"/>
                </a:cubicBezTo>
                <a:cubicBezTo>
                  <a:pt x="6274255" y="2891669"/>
                  <a:pt x="6274254" y="4108753"/>
                  <a:pt x="6274254" y="5325836"/>
                </a:cubicBezTo>
                <a:cubicBezTo>
                  <a:pt x="6274254" y="5561808"/>
                  <a:pt x="6082961" y="5753101"/>
                  <a:pt x="5846989" y="5753101"/>
                </a:cubicBezTo>
                <a:lnTo>
                  <a:pt x="5846990" y="5753100"/>
                </a:lnTo>
                <a:cubicBezTo>
                  <a:pt x="5611018" y="5753100"/>
                  <a:pt x="5419725" y="5561807"/>
                  <a:pt x="5419725" y="5325835"/>
                </a:cubicBezTo>
                <a:lnTo>
                  <a:pt x="5419725" y="1674586"/>
                </a:lnTo>
                <a:cubicBezTo>
                  <a:pt x="5419725" y="1438614"/>
                  <a:pt x="5611018" y="1247321"/>
                  <a:pt x="5846990" y="1247321"/>
                </a:cubicBezTo>
                <a:close/>
                <a:moveTo>
                  <a:pt x="946184" y="0"/>
                </a:moveTo>
                <a:lnTo>
                  <a:pt x="6673816" y="0"/>
                </a:lnTo>
                <a:cubicBezTo>
                  <a:pt x="7196379" y="0"/>
                  <a:pt x="7620000" y="423621"/>
                  <a:pt x="7620000" y="946185"/>
                </a:cubicBezTo>
                <a:lnTo>
                  <a:pt x="7620000" y="3987766"/>
                </a:lnTo>
                <a:cubicBezTo>
                  <a:pt x="7620000" y="4510329"/>
                  <a:pt x="7196379" y="4933950"/>
                  <a:pt x="6673816" y="4933950"/>
                </a:cubicBezTo>
                <a:lnTo>
                  <a:pt x="6572250" y="4933950"/>
                </a:lnTo>
                <a:lnTo>
                  <a:pt x="6572250" y="4613702"/>
                </a:lnTo>
                <a:lnTo>
                  <a:pt x="6711353" y="4613702"/>
                </a:lnTo>
                <a:cubicBezTo>
                  <a:pt x="7050109" y="4613702"/>
                  <a:pt x="7324725" y="4339086"/>
                  <a:pt x="7324725" y="4000330"/>
                </a:cubicBezTo>
                <a:lnTo>
                  <a:pt x="7324725" y="918172"/>
                </a:lnTo>
                <a:cubicBezTo>
                  <a:pt x="7324725" y="579416"/>
                  <a:pt x="7050109" y="304800"/>
                  <a:pt x="6711353" y="304800"/>
                </a:cubicBezTo>
                <a:lnTo>
                  <a:pt x="937223" y="304800"/>
                </a:lnTo>
                <a:cubicBezTo>
                  <a:pt x="598466" y="304800"/>
                  <a:pt x="323850" y="579416"/>
                  <a:pt x="323850" y="918172"/>
                </a:cubicBezTo>
                <a:lnTo>
                  <a:pt x="323850" y="4000330"/>
                </a:lnTo>
                <a:cubicBezTo>
                  <a:pt x="323850" y="4339086"/>
                  <a:pt x="598466" y="4613702"/>
                  <a:pt x="937223" y="4613702"/>
                </a:cubicBezTo>
                <a:lnTo>
                  <a:pt x="1076325" y="4613702"/>
                </a:lnTo>
                <a:lnTo>
                  <a:pt x="1076325" y="4933950"/>
                </a:lnTo>
                <a:lnTo>
                  <a:pt x="946184" y="4933950"/>
                </a:lnTo>
                <a:cubicBezTo>
                  <a:pt x="423621" y="4933950"/>
                  <a:pt x="0" y="4510329"/>
                  <a:pt x="0" y="3987766"/>
                </a:cubicBezTo>
                <a:lnTo>
                  <a:pt x="0" y="946185"/>
                </a:lnTo>
                <a:cubicBezTo>
                  <a:pt x="0" y="423621"/>
                  <a:pt x="423621" y="0"/>
                  <a:pt x="946184" y="0"/>
                </a:cubicBezTo>
                <a:close/>
              </a:path>
            </a:pathLst>
          </a:custGeom>
          <a:solidFill>
            <a:schemeClr val="tx1"/>
          </a:solidFill>
          <a:ln w="342900" cap="sq">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chemeClr val="tx2"/>
              </a:solidFill>
              <a:effectLst/>
              <a:uLnTx/>
              <a:uFillTx/>
            </a:endParaRPr>
          </a:p>
        </p:txBody>
      </p:sp>
      <p:cxnSp>
        <p:nvCxnSpPr>
          <p:cNvPr id="50" name="Straight Arrow Connector 49"/>
          <p:cNvCxnSpPr/>
          <p:nvPr/>
        </p:nvCxnSpPr>
        <p:spPr>
          <a:xfrm>
            <a:off x="3175000" y="3552627"/>
            <a:ext cx="2805631" cy="0"/>
          </a:xfrm>
          <a:prstGeom prst="straightConnector1">
            <a:avLst/>
          </a:prstGeom>
          <a:ln w="38100" cmpd="sng">
            <a:solidFill>
              <a:schemeClr val="accent1"/>
            </a:solidFill>
            <a:prstDash val="sysDash"/>
            <a:headEnd type="none"/>
            <a:tailEnd type="triangle" w="lg" len="med"/>
          </a:ln>
        </p:spPr>
        <p:style>
          <a:lnRef idx="1">
            <a:schemeClr val="accent1"/>
          </a:lnRef>
          <a:fillRef idx="0">
            <a:schemeClr val="accent1"/>
          </a:fillRef>
          <a:effectRef idx="0">
            <a:schemeClr val="accent1"/>
          </a:effectRef>
          <a:fontRef idx="minor">
            <a:schemeClr val="tx1"/>
          </a:fontRef>
        </p:style>
      </p:cxnSp>
      <p:cxnSp>
        <p:nvCxnSpPr>
          <p:cNvPr id="51" name="Straight Arrow Connector 50"/>
          <p:cNvCxnSpPr/>
          <p:nvPr/>
        </p:nvCxnSpPr>
        <p:spPr>
          <a:xfrm>
            <a:off x="1818653" y="3531505"/>
            <a:ext cx="390825" cy="0"/>
          </a:xfrm>
          <a:prstGeom prst="straightConnector1">
            <a:avLst/>
          </a:prstGeom>
          <a:ln w="38100" cmpd="sng">
            <a:solidFill>
              <a:schemeClr val="accent1"/>
            </a:solidFill>
            <a:prstDash val="sysDash"/>
            <a:headEnd type="none"/>
            <a:tailEnd type="triangle" w="lg" len="med"/>
          </a:ln>
        </p:spPr>
        <p:style>
          <a:lnRef idx="1">
            <a:schemeClr val="accent1"/>
          </a:lnRef>
          <a:fillRef idx="0">
            <a:schemeClr val="accent1"/>
          </a:fillRef>
          <a:effectRef idx="0">
            <a:schemeClr val="accent1"/>
          </a:effectRef>
          <a:fontRef idx="minor">
            <a:schemeClr val="tx1"/>
          </a:fontRef>
        </p:style>
      </p:cxnSp>
      <p:cxnSp>
        <p:nvCxnSpPr>
          <p:cNvPr id="54" name="Straight Arrow Connector 53"/>
          <p:cNvCxnSpPr/>
          <p:nvPr/>
        </p:nvCxnSpPr>
        <p:spPr>
          <a:xfrm>
            <a:off x="1818653" y="5733963"/>
            <a:ext cx="481861" cy="0"/>
          </a:xfrm>
          <a:prstGeom prst="straightConnector1">
            <a:avLst/>
          </a:prstGeom>
          <a:ln w="38100" cmpd="sng">
            <a:solidFill>
              <a:schemeClr val="accent1"/>
            </a:solidFill>
            <a:prstDash val="sysDash"/>
            <a:headEnd type="none"/>
            <a:tailEnd type="triangle" w="lg" len="med"/>
          </a:ln>
        </p:spPr>
        <p:style>
          <a:lnRef idx="1">
            <a:schemeClr val="accent1"/>
          </a:lnRef>
          <a:fillRef idx="0">
            <a:schemeClr val="accent1"/>
          </a:fillRef>
          <a:effectRef idx="0">
            <a:schemeClr val="accent1"/>
          </a:effectRef>
          <a:fontRef idx="minor">
            <a:schemeClr val="tx1"/>
          </a:fontRef>
        </p:style>
      </p:cxnSp>
      <p:pic>
        <p:nvPicPr>
          <p:cNvPr id="56" name="Graphic 4"/>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4307015" y="5376590"/>
            <a:ext cx="343065" cy="343065"/>
          </a:xfrm>
          <a:prstGeom prst="rect">
            <a:avLst/>
          </a:prstGeom>
        </p:spPr>
      </p:pic>
      <p:sp>
        <p:nvSpPr>
          <p:cNvPr id="57" name="Rectangle 56"/>
          <p:cNvSpPr/>
          <p:nvPr/>
        </p:nvSpPr>
        <p:spPr>
          <a:xfrm>
            <a:off x="4015008" y="5772205"/>
            <a:ext cx="878766" cy="276999"/>
          </a:xfrm>
          <a:prstGeom prst="rect">
            <a:avLst/>
          </a:prstGeom>
        </p:spPr>
        <p:txBody>
          <a:bodyPr wrap="none">
            <a:spAutoFit/>
          </a:bodyPr>
          <a:lstStyle/>
          <a:p>
            <a:pPr marL="0" marR="0" lvl="0" indent="0" algn="ctr" defTabSz="914225"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chemeClr val="tx2"/>
                </a:solidFill>
                <a:effectLst/>
                <a:uLnTx/>
                <a:uFillTx/>
              </a:rPr>
              <a:t>Streaming</a:t>
            </a:r>
          </a:p>
        </p:txBody>
      </p:sp>
      <p:pic>
        <p:nvPicPr>
          <p:cNvPr id="61" name="Picture 60"/>
          <p:cNvPicPr>
            <a:picLocks noChangeAspect="1"/>
          </p:cNvPicPr>
          <p:nvPr/>
        </p:nvPicPr>
        <p:blipFill>
          <a:blip r:embed="rId10"/>
          <a:stretch>
            <a:fillRect/>
          </a:stretch>
        </p:blipFill>
        <p:spPr>
          <a:xfrm>
            <a:off x="3487971" y="5249466"/>
            <a:ext cx="786114" cy="288242"/>
          </a:xfrm>
          <a:prstGeom prst="rect">
            <a:avLst/>
          </a:prstGeom>
        </p:spPr>
      </p:pic>
      <p:cxnSp>
        <p:nvCxnSpPr>
          <p:cNvPr id="69" name="Straight Arrow Connector 68"/>
          <p:cNvCxnSpPr/>
          <p:nvPr/>
        </p:nvCxnSpPr>
        <p:spPr>
          <a:xfrm>
            <a:off x="3113314" y="5733963"/>
            <a:ext cx="610348" cy="0"/>
          </a:xfrm>
          <a:prstGeom prst="straightConnector1">
            <a:avLst/>
          </a:prstGeom>
          <a:ln w="38100" cmpd="sng">
            <a:solidFill>
              <a:schemeClr val="accent1"/>
            </a:solidFill>
            <a:prstDash val="sysDash"/>
            <a:headEnd type="none"/>
            <a:tailEnd type="triangle" w="lg" len="med"/>
          </a:ln>
        </p:spPr>
        <p:style>
          <a:lnRef idx="1">
            <a:schemeClr val="accent1"/>
          </a:lnRef>
          <a:fillRef idx="0">
            <a:schemeClr val="accent1"/>
          </a:fillRef>
          <a:effectRef idx="0">
            <a:schemeClr val="accent1"/>
          </a:effectRef>
          <a:fontRef idx="minor">
            <a:schemeClr val="tx1"/>
          </a:fontRef>
        </p:style>
      </p:cxnSp>
      <p:cxnSp>
        <p:nvCxnSpPr>
          <p:cNvPr id="70" name="Straight Arrow Connector 69"/>
          <p:cNvCxnSpPr/>
          <p:nvPr/>
        </p:nvCxnSpPr>
        <p:spPr>
          <a:xfrm flipV="1">
            <a:off x="5168261" y="4264125"/>
            <a:ext cx="1077278" cy="806611"/>
          </a:xfrm>
          <a:prstGeom prst="straightConnector1">
            <a:avLst/>
          </a:prstGeom>
          <a:ln w="38100" cmpd="sng">
            <a:solidFill>
              <a:schemeClr val="accent1"/>
            </a:solidFill>
            <a:prstDash val="sysDash"/>
            <a:headEnd type="none"/>
            <a:tailEnd type="triangle" w="lg" len="med"/>
          </a:ln>
        </p:spPr>
        <p:style>
          <a:lnRef idx="1">
            <a:schemeClr val="accent1"/>
          </a:lnRef>
          <a:fillRef idx="0">
            <a:schemeClr val="accent1"/>
          </a:fillRef>
          <a:effectRef idx="0">
            <a:schemeClr val="accent1"/>
          </a:effectRef>
          <a:fontRef idx="minor">
            <a:schemeClr val="tx1"/>
          </a:fontRef>
        </p:style>
      </p:cxnSp>
      <p:grpSp>
        <p:nvGrpSpPr>
          <p:cNvPr id="72" name="Group 71"/>
          <p:cNvGrpSpPr/>
          <p:nvPr/>
        </p:nvGrpSpPr>
        <p:grpSpPr>
          <a:xfrm>
            <a:off x="6109084" y="5259304"/>
            <a:ext cx="487122" cy="355947"/>
            <a:chOff x="1358900" y="3878269"/>
            <a:chExt cx="1638300" cy="1214439"/>
          </a:xfrm>
        </p:grpSpPr>
        <p:sp>
          <p:nvSpPr>
            <p:cNvPr id="73" name="Freeform 41"/>
            <p:cNvSpPr>
              <a:spLocks/>
            </p:cNvSpPr>
            <p:nvPr/>
          </p:nvSpPr>
          <p:spPr bwMode="auto">
            <a:xfrm>
              <a:off x="1376363" y="3897315"/>
              <a:ext cx="1606551" cy="1179515"/>
            </a:xfrm>
            <a:custGeom>
              <a:avLst/>
              <a:gdLst>
                <a:gd name="T0" fmla="*/ 5241 w 15187"/>
                <a:gd name="T1" fmla="*/ 9710 h 11142"/>
                <a:gd name="T2" fmla="*/ 5233 w 15187"/>
                <a:gd name="T3" fmla="*/ 9178 h 11142"/>
                <a:gd name="T4" fmla="*/ 4434 w 15187"/>
                <a:gd name="T5" fmla="*/ 9449 h 11142"/>
                <a:gd name="T6" fmla="*/ 3641 w 15187"/>
                <a:gd name="T7" fmla="*/ 11126 h 11142"/>
                <a:gd name="T8" fmla="*/ 1789 w 15187"/>
                <a:gd name="T9" fmla="*/ 10455 h 11142"/>
                <a:gd name="T10" fmla="*/ 1450 w 15187"/>
                <a:gd name="T11" fmla="*/ 9774 h 11142"/>
                <a:gd name="T12" fmla="*/ 225 w 15187"/>
                <a:gd name="T13" fmla="*/ 8805 h 11142"/>
                <a:gd name="T14" fmla="*/ 275 w 15187"/>
                <a:gd name="T15" fmla="*/ 8036 h 11142"/>
                <a:gd name="T16" fmla="*/ 1064 w 15187"/>
                <a:gd name="T17" fmla="*/ 5894 h 11142"/>
                <a:gd name="T18" fmla="*/ 587 w 15187"/>
                <a:gd name="T19" fmla="*/ 5637 h 11142"/>
                <a:gd name="T20" fmla="*/ 0 w 15187"/>
                <a:gd name="T21" fmla="*/ 4241 h 11142"/>
                <a:gd name="T22" fmla="*/ 737 w 15187"/>
                <a:gd name="T23" fmla="*/ 3467 h 11142"/>
                <a:gd name="T24" fmla="*/ 967 w 15187"/>
                <a:gd name="T25" fmla="*/ 3962 h 11142"/>
                <a:gd name="T26" fmla="*/ 1235 w 15187"/>
                <a:gd name="T27" fmla="*/ 4658 h 11142"/>
                <a:gd name="T28" fmla="*/ 2180 w 15187"/>
                <a:gd name="T29" fmla="*/ 3525 h 11142"/>
                <a:gd name="T30" fmla="*/ 4772 w 15187"/>
                <a:gd name="T31" fmla="*/ 2368 h 11142"/>
                <a:gd name="T32" fmla="*/ 4796 w 15187"/>
                <a:gd name="T33" fmla="*/ 2366 h 11142"/>
                <a:gd name="T34" fmla="*/ 5902 w 15187"/>
                <a:gd name="T35" fmla="*/ 1584 h 11142"/>
                <a:gd name="T36" fmla="*/ 7475 w 15187"/>
                <a:gd name="T37" fmla="*/ 320 h 11142"/>
                <a:gd name="T38" fmla="*/ 10463 w 15187"/>
                <a:gd name="T39" fmla="*/ 444 h 11142"/>
                <a:gd name="T40" fmla="*/ 12229 w 15187"/>
                <a:gd name="T41" fmla="*/ 2322 h 11142"/>
                <a:gd name="T42" fmla="*/ 11919 w 15187"/>
                <a:gd name="T43" fmla="*/ 2784 h 11142"/>
                <a:gd name="T44" fmla="*/ 12748 w 15187"/>
                <a:gd name="T45" fmla="*/ 1952 h 11142"/>
                <a:gd name="T46" fmla="*/ 12808 w 15187"/>
                <a:gd name="T47" fmla="*/ 1312 h 11142"/>
                <a:gd name="T48" fmla="*/ 14117 w 15187"/>
                <a:gd name="T49" fmla="*/ 374 h 11142"/>
                <a:gd name="T50" fmla="*/ 15054 w 15187"/>
                <a:gd name="T51" fmla="*/ 1820 h 11142"/>
                <a:gd name="T52" fmla="*/ 15074 w 15187"/>
                <a:gd name="T53" fmla="*/ 4582 h 11142"/>
                <a:gd name="T54" fmla="*/ 13760 w 15187"/>
                <a:gd name="T55" fmla="*/ 6707 h 11142"/>
                <a:gd name="T56" fmla="*/ 11787 w 15187"/>
                <a:gd name="T57" fmla="*/ 6939 h 11142"/>
                <a:gd name="T58" fmla="*/ 11079 w 15187"/>
                <a:gd name="T59" fmla="*/ 7951 h 11142"/>
                <a:gd name="T60" fmla="*/ 9991 w 15187"/>
                <a:gd name="T61" fmla="*/ 7940 h 11142"/>
                <a:gd name="T62" fmla="*/ 9225 w 15187"/>
                <a:gd name="T63" fmla="*/ 7666 h 11142"/>
                <a:gd name="T64" fmla="*/ 9246 w 15187"/>
                <a:gd name="T65" fmla="*/ 7826 h 11142"/>
                <a:gd name="T66" fmla="*/ 9561 w 15187"/>
                <a:gd name="T67" fmla="*/ 8267 h 11142"/>
                <a:gd name="T68" fmla="*/ 9893 w 15187"/>
                <a:gd name="T69" fmla="*/ 9776 h 11142"/>
                <a:gd name="T70" fmla="*/ 9523 w 15187"/>
                <a:gd name="T71" fmla="*/ 10699 h 11142"/>
                <a:gd name="T72" fmla="*/ 8033 w 15187"/>
                <a:gd name="T73" fmla="*/ 10573 h 11142"/>
                <a:gd name="T74" fmla="*/ 7942 w 15187"/>
                <a:gd name="T75" fmla="*/ 10378 h 11142"/>
                <a:gd name="T76" fmla="*/ 7218 w 15187"/>
                <a:gd name="T77" fmla="*/ 10650 h 11142"/>
                <a:gd name="T78" fmla="*/ 5285 w 15187"/>
                <a:gd name="T79" fmla="*/ 10028 h 11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5187" h="11142">
                  <a:moveTo>
                    <a:pt x="5285" y="10028"/>
                  </a:moveTo>
                  <a:lnTo>
                    <a:pt x="5241" y="9710"/>
                  </a:lnTo>
                  <a:lnTo>
                    <a:pt x="5370" y="9432"/>
                  </a:lnTo>
                  <a:lnTo>
                    <a:pt x="5233" y="9178"/>
                  </a:lnTo>
                  <a:lnTo>
                    <a:pt x="4621" y="9040"/>
                  </a:lnTo>
                  <a:lnTo>
                    <a:pt x="4434" y="9449"/>
                  </a:lnTo>
                  <a:lnTo>
                    <a:pt x="3963" y="10867"/>
                  </a:lnTo>
                  <a:lnTo>
                    <a:pt x="3641" y="11126"/>
                  </a:lnTo>
                  <a:lnTo>
                    <a:pt x="2596" y="10940"/>
                  </a:lnTo>
                  <a:lnTo>
                    <a:pt x="1789" y="10455"/>
                  </a:lnTo>
                  <a:lnTo>
                    <a:pt x="1960" y="9717"/>
                  </a:lnTo>
                  <a:lnTo>
                    <a:pt x="1450" y="9774"/>
                  </a:lnTo>
                  <a:lnTo>
                    <a:pt x="575" y="9268"/>
                  </a:lnTo>
                  <a:lnTo>
                    <a:pt x="225" y="8805"/>
                  </a:lnTo>
                  <a:lnTo>
                    <a:pt x="214" y="8787"/>
                  </a:lnTo>
                  <a:lnTo>
                    <a:pt x="275" y="8036"/>
                  </a:lnTo>
                  <a:lnTo>
                    <a:pt x="1041" y="7093"/>
                  </a:lnTo>
                  <a:lnTo>
                    <a:pt x="1064" y="5894"/>
                  </a:lnTo>
                  <a:lnTo>
                    <a:pt x="902" y="5720"/>
                  </a:lnTo>
                  <a:lnTo>
                    <a:pt x="587" y="5637"/>
                  </a:lnTo>
                  <a:lnTo>
                    <a:pt x="95" y="4814"/>
                  </a:lnTo>
                  <a:lnTo>
                    <a:pt x="0" y="4241"/>
                  </a:lnTo>
                  <a:lnTo>
                    <a:pt x="725" y="3473"/>
                  </a:lnTo>
                  <a:lnTo>
                    <a:pt x="737" y="3467"/>
                  </a:lnTo>
                  <a:lnTo>
                    <a:pt x="1357" y="3094"/>
                  </a:lnTo>
                  <a:lnTo>
                    <a:pt x="967" y="3962"/>
                  </a:lnTo>
                  <a:lnTo>
                    <a:pt x="958" y="4542"/>
                  </a:lnTo>
                  <a:lnTo>
                    <a:pt x="1235" y="4658"/>
                  </a:lnTo>
                  <a:lnTo>
                    <a:pt x="1557" y="4271"/>
                  </a:lnTo>
                  <a:lnTo>
                    <a:pt x="2180" y="3525"/>
                  </a:lnTo>
                  <a:lnTo>
                    <a:pt x="3357" y="2764"/>
                  </a:lnTo>
                  <a:lnTo>
                    <a:pt x="4772" y="2368"/>
                  </a:lnTo>
                  <a:lnTo>
                    <a:pt x="4775" y="2368"/>
                  </a:lnTo>
                  <a:lnTo>
                    <a:pt x="4796" y="2366"/>
                  </a:lnTo>
                  <a:lnTo>
                    <a:pt x="5235" y="2245"/>
                  </a:lnTo>
                  <a:lnTo>
                    <a:pt x="5902" y="1584"/>
                  </a:lnTo>
                  <a:lnTo>
                    <a:pt x="6314" y="1487"/>
                  </a:lnTo>
                  <a:lnTo>
                    <a:pt x="7475" y="320"/>
                  </a:lnTo>
                  <a:lnTo>
                    <a:pt x="9153" y="0"/>
                  </a:lnTo>
                  <a:lnTo>
                    <a:pt x="10463" y="444"/>
                  </a:lnTo>
                  <a:lnTo>
                    <a:pt x="11733" y="1687"/>
                  </a:lnTo>
                  <a:lnTo>
                    <a:pt x="12229" y="2322"/>
                  </a:lnTo>
                  <a:lnTo>
                    <a:pt x="12086" y="2641"/>
                  </a:lnTo>
                  <a:lnTo>
                    <a:pt x="11919" y="2784"/>
                  </a:lnTo>
                  <a:lnTo>
                    <a:pt x="12928" y="3514"/>
                  </a:lnTo>
                  <a:lnTo>
                    <a:pt x="12748" y="1952"/>
                  </a:lnTo>
                  <a:lnTo>
                    <a:pt x="12797" y="1323"/>
                  </a:lnTo>
                  <a:lnTo>
                    <a:pt x="12808" y="1312"/>
                  </a:lnTo>
                  <a:lnTo>
                    <a:pt x="14099" y="374"/>
                  </a:lnTo>
                  <a:lnTo>
                    <a:pt x="14117" y="374"/>
                  </a:lnTo>
                  <a:lnTo>
                    <a:pt x="14715" y="690"/>
                  </a:lnTo>
                  <a:lnTo>
                    <a:pt x="15054" y="1820"/>
                  </a:lnTo>
                  <a:lnTo>
                    <a:pt x="15187" y="2929"/>
                  </a:lnTo>
                  <a:lnTo>
                    <a:pt x="15074" y="4582"/>
                  </a:lnTo>
                  <a:lnTo>
                    <a:pt x="14612" y="5722"/>
                  </a:lnTo>
                  <a:lnTo>
                    <a:pt x="13760" y="6707"/>
                  </a:lnTo>
                  <a:lnTo>
                    <a:pt x="12558" y="7029"/>
                  </a:lnTo>
                  <a:lnTo>
                    <a:pt x="11787" y="6939"/>
                  </a:lnTo>
                  <a:lnTo>
                    <a:pt x="11439" y="7550"/>
                  </a:lnTo>
                  <a:lnTo>
                    <a:pt x="11079" y="7951"/>
                  </a:lnTo>
                  <a:lnTo>
                    <a:pt x="10469" y="8057"/>
                  </a:lnTo>
                  <a:lnTo>
                    <a:pt x="9991" y="7940"/>
                  </a:lnTo>
                  <a:lnTo>
                    <a:pt x="9483" y="7596"/>
                  </a:lnTo>
                  <a:lnTo>
                    <a:pt x="9225" y="7666"/>
                  </a:lnTo>
                  <a:lnTo>
                    <a:pt x="9222" y="7674"/>
                  </a:lnTo>
                  <a:lnTo>
                    <a:pt x="9246" y="7826"/>
                  </a:lnTo>
                  <a:lnTo>
                    <a:pt x="9489" y="8150"/>
                  </a:lnTo>
                  <a:lnTo>
                    <a:pt x="9561" y="8267"/>
                  </a:lnTo>
                  <a:lnTo>
                    <a:pt x="9838" y="8848"/>
                  </a:lnTo>
                  <a:lnTo>
                    <a:pt x="9893" y="9776"/>
                  </a:lnTo>
                  <a:lnTo>
                    <a:pt x="10032" y="10435"/>
                  </a:lnTo>
                  <a:lnTo>
                    <a:pt x="9523" y="10699"/>
                  </a:lnTo>
                  <a:lnTo>
                    <a:pt x="8339" y="10696"/>
                  </a:lnTo>
                  <a:lnTo>
                    <a:pt x="8033" y="10573"/>
                  </a:lnTo>
                  <a:lnTo>
                    <a:pt x="8018" y="10556"/>
                  </a:lnTo>
                  <a:lnTo>
                    <a:pt x="7942" y="10378"/>
                  </a:lnTo>
                  <a:lnTo>
                    <a:pt x="7674" y="10271"/>
                  </a:lnTo>
                  <a:lnTo>
                    <a:pt x="7218" y="10650"/>
                  </a:lnTo>
                  <a:lnTo>
                    <a:pt x="6386" y="11142"/>
                  </a:lnTo>
                  <a:lnTo>
                    <a:pt x="5285" y="10028"/>
                  </a:lnTo>
                  <a:close/>
                </a:path>
              </a:pathLst>
            </a:custGeom>
            <a:solidFill>
              <a:srgbClr val="FAD11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ctr"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chemeClr val="tx2"/>
                </a:solidFill>
                <a:effectLst/>
                <a:uLnTx/>
                <a:uFillTx/>
              </a:endParaRPr>
            </a:p>
          </p:txBody>
        </p:sp>
        <p:sp>
          <p:nvSpPr>
            <p:cNvPr id="74" name="Freeform 42"/>
            <p:cNvSpPr>
              <a:spLocks/>
            </p:cNvSpPr>
            <p:nvPr/>
          </p:nvSpPr>
          <p:spPr bwMode="auto">
            <a:xfrm>
              <a:off x="1376363" y="4618040"/>
              <a:ext cx="246061" cy="330199"/>
            </a:xfrm>
            <a:custGeom>
              <a:avLst/>
              <a:gdLst>
                <a:gd name="T0" fmla="*/ 363 w 2335"/>
                <a:gd name="T1" fmla="*/ 2397 h 3120"/>
                <a:gd name="T2" fmla="*/ 250 w 2335"/>
                <a:gd name="T3" fmla="*/ 2251 h 3120"/>
                <a:gd name="T4" fmla="*/ 168 w 2335"/>
                <a:gd name="T5" fmla="*/ 2133 h 3120"/>
                <a:gd name="T6" fmla="*/ 122 w 2335"/>
                <a:gd name="T7" fmla="*/ 2060 h 3120"/>
                <a:gd name="T8" fmla="*/ 40 w 2335"/>
                <a:gd name="T9" fmla="*/ 1892 h 3120"/>
                <a:gd name="T10" fmla="*/ 5 w 2335"/>
                <a:gd name="T11" fmla="*/ 1733 h 3120"/>
                <a:gd name="T12" fmla="*/ 3 w 2335"/>
                <a:gd name="T13" fmla="*/ 1613 h 3120"/>
                <a:gd name="T14" fmla="*/ 20 w 2335"/>
                <a:gd name="T15" fmla="*/ 1485 h 3120"/>
                <a:gd name="T16" fmla="*/ 63 w 2335"/>
                <a:gd name="T17" fmla="*/ 1347 h 3120"/>
                <a:gd name="T18" fmla="*/ 136 w 2335"/>
                <a:gd name="T19" fmla="*/ 1200 h 3120"/>
                <a:gd name="T20" fmla="*/ 264 w 2335"/>
                <a:gd name="T21" fmla="*/ 1014 h 3120"/>
                <a:gd name="T22" fmla="*/ 411 w 2335"/>
                <a:gd name="T23" fmla="*/ 815 h 3120"/>
                <a:gd name="T24" fmla="*/ 625 w 2335"/>
                <a:gd name="T25" fmla="*/ 551 h 3120"/>
                <a:gd name="T26" fmla="*/ 1110 w 2335"/>
                <a:gd name="T27" fmla="*/ 0 h 3120"/>
                <a:gd name="T28" fmla="*/ 1021 w 2335"/>
                <a:gd name="T29" fmla="*/ 632 h 3120"/>
                <a:gd name="T30" fmla="*/ 993 w 2335"/>
                <a:gd name="T31" fmla="*/ 666 h 3120"/>
                <a:gd name="T32" fmla="*/ 940 w 2335"/>
                <a:gd name="T33" fmla="*/ 730 h 3120"/>
                <a:gd name="T34" fmla="*/ 868 w 2335"/>
                <a:gd name="T35" fmla="*/ 815 h 3120"/>
                <a:gd name="T36" fmla="*/ 691 w 2335"/>
                <a:gd name="T37" fmla="*/ 1029 h 3120"/>
                <a:gd name="T38" fmla="*/ 507 w 2335"/>
                <a:gd name="T39" fmla="*/ 1258 h 3120"/>
                <a:gd name="T40" fmla="*/ 412 w 2335"/>
                <a:gd name="T41" fmla="*/ 1397 h 3120"/>
                <a:gd name="T42" fmla="*/ 370 w 2335"/>
                <a:gd name="T43" fmla="*/ 1498 h 3120"/>
                <a:gd name="T44" fmla="*/ 350 w 2335"/>
                <a:gd name="T45" fmla="*/ 1587 h 3120"/>
                <a:gd name="T46" fmla="*/ 358 w 2335"/>
                <a:gd name="T47" fmla="*/ 1709 h 3120"/>
                <a:gd name="T48" fmla="*/ 390 w 2335"/>
                <a:gd name="T49" fmla="*/ 1792 h 3120"/>
                <a:gd name="T50" fmla="*/ 401 w 2335"/>
                <a:gd name="T51" fmla="*/ 1809 h 3120"/>
                <a:gd name="T52" fmla="*/ 404 w 2335"/>
                <a:gd name="T53" fmla="*/ 1813 h 3120"/>
                <a:gd name="T54" fmla="*/ 418 w 2335"/>
                <a:gd name="T55" fmla="*/ 1833 h 3120"/>
                <a:gd name="T56" fmla="*/ 460 w 2335"/>
                <a:gd name="T57" fmla="*/ 1895 h 3120"/>
                <a:gd name="T58" fmla="*/ 555 w 2335"/>
                <a:gd name="T59" fmla="*/ 2020 h 3120"/>
                <a:gd name="T60" fmla="*/ 684 w 2335"/>
                <a:gd name="T61" fmla="*/ 2179 h 3120"/>
                <a:gd name="T62" fmla="*/ 839 w 2335"/>
                <a:gd name="T63" fmla="*/ 2347 h 3120"/>
                <a:gd name="T64" fmla="*/ 1011 w 2335"/>
                <a:gd name="T65" fmla="*/ 2505 h 3120"/>
                <a:gd name="T66" fmla="*/ 1192 w 2335"/>
                <a:gd name="T67" fmla="*/ 2631 h 3120"/>
                <a:gd name="T68" fmla="*/ 1329 w 2335"/>
                <a:gd name="T69" fmla="*/ 2693 h 3120"/>
                <a:gd name="T70" fmla="*/ 1418 w 2335"/>
                <a:gd name="T71" fmla="*/ 2712 h 3120"/>
                <a:gd name="T72" fmla="*/ 1581 w 2335"/>
                <a:gd name="T73" fmla="*/ 2713 h 3120"/>
                <a:gd name="T74" fmla="*/ 1680 w 2335"/>
                <a:gd name="T75" fmla="*/ 2691 h 3120"/>
                <a:gd name="T76" fmla="*/ 1771 w 2335"/>
                <a:gd name="T77" fmla="*/ 2642 h 3120"/>
                <a:gd name="T78" fmla="*/ 1875 w 2335"/>
                <a:gd name="T79" fmla="*/ 2556 h 3120"/>
                <a:gd name="T80" fmla="*/ 2029 w 2335"/>
                <a:gd name="T81" fmla="*/ 2386 h 3120"/>
                <a:gd name="T82" fmla="*/ 2173 w 2335"/>
                <a:gd name="T83" fmla="*/ 2220 h 3120"/>
                <a:gd name="T84" fmla="*/ 2241 w 2335"/>
                <a:gd name="T85" fmla="*/ 2559 h 3120"/>
                <a:gd name="T86" fmla="*/ 2212 w 2335"/>
                <a:gd name="T87" fmla="*/ 2604 h 3120"/>
                <a:gd name="T88" fmla="*/ 2146 w 2335"/>
                <a:gd name="T89" fmla="*/ 2704 h 3120"/>
                <a:gd name="T90" fmla="*/ 2018 w 2335"/>
                <a:gd name="T91" fmla="*/ 2865 h 3120"/>
                <a:gd name="T92" fmla="*/ 1842 w 2335"/>
                <a:gd name="T93" fmla="*/ 3013 h 3120"/>
                <a:gd name="T94" fmla="*/ 1737 w 2335"/>
                <a:gd name="T95" fmla="*/ 3069 h 3120"/>
                <a:gd name="T96" fmla="*/ 1634 w 2335"/>
                <a:gd name="T97" fmla="*/ 3107 h 3120"/>
                <a:gd name="T98" fmla="*/ 1540 w 2335"/>
                <a:gd name="T99" fmla="*/ 3119 h 3120"/>
                <a:gd name="T100" fmla="*/ 1404 w 2335"/>
                <a:gd name="T101" fmla="*/ 3115 h 3120"/>
                <a:gd name="T102" fmla="*/ 1285 w 2335"/>
                <a:gd name="T103" fmla="*/ 3093 h 3120"/>
                <a:gd name="T104" fmla="*/ 1162 w 2335"/>
                <a:gd name="T105" fmla="*/ 3053 h 3120"/>
                <a:gd name="T106" fmla="*/ 1038 w 2335"/>
                <a:gd name="T107" fmla="*/ 2997 h 3120"/>
                <a:gd name="T108" fmla="*/ 912 w 2335"/>
                <a:gd name="T109" fmla="*/ 2922 h 3120"/>
                <a:gd name="T110" fmla="*/ 784 w 2335"/>
                <a:gd name="T111" fmla="*/ 2830 h 3120"/>
                <a:gd name="T112" fmla="*/ 656 w 2335"/>
                <a:gd name="T113" fmla="*/ 2721 h 3120"/>
                <a:gd name="T114" fmla="*/ 528 w 2335"/>
                <a:gd name="T115" fmla="*/ 2593 h 3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335" h="3120">
                  <a:moveTo>
                    <a:pt x="496" y="2559"/>
                  </a:moveTo>
                  <a:lnTo>
                    <a:pt x="427" y="2478"/>
                  </a:lnTo>
                  <a:lnTo>
                    <a:pt x="395" y="2437"/>
                  </a:lnTo>
                  <a:lnTo>
                    <a:pt x="363" y="2397"/>
                  </a:lnTo>
                  <a:lnTo>
                    <a:pt x="333" y="2359"/>
                  </a:lnTo>
                  <a:lnTo>
                    <a:pt x="304" y="2322"/>
                  </a:lnTo>
                  <a:lnTo>
                    <a:pt x="276" y="2286"/>
                  </a:lnTo>
                  <a:lnTo>
                    <a:pt x="250" y="2251"/>
                  </a:lnTo>
                  <a:lnTo>
                    <a:pt x="227" y="2218"/>
                  </a:lnTo>
                  <a:lnTo>
                    <a:pt x="205" y="2188"/>
                  </a:lnTo>
                  <a:lnTo>
                    <a:pt x="185" y="2159"/>
                  </a:lnTo>
                  <a:lnTo>
                    <a:pt x="168" y="2133"/>
                  </a:lnTo>
                  <a:lnTo>
                    <a:pt x="152" y="2111"/>
                  </a:lnTo>
                  <a:lnTo>
                    <a:pt x="140" y="2090"/>
                  </a:lnTo>
                  <a:lnTo>
                    <a:pt x="130" y="2074"/>
                  </a:lnTo>
                  <a:lnTo>
                    <a:pt x="122" y="2060"/>
                  </a:lnTo>
                  <a:lnTo>
                    <a:pt x="100" y="2023"/>
                  </a:lnTo>
                  <a:lnTo>
                    <a:pt x="77" y="1983"/>
                  </a:lnTo>
                  <a:lnTo>
                    <a:pt x="57" y="1939"/>
                  </a:lnTo>
                  <a:lnTo>
                    <a:pt x="40" y="1892"/>
                  </a:lnTo>
                  <a:lnTo>
                    <a:pt x="24" y="1842"/>
                  </a:lnTo>
                  <a:lnTo>
                    <a:pt x="13" y="1789"/>
                  </a:lnTo>
                  <a:lnTo>
                    <a:pt x="9" y="1762"/>
                  </a:lnTo>
                  <a:lnTo>
                    <a:pt x="5" y="1733"/>
                  </a:lnTo>
                  <a:lnTo>
                    <a:pt x="3" y="1704"/>
                  </a:lnTo>
                  <a:lnTo>
                    <a:pt x="1" y="1675"/>
                  </a:lnTo>
                  <a:lnTo>
                    <a:pt x="0" y="1644"/>
                  </a:lnTo>
                  <a:lnTo>
                    <a:pt x="3" y="1613"/>
                  </a:lnTo>
                  <a:lnTo>
                    <a:pt x="5" y="1582"/>
                  </a:lnTo>
                  <a:lnTo>
                    <a:pt x="9" y="1549"/>
                  </a:lnTo>
                  <a:lnTo>
                    <a:pt x="14" y="1518"/>
                  </a:lnTo>
                  <a:lnTo>
                    <a:pt x="20" y="1485"/>
                  </a:lnTo>
                  <a:lnTo>
                    <a:pt x="28" y="1451"/>
                  </a:lnTo>
                  <a:lnTo>
                    <a:pt x="39" y="1417"/>
                  </a:lnTo>
                  <a:lnTo>
                    <a:pt x="50" y="1382"/>
                  </a:lnTo>
                  <a:lnTo>
                    <a:pt x="63" y="1347"/>
                  </a:lnTo>
                  <a:lnTo>
                    <a:pt x="79" y="1310"/>
                  </a:lnTo>
                  <a:lnTo>
                    <a:pt x="95" y="1274"/>
                  </a:lnTo>
                  <a:lnTo>
                    <a:pt x="115" y="1237"/>
                  </a:lnTo>
                  <a:lnTo>
                    <a:pt x="136" y="1200"/>
                  </a:lnTo>
                  <a:lnTo>
                    <a:pt x="158" y="1163"/>
                  </a:lnTo>
                  <a:lnTo>
                    <a:pt x="184" y="1125"/>
                  </a:lnTo>
                  <a:lnTo>
                    <a:pt x="224" y="1068"/>
                  </a:lnTo>
                  <a:lnTo>
                    <a:pt x="264" y="1014"/>
                  </a:lnTo>
                  <a:lnTo>
                    <a:pt x="302" y="961"/>
                  </a:lnTo>
                  <a:lnTo>
                    <a:pt x="339" y="911"/>
                  </a:lnTo>
                  <a:lnTo>
                    <a:pt x="375" y="861"/>
                  </a:lnTo>
                  <a:lnTo>
                    <a:pt x="411" y="815"/>
                  </a:lnTo>
                  <a:lnTo>
                    <a:pt x="447" y="769"/>
                  </a:lnTo>
                  <a:lnTo>
                    <a:pt x="483" y="723"/>
                  </a:lnTo>
                  <a:lnTo>
                    <a:pt x="554" y="637"/>
                  </a:lnTo>
                  <a:lnTo>
                    <a:pt x="625" y="551"/>
                  </a:lnTo>
                  <a:lnTo>
                    <a:pt x="699" y="465"/>
                  </a:lnTo>
                  <a:lnTo>
                    <a:pt x="738" y="422"/>
                  </a:lnTo>
                  <a:lnTo>
                    <a:pt x="776" y="377"/>
                  </a:lnTo>
                  <a:lnTo>
                    <a:pt x="1110" y="0"/>
                  </a:lnTo>
                  <a:lnTo>
                    <a:pt x="1277" y="433"/>
                  </a:lnTo>
                  <a:lnTo>
                    <a:pt x="1026" y="627"/>
                  </a:lnTo>
                  <a:lnTo>
                    <a:pt x="1025" y="628"/>
                  </a:lnTo>
                  <a:lnTo>
                    <a:pt x="1021" y="632"/>
                  </a:lnTo>
                  <a:lnTo>
                    <a:pt x="1017" y="637"/>
                  </a:lnTo>
                  <a:lnTo>
                    <a:pt x="1011" y="645"/>
                  </a:lnTo>
                  <a:lnTo>
                    <a:pt x="1003" y="654"/>
                  </a:lnTo>
                  <a:lnTo>
                    <a:pt x="993" y="666"/>
                  </a:lnTo>
                  <a:lnTo>
                    <a:pt x="981" y="679"/>
                  </a:lnTo>
                  <a:lnTo>
                    <a:pt x="969" y="695"/>
                  </a:lnTo>
                  <a:lnTo>
                    <a:pt x="954" y="711"/>
                  </a:lnTo>
                  <a:lnTo>
                    <a:pt x="940" y="730"/>
                  </a:lnTo>
                  <a:lnTo>
                    <a:pt x="923" y="749"/>
                  </a:lnTo>
                  <a:lnTo>
                    <a:pt x="906" y="770"/>
                  </a:lnTo>
                  <a:lnTo>
                    <a:pt x="887" y="792"/>
                  </a:lnTo>
                  <a:lnTo>
                    <a:pt x="868" y="815"/>
                  </a:lnTo>
                  <a:lnTo>
                    <a:pt x="827" y="864"/>
                  </a:lnTo>
                  <a:lnTo>
                    <a:pt x="783" y="917"/>
                  </a:lnTo>
                  <a:lnTo>
                    <a:pt x="738" y="973"/>
                  </a:lnTo>
                  <a:lnTo>
                    <a:pt x="691" y="1029"/>
                  </a:lnTo>
                  <a:lnTo>
                    <a:pt x="645" y="1087"/>
                  </a:lnTo>
                  <a:lnTo>
                    <a:pt x="597" y="1145"/>
                  </a:lnTo>
                  <a:lnTo>
                    <a:pt x="552" y="1202"/>
                  </a:lnTo>
                  <a:lnTo>
                    <a:pt x="507" y="1258"/>
                  </a:lnTo>
                  <a:lnTo>
                    <a:pt x="465" y="1313"/>
                  </a:lnTo>
                  <a:lnTo>
                    <a:pt x="445" y="1341"/>
                  </a:lnTo>
                  <a:lnTo>
                    <a:pt x="428" y="1369"/>
                  </a:lnTo>
                  <a:lnTo>
                    <a:pt x="412" y="1397"/>
                  </a:lnTo>
                  <a:lnTo>
                    <a:pt x="399" y="1423"/>
                  </a:lnTo>
                  <a:lnTo>
                    <a:pt x="388" y="1448"/>
                  </a:lnTo>
                  <a:lnTo>
                    <a:pt x="378" y="1474"/>
                  </a:lnTo>
                  <a:lnTo>
                    <a:pt x="370" y="1498"/>
                  </a:lnTo>
                  <a:lnTo>
                    <a:pt x="363" y="1522"/>
                  </a:lnTo>
                  <a:lnTo>
                    <a:pt x="358" y="1544"/>
                  </a:lnTo>
                  <a:lnTo>
                    <a:pt x="354" y="1566"/>
                  </a:lnTo>
                  <a:lnTo>
                    <a:pt x="350" y="1587"/>
                  </a:lnTo>
                  <a:lnTo>
                    <a:pt x="349" y="1607"/>
                  </a:lnTo>
                  <a:lnTo>
                    <a:pt x="348" y="1644"/>
                  </a:lnTo>
                  <a:lnTo>
                    <a:pt x="351" y="1678"/>
                  </a:lnTo>
                  <a:lnTo>
                    <a:pt x="358" y="1709"/>
                  </a:lnTo>
                  <a:lnTo>
                    <a:pt x="365" y="1735"/>
                  </a:lnTo>
                  <a:lnTo>
                    <a:pt x="373" y="1758"/>
                  </a:lnTo>
                  <a:lnTo>
                    <a:pt x="381" y="1777"/>
                  </a:lnTo>
                  <a:lnTo>
                    <a:pt x="390" y="1792"/>
                  </a:lnTo>
                  <a:lnTo>
                    <a:pt x="393" y="1798"/>
                  </a:lnTo>
                  <a:lnTo>
                    <a:pt x="396" y="1802"/>
                  </a:lnTo>
                  <a:lnTo>
                    <a:pt x="399" y="1806"/>
                  </a:lnTo>
                  <a:lnTo>
                    <a:pt x="401" y="1809"/>
                  </a:lnTo>
                  <a:lnTo>
                    <a:pt x="402" y="1810"/>
                  </a:lnTo>
                  <a:lnTo>
                    <a:pt x="402" y="1811"/>
                  </a:lnTo>
                  <a:lnTo>
                    <a:pt x="403" y="1811"/>
                  </a:lnTo>
                  <a:lnTo>
                    <a:pt x="404" y="1813"/>
                  </a:lnTo>
                  <a:lnTo>
                    <a:pt x="406" y="1816"/>
                  </a:lnTo>
                  <a:lnTo>
                    <a:pt x="409" y="1821"/>
                  </a:lnTo>
                  <a:lnTo>
                    <a:pt x="413" y="1827"/>
                  </a:lnTo>
                  <a:lnTo>
                    <a:pt x="418" y="1833"/>
                  </a:lnTo>
                  <a:lnTo>
                    <a:pt x="423" y="1841"/>
                  </a:lnTo>
                  <a:lnTo>
                    <a:pt x="429" y="1849"/>
                  </a:lnTo>
                  <a:lnTo>
                    <a:pt x="443" y="1870"/>
                  </a:lnTo>
                  <a:lnTo>
                    <a:pt x="460" y="1895"/>
                  </a:lnTo>
                  <a:lnTo>
                    <a:pt x="480" y="1921"/>
                  </a:lnTo>
                  <a:lnTo>
                    <a:pt x="502" y="1952"/>
                  </a:lnTo>
                  <a:lnTo>
                    <a:pt x="528" y="1985"/>
                  </a:lnTo>
                  <a:lnTo>
                    <a:pt x="555" y="2020"/>
                  </a:lnTo>
                  <a:lnTo>
                    <a:pt x="584" y="2058"/>
                  </a:lnTo>
                  <a:lnTo>
                    <a:pt x="616" y="2096"/>
                  </a:lnTo>
                  <a:lnTo>
                    <a:pt x="649" y="2138"/>
                  </a:lnTo>
                  <a:lnTo>
                    <a:pt x="684" y="2179"/>
                  </a:lnTo>
                  <a:lnTo>
                    <a:pt x="720" y="2220"/>
                  </a:lnTo>
                  <a:lnTo>
                    <a:pt x="758" y="2263"/>
                  </a:lnTo>
                  <a:lnTo>
                    <a:pt x="797" y="2305"/>
                  </a:lnTo>
                  <a:lnTo>
                    <a:pt x="839" y="2347"/>
                  </a:lnTo>
                  <a:lnTo>
                    <a:pt x="880" y="2388"/>
                  </a:lnTo>
                  <a:lnTo>
                    <a:pt x="922" y="2429"/>
                  </a:lnTo>
                  <a:lnTo>
                    <a:pt x="967" y="2468"/>
                  </a:lnTo>
                  <a:lnTo>
                    <a:pt x="1011" y="2505"/>
                  </a:lnTo>
                  <a:lnTo>
                    <a:pt x="1055" y="2540"/>
                  </a:lnTo>
                  <a:lnTo>
                    <a:pt x="1101" y="2573"/>
                  </a:lnTo>
                  <a:lnTo>
                    <a:pt x="1146" y="2604"/>
                  </a:lnTo>
                  <a:lnTo>
                    <a:pt x="1192" y="2631"/>
                  </a:lnTo>
                  <a:lnTo>
                    <a:pt x="1237" y="2656"/>
                  </a:lnTo>
                  <a:lnTo>
                    <a:pt x="1284" y="2676"/>
                  </a:lnTo>
                  <a:lnTo>
                    <a:pt x="1306" y="2685"/>
                  </a:lnTo>
                  <a:lnTo>
                    <a:pt x="1329" y="2693"/>
                  </a:lnTo>
                  <a:lnTo>
                    <a:pt x="1351" y="2699"/>
                  </a:lnTo>
                  <a:lnTo>
                    <a:pt x="1373" y="2704"/>
                  </a:lnTo>
                  <a:lnTo>
                    <a:pt x="1396" y="2709"/>
                  </a:lnTo>
                  <a:lnTo>
                    <a:pt x="1418" y="2712"/>
                  </a:lnTo>
                  <a:lnTo>
                    <a:pt x="1441" y="2714"/>
                  </a:lnTo>
                  <a:lnTo>
                    <a:pt x="1462" y="2714"/>
                  </a:lnTo>
                  <a:lnTo>
                    <a:pt x="1555" y="2714"/>
                  </a:lnTo>
                  <a:lnTo>
                    <a:pt x="1581" y="2713"/>
                  </a:lnTo>
                  <a:lnTo>
                    <a:pt x="1607" y="2710"/>
                  </a:lnTo>
                  <a:lnTo>
                    <a:pt x="1632" y="2706"/>
                  </a:lnTo>
                  <a:lnTo>
                    <a:pt x="1656" y="2699"/>
                  </a:lnTo>
                  <a:lnTo>
                    <a:pt x="1680" y="2691"/>
                  </a:lnTo>
                  <a:lnTo>
                    <a:pt x="1704" y="2681"/>
                  </a:lnTo>
                  <a:lnTo>
                    <a:pt x="1727" y="2669"/>
                  </a:lnTo>
                  <a:lnTo>
                    <a:pt x="1749" y="2657"/>
                  </a:lnTo>
                  <a:lnTo>
                    <a:pt x="1771" y="2642"/>
                  </a:lnTo>
                  <a:lnTo>
                    <a:pt x="1793" y="2628"/>
                  </a:lnTo>
                  <a:lnTo>
                    <a:pt x="1814" y="2611"/>
                  </a:lnTo>
                  <a:lnTo>
                    <a:pt x="1835" y="2594"/>
                  </a:lnTo>
                  <a:lnTo>
                    <a:pt x="1875" y="2556"/>
                  </a:lnTo>
                  <a:lnTo>
                    <a:pt x="1915" y="2516"/>
                  </a:lnTo>
                  <a:lnTo>
                    <a:pt x="1954" y="2473"/>
                  </a:lnTo>
                  <a:lnTo>
                    <a:pt x="1992" y="2430"/>
                  </a:lnTo>
                  <a:lnTo>
                    <a:pt x="2029" y="2386"/>
                  </a:lnTo>
                  <a:lnTo>
                    <a:pt x="2065" y="2343"/>
                  </a:lnTo>
                  <a:lnTo>
                    <a:pt x="2101" y="2299"/>
                  </a:lnTo>
                  <a:lnTo>
                    <a:pt x="2137" y="2258"/>
                  </a:lnTo>
                  <a:lnTo>
                    <a:pt x="2173" y="2220"/>
                  </a:lnTo>
                  <a:lnTo>
                    <a:pt x="2192" y="2202"/>
                  </a:lnTo>
                  <a:lnTo>
                    <a:pt x="2210" y="2185"/>
                  </a:lnTo>
                  <a:lnTo>
                    <a:pt x="2335" y="2371"/>
                  </a:lnTo>
                  <a:lnTo>
                    <a:pt x="2241" y="2559"/>
                  </a:lnTo>
                  <a:lnTo>
                    <a:pt x="2234" y="2568"/>
                  </a:lnTo>
                  <a:lnTo>
                    <a:pt x="2228" y="2579"/>
                  </a:lnTo>
                  <a:lnTo>
                    <a:pt x="2220" y="2591"/>
                  </a:lnTo>
                  <a:lnTo>
                    <a:pt x="2212" y="2604"/>
                  </a:lnTo>
                  <a:lnTo>
                    <a:pt x="2202" y="2619"/>
                  </a:lnTo>
                  <a:lnTo>
                    <a:pt x="2193" y="2634"/>
                  </a:lnTo>
                  <a:lnTo>
                    <a:pt x="2171" y="2668"/>
                  </a:lnTo>
                  <a:lnTo>
                    <a:pt x="2146" y="2704"/>
                  </a:lnTo>
                  <a:lnTo>
                    <a:pt x="2119" y="2743"/>
                  </a:lnTo>
                  <a:lnTo>
                    <a:pt x="2088" y="2783"/>
                  </a:lnTo>
                  <a:lnTo>
                    <a:pt x="2054" y="2824"/>
                  </a:lnTo>
                  <a:lnTo>
                    <a:pt x="2018" y="2865"/>
                  </a:lnTo>
                  <a:lnTo>
                    <a:pt x="1978" y="2905"/>
                  </a:lnTo>
                  <a:lnTo>
                    <a:pt x="1936" y="2943"/>
                  </a:lnTo>
                  <a:lnTo>
                    <a:pt x="1891" y="2980"/>
                  </a:lnTo>
                  <a:lnTo>
                    <a:pt x="1842" y="3013"/>
                  </a:lnTo>
                  <a:lnTo>
                    <a:pt x="1817" y="3029"/>
                  </a:lnTo>
                  <a:lnTo>
                    <a:pt x="1792" y="3043"/>
                  </a:lnTo>
                  <a:lnTo>
                    <a:pt x="1765" y="3056"/>
                  </a:lnTo>
                  <a:lnTo>
                    <a:pt x="1737" y="3069"/>
                  </a:lnTo>
                  <a:lnTo>
                    <a:pt x="1709" y="3079"/>
                  </a:lnTo>
                  <a:lnTo>
                    <a:pt x="1680" y="3088"/>
                  </a:lnTo>
                  <a:lnTo>
                    <a:pt x="1657" y="3099"/>
                  </a:lnTo>
                  <a:lnTo>
                    <a:pt x="1634" y="3107"/>
                  </a:lnTo>
                  <a:lnTo>
                    <a:pt x="1610" y="3112"/>
                  </a:lnTo>
                  <a:lnTo>
                    <a:pt x="1587" y="3116"/>
                  </a:lnTo>
                  <a:lnTo>
                    <a:pt x="1563" y="3118"/>
                  </a:lnTo>
                  <a:lnTo>
                    <a:pt x="1540" y="3119"/>
                  </a:lnTo>
                  <a:lnTo>
                    <a:pt x="1493" y="3120"/>
                  </a:lnTo>
                  <a:lnTo>
                    <a:pt x="1463" y="3119"/>
                  </a:lnTo>
                  <a:lnTo>
                    <a:pt x="1434" y="3118"/>
                  </a:lnTo>
                  <a:lnTo>
                    <a:pt x="1404" y="3115"/>
                  </a:lnTo>
                  <a:lnTo>
                    <a:pt x="1374" y="3111"/>
                  </a:lnTo>
                  <a:lnTo>
                    <a:pt x="1345" y="3106"/>
                  </a:lnTo>
                  <a:lnTo>
                    <a:pt x="1315" y="3101"/>
                  </a:lnTo>
                  <a:lnTo>
                    <a:pt x="1285" y="3093"/>
                  </a:lnTo>
                  <a:lnTo>
                    <a:pt x="1254" y="3085"/>
                  </a:lnTo>
                  <a:lnTo>
                    <a:pt x="1224" y="3076"/>
                  </a:lnTo>
                  <a:lnTo>
                    <a:pt x="1193" y="3066"/>
                  </a:lnTo>
                  <a:lnTo>
                    <a:pt x="1162" y="3053"/>
                  </a:lnTo>
                  <a:lnTo>
                    <a:pt x="1131" y="3041"/>
                  </a:lnTo>
                  <a:lnTo>
                    <a:pt x="1100" y="3028"/>
                  </a:lnTo>
                  <a:lnTo>
                    <a:pt x="1069" y="3013"/>
                  </a:lnTo>
                  <a:lnTo>
                    <a:pt x="1038" y="2997"/>
                  </a:lnTo>
                  <a:lnTo>
                    <a:pt x="1006" y="2980"/>
                  </a:lnTo>
                  <a:lnTo>
                    <a:pt x="975" y="2962"/>
                  </a:lnTo>
                  <a:lnTo>
                    <a:pt x="943" y="2942"/>
                  </a:lnTo>
                  <a:lnTo>
                    <a:pt x="912" y="2922"/>
                  </a:lnTo>
                  <a:lnTo>
                    <a:pt x="880" y="2901"/>
                  </a:lnTo>
                  <a:lnTo>
                    <a:pt x="848" y="2878"/>
                  </a:lnTo>
                  <a:lnTo>
                    <a:pt x="816" y="2855"/>
                  </a:lnTo>
                  <a:lnTo>
                    <a:pt x="784" y="2830"/>
                  </a:lnTo>
                  <a:lnTo>
                    <a:pt x="752" y="2804"/>
                  </a:lnTo>
                  <a:lnTo>
                    <a:pt x="720" y="2777"/>
                  </a:lnTo>
                  <a:lnTo>
                    <a:pt x="688" y="2749"/>
                  </a:lnTo>
                  <a:lnTo>
                    <a:pt x="656" y="2721"/>
                  </a:lnTo>
                  <a:lnTo>
                    <a:pt x="624" y="2691"/>
                  </a:lnTo>
                  <a:lnTo>
                    <a:pt x="592" y="2659"/>
                  </a:lnTo>
                  <a:lnTo>
                    <a:pt x="560" y="2627"/>
                  </a:lnTo>
                  <a:lnTo>
                    <a:pt x="528" y="2593"/>
                  </a:lnTo>
                  <a:lnTo>
                    <a:pt x="496" y="2559"/>
                  </a:lnTo>
                  <a:lnTo>
                    <a:pt x="496" y="2559"/>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ctr"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chemeClr val="tx2"/>
                </a:solidFill>
                <a:effectLst/>
                <a:uLnTx/>
                <a:uFillTx/>
              </a:endParaRPr>
            </a:p>
          </p:txBody>
        </p:sp>
        <p:sp>
          <p:nvSpPr>
            <p:cNvPr id="75" name="Freeform 43"/>
            <p:cNvSpPr>
              <a:spLocks/>
            </p:cNvSpPr>
            <p:nvPr/>
          </p:nvSpPr>
          <p:spPr bwMode="auto">
            <a:xfrm>
              <a:off x="2203449" y="4699005"/>
              <a:ext cx="254001" cy="346075"/>
            </a:xfrm>
            <a:custGeom>
              <a:avLst/>
              <a:gdLst>
                <a:gd name="T0" fmla="*/ 77 w 2403"/>
                <a:gd name="T1" fmla="*/ 3032 h 3283"/>
                <a:gd name="T2" fmla="*/ 19 w 2403"/>
                <a:gd name="T3" fmla="*/ 2902 h 3283"/>
                <a:gd name="T4" fmla="*/ 1 w 2403"/>
                <a:gd name="T5" fmla="*/ 2781 h 3283"/>
                <a:gd name="T6" fmla="*/ 2 w 2403"/>
                <a:gd name="T7" fmla="*/ 2687 h 3283"/>
                <a:gd name="T8" fmla="*/ 377 w 2403"/>
                <a:gd name="T9" fmla="*/ 2720 h 3283"/>
                <a:gd name="T10" fmla="*/ 376 w 2403"/>
                <a:gd name="T11" fmla="*/ 2729 h 3283"/>
                <a:gd name="T12" fmla="*/ 378 w 2403"/>
                <a:gd name="T13" fmla="*/ 2789 h 3283"/>
                <a:gd name="T14" fmla="*/ 409 w 2403"/>
                <a:gd name="T15" fmla="*/ 2868 h 3283"/>
                <a:gd name="T16" fmla="*/ 453 w 2403"/>
                <a:gd name="T17" fmla="*/ 2911 h 3283"/>
                <a:gd name="T18" fmla="*/ 508 w 2403"/>
                <a:gd name="T19" fmla="*/ 2932 h 3283"/>
                <a:gd name="T20" fmla="*/ 1748 w 2403"/>
                <a:gd name="T21" fmla="*/ 2941 h 3283"/>
                <a:gd name="T22" fmla="*/ 1875 w 2403"/>
                <a:gd name="T23" fmla="*/ 2914 h 3283"/>
                <a:gd name="T24" fmla="*/ 1974 w 2403"/>
                <a:gd name="T25" fmla="*/ 2840 h 3283"/>
                <a:gd name="T26" fmla="*/ 2037 w 2403"/>
                <a:gd name="T27" fmla="*/ 2731 h 3283"/>
                <a:gd name="T28" fmla="*/ 2060 w 2403"/>
                <a:gd name="T29" fmla="*/ 2598 h 3283"/>
                <a:gd name="T30" fmla="*/ 2036 w 2403"/>
                <a:gd name="T31" fmla="*/ 2461 h 3283"/>
                <a:gd name="T32" fmla="*/ 1982 w 2403"/>
                <a:gd name="T33" fmla="*/ 2342 h 3283"/>
                <a:gd name="T34" fmla="*/ 1930 w 2403"/>
                <a:gd name="T35" fmla="*/ 2257 h 3283"/>
                <a:gd name="T36" fmla="*/ 1907 w 2403"/>
                <a:gd name="T37" fmla="*/ 2226 h 3283"/>
                <a:gd name="T38" fmla="*/ 1906 w 2403"/>
                <a:gd name="T39" fmla="*/ 2217 h 3283"/>
                <a:gd name="T40" fmla="*/ 1908 w 2403"/>
                <a:gd name="T41" fmla="*/ 2166 h 3283"/>
                <a:gd name="T42" fmla="*/ 1911 w 2403"/>
                <a:gd name="T43" fmla="*/ 2073 h 3283"/>
                <a:gd name="T44" fmla="*/ 1913 w 2403"/>
                <a:gd name="T45" fmla="*/ 1952 h 3283"/>
                <a:gd name="T46" fmla="*/ 1910 w 2403"/>
                <a:gd name="T47" fmla="*/ 1675 h 3283"/>
                <a:gd name="T48" fmla="*/ 1899 w 2403"/>
                <a:gd name="T49" fmla="*/ 1512 h 3283"/>
                <a:gd name="T50" fmla="*/ 1882 w 2403"/>
                <a:gd name="T51" fmla="*/ 1404 h 3283"/>
                <a:gd name="T52" fmla="*/ 1827 w 2403"/>
                <a:gd name="T53" fmla="*/ 1248 h 3283"/>
                <a:gd name="T54" fmla="*/ 1769 w 2403"/>
                <a:gd name="T55" fmla="*/ 1094 h 3283"/>
                <a:gd name="T56" fmla="*/ 1714 w 2403"/>
                <a:gd name="T57" fmla="*/ 965 h 3283"/>
                <a:gd name="T58" fmla="*/ 1618 w 2403"/>
                <a:gd name="T59" fmla="*/ 773 h 3283"/>
                <a:gd name="T60" fmla="*/ 1484 w 2403"/>
                <a:gd name="T61" fmla="*/ 567 h 3283"/>
                <a:gd name="T62" fmla="*/ 1373 w 2403"/>
                <a:gd name="T63" fmla="*/ 423 h 3283"/>
                <a:gd name="T64" fmla="*/ 1853 w 2403"/>
                <a:gd name="T65" fmla="*/ 489 h 3283"/>
                <a:gd name="T66" fmla="*/ 1888 w 2403"/>
                <a:gd name="T67" fmla="*/ 544 h 3283"/>
                <a:gd name="T68" fmla="*/ 1936 w 2403"/>
                <a:gd name="T69" fmla="*/ 622 h 3283"/>
                <a:gd name="T70" fmla="*/ 2034 w 2403"/>
                <a:gd name="T71" fmla="*/ 796 h 3283"/>
                <a:gd name="T72" fmla="*/ 2144 w 2403"/>
                <a:gd name="T73" fmla="*/ 1019 h 3283"/>
                <a:gd name="T74" fmla="*/ 2214 w 2403"/>
                <a:gd name="T75" fmla="*/ 1205 h 3283"/>
                <a:gd name="T76" fmla="*/ 2238 w 2403"/>
                <a:gd name="T77" fmla="*/ 1318 h 3283"/>
                <a:gd name="T78" fmla="*/ 2256 w 2403"/>
                <a:gd name="T79" fmla="*/ 1534 h 3283"/>
                <a:gd name="T80" fmla="*/ 2254 w 2403"/>
                <a:gd name="T81" fmla="*/ 1832 h 3283"/>
                <a:gd name="T82" fmla="*/ 2249 w 2403"/>
                <a:gd name="T83" fmla="*/ 2052 h 3283"/>
                <a:gd name="T84" fmla="*/ 2338 w 2403"/>
                <a:gd name="T85" fmla="*/ 2254 h 3283"/>
                <a:gd name="T86" fmla="*/ 2379 w 2403"/>
                <a:gd name="T87" fmla="*/ 2372 h 3283"/>
                <a:gd name="T88" fmla="*/ 2400 w 2403"/>
                <a:gd name="T89" fmla="*/ 2500 h 3283"/>
                <a:gd name="T90" fmla="*/ 2399 w 2403"/>
                <a:gd name="T91" fmla="*/ 2644 h 3283"/>
                <a:gd name="T92" fmla="*/ 2375 w 2403"/>
                <a:gd name="T93" fmla="*/ 2785 h 3283"/>
                <a:gd name="T94" fmla="*/ 2326 w 2403"/>
                <a:gd name="T95" fmla="*/ 2914 h 3283"/>
                <a:gd name="T96" fmla="*/ 2257 w 2403"/>
                <a:gd name="T97" fmla="*/ 3028 h 3283"/>
                <a:gd name="T98" fmla="*/ 2169 w 2403"/>
                <a:gd name="T99" fmla="*/ 3124 h 3283"/>
                <a:gd name="T100" fmla="*/ 2065 w 2403"/>
                <a:gd name="T101" fmla="*/ 3200 h 3283"/>
                <a:gd name="T102" fmla="*/ 1946 w 2403"/>
                <a:gd name="T103" fmla="*/ 3252 h 3283"/>
                <a:gd name="T104" fmla="*/ 1816 w 2403"/>
                <a:gd name="T105" fmla="*/ 3280 h 3283"/>
                <a:gd name="T106" fmla="*/ 528 w 2403"/>
                <a:gd name="T107" fmla="*/ 3280 h 3283"/>
                <a:gd name="T108" fmla="*/ 398 w 2403"/>
                <a:gd name="T109" fmla="*/ 3263 h 3283"/>
                <a:gd name="T110" fmla="*/ 282 w 2403"/>
                <a:gd name="T111" fmla="*/ 3221 h 3283"/>
                <a:gd name="T112" fmla="*/ 185 w 2403"/>
                <a:gd name="T113" fmla="*/ 3157 h 3283"/>
                <a:gd name="T114" fmla="*/ 126 w 2403"/>
                <a:gd name="T115" fmla="*/ 3093 h 3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403" h="3283">
                  <a:moveTo>
                    <a:pt x="126" y="3093"/>
                  </a:moveTo>
                  <a:lnTo>
                    <a:pt x="113" y="3078"/>
                  </a:lnTo>
                  <a:lnTo>
                    <a:pt x="99" y="3063"/>
                  </a:lnTo>
                  <a:lnTo>
                    <a:pt x="77" y="3032"/>
                  </a:lnTo>
                  <a:lnTo>
                    <a:pt x="57" y="3000"/>
                  </a:lnTo>
                  <a:lnTo>
                    <a:pt x="42" y="2967"/>
                  </a:lnTo>
                  <a:lnTo>
                    <a:pt x="29" y="2935"/>
                  </a:lnTo>
                  <a:lnTo>
                    <a:pt x="19" y="2902"/>
                  </a:lnTo>
                  <a:lnTo>
                    <a:pt x="12" y="2870"/>
                  </a:lnTo>
                  <a:lnTo>
                    <a:pt x="6" y="2839"/>
                  </a:lnTo>
                  <a:lnTo>
                    <a:pt x="3" y="2809"/>
                  </a:lnTo>
                  <a:lnTo>
                    <a:pt x="1" y="2781"/>
                  </a:lnTo>
                  <a:lnTo>
                    <a:pt x="0" y="2754"/>
                  </a:lnTo>
                  <a:lnTo>
                    <a:pt x="0" y="2729"/>
                  </a:lnTo>
                  <a:lnTo>
                    <a:pt x="1" y="2706"/>
                  </a:lnTo>
                  <a:lnTo>
                    <a:pt x="2" y="2687"/>
                  </a:lnTo>
                  <a:lnTo>
                    <a:pt x="2" y="2669"/>
                  </a:lnTo>
                  <a:lnTo>
                    <a:pt x="3" y="2656"/>
                  </a:lnTo>
                  <a:lnTo>
                    <a:pt x="341" y="2331"/>
                  </a:lnTo>
                  <a:lnTo>
                    <a:pt x="377" y="2720"/>
                  </a:lnTo>
                  <a:lnTo>
                    <a:pt x="377" y="2720"/>
                  </a:lnTo>
                  <a:lnTo>
                    <a:pt x="376" y="2722"/>
                  </a:lnTo>
                  <a:lnTo>
                    <a:pt x="376" y="2725"/>
                  </a:lnTo>
                  <a:lnTo>
                    <a:pt x="376" y="2729"/>
                  </a:lnTo>
                  <a:lnTo>
                    <a:pt x="375" y="2739"/>
                  </a:lnTo>
                  <a:lnTo>
                    <a:pt x="375" y="2754"/>
                  </a:lnTo>
                  <a:lnTo>
                    <a:pt x="376" y="2770"/>
                  </a:lnTo>
                  <a:lnTo>
                    <a:pt x="378" y="2789"/>
                  </a:lnTo>
                  <a:lnTo>
                    <a:pt x="382" y="2808"/>
                  </a:lnTo>
                  <a:lnTo>
                    <a:pt x="388" y="2829"/>
                  </a:lnTo>
                  <a:lnTo>
                    <a:pt x="397" y="2849"/>
                  </a:lnTo>
                  <a:lnTo>
                    <a:pt x="409" y="2868"/>
                  </a:lnTo>
                  <a:lnTo>
                    <a:pt x="424" y="2887"/>
                  </a:lnTo>
                  <a:lnTo>
                    <a:pt x="433" y="2896"/>
                  </a:lnTo>
                  <a:lnTo>
                    <a:pt x="442" y="2903"/>
                  </a:lnTo>
                  <a:lnTo>
                    <a:pt x="453" y="2911"/>
                  </a:lnTo>
                  <a:lnTo>
                    <a:pt x="466" y="2918"/>
                  </a:lnTo>
                  <a:lnTo>
                    <a:pt x="478" y="2924"/>
                  </a:lnTo>
                  <a:lnTo>
                    <a:pt x="493" y="2929"/>
                  </a:lnTo>
                  <a:lnTo>
                    <a:pt x="508" y="2932"/>
                  </a:lnTo>
                  <a:lnTo>
                    <a:pt x="526" y="2935"/>
                  </a:lnTo>
                  <a:lnTo>
                    <a:pt x="544" y="2937"/>
                  </a:lnTo>
                  <a:lnTo>
                    <a:pt x="564" y="2938"/>
                  </a:lnTo>
                  <a:lnTo>
                    <a:pt x="1748" y="2941"/>
                  </a:lnTo>
                  <a:lnTo>
                    <a:pt x="1782" y="2939"/>
                  </a:lnTo>
                  <a:lnTo>
                    <a:pt x="1815" y="2934"/>
                  </a:lnTo>
                  <a:lnTo>
                    <a:pt x="1846" y="2926"/>
                  </a:lnTo>
                  <a:lnTo>
                    <a:pt x="1875" y="2914"/>
                  </a:lnTo>
                  <a:lnTo>
                    <a:pt x="1903" y="2900"/>
                  </a:lnTo>
                  <a:lnTo>
                    <a:pt x="1929" y="2883"/>
                  </a:lnTo>
                  <a:lnTo>
                    <a:pt x="1952" y="2863"/>
                  </a:lnTo>
                  <a:lnTo>
                    <a:pt x="1974" y="2840"/>
                  </a:lnTo>
                  <a:lnTo>
                    <a:pt x="1993" y="2816"/>
                  </a:lnTo>
                  <a:lnTo>
                    <a:pt x="2010" y="2790"/>
                  </a:lnTo>
                  <a:lnTo>
                    <a:pt x="2025" y="2761"/>
                  </a:lnTo>
                  <a:lnTo>
                    <a:pt x="2037" y="2731"/>
                  </a:lnTo>
                  <a:lnTo>
                    <a:pt x="2047" y="2700"/>
                  </a:lnTo>
                  <a:lnTo>
                    <a:pt x="2055" y="2667"/>
                  </a:lnTo>
                  <a:lnTo>
                    <a:pt x="2059" y="2633"/>
                  </a:lnTo>
                  <a:lnTo>
                    <a:pt x="2060" y="2598"/>
                  </a:lnTo>
                  <a:lnTo>
                    <a:pt x="2059" y="2563"/>
                  </a:lnTo>
                  <a:lnTo>
                    <a:pt x="2054" y="2529"/>
                  </a:lnTo>
                  <a:lnTo>
                    <a:pt x="2046" y="2495"/>
                  </a:lnTo>
                  <a:lnTo>
                    <a:pt x="2036" y="2461"/>
                  </a:lnTo>
                  <a:lnTo>
                    <a:pt x="2025" y="2429"/>
                  </a:lnTo>
                  <a:lnTo>
                    <a:pt x="2011" y="2398"/>
                  </a:lnTo>
                  <a:lnTo>
                    <a:pt x="1997" y="2369"/>
                  </a:lnTo>
                  <a:lnTo>
                    <a:pt x="1982" y="2342"/>
                  </a:lnTo>
                  <a:lnTo>
                    <a:pt x="1968" y="2316"/>
                  </a:lnTo>
                  <a:lnTo>
                    <a:pt x="1954" y="2293"/>
                  </a:lnTo>
                  <a:lnTo>
                    <a:pt x="1941" y="2274"/>
                  </a:lnTo>
                  <a:lnTo>
                    <a:pt x="1930" y="2257"/>
                  </a:lnTo>
                  <a:lnTo>
                    <a:pt x="1919" y="2243"/>
                  </a:lnTo>
                  <a:lnTo>
                    <a:pt x="1912" y="2233"/>
                  </a:lnTo>
                  <a:lnTo>
                    <a:pt x="1909" y="2229"/>
                  </a:lnTo>
                  <a:lnTo>
                    <a:pt x="1907" y="2226"/>
                  </a:lnTo>
                  <a:lnTo>
                    <a:pt x="1906" y="2225"/>
                  </a:lnTo>
                  <a:lnTo>
                    <a:pt x="1905" y="2224"/>
                  </a:lnTo>
                  <a:lnTo>
                    <a:pt x="1905" y="2223"/>
                  </a:lnTo>
                  <a:lnTo>
                    <a:pt x="1906" y="2217"/>
                  </a:lnTo>
                  <a:lnTo>
                    <a:pt x="1906" y="2209"/>
                  </a:lnTo>
                  <a:lnTo>
                    <a:pt x="1907" y="2198"/>
                  </a:lnTo>
                  <a:lnTo>
                    <a:pt x="1907" y="2183"/>
                  </a:lnTo>
                  <a:lnTo>
                    <a:pt x="1908" y="2166"/>
                  </a:lnTo>
                  <a:lnTo>
                    <a:pt x="1909" y="2146"/>
                  </a:lnTo>
                  <a:lnTo>
                    <a:pt x="1909" y="2123"/>
                  </a:lnTo>
                  <a:lnTo>
                    <a:pt x="1910" y="2100"/>
                  </a:lnTo>
                  <a:lnTo>
                    <a:pt x="1911" y="2073"/>
                  </a:lnTo>
                  <a:lnTo>
                    <a:pt x="1911" y="2045"/>
                  </a:lnTo>
                  <a:lnTo>
                    <a:pt x="1912" y="2016"/>
                  </a:lnTo>
                  <a:lnTo>
                    <a:pt x="1913" y="1985"/>
                  </a:lnTo>
                  <a:lnTo>
                    <a:pt x="1913" y="1952"/>
                  </a:lnTo>
                  <a:lnTo>
                    <a:pt x="1914" y="1885"/>
                  </a:lnTo>
                  <a:lnTo>
                    <a:pt x="1913" y="1816"/>
                  </a:lnTo>
                  <a:lnTo>
                    <a:pt x="1912" y="1745"/>
                  </a:lnTo>
                  <a:lnTo>
                    <a:pt x="1910" y="1675"/>
                  </a:lnTo>
                  <a:lnTo>
                    <a:pt x="1907" y="1606"/>
                  </a:lnTo>
                  <a:lnTo>
                    <a:pt x="1905" y="1573"/>
                  </a:lnTo>
                  <a:lnTo>
                    <a:pt x="1902" y="1541"/>
                  </a:lnTo>
                  <a:lnTo>
                    <a:pt x="1899" y="1512"/>
                  </a:lnTo>
                  <a:lnTo>
                    <a:pt x="1896" y="1482"/>
                  </a:lnTo>
                  <a:lnTo>
                    <a:pt x="1891" y="1454"/>
                  </a:lnTo>
                  <a:lnTo>
                    <a:pt x="1886" y="1428"/>
                  </a:lnTo>
                  <a:lnTo>
                    <a:pt x="1882" y="1404"/>
                  </a:lnTo>
                  <a:lnTo>
                    <a:pt x="1876" y="1383"/>
                  </a:lnTo>
                  <a:lnTo>
                    <a:pt x="1859" y="1336"/>
                  </a:lnTo>
                  <a:lnTo>
                    <a:pt x="1843" y="1291"/>
                  </a:lnTo>
                  <a:lnTo>
                    <a:pt x="1827" y="1248"/>
                  </a:lnTo>
                  <a:lnTo>
                    <a:pt x="1812" y="1207"/>
                  </a:lnTo>
                  <a:lnTo>
                    <a:pt x="1796" y="1167"/>
                  </a:lnTo>
                  <a:lnTo>
                    <a:pt x="1782" y="1130"/>
                  </a:lnTo>
                  <a:lnTo>
                    <a:pt x="1769" y="1094"/>
                  </a:lnTo>
                  <a:lnTo>
                    <a:pt x="1754" y="1060"/>
                  </a:lnTo>
                  <a:lnTo>
                    <a:pt x="1741" y="1026"/>
                  </a:lnTo>
                  <a:lnTo>
                    <a:pt x="1727" y="995"/>
                  </a:lnTo>
                  <a:lnTo>
                    <a:pt x="1714" y="965"/>
                  </a:lnTo>
                  <a:lnTo>
                    <a:pt x="1700" y="935"/>
                  </a:lnTo>
                  <a:lnTo>
                    <a:pt x="1674" y="878"/>
                  </a:lnTo>
                  <a:lnTo>
                    <a:pt x="1647" y="824"/>
                  </a:lnTo>
                  <a:lnTo>
                    <a:pt x="1618" y="773"/>
                  </a:lnTo>
                  <a:lnTo>
                    <a:pt x="1588" y="721"/>
                  </a:lnTo>
                  <a:lnTo>
                    <a:pt x="1556" y="671"/>
                  </a:lnTo>
                  <a:lnTo>
                    <a:pt x="1522" y="621"/>
                  </a:lnTo>
                  <a:lnTo>
                    <a:pt x="1484" y="567"/>
                  </a:lnTo>
                  <a:lnTo>
                    <a:pt x="1442" y="512"/>
                  </a:lnTo>
                  <a:lnTo>
                    <a:pt x="1421" y="484"/>
                  </a:lnTo>
                  <a:lnTo>
                    <a:pt x="1398" y="454"/>
                  </a:lnTo>
                  <a:lnTo>
                    <a:pt x="1373" y="423"/>
                  </a:lnTo>
                  <a:lnTo>
                    <a:pt x="1348" y="391"/>
                  </a:lnTo>
                  <a:lnTo>
                    <a:pt x="1488" y="0"/>
                  </a:lnTo>
                  <a:lnTo>
                    <a:pt x="1847" y="479"/>
                  </a:lnTo>
                  <a:lnTo>
                    <a:pt x="1853" y="489"/>
                  </a:lnTo>
                  <a:lnTo>
                    <a:pt x="1862" y="500"/>
                  </a:lnTo>
                  <a:lnTo>
                    <a:pt x="1870" y="513"/>
                  </a:lnTo>
                  <a:lnTo>
                    <a:pt x="1879" y="528"/>
                  </a:lnTo>
                  <a:lnTo>
                    <a:pt x="1888" y="544"/>
                  </a:lnTo>
                  <a:lnTo>
                    <a:pt x="1900" y="562"/>
                  </a:lnTo>
                  <a:lnTo>
                    <a:pt x="1911" y="580"/>
                  </a:lnTo>
                  <a:lnTo>
                    <a:pt x="1922" y="601"/>
                  </a:lnTo>
                  <a:lnTo>
                    <a:pt x="1936" y="622"/>
                  </a:lnTo>
                  <a:lnTo>
                    <a:pt x="1948" y="644"/>
                  </a:lnTo>
                  <a:lnTo>
                    <a:pt x="1976" y="692"/>
                  </a:lnTo>
                  <a:lnTo>
                    <a:pt x="2004" y="742"/>
                  </a:lnTo>
                  <a:lnTo>
                    <a:pt x="2034" y="796"/>
                  </a:lnTo>
                  <a:lnTo>
                    <a:pt x="2063" y="850"/>
                  </a:lnTo>
                  <a:lnTo>
                    <a:pt x="2091" y="906"/>
                  </a:lnTo>
                  <a:lnTo>
                    <a:pt x="2119" y="963"/>
                  </a:lnTo>
                  <a:lnTo>
                    <a:pt x="2144" y="1019"/>
                  </a:lnTo>
                  <a:lnTo>
                    <a:pt x="2167" y="1075"/>
                  </a:lnTo>
                  <a:lnTo>
                    <a:pt x="2189" y="1128"/>
                  </a:lnTo>
                  <a:lnTo>
                    <a:pt x="2206" y="1180"/>
                  </a:lnTo>
                  <a:lnTo>
                    <a:pt x="2214" y="1205"/>
                  </a:lnTo>
                  <a:lnTo>
                    <a:pt x="2220" y="1228"/>
                  </a:lnTo>
                  <a:lnTo>
                    <a:pt x="2225" y="1249"/>
                  </a:lnTo>
                  <a:lnTo>
                    <a:pt x="2230" y="1272"/>
                  </a:lnTo>
                  <a:lnTo>
                    <a:pt x="2238" y="1318"/>
                  </a:lnTo>
                  <a:lnTo>
                    <a:pt x="2246" y="1368"/>
                  </a:lnTo>
                  <a:lnTo>
                    <a:pt x="2250" y="1422"/>
                  </a:lnTo>
                  <a:lnTo>
                    <a:pt x="2254" y="1477"/>
                  </a:lnTo>
                  <a:lnTo>
                    <a:pt x="2256" y="1534"/>
                  </a:lnTo>
                  <a:lnTo>
                    <a:pt x="2257" y="1593"/>
                  </a:lnTo>
                  <a:lnTo>
                    <a:pt x="2257" y="1653"/>
                  </a:lnTo>
                  <a:lnTo>
                    <a:pt x="2256" y="1772"/>
                  </a:lnTo>
                  <a:lnTo>
                    <a:pt x="2254" y="1832"/>
                  </a:lnTo>
                  <a:lnTo>
                    <a:pt x="2253" y="1890"/>
                  </a:lnTo>
                  <a:lnTo>
                    <a:pt x="2251" y="1946"/>
                  </a:lnTo>
                  <a:lnTo>
                    <a:pt x="2250" y="2001"/>
                  </a:lnTo>
                  <a:lnTo>
                    <a:pt x="2249" y="2052"/>
                  </a:lnTo>
                  <a:lnTo>
                    <a:pt x="2249" y="2101"/>
                  </a:lnTo>
                  <a:lnTo>
                    <a:pt x="2282" y="2149"/>
                  </a:lnTo>
                  <a:lnTo>
                    <a:pt x="2312" y="2201"/>
                  </a:lnTo>
                  <a:lnTo>
                    <a:pt x="2338" y="2254"/>
                  </a:lnTo>
                  <a:lnTo>
                    <a:pt x="2350" y="2282"/>
                  </a:lnTo>
                  <a:lnTo>
                    <a:pt x="2361" y="2312"/>
                  </a:lnTo>
                  <a:lnTo>
                    <a:pt x="2370" y="2341"/>
                  </a:lnTo>
                  <a:lnTo>
                    <a:pt x="2379" y="2372"/>
                  </a:lnTo>
                  <a:lnTo>
                    <a:pt x="2386" y="2403"/>
                  </a:lnTo>
                  <a:lnTo>
                    <a:pt x="2392" y="2434"/>
                  </a:lnTo>
                  <a:lnTo>
                    <a:pt x="2397" y="2466"/>
                  </a:lnTo>
                  <a:lnTo>
                    <a:pt x="2400" y="2500"/>
                  </a:lnTo>
                  <a:lnTo>
                    <a:pt x="2402" y="2534"/>
                  </a:lnTo>
                  <a:lnTo>
                    <a:pt x="2403" y="2568"/>
                  </a:lnTo>
                  <a:lnTo>
                    <a:pt x="2402" y="2606"/>
                  </a:lnTo>
                  <a:lnTo>
                    <a:pt x="2399" y="2644"/>
                  </a:lnTo>
                  <a:lnTo>
                    <a:pt x="2395" y="2680"/>
                  </a:lnTo>
                  <a:lnTo>
                    <a:pt x="2390" y="2716"/>
                  </a:lnTo>
                  <a:lnTo>
                    <a:pt x="2383" y="2751"/>
                  </a:lnTo>
                  <a:lnTo>
                    <a:pt x="2375" y="2785"/>
                  </a:lnTo>
                  <a:lnTo>
                    <a:pt x="2364" y="2819"/>
                  </a:lnTo>
                  <a:lnTo>
                    <a:pt x="2353" y="2852"/>
                  </a:lnTo>
                  <a:lnTo>
                    <a:pt x="2341" y="2884"/>
                  </a:lnTo>
                  <a:lnTo>
                    <a:pt x="2326" y="2914"/>
                  </a:lnTo>
                  <a:lnTo>
                    <a:pt x="2311" y="2944"/>
                  </a:lnTo>
                  <a:lnTo>
                    <a:pt x="2294" y="2973"/>
                  </a:lnTo>
                  <a:lnTo>
                    <a:pt x="2275" y="3001"/>
                  </a:lnTo>
                  <a:lnTo>
                    <a:pt x="2257" y="3028"/>
                  </a:lnTo>
                  <a:lnTo>
                    <a:pt x="2236" y="3054"/>
                  </a:lnTo>
                  <a:lnTo>
                    <a:pt x="2215" y="3078"/>
                  </a:lnTo>
                  <a:lnTo>
                    <a:pt x="2193" y="3102"/>
                  </a:lnTo>
                  <a:lnTo>
                    <a:pt x="2169" y="3124"/>
                  </a:lnTo>
                  <a:lnTo>
                    <a:pt x="2144" y="3145"/>
                  </a:lnTo>
                  <a:lnTo>
                    <a:pt x="2119" y="3165"/>
                  </a:lnTo>
                  <a:lnTo>
                    <a:pt x="2092" y="3183"/>
                  </a:lnTo>
                  <a:lnTo>
                    <a:pt x="2065" y="3200"/>
                  </a:lnTo>
                  <a:lnTo>
                    <a:pt x="2036" y="3215"/>
                  </a:lnTo>
                  <a:lnTo>
                    <a:pt x="2007" y="3230"/>
                  </a:lnTo>
                  <a:lnTo>
                    <a:pt x="1977" y="3242"/>
                  </a:lnTo>
                  <a:lnTo>
                    <a:pt x="1946" y="3252"/>
                  </a:lnTo>
                  <a:lnTo>
                    <a:pt x="1914" y="3262"/>
                  </a:lnTo>
                  <a:lnTo>
                    <a:pt x="1882" y="3270"/>
                  </a:lnTo>
                  <a:lnTo>
                    <a:pt x="1849" y="3276"/>
                  </a:lnTo>
                  <a:lnTo>
                    <a:pt x="1816" y="3280"/>
                  </a:lnTo>
                  <a:lnTo>
                    <a:pt x="1781" y="3282"/>
                  </a:lnTo>
                  <a:lnTo>
                    <a:pt x="1747" y="3283"/>
                  </a:lnTo>
                  <a:lnTo>
                    <a:pt x="563" y="3281"/>
                  </a:lnTo>
                  <a:lnTo>
                    <a:pt x="528" y="3280"/>
                  </a:lnTo>
                  <a:lnTo>
                    <a:pt x="494" y="3278"/>
                  </a:lnTo>
                  <a:lnTo>
                    <a:pt x="461" y="3274"/>
                  </a:lnTo>
                  <a:lnTo>
                    <a:pt x="429" y="3269"/>
                  </a:lnTo>
                  <a:lnTo>
                    <a:pt x="398" y="3263"/>
                  </a:lnTo>
                  <a:lnTo>
                    <a:pt x="367" y="3254"/>
                  </a:lnTo>
                  <a:lnTo>
                    <a:pt x="338" y="3244"/>
                  </a:lnTo>
                  <a:lnTo>
                    <a:pt x="309" y="3234"/>
                  </a:lnTo>
                  <a:lnTo>
                    <a:pt x="282" y="3221"/>
                  </a:lnTo>
                  <a:lnTo>
                    <a:pt x="256" y="3207"/>
                  </a:lnTo>
                  <a:lnTo>
                    <a:pt x="231" y="3192"/>
                  </a:lnTo>
                  <a:lnTo>
                    <a:pt x="208" y="3175"/>
                  </a:lnTo>
                  <a:lnTo>
                    <a:pt x="185" y="3157"/>
                  </a:lnTo>
                  <a:lnTo>
                    <a:pt x="164" y="3137"/>
                  </a:lnTo>
                  <a:lnTo>
                    <a:pt x="145" y="3115"/>
                  </a:lnTo>
                  <a:lnTo>
                    <a:pt x="126" y="3093"/>
                  </a:lnTo>
                  <a:lnTo>
                    <a:pt x="126" y="3093"/>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ctr"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chemeClr val="tx2"/>
                </a:solidFill>
                <a:effectLst/>
                <a:uLnTx/>
                <a:uFillTx/>
              </a:endParaRPr>
            </a:p>
          </p:txBody>
        </p:sp>
        <p:sp>
          <p:nvSpPr>
            <p:cNvPr id="76" name="Freeform 44"/>
            <p:cNvSpPr>
              <a:spLocks noEditPoints="1"/>
            </p:cNvSpPr>
            <p:nvPr/>
          </p:nvSpPr>
          <p:spPr bwMode="auto">
            <a:xfrm>
              <a:off x="1358900" y="3878269"/>
              <a:ext cx="1638300" cy="1214439"/>
            </a:xfrm>
            <a:custGeom>
              <a:avLst/>
              <a:gdLst>
                <a:gd name="T0" fmla="*/ 10977 w 15471"/>
                <a:gd name="T1" fmla="*/ 1806 h 11467"/>
                <a:gd name="T2" fmla="*/ 11863 w 15471"/>
                <a:gd name="T3" fmla="*/ 2687 h 11467"/>
                <a:gd name="T4" fmla="*/ 11965 w 15471"/>
                <a:gd name="T5" fmla="*/ 3282 h 11467"/>
                <a:gd name="T6" fmla="*/ 12755 w 15471"/>
                <a:gd name="T7" fmla="*/ 3676 h 11467"/>
                <a:gd name="T8" fmla="*/ 12767 w 15471"/>
                <a:gd name="T9" fmla="*/ 4735 h 11467"/>
                <a:gd name="T10" fmla="*/ 13108 w 15471"/>
                <a:gd name="T11" fmla="*/ 1674 h 11467"/>
                <a:gd name="T12" fmla="*/ 14652 w 15471"/>
                <a:gd name="T13" fmla="*/ 942 h 11467"/>
                <a:gd name="T14" fmla="*/ 15075 w 15471"/>
                <a:gd name="T15" fmla="*/ 4776 h 11467"/>
                <a:gd name="T16" fmla="*/ 12080 w 15471"/>
                <a:gd name="T17" fmla="*/ 6929 h 11467"/>
                <a:gd name="T18" fmla="*/ 10191 w 15471"/>
                <a:gd name="T19" fmla="*/ 5810 h 11467"/>
                <a:gd name="T20" fmla="*/ 11264 w 15471"/>
                <a:gd name="T21" fmla="*/ 7535 h 11467"/>
                <a:gd name="T22" fmla="*/ 10824 w 15471"/>
                <a:gd name="T23" fmla="*/ 8068 h 11467"/>
                <a:gd name="T24" fmla="*/ 8547 w 15471"/>
                <a:gd name="T25" fmla="*/ 6706 h 11467"/>
                <a:gd name="T26" fmla="*/ 9172 w 15471"/>
                <a:gd name="T27" fmla="*/ 8211 h 11467"/>
                <a:gd name="T28" fmla="*/ 6576 w 15471"/>
                <a:gd name="T29" fmla="*/ 11116 h 11467"/>
                <a:gd name="T30" fmla="*/ 6156 w 15471"/>
                <a:gd name="T31" fmla="*/ 9541 h 11467"/>
                <a:gd name="T32" fmla="*/ 6205 w 15471"/>
                <a:gd name="T33" fmla="*/ 9052 h 11467"/>
                <a:gd name="T34" fmla="*/ 4485 w 15471"/>
                <a:gd name="T35" fmla="*/ 9219 h 11467"/>
                <a:gd name="T36" fmla="*/ 3981 w 15471"/>
                <a:gd name="T37" fmla="*/ 10956 h 11467"/>
                <a:gd name="T38" fmla="*/ 2377 w 15471"/>
                <a:gd name="T39" fmla="*/ 9801 h 11467"/>
                <a:gd name="T40" fmla="*/ 1530 w 15471"/>
                <a:gd name="T41" fmla="*/ 7314 h 11467"/>
                <a:gd name="T42" fmla="*/ 1041 w 15471"/>
                <a:gd name="T43" fmla="*/ 5673 h 11467"/>
                <a:gd name="T44" fmla="*/ 412 w 15471"/>
                <a:gd name="T45" fmla="*/ 4456 h 11467"/>
                <a:gd name="T46" fmla="*/ 938 w 15471"/>
                <a:gd name="T47" fmla="*/ 4506 h 11467"/>
                <a:gd name="T48" fmla="*/ 1436 w 15471"/>
                <a:gd name="T49" fmla="*/ 5064 h 11467"/>
                <a:gd name="T50" fmla="*/ 4800 w 15471"/>
                <a:gd name="T51" fmla="*/ 2713 h 11467"/>
                <a:gd name="T52" fmla="*/ 3605 w 15471"/>
                <a:gd name="T53" fmla="*/ 4402 h 11467"/>
                <a:gd name="T54" fmla="*/ 3968 w 15471"/>
                <a:gd name="T55" fmla="*/ 6936 h 11467"/>
                <a:gd name="T56" fmla="*/ 6878 w 15471"/>
                <a:gd name="T57" fmla="*/ 7007 h 11467"/>
                <a:gd name="T58" fmla="*/ 8016 w 15471"/>
                <a:gd name="T59" fmla="*/ 5640 h 11467"/>
                <a:gd name="T60" fmla="*/ 7464 w 15471"/>
                <a:gd name="T61" fmla="*/ 4107 h 11467"/>
                <a:gd name="T62" fmla="*/ 7291 w 15471"/>
                <a:gd name="T63" fmla="*/ 6616 h 11467"/>
                <a:gd name="T64" fmla="*/ 4638 w 15471"/>
                <a:gd name="T65" fmla="*/ 7120 h 11467"/>
                <a:gd name="T66" fmla="*/ 3893 w 15471"/>
                <a:gd name="T67" fmla="*/ 4655 h 11467"/>
                <a:gd name="T68" fmla="*/ 7348 w 15471"/>
                <a:gd name="T69" fmla="*/ 1684 h 11467"/>
                <a:gd name="T70" fmla="*/ 7505 w 15471"/>
                <a:gd name="T71" fmla="*/ 821 h 11467"/>
                <a:gd name="T72" fmla="*/ 14394 w 15471"/>
                <a:gd name="T73" fmla="*/ 1187 h 11467"/>
                <a:gd name="T74" fmla="*/ 13401 w 15471"/>
                <a:gd name="T75" fmla="*/ 1768 h 11467"/>
                <a:gd name="T76" fmla="*/ 9509 w 15471"/>
                <a:gd name="T77" fmla="*/ 2321 h 11467"/>
                <a:gd name="T78" fmla="*/ 9002 w 15471"/>
                <a:gd name="T79" fmla="*/ 2398 h 11467"/>
                <a:gd name="T80" fmla="*/ 9753 w 15471"/>
                <a:gd name="T81" fmla="*/ 3768 h 11467"/>
                <a:gd name="T82" fmla="*/ 9917 w 15471"/>
                <a:gd name="T83" fmla="*/ 4293 h 11467"/>
                <a:gd name="T84" fmla="*/ 10789 w 15471"/>
                <a:gd name="T85" fmla="*/ 3533 h 11467"/>
                <a:gd name="T86" fmla="*/ 10668 w 15471"/>
                <a:gd name="T87" fmla="*/ 3016 h 11467"/>
                <a:gd name="T88" fmla="*/ 9418 w 15471"/>
                <a:gd name="T89" fmla="*/ 3866 h 11467"/>
                <a:gd name="T90" fmla="*/ 6560 w 15471"/>
                <a:gd name="T91" fmla="*/ 1283 h 11467"/>
                <a:gd name="T92" fmla="*/ 4869 w 15471"/>
                <a:gd name="T93" fmla="*/ 2378 h 11467"/>
                <a:gd name="T94" fmla="*/ 1533 w 15471"/>
                <a:gd name="T95" fmla="*/ 4436 h 11467"/>
                <a:gd name="T96" fmla="*/ 865 w 15471"/>
                <a:gd name="T97" fmla="*/ 3460 h 11467"/>
                <a:gd name="T98" fmla="*/ 523 w 15471"/>
                <a:gd name="T99" fmla="*/ 5835 h 11467"/>
                <a:gd name="T100" fmla="*/ 2021 w 15471"/>
                <a:gd name="T101" fmla="*/ 9156 h 11467"/>
                <a:gd name="T102" fmla="*/ 2536 w 15471"/>
                <a:gd name="T103" fmla="*/ 11188 h 11467"/>
                <a:gd name="T104" fmla="*/ 4423 w 15471"/>
                <a:gd name="T105" fmla="*/ 10332 h 11467"/>
                <a:gd name="T106" fmla="*/ 5268 w 15471"/>
                <a:gd name="T107" fmla="*/ 9942 h 11467"/>
                <a:gd name="T108" fmla="*/ 7052 w 15471"/>
                <a:gd name="T109" fmla="*/ 11297 h 11467"/>
                <a:gd name="T110" fmla="*/ 9714 w 15471"/>
                <a:gd name="T111" fmla="*/ 7999 h 11467"/>
                <a:gd name="T112" fmla="*/ 11839 w 15471"/>
                <a:gd name="T113" fmla="*/ 7522 h 11467"/>
                <a:gd name="T114" fmla="*/ 14957 w 15471"/>
                <a:gd name="T115" fmla="*/ 5826 h 11467"/>
                <a:gd name="T116" fmla="*/ 14949 w 15471"/>
                <a:gd name="T117" fmla="*/ 867 h 11467"/>
                <a:gd name="T118" fmla="*/ 13419 w 15471"/>
                <a:gd name="T119" fmla="*/ 1053 h 11467"/>
                <a:gd name="T120" fmla="*/ 12890 w 15471"/>
                <a:gd name="T121" fmla="*/ 3396 h 11467"/>
                <a:gd name="T122" fmla="*/ 12179 w 15471"/>
                <a:gd name="T123" fmla="*/ 1882 h 114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471" h="11467">
                  <a:moveTo>
                    <a:pt x="9231" y="342"/>
                  </a:moveTo>
                  <a:lnTo>
                    <a:pt x="9450" y="342"/>
                  </a:lnTo>
                  <a:lnTo>
                    <a:pt x="9501" y="346"/>
                  </a:lnTo>
                  <a:lnTo>
                    <a:pt x="9553" y="351"/>
                  </a:lnTo>
                  <a:lnTo>
                    <a:pt x="9604" y="357"/>
                  </a:lnTo>
                  <a:lnTo>
                    <a:pt x="9654" y="364"/>
                  </a:lnTo>
                  <a:lnTo>
                    <a:pt x="9703" y="373"/>
                  </a:lnTo>
                  <a:lnTo>
                    <a:pt x="9752" y="383"/>
                  </a:lnTo>
                  <a:lnTo>
                    <a:pt x="9801" y="394"/>
                  </a:lnTo>
                  <a:lnTo>
                    <a:pt x="9848" y="405"/>
                  </a:lnTo>
                  <a:lnTo>
                    <a:pt x="9894" y="419"/>
                  </a:lnTo>
                  <a:lnTo>
                    <a:pt x="9941" y="433"/>
                  </a:lnTo>
                  <a:lnTo>
                    <a:pt x="10031" y="464"/>
                  </a:lnTo>
                  <a:lnTo>
                    <a:pt x="10118" y="499"/>
                  </a:lnTo>
                  <a:lnTo>
                    <a:pt x="10203" y="537"/>
                  </a:lnTo>
                  <a:lnTo>
                    <a:pt x="10285" y="579"/>
                  </a:lnTo>
                  <a:lnTo>
                    <a:pt x="10364" y="623"/>
                  </a:lnTo>
                  <a:lnTo>
                    <a:pt x="10441" y="669"/>
                  </a:lnTo>
                  <a:lnTo>
                    <a:pt x="10514" y="718"/>
                  </a:lnTo>
                  <a:lnTo>
                    <a:pt x="10585" y="768"/>
                  </a:lnTo>
                  <a:lnTo>
                    <a:pt x="10653" y="820"/>
                  </a:lnTo>
                  <a:lnTo>
                    <a:pt x="10719" y="873"/>
                  </a:lnTo>
                  <a:lnTo>
                    <a:pt x="10781" y="927"/>
                  </a:lnTo>
                  <a:lnTo>
                    <a:pt x="10841" y="980"/>
                  </a:lnTo>
                  <a:lnTo>
                    <a:pt x="10899" y="1035"/>
                  </a:lnTo>
                  <a:lnTo>
                    <a:pt x="10954" y="1089"/>
                  </a:lnTo>
                  <a:lnTo>
                    <a:pt x="11005" y="1144"/>
                  </a:lnTo>
                  <a:lnTo>
                    <a:pt x="11054" y="1198"/>
                  </a:lnTo>
                  <a:lnTo>
                    <a:pt x="11100" y="1249"/>
                  </a:lnTo>
                  <a:lnTo>
                    <a:pt x="11144" y="1301"/>
                  </a:lnTo>
                  <a:lnTo>
                    <a:pt x="11185" y="1350"/>
                  </a:lnTo>
                  <a:lnTo>
                    <a:pt x="11223" y="1397"/>
                  </a:lnTo>
                  <a:lnTo>
                    <a:pt x="11258" y="1443"/>
                  </a:lnTo>
                  <a:lnTo>
                    <a:pt x="11291" y="1486"/>
                  </a:lnTo>
                  <a:lnTo>
                    <a:pt x="11321" y="1526"/>
                  </a:lnTo>
                  <a:lnTo>
                    <a:pt x="11348" y="1562"/>
                  </a:lnTo>
                  <a:lnTo>
                    <a:pt x="11373" y="1596"/>
                  </a:lnTo>
                  <a:lnTo>
                    <a:pt x="11393" y="1626"/>
                  </a:lnTo>
                  <a:lnTo>
                    <a:pt x="11404" y="1638"/>
                  </a:lnTo>
                  <a:lnTo>
                    <a:pt x="11413" y="1651"/>
                  </a:lnTo>
                  <a:lnTo>
                    <a:pt x="11381" y="1651"/>
                  </a:lnTo>
                  <a:lnTo>
                    <a:pt x="11351" y="1653"/>
                  </a:lnTo>
                  <a:lnTo>
                    <a:pt x="11319" y="1658"/>
                  </a:lnTo>
                  <a:lnTo>
                    <a:pt x="11286" y="1665"/>
                  </a:lnTo>
                  <a:lnTo>
                    <a:pt x="11253" y="1676"/>
                  </a:lnTo>
                  <a:lnTo>
                    <a:pt x="11219" y="1687"/>
                  </a:lnTo>
                  <a:lnTo>
                    <a:pt x="11185" y="1700"/>
                  </a:lnTo>
                  <a:lnTo>
                    <a:pt x="11152" y="1715"/>
                  </a:lnTo>
                  <a:lnTo>
                    <a:pt x="11121" y="1729"/>
                  </a:lnTo>
                  <a:lnTo>
                    <a:pt x="11091" y="1743"/>
                  </a:lnTo>
                  <a:lnTo>
                    <a:pt x="11064" y="1758"/>
                  </a:lnTo>
                  <a:lnTo>
                    <a:pt x="11039" y="1770"/>
                  </a:lnTo>
                  <a:lnTo>
                    <a:pt x="11018" y="1783"/>
                  </a:lnTo>
                  <a:lnTo>
                    <a:pt x="11008" y="1788"/>
                  </a:lnTo>
                  <a:lnTo>
                    <a:pt x="11001" y="1792"/>
                  </a:lnTo>
                  <a:lnTo>
                    <a:pt x="10994" y="1796"/>
                  </a:lnTo>
                  <a:lnTo>
                    <a:pt x="10988" y="1800"/>
                  </a:lnTo>
                  <a:lnTo>
                    <a:pt x="10983" y="1803"/>
                  </a:lnTo>
                  <a:lnTo>
                    <a:pt x="10979" y="1805"/>
                  </a:lnTo>
                  <a:lnTo>
                    <a:pt x="10977" y="1806"/>
                  </a:lnTo>
                  <a:lnTo>
                    <a:pt x="10976" y="1806"/>
                  </a:lnTo>
                  <a:lnTo>
                    <a:pt x="11257" y="1806"/>
                  </a:lnTo>
                  <a:lnTo>
                    <a:pt x="11303" y="1806"/>
                  </a:lnTo>
                  <a:lnTo>
                    <a:pt x="11345" y="1807"/>
                  </a:lnTo>
                  <a:lnTo>
                    <a:pt x="11385" y="1808"/>
                  </a:lnTo>
                  <a:lnTo>
                    <a:pt x="11424" y="1810"/>
                  </a:lnTo>
                  <a:lnTo>
                    <a:pt x="11462" y="1815"/>
                  </a:lnTo>
                  <a:lnTo>
                    <a:pt x="11498" y="1820"/>
                  </a:lnTo>
                  <a:lnTo>
                    <a:pt x="11534" y="1828"/>
                  </a:lnTo>
                  <a:lnTo>
                    <a:pt x="11569" y="1838"/>
                  </a:lnTo>
                  <a:lnTo>
                    <a:pt x="11603" y="1851"/>
                  </a:lnTo>
                  <a:lnTo>
                    <a:pt x="11637" y="1863"/>
                  </a:lnTo>
                  <a:lnTo>
                    <a:pt x="11671" y="1877"/>
                  </a:lnTo>
                  <a:lnTo>
                    <a:pt x="11704" y="1893"/>
                  </a:lnTo>
                  <a:lnTo>
                    <a:pt x="11737" y="1910"/>
                  </a:lnTo>
                  <a:lnTo>
                    <a:pt x="11771" y="1930"/>
                  </a:lnTo>
                  <a:lnTo>
                    <a:pt x="11804" y="1951"/>
                  </a:lnTo>
                  <a:lnTo>
                    <a:pt x="11837" y="1974"/>
                  </a:lnTo>
                  <a:lnTo>
                    <a:pt x="11871" y="2000"/>
                  </a:lnTo>
                  <a:lnTo>
                    <a:pt x="11905" y="2029"/>
                  </a:lnTo>
                  <a:lnTo>
                    <a:pt x="11941" y="2061"/>
                  </a:lnTo>
                  <a:lnTo>
                    <a:pt x="11977" y="2097"/>
                  </a:lnTo>
                  <a:lnTo>
                    <a:pt x="12013" y="2135"/>
                  </a:lnTo>
                  <a:lnTo>
                    <a:pt x="12051" y="2177"/>
                  </a:lnTo>
                  <a:lnTo>
                    <a:pt x="12070" y="2200"/>
                  </a:lnTo>
                  <a:lnTo>
                    <a:pt x="12089" y="2223"/>
                  </a:lnTo>
                  <a:lnTo>
                    <a:pt x="12110" y="2248"/>
                  </a:lnTo>
                  <a:lnTo>
                    <a:pt x="12129" y="2274"/>
                  </a:lnTo>
                  <a:lnTo>
                    <a:pt x="12157" y="2310"/>
                  </a:lnTo>
                  <a:lnTo>
                    <a:pt x="12182" y="2345"/>
                  </a:lnTo>
                  <a:lnTo>
                    <a:pt x="12204" y="2381"/>
                  </a:lnTo>
                  <a:lnTo>
                    <a:pt x="12221" y="2416"/>
                  </a:lnTo>
                  <a:lnTo>
                    <a:pt x="12237" y="2451"/>
                  </a:lnTo>
                  <a:lnTo>
                    <a:pt x="12247" y="2484"/>
                  </a:lnTo>
                  <a:lnTo>
                    <a:pt x="12254" y="2517"/>
                  </a:lnTo>
                  <a:lnTo>
                    <a:pt x="12258" y="2547"/>
                  </a:lnTo>
                  <a:lnTo>
                    <a:pt x="12258" y="2561"/>
                  </a:lnTo>
                  <a:lnTo>
                    <a:pt x="12257" y="2575"/>
                  </a:lnTo>
                  <a:lnTo>
                    <a:pt x="12255" y="2588"/>
                  </a:lnTo>
                  <a:lnTo>
                    <a:pt x="12253" y="2600"/>
                  </a:lnTo>
                  <a:lnTo>
                    <a:pt x="12249" y="2612"/>
                  </a:lnTo>
                  <a:lnTo>
                    <a:pt x="12244" y="2623"/>
                  </a:lnTo>
                  <a:lnTo>
                    <a:pt x="12238" y="2632"/>
                  </a:lnTo>
                  <a:lnTo>
                    <a:pt x="12231" y="2642"/>
                  </a:lnTo>
                  <a:lnTo>
                    <a:pt x="12222" y="2650"/>
                  </a:lnTo>
                  <a:lnTo>
                    <a:pt x="12212" y="2658"/>
                  </a:lnTo>
                  <a:lnTo>
                    <a:pt x="12202" y="2664"/>
                  </a:lnTo>
                  <a:lnTo>
                    <a:pt x="12189" y="2670"/>
                  </a:lnTo>
                  <a:lnTo>
                    <a:pt x="12177" y="2674"/>
                  </a:lnTo>
                  <a:lnTo>
                    <a:pt x="12162" y="2677"/>
                  </a:lnTo>
                  <a:lnTo>
                    <a:pt x="12147" y="2679"/>
                  </a:lnTo>
                  <a:lnTo>
                    <a:pt x="12129" y="2679"/>
                  </a:lnTo>
                  <a:lnTo>
                    <a:pt x="12035" y="2679"/>
                  </a:lnTo>
                  <a:lnTo>
                    <a:pt x="12008" y="2679"/>
                  </a:lnTo>
                  <a:lnTo>
                    <a:pt x="11980" y="2680"/>
                  </a:lnTo>
                  <a:lnTo>
                    <a:pt x="11954" y="2681"/>
                  </a:lnTo>
                  <a:lnTo>
                    <a:pt x="11930" y="2682"/>
                  </a:lnTo>
                  <a:lnTo>
                    <a:pt x="11906" y="2684"/>
                  </a:lnTo>
                  <a:lnTo>
                    <a:pt x="11885" y="2685"/>
                  </a:lnTo>
                  <a:lnTo>
                    <a:pt x="11863" y="2687"/>
                  </a:lnTo>
                  <a:lnTo>
                    <a:pt x="11843" y="2690"/>
                  </a:lnTo>
                  <a:lnTo>
                    <a:pt x="11806" y="2695"/>
                  </a:lnTo>
                  <a:lnTo>
                    <a:pt x="11772" y="2702"/>
                  </a:lnTo>
                  <a:lnTo>
                    <a:pt x="11741" y="2710"/>
                  </a:lnTo>
                  <a:lnTo>
                    <a:pt x="11712" y="2718"/>
                  </a:lnTo>
                  <a:lnTo>
                    <a:pt x="11686" y="2727"/>
                  </a:lnTo>
                  <a:lnTo>
                    <a:pt x="11660" y="2737"/>
                  </a:lnTo>
                  <a:lnTo>
                    <a:pt x="11611" y="2758"/>
                  </a:lnTo>
                  <a:lnTo>
                    <a:pt x="11586" y="2769"/>
                  </a:lnTo>
                  <a:lnTo>
                    <a:pt x="11561" y="2781"/>
                  </a:lnTo>
                  <a:lnTo>
                    <a:pt x="11535" y="2792"/>
                  </a:lnTo>
                  <a:lnTo>
                    <a:pt x="11506" y="2803"/>
                  </a:lnTo>
                  <a:lnTo>
                    <a:pt x="11519" y="2802"/>
                  </a:lnTo>
                  <a:lnTo>
                    <a:pt x="11535" y="2799"/>
                  </a:lnTo>
                  <a:lnTo>
                    <a:pt x="11552" y="2794"/>
                  </a:lnTo>
                  <a:lnTo>
                    <a:pt x="11572" y="2788"/>
                  </a:lnTo>
                  <a:lnTo>
                    <a:pt x="11594" y="2783"/>
                  </a:lnTo>
                  <a:lnTo>
                    <a:pt x="11615" y="2778"/>
                  </a:lnTo>
                  <a:lnTo>
                    <a:pt x="11639" y="2775"/>
                  </a:lnTo>
                  <a:lnTo>
                    <a:pt x="11662" y="2773"/>
                  </a:lnTo>
                  <a:lnTo>
                    <a:pt x="11709" y="2774"/>
                  </a:lnTo>
                  <a:lnTo>
                    <a:pt x="11733" y="2775"/>
                  </a:lnTo>
                  <a:lnTo>
                    <a:pt x="11757" y="2777"/>
                  </a:lnTo>
                  <a:lnTo>
                    <a:pt x="11781" y="2781"/>
                  </a:lnTo>
                  <a:lnTo>
                    <a:pt x="11803" y="2787"/>
                  </a:lnTo>
                  <a:lnTo>
                    <a:pt x="11826" y="2795"/>
                  </a:lnTo>
                  <a:lnTo>
                    <a:pt x="11849" y="2805"/>
                  </a:lnTo>
                  <a:lnTo>
                    <a:pt x="11870" y="2819"/>
                  </a:lnTo>
                  <a:lnTo>
                    <a:pt x="11890" y="2835"/>
                  </a:lnTo>
                  <a:lnTo>
                    <a:pt x="11910" y="2856"/>
                  </a:lnTo>
                  <a:lnTo>
                    <a:pt x="11920" y="2867"/>
                  </a:lnTo>
                  <a:lnTo>
                    <a:pt x="11928" y="2880"/>
                  </a:lnTo>
                  <a:lnTo>
                    <a:pt x="11937" y="2894"/>
                  </a:lnTo>
                  <a:lnTo>
                    <a:pt x="11946" y="2908"/>
                  </a:lnTo>
                  <a:lnTo>
                    <a:pt x="11954" y="2925"/>
                  </a:lnTo>
                  <a:lnTo>
                    <a:pt x="11961" y="2942"/>
                  </a:lnTo>
                  <a:lnTo>
                    <a:pt x="11968" y="2961"/>
                  </a:lnTo>
                  <a:lnTo>
                    <a:pt x="11976" y="2981"/>
                  </a:lnTo>
                  <a:lnTo>
                    <a:pt x="11982" y="3002"/>
                  </a:lnTo>
                  <a:lnTo>
                    <a:pt x="11988" y="3025"/>
                  </a:lnTo>
                  <a:lnTo>
                    <a:pt x="11989" y="3058"/>
                  </a:lnTo>
                  <a:lnTo>
                    <a:pt x="11988" y="3088"/>
                  </a:lnTo>
                  <a:lnTo>
                    <a:pt x="11987" y="3117"/>
                  </a:lnTo>
                  <a:lnTo>
                    <a:pt x="11986" y="3142"/>
                  </a:lnTo>
                  <a:lnTo>
                    <a:pt x="11983" y="3166"/>
                  </a:lnTo>
                  <a:lnTo>
                    <a:pt x="11980" y="3188"/>
                  </a:lnTo>
                  <a:lnTo>
                    <a:pt x="11976" y="3207"/>
                  </a:lnTo>
                  <a:lnTo>
                    <a:pt x="11970" y="3226"/>
                  </a:lnTo>
                  <a:lnTo>
                    <a:pt x="11963" y="3241"/>
                  </a:lnTo>
                  <a:lnTo>
                    <a:pt x="11956" y="3256"/>
                  </a:lnTo>
                  <a:lnTo>
                    <a:pt x="11947" y="3268"/>
                  </a:lnTo>
                  <a:lnTo>
                    <a:pt x="11936" y="3278"/>
                  </a:lnTo>
                  <a:lnTo>
                    <a:pt x="11925" y="3288"/>
                  </a:lnTo>
                  <a:lnTo>
                    <a:pt x="11912" y="3296"/>
                  </a:lnTo>
                  <a:lnTo>
                    <a:pt x="11897" y="3302"/>
                  </a:lnTo>
                  <a:lnTo>
                    <a:pt x="11881" y="3307"/>
                  </a:lnTo>
                  <a:lnTo>
                    <a:pt x="11905" y="3298"/>
                  </a:lnTo>
                  <a:lnTo>
                    <a:pt x="11928" y="3291"/>
                  </a:lnTo>
                  <a:lnTo>
                    <a:pt x="11952" y="3284"/>
                  </a:lnTo>
                  <a:lnTo>
                    <a:pt x="11965" y="3282"/>
                  </a:lnTo>
                  <a:lnTo>
                    <a:pt x="11979" y="3280"/>
                  </a:lnTo>
                  <a:lnTo>
                    <a:pt x="11994" y="3278"/>
                  </a:lnTo>
                  <a:lnTo>
                    <a:pt x="12011" y="3277"/>
                  </a:lnTo>
                  <a:lnTo>
                    <a:pt x="12029" y="3275"/>
                  </a:lnTo>
                  <a:lnTo>
                    <a:pt x="12050" y="3274"/>
                  </a:lnTo>
                  <a:lnTo>
                    <a:pt x="12074" y="3273"/>
                  </a:lnTo>
                  <a:lnTo>
                    <a:pt x="12100" y="3273"/>
                  </a:lnTo>
                  <a:lnTo>
                    <a:pt x="12128" y="3272"/>
                  </a:lnTo>
                  <a:lnTo>
                    <a:pt x="12160" y="3271"/>
                  </a:lnTo>
                  <a:lnTo>
                    <a:pt x="12184" y="3272"/>
                  </a:lnTo>
                  <a:lnTo>
                    <a:pt x="12208" y="3275"/>
                  </a:lnTo>
                  <a:lnTo>
                    <a:pt x="12232" y="3279"/>
                  </a:lnTo>
                  <a:lnTo>
                    <a:pt x="12255" y="3284"/>
                  </a:lnTo>
                  <a:lnTo>
                    <a:pt x="12279" y="3293"/>
                  </a:lnTo>
                  <a:lnTo>
                    <a:pt x="12302" y="3301"/>
                  </a:lnTo>
                  <a:lnTo>
                    <a:pt x="12325" y="3311"/>
                  </a:lnTo>
                  <a:lnTo>
                    <a:pt x="12346" y="3324"/>
                  </a:lnTo>
                  <a:lnTo>
                    <a:pt x="12367" y="3336"/>
                  </a:lnTo>
                  <a:lnTo>
                    <a:pt x="12386" y="3350"/>
                  </a:lnTo>
                  <a:lnTo>
                    <a:pt x="12404" y="3366"/>
                  </a:lnTo>
                  <a:lnTo>
                    <a:pt x="12422" y="3382"/>
                  </a:lnTo>
                  <a:lnTo>
                    <a:pt x="12437" y="3400"/>
                  </a:lnTo>
                  <a:lnTo>
                    <a:pt x="12450" y="3418"/>
                  </a:lnTo>
                  <a:lnTo>
                    <a:pt x="12463" y="3438"/>
                  </a:lnTo>
                  <a:lnTo>
                    <a:pt x="12472" y="3459"/>
                  </a:lnTo>
                  <a:lnTo>
                    <a:pt x="12481" y="3479"/>
                  </a:lnTo>
                  <a:lnTo>
                    <a:pt x="12490" y="3499"/>
                  </a:lnTo>
                  <a:lnTo>
                    <a:pt x="12498" y="3518"/>
                  </a:lnTo>
                  <a:lnTo>
                    <a:pt x="12505" y="3537"/>
                  </a:lnTo>
                  <a:lnTo>
                    <a:pt x="12511" y="3555"/>
                  </a:lnTo>
                  <a:lnTo>
                    <a:pt x="12516" y="3574"/>
                  </a:lnTo>
                  <a:lnTo>
                    <a:pt x="12518" y="3592"/>
                  </a:lnTo>
                  <a:lnTo>
                    <a:pt x="12518" y="3612"/>
                  </a:lnTo>
                  <a:lnTo>
                    <a:pt x="12514" y="3633"/>
                  </a:lnTo>
                  <a:lnTo>
                    <a:pt x="12508" y="3654"/>
                  </a:lnTo>
                  <a:lnTo>
                    <a:pt x="12499" y="3677"/>
                  </a:lnTo>
                  <a:lnTo>
                    <a:pt x="12493" y="3688"/>
                  </a:lnTo>
                  <a:lnTo>
                    <a:pt x="12486" y="3701"/>
                  </a:lnTo>
                  <a:lnTo>
                    <a:pt x="12477" y="3714"/>
                  </a:lnTo>
                  <a:lnTo>
                    <a:pt x="12468" y="3727"/>
                  </a:lnTo>
                  <a:lnTo>
                    <a:pt x="12458" y="3742"/>
                  </a:lnTo>
                  <a:lnTo>
                    <a:pt x="12445" y="3756"/>
                  </a:lnTo>
                  <a:lnTo>
                    <a:pt x="12433" y="3771"/>
                  </a:lnTo>
                  <a:lnTo>
                    <a:pt x="12418" y="3787"/>
                  </a:lnTo>
                  <a:lnTo>
                    <a:pt x="12403" y="3804"/>
                  </a:lnTo>
                  <a:lnTo>
                    <a:pt x="12386" y="3820"/>
                  </a:lnTo>
                  <a:lnTo>
                    <a:pt x="12404" y="3804"/>
                  </a:lnTo>
                  <a:lnTo>
                    <a:pt x="12423" y="3788"/>
                  </a:lnTo>
                  <a:lnTo>
                    <a:pt x="12441" y="3774"/>
                  </a:lnTo>
                  <a:lnTo>
                    <a:pt x="12461" y="3760"/>
                  </a:lnTo>
                  <a:lnTo>
                    <a:pt x="12481" y="3748"/>
                  </a:lnTo>
                  <a:lnTo>
                    <a:pt x="12501" y="3737"/>
                  </a:lnTo>
                  <a:lnTo>
                    <a:pt x="12523" y="3726"/>
                  </a:lnTo>
                  <a:lnTo>
                    <a:pt x="12543" y="3717"/>
                  </a:lnTo>
                  <a:lnTo>
                    <a:pt x="12587" y="3702"/>
                  </a:lnTo>
                  <a:lnTo>
                    <a:pt x="12631" y="3690"/>
                  </a:lnTo>
                  <a:lnTo>
                    <a:pt x="12677" y="3682"/>
                  </a:lnTo>
                  <a:lnTo>
                    <a:pt x="12722" y="3677"/>
                  </a:lnTo>
                  <a:lnTo>
                    <a:pt x="12739" y="3676"/>
                  </a:lnTo>
                  <a:lnTo>
                    <a:pt x="12755" y="3676"/>
                  </a:lnTo>
                  <a:lnTo>
                    <a:pt x="12773" y="3677"/>
                  </a:lnTo>
                  <a:lnTo>
                    <a:pt x="12789" y="3679"/>
                  </a:lnTo>
                  <a:lnTo>
                    <a:pt x="12806" y="3683"/>
                  </a:lnTo>
                  <a:lnTo>
                    <a:pt x="12821" y="3689"/>
                  </a:lnTo>
                  <a:lnTo>
                    <a:pt x="12835" y="3697"/>
                  </a:lnTo>
                  <a:lnTo>
                    <a:pt x="12846" y="3708"/>
                  </a:lnTo>
                  <a:lnTo>
                    <a:pt x="12861" y="3724"/>
                  </a:lnTo>
                  <a:lnTo>
                    <a:pt x="12875" y="3740"/>
                  </a:lnTo>
                  <a:lnTo>
                    <a:pt x="12887" y="3755"/>
                  </a:lnTo>
                  <a:lnTo>
                    <a:pt x="12899" y="3770"/>
                  </a:lnTo>
                  <a:lnTo>
                    <a:pt x="12908" y="3784"/>
                  </a:lnTo>
                  <a:lnTo>
                    <a:pt x="12916" y="3799"/>
                  </a:lnTo>
                  <a:lnTo>
                    <a:pt x="12922" y="3816"/>
                  </a:lnTo>
                  <a:lnTo>
                    <a:pt x="12927" y="3834"/>
                  </a:lnTo>
                  <a:lnTo>
                    <a:pt x="12931" y="3854"/>
                  </a:lnTo>
                  <a:lnTo>
                    <a:pt x="12932" y="3876"/>
                  </a:lnTo>
                  <a:lnTo>
                    <a:pt x="12931" y="3900"/>
                  </a:lnTo>
                  <a:lnTo>
                    <a:pt x="12928" y="3928"/>
                  </a:lnTo>
                  <a:lnTo>
                    <a:pt x="12924" y="3959"/>
                  </a:lnTo>
                  <a:lnTo>
                    <a:pt x="12921" y="3977"/>
                  </a:lnTo>
                  <a:lnTo>
                    <a:pt x="12917" y="3995"/>
                  </a:lnTo>
                  <a:lnTo>
                    <a:pt x="12913" y="4014"/>
                  </a:lnTo>
                  <a:lnTo>
                    <a:pt x="12909" y="4034"/>
                  </a:lnTo>
                  <a:lnTo>
                    <a:pt x="12904" y="4056"/>
                  </a:lnTo>
                  <a:lnTo>
                    <a:pt x="12899" y="4079"/>
                  </a:lnTo>
                  <a:lnTo>
                    <a:pt x="12892" y="4108"/>
                  </a:lnTo>
                  <a:lnTo>
                    <a:pt x="12885" y="4139"/>
                  </a:lnTo>
                  <a:lnTo>
                    <a:pt x="12870" y="4203"/>
                  </a:lnTo>
                  <a:lnTo>
                    <a:pt x="12853" y="4269"/>
                  </a:lnTo>
                  <a:lnTo>
                    <a:pt x="12835" y="4337"/>
                  </a:lnTo>
                  <a:lnTo>
                    <a:pt x="12815" y="4405"/>
                  </a:lnTo>
                  <a:lnTo>
                    <a:pt x="12795" y="4473"/>
                  </a:lnTo>
                  <a:lnTo>
                    <a:pt x="12775" y="4539"/>
                  </a:lnTo>
                  <a:lnTo>
                    <a:pt x="12755" y="4602"/>
                  </a:lnTo>
                  <a:lnTo>
                    <a:pt x="12746" y="4633"/>
                  </a:lnTo>
                  <a:lnTo>
                    <a:pt x="12736" y="4662"/>
                  </a:lnTo>
                  <a:lnTo>
                    <a:pt x="12727" y="4690"/>
                  </a:lnTo>
                  <a:lnTo>
                    <a:pt x="12719" y="4717"/>
                  </a:lnTo>
                  <a:lnTo>
                    <a:pt x="12710" y="4742"/>
                  </a:lnTo>
                  <a:lnTo>
                    <a:pt x="12702" y="4766"/>
                  </a:lnTo>
                  <a:lnTo>
                    <a:pt x="12695" y="4788"/>
                  </a:lnTo>
                  <a:lnTo>
                    <a:pt x="12688" y="4809"/>
                  </a:lnTo>
                  <a:lnTo>
                    <a:pt x="12682" y="4827"/>
                  </a:lnTo>
                  <a:lnTo>
                    <a:pt x="12676" y="4844"/>
                  </a:lnTo>
                  <a:lnTo>
                    <a:pt x="12671" y="4858"/>
                  </a:lnTo>
                  <a:lnTo>
                    <a:pt x="12667" y="4870"/>
                  </a:lnTo>
                  <a:lnTo>
                    <a:pt x="12664" y="4879"/>
                  </a:lnTo>
                  <a:lnTo>
                    <a:pt x="12661" y="4886"/>
                  </a:lnTo>
                  <a:lnTo>
                    <a:pt x="12660" y="4890"/>
                  </a:lnTo>
                  <a:lnTo>
                    <a:pt x="12659" y="4892"/>
                  </a:lnTo>
                  <a:lnTo>
                    <a:pt x="12661" y="4890"/>
                  </a:lnTo>
                  <a:lnTo>
                    <a:pt x="12664" y="4886"/>
                  </a:lnTo>
                  <a:lnTo>
                    <a:pt x="12670" y="4878"/>
                  </a:lnTo>
                  <a:lnTo>
                    <a:pt x="12679" y="4867"/>
                  </a:lnTo>
                  <a:lnTo>
                    <a:pt x="12689" y="4852"/>
                  </a:lnTo>
                  <a:lnTo>
                    <a:pt x="12701" y="4836"/>
                  </a:lnTo>
                  <a:lnTo>
                    <a:pt x="12716" y="4815"/>
                  </a:lnTo>
                  <a:lnTo>
                    <a:pt x="12731" y="4791"/>
                  </a:lnTo>
                  <a:lnTo>
                    <a:pt x="12749" y="4765"/>
                  </a:lnTo>
                  <a:lnTo>
                    <a:pt x="12767" y="4735"/>
                  </a:lnTo>
                  <a:lnTo>
                    <a:pt x="12786" y="4702"/>
                  </a:lnTo>
                  <a:lnTo>
                    <a:pt x="12807" y="4666"/>
                  </a:lnTo>
                  <a:lnTo>
                    <a:pt x="12828" y="4627"/>
                  </a:lnTo>
                  <a:lnTo>
                    <a:pt x="12850" y="4584"/>
                  </a:lnTo>
                  <a:lnTo>
                    <a:pt x="12873" y="4538"/>
                  </a:lnTo>
                  <a:lnTo>
                    <a:pt x="12895" y="4490"/>
                  </a:lnTo>
                  <a:lnTo>
                    <a:pt x="12918" y="4438"/>
                  </a:lnTo>
                  <a:lnTo>
                    <a:pt x="12941" y="4384"/>
                  </a:lnTo>
                  <a:lnTo>
                    <a:pt x="12964" y="4326"/>
                  </a:lnTo>
                  <a:lnTo>
                    <a:pt x="12986" y="4264"/>
                  </a:lnTo>
                  <a:lnTo>
                    <a:pt x="13008" y="4200"/>
                  </a:lnTo>
                  <a:lnTo>
                    <a:pt x="13030" y="4133"/>
                  </a:lnTo>
                  <a:lnTo>
                    <a:pt x="13050" y="4063"/>
                  </a:lnTo>
                  <a:lnTo>
                    <a:pt x="13070" y="3990"/>
                  </a:lnTo>
                  <a:lnTo>
                    <a:pt x="13088" y="3914"/>
                  </a:lnTo>
                  <a:lnTo>
                    <a:pt x="13106" y="3833"/>
                  </a:lnTo>
                  <a:lnTo>
                    <a:pt x="13123" y="3751"/>
                  </a:lnTo>
                  <a:lnTo>
                    <a:pt x="13137" y="3666"/>
                  </a:lnTo>
                  <a:lnTo>
                    <a:pt x="13150" y="3577"/>
                  </a:lnTo>
                  <a:lnTo>
                    <a:pt x="13161" y="3485"/>
                  </a:lnTo>
                  <a:lnTo>
                    <a:pt x="13170" y="3391"/>
                  </a:lnTo>
                  <a:lnTo>
                    <a:pt x="13177" y="3293"/>
                  </a:lnTo>
                  <a:lnTo>
                    <a:pt x="13179" y="3239"/>
                  </a:lnTo>
                  <a:lnTo>
                    <a:pt x="13181" y="3188"/>
                  </a:lnTo>
                  <a:lnTo>
                    <a:pt x="13183" y="3136"/>
                  </a:lnTo>
                  <a:lnTo>
                    <a:pt x="13184" y="3087"/>
                  </a:lnTo>
                  <a:lnTo>
                    <a:pt x="13186" y="3037"/>
                  </a:lnTo>
                  <a:lnTo>
                    <a:pt x="13186" y="2990"/>
                  </a:lnTo>
                  <a:lnTo>
                    <a:pt x="13186" y="2944"/>
                  </a:lnTo>
                  <a:lnTo>
                    <a:pt x="13186" y="2898"/>
                  </a:lnTo>
                  <a:lnTo>
                    <a:pt x="13184" y="2854"/>
                  </a:lnTo>
                  <a:lnTo>
                    <a:pt x="13182" y="2811"/>
                  </a:lnTo>
                  <a:lnTo>
                    <a:pt x="13181" y="2768"/>
                  </a:lnTo>
                  <a:lnTo>
                    <a:pt x="13179" y="2727"/>
                  </a:lnTo>
                  <a:lnTo>
                    <a:pt x="13177" y="2687"/>
                  </a:lnTo>
                  <a:lnTo>
                    <a:pt x="13174" y="2648"/>
                  </a:lnTo>
                  <a:lnTo>
                    <a:pt x="13169" y="2573"/>
                  </a:lnTo>
                  <a:lnTo>
                    <a:pt x="13162" y="2502"/>
                  </a:lnTo>
                  <a:lnTo>
                    <a:pt x="13155" y="2435"/>
                  </a:lnTo>
                  <a:lnTo>
                    <a:pt x="13147" y="2371"/>
                  </a:lnTo>
                  <a:lnTo>
                    <a:pt x="13139" y="2310"/>
                  </a:lnTo>
                  <a:lnTo>
                    <a:pt x="13130" y="2253"/>
                  </a:lnTo>
                  <a:lnTo>
                    <a:pt x="13121" y="2200"/>
                  </a:lnTo>
                  <a:lnTo>
                    <a:pt x="13112" y="2149"/>
                  </a:lnTo>
                  <a:lnTo>
                    <a:pt x="13104" y="2102"/>
                  </a:lnTo>
                  <a:lnTo>
                    <a:pt x="13096" y="2058"/>
                  </a:lnTo>
                  <a:lnTo>
                    <a:pt x="13088" y="2015"/>
                  </a:lnTo>
                  <a:lnTo>
                    <a:pt x="13081" y="1977"/>
                  </a:lnTo>
                  <a:lnTo>
                    <a:pt x="13075" y="1940"/>
                  </a:lnTo>
                  <a:lnTo>
                    <a:pt x="13070" y="1906"/>
                  </a:lnTo>
                  <a:lnTo>
                    <a:pt x="13067" y="1875"/>
                  </a:lnTo>
                  <a:lnTo>
                    <a:pt x="13064" y="1845"/>
                  </a:lnTo>
                  <a:lnTo>
                    <a:pt x="13063" y="1818"/>
                  </a:lnTo>
                  <a:lnTo>
                    <a:pt x="13063" y="1793"/>
                  </a:lnTo>
                  <a:lnTo>
                    <a:pt x="13065" y="1769"/>
                  </a:lnTo>
                  <a:lnTo>
                    <a:pt x="13069" y="1748"/>
                  </a:lnTo>
                  <a:lnTo>
                    <a:pt x="13075" y="1727"/>
                  </a:lnTo>
                  <a:lnTo>
                    <a:pt x="13084" y="1708"/>
                  </a:lnTo>
                  <a:lnTo>
                    <a:pt x="13095" y="1691"/>
                  </a:lnTo>
                  <a:lnTo>
                    <a:pt x="13108" y="1674"/>
                  </a:lnTo>
                  <a:lnTo>
                    <a:pt x="13125" y="1659"/>
                  </a:lnTo>
                  <a:lnTo>
                    <a:pt x="13140" y="1643"/>
                  </a:lnTo>
                  <a:lnTo>
                    <a:pt x="13157" y="1627"/>
                  </a:lnTo>
                  <a:lnTo>
                    <a:pt x="13174" y="1613"/>
                  </a:lnTo>
                  <a:lnTo>
                    <a:pt x="13193" y="1599"/>
                  </a:lnTo>
                  <a:lnTo>
                    <a:pt x="13212" y="1587"/>
                  </a:lnTo>
                  <a:lnTo>
                    <a:pt x="13233" y="1576"/>
                  </a:lnTo>
                  <a:lnTo>
                    <a:pt x="13277" y="1556"/>
                  </a:lnTo>
                  <a:lnTo>
                    <a:pt x="13326" y="1539"/>
                  </a:lnTo>
                  <a:lnTo>
                    <a:pt x="13376" y="1522"/>
                  </a:lnTo>
                  <a:lnTo>
                    <a:pt x="13429" y="1507"/>
                  </a:lnTo>
                  <a:lnTo>
                    <a:pt x="13484" y="1491"/>
                  </a:lnTo>
                  <a:lnTo>
                    <a:pt x="13541" y="1476"/>
                  </a:lnTo>
                  <a:lnTo>
                    <a:pt x="13597" y="1458"/>
                  </a:lnTo>
                  <a:lnTo>
                    <a:pt x="13655" y="1439"/>
                  </a:lnTo>
                  <a:lnTo>
                    <a:pt x="13714" y="1416"/>
                  </a:lnTo>
                  <a:lnTo>
                    <a:pt x="13742" y="1403"/>
                  </a:lnTo>
                  <a:lnTo>
                    <a:pt x="13771" y="1389"/>
                  </a:lnTo>
                  <a:lnTo>
                    <a:pt x="13800" y="1374"/>
                  </a:lnTo>
                  <a:lnTo>
                    <a:pt x="13828" y="1357"/>
                  </a:lnTo>
                  <a:lnTo>
                    <a:pt x="13855" y="1340"/>
                  </a:lnTo>
                  <a:lnTo>
                    <a:pt x="13883" y="1320"/>
                  </a:lnTo>
                  <a:lnTo>
                    <a:pt x="13910" y="1300"/>
                  </a:lnTo>
                  <a:lnTo>
                    <a:pt x="13937" y="1277"/>
                  </a:lnTo>
                  <a:lnTo>
                    <a:pt x="13957" y="1262"/>
                  </a:lnTo>
                  <a:lnTo>
                    <a:pt x="13976" y="1246"/>
                  </a:lnTo>
                  <a:lnTo>
                    <a:pt x="14012" y="1211"/>
                  </a:lnTo>
                  <a:lnTo>
                    <a:pt x="14045" y="1173"/>
                  </a:lnTo>
                  <a:lnTo>
                    <a:pt x="14076" y="1134"/>
                  </a:lnTo>
                  <a:lnTo>
                    <a:pt x="14105" y="1093"/>
                  </a:lnTo>
                  <a:lnTo>
                    <a:pt x="14133" y="1050"/>
                  </a:lnTo>
                  <a:lnTo>
                    <a:pt x="14160" y="1009"/>
                  </a:lnTo>
                  <a:lnTo>
                    <a:pt x="14187" y="969"/>
                  </a:lnTo>
                  <a:lnTo>
                    <a:pt x="14213" y="931"/>
                  </a:lnTo>
                  <a:lnTo>
                    <a:pt x="14240" y="895"/>
                  </a:lnTo>
                  <a:lnTo>
                    <a:pt x="14253" y="878"/>
                  </a:lnTo>
                  <a:lnTo>
                    <a:pt x="14267" y="863"/>
                  </a:lnTo>
                  <a:lnTo>
                    <a:pt x="14282" y="847"/>
                  </a:lnTo>
                  <a:lnTo>
                    <a:pt x="14296" y="834"/>
                  </a:lnTo>
                  <a:lnTo>
                    <a:pt x="14312" y="822"/>
                  </a:lnTo>
                  <a:lnTo>
                    <a:pt x="14327" y="811"/>
                  </a:lnTo>
                  <a:lnTo>
                    <a:pt x="14344" y="801"/>
                  </a:lnTo>
                  <a:lnTo>
                    <a:pt x="14360" y="793"/>
                  </a:lnTo>
                  <a:lnTo>
                    <a:pt x="14379" y="787"/>
                  </a:lnTo>
                  <a:lnTo>
                    <a:pt x="14396" y="782"/>
                  </a:lnTo>
                  <a:lnTo>
                    <a:pt x="14416" y="779"/>
                  </a:lnTo>
                  <a:lnTo>
                    <a:pt x="14436" y="778"/>
                  </a:lnTo>
                  <a:lnTo>
                    <a:pt x="14451" y="779"/>
                  </a:lnTo>
                  <a:lnTo>
                    <a:pt x="14470" y="785"/>
                  </a:lnTo>
                  <a:lnTo>
                    <a:pt x="14489" y="793"/>
                  </a:lnTo>
                  <a:lnTo>
                    <a:pt x="14510" y="805"/>
                  </a:lnTo>
                  <a:lnTo>
                    <a:pt x="14534" y="821"/>
                  </a:lnTo>
                  <a:lnTo>
                    <a:pt x="14557" y="840"/>
                  </a:lnTo>
                  <a:lnTo>
                    <a:pt x="14571" y="851"/>
                  </a:lnTo>
                  <a:lnTo>
                    <a:pt x="14583" y="864"/>
                  </a:lnTo>
                  <a:lnTo>
                    <a:pt x="14597" y="877"/>
                  </a:lnTo>
                  <a:lnTo>
                    <a:pt x="14610" y="892"/>
                  </a:lnTo>
                  <a:lnTo>
                    <a:pt x="14625" y="907"/>
                  </a:lnTo>
                  <a:lnTo>
                    <a:pt x="14638" y="924"/>
                  </a:lnTo>
                  <a:lnTo>
                    <a:pt x="14652" y="942"/>
                  </a:lnTo>
                  <a:lnTo>
                    <a:pt x="14667" y="961"/>
                  </a:lnTo>
                  <a:lnTo>
                    <a:pt x="14681" y="981"/>
                  </a:lnTo>
                  <a:lnTo>
                    <a:pt x="14696" y="1003"/>
                  </a:lnTo>
                  <a:lnTo>
                    <a:pt x="14711" y="1026"/>
                  </a:lnTo>
                  <a:lnTo>
                    <a:pt x="14727" y="1049"/>
                  </a:lnTo>
                  <a:lnTo>
                    <a:pt x="14741" y="1075"/>
                  </a:lnTo>
                  <a:lnTo>
                    <a:pt x="14757" y="1101"/>
                  </a:lnTo>
                  <a:lnTo>
                    <a:pt x="14772" y="1129"/>
                  </a:lnTo>
                  <a:lnTo>
                    <a:pt x="14788" y="1158"/>
                  </a:lnTo>
                  <a:lnTo>
                    <a:pt x="14803" y="1188"/>
                  </a:lnTo>
                  <a:lnTo>
                    <a:pt x="14818" y="1220"/>
                  </a:lnTo>
                  <a:lnTo>
                    <a:pt x="14833" y="1254"/>
                  </a:lnTo>
                  <a:lnTo>
                    <a:pt x="14849" y="1288"/>
                  </a:lnTo>
                  <a:lnTo>
                    <a:pt x="14864" y="1324"/>
                  </a:lnTo>
                  <a:lnTo>
                    <a:pt x="14880" y="1362"/>
                  </a:lnTo>
                  <a:lnTo>
                    <a:pt x="14894" y="1402"/>
                  </a:lnTo>
                  <a:lnTo>
                    <a:pt x="14909" y="1442"/>
                  </a:lnTo>
                  <a:lnTo>
                    <a:pt x="14925" y="1484"/>
                  </a:lnTo>
                  <a:lnTo>
                    <a:pt x="14939" y="1527"/>
                  </a:lnTo>
                  <a:lnTo>
                    <a:pt x="14954" y="1573"/>
                  </a:lnTo>
                  <a:lnTo>
                    <a:pt x="14968" y="1620"/>
                  </a:lnTo>
                  <a:lnTo>
                    <a:pt x="14983" y="1668"/>
                  </a:lnTo>
                  <a:lnTo>
                    <a:pt x="14997" y="1718"/>
                  </a:lnTo>
                  <a:lnTo>
                    <a:pt x="15011" y="1770"/>
                  </a:lnTo>
                  <a:lnTo>
                    <a:pt x="15024" y="1823"/>
                  </a:lnTo>
                  <a:lnTo>
                    <a:pt x="15037" y="1878"/>
                  </a:lnTo>
                  <a:lnTo>
                    <a:pt x="15051" y="1935"/>
                  </a:lnTo>
                  <a:lnTo>
                    <a:pt x="15063" y="1994"/>
                  </a:lnTo>
                  <a:lnTo>
                    <a:pt x="15076" y="2054"/>
                  </a:lnTo>
                  <a:lnTo>
                    <a:pt x="15088" y="2115"/>
                  </a:lnTo>
                  <a:lnTo>
                    <a:pt x="15099" y="2179"/>
                  </a:lnTo>
                  <a:lnTo>
                    <a:pt x="15111" y="2245"/>
                  </a:lnTo>
                  <a:lnTo>
                    <a:pt x="15121" y="2312"/>
                  </a:lnTo>
                  <a:lnTo>
                    <a:pt x="15132" y="2381"/>
                  </a:lnTo>
                  <a:lnTo>
                    <a:pt x="15142" y="2452"/>
                  </a:lnTo>
                  <a:lnTo>
                    <a:pt x="15152" y="2525"/>
                  </a:lnTo>
                  <a:lnTo>
                    <a:pt x="15161" y="2600"/>
                  </a:lnTo>
                  <a:lnTo>
                    <a:pt x="15170" y="2678"/>
                  </a:lnTo>
                  <a:lnTo>
                    <a:pt x="15178" y="2756"/>
                  </a:lnTo>
                  <a:lnTo>
                    <a:pt x="15185" y="2837"/>
                  </a:lnTo>
                  <a:lnTo>
                    <a:pt x="15192" y="2920"/>
                  </a:lnTo>
                  <a:lnTo>
                    <a:pt x="15199" y="3004"/>
                  </a:lnTo>
                  <a:lnTo>
                    <a:pt x="15205" y="3092"/>
                  </a:lnTo>
                  <a:lnTo>
                    <a:pt x="15210" y="3180"/>
                  </a:lnTo>
                  <a:lnTo>
                    <a:pt x="15215" y="3271"/>
                  </a:lnTo>
                  <a:lnTo>
                    <a:pt x="15218" y="3383"/>
                  </a:lnTo>
                  <a:lnTo>
                    <a:pt x="15219" y="3494"/>
                  </a:lnTo>
                  <a:lnTo>
                    <a:pt x="15219" y="3602"/>
                  </a:lnTo>
                  <a:lnTo>
                    <a:pt x="15217" y="3709"/>
                  </a:lnTo>
                  <a:lnTo>
                    <a:pt x="15212" y="3814"/>
                  </a:lnTo>
                  <a:lnTo>
                    <a:pt x="15206" y="3917"/>
                  </a:lnTo>
                  <a:lnTo>
                    <a:pt x="15199" y="4019"/>
                  </a:lnTo>
                  <a:lnTo>
                    <a:pt x="15188" y="4120"/>
                  </a:lnTo>
                  <a:lnTo>
                    <a:pt x="15177" y="4219"/>
                  </a:lnTo>
                  <a:lnTo>
                    <a:pt x="15164" y="4316"/>
                  </a:lnTo>
                  <a:lnTo>
                    <a:pt x="15149" y="4411"/>
                  </a:lnTo>
                  <a:lnTo>
                    <a:pt x="15133" y="4505"/>
                  </a:lnTo>
                  <a:lnTo>
                    <a:pt x="15115" y="4597"/>
                  </a:lnTo>
                  <a:lnTo>
                    <a:pt x="15095" y="4687"/>
                  </a:lnTo>
                  <a:lnTo>
                    <a:pt x="15075" y="4776"/>
                  </a:lnTo>
                  <a:lnTo>
                    <a:pt x="15052" y="4864"/>
                  </a:lnTo>
                  <a:lnTo>
                    <a:pt x="15028" y="4949"/>
                  </a:lnTo>
                  <a:lnTo>
                    <a:pt x="15003" y="5033"/>
                  </a:lnTo>
                  <a:lnTo>
                    <a:pt x="14977" y="5115"/>
                  </a:lnTo>
                  <a:lnTo>
                    <a:pt x="14949" y="5196"/>
                  </a:lnTo>
                  <a:lnTo>
                    <a:pt x="14919" y="5274"/>
                  </a:lnTo>
                  <a:lnTo>
                    <a:pt x="14889" y="5352"/>
                  </a:lnTo>
                  <a:lnTo>
                    <a:pt x="14857" y="5427"/>
                  </a:lnTo>
                  <a:lnTo>
                    <a:pt x="14824" y="5501"/>
                  </a:lnTo>
                  <a:lnTo>
                    <a:pt x="14790" y="5573"/>
                  </a:lnTo>
                  <a:lnTo>
                    <a:pt x="14755" y="5643"/>
                  </a:lnTo>
                  <a:lnTo>
                    <a:pt x="14718" y="5712"/>
                  </a:lnTo>
                  <a:lnTo>
                    <a:pt x="14680" y="5779"/>
                  </a:lnTo>
                  <a:lnTo>
                    <a:pt x="14642" y="5844"/>
                  </a:lnTo>
                  <a:lnTo>
                    <a:pt x="14603" y="5908"/>
                  </a:lnTo>
                  <a:lnTo>
                    <a:pt x="14563" y="5970"/>
                  </a:lnTo>
                  <a:lnTo>
                    <a:pt x="14521" y="6030"/>
                  </a:lnTo>
                  <a:lnTo>
                    <a:pt x="14479" y="6087"/>
                  </a:lnTo>
                  <a:lnTo>
                    <a:pt x="14437" y="6144"/>
                  </a:lnTo>
                  <a:lnTo>
                    <a:pt x="14393" y="6199"/>
                  </a:lnTo>
                  <a:lnTo>
                    <a:pt x="14349" y="6252"/>
                  </a:lnTo>
                  <a:lnTo>
                    <a:pt x="14304" y="6304"/>
                  </a:lnTo>
                  <a:lnTo>
                    <a:pt x="14257" y="6353"/>
                  </a:lnTo>
                  <a:lnTo>
                    <a:pt x="14211" y="6400"/>
                  </a:lnTo>
                  <a:lnTo>
                    <a:pt x="14164" y="6447"/>
                  </a:lnTo>
                  <a:lnTo>
                    <a:pt x="14116" y="6491"/>
                  </a:lnTo>
                  <a:lnTo>
                    <a:pt x="14068" y="6533"/>
                  </a:lnTo>
                  <a:lnTo>
                    <a:pt x="14019" y="6574"/>
                  </a:lnTo>
                  <a:lnTo>
                    <a:pt x="13970" y="6614"/>
                  </a:lnTo>
                  <a:lnTo>
                    <a:pt x="13921" y="6651"/>
                  </a:lnTo>
                  <a:lnTo>
                    <a:pt x="13870" y="6686"/>
                  </a:lnTo>
                  <a:lnTo>
                    <a:pt x="13819" y="6720"/>
                  </a:lnTo>
                  <a:lnTo>
                    <a:pt x="13769" y="6751"/>
                  </a:lnTo>
                  <a:lnTo>
                    <a:pt x="13718" y="6781"/>
                  </a:lnTo>
                  <a:lnTo>
                    <a:pt x="13667" y="6809"/>
                  </a:lnTo>
                  <a:lnTo>
                    <a:pt x="13615" y="6835"/>
                  </a:lnTo>
                  <a:lnTo>
                    <a:pt x="13563" y="6860"/>
                  </a:lnTo>
                  <a:lnTo>
                    <a:pt x="13511" y="6882"/>
                  </a:lnTo>
                  <a:lnTo>
                    <a:pt x="13459" y="6904"/>
                  </a:lnTo>
                  <a:lnTo>
                    <a:pt x="13407" y="6923"/>
                  </a:lnTo>
                  <a:lnTo>
                    <a:pt x="13355" y="6940"/>
                  </a:lnTo>
                  <a:lnTo>
                    <a:pt x="13302" y="6956"/>
                  </a:lnTo>
                  <a:lnTo>
                    <a:pt x="13251" y="6969"/>
                  </a:lnTo>
                  <a:lnTo>
                    <a:pt x="13198" y="6980"/>
                  </a:lnTo>
                  <a:lnTo>
                    <a:pt x="13146" y="6991"/>
                  </a:lnTo>
                  <a:lnTo>
                    <a:pt x="13095" y="6998"/>
                  </a:lnTo>
                  <a:lnTo>
                    <a:pt x="13043" y="7004"/>
                  </a:lnTo>
                  <a:lnTo>
                    <a:pt x="12991" y="7008"/>
                  </a:lnTo>
                  <a:lnTo>
                    <a:pt x="12940" y="7011"/>
                  </a:lnTo>
                  <a:lnTo>
                    <a:pt x="12846" y="7011"/>
                  </a:lnTo>
                  <a:lnTo>
                    <a:pt x="12763" y="7010"/>
                  </a:lnTo>
                  <a:lnTo>
                    <a:pt x="12683" y="7007"/>
                  </a:lnTo>
                  <a:lnTo>
                    <a:pt x="12602" y="7003"/>
                  </a:lnTo>
                  <a:lnTo>
                    <a:pt x="12524" y="6997"/>
                  </a:lnTo>
                  <a:lnTo>
                    <a:pt x="12446" y="6990"/>
                  </a:lnTo>
                  <a:lnTo>
                    <a:pt x="12370" y="6980"/>
                  </a:lnTo>
                  <a:lnTo>
                    <a:pt x="12296" y="6970"/>
                  </a:lnTo>
                  <a:lnTo>
                    <a:pt x="12222" y="6958"/>
                  </a:lnTo>
                  <a:lnTo>
                    <a:pt x="12150" y="6944"/>
                  </a:lnTo>
                  <a:lnTo>
                    <a:pt x="12080" y="6929"/>
                  </a:lnTo>
                  <a:lnTo>
                    <a:pt x="12011" y="6913"/>
                  </a:lnTo>
                  <a:lnTo>
                    <a:pt x="11943" y="6896"/>
                  </a:lnTo>
                  <a:lnTo>
                    <a:pt x="11875" y="6877"/>
                  </a:lnTo>
                  <a:lnTo>
                    <a:pt x="11810" y="6858"/>
                  </a:lnTo>
                  <a:lnTo>
                    <a:pt x="11745" y="6838"/>
                  </a:lnTo>
                  <a:lnTo>
                    <a:pt x="11683" y="6816"/>
                  </a:lnTo>
                  <a:lnTo>
                    <a:pt x="11622" y="6794"/>
                  </a:lnTo>
                  <a:lnTo>
                    <a:pt x="11562" y="6770"/>
                  </a:lnTo>
                  <a:lnTo>
                    <a:pt x="11503" y="6746"/>
                  </a:lnTo>
                  <a:lnTo>
                    <a:pt x="11445" y="6722"/>
                  </a:lnTo>
                  <a:lnTo>
                    <a:pt x="11388" y="6696"/>
                  </a:lnTo>
                  <a:lnTo>
                    <a:pt x="11334" y="6670"/>
                  </a:lnTo>
                  <a:lnTo>
                    <a:pt x="11280" y="6643"/>
                  </a:lnTo>
                  <a:lnTo>
                    <a:pt x="11227" y="6617"/>
                  </a:lnTo>
                  <a:lnTo>
                    <a:pt x="11177" y="6589"/>
                  </a:lnTo>
                  <a:lnTo>
                    <a:pt x="11127" y="6561"/>
                  </a:lnTo>
                  <a:lnTo>
                    <a:pt x="11079" y="6532"/>
                  </a:lnTo>
                  <a:lnTo>
                    <a:pt x="11031" y="6504"/>
                  </a:lnTo>
                  <a:lnTo>
                    <a:pt x="10986" y="6476"/>
                  </a:lnTo>
                  <a:lnTo>
                    <a:pt x="10941" y="6446"/>
                  </a:lnTo>
                  <a:lnTo>
                    <a:pt x="10898" y="6417"/>
                  </a:lnTo>
                  <a:lnTo>
                    <a:pt x="10856" y="6388"/>
                  </a:lnTo>
                  <a:lnTo>
                    <a:pt x="10815" y="6358"/>
                  </a:lnTo>
                  <a:lnTo>
                    <a:pt x="10776" y="6329"/>
                  </a:lnTo>
                  <a:lnTo>
                    <a:pt x="10738" y="6300"/>
                  </a:lnTo>
                  <a:lnTo>
                    <a:pt x="10701" y="6272"/>
                  </a:lnTo>
                  <a:lnTo>
                    <a:pt x="10666" y="6243"/>
                  </a:lnTo>
                  <a:lnTo>
                    <a:pt x="10632" y="6215"/>
                  </a:lnTo>
                  <a:lnTo>
                    <a:pt x="10599" y="6186"/>
                  </a:lnTo>
                  <a:lnTo>
                    <a:pt x="10568" y="6159"/>
                  </a:lnTo>
                  <a:lnTo>
                    <a:pt x="10537" y="6131"/>
                  </a:lnTo>
                  <a:lnTo>
                    <a:pt x="10508" y="6105"/>
                  </a:lnTo>
                  <a:lnTo>
                    <a:pt x="10480" y="6079"/>
                  </a:lnTo>
                  <a:lnTo>
                    <a:pt x="10454" y="6053"/>
                  </a:lnTo>
                  <a:lnTo>
                    <a:pt x="10429" y="6028"/>
                  </a:lnTo>
                  <a:lnTo>
                    <a:pt x="10405" y="6005"/>
                  </a:lnTo>
                  <a:lnTo>
                    <a:pt x="10383" y="5982"/>
                  </a:lnTo>
                  <a:lnTo>
                    <a:pt x="10361" y="5959"/>
                  </a:lnTo>
                  <a:lnTo>
                    <a:pt x="10341" y="5938"/>
                  </a:lnTo>
                  <a:lnTo>
                    <a:pt x="10323" y="5917"/>
                  </a:lnTo>
                  <a:lnTo>
                    <a:pt x="10305" y="5898"/>
                  </a:lnTo>
                  <a:lnTo>
                    <a:pt x="10290" y="5879"/>
                  </a:lnTo>
                  <a:lnTo>
                    <a:pt x="10274" y="5863"/>
                  </a:lnTo>
                  <a:lnTo>
                    <a:pt x="10261" y="5846"/>
                  </a:lnTo>
                  <a:lnTo>
                    <a:pt x="10250" y="5832"/>
                  </a:lnTo>
                  <a:lnTo>
                    <a:pt x="10238" y="5818"/>
                  </a:lnTo>
                  <a:lnTo>
                    <a:pt x="10229" y="5806"/>
                  </a:lnTo>
                  <a:lnTo>
                    <a:pt x="10221" y="5796"/>
                  </a:lnTo>
                  <a:lnTo>
                    <a:pt x="10213" y="5786"/>
                  </a:lnTo>
                  <a:lnTo>
                    <a:pt x="10207" y="5778"/>
                  </a:lnTo>
                  <a:lnTo>
                    <a:pt x="10203" y="5773"/>
                  </a:lnTo>
                  <a:lnTo>
                    <a:pt x="10200" y="5768"/>
                  </a:lnTo>
                  <a:lnTo>
                    <a:pt x="10198" y="5766"/>
                  </a:lnTo>
                  <a:lnTo>
                    <a:pt x="10197" y="5765"/>
                  </a:lnTo>
                  <a:lnTo>
                    <a:pt x="10197" y="5766"/>
                  </a:lnTo>
                  <a:lnTo>
                    <a:pt x="10197" y="5770"/>
                  </a:lnTo>
                  <a:lnTo>
                    <a:pt x="10196" y="5776"/>
                  </a:lnTo>
                  <a:lnTo>
                    <a:pt x="10194" y="5785"/>
                  </a:lnTo>
                  <a:lnTo>
                    <a:pt x="10193" y="5797"/>
                  </a:lnTo>
                  <a:lnTo>
                    <a:pt x="10191" y="5810"/>
                  </a:lnTo>
                  <a:lnTo>
                    <a:pt x="10189" y="5826"/>
                  </a:lnTo>
                  <a:lnTo>
                    <a:pt x="10187" y="5844"/>
                  </a:lnTo>
                  <a:lnTo>
                    <a:pt x="10185" y="5864"/>
                  </a:lnTo>
                  <a:lnTo>
                    <a:pt x="10182" y="5885"/>
                  </a:lnTo>
                  <a:lnTo>
                    <a:pt x="10179" y="5909"/>
                  </a:lnTo>
                  <a:lnTo>
                    <a:pt x="10177" y="5935"/>
                  </a:lnTo>
                  <a:lnTo>
                    <a:pt x="10175" y="5963"/>
                  </a:lnTo>
                  <a:lnTo>
                    <a:pt x="10172" y="5991"/>
                  </a:lnTo>
                  <a:lnTo>
                    <a:pt x="10170" y="6021"/>
                  </a:lnTo>
                  <a:lnTo>
                    <a:pt x="10168" y="6053"/>
                  </a:lnTo>
                  <a:lnTo>
                    <a:pt x="10165" y="6086"/>
                  </a:lnTo>
                  <a:lnTo>
                    <a:pt x="10163" y="6121"/>
                  </a:lnTo>
                  <a:lnTo>
                    <a:pt x="10162" y="6157"/>
                  </a:lnTo>
                  <a:lnTo>
                    <a:pt x="10160" y="6194"/>
                  </a:lnTo>
                  <a:lnTo>
                    <a:pt x="10159" y="6231"/>
                  </a:lnTo>
                  <a:lnTo>
                    <a:pt x="10158" y="6271"/>
                  </a:lnTo>
                  <a:lnTo>
                    <a:pt x="10157" y="6351"/>
                  </a:lnTo>
                  <a:lnTo>
                    <a:pt x="10157" y="6434"/>
                  </a:lnTo>
                  <a:lnTo>
                    <a:pt x="10159" y="6520"/>
                  </a:lnTo>
                  <a:lnTo>
                    <a:pt x="10163" y="6607"/>
                  </a:lnTo>
                  <a:lnTo>
                    <a:pt x="10170" y="6696"/>
                  </a:lnTo>
                  <a:lnTo>
                    <a:pt x="10179" y="6784"/>
                  </a:lnTo>
                  <a:lnTo>
                    <a:pt x="10192" y="6872"/>
                  </a:lnTo>
                  <a:lnTo>
                    <a:pt x="10207" y="6959"/>
                  </a:lnTo>
                  <a:lnTo>
                    <a:pt x="10226" y="7044"/>
                  </a:lnTo>
                  <a:lnTo>
                    <a:pt x="10249" y="7128"/>
                  </a:lnTo>
                  <a:lnTo>
                    <a:pt x="10262" y="7168"/>
                  </a:lnTo>
                  <a:lnTo>
                    <a:pt x="10275" y="7207"/>
                  </a:lnTo>
                  <a:lnTo>
                    <a:pt x="10291" y="7246"/>
                  </a:lnTo>
                  <a:lnTo>
                    <a:pt x="10306" y="7283"/>
                  </a:lnTo>
                  <a:lnTo>
                    <a:pt x="10324" y="7320"/>
                  </a:lnTo>
                  <a:lnTo>
                    <a:pt x="10342" y="7355"/>
                  </a:lnTo>
                  <a:lnTo>
                    <a:pt x="10361" y="7389"/>
                  </a:lnTo>
                  <a:lnTo>
                    <a:pt x="10383" y="7422"/>
                  </a:lnTo>
                  <a:lnTo>
                    <a:pt x="10404" y="7454"/>
                  </a:lnTo>
                  <a:lnTo>
                    <a:pt x="10427" y="7484"/>
                  </a:lnTo>
                  <a:lnTo>
                    <a:pt x="10452" y="7512"/>
                  </a:lnTo>
                  <a:lnTo>
                    <a:pt x="10478" y="7539"/>
                  </a:lnTo>
                  <a:lnTo>
                    <a:pt x="10506" y="7564"/>
                  </a:lnTo>
                  <a:lnTo>
                    <a:pt x="10535" y="7587"/>
                  </a:lnTo>
                  <a:lnTo>
                    <a:pt x="10564" y="7609"/>
                  </a:lnTo>
                  <a:lnTo>
                    <a:pt x="10596" y="7627"/>
                  </a:lnTo>
                  <a:lnTo>
                    <a:pt x="10629" y="7645"/>
                  </a:lnTo>
                  <a:lnTo>
                    <a:pt x="10665" y="7660"/>
                  </a:lnTo>
                  <a:lnTo>
                    <a:pt x="10702" y="7672"/>
                  </a:lnTo>
                  <a:lnTo>
                    <a:pt x="10740" y="7683"/>
                  </a:lnTo>
                  <a:lnTo>
                    <a:pt x="10779" y="7691"/>
                  </a:lnTo>
                  <a:lnTo>
                    <a:pt x="10820" y="7697"/>
                  </a:lnTo>
                  <a:lnTo>
                    <a:pt x="10882" y="7697"/>
                  </a:lnTo>
                  <a:lnTo>
                    <a:pt x="10923" y="7695"/>
                  </a:lnTo>
                  <a:lnTo>
                    <a:pt x="10962" y="7690"/>
                  </a:lnTo>
                  <a:lnTo>
                    <a:pt x="11000" y="7683"/>
                  </a:lnTo>
                  <a:lnTo>
                    <a:pt x="11037" y="7671"/>
                  </a:lnTo>
                  <a:lnTo>
                    <a:pt x="11073" y="7658"/>
                  </a:lnTo>
                  <a:lnTo>
                    <a:pt x="11108" y="7643"/>
                  </a:lnTo>
                  <a:lnTo>
                    <a:pt x="11142" y="7624"/>
                  </a:lnTo>
                  <a:lnTo>
                    <a:pt x="11175" y="7604"/>
                  </a:lnTo>
                  <a:lnTo>
                    <a:pt x="11206" y="7583"/>
                  </a:lnTo>
                  <a:lnTo>
                    <a:pt x="11235" y="7559"/>
                  </a:lnTo>
                  <a:lnTo>
                    <a:pt x="11264" y="7535"/>
                  </a:lnTo>
                  <a:lnTo>
                    <a:pt x="11291" y="7510"/>
                  </a:lnTo>
                  <a:lnTo>
                    <a:pt x="11318" y="7483"/>
                  </a:lnTo>
                  <a:lnTo>
                    <a:pt x="11343" y="7456"/>
                  </a:lnTo>
                  <a:lnTo>
                    <a:pt x="11367" y="7428"/>
                  </a:lnTo>
                  <a:lnTo>
                    <a:pt x="11389" y="7401"/>
                  </a:lnTo>
                  <a:lnTo>
                    <a:pt x="11411" y="7373"/>
                  </a:lnTo>
                  <a:lnTo>
                    <a:pt x="11431" y="7346"/>
                  </a:lnTo>
                  <a:lnTo>
                    <a:pt x="11449" y="7318"/>
                  </a:lnTo>
                  <a:lnTo>
                    <a:pt x="11467" y="7292"/>
                  </a:lnTo>
                  <a:lnTo>
                    <a:pt x="11483" y="7267"/>
                  </a:lnTo>
                  <a:lnTo>
                    <a:pt x="11498" y="7242"/>
                  </a:lnTo>
                  <a:lnTo>
                    <a:pt x="11511" y="7219"/>
                  </a:lnTo>
                  <a:lnTo>
                    <a:pt x="11522" y="7198"/>
                  </a:lnTo>
                  <a:lnTo>
                    <a:pt x="11534" y="7177"/>
                  </a:lnTo>
                  <a:lnTo>
                    <a:pt x="11543" y="7159"/>
                  </a:lnTo>
                  <a:lnTo>
                    <a:pt x="11550" y="7144"/>
                  </a:lnTo>
                  <a:lnTo>
                    <a:pt x="11558" y="7130"/>
                  </a:lnTo>
                  <a:lnTo>
                    <a:pt x="11562" y="7119"/>
                  </a:lnTo>
                  <a:lnTo>
                    <a:pt x="11566" y="7111"/>
                  </a:lnTo>
                  <a:lnTo>
                    <a:pt x="11568" y="7106"/>
                  </a:lnTo>
                  <a:lnTo>
                    <a:pt x="11569" y="7105"/>
                  </a:lnTo>
                  <a:lnTo>
                    <a:pt x="11724" y="7136"/>
                  </a:lnTo>
                  <a:lnTo>
                    <a:pt x="11724" y="7136"/>
                  </a:lnTo>
                  <a:lnTo>
                    <a:pt x="11724" y="7138"/>
                  </a:lnTo>
                  <a:lnTo>
                    <a:pt x="11723" y="7142"/>
                  </a:lnTo>
                  <a:lnTo>
                    <a:pt x="11721" y="7146"/>
                  </a:lnTo>
                  <a:lnTo>
                    <a:pt x="11720" y="7152"/>
                  </a:lnTo>
                  <a:lnTo>
                    <a:pt x="11718" y="7158"/>
                  </a:lnTo>
                  <a:lnTo>
                    <a:pt x="11714" y="7167"/>
                  </a:lnTo>
                  <a:lnTo>
                    <a:pt x="11712" y="7176"/>
                  </a:lnTo>
                  <a:lnTo>
                    <a:pt x="11705" y="7197"/>
                  </a:lnTo>
                  <a:lnTo>
                    <a:pt x="11696" y="7222"/>
                  </a:lnTo>
                  <a:lnTo>
                    <a:pt x="11686" y="7250"/>
                  </a:lnTo>
                  <a:lnTo>
                    <a:pt x="11674" y="7282"/>
                  </a:lnTo>
                  <a:lnTo>
                    <a:pt x="11660" y="7316"/>
                  </a:lnTo>
                  <a:lnTo>
                    <a:pt x="11644" y="7352"/>
                  </a:lnTo>
                  <a:lnTo>
                    <a:pt x="11627" y="7391"/>
                  </a:lnTo>
                  <a:lnTo>
                    <a:pt x="11607" y="7431"/>
                  </a:lnTo>
                  <a:lnTo>
                    <a:pt x="11586" y="7474"/>
                  </a:lnTo>
                  <a:lnTo>
                    <a:pt x="11563" y="7516"/>
                  </a:lnTo>
                  <a:lnTo>
                    <a:pt x="11538" y="7559"/>
                  </a:lnTo>
                  <a:lnTo>
                    <a:pt x="11510" y="7603"/>
                  </a:lnTo>
                  <a:lnTo>
                    <a:pt x="11480" y="7647"/>
                  </a:lnTo>
                  <a:lnTo>
                    <a:pt x="11449" y="7690"/>
                  </a:lnTo>
                  <a:lnTo>
                    <a:pt x="11415" y="7733"/>
                  </a:lnTo>
                  <a:lnTo>
                    <a:pt x="11379" y="7774"/>
                  </a:lnTo>
                  <a:lnTo>
                    <a:pt x="11341" y="7816"/>
                  </a:lnTo>
                  <a:lnTo>
                    <a:pt x="11299" y="7854"/>
                  </a:lnTo>
                  <a:lnTo>
                    <a:pt x="11257" y="7891"/>
                  </a:lnTo>
                  <a:lnTo>
                    <a:pt x="11212" y="7925"/>
                  </a:lnTo>
                  <a:lnTo>
                    <a:pt x="11164" y="7956"/>
                  </a:lnTo>
                  <a:lnTo>
                    <a:pt x="11114" y="7985"/>
                  </a:lnTo>
                  <a:lnTo>
                    <a:pt x="11061" y="8009"/>
                  </a:lnTo>
                  <a:lnTo>
                    <a:pt x="11005" y="8031"/>
                  </a:lnTo>
                  <a:lnTo>
                    <a:pt x="10977" y="8040"/>
                  </a:lnTo>
                  <a:lnTo>
                    <a:pt x="10947" y="8047"/>
                  </a:lnTo>
                  <a:lnTo>
                    <a:pt x="10917" y="8055"/>
                  </a:lnTo>
                  <a:lnTo>
                    <a:pt x="10888" y="8061"/>
                  </a:lnTo>
                  <a:lnTo>
                    <a:pt x="10856" y="8065"/>
                  </a:lnTo>
                  <a:lnTo>
                    <a:pt x="10824" y="8068"/>
                  </a:lnTo>
                  <a:lnTo>
                    <a:pt x="10792" y="8070"/>
                  </a:lnTo>
                  <a:lnTo>
                    <a:pt x="10759" y="8071"/>
                  </a:lnTo>
                  <a:lnTo>
                    <a:pt x="10711" y="8069"/>
                  </a:lnTo>
                  <a:lnTo>
                    <a:pt x="10665" y="8065"/>
                  </a:lnTo>
                  <a:lnTo>
                    <a:pt x="10618" y="8058"/>
                  </a:lnTo>
                  <a:lnTo>
                    <a:pt x="10572" y="8047"/>
                  </a:lnTo>
                  <a:lnTo>
                    <a:pt x="10524" y="8034"/>
                  </a:lnTo>
                  <a:lnTo>
                    <a:pt x="10478" y="8019"/>
                  </a:lnTo>
                  <a:lnTo>
                    <a:pt x="10431" y="7999"/>
                  </a:lnTo>
                  <a:lnTo>
                    <a:pt x="10384" y="7977"/>
                  </a:lnTo>
                  <a:lnTo>
                    <a:pt x="10331" y="7952"/>
                  </a:lnTo>
                  <a:lnTo>
                    <a:pt x="10276" y="7924"/>
                  </a:lnTo>
                  <a:lnTo>
                    <a:pt x="10222" y="7892"/>
                  </a:lnTo>
                  <a:lnTo>
                    <a:pt x="10166" y="7857"/>
                  </a:lnTo>
                  <a:lnTo>
                    <a:pt x="10109" y="7821"/>
                  </a:lnTo>
                  <a:lnTo>
                    <a:pt x="10053" y="7781"/>
                  </a:lnTo>
                  <a:lnTo>
                    <a:pt x="9999" y="7739"/>
                  </a:lnTo>
                  <a:lnTo>
                    <a:pt x="9944" y="7696"/>
                  </a:lnTo>
                  <a:lnTo>
                    <a:pt x="9890" y="7652"/>
                  </a:lnTo>
                  <a:lnTo>
                    <a:pt x="9839" y="7607"/>
                  </a:lnTo>
                  <a:lnTo>
                    <a:pt x="9788" y="7560"/>
                  </a:lnTo>
                  <a:lnTo>
                    <a:pt x="9740" y="7513"/>
                  </a:lnTo>
                  <a:lnTo>
                    <a:pt x="9694" y="7465"/>
                  </a:lnTo>
                  <a:lnTo>
                    <a:pt x="9651" y="7417"/>
                  </a:lnTo>
                  <a:lnTo>
                    <a:pt x="9611" y="7370"/>
                  </a:lnTo>
                  <a:lnTo>
                    <a:pt x="9573" y="7323"/>
                  </a:lnTo>
                  <a:lnTo>
                    <a:pt x="9524" y="7310"/>
                  </a:lnTo>
                  <a:lnTo>
                    <a:pt x="9475" y="7295"/>
                  </a:lnTo>
                  <a:lnTo>
                    <a:pt x="9426" y="7279"/>
                  </a:lnTo>
                  <a:lnTo>
                    <a:pt x="9377" y="7260"/>
                  </a:lnTo>
                  <a:lnTo>
                    <a:pt x="9330" y="7241"/>
                  </a:lnTo>
                  <a:lnTo>
                    <a:pt x="9282" y="7219"/>
                  </a:lnTo>
                  <a:lnTo>
                    <a:pt x="9236" y="7197"/>
                  </a:lnTo>
                  <a:lnTo>
                    <a:pt x="9189" y="7173"/>
                  </a:lnTo>
                  <a:lnTo>
                    <a:pt x="9145" y="7148"/>
                  </a:lnTo>
                  <a:lnTo>
                    <a:pt x="9101" y="7123"/>
                  </a:lnTo>
                  <a:lnTo>
                    <a:pt x="9057" y="7098"/>
                  </a:lnTo>
                  <a:lnTo>
                    <a:pt x="9016" y="7071"/>
                  </a:lnTo>
                  <a:lnTo>
                    <a:pt x="8975" y="7044"/>
                  </a:lnTo>
                  <a:lnTo>
                    <a:pt x="8935" y="7017"/>
                  </a:lnTo>
                  <a:lnTo>
                    <a:pt x="8897" y="6991"/>
                  </a:lnTo>
                  <a:lnTo>
                    <a:pt x="8861" y="6965"/>
                  </a:lnTo>
                  <a:lnTo>
                    <a:pt x="8826" y="6938"/>
                  </a:lnTo>
                  <a:lnTo>
                    <a:pt x="8793" y="6912"/>
                  </a:lnTo>
                  <a:lnTo>
                    <a:pt x="8761" y="6888"/>
                  </a:lnTo>
                  <a:lnTo>
                    <a:pt x="8731" y="6864"/>
                  </a:lnTo>
                  <a:lnTo>
                    <a:pt x="8703" y="6841"/>
                  </a:lnTo>
                  <a:lnTo>
                    <a:pt x="8677" y="6819"/>
                  </a:lnTo>
                  <a:lnTo>
                    <a:pt x="8654" y="6798"/>
                  </a:lnTo>
                  <a:lnTo>
                    <a:pt x="8632" y="6779"/>
                  </a:lnTo>
                  <a:lnTo>
                    <a:pt x="8612" y="6762"/>
                  </a:lnTo>
                  <a:lnTo>
                    <a:pt x="8595" y="6746"/>
                  </a:lnTo>
                  <a:lnTo>
                    <a:pt x="8580" y="6733"/>
                  </a:lnTo>
                  <a:lnTo>
                    <a:pt x="8568" y="6721"/>
                  </a:lnTo>
                  <a:lnTo>
                    <a:pt x="8559" y="6711"/>
                  </a:lnTo>
                  <a:lnTo>
                    <a:pt x="8551" y="6705"/>
                  </a:lnTo>
                  <a:lnTo>
                    <a:pt x="8547" y="6701"/>
                  </a:lnTo>
                  <a:lnTo>
                    <a:pt x="8545" y="6699"/>
                  </a:lnTo>
                  <a:lnTo>
                    <a:pt x="8546" y="6701"/>
                  </a:lnTo>
                  <a:lnTo>
                    <a:pt x="8547" y="6706"/>
                  </a:lnTo>
                  <a:lnTo>
                    <a:pt x="8549" y="6716"/>
                  </a:lnTo>
                  <a:lnTo>
                    <a:pt x="8553" y="6728"/>
                  </a:lnTo>
                  <a:lnTo>
                    <a:pt x="8559" y="6743"/>
                  </a:lnTo>
                  <a:lnTo>
                    <a:pt x="8565" y="6762"/>
                  </a:lnTo>
                  <a:lnTo>
                    <a:pt x="8574" y="6784"/>
                  </a:lnTo>
                  <a:lnTo>
                    <a:pt x="8584" y="6808"/>
                  </a:lnTo>
                  <a:lnTo>
                    <a:pt x="8597" y="6836"/>
                  </a:lnTo>
                  <a:lnTo>
                    <a:pt x="8612" y="6867"/>
                  </a:lnTo>
                  <a:lnTo>
                    <a:pt x="8630" y="6900"/>
                  </a:lnTo>
                  <a:lnTo>
                    <a:pt x="8651" y="6936"/>
                  </a:lnTo>
                  <a:lnTo>
                    <a:pt x="8674" y="6975"/>
                  </a:lnTo>
                  <a:lnTo>
                    <a:pt x="8701" y="7015"/>
                  </a:lnTo>
                  <a:lnTo>
                    <a:pt x="8730" y="7059"/>
                  </a:lnTo>
                  <a:lnTo>
                    <a:pt x="8764" y="7105"/>
                  </a:lnTo>
                  <a:lnTo>
                    <a:pt x="8812" y="7163"/>
                  </a:lnTo>
                  <a:lnTo>
                    <a:pt x="8862" y="7218"/>
                  </a:lnTo>
                  <a:lnTo>
                    <a:pt x="8914" y="7272"/>
                  </a:lnTo>
                  <a:lnTo>
                    <a:pt x="8966" y="7323"/>
                  </a:lnTo>
                  <a:lnTo>
                    <a:pt x="9019" y="7373"/>
                  </a:lnTo>
                  <a:lnTo>
                    <a:pt x="9071" y="7419"/>
                  </a:lnTo>
                  <a:lnTo>
                    <a:pt x="9121" y="7462"/>
                  </a:lnTo>
                  <a:lnTo>
                    <a:pt x="9169" y="7501"/>
                  </a:lnTo>
                  <a:lnTo>
                    <a:pt x="9214" y="7539"/>
                  </a:lnTo>
                  <a:lnTo>
                    <a:pt x="9235" y="7555"/>
                  </a:lnTo>
                  <a:lnTo>
                    <a:pt x="9255" y="7570"/>
                  </a:lnTo>
                  <a:lnTo>
                    <a:pt x="9275" y="7585"/>
                  </a:lnTo>
                  <a:lnTo>
                    <a:pt x="9293" y="7598"/>
                  </a:lnTo>
                  <a:lnTo>
                    <a:pt x="9309" y="7611"/>
                  </a:lnTo>
                  <a:lnTo>
                    <a:pt x="9325" y="7622"/>
                  </a:lnTo>
                  <a:lnTo>
                    <a:pt x="9338" y="7631"/>
                  </a:lnTo>
                  <a:lnTo>
                    <a:pt x="9350" y="7641"/>
                  </a:lnTo>
                  <a:lnTo>
                    <a:pt x="9362" y="7648"/>
                  </a:lnTo>
                  <a:lnTo>
                    <a:pt x="9370" y="7654"/>
                  </a:lnTo>
                  <a:lnTo>
                    <a:pt x="9377" y="7659"/>
                  </a:lnTo>
                  <a:lnTo>
                    <a:pt x="9382" y="7662"/>
                  </a:lnTo>
                  <a:lnTo>
                    <a:pt x="9386" y="7665"/>
                  </a:lnTo>
                  <a:lnTo>
                    <a:pt x="9387" y="7665"/>
                  </a:lnTo>
                  <a:lnTo>
                    <a:pt x="9387" y="7666"/>
                  </a:lnTo>
                  <a:lnTo>
                    <a:pt x="9386" y="7670"/>
                  </a:lnTo>
                  <a:lnTo>
                    <a:pt x="9382" y="7677"/>
                  </a:lnTo>
                  <a:lnTo>
                    <a:pt x="9379" y="7684"/>
                  </a:lnTo>
                  <a:lnTo>
                    <a:pt x="9376" y="7694"/>
                  </a:lnTo>
                  <a:lnTo>
                    <a:pt x="9371" y="7706"/>
                  </a:lnTo>
                  <a:lnTo>
                    <a:pt x="9366" y="7721"/>
                  </a:lnTo>
                  <a:lnTo>
                    <a:pt x="9360" y="7737"/>
                  </a:lnTo>
                  <a:lnTo>
                    <a:pt x="9352" y="7756"/>
                  </a:lnTo>
                  <a:lnTo>
                    <a:pt x="9344" y="7775"/>
                  </a:lnTo>
                  <a:lnTo>
                    <a:pt x="9336" y="7797"/>
                  </a:lnTo>
                  <a:lnTo>
                    <a:pt x="9327" y="7821"/>
                  </a:lnTo>
                  <a:lnTo>
                    <a:pt x="9317" y="7845"/>
                  </a:lnTo>
                  <a:lnTo>
                    <a:pt x="9307" y="7872"/>
                  </a:lnTo>
                  <a:lnTo>
                    <a:pt x="9296" y="7901"/>
                  </a:lnTo>
                  <a:lnTo>
                    <a:pt x="9284" y="7930"/>
                  </a:lnTo>
                  <a:lnTo>
                    <a:pt x="9272" y="7962"/>
                  </a:lnTo>
                  <a:lnTo>
                    <a:pt x="9260" y="7994"/>
                  </a:lnTo>
                  <a:lnTo>
                    <a:pt x="9246" y="8027"/>
                  </a:lnTo>
                  <a:lnTo>
                    <a:pt x="9232" y="8062"/>
                  </a:lnTo>
                  <a:lnTo>
                    <a:pt x="9217" y="8098"/>
                  </a:lnTo>
                  <a:lnTo>
                    <a:pt x="9203" y="8135"/>
                  </a:lnTo>
                  <a:lnTo>
                    <a:pt x="9172" y="8211"/>
                  </a:lnTo>
                  <a:lnTo>
                    <a:pt x="9139" y="8291"/>
                  </a:lnTo>
                  <a:lnTo>
                    <a:pt x="9105" y="8374"/>
                  </a:lnTo>
                  <a:lnTo>
                    <a:pt x="9070" y="8459"/>
                  </a:lnTo>
                  <a:lnTo>
                    <a:pt x="9032" y="8546"/>
                  </a:lnTo>
                  <a:lnTo>
                    <a:pt x="8994" y="8635"/>
                  </a:lnTo>
                  <a:lnTo>
                    <a:pt x="8956" y="8723"/>
                  </a:lnTo>
                  <a:lnTo>
                    <a:pt x="8878" y="8901"/>
                  </a:lnTo>
                  <a:lnTo>
                    <a:pt x="8837" y="8989"/>
                  </a:lnTo>
                  <a:lnTo>
                    <a:pt x="8797" y="9075"/>
                  </a:lnTo>
                  <a:lnTo>
                    <a:pt x="8757" y="9161"/>
                  </a:lnTo>
                  <a:lnTo>
                    <a:pt x="8717" y="9243"/>
                  </a:lnTo>
                  <a:lnTo>
                    <a:pt x="8676" y="9323"/>
                  </a:lnTo>
                  <a:lnTo>
                    <a:pt x="8637" y="9399"/>
                  </a:lnTo>
                  <a:lnTo>
                    <a:pt x="8617" y="9435"/>
                  </a:lnTo>
                  <a:lnTo>
                    <a:pt x="8599" y="9471"/>
                  </a:lnTo>
                  <a:lnTo>
                    <a:pt x="8579" y="9505"/>
                  </a:lnTo>
                  <a:lnTo>
                    <a:pt x="8561" y="9539"/>
                  </a:lnTo>
                  <a:lnTo>
                    <a:pt x="8542" y="9571"/>
                  </a:lnTo>
                  <a:lnTo>
                    <a:pt x="8524" y="9601"/>
                  </a:lnTo>
                  <a:lnTo>
                    <a:pt x="8506" y="9631"/>
                  </a:lnTo>
                  <a:lnTo>
                    <a:pt x="8488" y="9658"/>
                  </a:lnTo>
                  <a:lnTo>
                    <a:pt x="8471" y="9684"/>
                  </a:lnTo>
                  <a:lnTo>
                    <a:pt x="8453" y="9709"/>
                  </a:lnTo>
                  <a:lnTo>
                    <a:pt x="8437" y="9733"/>
                  </a:lnTo>
                  <a:lnTo>
                    <a:pt x="8420" y="9753"/>
                  </a:lnTo>
                  <a:lnTo>
                    <a:pt x="8388" y="9794"/>
                  </a:lnTo>
                  <a:lnTo>
                    <a:pt x="8354" y="9835"/>
                  </a:lnTo>
                  <a:lnTo>
                    <a:pt x="8284" y="9913"/>
                  </a:lnTo>
                  <a:lnTo>
                    <a:pt x="8210" y="9990"/>
                  </a:lnTo>
                  <a:lnTo>
                    <a:pt x="8132" y="10065"/>
                  </a:lnTo>
                  <a:lnTo>
                    <a:pt x="8052" y="10138"/>
                  </a:lnTo>
                  <a:lnTo>
                    <a:pt x="7969" y="10212"/>
                  </a:lnTo>
                  <a:lnTo>
                    <a:pt x="7885" y="10283"/>
                  </a:lnTo>
                  <a:lnTo>
                    <a:pt x="7798" y="10354"/>
                  </a:lnTo>
                  <a:lnTo>
                    <a:pt x="7709" y="10423"/>
                  </a:lnTo>
                  <a:lnTo>
                    <a:pt x="7620" y="10493"/>
                  </a:lnTo>
                  <a:lnTo>
                    <a:pt x="7440" y="10630"/>
                  </a:lnTo>
                  <a:lnTo>
                    <a:pt x="7258" y="10768"/>
                  </a:lnTo>
                  <a:lnTo>
                    <a:pt x="7169" y="10837"/>
                  </a:lnTo>
                  <a:lnTo>
                    <a:pt x="7080" y="10907"/>
                  </a:lnTo>
                  <a:lnTo>
                    <a:pt x="7046" y="10935"/>
                  </a:lnTo>
                  <a:lnTo>
                    <a:pt x="7013" y="10960"/>
                  </a:lnTo>
                  <a:lnTo>
                    <a:pt x="6981" y="10984"/>
                  </a:lnTo>
                  <a:lnTo>
                    <a:pt x="6951" y="11007"/>
                  </a:lnTo>
                  <a:lnTo>
                    <a:pt x="6921" y="11026"/>
                  </a:lnTo>
                  <a:lnTo>
                    <a:pt x="6894" y="11044"/>
                  </a:lnTo>
                  <a:lnTo>
                    <a:pt x="6866" y="11060"/>
                  </a:lnTo>
                  <a:lnTo>
                    <a:pt x="6839" y="11074"/>
                  </a:lnTo>
                  <a:lnTo>
                    <a:pt x="6813" y="11086"/>
                  </a:lnTo>
                  <a:lnTo>
                    <a:pt x="6788" y="11097"/>
                  </a:lnTo>
                  <a:lnTo>
                    <a:pt x="6763" y="11106"/>
                  </a:lnTo>
                  <a:lnTo>
                    <a:pt x="6739" y="11113"/>
                  </a:lnTo>
                  <a:lnTo>
                    <a:pt x="6715" y="11118"/>
                  </a:lnTo>
                  <a:lnTo>
                    <a:pt x="6691" y="11122"/>
                  </a:lnTo>
                  <a:lnTo>
                    <a:pt x="6667" y="11124"/>
                  </a:lnTo>
                  <a:lnTo>
                    <a:pt x="6645" y="11125"/>
                  </a:lnTo>
                  <a:lnTo>
                    <a:pt x="6627" y="11124"/>
                  </a:lnTo>
                  <a:lnTo>
                    <a:pt x="6610" y="11123"/>
                  </a:lnTo>
                  <a:lnTo>
                    <a:pt x="6592" y="11120"/>
                  </a:lnTo>
                  <a:lnTo>
                    <a:pt x="6576" y="11116"/>
                  </a:lnTo>
                  <a:lnTo>
                    <a:pt x="6558" y="11111"/>
                  </a:lnTo>
                  <a:lnTo>
                    <a:pt x="6541" y="11105"/>
                  </a:lnTo>
                  <a:lnTo>
                    <a:pt x="6524" y="11097"/>
                  </a:lnTo>
                  <a:lnTo>
                    <a:pt x="6506" y="11089"/>
                  </a:lnTo>
                  <a:lnTo>
                    <a:pt x="6489" y="11080"/>
                  </a:lnTo>
                  <a:lnTo>
                    <a:pt x="6471" y="11070"/>
                  </a:lnTo>
                  <a:lnTo>
                    <a:pt x="6454" y="11057"/>
                  </a:lnTo>
                  <a:lnTo>
                    <a:pt x="6436" y="11044"/>
                  </a:lnTo>
                  <a:lnTo>
                    <a:pt x="6418" y="11030"/>
                  </a:lnTo>
                  <a:lnTo>
                    <a:pt x="6399" y="11015"/>
                  </a:lnTo>
                  <a:lnTo>
                    <a:pt x="6379" y="10998"/>
                  </a:lnTo>
                  <a:lnTo>
                    <a:pt x="6360" y="10981"/>
                  </a:lnTo>
                  <a:lnTo>
                    <a:pt x="6340" y="10961"/>
                  </a:lnTo>
                  <a:lnTo>
                    <a:pt x="6320" y="10942"/>
                  </a:lnTo>
                  <a:lnTo>
                    <a:pt x="6299" y="10920"/>
                  </a:lnTo>
                  <a:lnTo>
                    <a:pt x="6277" y="10898"/>
                  </a:lnTo>
                  <a:lnTo>
                    <a:pt x="6255" y="10874"/>
                  </a:lnTo>
                  <a:lnTo>
                    <a:pt x="6232" y="10849"/>
                  </a:lnTo>
                  <a:lnTo>
                    <a:pt x="6208" y="10823"/>
                  </a:lnTo>
                  <a:lnTo>
                    <a:pt x="6184" y="10796"/>
                  </a:lnTo>
                  <a:lnTo>
                    <a:pt x="6160" y="10768"/>
                  </a:lnTo>
                  <a:lnTo>
                    <a:pt x="6134" y="10738"/>
                  </a:lnTo>
                  <a:lnTo>
                    <a:pt x="6107" y="10707"/>
                  </a:lnTo>
                  <a:lnTo>
                    <a:pt x="6079" y="10674"/>
                  </a:lnTo>
                  <a:lnTo>
                    <a:pt x="6050" y="10641"/>
                  </a:lnTo>
                  <a:lnTo>
                    <a:pt x="6021" y="10606"/>
                  </a:lnTo>
                  <a:lnTo>
                    <a:pt x="5990" y="10570"/>
                  </a:lnTo>
                  <a:lnTo>
                    <a:pt x="5958" y="10533"/>
                  </a:lnTo>
                  <a:lnTo>
                    <a:pt x="5938" y="10505"/>
                  </a:lnTo>
                  <a:lnTo>
                    <a:pt x="5917" y="10478"/>
                  </a:lnTo>
                  <a:lnTo>
                    <a:pt x="5897" y="10453"/>
                  </a:lnTo>
                  <a:lnTo>
                    <a:pt x="5880" y="10427"/>
                  </a:lnTo>
                  <a:lnTo>
                    <a:pt x="5846" y="10377"/>
                  </a:lnTo>
                  <a:lnTo>
                    <a:pt x="5817" y="10330"/>
                  </a:lnTo>
                  <a:lnTo>
                    <a:pt x="5791" y="10286"/>
                  </a:lnTo>
                  <a:lnTo>
                    <a:pt x="5769" y="10242"/>
                  </a:lnTo>
                  <a:lnTo>
                    <a:pt x="5751" y="10202"/>
                  </a:lnTo>
                  <a:lnTo>
                    <a:pt x="5735" y="10163"/>
                  </a:lnTo>
                  <a:lnTo>
                    <a:pt x="5724" y="10127"/>
                  </a:lnTo>
                  <a:lnTo>
                    <a:pt x="5715" y="10092"/>
                  </a:lnTo>
                  <a:lnTo>
                    <a:pt x="5708" y="10059"/>
                  </a:lnTo>
                  <a:lnTo>
                    <a:pt x="5705" y="10027"/>
                  </a:lnTo>
                  <a:lnTo>
                    <a:pt x="5705" y="9997"/>
                  </a:lnTo>
                  <a:lnTo>
                    <a:pt x="5706" y="9969"/>
                  </a:lnTo>
                  <a:lnTo>
                    <a:pt x="5710" y="9943"/>
                  </a:lnTo>
                  <a:lnTo>
                    <a:pt x="5718" y="9917"/>
                  </a:lnTo>
                  <a:lnTo>
                    <a:pt x="5726" y="9893"/>
                  </a:lnTo>
                  <a:lnTo>
                    <a:pt x="5735" y="9870"/>
                  </a:lnTo>
                  <a:lnTo>
                    <a:pt x="5748" y="9848"/>
                  </a:lnTo>
                  <a:lnTo>
                    <a:pt x="5761" y="9827"/>
                  </a:lnTo>
                  <a:lnTo>
                    <a:pt x="5776" y="9808"/>
                  </a:lnTo>
                  <a:lnTo>
                    <a:pt x="5792" y="9788"/>
                  </a:lnTo>
                  <a:lnTo>
                    <a:pt x="5810" y="9770"/>
                  </a:lnTo>
                  <a:lnTo>
                    <a:pt x="5827" y="9752"/>
                  </a:lnTo>
                  <a:lnTo>
                    <a:pt x="5866" y="9719"/>
                  </a:lnTo>
                  <a:lnTo>
                    <a:pt x="5907" y="9688"/>
                  </a:lnTo>
                  <a:lnTo>
                    <a:pt x="5949" y="9658"/>
                  </a:lnTo>
                  <a:lnTo>
                    <a:pt x="5990" y="9628"/>
                  </a:lnTo>
                  <a:lnTo>
                    <a:pt x="6073" y="9583"/>
                  </a:lnTo>
                  <a:lnTo>
                    <a:pt x="6156" y="9541"/>
                  </a:lnTo>
                  <a:lnTo>
                    <a:pt x="6197" y="9520"/>
                  </a:lnTo>
                  <a:lnTo>
                    <a:pt x="6237" y="9500"/>
                  </a:lnTo>
                  <a:lnTo>
                    <a:pt x="6276" y="9480"/>
                  </a:lnTo>
                  <a:lnTo>
                    <a:pt x="6313" y="9462"/>
                  </a:lnTo>
                  <a:lnTo>
                    <a:pt x="6348" y="9442"/>
                  </a:lnTo>
                  <a:lnTo>
                    <a:pt x="6383" y="9424"/>
                  </a:lnTo>
                  <a:lnTo>
                    <a:pt x="6413" y="9406"/>
                  </a:lnTo>
                  <a:lnTo>
                    <a:pt x="6441" y="9387"/>
                  </a:lnTo>
                  <a:lnTo>
                    <a:pt x="6466" y="9370"/>
                  </a:lnTo>
                  <a:lnTo>
                    <a:pt x="6488" y="9352"/>
                  </a:lnTo>
                  <a:lnTo>
                    <a:pt x="6505" y="9335"/>
                  </a:lnTo>
                  <a:lnTo>
                    <a:pt x="6514" y="9326"/>
                  </a:lnTo>
                  <a:lnTo>
                    <a:pt x="6520" y="9317"/>
                  </a:lnTo>
                  <a:lnTo>
                    <a:pt x="6525" y="9307"/>
                  </a:lnTo>
                  <a:lnTo>
                    <a:pt x="6530" y="9295"/>
                  </a:lnTo>
                  <a:lnTo>
                    <a:pt x="6535" y="9279"/>
                  </a:lnTo>
                  <a:lnTo>
                    <a:pt x="6538" y="9262"/>
                  </a:lnTo>
                  <a:lnTo>
                    <a:pt x="6543" y="9242"/>
                  </a:lnTo>
                  <a:lnTo>
                    <a:pt x="6546" y="9222"/>
                  </a:lnTo>
                  <a:lnTo>
                    <a:pt x="6549" y="9198"/>
                  </a:lnTo>
                  <a:lnTo>
                    <a:pt x="6551" y="9173"/>
                  </a:lnTo>
                  <a:lnTo>
                    <a:pt x="6553" y="9147"/>
                  </a:lnTo>
                  <a:lnTo>
                    <a:pt x="6555" y="9120"/>
                  </a:lnTo>
                  <a:lnTo>
                    <a:pt x="6556" y="9092"/>
                  </a:lnTo>
                  <a:lnTo>
                    <a:pt x="6557" y="9062"/>
                  </a:lnTo>
                  <a:lnTo>
                    <a:pt x="6558" y="9001"/>
                  </a:lnTo>
                  <a:lnTo>
                    <a:pt x="6559" y="8939"/>
                  </a:lnTo>
                  <a:lnTo>
                    <a:pt x="6558" y="8877"/>
                  </a:lnTo>
                  <a:lnTo>
                    <a:pt x="6558" y="8815"/>
                  </a:lnTo>
                  <a:lnTo>
                    <a:pt x="6556" y="8755"/>
                  </a:lnTo>
                  <a:lnTo>
                    <a:pt x="6556" y="8726"/>
                  </a:lnTo>
                  <a:lnTo>
                    <a:pt x="6555" y="8699"/>
                  </a:lnTo>
                  <a:lnTo>
                    <a:pt x="6554" y="8673"/>
                  </a:lnTo>
                  <a:lnTo>
                    <a:pt x="6554" y="8648"/>
                  </a:lnTo>
                  <a:lnTo>
                    <a:pt x="6553" y="8625"/>
                  </a:lnTo>
                  <a:lnTo>
                    <a:pt x="6552" y="8604"/>
                  </a:lnTo>
                  <a:lnTo>
                    <a:pt x="6552" y="8584"/>
                  </a:lnTo>
                  <a:lnTo>
                    <a:pt x="6552" y="8567"/>
                  </a:lnTo>
                  <a:lnTo>
                    <a:pt x="6551" y="8551"/>
                  </a:lnTo>
                  <a:lnTo>
                    <a:pt x="6551" y="8538"/>
                  </a:lnTo>
                  <a:lnTo>
                    <a:pt x="6548" y="8561"/>
                  </a:lnTo>
                  <a:lnTo>
                    <a:pt x="6543" y="8586"/>
                  </a:lnTo>
                  <a:lnTo>
                    <a:pt x="6537" y="8612"/>
                  </a:lnTo>
                  <a:lnTo>
                    <a:pt x="6530" y="8638"/>
                  </a:lnTo>
                  <a:lnTo>
                    <a:pt x="6522" y="8664"/>
                  </a:lnTo>
                  <a:lnTo>
                    <a:pt x="6512" y="8691"/>
                  </a:lnTo>
                  <a:lnTo>
                    <a:pt x="6500" y="8718"/>
                  </a:lnTo>
                  <a:lnTo>
                    <a:pt x="6488" y="8746"/>
                  </a:lnTo>
                  <a:lnTo>
                    <a:pt x="6474" y="8773"/>
                  </a:lnTo>
                  <a:lnTo>
                    <a:pt x="6458" y="8800"/>
                  </a:lnTo>
                  <a:lnTo>
                    <a:pt x="6441" y="8827"/>
                  </a:lnTo>
                  <a:lnTo>
                    <a:pt x="6422" y="8855"/>
                  </a:lnTo>
                  <a:lnTo>
                    <a:pt x="6401" y="8882"/>
                  </a:lnTo>
                  <a:lnTo>
                    <a:pt x="6379" y="8907"/>
                  </a:lnTo>
                  <a:lnTo>
                    <a:pt x="6355" y="8933"/>
                  </a:lnTo>
                  <a:lnTo>
                    <a:pt x="6329" y="8959"/>
                  </a:lnTo>
                  <a:lnTo>
                    <a:pt x="6301" y="8984"/>
                  </a:lnTo>
                  <a:lnTo>
                    <a:pt x="6271" y="9006"/>
                  </a:lnTo>
                  <a:lnTo>
                    <a:pt x="6239" y="9029"/>
                  </a:lnTo>
                  <a:lnTo>
                    <a:pt x="6205" y="9052"/>
                  </a:lnTo>
                  <a:lnTo>
                    <a:pt x="6169" y="9071"/>
                  </a:lnTo>
                  <a:lnTo>
                    <a:pt x="6131" y="9091"/>
                  </a:lnTo>
                  <a:lnTo>
                    <a:pt x="6089" y="9109"/>
                  </a:lnTo>
                  <a:lnTo>
                    <a:pt x="6047" y="9126"/>
                  </a:lnTo>
                  <a:lnTo>
                    <a:pt x="6002" y="9140"/>
                  </a:lnTo>
                  <a:lnTo>
                    <a:pt x="5954" y="9154"/>
                  </a:lnTo>
                  <a:lnTo>
                    <a:pt x="5905" y="9165"/>
                  </a:lnTo>
                  <a:lnTo>
                    <a:pt x="5852" y="9174"/>
                  </a:lnTo>
                  <a:lnTo>
                    <a:pt x="5796" y="9182"/>
                  </a:lnTo>
                  <a:lnTo>
                    <a:pt x="5739" y="9188"/>
                  </a:lnTo>
                  <a:lnTo>
                    <a:pt x="5678" y="9192"/>
                  </a:lnTo>
                  <a:lnTo>
                    <a:pt x="5616" y="9193"/>
                  </a:lnTo>
                  <a:lnTo>
                    <a:pt x="5554" y="9193"/>
                  </a:lnTo>
                  <a:lnTo>
                    <a:pt x="5477" y="9188"/>
                  </a:lnTo>
                  <a:lnTo>
                    <a:pt x="5403" y="9180"/>
                  </a:lnTo>
                  <a:lnTo>
                    <a:pt x="5334" y="9170"/>
                  </a:lnTo>
                  <a:lnTo>
                    <a:pt x="5267" y="9158"/>
                  </a:lnTo>
                  <a:lnTo>
                    <a:pt x="5204" y="9142"/>
                  </a:lnTo>
                  <a:lnTo>
                    <a:pt x="5144" y="9126"/>
                  </a:lnTo>
                  <a:lnTo>
                    <a:pt x="5086" y="9106"/>
                  </a:lnTo>
                  <a:lnTo>
                    <a:pt x="5032" y="9085"/>
                  </a:lnTo>
                  <a:lnTo>
                    <a:pt x="4982" y="9062"/>
                  </a:lnTo>
                  <a:lnTo>
                    <a:pt x="4934" y="9037"/>
                  </a:lnTo>
                  <a:lnTo>
                    <a:pt x="4889" y="9012"/>
                  </a:lnTo>
                  <a:lnTo>
                    <a:pt x="4847" y="8985"/>
                  </a:lnTo>
                  <a:lnTo>
                    <a:pt x="4807" y="8957"/>
                  </a:lnTo>
                  <a:lnTo>
                    <a:pt x="4771" y="8928"/>
                  </a:lnTo>
                  <a:lnTo>
                    <a:pt x="4736" y="8899"/>
                  </a:lnTo>
                  <a:lnTo>
                    <a:pt x="4704" y="8869"/>
                  </a:lnTo>
                  <a:lnTo>
                    <a:pt x="4675" y="8839"/>
                  </a:lnTo>
                  <a:lnTo>
                    <a:pt x="4647" y="8809"/>
                  </a:lnTo>
                  <a:lnTo>
                    <a:pt x="4622" y="8779"/>
                  </a:lnTo>
                  <a:lnTo>
                    <a:pt x="4600" y="8749"/>
                  </a:lnTo>
                  <a:lnTo>
                    <a:pt x="4579" y="8720"/>
                  </a:lnTo>
                  <a:lnTo>
                    <a:pt x="4560" y="8691"/>
                  </a:lnTo>
                  <a:lnTo>
                    <a:pt x="4543" y="8663"/>
                  </a:lnTo>
                  <a:lnTo>
                    <a:pt x="4528" y="8636"/>
                  </a:lnTo>
                  <a:lnTo>
                    <a:pt x="4515" y="8610"/>
                  </a:lnTo>
                  <a:lnTo>
                    <a:pt x="4503" y="8585"/>
                  </a:lnTo>
                  <a:lnTo>
                    <a:pt x="4492" y="8562"/>
                  </a:lnTo>
                  <a:lnTo>
                    <a:pt x="4484" y="8541"/>
                  </a:lnTo>
                  <a:lnTo>
                    <a:pt x="4477" y="8521"/>
                  </a:lnTo>
                  <a:lnTo>
                    <a:pt x="4471" y="8504"/>
                  </a:lnTo>
                  <a:lnTo>
                    <a:pt x="4467" y="8488"/>
                  </a:lnTo>
                  <a:lnTo>
                    <a:pt x="4462" y="8476"/>
                  </a:lnTo>
                  <a:lnTo>
                    <a:pt x="4465" y="8501"/>
                  </a:lnTo>
                  <a:lnTo>
                    <a:pt x="4469" y="8528"/>
                  </a:lnTo>
                  <a:lnTo>
                    <a:pt x="4471" y="8558"/>
                  </a:lnTo>
                  <a:lnTo>
                    <a:pt x="4473" y="8590"/>
                  </a:lnTo>
                  <a:lnTo>
                    <a:pt x="4475" y="8625"/>
                  </a:lnTo>
                  <a:lnTo>
                    <a:pt x="4477" y="8661"/>
                  </a:lnTo>
                  <a:lnTo>
                    <a:pt x="4479" y="8699"/>
                  </a:lnTo>
                  <a:lnTo>
                    <a:pt x="4480" y="8740"/>
                  </a:lnTo>
                  <a:lnTo>
                    <a:pt x="4482" y="8780"/>
                  </a:lnTo>
                  <a:lnTo>
                    <a:pt x="4483" y="8822"/>
                  </a:lnTo>
                  <a:lnTo>
                    <a:pt x="4485" y="8910"/>
                  </a:lnTo>
                  <a:lnTo>
                    <a:pt x="4486" y="8998"/>
                  </a:lnTo>
                  <a:lnTo>
                    <a:pt x="4486" y="9088"/>
                  </a:lnTo>
                  <a:lnTo>
                    <a:pt x="4486" y="9175"/>
                  </a:lnTo>
                  <a:lnTo>
                    <a:pt x="4485" y="9219"/>
                  </a:lnTo>
                  <a:lnTo>
                    <a:pt x="4485" y="9262"/>
                  </a:lnTo>
                  <a:lnTo>
                    <a:pt x="4484" y="9303"/>
                  </a:lnTo>
                  <a:lnTo>
                    <a:pt x="4483" y="9342"/>
                  </a:lnTo>
                  <a:lnTo>
                    <a:pt x="4482" y="9381"/>
                  </a:lnTo>
                  <a:lnTo>
                    <a:pt x="4480" y="9418"/>
                  </a:lnTo>
                  <a:lnTo>
                    <a:pt x="4479" y="9453"/>
                  </a:lnTo>
                  <a:lnTo>
                    <a:pt x="4477" y="9486"/>
                  </a:lnTo>
                  <a:lnTo>
                    <a:pt x="4475" y="9516"/>
                  </a:lnTo>
                  <a:lnTo>
                    <a:pt x="4473" y="9545"/>
                  </a:lnTo>
                  <a:lnTo>
                    <a:pt x="4471" y="9571"/>
                  </a:lnTo>
                  <a:lnTo>
                    <a:pt x="4469" y="9592"/>
                  </a:lnTo>
                  <a:lnTo>
                    <a:pt x="4465" y="9612"/>
                  </a:lnTo>
                  <a:lnTo>
                    <a:pt x="4462" y="9628"/>
                  </a:lnTo>
                  <a:lnTo>
                    <a:pt x="4459" y="9642"/>
                  </a:lnTo>
                  <a:lnTo>
                    <a:pt x="4454" y="9656"/>
                  </a:lnTo>
                  <a:lnTo>
                    <a:pt x="4448" y="9673"/>
                  </a:lnTo>
                  <a:lnTo>
                    <a:pt x="4441" y="9691"/>
                  </a:lnTo>
                  <a:lnTo>
                    <a:pt x="4431" y="9712"/>
                  </a:lnTo>
                  <a:lnTo>
                    <a:pt x="4422" y="9734"/>
                  </a:lnTo>
                  <a:lnTo>
                    <a:pt x="4412" y="9756"/>
                  </a:lnTo>
                  <a:lnTo>
                    <a:pt x="4400" y="9781"/>
                  </a:lnTo>
                  <a:lnTo>
                    <a:pt x="4388" y="9806"/>
                  </a:lnTo>
                  <a:lnTo>
                    <a:pt x="4376" y="9832"/>
                  </a:lnTo>
                  <a:lnTo>
                    <a:pt x="4349" y="9887"/>
                  </a:lnTo>
                  <a:lnTo>
                    <a:pt x="4320" y="9945"/>
                  </a:lnTo>
                  <a:lnTo>
                    <a:pt x="4291" y="10002"/>
                  </a:lnTo>
                  <a:lnTo>
                    <a:pt x="4262" y="10061"/>
                  </a:lnTo>
                  <a:lnTo>
                    <a:pt x="4234" y="10118"/>
                  </a:lnTo>
                  <a:lnTo>
                    <a:pt x="4207" y="10173"/>
                  </a:lnTo>
                  <a:lnTo>
                    <a:pt x="4194" y="10199"/>
                  </a:lnTo>
                  <a:lnTo>
                    <a:pt x="4183" y="10225"/>
                  </a:lnTo>
                  <a:lnTo>
                    <a:pt x="4171" y="10249"/>
                  </a:lnTo>
                  <a:lnTo>
                    <a:pt x="4160" y="10272"/>
                  </a:lnTo>
                  <a:lnTo>
                    <a:pt x="4151" y="10294"/>
                  </a:lnTo>
                  <a:lnTo>
                    <a:pt x="4142" y="10313"/>
                  </a:lnTo>
                  <a:lnTo>
                    <a:pt x="4135" y="10332"/>
                  </a:lnTo>
                  <a:lnTo>
                    <a:pt x="4129" y="10350"/>
                  </a:lnTo>
                  <a:lnTo>
                    <a:pt x="4124" y="10364"/>
                  </a:lnTo>
                  <a:lnTo>
                    <a:pt x="4120" y="10376"/>
                  </a:lnTo>
                  <a:lnTo>
                    <a:pt x="4118" y="10389"/>
                  </a:lnTo>
                  <a:lnTo>
                    <a:pt x="4116" y="10402"/>
                  </a:lnTo>
                  <a:lnTo>
                    <a:pt x="4113" y="10418"/>
                  </a:lnTo>
                  <a:lnTo>
                    <a:pt x="4112" y="10433"/>
                  </a:lnTo>
                  <a:lnTo>
                    <a:pt x="4110" y="10467"/>
                  </a:lnTo>
                  <a:lnTo>
                    <a:pt x="4108" y="10504"/>
                  </a:lnTo>
                  <a:lnTo>
                    <a:pt x="4107" y="10544"/>
                  </a:lnTo>
                  <a:lnTo>
                    <a:pt x="4106" y="10585"/>
                  </a:lnTo>
                  <a:lnTo>
                    <a:pt x="4104" y="10629"/>
                  </a:lnTo>
                  <a:lnTo>
                    <a:pt x="4100" y="10673"/>
                  </a:lnTo>
                  <a:lnTo>
                    <a:pt x="4095" y="10716"/>
                  </a:lnTo>
                  <a:lnTo>
                    <a:pt x="4088" y="10759"/>
                  </a:lnTo>
                  <a:lnTo>
                    <a:pt x="4076" y="10802"/>
                  </a:lnTo>
                  <a:lnTo>
                    <a:pt x="4063" y="10841"/>
                  </a:lnTo>
                  <a:lnTo>
                    <a:pt x="4055" y="10860"/>
                  </a:lnTo>
                  <a:lnTo>
                    <a:pt x="4045" y="10879"/>
                  </a:lnTo>
                  <a:lnTo>
                    <a:pt x="4035" y="10896"/>
                  </a:lnTo>
                  <a:lnTo>
                    <a:pt x="4024" y="10913"/>
                  </a:lnTo>
                  <a:lnTo>
                    <a:pt x="4010" y="10928"/>
                  </a:lnTo>
                  <a:lnTo>
                    <a:pt x="3996" y="10943"/>
                  </a:lnTo>
                  <a:lnTo>
                    <a:pt x="3981" y="10956"/>
                  </a:lnTo>
                  <a:lnTo>
                    <a:pt x="3964" y="10969"/>
                  </a:lnTo>
                  <a:lnTo>
                    <a:pt x="3951" y="10975"/>
                  </a:lnTo>
                  <a:lnTo>
                    <a:pt x="3938" y="10981"/>
                  </a:lnTo>
                  <a:lnTo>
                    <a:pt x="3922" y="10986"/>
                  </a:lnTo>
                  <a:lnTo>
                    <a:pt x="3906" y="10992"/>
                  </a:lnTo>
                  <a:lnTo>
                    <a:pt x="3888" y="10997"/>
                  </a:lnTo>
                  <a:lnTo>
                    <a:pt x="3869" y="11003"/>
                  </a:lnTo>
                  <a:lnTo>
                    <a:pt x="3849" y="11008"/>
                  </a:lnTo>
                  <a:lnTo>
                    <a:pt x="3828" y="11012"/>
                  </a:lnTo>
                  <a:lnTo>
                    <a:pt x="3805" y="11016"/>
                  </a:lnTo>
                  <a:lnTo>
                    <a:pt x="3782" y="11020"/>
                  </a:lnTo>
                  <a:lnTo>
                    <a:pt x="3732" y="11026"/>
                  </a:lnTo>
                  <a:lnTo>
                    <a:pt x="3678" y="11029"/>
                  </a:lnTo>
                  <a:lnTo>
                    <a:pt x="3621" y="11031"/>
                  </a:lnTo>
                  <a:lnTo>
                    <a:pt x="3556" y="11029"/>
                  </a:lnTo>
                  <a:lnTo>
                    <a:pt x="3490" y="11025"/>
                  </a:lnTo>
                  <a:lnTo>
                    <a:pt x="3423" y="11019"/>
                  </a:lnTo>
                  <a:lnTo>
                    <a:pt x="3355" y="11010"/>
                  </a:lnTo>
                  <a:lnTo>
                    <a:pt x="3286" y="10998"/>
                  </a:lnTo>
                  <a:lnTo>
                    <a:pt x="3215" y="10984"/>
                  </a:lnTo>
                  <a:lnTo>
                    <a:pt x="3145" y="10969"/>
                  </a:lnTo>
                  <a:lnTo>
                    <a:pt x="3075" y="10950"/>
                  </a:lnTo>
                  <a:lnTo>
                    <a:pt x="3005" y="10930"/>
                  </a:lnTo>
                  <a:lnTo>
                    <a:pt x="2936" y="10909"/>
                  </a:lnTo>
                  <a:lnTo>
                    <a:pt x="2865" y="10886"/>
                  </a:lnTo>
                  <a:lnTo>
                    <a:pt x="2796" y="10861"/>
                  </a:lnTo>
                  <a:lnTo>
                    <a:pt x="2728" y="10836"/>
                  </a:lnTo>
                  <a:lnTo>
                    <a:pt x="2661" y="10808"/>
                  </a:lnTo>
                  <a:lnTo>
                    <a:pt x="2595" y="10780"/>
                  </a:lnTo>
                  <a:lnTo>
                    <a:pt x="2531" y="10751"/>
                  </a:lnTo>
                  <a:lnTo>
                    <a:pt x="2507" y="10741"/>
                  </a:lnTo>
                  <a:lnTo>
                    <a:pt x="2482" y="10732"/>
                  </a:lnTo>
                  <a:lnTo>
                    <a:pt x="2457" y="10721"/>
                  </a:lnTo>
                  <a:lnTo>
                    <a:pt x="2429" y="10712"/>
                  </a:lnTo>
                  <a:lnTo>
                    <a:pt x="2374" y="10693"/>
                  </a:lnTo>
                  <a:lnTo>
                    <a:pt x="2348" y="10681"/>
                  </a:lnTo>
                  <a:lnTo>
                    <a:pt x="2322" y="10670"/>
                  </a:lnTo>
                  <a:lnTo>
                    <a:pt x="2298" y="10658"/>
                  </a:lnTo>
                  <a:lnTo>
                    <a:pt x="2276" y="10643"/>
                  </a:lnTo>
                  <a:lnTo>
                    <a:pt x="2256" y="10629"/>
                  </a:lnTo>
                  <a:lnTo>
                    <a:pt x="2240" y="10611"/>
                  </a:lnTo>
                  <a:lnTo>
                    <a:pt x="2226" y="10593"/>
                  </a:lnTo>
                  <a:lnTo>
                    <a:pt x="2221" y="10583"/>
                  </a:lnTo>
                  <a:lnTo>
                    <a:pt x="2216" y="10573"/>
                  </a:lnTo>
                  <a:lnTo>
                    <a:pt x="2213" y="10562"/>
                  </a:lnTo>
                  <a:lnTo>
                    <a:pt x="2211" y="10550"/>
                  </a:lnTo>
                  <a:lnTo>
                    <a:pt x="2210" y="10538"/>
                  </a:lnTo>
                  <a:lnTo>
                    <a:pt x="2211" y="10525"/>
                  </a:lnTo>
                  <a:lnTo>
                    <a:pt x="2214" y="10490"/>
                  </a:lnTo>
                  <a:lnTo>
                    <a:pt x="2219" y="10452"/>
                  </a:lnTo>
                  <a:lnTo>
                    <a:pt x="2225" y="10411"/>
                  </a:lnTo>
                  <a:lnTo>
                    <a:pt x="2233" y="10369"/>
                  </a:lnTo>
                  <a:lnTo>
                    <a:pt x="2241" y="10326"/>
                  </a:lnTo>
                  <a:lnTo>
                    <a:pt x="2250" y="10281"/>
                  </a:lnTo>
                  <a:lnTo>
                    <a:pt x="2260" y="10234"/>
                  </a:lnTo>
                  <a:lnTo>
                    <a:pt x="2271" y="10187"/>
                  </a:lnTo>
                  <a:lnTo>
                    <a:pt x="2296" y="10091"/>
                  </a:lnTo>
                  <a:lnTo>
                    <a:pt x="2321" y="9993"/>
                  </a:lnTo>
                  <a:lnTo>
                    <a:pt x="2349" y="9895"/>
                  </a:lnTo>
                  <a:lnTo>
                    <a:pt x="2377" y="9801"/>
                  </a:lnTo>
                  <a:lnTo>
                    <a:pt x="2391" y="9754"/>
                  </a:lnTo>
                  <a:lnTo>
                    <a:pt x="2405" y="9709"/>
                  </a:lnTo>
                  <a:lnTo>
                    <a:pt x="2418" y="9666"/>
                  </a:lnTo>
                  <a:lnTo>
                    <a:pt x="2432" y="9623"/>
                  </a:lnTo>
                  <a:lnTo>
                    <a:pt x="2444" y="9583"/>
                  </a:lnTo>
                  <a:lnTo>
                    <a:pt x="2457" y="9545"/>
                  </a:lnTo>
                  <a:lnTo>
                    <a:pt x="2469" y="9509"/>
                  </a:lnTo>
                  <a:lnTo>
                    <a:pt x="2479" y="9476"/>
                  </a:lnTo>
                  <a:lnTo>
                    <a:pt x="2490" y="9445"/>
                  </a:lnTo>
                  <a:lnTo>
                    <a:pt x="2499" y="9417"/>
                  </a:lnTo>
                  <a:lnTo>
                    <a:pt x="2508" y="9393"/>
                  </a:lnTo>
                  <a:lnTo>
                    <a:pt x="2515" y="9372"/>
                  </a:lnTo>
                  <a:lnTo>
                    <a:pt x="2522" y="9355"/>
                  </a:lnTo>
                  <a:lnTo>
                    <a:pt x="2526" y="9340"/>
                  </a:lnTo>
                  <a:lnTo>
                    <a:pt x="2528" y="9335"/>
                  </a:lnTo>
                  <a:lnTo>
                    <a:pt x="2530" y="9331"/>
                  </a:lnTo>
                  <a:lnTo>
                    <a:pt x="2531" y="9327"/>
                  </a:lnTo>
                  <a:lnTo>
                    <a:pt x="2532" y="9325"/>
                  </a:lnTo>
                  <a:lnTo>
                    <a:pt x="2531" y="9325"/>
                  </a:lnTo>
                  <a:lnTo>
                    <a:pt x="2530" y="9322"/>
                  </a:lnTo>
                  <a:lnTo>
                    <a:pt x="2528" y="9318"/>
                  </a:lnTo>
                  <a:lnTo>
                    <a:pt x="2525" y="9313"/>
                  </a:lnTo>
                  <a:lnTo>
                    <a:pt x="2521" y="9307"/>
                  </a:lnTo>
                  <a:lnTo>
                    <a:pt x="2515" y="9300"/>
                  </a:lnTo>
                  <a:lnTo>
                    <a:pt x="2509" y="9291"/>
                  </a:lnTo>
                  <a:lnTo>
                    <a:pt x="2503" y="9280"/>
                  </a:lnTo>
                  <a:lnTo>
                    <a:pt x="2496" y="9269"/>
                  </a:lnTo>
                  <a:lnTo>
                    <a:pt x="2488" y="9256"/>
                  </a:lnTo>
                  <a:lnTo>
                    <a:pt x="2479" y="9242"/>
                  </a:lnTo>
                  <a:lnTo>
                    <a:pt x="2469" y="9227"/>
                  </a:lnTo>
                  <a:lnTo>
                    <a:pt x="2460" y="9211"/>
                  </a:lnTo>
                  <a:lnTo>
                    <a:pt x="2448" y="9194"/>
                  </a:lnTo>
                  <a:lnTo>
                    <a:pt x="2437" y="9175"/>
                  </a:lnTo>
                  <a:lnTo>
                    <a:pt x="2425" y="9156"/>
                  </a:lnTo>
                  <a:lnTo>
                    <a:pt x="2399" y="9113"/>
                  </a:lnTo>
                  <a:lnTo>
                    <a:pt x="2371" y="9068"/>
                  </a:lnTo>
                  <a:lnTo>
                    <a:pt x="2341" y="9019"/>
                  </a:lnTo>
                  <a:lnTo>
                    <a:pt x="2310" y="8966"/>
                  </a:lnTo>
                  <a:lnTo>
                    <a:pt x="2276" y="8910"/>
                  </a:lnTo>
                  <a:lnTo>
                    <a:pt x="2242" y="8851"/>
                  </a:lnTo>
                  <a:lnTo>
                    <a:pt x="2206" y="8789"/>
                  </a:lnTo>
                  <a:lnTo>
                    <a:pt x="2169" y="8725"/>
                  </a:lnTo>
                  <a:lnTo>
                    <a:pt x="2131" y="8658"/>
                  </a:lnTo>
                  <a:lnTo>
                    <a:pt x="2093" y="8590"/>
                  </a:lnTo>
                  <a:lnTo>
                    <a:pt x="2054" y="8520"/>
                  </a:lnTo>
                  <a:lnTo>
                    <a:pt x="2015" y="8448"/>
                  </a:lnTo>
                  <a:lnTo>
                    <a:pt x="1976" y="8375"/>
                  </a:lnTo>
                  <a:lnTo>
                    <a:pt x="1937" y="8300"/>
                  </a:lnTo>
                  <a:lnTo>
                    <a:pt x="1860" y="8148"/>
                  </a:lnTo>
                  <a:lnTo>
                    <a:pt x="1823" y="8072"/>
                  </a:lnTo>
                  <a:lnTo>
                    <a:pt x="1786" y="7995"/>
                  </a:lnTo>
                  <a:lnTo>
                    <a:pt x="1750" y="7918"/>
                  </a:lnTo>
                  <a:lnTo>
                    <a:pt x="1716" y="7841"/>
                  </a:lnTo>
                  <a:lnTo>
                    <a:pt x="1683" y="7765"/>
                  </a:lnTo>
                  <a:lnTo>
                    <a:pt x="1652" y="7689"/>
                  </a:lnTo>
                  <a:lnTo>
                    <a:pt x="1622" y="7615"/>
                  </a:lnTo>
                  <a:lnTo>
                    <a:pt x="1596" y="7541"/>
                  </a:lnTo>
                  <a:lnTo>
                    <a:pt x="1571" y="7466"/>
                  </a:lnTo>
                  <a:lnTo>
                    <a:pt x="1548" y="7391"/>
                  </a:lnTo>
                  <a:lnTo>
                    <a:pt x="1530" y="7314"/>
                  </a:lnTo>
                  <a:lnTo>
                    <a:pt x="1512" y="7236"/>
                  </a:lnTo>
                  <a:lnTo>
                    <a:pt x="1498" y="7156"/>
                  </a:lnTo>
                  <a:lnTo>
                    <a:pt x="1485" y="7076"/>
                  </a:lnTo>
                  <a:lnTo>
                    <a:pt x="1476" y="6996"/>
                  </a:lnTo>
                  <a:lnTo>
                    <a:pt x="1468" y="6915"/>
                  </a:lnTo>
                  <a:lnTo>
                    <a:pt x="1461" y="6835"/>
                  </a:lnTo>
                  <a:lnTo>
                    <a:pt x="1457" y="6755"/>
                  </a:lnTo>
                  <a:lnTo>
                    <a:pt x="1454" y="6675"/>
                  </a:lnTo>
                  <a:lnTo>
                    <a:pt x="1452" y="6597"/>
                  </a:lnTo>
                  <a:lnTo>
                    <a:pt x="1452" y="6520"/>
                  </a:lnTo>
                  <a:lnTo>
                    <a:pt x="1454" y="6444"/>
                  </a:lnTo>
                  <a:lnTo>
                    <a:pt x="1456" y="6370"/>
                  </a:lnTo>
                  <a:lnTo>
                    <a:pt x="1459" y="6298"/>
                  </a:lnTo>
                  <a:lnTo>
                    <a:pt x="1464" y="6228"/>
                  </a:lnTo>
                  <a:lnTo>
                    <a:pt x="1468" y="6161"/>
                  </a:lnTo>
                  <a:lnTo>
                    <a:pt x="1474" y="6098"/>
                  </a:lnTo>
                  <a:lnTo>
                    <a:pt x="1479" y="6036"/>
                  </a:lnTo>
                  <a:lnTo>
                    <a:pt x="1485" y="5978"/>
                  </a:lnTo>
                  <a:lnTo>
                    <a:pt x="1491" y="5923"/>
                  </a:lnTo>
                  <a:lnTo>
                    <a:pt x="1494" y="5899"/>
                  </a:lnTo>
                  <a:lnTo>
                    <a:pt x="1498" y="5874"/>
                  </a:lnTo>
                  <a:lnTo>
                    <a:pt x="1501" y="5850"/>
                  </a:lnTo>
                  <a:lnTo>
                    <a:pt x="1504" y="5828"/>
                  </a:lnTo>
                  <a:lnTo>
                    <a:pt x="1507" y="5806"/>
                  </a:lnTo>
                  <a:lnTo>
                    <a:pt x="1510" y="5785"/>
                  </a:lnTo>
                  <a:lnTo>
                    <a:pt x="1512" y="5767"/>
                  </a:lnTo>
                  <a:lnTo>
                    <a:pt x="1515" y="5748"/>
                  </a:lnTo>
                  <a:lnTo>
                    <a:pt x="1518" y="5732"/>
                  </a:lnTo>
                  <a:lnTo>
                    <a:pt x="1520" y="5716"/>
                  </a:lnTo>
                  <a:lnTo>
                    <a:pt x="1522" y="5702"/>
                  </a:lnTo>
                  <a:lnTo>
                    <a:pt x="1524" y="5690"/>
                  </a:lnTo>
                  <a:lnTo>
                    <a:pt x="1526" y="5678"/>
                  </a:lnTo>
                  <a:lnTo>
                    <a:pt x="1529" y="5668"/>
                  </a:lnTo>
                  <a:lnTo>
                    <a:pt x="1530" y="5660"/>
                  </a:lnTo>
                  <a:lnTo>
                    <a:pt x="1531" y="5653"/>
                  </a:lnTo>
                  <a:lnTo>
                    <a:pt x="1532" y="5647"/>
                  </a:lnTo>
                  <a:lnTo>
                    <a:pt x="1533" y="5643"/>
                  </a:lnTo>
                  <a:lnTo>
                    <a:pt x="1534" y="5641"/>
                  </a:lnTo>
                  <a:lnTo>
                    <a:pt x="1534" y="5640"/>
                  </a:lnTo>
                  <a:lnTo>
                    <a:pt x="1533" y="5640"/>
                  </a:lnTo>
                  <a:lnTo>
                    <a:pt x="1530" y="5642"/>
                  </a:lnTo>
                  <a:lnTo>
                    <a:pt x="1523" y="5645"/>
                  </a:lnTo>
                  <a:lnTo>
                    <a:pt x="1516" y="5649"/>
                  </a:lnTo>
                  <a:lnTo>
                    <a:pt x="1506" y="5655"/>
                  </a:lnTo>
                  <a:lnTo>
                    <a:pt x="1493" y="5660"/>
                  </a:lnTo>
                  <a:lnTo>
                    <a:pt x="1480" y="5665"/>
                  </a:lnTo>
                  <a:lnTo>
                    <a:pt x="1464" y="5671"/>
                  </a:lnTo>
                  <a:lnTo>
                    <a:pt x="1445" y="5677"/>
                  </a:lnTo>
                  <a:lnTo>
                    <a:pt x="1423" y="5682"/>
                  </a:lnTo>
                  <a:lnTo>
                    <a:pt x="1401" y="5688"/>
                  </a:lnTo>
                  <a:lnTo>
                    <a:pt x="1376" y="5693"/>
                  </a:lnTo>
                  <a:lnTo>
                    <a:pt x="1348" y="5697"/>
                  </a:lnTo>
                  <a:lnTo>
                    <a:pt x="1318" y="5700"/>
                  </a:lnTo>
                  <a:lnTo>
                    <a:pt x="1287" y="5702"/>
                  </a:lnTo>
                  <a:lnTo>
                    <a:pt x="1253" y="5702"/>
                  </a:lnTo>
                  <a:lnTo>
                    <a:pt x="1216" y="5701"/>
                  </a:lnTo>
                  <a:lnTo>
                    <a:pt x="1177" y="5697"/>
                  </a:lnTo>
                  <a:lnTo>
                    <a:pt x="1134" y="5691"/>
                  </a:lnTo>
                  <a:lnTo>
                    <a:pt x="1089" y="5682"/>
                  </a:lnTo>
                  <a:lnTo>
                    <a:pt x="1041" y="5673"/>
                  </a:lnTo>
                  <a:lnTo>
                    <a:pt x="990" y="5663"/>
                  </a:lnTo>
                  <a:lnTo>
                    <a:pt x="936" y="5651"/>
                  </a:lnTo>
                  <a:lnTo>
                    <a:pt x="879" y="5640"/>
                  </a:lnTo>
                  <a:lnTo>
                    <a:pt x="848" y="5624"/>
                  </a:lnTo>
                  <a:lnTo>
                    <a:pt x="818" y="5606"/>
                  </a:lnTo>
                  <a:lnTo>
                    <a:pt x="791" y="5587"/>
                  </a:lnTo>
                  <a:lnTo>
                    <a:pt x="766" y="5564"/>
                  </a:lnTo>
                  <a:lnTo>
                    <a:pt x="742" y="5541"/>
                  </a:lnTo>
                  <a:lnTo>
                    <a:pt x="720" y="5516"/>
                  </a:lnTo>
                  <a:lnTo>
                    <a:pt x="700" y="5490"/>
                  </a:lnTo>
                  <a:lnTo>
                    <a:pt x="681" y="5462"/>
                  </a:lnTo>
                  <a:lnTo>
                    <a:pt x="663" y="5434"/>
                  </a:lnTo>
                  <a:lnTo>
                    <a:pt x="647" y="5404"/>
                  </a:lnTo>
                  <a:lnTo>
                    <a:pt x="632" y="5374"/>
                  </a:lnTo>
                  <a:lnTo>
                    <a:pt x="619" y="5345"/>
                  </a:lnTo>
                  <a:lnTo>
                    <a:pt x="608" y="5314"/>
                  </a:lnTo>
                  <a:lnTo>
                    <a:pt x="596" y="5284"/>
                  </a:lnTo>
                  <a:lnTo>
                    <a:pt x="587" y="5253"/>
                  </a:lnTo>
                  <a:lnTo>
                    <a:pt x="579" y="5223"/>
                  </a:lnTo>
                  <a:lnTo>
                    <a:pt x="564" y="5164"/>
                  </a:lnTo>
                  <a:lnTo>
                    <a:pt x="559" y="5136"/>
                  </a:lnTo>
                  <a:lnTo>
                    <a:pt x="554" y="5109"/>
                  </a:lnTo>
                  <a:lnTo>
                    <a:pt x="550" y="5083"/>
                  </a:lnTo>
                  <a:lnTo>
                    <a:pt x="546" y="5058"/>
                  </a:lnTo>
                  <a:lnTo>
                    <a:pt x="544" y="5034"/>
                  </a:lnTo>
                  <a:lnTo>
                    <a:pt x="541" y="5013"/>
                  </a:lnTo>
                  <a:lnTo>
                    <a:pt x="540" y="4993"/>
                  </a:lnTo>
                  <a:lnTo>
                    <a:pt x="538" y="4976"/>
                  </a:lnTo>
                  <a:lnTo>
                    <a:pt x="538" y="4960"/>
                  </a:lnTo>
                  <a:lnTo>
                    <a:pt x="536" y="4947"/>
                  </a:lnTo>
                  <a:lnTo>
                    <a:pt x="536" y="4937"/>
                  </a:lnTo>
                  <a:lnTo>
                    <a:pt x="535" y="4929"/>
                  </a:lnTo>
                  <a:lnTo>
                    <a:pt x="535" y="4924"/>
                  </a:lnTo>
                  <a:lnTo>
                    <a:pt x="535" y="4923"/>
                  </a:lnTo>
                  <a:lnTo>
                    <a:pt x="535" y="4922"/>
                  </a:lnTo>
                  <a:lnTo>
                    <a:pt x="533" y="4921"/>
                  </a:lnTo>
                  <a:lnTo>
                    <a:pt x="530" y="4920"/>
                  </a:lnTo>
                  <a:lnTo>
                    <a:pt x="526" y="4917"/>
                  </a:lnTo>
                  <a:lnTo>
                    <a:pt x="516" y="4909"/>
                  </a:lnTo>
                  <a:lnTo>
                    <a:pt x="503" y="4899"/>
                  </a:lnTo>
                  <a:lnTo>
                    <a:pt x="488" y="4884"/>
                  </a:lnTo>
                  <a:lnTo>
                    <a:pt x="471" y="4866"/>
                  </a:lnTo>
                  <a:lnTo>
                    <a:pt x="455" y="4844"/>
                  </a:lnTo>
                  <a:lnTo>
                    <a:pt x="438" y="4818"/>
                  </a:lnTo>
                  <a:lnTo>
                    <a:pt x="430" y="4804"/>
                  </a:lnTo>
                  <a:lnTo>
                    <a:pt x="423" y="4788"/>
                  </a:lnTo>
                  <a:lnTo>
                    <a:pt x="416" y="4772"/>
                  </a:lnTo>
                  <a:lnTo>
                    <a:pt x="410" y="4754"/>
                  </a:lnTo>
                  <a:lnTo>
                    <a:pt x="404" y="4736"/>
                  </a:lnTo>
                  <a:lnTo>
                    <a:pt x="399" y="4716"/>
                  </a:lnTo>
                  <a:lnTo>
                    <a:pt x="395" y="4696"/>
                  </a:lnTo>
                  <a:lnTo>
                    <a:pt x="391" y="4673"/>
                  </a:lnTo>
                  <a:lnTo>
                    <a:pt x="389" y="4650"/>
                  </a:lnTo>
                  <a:lnTo>
                    <a:pt x="388" y="4627"/>
                  </a:lnTo>
                  <a:lnTo>
                    <a:pt x="388" y="4601"/>
                  </a:lnTo>
                  <a:lnTo>
                    <a:pt x="390" y="4574"/>
                  </a:lnTo>
                  <a:lnTo>
                    <a:pt x="393" y="4546"/>
                  </a:lnTo>
                  <a:lnTo>
                    <a:pt x="397" y="4517"/>
                  </a:lnTo>
                  <a:lnTo>
                    <a:pt x="403" y="4488"/>
                  </a:lnTo>
                  <a:lnTo>
                    <a:pt x="412" y="4456"/>
                  </a:lnTo>
                  <a:lnTo>
                    <a:pt x="421" y="4424"/>
                  </a:lnTo>
                  <a:lnTo>
                    <a:pt x="433" y="4392"/>
                  </a:lnTo>
                  <a:lnTo>
                    <a:pt x="449" y="4361"/>
                  </a:lnTo>
                  <a:lnTo>
                    <a:pt x="465" y="4329"/>
                  </a:lnTo>
                  <a:lnTo>
                    <a:pt x="484" y="4298"/>
                  </a:lnTo>
                  <a:lnTo>
                    <a:pt x="503" y="4268"/>
                  </a:lnTo>
                  <a:lnTo>
                    <a:pt x="525" y="4238"/>
                  </a:lnTo>
                  <a:lnTo>
                    <a:pt x="548" y="4209"/>
                  </a:lnTo>
                  <a:lnTo>
                    <a:pt x="573" y="4181"/>
                  </a:lnTo>
                  <a:lnTo>
                    <a:pt x="597" y="4152"/>
                  </a:lnTo>
                  <a:lnTo>
                    <a:pt x="650" y="4098"/>
                  </a:lnTo>
                  <a:lnTo>
                    <a:pt x="704" y="4048"/>
                  </a:lnTo>
                  <a:lnTo>
                    <a:pt x="758" y="4000"/>
                  </a:lnTo>
                  <a:lnTo>
                    <a:pt x="785" y="3978"/>
                  </a:lnTo>
                  <a:lnTo>
                    <a:pt x="811" y="3957"/>
                  </a:lnTo>
                  <a:lnTo>
                    <a:pt x="837" y="3936"/>
                  </a:lnTo>
                  <a:lnTo>
                    <a:pt x="863" y="3918"/>
                  </a:lnTo>
                  <a:lnTo>
                    <a:pt x="886" y="3900"/>
                  </a:lnTo>
                  <a:lnTo>
                    <a:pt x="909" y="3884"/>
                  </a:lnTo>
                  <a:lnTo>
                    <a:pt x="931" y="3870"/>
                  </a:lnTo>
                  <a:lnTo>
                    <a:pt x="950" y="3855"/>
                  </a:lnTo>
                  <a:lnTo>
                    <a:pt x="969" y="3843"/>
                  </a:lnTo>
                  <a:lnTo>
                    <a:pt x="986" y="3832"/>
                  </a:lnTo>
                  <a:lnTo>
                    <a:pt x="1000" y="3823"/>
                  </a:lnTo>
                  <a:lnTo>
                    <a:pt x="1012" y="3815"/>
                  </a:lnTo>
                  <a:lnTo>
                    <a:pt x="1022" y="3810"/>
                  </a:lnTo>
                  <a:lnTo>
                    <a:pt x="1029" y="3805"/>
                  </a:lnTo>
                  <a:lnTo>
                    <a:pt x="1033" y="3803"/>
                  </a:lnTo>
                  <a:lnTo>
                    <a:pt x="1035" y="3802"/>
                  </a:lnTo>
                  <a:lnTo>
                    <a:pt x="1034" y="3803"/>
                  </a:lnTo>
                  <a:lnTo>
                    <a:pt x="1033" y="3805"/>
                  </a:lnTo>
                  <a:lnTo>
                    <a:pt x="1032" y="3809"/>
                  </a:lnTo>
                  <a:lnTo>
                    <a:pt x="1030" y="3814"/>
                  </a:lnTo>
                  <a:lnTo>
                    <a:pt x="1027" y="3821"/>
                  </a:lnTo>
                  <a:lnTo>
                    <a:pt x="1024" y="3830"/>
                  </a:lnTo>
                  <a:lnTo>
                    <a:pt x="1020" y="3841"/>
                  </a:lnTo>
                  <a:lnTo>
                    <a:pt x="1015" y="3852"/>
                  </a:lnTo>
                  <a:lnTo>
                    <a:pt x="1011" y="3865"/>
                  </a:lnTo>
                  <a:lnTo>
                    <a:pt x="1007" y="3881"/>
                  </a:lnTo>
                  <a:lnTo>
                    <a:pt x="1002" y="3897"/>
                  </a:lnTo>
                  <a:lnTo>
                    <a:pt x="997" y="3915"/>
                  </a:lnTo>
                  <a:lnTo>
                    <a:pt x="992" y="3933"/>
                  </a:lnTo>
                  <a:lnTo>
                    <a:pt x="987" y="3954"/>
                  </a:lnTo>
                  <a:lnTo>
                    <a:pt x="981" y="3977"/>
                  </a:lnTo>
                  <a:lnTo>
                    <a:pt x="976" y="4000"/>
                  </a:lnTo>
                  <a:lnTo>
                    <a:pt x="971" y="4025"/>
                  </a:lnTo>
                  <a:lnTo>
                    <a:pt x="966" y="4051"/>
                  </a:lnTo>
                  <a:lnTo>
                    <a:pt x="962" y="4079"/>
                  </a:lnTo>
                  <a:lnTo>
                    <a:pt x="957" y="4107"/>
                  </a:lnTo>
                  <a:lnTo>
                    <a:pt x="953" y="4137"/>
                  </a:lnTo>
                  <a:lnTo>
                    <a:pt x="949" y="4168"/>
                  </a:lnTo>
                  <a:lnTo>
                    <a:pt x="945" y="4201"/>
                  </a:lnTo>
                  <a:lnTo>
                    <a:pt x="942" y="4235"/>
                  </a:lnTo>
                  <a:lnTo>
                    <a:pt x="940" y="4270"/>
                  </a:lnTo>
                  <a:lnTo>
                    <a:pt x="938" y="4306"/>
                  </a:lnTo>
                  <a:lnTo>
                    <a:pt x="937" y="4344"/>
                  </a:lnTo>
                  <a:lnTo>
                    <a:pt x="936" y="4382"/>
                  </a:lnTo>
                  <a:lnTo>
                    <a:pt x="936" y="4423"/>
                  </a:lnTo>
                  <a:lnTo>
                    <a:pt x="937" y="4464"/>
                  </a:lnTo>
                  <a:lnTo>
                    <a:pt x="938" y="4506"/>
                  </a:lnTo>
                  <a:lnTo>
                    <a:pt x="941" y="4549"/>
                  </a:lnTo>
                  <a:lnTo>
                    <a:pt x="943" y="4575"/>
                  </a:lnTo>
                  <a:lnTo>
                    <a:pt x="943" y="4599"/>
                  </a:lnTo>
                  <a:lnTo>
                    <a:pt x="943" y="4621"/>
                  </a:lnTo>
                  <a:lnTo>
                    <a:pt x="940" y="4643"/>
                  </a:lnTo>
                  <a:lnTo>
                    <a:pt x="937" y="4664"/>
                  </a:lnTo>
                  <a:lnTo>
                    <a:pt x="933" y="4682"/>
                  </a:lnTo>
                  <a:lnTo>
                    <a:pt x="927" y="4700"/>
                  </a:lnTo>
                  <a:lnTo>
                    <a:pt x="921" y="4716"/>
                  </a:lnTo>
                  <a:lnTo>
                    <a:pt x="912" y="4732"/>
                  </a:lnTo>
                  <a:lnTo>
                    <a:pt x="904" y="4746"/>
                  </a:lnTo>
                  <a:lnTo>
                    <a:pt x="896" y="4758"/>
                  </a:lnTo>
                  <a:lnTo>
                    <a:pt x="885" y="4771"/>
                  </a:lnTo>
                  <a:lnTo>
                    <a:pt x="866" y="4792"/>
                  </a:lnTo>
                  <a:lnTo>
                    <a:pt x="844" y="4810"/>
                  </a:lnTo>
                  <a:lnTo>
                    <a:pt x="821" y="4824"/>
                  </a:lnTo>
                  <a:lnTo>
                    <a:pt x="801" y="4836"/>
                  </a:lnTo>
                  <a:lnTo>
                    <a:pt x="780" y="4845"/>
                  </a:lnTo>
                  <a:lnTo>
                    <a:pt x="762" y="4851"/>
                  </a:lnTo>
                  <a:lnTo>
                    <a:pt x="746" y="4856"/>
                  </a:lnTo>
                  <a:lnTo>
                    <a:pt x="740" y="4857"/>
                  </a:lnTo>
                  <a:lnTo>
                    <a:pt x="734" y="4858"/>
                  </a:lnTo>
                  <a:lnTo>
                    <a:pt x="730" y="4859"/>
                  </a:lnTo>
                  <a:lnTo>
                    <a:pt x="725" y="4860"/>
                  </a:lnTo>
                  <a:lnTo>
                    <a:pt x="723" y="4860"/>
                  </a:lnTo>
                  <a:lnTo>
                    <a:pt x="723" y="4860"/>
                  </a:lnTo>
                  <a:lnTo>
                    <a:pt x="723" y="4861"/>
                  </a:lnTo>
                  <a:lnTo>
                    <a:pt x="724" y="4865"/>
                  </a:lnTo>
                  <a:lnTo>
                    <a:pt x="726" y="4869"/>
                  </a:lnTo>
                  <a:lnTo>
                    <a:pt x="728" y="4874"/>
                  </a:lnTo>
                  <a:lnTo>
                    <a:pt x="733" y="4881"/>
                  </a:lnTo>
                  <a:lnTo>
                    <a:pt x="737" y="4889"/>
                  </a:lnTo>
                  <a:lnTo>
                    <a:pt x="741" y="4899"/>
                  </a:lnTo>
                  <a:lnTo>
                    <a:pt x="747" y="4910"/>
                  </a:lnTo>
                  <a:lnTo>
                    <a:pt x="760" y="4933"/>
                  </a:lnTo>
                  <a:lnTo>
                    <a:pt x="777" y="4959"/>
                  </a:lnTo>
                  <a:lnTo>
                    <a:pt x="798" y="4987"/>
                  </a:lnTo>
                  <a:lnTo>
                    <a:pt x="820" y="5017"/>
                  </a:lnTo>
                  <a:lnTo>
                    <a:pt x="847" y="5046"/>
                  </a:lnTo>
                  <a:lnTo>
                    <a:pt x="877" y="5074"/>
                  </a:lnTo>
                  <a:lnTo>
                    <a:pt x="910" y="5100"/>
                  </a:lnTo>
                  <a:lnTo>
                    <a:pt x="946" y="5124"/>
                  </a:lnTo>
                  <a:lnTo>
                    <a:pt x="966" y="5134"/>
                  </a:lnTo>
                  <a:lnTo>
                    <a:pt x="987" y="5144"/>
                  </a:lnTo>
                  <a:lnTo>
                    <a:pt x="1008" y="5152"/>
                  </a:lnTo>
                  <a:lnTo>
                    <a:pt x="1030" y="5159"/>
                  </a:lnTo>
                  <a:lnTo>
                    <a:pt x="1054" y="5164"/>
                  </a:lnTo>
                  <a:lnTo>
                    <a:pt x="1077" y="5168"/>
                  </a:lnTo>
                  <a:lnTo>
                    <a:pt x="1102" y="5171"/>
                  </a:lnTo>
                  <a:lnTo>
                    <a:pt x="1128" y="5173"/>
                  </a:lnTo>
                  <a:lnTo>
                    <a:pt x="1190" y="5173"/>
                  </a:lnTo>
                  <a:lnTo>
                    <a:pt x="1219" y="5168"/>
                  </a:lnTo>
                  <a:lnTo>
                    <a:pt x="1247" y="5163"/>
                  </a:lnTo>
                  <a:lnTo>
                    <a:pt x="1275" y="5155"/>
                  </a:lnTo>
                  <a:lnTo>
                    <a:pt x="1301" y="5146"/>
                  </a:lnTo>
                  <a:lnTo>
                    <a:pt x="1328" y="5133"/>
                  </a:lnTo>
                  <a:lnTo>
                    <a:pt x="1355" y="5120"/>
                  </a:lnTo>
                  <a:lnTo>
                    <a:pt x="1382" y="5104"/>
                  </a:lnTo>
                  <a:lnTo>
                    <a:pt x="1409" y="5085"/>
                  </a:lnTo>
                  <a:lnTo>
                    <a:pt x="1436" y="5064"/>
                  </a:lnTo>
                  <a:lnTo>
                    <a:pt x="1464" y="5041"/>
                  </a:lnTo>
                  <a:lnTo>
                    <a:pt x="1492" y="5015"/>
                  </a:lnTo>
                  <a:lnTo>
                    <a:pt x="1521" y="4986"/>
                  </a:lnTo>
                  <a:lnTo>
                    <a:pt x="1551" y="4955"/>
                  </a:lnTo>
                  <a:lnTo>
                    <a:pt x="1583" y="4921"/>
                  </a:lnTo>
                  <a:lnTo>
                    <a:pt x="1616" y="4885"/>
                  </a:lnTo>
                  <a:lnTo>
                    <a:pt x="1650" y="4845"/>
                  </a:lnTo>
                  <a:lnTo>
                    <a:pt x="1686" y="4803"/>
                  </a:lnTo>
                  <a:lnTo>
                    <a:pt x="1724" y="4757"/>
                  </a:lnTo>
                  <a:lnTo>
                    <a:pt x="1763" y="4709"/>
                  </a:lnTo>
                  <a:lnTo>
                    <a:pt x="1805" y="4657"/>
                  </a:lnTo>
                  <a:lnTo>
                    <a:pt x="1850" y="4603"/>
                  </a:lnTo>
                  <a:lnTo>
                    <a:pt x="1896" y="4544"/>
                  </a:lnTo>
                  <a:lnTo>
                    <a:pt x="1945" y="4483"/>
                  </a:lnTo>
                  <a:lnTo>
                    <a:pt x="1997" y="4419"/>
                  </a:lnTo>
                  <a:lnTo>
                    <a:pt x="2052" y="4351"/>
                  </a:lnTo>
                  <a:lnTo>
                    <a:pt x="2110" y="4278"/>
                  </a:lnTo>
                  <a:lnTo>
                    <a:pt x="2171" y="4203"/>
                  </a:lnTo>
                  <a:lnTo>
                    <a:pt x="2236" y="4124"/>
                  </a:lnTo>
                  <a:lnTo>
                    <a:pt x="2304" y="4042"/>
                  </a:lnTo>
                  <a:lnTo>
                    <a:pt x="2375" y="3955"/>
                  </a:lnTo>
                  <a:lnTo>
                    <a:pt x="2451" y="3864"/>
                  </a:lnTo>
                  <a:lnTo>
                    <a:pt x="2491" y="3818"/>
                  </a:lnTo>
                  <a:lnTo>
                    <a:pt x="2531" y="3770"/>
                  </a:lnTo>
                  <a:lnTo>
                    <a:pt x="2565" y="3730"/>
                  </a:lnTo>
                  <a:lnTo>
                    <a:pt x="2601" y="3692"/>
                  </a:lnTo>
                  <a:lnTo>
                    <a:pt x="2638" y="3655"/>
                  </a:lnTo>
                  <a:lnTo>
                    <a:pt x="2676" y="3619"/>
                  </a:lnTo>
                  <a:lnTo>
                    <a:pt x="2717" y="3583"/>
                  </a:lnTo>
                  <a:lnTo>
                    <a:pt x="2757" y="3548"/>
                  </a:lnTo>
                  <a:lnTo>
                    <a:pt x="2799" y="3514"/>
                  </a:lnTo>
                  <a:lnTo>
                    <a:pt x="2843" y="3481"/>
                  </a:lnTo>
                  <a:lnTo>
                    <a:pt x="2931" y="3417"/>
                  </a:lnTo>
                  <a:lnTo>
                    <a:pt x="3024" y="3357"/>
                  </a:lnTo>
                  <a:lnTo>
                    <a:pt x="3119" y="3299"/>
                  </a:lnTo>
                  <a:lnTo>
                    <a:pt x="3217" y="3244"/>
                  </a:lnTo>
                  <a:lnTo>
                    <a:pt x="3318" y="3193"/>
                  </a:lnTo>
                  <a:lnTo>
                    <a:pt x="3420" y="3144"/>
                  </a:lnTo>
                  <a:lnTo>
                    <a:pt x="3522" y="3098"/>
                  </a:lnTo>
                  <a:lnTo>
                    <a:pt x="3625" y="3055"/>
                  </a:lnTo>
                  <a:lnTo>
                    <a:pt x="3727" y="3015"/>
                  </a:lnTo>
                  <a:lnTo>
                    <a:pt x="3830" y="2976"/>
                  </a:lnTo>
                  <a:lnTo>
                    <a:pt x="3931" y="2941"/>
                  </a:lnTo>
                  <a:lnTo>
                    <a:pt x="4031" y="2908"/>
                  </a:lnTo>
                  <a:lnTo>
                    <a:pt x="4128" y="2879"/>
                  </a:lnTo>
                  <a:lnTo>
                    <a:pt x="4223" y="2851"/>
                  </a:lnTo>
                  <a:lnTo>
                    <a:pt x="4315" y="2825"/>
                  </a:lnTo>
                  <a:lnTo>
                    <a:pt x="4359" y="2814"/>
                  </a:lnTo>
                  <a:lnTo>
                    <a:pt x="4403" y="2802"/>
                  </a:lnTo>
                  <a:lnTo>
                    <a:pt x="4445" y="2792"/>
                  </a:lnTo>
                  <a:lnTo>
                    <a:pt x="4487" y="2782"/>
                  </a:lnTo>
                  <a:lnTo>
                    <a:pt x="4527" y="2771"/>
                  </a:lnTo>
                  <a:lnTo>
                    <a:pt x="4567" y="2762"/>
                  </a:lnTo>
                  <a:lnTo>
                    <a:pt x="4604" y="2754"/>
                  </a:lnTo>
                  <a:lnTo>
                    <a:pt x="4640" y="2746"/>
                  </a:lnTo>
                  <a:lnTo>
                    <a:pt x="4675" y="2739"/>
                  </a:lnTo>
                  <a:lnTo>
                    <a:pt x="4709" y="2731"/>
                  </a:lnTo>
                  <a:lnTo>
                    <a:pt x="4741" y="2724"/>
                  </a:lnTo>
                  <a:lnTo>
                    <a:pt x="4771" y="2719"/>
                  </a:lnTo>
                  <a:lnTo>
                    <a:pt x="4800" y="2713"/>
                  </a:lnTo>
                  <a:lnTo>
                    <a:pt x="4827" y="2708"/>
                  </a:lnTo>
                  <a:lnTo>
                    <a:pt x="4853" y="2702"/>
                  </a:lnTo>
                  <a:lnTo>
                    <a:pt x="4875" y="2698"/>
                  </a:lnTo>
                  <a:lnTo>
                    <a:pt x="4897" y="2695"/>
                  </a:lnTo>
                  <a:lnTo>
                    <a:pt x="4917" y="2691"/>
                  </a:lnTo>
                  <a:lnTo>
                    <a:pt x="4934" y="2688"/>
                  </a:lnTo>
                  <a:lnTo>
                    <a:pt x="4949" y="2686"/>
                  </a:lnTo>
                  <a:lnTo>
                    <a:pt x="4962" y="2684"/>
                  </a:lnTo>
                  <a:lnTo>
                    <a:pt x="4973" y="2682"/>
                  </a:lnTo>
                  <a:lnTo>
                    <a:pt x="4982" y="2681"/>
                  </a:lnTo>
                  <a:lnTo>
                    <a:pt x="4988" y="2680"/>
                  </a:lnTo>
                  <a:lnTo>
                    <a:pt x="4992" y="2679"/>
                  </a:lnTo>
                  <a:lnTo>
                    <a:pt x="4993" y="2679"/>
                  </a:lnTo>
                  <a:lnTo>
                    <a:pt x="4991" y="2681"/>
                  </a:lnTo>
                  <a:lnTo>
                    <a:pt x="4986" y="2686"/>
                  </a:lnTo>
                  <a:lnTo>
                    <a:pt x="4978" y="2695"/>
                  </a:lnTo>
                  <a:lnTo>
                    <a:pt x="4967" y="2708"/>
                  </a:lnTo>
                  <a:lnTo>
                    <a:pt x="4953" y="2723"/>
                  </a:lnTo>
                  <a:lnTo>
                    <a:pt x="4936" y="2742"/>
                  </a:lnTo>
                  <a:lnTo>
                    <a:pt x="4918" y="2762"/>
                  </a:lnTo>
                  <a:lnTo>
                    <a:pt x="4897" y="2785"/>
                  </a:lnTo>
                  <a:lnTo>
                    <a:pt x="4873" y="2811"/>
                  </a:lnTo>
                  <a:lnTo>
                    <a:pt x="4848" y="2838"/>
                  </a:lnTo>
                  <a:lnTo>
                    <a:pt x="4822" y="2868"/>
                  </a:lnTo>
                  <a:lnTo>
                    <a:pt x="4794" y="2899"/>
                  </a:lnTo>
                  <a:lnTo>
                    <a:pt x="4765" y="2932"/>
                  </a:lnTo>
                  <a:lnTo>
                    <a:pt x="4734" y="2966"/>
                  </a:lnTo>
                  <a:lnTo>
                    <a:pt x="4702" y="3001"/>
                  </a:lnTo>
                  <a:lnTo>
                    <a:pt x="4670" y="3037"/>
                  </a:lnTo>
                  <a:lnTo>
                    <a:pt x="4603" y="3111"/>
                  </a:lnTo>
                  <a:lnTo>
                    <a:pt x="4535" y="3188"/>
                  </a:lnTo>
                  <a:lnTo>
                    <a:pt x="4468" y="3263"/>
                  </a:lnTo>
                  <a:lnTo>
                    <a:pt x="4401" y="3337"/>
                  </a:lnTo>
                  <a:lnTo>
                    <a:pt x="4369" y="3372"/>
                  </a:lnTo>
                  <a:lnTo>
                    <a:pt x="4339" y="3407"/>
                  </a:lnTo>
                  <a:lnTo>
                    <a:pt x="4309" y="3440"/>
                  </a:lnTo>
                  <a:lnTo>
                    <a:pt x="4280" y="3473"/>
                  </a:lnTo>
                  <a:lnTo>
                    <a:pt x="4253" y="3503"/>
                  </a:lnTo>
                  <a:lnTo>
                    <a:pt x="4227" y="3532"/>
                  </a:lnTo>
                  <a:lnTo>
                    <a:pt x="4204" y="3558"/>
                  </a:lnTo>
                  <a:lnTo>
                    <a:pt x="4183" y="3583"/>
                  </a:lnTo>
                  <a:lnTo>
                    <a:pt x="4164" y="3607"/>
                  </a:lnTo>
                  <a:lnTo>
                    <a:pt x="4143" y="3634"/>
                  </a:lnTo>
                  <a:lnTo>
                    <a:pt x="4121" y="3661"/>
                  </a:lnTo>
                  <a:lnTo>
                    <a:pt x="4097" y="3691"/>
                  </a:lnTo>
                  <a:lnTo>
                    <a:pt x="4071" y="3723"/>
                  </a:lnTo>
                  <a:lnTo>
                    <a:pt x="4044" y="3756"/>
                  </a:lnTo>
                  <a:lnTo>
                    <a:pt x="4016" y="3791"/>
                  </a:lnTo>
                  <a:lnTo>
                    <a:pt x="3988" y="3828"/>
                  </a:lnTo>
                  <a:lnTo>
                    <a:pt x="3958" y="3865"/>
                  </a:lnTo>
                  <a:lnTo>
                    <a:pt x="3927" y="3905"/>
                  </a:lnTo>
                  <a:lnTo>
                    <a:pt x="3897" y="3945"/>
                  </a:lnTo>
                  <a:lnTo>
                    <a:pt x="3866" y="3987"/>
                  </a:lnTo>
                  <a:lnTo>
                    <a:pt x="3834" y="4029"/>
                  </a:lnTo>
                  <a:lnTo>
                    <a:pt x="3803" y="4073"/>
                  </a:lnTo>
                  <a:lnTo>
                    <a:pt x="3742" y="4163"/>
                  </a:lnTo>
                  <a:lnTo>
                    <a:pt x="3684" y="4257"/>
                  </a:lnTo>
                  <a:lnTo>
                    <a:pt x="3656" y="4305"/>
                  </a:lnTo>
                  <a:lnTo>
                    <a:pt x="3629" y="4354"/>
                  </a:lnTo>
                  <a:lnTo>
                    <a:pt x="3605" y="4402"/>
                  </a:lnTo>
                  <a:lnTo>
                    <a:pt x="3581" y="4451"/>
                  </a:lnTo>
                  <a:lnTo>
                    <a:pt x="3558" y="4502"/>
                  </a:lnTo>
                  <a:lnTo>
                    <a:pt x="3538" y="4551"/>
                  </a:lnTo>
                  <a:lnTo>
                    <a:pt x="3520" y="4602"/>
                  </a:lnTo>
                  <a:lnTo>
                    <a:pt x="3504" y="4652"/>
                  </a:lnTo>
                  <a:lnTo>
                    <a:pt x="3491" y="4703"/>
                  </a:lnTo>
                  <a:lnTo>
                    <a:pt x="3480" y="4753"/>
                  </a:lnTo>
                  <a:lnTo>
                    <a:pt x="3471" y="4804"/>
                  </a:lnTo>
                  <a:lnTo>
                    <a:pt x="3466" y="4854"/>
                  </a:lnTo>
                  <a:lnTo>
                    <a:pt x="3464" y="4905"/>
                  </a:lnTo>
                  <a:lnTo>
                    <a:pt x="3465" y="4954"/>
                  </a:lnTo>
                  <a:lnTo>
                    <a:pt x="3469" y="4984"/>
                  </a:lnTo>
                  <a:lnTo>
                    <a:pt x="3474" y="5014"/>
                  </a:lnTo>
                  <a:lnTo>
                    <a:pt x="3482" y="5045"/>
                  </a:lnTo>
                  <a:lnTo>
                    <a:pt x="3491" y="5076"/>
                  </a:lnTo>
                  <a:lnTo>
                    <a:pt x="3501" y="5107"/>
                  </a:lnTo>
                  <a:lnTo>
                    <a:pt x="3513" y="5139"/>
                  </a:lnTo>
                  <a:lnTo>
                    <a:pt x="3526" y="5170"/>
                  </a:lnTo>
                  <a:lnTo>
                    <a:pt x="3541" y="5202"/>
                  </a:lnTo>
                  <a:lnTo>
                    <a:pt x="3557" y="5234"/>
                  </a:lnTo>
                  <a:lnTo>
                    <a:pt x="3574" y="5267"/>
                  </a:lnTo>
                  <a:lnTo>
                    <a:pt x="3591" y="5300"/>
                  </a:lnTo>
                  <a:lnTo>
                    <a:pt x="3611" y="5333"/>
                  </a:lnTo>
                  <a:lnTo>
                    <a:pt x="3651" y="5399"/>
                  </a:lnTo>
                  <a:lnTo>
                    <a:pt x="3695" y="5465"/>
                  </a:lnTo>
                  <a:lnTo>
                    <a:pt x="3742" y="5530"/>
                  </a:lnTo>
                  <a:lnTo>
                    <a:pt x="3790" y="5595"/>
                  </a:lnTo>
                  <a:lnTo>
                    <a:pt x="3840" y="5659"/>
                  </a:lnTo>
                  <a:lnTo>
                    <a:pt x="3890" y="5722"/>
                  </a:lnTo>
                  <a:lnTo>
                    <a:pt x="3941" y="5782"/>
                  </a:lnTo>
                  <a:lnTo>
                    <a:pt x="3992" y="5841"/>
                  </a:lnTo>
                  <a:lnTo>
                    <a:pt x="4041" y="5898"/>
                  </a:lnTo>
                  <a:lnTo>
                    <a:pt x="4089" y="5951"/>
                  </a:lnTo>
                  <a:lnTo>
                    <a:pt x="4117" y="5986"/>
                  </a:lnTo>
                  <a:lnTo>
                    <a:pt x="4141" y="6020"/>
                  </a:lnTo>
                  <a:lnTo>
                    <a:pt x="4164" y="6052"/>
                  </a:lnTo>
                  <a:lnTo>
                    <a:pt x="4184" y="6084"/>
                  </a:lnTo>
                  <a:lnTo>
                    <a:pt x="4201" y="6114"/>
                  </a:lnTo>
                  <a:lnTo>
                    <a:pt x="4217" y="6142"/>
                  </a:lnTo>
                  <a:lnTo>
                    <a:pt x="4230" y="6169"/>
                  </a:lnTo>
                  <a:lnTo>
                    <a:pt x="4240" y="6193"/>
                  </a:lnTo>
                  <a:lnTo>
                    <a:pt x="4250" y="6215"/>
                  </a:lnTo>
                  <a:lnTo>
                    <a:pt x="4258" y="6236"/>
                  </a:lnTo>
                  <a:lnTo>
                    <a:pt x="4264" y="6253"/>
                  </a:lnTo>
                  <a:lnTo>
                    <a:pt x="4268" y="6267"/>
                  </a:lnTo>
                  <a:lnTo>
                    <a:pt x="4272" y="6279"/>
                  </a:lnTo>
                  <a:lnTo>
                    <a:pt x="4275" y="6287"/>
                  </a:lnTo>
                  <a:lnTo>
                    <a:pt x="4276" y="6293"/>
                  </a:lnTo>
                  <a:lnTo>
                    <a:pt x="4276" y="6294"/>
                  </a:lnTo>
                  <a:lnTo>
                    <a:pt x="3902" y="6856"/>
                  </a:lnTo>
                  <a:lnTo>
                    <a:pt x="3902" y="6856"/>
                  </a:lnTo>
                  <a:lnTo>
                    <a:pt x="3904" y="6858"/>
                  </a:lnTo>
                  <a:lnTo>
                    <a:pt x="3906" y="6861"/>
                  </a:lnTo>
                  <a:lnTo>
                    <a:pt x="3909" y="6865"/>
                  </a:lnTo>
                  <a:lnTo>
                    <a:pt x="3914" y="6870"/>
                  </a:lnTo>
                  <a:lnTo>
                    <a:pt x="3919" y="6877"/>
                  </a:lnTo>
                  <a:lnTo>
                    <a:pt x="3926" y="6884"/>
                  </a:lnTo>
                  <a:lnTo>
                    <a:pt x="3932" y="6893"/>
                  </a:lnTo>
                  <a:lnTo>
                    <a:pt x="3948" y="6912"/>
                  </a:lnTo>
                  <a:lnTo>
                    <a:pt x="3968" y="6936"/>
                  </a:lnTo>
                  <a:lnTo>
                    <a:pt x="3992" y="6963"/>
                  </a:lnTo>
                  <a:lnTo>
                    <a:pt x="4017" y="6993"/>
                  </a:lnTo>
                  <a:lnTo>
                    <a:pt x="4045" y="7025"/>
                  </a:lnTo>
                  <a:lnTo>
                    <a:pt x="4077" y="7059"/>
                  </a:lnTo>
                  <a:lnTo>
                    <a:pt x="4110" y="7095"/>
                  </a:lnTo>
                  <a:lnTo>
                    <a:pt x="4147" y="7133"/>
                  </a:lnTo>
                  <a:lnTo>
                    <a:pt x="4185" y="7173"/>
                  </a:lnTo>
                  <a:lnTo>
                    <a:pt x="4225" y="7213"/>
                  </a:lnTo>
                  <a:lnTo>
                    <a:pt x="4267" y="7254"/>
                  </a:lnTo>
                  <a:lnTo>
                    <a:pt x="4311" y="7295"/>
                  </a:lnTo>
                  <a:lnTo>
                    <a:pt x="4356" y="7338"/>
                  </a:lnTo>
                  <a:lnTo>
                    <a:pt x="4403" y="7379"/>
                  </a:lnTo>
                  <a:lnTo>
                    <a:pt x="4451" y="7419"/>
                  </a:lnTo>
                  <a:lnTo>
                    <a:pt x="4500" y="7459"/>
                  </a:lnTo>
                  <a:lnTo>
                    <a:pt x="4550" y="7498"/>
                  </a:lnTo>
                  <a:lnTo>
                    <a:pt x="4601" y="7535"/>
                  </a:lnTo>
                  <a:lnTo>
                    <a:pt x="4652" y="7571"/>
                  </a:lnTo>
                  <a:lnTo>
                    <a:pt x="4704" y="7604"/>
                  </a:lnTo>
                  <a:lnTo>
                    <a:pt x="4756" y="7635"/>
                  </a:lnTo>
                  <a:lnTo>
                    <a:pt x="4808" y="7664"/>
                  </a:lnTo>
                  <a:lnTo>
                    <a:pt x="4861" y="7690"/>
                  </a:lnTo>
                  <a:lnTo>
                    <a:pt x="4912" y="7712"/>
                  </a:lnTo>
                  <a:lnTo>
                    <a:pt x="4965" y="7730"/>
                  </a:lnTo>
                  <a:lnTo>
                    <a:pt x="4991" y="7737"/>
                  </a:lnTo>
                  <a:lnTo>
                    <a:pt x="5017" y="7744"/>
                  </a:lnTo>
                  <a:lnTo>
                    <a:pt x="5042" y="7750"/>
                  </a:lnTo>
                  <a:lnTo>
                    <a:pt x="5067" y="7754"/>
                  </a:lnTo>
                  <a:lnTo>
                    <a:pt x="5092" y="7757"/>
                  </a:lnTo>
                  <a:lnTo>
                    <a:pt x="5117" y="7759"/>
                  </a:lnTo>
                  <a:lnTo>
                    <a:pt x="5163" y="7758"/>
                  </a:lnTo>
                  <a:lnTo>
                    <a:pt x="5210" y="7755"/>
                  </a:lnTo>
                  <a:lnTo>
                    <a:pt x="5256" y="7750"/>
                  </a:lnTo>
                  <a:lnTo>
                    <a:pt x="5302" y="7742"/>
                  </a:lnTo>
                  <a:lnTo>
                    <a:pt x="5347" y="7733"/>
                  </a:lnTo>
                  <a:lnTo>
                    <a:pt x="5393" y="7723"/>
                  </a:lnTo>
                  <a:lnTo>
                    <a:pt x="5437" y="7711"/>
                  </a:lnTo>
                  <a:lnTo>
                    <a:pt x="5482" y="7696"/>
                  </a:lnTo>
                  <a:lnTo>
                    <a:pt x="5527" y="7681"/>
                  </a:lnTo>
                  <a:lnTo>
                    <a:pt x="5571" y="7664"/>
                  </a:lnTo>
                  <a:lnTo>
                    <a:pt x="5616" y="7646"/>
                  </a:lnTo>
                  <a:lnTo>
                    <a:pt x="5660" y="7626"/>
                  </a:lnTo>
                  <a:lnTo>
                    <a:pt x="5704" y="7605"/>
                  </a:lnTo>
                  <a:lnTo>
                    <a:pt x="5749" y="7584"/>
                  </a:lnTo>
                  <a:lnTo>
                    <a:pt x="5838" y="7538"/>
                  </a:lnTo>
                  <a:lnTo>
                    <a:pt x="5927" y="7487"/>
                  </a:lnTo>
                  <a:lnTo>
                    <a:pt x="6017" y="7435"/>
                  </a:lnTo>
                  <a:lnTo>
                    <a:pt x="6108" y="7381"/>
                  </a:lnTo>
                  <a:lnTo>
                    <a:pt x="6200" y="7325"/>
                  </a:lnTo>
                  <a:lnTo>
                    <a:pt x="6293" y="7269"/>
                  </a:lnTo>
                  <a:lnTo>
                    <a:pt x="6388" y="7213"/>
                  </a:lnTo>
                  <a:lnTo>
                    <a:pt x="6484" y="7158"/>
                  </a:lnTo>
                  <a:lnTo>
                    <a:pt x="6582" y="7105"/>
                  </a:lnTo>
                  <a:lnTo>
                    <a:pt x="6618" y="7087"/>
                  </a:lnTo>
                  <a:lnTo>
                    <a:pt x="6653" y="7072"/>
                  </a:lnTo>
                  <a:lnTo>
                    <a:pt x="6690" y="7059"/>
                  </a:lnTo>
                  <a:lnTo>
                    <a:pt x="6727" y="7045"/>
                  </a:lnTo>
                  <a:lnTo>
                    <a:pt x="6764" y="7034"/>
                  </a:lnTo>
                  <a:lnTo>
                    <a:pt x="6803" y="7025"/>
                  </a:lnTo>
                  <a:lnTo>
                    <a:pt x="6840" y="7015"/>
                  </a:lnTo>
                  <a:lnTo>
                    <a:pt x="6878" y="7007"/>
                  </a:lnTo>
                  <a:lnTo>
                    <a:pt x="6916" y="7001"/>
                  </a:lnTo>
                  <a:lnTo>
                    <a:pt x="6954" y="6995"/>
                  </a:lnTo>
                  <a:lnTo>
                    <a:pt x="7029" y="6986"/>
                  </a:lnTo>
                  <a:lnTo>
                    <a:pt x="7103" y="6981"/>
                  </a:lnTo>
                  <a:lnTo>
                    <a:pt x="7174" y="6980"/>
                  </a:lnTo>
                  <a:lnTo>
                    <a:pt x="7237" y="6981"/>
                  </a:lnTo>
                  <a:lnTo>
                    <a:pt x="7298" y="6984"/>
                  </a:lnTo>
                  <a:lnTo>
                    <a:pt x="7356" y="6988"/>
                  </a:lnTo>
                  <a:lnTo>
                    <a:pt x="7411" y="6995"/>
                  </a:lnTo>
                  <a:lnTo>
                    <a:pt x="7463" y="7002"/>
                  </a:lnTo>
                  <a:lnTo>
                    <a:pt x="7512" y="7009"/>
                  </a:lnTo>
                  <a:lnTo>
                    <a:pt x="7557" y="7018"/>
                  </a:lnTo>
                  <a:lnTo>
                    <a:pt x="7599" y="7027"/>
                  </a:lnTo>
                  <a:lnTo>
                    <a:pt x="7618" y="7031"/>
                  </a:lnTo>
                  <a:lnTo>
                    <a:pt x="7636" y="7035"/>
                  </a:lnTo>
                  <a:lnTo>
                    <a:pt x="7653" y="7040"/>
                  </a:lnTo>
                  <a:lnTo>
                    <a:pt x="7669" y="7044"/>
                  </a:lnTo>
                  <a:lnTo>
                    <a:pt x="7684" y="7048"/>
                  </a:lnTo>
                  <a:lnTo>
                    <a:pt x="7698" y="7051"/>
                  </a:lnTo>
                  <a:lnTo>
                    <a:pt x="7710" y="7055"/>
                  </a:lnTo>
                  <a:lnTo>
                    <a:pt x="7721" y="7059"/>
                  </a:lnTo>
                  <a:lnTo>
                    <a:pt x="7732" y="7062"/>
                  </a:lnTo>
                  <a:lnTo>
                    <a:pt x="7741" y="7065"/>
                  </a:lnTo>
                  <a:lnTo>
                    <a:pt x="7748" y="7067"/>
                  </a:lnTo>
                  <a:lnTo>
                    <a:pt x="7754" y="7069"/>
                  </a:lnTo>
                  <a:lnTo>
                    <a:pt x="7760" y="7071"/>
                  </a:lnTo>
                  <a:lnTo>
                    <a:pt x="7763" y="7072"/>
                  </a:lnTo>
                  <a:lnTo>
                    <a:pt x="7766" y="7073"/>
                  </a:lnTo>
                  <a:lnTo>
                    <a:pt x="7766" y="7073"/>
                  </a:lnTo>
                  <a:lnTo>
                    <a:pt x="7766" y="7073"/>
                  </a:lnTo>
                  <a:lnTo>
                    <a:pt x="7767" y="7071"/>
                  </a:lnTo>
                  <a:lnTo>
                    <a:pt x="7768" y="7069"/>
                  </a:lnTo>
                  <a:lnTo>
                    <a:pt x="7769" y="7065"/>
                  </a:lnTo>
                  <a:lnTo>
                    <a:pt x="7772" y="7054"/>
                  </a:lnTo>
                  <a:lnTo>
                    <a:pt x="7775" y="7040"/>
                  </a:lnTo>
                  <a:lnTo>
                    <a:pt x="7780" y="7021"/>
                  </a:lnTo>
                  <a:lnTo>
                    <a:pt x="7786" y="7000"/>
                  </a:lnTo>
                  <a:lnTo>
                    <a:pt x="7794" y="6974"/>
                  </a:lnTo>
                  <a:lnTo>
                    <a:pt x="7801" y="6945"/>
                  </a:lnTo>
                  <a:lnTo>
                    <a:pt x="7809" y="6913"/>
                  </a:lnTo>
                  <a:lnTo>
                    <a:pt x="7817" y="6879"/>
                  </a:lnTo>
                  <a:lnTo>
                    <a:pt x="7827" y="6841"/>
                  </a:lnTo>
                  <a:lnTo>
                    <a:pt x="7837" y="6800"/>
                  </a:lnTo>
                  <a:lnTo>
                    <a:pt x="7847" y="6758"/>
                  </a:lnTo>
                  <a:lnTo>
                    <a:pt x="7858" y="6711"/>
                  </a:lnTo>
                  <a:lnTo>
                    <a:pt x="7868" y="6664"/>
                  </a:lnTo>
                  <a:lnTo>
                    <a:pt x="7879" y="6614"/>
                  </a:lnTo>
                  <a:lnTo>
                    <a:pt x="7890" y="6562"/>
                  </a:lnTo>
                  <a:lnTo>
                    <a:pt x="7901" y="6507"/>
                  </a:lnTo>
                  <a:lnTo>
                    <a:pt x="7912" y="6452"/>
                  </a:lnTo>
                  <a:lnTo>
                    <a:pt x="7923" y="6395"/>
                  </a:lnTo>
                  <a:lnTo>
                    <a:pt x="7933" y="6336"/>
                  </a:lnTo>
                  <a:lnTo>
                    <a:pt x="7943" y="6276"/>
                  </a:lnTo>
                  <a:lnTo>
                    <a:pt x="7954" y="6215"/>
                  </a:lnTo>
                  <a:lnTo>
                    <a:pt x="7963" y="6153"/>
                  </a:lnTo>
                  <a:lnTo>
                    <a:pt x="7981" y="6026"/>
                  </a:lnTo>
                  <a:lnTo>
                    <a:pt x="7996" y="5899"/>
                  </a:lnTo>
                  <a:lnTo>
                    <a:pt x="8007" y="5769"/>
                  </a:lnTo>
                  <a:lnTo>
                    <a:pt x="8012" y="5704"/>
                  </a:lnTo>
                  <a:lnTo>
                    <a:pt x="8016" y="5640"/>
                  </a:lnTo>
                  <a:lnTo>
                    <a:pt x="8017" y="5597"/>
                  </a:lnTo>
                  <a:lnTo>
                    <a:pt x="8017" y="5555"/>
                  </a:lnTo>
                  <a:lnTo>
                    <a:pt x="8017" y="5513"/>
                  </a:lnTo>
                  <a:lnTo>
                    <a:pt x="8016" y="5473"/>
                  </a:lnTo>
                  <a:lnTo>
                    <a:pt x="8012" y="5397"/>
                  </a:lnTo>
                  <a:lnTo>
                    <a:pt x="8004" y="5323"/>
                  </a:lnTo>
                  <a:lnTo>
                    <a:pt x="7996" y="5253"/>
                  </a:lnTo>
                  <a:lnTo>
                    <a:pt x="7986" y="5186"/>
                  </a:lnTo>
                  <a:lnTo>
                    <a:pt x="7972" y="5121"/>
                  </a:lnTo>
                  <a:lnTo>
                    <a:pt x="7959" y="5058"/>
                  </a:lnTo>
                  <a:lnTo>
                    <a:pt x="7943" y="4997"/>
                  </a:lnTo>
                  <a:lnTo>
                    <a:pt x="7927" y="4938"/>
                  </a:lnTo>
                  <a:lnTo>
                    <a:pt x="7892" y="4820"/>
                  </a:lnTo>
                  <a:lnTo>
                    <a:pt x="7855" y="4704"/>
                  </a:lnTo>
                  <a:lnTo>
                    <a:pt x="7835" y="4644"/>
                  </a:lnTo>
                  <a:lnTo>
                    <a:pt x="7817" y="4584"/>
                  </a:lnTo>
                  <a:lnTo>
                    <a:pt x="7799" y="4523"/>
                  </a:lnTo>
                  <a:lnTo>
                    <a:pt x="7781" y="4460"/>
                  </a:lnTo>
                  <a:lnTo>
                    <a:pt x="7765" y="4395"/>
                  </a:lnTo>
                  <a:lnTo>
                    <a:pt x="7750" y="4327"/>
                  </a:lnTo>
                  <a:lnTo>
                    <a:pt x="7736" y="4256"/>
                  </a:lnTo>
                  <a:lnTo>
                    <a:pt x="7723" y="4183"/>
                  </a:lnTo>
                  <a:lnTo>
                    <a:pt x="7713" y="4104"/>
                  </a:lnTo>
                  <a:lnTo>
                    <a:pt x="7709" y="4064"/>
                  </a:lnTo>
                  <a:lnTo>
                    <a:pt x="7705" y="4023"/>
                  </a:lnTo>
                  <a:lnTo>
                    <a:pt x="7701" y="3981"/>
                  </a:lnTo>
                  <a:lnTo>
                    <a:pt x="7698" y="3936"/>
                  </a:lnTo>
                  <a:lnTo>
                    <a:pt x="7696" y="3892"/>
                  </a:lnTo>
                  <a:lnTo>
                    <a:pt x="7695" y="3846"/>
                  </a:lnTo>
                  <a:lnTo>
                    <a:pt x="7694" y="3798"/>
                  </a:lnTo>
                  <a:lnTo>
                    <a:pt x="7694" y="3750"/>
                  </a:lnTo>
                  <a:lnTo>
                    <a:pt x="7694" y="3700"/>
                  </a:lnTo>
                  <a:lnTo>
                    <a:pt x="7695" y="3648"/>
                  </a:lnTo>
                  <a:lnTo>
                    <a:pt x="7697" y="3596"/>
                  </a:lnTo>
                  <a:lnTo>
                    <a:pt x="7700" y="3541"/>
                  </a:lnTo>
                  <a:lnTo>
                    <a:pt x="7703" y="3484"/>
                  </a:lnTo>
                  <a:lnTo>
                    <a:pt x="7708" y="3427"/>
                  </a:lnTo>
                  <a:lnTo>
                    <a:pt x="7713" y="3367"/>
                  </a:lnTo>
                  <a:lnTo>
                    <a:pt x="7719" y="3306"/>
                  </a:lnTo>
                  <a:lnTo>
                    <a:pt x="7727" y="3243"/>
                  </a:lnTo>
                  <a:lnTo>
                    <a:pt x="7735" y="3178"/>
                  </a:lnTo>
                  <a:lnTo>
                    <a:pt x="7715" y="3213"/>
                  </a:lnTo>
                  <a:lnTo>
                    <a:pt x="7695" y="3250"/>
                  </a:lnTo>
                  <a:lnTo>
                    <a:pt x="7675" y="3289"/>
                  </a:lnTo>
                  <a:lnTo>
                    <a:pt x="7655" y="3328"/>
                  </a:lnTo>
                  <a:lnTo>
                    <a:pt x="7637" y="3368"/>
                  </a:lnTo>
                  <a:lnTo>
                    <a:pt x="7618" y="3410"/>
                  </a:lnTo>
                  <a:lnTo>
                    <a:pt x="7601" y="3453"/>
                  </a:lnTo>
                  <a:lnTo>
                    <a:pt x="7584" y="3499"/>
                  </a:lnTo>
                  <a:lnTo>
                    <a:pt x="7568" y="3545"/>
                  </a:lnTo>
                  <a:lnTo>
                    <a:pt x="7552" y="3592"/>
                  </a:lnTo>
                  <a:lnTo>
                    <a:pt x="7538" y="3643"/>
                  </a:lnTo>
                  <a:lnTo>
                    <a:pt x="7524" y="3694"/>
                  </a:lnTo>
                  <a:lnTo>
                    <a:pt x="7512" y="3747"/>
                  </a:lnTo>
                  <a:lnTo>
                    <a:pt x="7501" y="3803"/>
                  </a:lnTo>
                  <a:lnTo>
                    <a:pt x="7490" y="3859"/>
                  </a:lnTo>
                  <a:lnTo>
                    <a:pt x="7482" y="3918"/>
                  </a:lnTo>
                  <a:lnTo>
                    <a:pt x="7475" y="3979"/>
                  </a:lnTo>
                  <a:lnTo>
                    <a:pt x="7469" y="4042"/>
                  </a:lnTo>
                  <a:lnTo>
                    <a:pt x="7464" y="4107"/>
                  </a:lnTo>
                  <a:lnTo>
                    <a:pt x="7461" y="4174"/>
                  </a:lnTo>
                  <a:lnTo>
                    <a:pt x="7460" y="4243"/>
                  </a:lnTo>
                  <a:lnTo>
                    <a:pt x="7461" y="4316"/>
                  </a:lnTo>
                  <a:lnTo>
                    <a:pt x="7463" y="4390"/>
                  </a:lnTo>
                  <a:lnTo>
                    <a:pt x="7467" y="4466"/>
                  </a:lnTo>
                  <a:lnTo>
                    <a:pt x="7474" y="4545"/>
                  </a:lnTo>
                  <a:lnTo>
                    <a:pt x="7482" y="4627"/>
                  </a:lnTo>
                  <a:lnTo>
                    <a:pt x="7493" y="4711"/>
                  </a:lnTo>
                  <a:lnTo>
                    <a:pt x="7506" y="4798"/>
                  </a:lnTo>
                  <a:lnTo>
                    <a:pt x="7520" y="4887"/>
                  </a:lnTo>
                  <a:lnTo>
                    <a:pt x="7538" y="4980"/>
                  </a:lnTo>
                  <a:lnTo>
                    <a:pt x="7557" y="5075"/>
                  </a:lnTo>
                  <a:lnTo>
                    <a:pt x="7579" y="5173"/>
                  </a:lnTo>
                  <a:lnTo>
                    <a:pt x="7592" y="5228"/>
                  </a:lnTo>
                  <a:lnTo>
                    <a:pt x="7603" y="5287"/>
                  </a:lnTo>
                  <a:lnTo>
                    <a:pt x="7611" y="5346"/>
                  </a:lnTo>
                  <a:lnTo>
                    <a:pt x="7616" y="5405"/>
                  </a:lnTo>
                  <a:lnTo>
                    <a:pt x="7619" y="5466"/>
                  </a:lnTo>
                  <a:lnTo>
                    <a:pt x="7620" y="5528"/>
                  </a:lnTo>
                  <a:lnTo>
                    <a:pt x="7619" y="5589"/>
                  </a:lnTo>
                  <a:lnTo>
                    <a:pt x="7616" y="5651"/>
                  </a:lnTo>
                  <a:lnTo>
                    <a:pt x="7611" y="5713"/>
                  </a:lnTo>
                  <a:lnTo>
                    <a:pt x="7605" y="5774"/>
                  </a:lnTo>
                  <a:lnTo>
                    <a:pt x="7598" y="5836"/>
                  </a:lnTo>
                  <a:lnTo>
                    <a:pt x="7588" y="5896"/>
                  </a:lnTo>
                  <a:lnTo>
                    <a:pt x="7579" y="5955"/>
                  </a:lnTo>
                  <a:lnTo>
                    <a:pt x="7568" y="6014"/>
                  </a:lnTo>
                  <a:lnTo>
                    <a:pt x="7556" y="6071"/>
                  </a:lnTo>
                  <a:lnTo>
                    <a:pt x="7544" y="6126"/>
                  </a:lnTo>
                  <a:lnTo>
                    <a:pt x="7531" y="6181"/>
                  </a:lnTo>
                  <a:lnTo>
                    <a:pt x="7519" y="6232"/>
                  </a:lnTo>
                  <a:lnTo>
                    <a:pt x="7506" y="6282"/>
                  </a:lnTo>
                  <a:lnTo>
                    <a:pt x="7492" y="6329"/>
                  </a:lnTo>
                  <a:lnTo>
                    <a:pt x="7480" y="6375"/>
                  </a:lnTo>
                  <a:lnTo>
                    <a:pt x="7467" y="6417"/>
                  </a:lnTo>
                  <a:lnTo>
                    <a:pt x="7455" y="6456"/>
                  </a:lnTo>
                  <a:lnTo>
                    <a:pt x="7444" y="6491"/>
                  </a:lnTo>
                  <a:lnTo>
                    <a:pt x="7432" y="6524"/>
                  </a:lnTo>
                  <a:lnTo>
                    <a:pt x="7423" y="6553"/>
                  </a:lnTo>
                  <a:lnTo>
                    <a:pt x="7414" y="6578"/>
                  </a:lnTo>
                  <a:lnTo>
                    <a:pt x="7411" y="6589"/>
                  </a:lnTo>
                  <a:lnTo>
                    <a:pt x="7407" y="6598"/>
                  </a:lnTo>
                  <a:lnTo>
                    <a:pt x="7403" y="6607"/>
                  </a:lnTo>
                  <a:lnTo>
                    <a:pt x="7400" y="6615"/>
                  </a:lnTo>
                  <a:lnTo>
                    <a:pt x="7398" y="6622"/>
                  </a:lnTo>
                  <a:lnTo>
                    <a:pt x="7396" y="6627"/>
                  </a:lnTo>
                  <a:lnTo>
                    <a:pt x="7394" y="6631"/>
                  </a:lnTo>
                  <a:lnTo>
                    <a:pt x="7393" y="6634"/>
                  </a:lnTo>
                  <a:lnTo>
                    <a:pt x="7393" y="6636"/>
                  </a:lnTo>
                  <a:lnTo>
                    <a:pt x="7392" y="6637"/>
                  </a:lnTo>
                  <a:lnTo>
                    <a:pt x="7391" y="6636"/>
                  </a:lnTo>
                  <a:lnTo>
                    <a:pt x="7388" y="6635"/>
                  </a:lnTo>
                  <a:lnTo>
                    <a:pt x="7383" y="6634"/>
                  </a:lnTo>
                  <a:lnTo>
                    <a:pt x="7376" y="6632"/>
                  </a:lnTo>
                  <a:lnTo>
                    <a:pt x="7366" y="6630"/>
                  </a:lnTo>
                  <a:lnTo>
                    <a:pt x="7355" y="6627"/>
                  </a:lnTo>
                  <a:lnTo>
                    <a:pt x="7342" y="6625"/>
                  </a:lnTo>
                  <a:lnTo>
                    <a:pt x="7326" y="6622"/>
                  </a:lnTo>
                  <a:lnTo>
                    <a:pt x="7310" y="6619"/>
                  </a:lnTo>
                  <a:lnTo>
                    <a:pt x="7291" y="6616"/>
                  </a:lnTo>
                  <a:lnTo>
                    <a:pt x="7270" y="6614"/>
                  </a:lnTo>
                  <a:lnTo>
                    <a:pt x="7248" y="6610"/>
                  </a:lnTo>
                  <a:lnTo>
                    <a:pt x="7224" y="6609"/>
                  </a:lnTo>
                  <a:lnTo>
                    <a:pt x="7199" y="6607"/>
                  </a:lnTo>
                  <a:lnTo>
                    <a:pt x="7171" y="6606"/>
                  </a:lnTo>
                  <a:lnTo>
                    <a:pt x="7143" y="6606"/>
                  </a:lnTo>
                  <a:lnTo>
                    <a:pt x="7125" y="6606"/>
                  </a:lnTo>
                  <a:lnTo>
                    <a:pt x="7105" y="6606"/>
                  </a:lnTo>
                  <a:lnTo>
                    <a:pt x="7084" y="6606"/>
                  </a:lnTo>
                  <a:lnTo>
                    <a:pt x="7063" y="6606"/>
                  </a:lnTo>
                  <a:lnTo>
                    <a:pt x="7039" y="6607"/>
                  </a:lnTo>
                  <a:lnTo>
                    <a:pt x="7015" y="6607"/>
                  </a:lnTo>
                  <a:lnTo>
                    <a:pt x="6964" y="6610"/>
                  </a:lnTo>
                  <a:lnTo>
                    <a:pt x="6910" y="6614"/>
                  </a:lnTo>
                  <a:lnTo>
                    <a:pt x="6854" y="6619"/>
                  </a:lnTo>
                  <a:lnTo>
                    <a:pt x="6796" y="6627"/>
                  </a:lnTo>
                  <a:lnTo>
                    <a:pt x="6738" y="6637"/>
                  </a:lnTo>
                  <a:lnTo>
                    <a:pt x="6693" y="6648"/>
                  </a:lnTo>
                  <a:lnTo>
                    <a:pt x="6648" y="6660"/>
                  </a:lnTo>
                  <a:lnTo>
                    <a:pt x="6600" y="6675"/>
                  </a:lnTo>
                  <a:lnTo>
                    <a:pt x="6552" y="6692"/>
                  </a:lnTo>
                  <a:lnTo>
                    <a:pt x="6503" y="6711"/>
                  </a:lnTo>
                  <a:lnTo>
                    <a:pt x="6453" y="6733"/>
                  </a:lnTo>
                  <a:lnTo>
                    <a:pt x="6402" y="6756"/>
                  </a:lnTo>
                  <a:lnTo>
                    <a:pt x="6351" y="6779"/>
                  </a:lnTo>
                  <a:lnTo>
                    <a:pt x="6299" y="6805"/>
                  </a:lnTo>
                  <a:lnTo>
                    <a:pt x="6246" y="6832"/>
                  </a:lnTo>
                  <a:lnTo>
                    <a:pt x="6141" y="6889"/>
                  </a:lnTo>
                  <a:lnTo>
                    <a:pt x="6036" y="6947"/>
                  </a:lnTo>
                  <a:lnTo>
                    <a:pt x="5931" y="7007"/>
                  </a:lnTo>
                  <a:lnTo>
                    <a:pt x="5829" y="7067"/>
                  </a:lnTo>
                  <a:lnTo>
                    <a:pt x="5729" y="7124"/>
                  </a:lnTo>
                  <a:lnTo>
                    <a:pt x="5681" y="7152"/>
                  </a:lnTo>
                  <a:lnTo>
                    <a:pt x="5633" y="7179"/>
                  </a:lnTo>
                  <a:lnTo>
                    <a:pt x="5587" y="7205"/>
                  </a:lnTo>
                  <a:lnTo>
                    <a:pt x="5541" y="7228"/>
                  </a:lnTo>
                  <a:lnTo>
                    <a:pt x="5498" y="7251"/>
                  </a:lnTo>
                  <a:lnTo>
                    <a:pt x="5455" y="7273"/>
                  </a:lnTo>
                  <a:lnTo>
                    <a:pt x="5415" y="7292"/>
                  </a:lnTo>
                  <a:lnTo>
                    <a:pt x="5377" y="7309"/>
                  </a:lnTo>
                  <a:lnTo>
                    <a:pt x="5340" y="7324"/>
                  </a:lnTo>
                  <a:lnTo>
                    <a:pt x="5305" y="7337"/>
                  </a:lnTo>
                  <a:lnTo>
                    <a:pt x="5273" y="7347"/>
                  </a:lnTo>
                  <a:lnTo>
                    <a:pt x="5242" y="7354"/>
                  </a:lnTo>
                  <a:lnTo>
                    <a:pt x="5180" y="7354"/>
                  </a:lnTo>
                  <a:lnTo>
                    <a:pt x="5142" y="7352"/>
                  </a:lnTo>
                  <a:lnTo>
                    <a:pt x="5105" y="7349"/>
                  </a:lnTo>
                  <a:lnTo>
                    <a:pt x="5066" y="7343"/>
                  </a:lnTo>
                  <a:lnTo>
                    <a:pt x="5030" y="7334"/>
                  </a:lnTo>
                  <a:lnTo>
                    <a:pt x="4993" y="7323"/>
                  </a:lnTo>
                  <a:lnTo>
                    <a:pt x="4957" y="7311"/>
                  </a:lnTo>
                  <a:lnTo>
                    <a:pt x="4922" y="7296"/>
                  </a:lnTo>
                  <a:lnTo>
                    <a:pt x="4887" y="7281"/>
                  </a:lnTo>
                  <a:lnTo>
                    <a:pt x="4853" y="7264"/>
                  </a:lnTo>
                  <a:lnTo>
                    <a:pt x="4820" y="7245"/>
                  </a:lnTo>
                  <a:lnTo>
                    <a:pt x="4755" y="7206"/>
                  </a:lnTo>
                  <a:lnTo>
                    <a:pt x="4725" y="7185"/>
                  </a:lnTo>
                  <a:lnTo>
                    <a:pt x="4695" y="7164"/>
                  </a:lnTo>
                  <a:lnTo>
                    <a:pt x="4666" y="7142"/>
                  </a:lnTo>
                  <a:lnTo>
                    <a:pt x="4638" y="7120"/>
                  </a:lnTo>
                  <a:lnTo>
                    <a:pt x="4611" y="7099"/>
                  </a:lnTo>
                  <a:lnTo>
                    <a:pt x="4586" y="7076"/>
                  </a:lnTo>
                  <a:lnTo>
                    <a:pt x="4563" y="7055"/>
                  </a:lnTo>
                  <a:lnTo>
                    <a:pt x="4540" y="7034"/>
                  </a:lnTo>
                  <a:lnTo>
                    <a:pt x="4519" y="7014"/>
                  </a:lnTo>
                  <a:lnTo>
                    <a:pt x="4500" y="6995"/>
                  </a:lnTo>
                  <a:lnTo>
                    <a:pt x="4481" y="6976"/>
                  </a:lnTo>
                  <a:lnTo>
                    <a:pt x="4465" y="6960"/>
                  </a:lnTo>
                  <a:lnTo>
                    <a:pt x="4450" y="6943"/>
                  </a:lnTo>
                  <a:lnTo>
                    <a:pt x="4438" y="6930"/>
                  </a:lnTo>
                  <a:lnTo>
                    <a:pt x="4426" y="6917"/>
                  </a:lnTo>
                  <a:lnTo>
                    <a:pt x="4417" y="6906"/>
                  </a:lnTo>
                  <a:lnTo>
                    <a:pt x="4410" y="6898"/>
                  </a:lnTo>
                  <a:lnTo>
                    <a:pt x="4405" y="6892"/>
                  </a:lnTo>
                  <a:lnTo>
                    <a:pt x="4401" y="6888"/>
                  </a:lnTo>
                  <a:lnTo>
                    <a:pt x="4400" y="6887"/>
                  </a:lnTo>
                  <a:lnTo>
                    <a:pt x="5242" y="5142"/>
                  </a:lnTo>
                  <a:lnTo>
                    <a:pt x="4525" y="5983"/>
                  </a:lnTo>
                  <a:lnTo>
                    <a:pt x="4524" y="5981"/>
                  </a:lnTo>
                  <a:lnTo>
                    <a:pt x="4522" y="5977"/>
                  </a:lnTo>
                  <a:lnTo>
                    <a:pt x="4518" y="5970"/>
                  </a:lnTo>
                  <a:lnTo>
                    <a:pt x="4513" y="5959"/>
                  </a:lnTo>
                  <a:lnTo>
                    <a:pt x="4506" y="5946"/>
                  </a:lnTo>
                  <a:lnTo>
                    <a:pt x="4497" y="5931"/>
                  </a:lnTo>
                  <a:lnTo>
                    <a:pt x="4487" y="5911"/>
                  </a:lnTo>
                  <a:lnTo>
                    <a:pt x="4475" y="5889"/>
                  </a:lnTo>
                  <a:lnTo>
                    <a:pt x="4460" y="5865"/>
                  </a:lnTo>
                  <a:lnTo>
                    <a:pt x="4445" y="5837"/>
                  </a:lnTo>
                  <a:lnTo>
                    <a:pt x="4426" y="5806"/>
                  </a:lnTo>
                  <a:lnTo>
                    <a:pt x="4407" y="5772"/>
                  </a:lnTo>
                  <a:lnTo>
                    <a:pt x="4385" y="5736"/>
                  </a:lnTo>
                  <a:lnTo>
                    <a:pt x="4361" y="5697"/>
                  </a:lnTo>
                  <a:lnTo>
                    <a:pt x="4335" y="5654"/>
                  </a:lnTo>
                  <a:lnTo>
                    <a:pt x="4307" y="5608"/>
                  </a:lnTo>
                  <a:lnTo>
                    <a:pt x="4276" y="5562"/>
                  </a:lnTo>
                  <a:lnTo>
                    <a:pt x="4241" y="5517"/>
                  </a:lnTo>
                  <a:lnTo>
                    <a:pt x="4205" y="5471"/>
                  </a:lnTo>
                  <a:lnTo>
                    <a:pt x="4168" y="5426"/>
                  </a:lnTo>
                  <a:lnTo>
                    <a:pt x="4091" y="5336"/>
                  </a:lnTo>
                  <a:lnTo>
                    <a:pt x="4053" y="5292"/>
                  </a:lnTo>
                  <a:lnTo>
                    <a:pt x="4014" y="5247"/>
                  </a:lnTo>
                  <a:lnTo>
                    <a:pt x="3979" y="5201"/>
                  </a:lnTo>
                  <a:lnTo>
                    <a:pt x="3946" y="5155"/>
                  </a:lnTo>
                  <a:lnTo>
                    <a:pt x="3916" y="5109"/>
                  </a:lnTo>
                  <a:lnTo>
                    <a:pt x="3903" y="5085"/>
                  </a:lnTo>
                  <a:lnTo>
                    <a:pt x="3890" y="5061"/>
                  </a:lnTo>
                  <a:lnTo>
                    <a:pt x="3879" y="5037"/>
                  </a:lnTo>
                  <a:lnTo>
                    <a:pt x="3870" y="5013"/>
                  </a:lnTo>
                  <a:lnTo>
                    <a:pt x="3861" y="4988"/>
                  </a:lnTo>
                  <a:lnTo>
                    <a:pt x="3853" y="4963"/>
                  </a:lnTo>
                  <a:lnTo>
                    <a:pt x="3847" y="4938"/>
                  </a:lnTo>
                  <a:lnTo>
                    <a:pt x="3843" y="4913"/>
                  </a:lnTo>
                  <a:lnTo>
                    <a:pt x="3841" y="4887"/>
                  </a:lnTo>
                  <a:lnTo>
                    <a:pt x="3840" y="4860"/>
                  </a:lnTo>
                  <a:lnTo>
                    <a:pt x="3841" y="4833"/>
                  </a:lnTo>
                  <a:lnTo>
                    <a:pt x="3846" y="4803"/>
                  </a:lnTo>
                  <a:lnTo>
                    <a:pt x="3853" y="4770"/>
                  </a:lnTo>
                  <a:lnTo>
                    <a:pt x="3864" y="4734"/>
                  </a:lnTo>
                  <a:lnTo>
                    <a:pt x="3877" y="4696"/>
                  </a:lnTo>
                  <a:lnTo>
                    <a:pt x="3893" y="4655"/>
                  </a:lnTo>
                  <a:lnTo>
                    <a:pt x="3910" y="4612"/>
                  </a:lnTo>
                  <a:lnTo>
                    <a:pt x="3931" y="4568"/>
                  </a:lnTo>
                  <a:lnTo>
                    <a:pt x="3954" y="4522"/>
                  </a:lnTo>
                  <a:lnTo>
                    <a:pt x="3979" y="4473"/>
                  </a:lnTo>
                  <a:lnTo>
                    <a:pt x="4007" y="4423"/>
                  </a:lnTo>
                  <a:lnTo>
                    <a:pt x="4037" y="4371"/>
                  </a:lnTo>
                  <a:lnTo>
                    <a:pt x="4068" y="4319"/>
                  </a:lnTo>
                  <a:lnTo>
                    <a:pt x="4102" y="4264"/>
                  </a:lnTo>
                  <a:lnTo>
                    <a:pt x="4137" y="4208"/>
                  </a:lnTo>
                  <a:lnTo>
                    <a:pt x="4174" y="4152"/>
                  </a:lnTo>
                  <a:lnTo>
                    <a:pt x="4214" y="4094"/>
                  </a:lnTo>
                  <a:lnTo>
                    <a:pt x="4254" y="4036"/>
                  </a:lnTo>
                  <a:lnTo>
                    <a:pt x="4295" y="3978"/>
                  </a:lnTo>
                  <a:lnTo>
                    <a:pt x="4339" y="3918"/>
                  </a:lnTo>
                  <a:lnTo>
                    <a:pt x="4383" y="3858"/>
                  </a:lnTo>
                  <a:lnTo>
                    <a:pt x="4428" y="3798"/>
                  </a:lnTo>
                  <a:lnTo>
                    <a:pt x="4476" y="3738"/>
                  </a:lnTo>
                  <a:lnTo>
                    <a:pt x="4523" y="3678"/>
                  </a:lnTo>
                  <a:lnTo>
                    <a:pt x="4621" y="3557"/>
                  </a:lnTo>
                  <a:lnTo>
                    <a:pt x="4723" y="3439"/>
                  </a:lnTo>
                  <a:lnTo>
                    <a:pt x="4826" y="3323"/>
                  </a:lnTo>
                  <a:lnTo>
                    <a:pt x="4877" y="3265"/>
                  </a:lnTo>
                  <a:lnTo>
                    <a:pt x="4930" y="3209"/>
                  </a:lnTo>
                  <a:lnTo>
                    <a:pt x="5030" y="3097"/>
                  </a:lnTo>
                  <a:lnTo>
                    <a:pt x="5129" y="2984"/>
                  </a:lnTo>
                  <a:lnTo>
                    <a:pt x="5229" y="2870"/>
                  </a:lnTo>
                  <a:lnTo>
                    <a:pt x="5329" y="2758"/>
                  </a:lnTo>
                  <a:lnTo>
                    <a:pt x="5426" y="2648"/>
                  </a:lnTo>
                  <a:lnTo>
                    <a:pt x="5522" y="2541"/>
                  </a:lnTo>
                  <a:lnTo>
                    <a:pt x="5568" y="2489"/>
                  </a:lnTo>
                  <a:lnTo>
                    <a:pt x="5614" y="2438"/>
                  </a:lnTo>
                  <a:lnTo>
                    <a:pt x="5661" y="2388"/>
                  </a:lnTo>
                  <a:lnTo>
                    <a:pt x="5705" y="2340"/>
                  </a:lnTo>
                  <a:lnTo>
                    <a:pt x="5750" y="2294"/>
                  </a:lnTo>
                  <a:lnTo>
                    <a:pt x="5793" y="2248"/>
                  </a:lnTo>
                  <a:lnTo>
                    <a:pt x="5835" y="2205"/>
                  </a:lnTo>
                  <a:lnTo>
                    <a:pt x="5877" y="2164"/>
                  </a:lnTo>
                  <a:lnTo>
                    <a:pt x="5917" y="2125"/>
                  </a:lnTo>
                  <a:lnTo>
                    <a:pt x="5956" y="2089"/>
                  </a:lnTo>
                  <a:lnTo>
                    <a:pt x="5993" y="2054"/>
                  </a:lnTo>
                  <a:lnTo>
                    <a:pt x="6030" y="2022"/>
                  </a:lnTo>
                  <a:lnTo>
                    <a:pt x="6066" y="1992"/>
                  </a:lnTo>
                  <a:lnTo>
                    <a:pt x="6100" y="1965"/>
                  </a:lnTo>
                  <a:lnTo>
                    <a:pt x="6132" y="1941"/>
                  </a:lnTo>
                  <a:lnTo>
                    <a:pt x="6163" y="1920"/>
                  </a:lnTo>
                  <a:lnTo>
                    <a:pt x="6193" y="1902"/>
                  </a:lnTo>
                  <a:lnTo>
                    <a:pt x="6220" y="1888"/>
                  </a:lnTo>
                  <a:lnTo>
                    <a:pt x="6246" y="1876"/>
                  </a:lnTo>
                  <a:lnTo>
                    <a:pt x="6270" y="1869"/>
                  </a:lnTo>
                  <a:lnTo>
                    <a:pt x="6863" y="1775"/>
                  </a:lnTo>
                  <a:lnTo>
                    <a:pt x="6919" y="1767"/>
                  </a:lnTo>
                  <a:lnTo>
                    <a:pt x="6975" y="1758"/>
                  </a:lnTo>
                  <a:lnTo>
                    <a:pt x="7029" y="1749"/>
                  </a:lnTo>
                  <a:lnTo>
                    <a:pt x="7080" y="1739"/>
                  </a:lnTo>
                  <a:lnTo>
                    <a:pt x="7130" y="1730"/>
                  </a:lnTo>
                  <a:lnTo>
                    <a:pt x="7177" y="1721"/>
                  </a:lnTo>
                  <a:lnTo>
                    <a:pt x="7223" y="1712"/>
                  </a:lnTo>
                  <a:lnTo>
                    <a:pt x="7266" y="1702"/>
                  </a:lnTo>
                  <a:lnTo>
                    <a:pt x="7309" y="1693"/>
                  </a:lnTo>
                  <a:lnTo>
                    <a:pt x="7348" y="1684"/>
                  </a:lnTo>
                  <a:lnTo>
                    <a:pt x="7386" y="1674"/>
                  </a:lnTo>
                  <a:lnTo>
                    <a:pt x="7422" y="1665"/>
                  </a:lnTo>
                  <a:lnTo>
                    <a:pt x="7456" y="1657"/>
                  </a:lnTo>
                  <a:lnTo>
                    <a:pt x="7489" y="1648"/>
                  </a:lnTo>
                  <a:lnTo>
                    <a:pt x="7519" y="1639"/>
                  </a:lnTo>
                  <a:lnTo>
                    <a:pt x="7548" y="1631"/>
                  </a:lnTo>
                  <a:lnTo>
                    <a:pt x="7575" y="1623"/>
                  </a:lnTo>
                  <a:lnTo>
                    <a:pt x="7600" y="1616"/>
                  </a:lnTo>
                  <a:lnTo>
                    <a:pt x="7623" y="1609"/>
                  </a:lnTo>
                  <a:lnTo>
                    <a:pt x="7645" y="1601"/>
                  </a:lnTo>
                  <a:lnTo>
                    <a:pt x="7665" y="1595"/>
                  </a:lnTo>
                  <a:lnTo>
                    <a:pt x="7682" y="1589"/>
                  </a:lnTo>
                  <a:lnTo>
                    <a:pt x="7698" y="1584"/>
                  </a:lnTo>
                  <a:lnTo>
                    <a:pt x="7712" y="1579"/>
                  </a:lnTo>
                  <a:lnTo>
                    <a:pt x="7726" y="1574"/>
                  </a:lnTo>
                  <a:lnTo>
                    <a:pt x="7736" y="1569"/>
                  </a:lnTo>
                  <a:lnTo>
                    <a:pt x="7745" y="1566"/>
                  </a:lnTo>
                  <a:lnTo>
                    <a:pt x="7752" y="1563"/>
                  </a:lnTo>
                  <a:lnTo>
                    <a:pt x="7759" y="1560"/>
                  </a:lnTo>
                  <a:lnTo>
                    <a:pt x="7763" y="1559"/>
                  </a:lnTo>
                  <a:lnTo>
                    <a:pt x="7765" y="1558"/>
                  </a:lnTo>
                  <a:lnTo>
                    <a:pt x="7766" y="1557"/>
                  </a:lnTo>
                  <a:lnTo>
                    <a:pt x="6769" y="1589"/>
                  </a:lnTo>
                  <a:lnTo>
                    <a:pt x="6771" y="1588"/>
                  </a:lnTo>
                  <a:lnTo>
                    <a:pt x="6774" y="1585"/>
                  </a:lnTo>
                  <a:lnTo>
                    <a:pt x="6777" y="1581"/>
                  </a:lnTo>
                  <a:lnTo>
                    <a:pt x="6781" y="1575"/>
                  </a:lnTo>
                  <a:lnTo>
                    <a:pt x="6786" y="1567"/>
                  </a:lnTo>
                  <a:lnTo>
                    <a:pt x="6792" y="1558"/>
                  </a:lnTo>
                  <a:lnTo>
                    <a:pt x="6800" y="1548"/>
                  </a:lnTo>
                  <a:lnTo>
                    <a:pt x="6807" y="1535"/>
                  </a:lnTo>
                  <a:lnTo>
                    <a:pt x="6816" y="1522"/>
                  </a:lnTo>
                  <a:lnTo>
                    <a:pt x="6825" y="1507"/>
                  </a:lnTo>
                  <a:lnTo>
                    <a:pt x="6836" y="1491"/>
                  </a:lnTo>
                  <a:lnTo>
                    <a:pt x="6847" y="1474"/>
                  </a:lnTo>
                  <a:lnTo>
                    <a:pt x="6860" y="1455"/>
                  </a:lnTo>
                  <a:lnTo>
                    <a:pt x="6874" y="1436"/>
                  </a:lnTo>
                  <a:lnTo>
                    <a:pt x="6888" y="1415"/>
                  </a:lnTo>
                  <a:lnTo>
                    <a:pt x="6904" y="1394"/>
                  </a:lnTo>
                  <a:lnTo>
                    <a:pt x="6920" y="1372"/>
                  </a:lnTo>
                  <a:lnTo>
                    <a:pt x="6938" y="1348"/>
                  </a:lnTo>
                  <a:lnTo>
                    <a:pt x="6958" y="1324"/>
                  </a:lnTo>
                  <a:lnTo>
                    <a:pt x="6977" y="1300"/>
                  </a:lnTo>
                  <a:lnTo>
                    <a:pt x="6999" y="1274"/>
                  </a:lnTo>
                  <a:lnTo>
                    <a:pt x="7020" y="1248"/>
                  </a:lnTo>
                  <a:lnTo>
                    <a:pt x="7044" y="1221"/>
                  </a:lnTo>
                  <a:lnTo>
                    <a:pt x="7069" y="1194"/>
                  </a:lnTo>
                  <a:lnTo>
                    <a:pt x="7095" y="1167"/>
                  </a:lnTo>
                  <a:lnTo>
                    <a:pt x="7122" y="1139"/>
                  </a:lnTo>
                  <a:lnTo>
                    <a:pt x="7150" y="1110"/>
                  </a:lnTo>
                  <a:lnTo>
                    <a:pt x="7179" y="1081"/>
                  </a:lnTo>
                  <a:lnTo>
                    <a:pt x="7210" y="1052"/>
                  </a:lnTo>
                  <a:lnTo>
                    <a:pt x="7242" y="1023"/>
                  </a:lnTo>
                  <a:lnTo>
                    <a:pt x="7275" y="995"/>
                  </a:lnTo>
                  <a:lnTo>
                    <a:pt x="7311" y="966"/>
                  </a:lnTo>
                  <a:lnTo>
                    <a:pt x="7347" y="936"/>
                  </a:lnTo>
                  <a:lnTo>
                    <a:pt x="7384" y="907"/>
                  </a:lnTo>
                  <a:lnTo>
                    <a:pt x="7423" y="878"/>
                  </a:lnTo>
                  <a:lnTo>
                    <a:pt x="7463" y="849"/>
                  </a:lnTo>
                  <a:lnTo>
                    <a:pt x="7505" y="821"/>
                  </a:lnTo>
                  <a:lnTo>
                    <a:pt x="7548" y="792"/>
                  </a:lnTo>
                  <a:lnTo>
                    <a:pt x="7592" y="764"/>
                  </a:lnTo>
                  <a:lnTo>
                    <a:pt x="7639" y="736"/>
                  </a:lnTo>
                  <a:lnTo>
                    <a:pt x="7686" y="709"/>
                  </a:lnTo>
                  <a:lnTo>
                    <a:pt x="7735" y="683"/>
                  </a:lnTo>
                  <a:lnTo>
                    <a:pt x="7785" y="657"/>
                  </a:lnTo>
                  <a:lnTo>
                    <a:pt x="7838" y="631"/>
                  </a:lnTo>
                  <a:lnTo>
                    <a:pt x="7892" y="606"/>
                  </a:lnTo>
                  <a:lnTo>
                    <a:pt x="7946" y="583"/>
                  </a:lnTo>
                  <a:lnTo>
                    <a:pt x="8003" y="559"/>
                  </a:lnTo>
                  <a:lnTo>
                    <a:pt x="8062" y="536"/>
                  </a:lnTo>
                  <a:lnTo>
                    <a:pt x="8122" y="516"/>
                  </a:lnTo>
                  <a:lnTo>
                    <a:pt x="8184" y="495"/>
                  </a:lnTo>
                  <a:lnTo>
                    <a:pt x="8247" y="476"/>
                  </a:lnTo>
                  <a:lnTo>
                    <a:pt x="8312" y="457"/>
                  </a:lnTo>
                  <a:lnTo>
                    <a:pt x="8379" y="439"/>
                  </a:lnTo>
                  <a:lnTo>
                    <a:pt x="8447" y="424"/>
                  </a:lnTo>
                  <a:lnTo>
                    <a:pt x="8517" y="409"/>
                  </a:lnTo>
                  <a:lnTo>
                    <a:pt x="8590" y="395"/>
                  </a:lnTo>
                  <a:lnTo>
                    <a:pt x="8663" y="384"/>
                  </a:lnTo>
                  <a:lnTo>
                    <a:pt x="8739" y="373"/>
                  </a:lnTo>
                  <a:lnTo>
                    <a:pt x="8817" y="363"/>
                  </a:lnTo>
                  <a:lnTo>
                    <a:pt x="8895" y="356"/>
                  </a:lnTo>
                  <a:lnTo>
                    <a:pt x="8977" y="350"/>
                  </a:lnTo>
                  <a:lnTo>
                    <a:pt x="9059" y="346"/>
                  </a:lnTo>
                  <a:lnTo>
                    <a:pt x="9144" y="343"/>
                  </a:lnTo>
                  <a:lnTo>
                    <a:pt x="9231" y="342"/>
                  </a:lnTo>
                  <a:lnTo>
                    <a:pt x="9231" y="342"/>
                  </a:lnTo>
                  <a:close/>
                  <a:moveTo>
                    <a:pt x="13524" y="1924"/>
                  </a:moveTo>
                  <a:lnTo>
                    <a:pt x="13549" y="1924"/>
                  </a:lnTo>
                  <a:lnTo>
                    <a:pt x="13574" y="1921"/>
                  </a:lnTo>
                  <a:lnTo>
                    <a:pt x="13600" y="1918"/>
                  </a:lnTo>
                  <a:lnTo>
                    <a:pt x="13628" y="1912"/>
                  </a:lnTo>
                  <a:lnTo>
                    <a:pt x="13657" y="1905"/>
                  </a:lnTo>
                  <a:lnTo>
                    <a:pt x="13688" y="1896"/>
                  </a:lnTo>
                  <a:lnTo>
                    <a:pt x="13719" y="1886"/>
                  </a:lnTo>
                  <a:lnTo>
                    <a:pt x="13750" y="1873"/>
                  </a:lnTo>
                  <a:lnTo>
                    <a:pt x="13783" y="1860"/>
                  </a:lnTo>
                  <a:lnTo>
                    <a:pt x="13816" y="1843"/>
                  </a:lnTo>
                  <a:lnTo>
                    <a:pt x="13849" y="1826"/>
                  </a:lnTo>
                  <a:lnTo>
                    <a:pt x="13883" y="1806"/>
                  </a:lnTo>
                  <a:lnTo>
                    <a:pt x="13918" y="1785"/>
                  </a:lnTo>
                  <a:lnTo>
                    <a:pt x="13954" y="1760"/>
                  </a:lnTo>
                  <a:lnTo>
                    <a:pt x="13988" y="1734"/>
                  </a:lnTo>
                  <a:lnTo>
                    <a:pt x="14023" y="1706"/>
                  </a:lnTo>
                  <a:lnTo>
                    <a:pt x="14046" y="1688"/>
                  </a:lnTo>
                  <a:lnTo>
                    <a:pt x="14069" y="1669"/>
                  </a:lnTo>
                  <a:lnTo>
                    <a:pt x="14114" y="1628"/>
                  </a:lnTo>
                  <a:lnTo>
                    <a:pt x="14156" y="1585"/>
                  </a:lnTo>
                  <a:lnTo>
                    <a:pt x="14195" y="1539"/>
                  </a:lnTo>
                  <a:lnTo>
                    <a:pt x="14233" y="1490"/>
                  </a:lnTo>
                  <a:lnTo>
                    <a:pt x="14267" y="1442"/>
                  </a:lnTo>
                  <a:lnTo>
                    <a:pt x="14299" y="1392"/>
                  </a:lnTo>
                  <a:lnTo>
                    <a:pt x="14327" y="1344"/>
                  </a:lnTo>
                  <a:lnTo>
                    <a:pt x="14351" y="1296"/>
                  </a:lnTo>
                  <a:lnTo>
                    <a:pt x="14362" y="1273"/>
                  </a:lnTo>
                  <a:lnTo>
                    <a:pt x="14372" y="1250"/>
                  </a:lnTo>
                  <a:lnTo>
                    <a:pt x="14381" y="1228"/>
                  </a:lnTo>
                  <a:lnTo>
                    <a:pt x="14388" y="1207"/>
                  </a:lnTo>
                  <a:lnTo>
                    <a:pt x="14394" y="1187"/>
                  </a:lnTo>
                  <a:lnTo>
                    <a:pt x="14401" y="1167"/>
                  </a:lnTo>
                  <a:lnTo>
                    <a:pt x="14405" y="1148"/>
                  </a:lnTo>
                  <a:lnTo>
                    <a:pt x="14407" y="1131"/>
                  </a:lnTo>
                  <a:lnTo>
                    <a:pt x="14409" y="1114"/>
                  </a:lnTo>
                  <a:lnTo>
                    <a:pt x="14409" y="1099"/>
                  </a:lnTo>
                  <a:lnTo>
                    <a:pt x="14409" y="1085"/>
                  </a:lnTo>
                  <a:lnTo>
                    <a:pt x="14406" y="1072"/>
                  </a:lnTo>
                  <a:lnTo>
                    <a:pt x="14403" y="1062"/>
                  </a:lnTo>
                  <a:lnTo>
                    <a:pt x="14397" y="1051"/>
                  </a:lnTo>
                  <a:lnTo>
                    <a:pt x="14397" y="1050"/>
                  </a:lnTo>
                  <a:lnTo>
                    <a:pt x="14396" y="1047"/>
                  </a:lnTo>
                  <a:lnTo>
                    <a:pt x="14395" y="1042"/>
                  </a:lnTo>
                  <a:lnTo>
                    <a:pt x="14393" y="1036"/>
                  </a:lnTo>
                  <a:lnTo>
                    <a:pt x="14389" y="1031"/>
                  </a:lnTo>
                  <a:lnTo>
                    <a:pt x="14384" y="1026"/>
                  </a:lnTo>
                  <a:lnTo>
                    <a:pt x="14377" y="1022"/>
                  </a:lnTo>
                  <a:lnTo>
                    <a:pt x="14366" y="1020"/>
                  </a:lnTo>
                  <a:lnTo>
                    <a:pt x="14357" y="1021"/>
                  </a:lnTo>
                  <a:lnTo>
                    <a:pt x="14348" y="1025"/>
                  </a:lnTo>
                  <a:lnTo>
                    <a:pt x="14339" y="1030"/>
                  </a:lnTo>
                  <a:lnTo>
                    <a:pt x="14328" y="1036"/>
                  </a:lnTo>
                  <a:lnTo>
                    <a:pt x="14318" y="1044"/>
                  </a:lnTo>
                  <a:lnTo>
                    <a:pt x="14307" y="1053"/>
                  </a:lnTo>
                  <a:lnTo>
                    <a:pt x="14296" y="1065"/>
                  </a:lnTo>
                  <a:lnTo>
                    <a:pt x="14285" y="1077"/>
                  </a:lnTo>
                  <a:lnTo>
                    <a:pt x="14273" y="1090"/>
                  </a:lnTo>
                  <a:lnTo>
                    <a:pt x="14260" y="1105"/>
                  </a:lnTo>
                  <a:lnTo>
                    <a:pt x="14248" y="1120"/>
                  </a:lnTo>
                  <a:lnTo>
                    <a:pt x="14234" y="1137"/>
                  </a:lnTo>
                  <a:lnTo>
                    <a:pt x="14208" y="1173"/>
                  </a:lnTo>
                  <a:lnTo>
                    <a:pt x="14180" y="1211"/>
                  </a:lnTo>
                  <a:lnTo>
                    <a:pt x="14150" y="1252"/>
                  </a:lnTo>
                  <a:lnTo>
                    <a:pt x="14118" y="1293"/>
                  </a:lnTo>
                  <a:lnTo>
                    <a:pt x="14085" y="1335"/>
                  </a:lnTo>
                  <a:lnTo>
                    <a:pt x="14051" y="1376"/>
                  </a:lnTo>
                  <a:lnTo>
                    <a:pt x="14014" y="1415"/>
                  </a:lnTo>
                  <a:lnTo>
                    <a:pt x="13977" y="1453"/>
                  </a:lnTo>
                  <a:lnTo>
                    <a:pt x="13939" y="1488"/>
                  </a:lnTo>
                  <a:lnTo>
                    <a:pt x="13918" y="1505"/>
                  </a:lnTo>
                  <a:lnTo>
                    <a:pt x="13899" y="1519"/>
                  </a:lnTo>
                  <a:lnTo>
                    <a:pt x="13863" y="1548"/>
                  </a:lnTo>
                  <a:lnTo>
                    <a:pt x="13823" y="1575"/>
                  </a:lnTo>
                  <a:lnTo>
                    <a:pt x="13783" y="1600"/>
                  </a:lnTo>
                  <a:lnTo>
                    <a:pt x="13742" y="1624"/>
                  </a:lnTo>
                  <a:lnTo>
                    <a:pt x="13701" y="1646"/>
                  </a:lnTo>
                  <a:lnTo>
                    <a:pt x="13658" y="1666"/>
                  </a:lnTo>
                  <a:lnTo>
                    <a:pt x="13618" y="1685"/>
                  </a:lnTo>
                  <a:lnTo>
                    <a:pt x="13579" y="1702"/>
                  </a:lnTo>
                  <a:lnTo>
                    <a:pt x="13543" y="1718"/>
                  </a:lnTo>
                  <a:lnTo>
                    <a:pt x="13509" y="1731"/>
                  </a:lnTo>
                  <a:lnTo>
                    <a:pt x="13478" y="1742"/>
                  </a:lnTo>
                  <a:lnTo>
                    <a:pt x="13464" y="1747"/>
                  </a:lnTo>
                  <a:lnTo>
                    <a:pt x="13452" y="1752"/>
                  </a:lnTo>
                  <a:lnTo>
                    <a:pt x="13440" y="1756"/>
                  </a:lnTo>
                  <a:lnTo>
                    <a:pt x="13430" y="1759"/>
                  </a:lnTo>
                  <a:lnTo>
                    <a:pt x="13421" y="1762"/>
                  </a:lnTo>
                  <a:lnTo>
                    <a:pt x="13414" y="1764"/>
                  </a:lnTo>
                  <a:lnTo>
                    <a:pt x="13407" y="1766"/>
                  </a:lnTo>
                  <a:lnTo>
                    <a:pt x="13403" y="1767"/>
                  </a:lnTo>
                  <a:lnTo>
                    <a:pt x="13401" y="1768"/>
                  </a:lnTo>
                  <a:lnTo>
                    <a:pt x="13400" y="1768"/>
                  </a:lnTo>
                  <a:lnTo>
                    <a:pt x="13399" y="1768"/>
                  </a:lnTo>
                  <a:lnTo>
                    <a:pt x="13397" y="1768"/>
                  </a:lnTo>
                  <a:lnTo>
                    <a:pt x="13391" y="1770"/>
                  </a:lnTo>
                  <a:lnTo>
                    <a:pt x="13382" y="1773"/>
                  </a:lnTo>
                  <a:lnTo>
                    <a:pt x="13378" y="1776"/>
                  </a:lnTo>
                  <a:lnTo>
                    <a:pt x="13372" y="1781"/>
                  </a:lnTo>
                  <a:lnTo>
                    <a:pt x="13368" y="1785"/>
                  </a:lnTo>
                  <a:lnTo>
                    <a:pt x="13365" y="1791"/>
                  </a:lnTo>
                  <a:lnTo>
                    <a:pt x="13362" y="1799"/>
                  </a:lnTo>
                  <a:lnTo>
                    <a:pt x="13361" y="1808"/>
                  </a:lnTo>
                  <a:lnTo>
                    <a:pt x="13360" y="1819"/>
                  </a:lnTo>
                  <a:lnTo>
                    <a:pt x="13361" y="1831"/>
                  </a:lnTo>
                  <a:lnTo>
                    <a:pt x="13364" y="1845"/>
                  </a:lnTo>
                  <a:lnTo>
                    <a:pt x="13369" y="1862"/>
                  </a:lnTo>
                  <a:lnTo>
                    <a:pt x="13381" y="1873"/>
                  </a:lnTo>
                  <a:lnTo>
                    <a:pt x="13393" y="1885"/>
                  </a:lnTo>
                  <a:lnTo>
                    <a:pt x="13407" y="1895"/>
                  </a:lnTo>
                  <a:lnTo>
                    <a:pt x="13423" y="1905"/>
                  </a:lnTo>
                  <a:lnTo>
                    <a:pt x="13443" y="1912"/>
                  </a:lnTo>
                  <a:lnTo>
                    <a:pt x="13453" y="1916"/>
                  </a:lnTo>
                  <a:lnTo>
                    <a:pt x="13465" y="1919"/>
                  </a:lnTo>
                  <a:lnTo>
                    <a:pt x="13478" y="1921"/>
                  </a:lnTo>
                  <a:lnTo>
                    <a:pt x="13492" y="1923"/>
                  </a:lnTo>
                  <a:lnTo>
                    <a:pt x="13508" y="1924"/>
                  </a:lnTo>
                  <a:lnTo>
                    <a:pt x="13524" y="1924"/>
                  </a:lnTo>
                  <a:lnTo>
                    <a:pt x="13524" y="1924"/>
                  </a:lnTo>
                  <a:close/>
                  <a:moveTo>
                    <a:pt x="8857" y="3146"/>
                  </a:moveTo>
                  <a:lnTo>
                    <a:pt x="8858" y="3145"/>
                  </a:lnTo>
                  <a:lnTo>
                    <a:pt x="8860" y="3140"/>
                  </a:lnTo>
                  <a:lnTo>
                    <a:pt x="8864" y="3133"/>
                  </a:lnTo>
                  <a:lnTo>
                    <a:pt x="8869" y="3123"/>
                  </a:lnTo>
                  <a:lnTo>
                    <a:pt x="8877" y="3109"/>
                  </a:lnTo>
                  <a:lnTo>
                    <a:pt x="8885" y="3094"/>
                  </a:lnTo>
                  <a:lnTo>
                    <a:pt x="8893" y="3076"/>
                  </a:lnTo>
                  <a:lnTo>
                    <a:pt x="8904" y="3057"/>
                  </a:lnTo>
                  <a:lnTo>
                    <a:pt x="8916" y="3035"/>
                  </a:lnTo>
                  <a:lnTo>
                    <a:pt x="8928" y="3011"/>
                  </a:lnTo>
                  <a:lnTo>
                    <a:pt x="8942" y="2987"/>
                  </a:lnTo>
                  <a:lnTo>
                    <a:pt x="8956" y="2961"/>
                  </a:lnTo>
                  <a:lnTo>
                    <a:pt x="8971" y="2934"/>
                  </a:lnTo>
                  <a:lnTo>
                    <a:pt x="8987" y="2905"/>
                  </a:lnTo>
                  <a:lnTo>
                    <a:pt x="9021" y="2847"/>
                  </a:lnTo>
                  <a:lnTo>
                    <a:pt x="9057" y="2786"/>
                  </a:lnTo>
                  <a:lnTo>
                    <a:pt x="9094" y="2725"/>
                  </a:lnTo>
                  <a:lnTo>
                    <a:pt x="9134" y="2665"/>
                  </a:lnTo>
                  <a:lnTo>
                    <a:pt x="9173" y="2608"/>
                  </a:lnTo>
                  <a:lnTo>
                    <a:pt x="9192" y="2580"/>
                  </a:lnTo>
                  <a:lnTo>
                    <a:pt x="9212" y="2554"/>
                  </a:lnTo>
                  <a:lnTo>
                    <a:pt x="9232" y="2529"/>
                  </a:lnTo>
                  <a:lnTo>
                    <a:pt x="9250" y="2506"/>
                  </a:lnTo>
                  <a:lnTo>
                    <a:pt x="9270" y="2483"/>
                  </a:lnTo>
                  <a:lnTo>
                    <a:pt x="9288" y="2464"/>
                  </a:lnTo>
                  <a:lnTo>
                    <a:pt x="9307" y="2446"/>
                  </a:lnTo>
                  <a:lnTo>
                    <a:pt x="9325" y="2430"/>
                  </a:lnTo>
                  <a:lnTo>
                    <a:pt x="9345" y="2413"/>
                  </a:lnTo>
                  <a:lnTo>
                    <a:pt x="9367" y="2397"/>
                  </a:lnTo>
                  <a:lnTo>
                    <a:pt x="9412" y="2368"/>
                  </a:lnTo>
                  <a:lnTo>
                    <a:pt x="9460" y="2343"/>
                  </a:lnTo>
                  <a:lnTo>
                    <a:pt x="9509" y="2321"/>
                  </a:lnTo>
                  <a:lnTo>
                    <a:pt x="9559" y="2304"/>
                  </a:lnTo>
                  <a:lnTo>
                    <a:pt x="9607" y="2288"/>
                  </a:lnTo>
                  <a:lnTo>
                    <a:pt x="9656" y="2276"/>
                  </a:lnTo>
                  <a:lnTo>
                    <a:pt x="9702" y="2266"/>
                  </a:lnTo>
                  <a:lnTo>
                    <a:pt x="9747" y="2259"/>
                  </a:lnTo>
                  <a:lnTo>
                    <a:pt x="9787" y="2252"/>
                  </a:lnTo>
                  <a:lnTo>
                    <a:pt x="9806" y="2250"/>
                  </a:lnTo>
                  <a:lnTo>
                    <a:pt x="9823" y="2248"/>
                  </a:lnTo>
                  <a:lnTo>
                    <a:pt x="9840" y="2247"/>
                  </a:lnTo>
                  <a:lnTo>
                    <a:pt x="9855" y="2246"/>
                  </a:lnTo>
                  <a:lnTo>
                    <a:pt x="9869" y="2245"/>
                  </a:lnTo>
                  <a:lnTo>
                    <a:pt x="9881" y="2244"/>
                  </a:lnTo>
                  <a:lnTo>
                    <a:pt x="9891" y="2243"/>
                  </a:lnTo>
                  <a:lnTo>
                    <a:pt x="9901" y="2243"/>
                  </a:lnTo>
                  <a:lnTo>
                    <a:pt x="9908" y="2243"/>
                  </a:lnTo>
                  <a:lnTo>
                    <a:pt x="9913" y="2243"/>
                  </a:lnTo>
                  <a:lnTo>
                    <a:pt x="9916" y="2243"/>
                  </a:lnTo>
                  <a:lnTo>
                    <a:pt x="9917" y="2243"/>
                  </a:lnTo>
                  <a:lnTo>
                    <a:pt x="9916" y="2243"/>
                  </a:lnTo>
                  <a:lnTo>
                    <a:pt x="9913" y="2242"/>
                  </a:lnTo>
                  <a:lnTo>
                    <a:pt x="9909" y="2241"/>
                  </a:lnTo>
                  <a:lnTo>
                    <a:pt x="9903" y="2239"/>
                  </a:lnTo>
                  <a:lnTo>
                    <a:pt x="9895" y="2237"/>
                  </a:lnTo>
                  <a:lnTo>
                    <a:pt x="9886" y="2234"/>
                  </a:lnTo>
                  <a:lnTo>
                    <a:pt x="9876" y="2232"/>
                  </a:lnTo>
                  <a:lnTo>
                    <a:pt x="9865" y="2229"/>
                  </a:lnTo>
                  <a:lnTo>
                    <a:pt x="9851" y="2225"/>
                  </a:lnTo>
                  <a:lnTo>
                    <a:pt x="9837" y="2221"/>
                  </a:lnTo>
                  <a:lnTo>
                    <a:pt x="9821" y="2217"/>
                  </a:lnTo>
                  <a:lnTo>
                    <a:pt x="9805" y="2213"/>
                  </a:lnTo>
                  <a:lnTo>
                    <a:pt x="9770" y="2205"/>
                  </a:lnTo>
                  <a:lnTo>
                    <a:pt x="9730" y="2197"/>
                  </a:lnTo>
                  <a:lnTo>
                    <a:pt x="9688" y="2187"/>
                  </a:lnTo>
                  <a:lnTo>
                    <a:pt x="9643" y="2179"/>
                  </a:lnTo>
                  <a:lnTo>
                    <a:pt x="9596" y="2171"/>
                  </a:lnTo>
                  <a:lnTo>
                    <a:pt x="9549" y="2164"/>
                  </a:lnTo>
                  <a:lnTo>
                    <a:pt x="9500" y="2159"/>
                  </a:lnTo>
                  <a:lnTo>
                    <a:pt x="9452" y="2153"/>
                  </a:lnTo>
                  <a:lnTo>
                    <a:pt x="9403" y="2150"/>
                  </a:lnTo>
                  <a:lnTo>
                    <a:pt x="9356" y="2149"/>
                  </a:lnTo>
                  <a:lnTo>
                    <a:pt x="9320" y="2149"/>
                  </a:lnTo>
                  <a:lnTo>
                    <a:pt x="9286" y="2150"/>
                  </a:lnTo>
                  <a:lnTo>
                    <a:pt x="9252" y="2152"/>
                  </a:lnTo>
                  <a:lnTo>
                    <a:pt x="9219" y="2158"/>
                  </a:lnTo>
                  <a:lnTo>
                    <a:pt x="9188" y="2165"/>
                  </a:lnTo>
                  <a:lnTo>
                    <a:pt x="9173" y="2170"/>
                  </a:lnTo>
                  <a:lnTo>
                    <a:pt x="9158" y="2176"/>
                  </a:lnTo>
                  <a:lnTo>
                    <a:pt x="9145" y="2183"/>
                  </a:lnTo>
                  <a:lnTo>
                    <a:pt x="9132" y="2192"/>
                  </a:lnTo>
                  <a:lnTo>
                    <a:pt x="9118" y="2201"/>
                  </a:lnTo>
                  <a:lnTo>
                    <a:pt x="9107" y="2212"/>
                  </a:lnTo>
                  <a:lnTo>
                    <a:pt x="9100" y="2217"/>
                  </a:lnTo>
                  <a:lnTo>
                    <a:pt x="9092" y="2222"/>
                  </a:lnTo>
                  <a:lnTo>
                    <a:pt x="9078" y="2238"/>
                  </a:lnTo>
                  <a:lnTo>
                    <a:pt x="9064" y="2256"/>
                  </a:lnTo>
                  <a:lnTo>
                    <a:pt x="9051" y="2279"/>
                  </a:lnTo>
                  <a:lnTo>
                    <a:pt x="9039" y="2305"/>
                  </a:lnTo>
                  <a:lnTo>
                    <a:pt x="9025" y="2333"/>
                  </a:lnTo>
                  <a:lnTo>
                    <a:pt x="9014" y="2364"/>
                  </a:lnTo>
                  <a:lnTo>
                    <a:pt x="9002" y="2398"/>
                  </a:lnTo>
                  <a:lnTo>
                    <a:pt x="8990" y="2433"/>
                  </a:lnTo>
                  <a:lnTo>
                    <a:pt x="8980" y="2470"/>
                  </a:lnTo>
                  <a:lnTo>
                    <a:pt x="8970" y="2509"/>
                  </a:lnTo>
                  <a:lnTo>
                    <a:pt x="8959" y="2549"/>
                  </a:lnTo>
                  <a:lnTo>
                    <a:pt x="8941" y="2630"/>
                  </a:lnTo>
                  <a:lnTo>
                    <a:pt x="8923" y="2714"/>
                  </a:lnTo>
                  <a:lnTo>
                    <a:pt x="8909" y="2796"/>
                  </a:lnTo>
                  <a:lnTo>
                    <a:pt x="8901" y="2836"/>
                  </a:lnTo>
                  <a:lnTo>
                    <a:pt x="8895" y="2876"/>
                  </a:lnTo>
                  <a:lnTo>
                    <a:pt x="8889" y="2913"/>
                  </a:lnTo>
                  <a:lnTo>
                    <a:pt x="8884" y="2949"/>
                  </a:lnTo>
                  <a:lnTo>
                    <a:pt x="8879" y="2983"/>
                  </a:lnTo>
                  <a:lnTo>
                    <a:pt x="8875" y="3014"/>
                  </a:lnTo>
                  <a:lnTo>
                    <a:pt x="8870" y="3042"/>
                  </a:lnTo>
                  <a:lnTo>
                    <a:pt x="8867" y="3068"/>
                  </a:lnTo>
                  <a:lnTo>
                    <a:pt x="8864" y="3091"/>
                  </a:lnTo>
                  <a:lnTo>
                    <a:pt x="8861" y="3110"/>
                  </a:lnTo>
                  <a:lnTo>
                    <a:pt x="8860" y="3126"/>
                  </a:lnTo>
                  <a:lnTo>
                    <a:pt x="8859" y="3132"/>
                  </a:lnTo>
                  <a:lnTo>
                    <a:pt x="8858" y="3137"/>
                  </a:lnTo>
                  <a:lnTo>
                    <a:pt x="8858" y="3141"/>
                  </a:lnTo>
                  <a:lnTo>
                    <a:pt x="8858" y="3144"/>
                  </a:lnTo>
                  <a:lnTo>
                    <a:pt x="8857" y="3146"/>
                  </a:lnTo>
                  <a:lnTo>
                    <a:pt x="8857" y="3146"/>
                  </a:lnTo>
                  <a:lnTo>
                    <a:pt x="8857" y="3146"/>
                  </a:lnTo>
                  <a:close/>
                  <a:moveTo>
                    <a:pt x="9387" y="3926"/>
                  </a:moveTo>
                  <a:lnTo>
                    <a:pt x="9389" y="3924"/>
                  </a:lnTo>
                  <a:lnTo>
                    <a:pt x="9393" y="3920"/>
                  </a:lnTo>
                  <a:lnTo>
                    <a:pt x="9399" y="3914"/>
                  </a:lnTo>
                  <a:lnTo>
                    <a:pt x="9407" y="3906"/>
                  </a:lnTo>
                  <a:lnTo>
                    <a:pt x="9418" y="3895"/>
                  </a:lnTo>
                  <a:lnTo>
                    <a:pt x="9430" y="3883"/>
                  </a:lnTo>
                  <a:lnTo>
                    <a:pt x="9443" y="3870"/>
                  </a:lnTo>
                  <a:lnTo>
                    <a:pt x="9457" y="3856"/>
                  </a:lnTo>
                  <a:lnTo>
                    <a:pt x="9488" y="3825"/>
                  </a:lnTo>
                  <a:lnTo>
                    <a:pt x="9519" y="3794"/>
                  </a:lnTo>
                  <a:lnTo>
                    <a:pt x="9548" y="3764"/>
                  </a:lnTo>
                  <a:lnTo>
                    <a:pt x="9561" y="3751"/>
                  </a:lnTo>
                  <a:lnTo>
                    <a:pt x="9573" y="3739"/>
                  </a:lnTo>
                  <a:lnTo>
                    <a:pt x="9597" y="3717"/>
                  </a:lnTo>
                  <a:lnTo>
                    <a:pt x="9620" y="3699"/>
                  </a:lnTo>
                  <a:lnTo>
                    <a:pt x="9641" y="3682"/>
                  </a:lnTo>
                  <a:lnTo>
                    <a:pt x="9659" y="3669"/>
                  </a:lnTo>
                  <a:lnTo>
                    <a:pt x="9676" y="3658"/>
                  </a:lnTo>
                  <a:lnTo>
                    <a:pt x="9682" y="3654"/>
                  </a:lnTo>
                  <a:lnTo>
                    <a:pt x="9688" y="3651"/>
                  </a:lnTo>
                  <a:lnTo>
                    <a:pt x="9692" y="3648"/>
                  </a:lnTo>
                  <a:lnTo>
                    <a:pt x="9696" y="3647"/>
                  </a:lnTo>
                  <a:lnTo>
                    <a:pt x="9698" y="3646"/>
                  </a:lnTo>
                  <a:lnTo>
                    <a:pt x="9698" y="3645"/>
                  </a:lnTo>
                  <a:lnTo>
                    <a:pt x="9699" y="3652"/>
                  </a:lnTo>
                  <a:lnTo>
                    <a:pt x="9700" y="3659"/>
                  </a:lnTo>
                  <a:lnTo>
                    <a:pt x="9702" y="3669"/>
                  </a:lnTo>
                  <a:lnTo>
                    <a:pt x="9705" y="3679"/>
                  </a:lnTo>
                  <a:lnTo>
                    <a:pt x="9714" y="3702"/>
                  </a:lnTo>
                  <a:lnTo>
                    <a:pt x="9719" y="3714"/>
                  </a:lnTo>
                  <a:lnTo>
                    <a:pt x="9726" y="3727"/>
                  </a:lnTo>
                  <a:lnTo>
                    <a:pt x="9733" y="3741"/>
                  </a:lnTo>
                  <a:lnTo>
                    <a:pt x="9743" y="3754"/>
                  </a:lnTo>
                  <a:lnTo>
                    <a:pt x="9753" y="3768"/>
                  </a:lnTo>
                  <a:lnTo>
                    <a:pt x="9764" y="3781"/>
                  </a:lnTo>
                  <a:lnTo>
                    <a:pt x="9777" y="3794"/>
                  </a:lnTo>
                  <a:lnTo>
                    <a:pt x="9791" y="3808"/>
                  </a:lnTo>
                  <a:lnTo>
                    <a:pt x="9807" y="3820"/>
                  </a:lnTo>
                  <a:lnTo>
                    <a:pt x="9823" y="3832"/>
                  </a:lnTo>
                  <a:lnTo>
                    <a:pt x="9846" y="3854"/>
                  </a:lnTo>
                  <a:lnTo>
                    <a:pt x="9869" y="3875"/>
                  </a:lnTo>
                  <a:lnTo>
                    <a:pt x="9889" y="3893"/>
                  </a:lnTo>
                  <a:lnTo>
                    <a:pt x="9910" y="3910"/>
                  </a:lnTo>
                  <a:lnTo>
                    <a:pt x="9929" y="3924"/>
                  </a:lnTo>
                  <a:lnTo>
                    <a:pt x="9947" y="3936"/>
                  </a:lnTo>
                  <a:lnTo>
                    <a:pt x="9964" y="3948"/>
                  </a:lnTo>
                  <a:lnTo>
                    <a:pt x="9979" y="3957"/>
                  </a:lnTo>
                  <a:lnTo>
                    <a:pt x="9993" y="3965"/>
                  </a:lnTo>
                  <a:lnTo>
                    <a:pt x="10005" y="3971"/>
                  </a:lnTo>
                  <a:lnTo>
                    <a:pt x="10016" y="3978"/>
                  </a:lnTo>
                  <a:lnTo>
                    <a:pt x="10025" y="3982"/>
                  </a:lnTo>
                  <a:lnTo>
                    <a:pt x="10032" y="3985"/>
                  </a:lnTo>
                  <a:lnTo>
                    <a:pt x="10037" y="3987"/>
                  </a:lnTo>
                  <a:lnTo>
                    <a:pt x="10040" y="3988"/>
                  </a:lnTo>
                  <a:lnTo>
                    <a:pt x="10041" y="3988"/>
                  </a:lnTo>
                  <a:lnTo>
                    <a:pt x="10040" y="3989"/>
                  </a:lnTo>
                  <a:lnTo>
                    <a:pt x="10037" y="3992"/>
                  </a:lnTo>
                  <a:lnTo>
                    <a:pt x="10033" y="3997"/>
                  </a:lnTo>
                  <a:lnTo>
                    <a:pt x="10027" y="4004"/>
                  </a:lnTo>
                  <a:lnTo>
                    <a:pt x="10018" y="4013"/>
                  </a:lnTo>
                  <a:lnTo>
                    <a:pt x="10010" y="4023"/>
                  </a:lnTo>
                  <a:lnTo>
                    <a:pt x="10001" y="4034"/>
                  </a:lnTo>
                  <a:lnTo>
                    <a:pt x="9990" y="4047"/>
                  </a:lnTo>
                  <a:lnTo>
                    <a:pt x="9980" y="4060"/>
                  </a:lnTo>
                  <a:lnTo>
                    <a:pt x="9970" y="4074"/>
                  </a:lnTo>
                  <a:lnTo>
                    <a:pt x="9949" y="4106"/>
                  </a:lnTo>
                  <a:lnTo>
                    <a:pt x="9932" y="4140"/>
                  </a:lnTo>
                  <a:lnTo>
                    <a:pt x="9923" y="4158"/>
                  </a:lnTo>
                  <a:lnTo>
                    <a:pt x="9917" y="4175"/>
                  </a:lnTo>
                  <a:lnTo>
                    <a:pt x="9895" y="4211"/>
                  </a:lnTo>
                  <a:lnTo>
                    <a:pt x="9876" y="4249"/>
                  </a:lnTo>
                  <a:lnTo>
                    <a:pt x="9859" y="4286"/>
                  </a:lnTo>
                  <a:lnTo>
                    <a:pt x="9853" y="4303"/>
                  </a:lnTo>
                  <a:lnTo>
                    <a:pt x="9847" y="4320"/>
                  </a:lnTo>
                  <a:lnTo>
                    <a:pt x="9841" y="4335"/>
                  </a:lnTo>
                  <a:lnTo>
                    <a:pt x="9837" y="4350"/>
                  </a:lnTo>
                  <a:lnTo>
                    <a:pt x="9833" y="4362"/>
                  </a:lnTo>
                  <a:lnTo>
                    <a:pt x="9828" y="4372"/>
                  </a:lnTo>
                  <a:lnTo>
                    <a:pt x="9826" y="4381"/>
                  </a:lnTo>
                  <a:lnTo>
                    <a:pt x="9824" y="4388"/>
                  </a:lnTo>
                  <a:lnTo>
                    <a:pt x="9823" y="4392"/>
                  </a:lnTo>
                  <a:lnTo>
                    <a:pt x="9823" y="4394"/>
                  </a:lnTo>
                  <a:lnTo>
                    <a:pt x="9823" y="4393"/>
                  </a:lnTo>
                  <a:lnTo>
                    <a:pt x="9826" y="4391"/>
                  </a:lnTo>
                  <a:lnTo>
                    <a:pt x="9829" y="4387"/>
                  </a:lnTo>
                  <a:lnTo>
                    <a:pt x="9835" y="4381"/>
                  </a:lnTo>
                  <a:lnTo>
                    <a:pt x="9841" y="4374"/>
                  </a:lnTo>
                  <a:lnTo>
                    <a:pt x="9848" y="4366"/>
                  </a:lnTo>
                  <a:lnTo>
                    <a:pt x="9856" y="4357"/>
                  </a:lnTo>
                  <a:lnTo>
                    <a:pt x="9867" y="4346"/>
                  </a:lnTo>
                  <a:lnTo>
                    <a:pt x="9877" y="4335"/>
                  </a:lnTo>
                  <a:lnTo>
                    <a:pt x="9889" y="4322"/>
                  </a:lnTo>
                  <a:lnTo>
                    <a:pt x="9903" y="4308"/>
                  </a:lnTo>
                  <a:lnTo>
                    <a:pt x="9917" y="4293"/>
                  </a:lnTo>
                  <a:lnTo>
                    <a:pt x="9948" y="4261"/>
                  </a:lnTo>
                  <a:lnTo>
                    <a:pt x="9983" y="4226"/>
                  </a:lnTo>
                  <a:lnTo>
                    <a:pt x="10021" y="4188"/>
                  </a:lnTo>
                  <a:lnTo>
                    <a:pt x="10062" y="4149"/>
                  </a:lnTo>
                  <a:lnTo>
                    <a:pt x="10106" y="4107"/>
                  </a:lnTo>
                  <a:lnTo>
                    <a:pt x="10153" y="4064"/>
                  </a:lnTo>
                  <a:lnTo>
                    <a:pt x="10200" y="4022"/>
                  </a:lnTo>
                  <a:lnTo>
                    <a:pt x="10250" y="3979"/>
                  </a:lnTo>
                  <a:lnTo>
                    <a:pt x="10301" y="3936"/>
                  </a:lnTo>
                  <a:lnTo>
                    <a:pt x="10353" y="3894"/>
                  </a:lnTo>
                  <a:lnTo>
                    <a:pt x="10429" y="3838"/>
                  </a:lnTo>
                  <a:lnTo>
                    <a:pt x="10505" y="3785"/>
                  </a:lnTo>
                  <a:lnTo>
                    <a:pt x="10578" y="3736"/>
                  </a:lnTo>
                  <a:lnTo>
                    <a:pt x="10651" y="3690"/>
                  </a:lnTo>
                  <a:lnTo>
                    <a:pt x="10720" y="3648"/>
                  </a:lnTo>
                  <a:lnTo>
                    <a:pt x="10787" y="3610"/>
                  </a:lnTo>
                  <a:lnTo>
                    <a:pt x="10819" y="3592"/>
                  </a:lnTo>
                  <a:lnTo>
                    <a:pt x="10851" y="3575"/>
                  </a:lnTo>
                  <a:lnTo>
                    <a:pt x="10881" y="3559"/>
                  </a:lnTo>
                  <a:lnTo>
                    <a:pt x="10910" y="3544"/>
                  </a:lnTo>
                  <a:lnTo>
                    <a:pt x="10938" y="3530"/>
                  </a:lnTo>
                  <a:lnTo>
                    <a:pt x="10965" y="3517"/>
                  </a:lnTo>
                  <a:lnTo>
                    <a:pt x="10990" y="3505"/>
                  </a:lnTo>
                  <a:lnTo>
                    <a:pt x="11014" y="3494"/>
                  </a:lnTo>
                  <a:lnTo>
                    <a:pt x="11036" y="3482"/>
                  </a:lnTo>
                  <a:lnTo>
                    <a:pt x="11057" y="3473"/>
                  </a:lnTo>
                  <a:lnTo>
                    <a:pt x="11076" y="3465"/>
                  </a:lnTo>
                  <a:lnTo>
                    <a:pt x="11094" y="3456"/>
                  </a:lnTo>
                  <a:lnTo>
                    <a:pt x="11110" y="3449"/>
                  </a:lnTo>
                  <a:lnTo>
                    <a:pt x="11123" y="3444"/>
                  </a:lnTo>
                  <a:lnTo>
                    <a:pt x="11135" y="3439"/>
                  </a:lnTo>
                  <a:lnTo>
                    <a:pt x="11146" y="3435"/>
                  </a:lnTo>
                  <a:lnTo>
                    <a:pt x="11153" y="3432"/>
                  </a:lnTo>
                  <a:lnTo>
                    <a:pt x="11159" y="3430"/>
                  </a:lnTo>
                  <a:lnTo>
                    <a:pt x="11162" y="3428"/>
                  </a:lnTo>
                  <a:lnTo>
                    <a:pt x="11163" y="3428"/>
                  </a:lnTo>
                  <a:lnTo>
                    <a:pt x="11162" y="3428"/>
                  </a:lnTo>
                  <a:lnTo>
                    <a:pt x="11158" y="3428"/>
                  </a:lnTo>
                  <a:lnTo>
                    <a:pt x="11151" y="3428"/>
                  </a:lnTo>
                  <a:lnTo>
                    <a:pt x="11142" y="3429"/>
                  </a:lnTo>
                  <a:lnTo>
                    <a:pt x="11131" y="3430"/>
                  </a:lnTo>
                  <a:lnTo>
                    <a:pt x="11118" y="3431"/>
                  </a:lnTo>
                  <a:lnTo>
                    <a:pt x="11102" y="3433"/>
                  </a:lnTo>
                  <a:lnTo>
                    <a:pt x="11086" y="3435"/>
                  </a:lnTo>
                  <a:lnTo>
                    <a:pt x="11067" y="3439"/>
                  </a:lnTo>
                  <a:lnTo>
                    <a:pt x="11048" y="3443"/>
                  </a:lnTo>
                  <a:lnTo>
                    <a:pt x="11027" y="3447"/>
                  </a:lnTo>
                  <a:lnTo>
                    <a:pt x="11005" y="3453"/>
                  </a:lnTo>
                  <a:lnTo>
                    <a:pt x="10984" y="3461"/>
                  </a:lnTo>
                  <a:lnTo>
                    <a:pt x="10961" y="3469"/>
                  </a:lnTo>
                  <a:lnTo>
                    <a:pt x="10937" y="3479"/>
                  </a:lnTo>
                  <a:lnTo>
                    <a:pt x="10914" y="3489"/>
                  </a:lnTo>
                  <a:lnTo>
                    <a:pt x="10892" y="3496"/>
                  </a:lnTo>
                  <a:lnTo>
                    <a:pt x="10872" y="3501"/>
                  </a:lnTo>
                  <a:lnTo>
                    <a:pt x="10853" y="3507"/>
                  </a:lnTo>
                  <a:lnTo>
                    <a:pt x="10837" y="3512"/>
                  </a:lnTo>
                  <a:lnTo>
                    <a:pt x="10823" y="3518"/>
                  </a:lnTo>
                  <a:lnTo>
                    <a:pt x="10810" y="3523"/>
                  </a:lnTo>
                  <a:lnTo>
                    <a:pt x="10799" y="3528"/>
                  </a:lnTo>
                  <a:lnTo>
                    <a:pt x="10789" y="3533"/>
                  </a:lnTo>
                  <a:lnTo>
                    <a:pt x="10781" y="3537"/>
                  </a:lnTo>
                  <a:lnTo>
                    <a:pt x="10775" y="3541"/>
                  </a:lnTo>
                  <a:lnTo>
                    <a:pt x="10769" y="3544"/>
                  </a:lnTo>
                  <a:lnTo>
                    <a:pt x="10765" y="3547"/>
                  </a:lnTo>
                  <a:lnTo>
                    <a:pt x="10762" y="3549"/>
                  </a:lnTo>
                  <a:lnTo>
                    <a:pt x="10760" y="3550"/>
                  </a:lnTo>
                  <a:lnTo>
                    <a:pt x="10759" y="3552"/>
                  </a:lnTo>
                  <a:lnTo>
                    <a:pt x="10759" y="3550"/>
                  </a:lnTo>
                  <a:lnTo>
                    <a:pt x="10759" y="3545"/>
                  </a:lnTo>
                  <a:lnTo>
                    <a:pt x="10757" y="3537"/>
                  </a:lnTo>
                  <a:lnTo>
                    <a:pt x="10756" y="3525"/>
                  </a:lnTo>
                  <a:lnTo>
                    <a:pt x="10754" y="3512"/>
                  </a:lnTo>
                  <a:lnTo>
                    <a:pt x="10751" y="3496"/>
                  </a:lnTo>
                  <a:lnTo>
                    <a:pt x="10748" y="3478"/>
                  </a:lnTo>
                  <a:lnTo>
                    <a:pt x="10743" y="3459"/>
                  </a:lnTo>
                  <a:lnTo>
                    <a:pt x="10736" y="3437"/>
                  </a:lnTo>
                  <a:lnTo>
                    <a:pt x="10728" y="3415"/>
                  </a:lnTo>
                  <a:lnTo>
                    <a:pt x="10717" y="3392"/>
                  </a:lnTo>
                  <a:lnTo>
                    <a:pt x="10706" y="3368"/>
                  </a:lnTo>
                  <a:lnTo>
                    <a:pt x="10691" y="3343"/>
                  </a:lnTo>
                  <a:lnTo>
                    <a:pt x="10675" y="3319"/>
                  </a:lnTo>
                  <a:lnTo>
                    <a:pt x="10655" y="3295"/>
                  </a:lnTo>
                  <a:lnTo>
                    <a:pt x="10634" y="3271"/>
                  </a:lnTo>
                  <a:lnTo>
                    <a:pt x="10615" y="3249"/>
                  </a:lnTo>
                  <a:lnTo>
                    <a:pt x="10597" y="3229"/>
                  </a:lnTo>
                  <a:lnTo>
                    <a:pt x="10579" y="3210"/>
                  </a:lnTo>
                  <a:lnTo>
                    <a:pt x="10560" y="3195"/>
                  </a:lnTo>
                  <a:lnTo>
                    <a:pt x="10542" y="3180"/>
                  </a:lnTo>
                  <a:lnTo>
                    <a:pt x="10523" y="3167"/>
                  </a:lnTo>
                  <a:lnTo>
                    <a:pt x="10506" y="3157"/>
                  </a:lnTo>
                  <a:lnTo>
                    <a:pt x="10489" y="3146"/>
                  </a:lnTo>
                  <a:lnTo>
                    <a:pt x="10474" y="3139"/>
                  </a:lnTo>
                  <a:lnTo>
                    <a:pt x="10460" y="3132"/>
                  </a:lnTo>
                  <a:lnTo>
                    <a:pt x="10447" y="3127"/>
                  </a:lnTo>
                  <a:lnTo>
                    <a:pt x="10436" y="3123"/>
                  </a:lnTo>
                  <a:lnTo>
                    <a:pt x="10427" y="3120"/>
                  </a:lnTo>
                  <a:lnTo>
                    <a:pt x="10421" y="3118"/>
                  </a:lnTo>
                  <a:lnTo>
                    <a:pt x="10417" y="3117"/>
                  </a:lnTo>
                  <a:lnTo>
                    <a:pt x="10416" y="3116"/>
                  </a:lnTo>
                  <a:lnTo>
                    <a:pt x="10416" y="3114"/>
                  </a:lnTo>
                  <a:lnTo>
                    <a:pt x="10418" y="3110"/>
                  </a:lnTo>
                  <a:lnTo>
                    <a:pt x="10419" y="3107"/>
                  </a:lnTo>
                  <a:lnTo>
                    <a:pt x="10422" y="3104"/>
                  </a:lnTo>
                  <a:lnTo>
                    <a:pt x="10426" y="3100"/>
                  </a:lnTo>
                  <a:lnTo>
                    <a:pt x="10431" y="3096"/>
                  </a:lnTo>
                  <a:lnTo>
                    <a:pt x="10437" y="3092"/>
                  </a:lnTo>
                  <a:lnTo>
                    <a:pt x="10446" y="3087"/>
                  </a:lnTo>
                  <a:lnTo>
                    <a:pt x="10456" y="3082"/>
                  </a:lnTo>
                  <a:lnTo>
                    <a:pt x="10468" y="3076"/>
                  </a:lnTo>
                  <a:lnTo>
                    <a:pt x="10482" y="3071"/>
                  </a:lnTo>
                  <a:lnTo>
                    <a:pt x="10499" y="3065"/>
                  </a:lnTo>
                  <a:lnTo>
                    <a:pt x="10518" y="3059"/>
                  </a:lnTo>
                  <a:lnTo>
                    <a:pt x="10540" y="3054"/>
                  </a:lnTo>
                  <a:lnTo>
                    <a:pt x="10562" y="3048"/>
                  </a:lnTo>
                  <a:lnTo>
                    <a:pt x="10584" y="3041"/>
                  </a:lnTo>
                  <a:lnTo>
                    <a:pt x="10604" y="3036"/>
                  </a:lnTo>
                  <a:lnTo>
                    <a:pt x="10622" y="3030"/>
                  </a:lnTo>
                  <a:lnTo>
                    <a:pt x="10639" y="3025"/>
                  </a:lnTo>
                  <a:lnTo>
                    <a:pt x="10654" y="3020"/>
                  </a:lnTo>
                  <a:lnTo>
                    <a:pt x="10668" y="3016"/>
                  </a:lnTo>
                  <a:lnTo>
                    <a:pt x="10680" y="3010"/>
                  </a:lnTo>
                  <a:lnTo>
                    <a:pt x="10691" y="3006"/>
                  </a:lnTo>
                  <a:lnTo>
                    <a:pt x="10701" y="3002"/>
                  </a:lnTo>
                  <a:lnTo>
                    <a:pt x="10709" y="2999"/>
                  </a:lnTo>
                  <a:lnTo>
                    <a:pt x="10715" y="2996"/>
                  </a:lnTo>
                  <a:lnTo>
                    <a:pt x="10720" y="2994"/>
                  </a:lnTo>
                  <a:lnTo>
                    <a:pt x="10724" y="2993"/>
                  </a:lnTo>
                  <a:lnTo>
                    <a:pt x="10727" y="2992"/>
                  </a:lnTo>
                  <a:lnTo>
                    <a:pt x="10728" y="2991"/>
                  </a:lnTo>
                  <a:lnTo>
                    <a:pt x="10723" y="2991"/>
                  </a:lnTo>
                  <a:lnTo>
                    <a:pt x="10718" y="2991"/>
                  </a:lnTo>
                  <a:lnTo>
                    <a:pt x="10710" y="2991"/>
                  </a:lnTo>
                  <a:lnTo>
                    <a:pt x="10702" y="2992"/>
                  </a:lnTo>
                  <a:lnTo>
                    <a:pt x="10690" y="2992"/>
                  </a:lnTo>
                  <a:lnTo>
                    <a:pt x="10679" y="2993"/>
                  </a:lnTo>
                  <a:lnTo>
                    <a:pt x="10665" y="2994"/>
                  </a:lnTo>
                  <a:lnTo>
                    <a:pt x="10650" y="2995"/>
                  </a:lnTo>
                  <a:lnTo>
                    <a:pt x="10634" y="2997"/>
                  </a:lnTo>
                  <a:lnTo>
                    <a:pt x="10615" y="2999"/>
                  </a:lnTo>
                  <a:lnTo>
                    <a:pt x="10595" y="3001"/>
                  </a:lnTo>
                  <a:lnTo>
                    <a:pt x="10576" y="3004"/>
                  </a:lnTo>
                  <a:lnTo>
                    <a:pt x="10554" y="3008"/>
                  </a:lnTo>
                  <a:lnTo>
                    <a:pt x="10530" y="3013"/>
                  </a:lnTo>
                  <a:lnTo>
                    <a:pt x="10507" y="3017"/>
                  </a:lnTo>
                  <a:lnTo>
                    <a:pt x="10482" y="3023"/>
                  </a:lnTo>
                  <a:lnTo>
                    <a:pt x="10428" y="3035"/>
                  </a:lnTo>
                  <a:lnTo>
                    <a:pt x="10371" y="3052"/>
                  </a:lnTo>
                  <a:lnTo>
                    <a:pt x="10312" y="3072"/>
                  </a:lnTo>
                  <a:lnTo>
                    <a:pt x="10281" y="3084"/>
                  </a:lnTo>
                  <a:lnTo>
                    <a:pt x="10250" y="3096"/>
                  </a:lnTo>
                  <a:lnTo>
                    <a:pt x="10217" y="3110"/>
                  </a:lnTo>
                  <a:lnTo>
                    <a:pt x="10185" y="3125"/>
                  </a:lnTo>
                  <a:lnTo>
                    <a:pt x="10150" y="3141"/>
                  </a:lnTo>
                  <a:lnTo>
                    <a:pt x="10117" y="3158"/>
                  </a:lnTo>
                  <a:lnTo>
                    <a:pt x="10083" y="3176"/>
                  </a:lnTo>
                  <a:lnTo>
                    <a:pt x="10048" y="3197"/>
                  </a:lnTo>
                  <a:lnTo>
                    <a:pt x="10014" y="3217"/>
                  </a:lnTo>
                  <a:lnTo>
                    <a:pt x="9979" y="3240"/>
                  </a:lnTo>
                  <a:lnTo>
                    <a:pt x="9944" y="3262"/>
                  </a:lnTo>
                  <a:lnTo>
                    <a:pt x="9911" y="3284"/>
                  </a:lnTo>
                  <a:lnTo>
                    <a:pt x="9878" y="3308"/>
                  </a:lnTo>
                  <a:lnTo>
                    <a:pt x="9846" y="3333"/>
                  </a:lnTo>
                  <a:lnTo>
                    <a:pt x="9785" y="3384"/>
                  </a:lnTo>
                  <a:lnTo>
                    <a:pt x="9728" y="3439"/>
                  </a:lnTo>
                  <a:lnTo>
                    <a:pt x="9676" y="3496"/>
                  </a:lnTo>
                  <a:lnTo>
                    <a:pt x="9651" y="3524"/>
                  </a:lnTo>
                  <a:lnTo>
                    <a:pt x="9627" y="3553"/>
                  </a:lnTo>
                  <a:lnTo>
                    <a:pt x="9604" y="3581"/>
                  </a:lnTo>
                  <a:lnTo>
                    <a:pt x="9583" y="3610"/>
                  </a:lnTo>
                  <a:lnTo>
                    <a:pt x="9562" y="3638"/>
                  </a:lnTo>
                  <a:lnTo>
                    <a:pt x="9542" y="3665"/>
                  </a:lnTo>
                  <a:lnTo>
                    <a:pt x="9524" y="3691"/>
                  </a:lnTo>
                  <a:lnTo>
                    <a:pt x="9507" y="3717"/>
                  </a:lnTo>
                  <a:lnTo>
                    <a:pt x="9491" y="3743"/>
                  </a:lnTo>
                  <a:lnTo>
                    <a:pt x="9475" y="3767"/>
                  </a:lnTo>
                  <a:lnTo>
                    <a:pt x="9462" y="3789"/>
                  </a:lnTo>
                  <a:lnTo>
                    <a:pt x="9449" y="3811"/>
                  </a:lnTo>
                  <a:lnTo>
                    <a:pt x="9437" y="3831"/>
                  </a:lnTo>
                  <a:lnTo>
                    <a:pt x="9427" y="3850"/>
                  </a:lnTo>
                  <a:lnTo>
                    <a:pt x="9418" y="3866"/>
                  </a:lnTo>
                  <a:lnTo>
                    <a:pt x="9409" y="3881"/>
                  </a:lnTo>
                  <a:lnTo>
                    <a:pt x="9403" y="3894"/>
                  </a:lnTo>
                  <a:lnTo>
                    <a:pt x="9397" y="3906"/>
                  </a:lnTo>
                  <a:lnTo>
                    <a:pt x="9393" y="3914"/>
                  </a:lnTo>
                  <a:lnTo>
                    <a:pt x="9390" y="3921"/>
                  </a:lnTo>
                  <a:lnTo>
                    <a:pt x="9388" y="3924"/>
                  </a:lnTo>
                  <a:lnTo>
                    <a:pt x="9387" y="3926"/>
                  </a:lnTo>
                  <a:lnTo>
                    <a:pt x="9387" y="3926"/>
                  </a:lnTo>
                  <a:close/>
                  <a:moveTo>
                    <a:pt x="9231" y="0"/>
                  </a:moveTo>
                  <a:lnTo>
                    <a:pt x="9134" y="1"/>
                  </a:lnTo>
                  <a:lnTo>
                    <a:pt x="9040" y="4"/>
                  </a:lnTo>
                  <a:lnTo>
                    <a:pt x="8947" y="8"/>
                  </a:lnTo>
                  <a:lnTo>
                    <a:pt x="8856" y="15"/>
                  </a:lnTo>
                  <a:lnTo>
                    <a:pt x="8767" y="23"/>
                  </a:lnTo>
                  <a:lnTo>
                    <a:pt x="8680" y="34"/>
                  </a:lnTo>
                  <a:lnTo>
                    <a:pt x="8596" y="46"/>
                  </a:lnTo>
                  <a:lnTo>
                    <a:pt x="8513" y="59"/>
                  </a:lnTo>
                  <a:lnTo>
                    <a:pt x="8433" y="75"/>
                  </a:lnTo>
                  <a:lnTo>
                    <a:pt x="8354" y="91"/>
                  </a:lnTo>
                  <a:lnTo>
                    <a:pt x="8277" y="110"/>
                  </a:lnTo>
                  <a:lnTo>
                    <a:pt x="8202" y="129"/>
                  </a:lnTo>
                  <a:lnTo>
                    <a:pt x="8129" y="150"/>
                  </a:lnTo>
                  <a:lnTo>
                    <a:pt x="8058" y="172"/>
                  </a:lnTo>
                  <a:lnTo>
                    <a:pt x="7989" y="195"/>
                  </a:lnTo>
                  <a:lnTo>
                    <a:pt x="7921" y="219"/>
                  </a:lnTo>
                  <a:lnTo>
                    <a:pt x="7856" y="245"/>
                  </a:lnTo>
                  <a:lnTo>
                    <a:pt x="7792" y="272"/>
                  </a:lnTo>
                  <a:lnTo>
                    <a:pt x="7730" y="298"/>
                  </a:lnTo>
                  <a:lnTo>
                    <a:pt x="7669" y="326"/>
                  </a:lnTo>
                  <a:lnTo>
                    <a:pt x="7610" y="355"/>
                  </a:lnTo>
                  <a:lnTo>
                    <a:pt x="7553" y="385"/>
                  </a:lnTo>
                  <a:lnTo>
                    <a:pt x="7497" y="416"/>
                  </a:lnTo>
                  <a:lnTo>
                    <a:pt x="7444" y="447"/>
                  </a:lnTo>
                  <a:lnTo>
                    <a:pt x="7392" y="478"/>
                  </a:lnTo>
                  <a:lnTo>
                    <a:pt x="7342" y="510"/>
                  </a:lnTo>
                  <a:lnTo>
                    <a:pt x="7293" y="542"/>
                  </a:lnTo>
                  <a:lnTo>
                    <a:pt x="7246" y="575"/>
                  </a:lnTo>
                  <a:lnTo>
                    <a:pt x="7200" y="608"/>
                  </a:lnTo>
                  <a:lnTo>
                    <a:pt x="7157" y="641"/>
                  </a:lnTo>
                  <a:lnTo>
                    <a:pt x="7113" y="675"/>
                  </a:lnTo>
                  <a:lnTo>
                    <a:pt x="7073" y="708"/>
                  </a:lnTo>
                  <a:lnTo>
                    <a:pt x="7034" y="742"/>
                  </a:lnTo>
                  <a:lnTo>
                    <a:pt x="6996" y="775"/>
                  </a:lnTo>
                  <a:lnTo>
                    <a:pt x="6960" y="809"/>
                  </a:lnTo>
                  <a:lnTo>
                    <a:pt x="6924" y="842"/>
                  </a:lnTo>
                  <a:lnTo>
                    <a:pt x="6890" y="875"/>
                  </a:lnTo>
                  <a:lnTo>
                    <a:pt x="6858" y="908"/>
                  </a:lnTo>
                  <a:lnTo>
                    <a:pt x="6827" y="941"/>
                  </a:lnTo>
                  <a:lnTo>
                    <a:pt x="6799" y="973"/>
                  </a:lnTo>
                  <a:lnTo>
                    <a:pt x="6771" y="1005"/>
                  </a:lnTo>
                  <a:lnTo>
                    <a:pt x="6744" y="1036"/>
                  </a:lnTo>
                  <a:lnTo>
                    <a:pt x="6718" y="1067"/>
                  </a:lnTo>
                  <a:lnTo>
                    <a:pt x="6694" y="1097"/>
                  </a:lnTo>
                  <a:lnTo>
                    <a:pt x="6672" y="1127"/>
                  </a:lnTo>
                  <a:lnTo>
                    <a:pt x="6650" y="1154"/>
                  </a:lnTo>
                  <a:lnTo>
                    <a:pt x="6629" y="1182"/>
                  </a:lnTo>
                  <a:lnTo>
                    <a:pt x="6611" y="1209"/>
                  </a:lnTo>
                  <a:lnTo>
                    <a:pt x="6593" y="1235"/>
                  </a:lnTo>
                  <a:lnTo>
                    <a:pt x="6576" y="1259"/>
                  </a:lnTo>
                  <a:lnTo>
                    <a:pt x="6560" y="1283"/>
                  </a:lnTo>
                  <a:lnTo>
                    <a:pt x="6547" y="1306"/>
                  </a:lnTo>
                  <a:lnTo>
                    <a:pt x="6533" y="1327"/>
                  </a:lnTo>
                  <a:lnTo>
                    <a:pt x="6521" y="1347"/>
                  </a:lnTo>
                  <a:lnTo>
                    <a:pt x="6509" y="1365"/>
                  </a:lnTo>
                  <a:lnTo>
                    <a:pt x="6500" y="1383"/>
                  </a:lnTo>
                  <a:lnTo>
                    <a:pt x="6491" y="1399"/>
                  </a:lnTo>
                  <a:lnTo>
                    <a:pt x="6484" y="1414"/>
                  </a:lnTo>
                  <a:lnTo>
                    <a:pt x="6476" y="1426"/>
                  </a:lnTo>
                  <a:lnTo>
                    <a:pt x="6471" y="1438"/>
                  </a:lnTo>
                  <a:lnTo>
                    <a:pt x="6466" y="1447"/>
                  </a:lnTo>
                  <a:lnTo>
                    <a:pt x="6462" y="1454"/>
                  </a:lnTo>
                  <a:lnTo>
                    <a:pt x="6460" y="1460"/>
                  </a:lnTo>
                  <a:lnTo>
                    <a:pt x="6458" y="1464"/>
                  </a:lnTo>
                  <a:lnTo>
                    <a:pt x="6431" y="1476"/>
                  </a:lnTo>
                  <a:lnTo>
                    <a:pt x="6402" y="1487"/>
                  </a:lnTo>
                  <a:lnTo>
                    <a:pt x="6373" y="1496"/>
                  </a:lnTo>
                  <a:lnTo>
                    <a:pt x="6343" y="1506"/>
                  </a:lnTo>
                  <a:lnTo>
                    <a:pt x="6311" y="1513"/>
                  </a:lnTo>
                  <a:lnTo>
                    <a:pt x="6278" y="1519"/>
                  </a:lnTo>
                  <a:lnTo>
                    <a:pt x="6244" y="1523"/>
                  </a:lnTo>
                  <a:lnTo>
                    <a:pt x="6208" y="1526"/>
                  </a:lnTo>
                  <a:lnTo>
                    <a:pt x="6161" y="1540"/>
                  </a:lnTo>
                  <a:lnTo>
                    <a:pt x="6114" y="1557"/>
                  </a:lnTo>
                  <a:lnTo>
                    <a:pt x="6090" y="1567"/>
                  </a:lnTo>
                  <a:lnTo>
                    <a:pt x="6067" y="1579"/>
                  </a:lnTo>
                  <a:lnTo>
                    <a:pt x="6043" y="1591"/>
                  </a:lnTo>
                  <a:lnTo>
                    <a:pt x="6018" y="1604"/>
                  </a:lnTo>
                  <a:lnTo>
                    <a:pt x="5994" y="1619"/>
                  </a:lnTo>
                  <a:lnTo>
                    <a:pt x="5970" y="1634"/>
                  </a:lnTo>
                  <a:lnTo>
                    <a:pt x="5945" y="1651"/>
                  </a:lnTo>
                  <a:lnTo>
                    <a:pt x="5919" y="1668"/>
                  </a:lnTo>
                  <a:lnTo>
                    <a:pt x="5893" y="1688"/>
                  </a:lnTo>
                  <a:lnTo>
                    <a:pt x="5867" y="1708"/>
                  </a:lnTo>
                  <a:lnTo>
                    <a:pt x="5842" y="1729"/>
                  </a:lnTo>
                  <a:lnTo>
                    <a:pt x="5815" y="1752"/>
                  </a:lnTo>
                  <a:lnTo>
                    <a:pt x="5787" y="1776"/>
                  </a:lnTo>
                  <a:lnTo>
                    <a:pt x="5759" y="1801"/>
                  </a:lnTo>
                  <a:lnTo>
                    <a:pt x="5731" y="1828"/>
                  </a:lnTo>
                  <a:lnTo>
                    <a:pt x="5702" y="1856"/>
                  </a:lnTo>
                  <a:lnTo>
                    <a:pt x="5673" y="1886"/>
                  </a:lnTo>
                  <a:lnTo>
                    <a:pt x="5643" y="1917"/>
                  </a:lnTo>
                  <a:lnTo>
                    <a:pt x="5612" y="1948"/>
                  </a:lnTo>
                  <a:lnTo>
                    <a:pt x="5581" y="1981"/>
                  </a:lnTo>
                  <a:lnTo>
                    <a:pt x="5549" y="2017"/>
                  </a:lnTo>
                  <a:lnTo>
                    <a:pt x="5516" y="2054"/>
                  </a:lnTo>
                  <a:lnTo>
                    <a:pt x="5483" y="2092"/>
                  </a:lnTo>
                  <a:lnTo>
                    <a:pt x="5449" y="2131"/>
                  </a:lnTo>
                  <a:lnTo>
                    <a:pt x="5414" y="2172"/>
                  </a:lnTo>
                  <a:lnTo>
                    <a:pt x="5379" y="2215"/>
                  </a:lnTo>
                  <a:lnTo>
                    <a:pt x="5342" y="2260"/>
                  </a:lnTo>
                  <a:lnTo>
                    <a:pt x="5305" y="2305"/>
                  </a:lnTo>
                  <a:lnTo>
                    <a:pt x="4961" y="2368"/>
                  </a:lnTo>
                  <a:lnTo>
                    <a:pt x="4957" y="2368"/>
                  </a:lnTo>
                  <a:lnTo>
                    <a:pt x="4951" y="2368"/>
                  </a:lnTo>
                  <a:lnTo>
                    <a:pt x="4942" y="2369"/>
                  </a:lnTo>
                  <a:lnTo>
                    <a:pt x="4932" y="2370"/>
                  </a:lnTo>
                  <a:lnTo>
                    <a:pt x="4920" y="2371"/>
                  </a:lnTo>
                  <a:lnTo>
                    <a:pt x="4904" y="2373"/>
                  </a:lnTo>
                  <a:lnTo>
                    <a:pt x="4888" y="2375"/>
                  </a:lnTo>
                  <a:lnTo>
                    <a:pt x="4869" y="2378"/>
                  </a:lnTo>
                  <a:lnTo>
                    <a:pt x="4848" y="2380"/>
                  </a:lnTo>
                  <a:lnTo>
                    <a:pt x="4826" y="2384"/>
                  </a:lnTo>
                  <a:lnTo>
                    <a:pt x="4802" y="2387"/>
                  </a:lnTo>
                  <a:lnTo>
                    <a:pt x="4776" y="2391"/>
                  </a:lnTo>
                  <a:lnTo>
                    <a:pt x="4748" y="2397"/>
                  </a:lnTo>
                  <a:lnTo>
                    <a:pt x="4719" y="2402"/>
                  </a:lnTo>
                  <a:lnTo>
                    <a:pt x="4688" y="2407"/>
                  </a:lnTo>
                  <a:lnTo>
                    <a:pt x="4656" y="2413"/>
                  </a:lnTo>
                  <a:lnTo>
                    <a:pt x="4622" y="2419"/>
                  </a:lnTo>
                  <a:lnTo>
                    <a:pt x="4587" y="2426"/>
                  </a:lnTo>
                  <a:lnTo>
                    <a:pt x="4550" y="2435"/>
                  </a:lnTo>
                  <a:lnTo>
                    <a:pt x="4512" y="2443"/>
                  </a:lnTo>
                  <a:lnTo>
                    <a:pt x="4473" y="2451"/>
                  </a:lnTo>
                  <a:lnTo>
                    <a:pt x="4432" y="2460"/>
                  </a:lnTo>
                  <a:lnTo>
                    <a:pt x="4390" y="2471"/>
                  </a:lnTo>
                  <a:lnTo>
                    <a:pt x="4347" y="2481"/>
                  </a:lnTo>
                  <a:lnTo>
                    <a:pt x="4303" y="2492"/>
                  </a:lnTo>
                  <a:lnTo>
                    <a:pt x="4258" y="2505"/>
                  </a:lnTo>
                  <a:lnTo>
                    <a:pt x="4165" y="2530"/>
                  </a:lnTo>
                  <a:lnTo>
                    <a:pt x="4068" y="2558"/>
                  </a:lnTo>
                  <a:lnTo>
                    <a:pt x="3968" y="2590"/>
                  </a:lnTo>
                  <a:lnTo>
                    <a:pt x="3865" y="2624"/>
                  </a:lnTo>
                  <a:lnTo>
                    <a:pt x="3759" y="2662"/>
                  </a:lnTo>
                  <a:lnTo>
                    <a:pt x="3652" y="2702"/>
                  </a:lnTo>
                  <a:lnTo>
                    <a:pt x="3544" y="2747"/>
                  </a:lnTo>
                  <a:lnTo>
                    <a:pt x="3433" y="2795"/>
                  </a:lnTo>
                  <a:lnTo>
                    <a:pt x="3322" y="2846"/>
                  </a:lnTo>
                  <a:lnTo>
                    <a:pt x="3210" y="2901"/>
                  </a:lnTo>
                  <a:lnTo>
                    <a:pt x="3099" y="2960"/>
                  </a:lnTo>
                  <a:lnTo>
                    <a:pt x="2987" y="3023"/>
                  </a:lnTo>
                  <a:lnTo>
                    <a:pt x="2931" y="3056"/>
                  </a:lnTo>
                  <a:lnTo>
                    <a:pt x="2877" y="3090"/>
                  </a:lnTo>
                  <a:lnTo>
                    <a:pt x="2822" y="3125"/>
                  </a:lnTo>
                  <a:lnTo>
                    <a:pt x="2767" y="3161"/>
                  </a:lnTo>
                  <a:lnTo>
                    <a:pt x="2713" y="3198"/>
                  </a:lnTo>
                  <a:lnTo>
                    <a:pt x="2659" y="3236"/>
                  </a:lnTo>
                  <a:lnTo>
                    <a:pt x="2605" y="3275"/>
                  </a:lnTo>
                  <a:lnTo>
                    <a:pt x="2553" y="3315"/>
                  </a:lnTo>
                  <a:lnTo>
                    <a:pt x="2501" y="3358"/>
                  </a:lnTo>
                  <a:lnTo>
                    <a:pt x="2449" y="3400"/>
                  </a:lnTo>
                  <a:lnTo>
                    <a:pt x="2398" y="3444"/>
                  </a:lnTo>
                  <a:lnTo>
                    <a:pt x="2348" y="3489"/>
                  </a:lnTo>
                  <a:lnTo>
                    <a:pt x="2299" y="3536"/>
                  </a:lnTo>
                  <a:lnTo>
                    <a:pt x="2250" y="3583"/>
                  </a:lnTo>
                  <a:lnTo>
                    <a:pt x="2217" y="3616"/>
                  </a:lnTo>
                  <a:lnTo>
                    <a:pt x="2184" y="3650"/>
                  </a:lnTo>
                  <a:lnTo>
                    <a:pt x="2150" y="3687"/>
                  </a:lnTo>
                  <a:lnTo>
                    <a:pt x="2116" y="3725"/>
                  </a:lnTo>
                  <a:lnTo>
                    <a:pt x="2081" y="3764"/>
                  </a:lnTo>
                  <a:lnTo>
                    <a:pt x="2046" y="3805"/>
                  </a:lnTo>
                  <a:lnTo>
                    <a:pt x="1973" y="3888"/>
                  </a:lnTo>
                  <a:lnTo>
                    <a:pt x="1901" y="3975"/>
                  </a:lnTo>
                  <a:lnTo>
                    <a:pt x="1829" y="4063"/>
                  </a:lnTo>
                  <a:lnTo>
                    <a:pt x="1759" y="4151"/>
                  </a:lnTo>
                  <a:lnTo>
                    <a:pt x="1690" y="4236"/>
                  </a:lnTo>
                  <a:lnTo>
                    <a:pt x="1657" y="4278"/>
                  </a:lnTo>
                  <a:lnTo>
                    <a:pt x="1625" y="4320"/>
                  </a:lnTo>
                  <a:lnTo>
                    <a:pt x="1593" y="4360"/>
                  </a:lnTo>
                  <a:lnTo>
                    <a:pt x="1563" y="4399"/>
                  </a:lnTo>
                  <a:lnTo>
                    <a:pt x="1533" y="4436"/>
                  </a:lnTo>
                  <a:lnTo>
                    <a:pt x="1505" y="4472"/>
                  </a:lnTo>
                  <a:lnTo>
                    <a:pt x="1478" y="4506"/>
                  </a:lnTo>
                  <a:lnTo>
                    <a:pt x="1453" y="4538"/>
                  </a:lnTo>
                  <a:lnTo>
                    <a:pt x="1429" y="4568"/>
                  </a:lnTo>
                  <a:lnTo>
                    <a:pt x="1407" y="4596"/>
                  </a:lnTo>
                  <a:lnTo>
                    <a:pt x="1387" y="4621"/>
                  </a:lnTo>
                  <a:lnTo>
                    <a:pt x="1369" y="4644"/>
                  </a:lnTo>
                  <a:lnTo>
                    <a:pt x="1352" y="4664"/>
                  </a:lnTo>
                  <a:lnTo>
                    <a:pt x="1338" y="4681"/>
                  </a:lnTo>
                  <a:lnTo>
                    <a:pt x="1325" y="4695"/>
                  </a:lnTo>
                  <a:lnTo>
                    <a:pt x="1315" y="4705"/>
                  </a:lnTo>
                  <a:lnTo>
                    <a:pt x="1315" y="4699"/>
                  </a:lnTo>
                  <a:lnTo>
                    <a:pt x="1315" y="4689"/>
                  </a:lnTo>
                  <a:lnTo>
                    <a:pt x="1315" y="4678"/>
                  </a:lnTo>
                  <a:lnTo>
                    <a:pt x="1315" y="4666"/>
                  </a:lnTo>
                  <a:lnTo>
                    <a:pt x="1315" y="4651"/>
                  </a:lnTo>
                  <a:lnTo>
                    <a:pt x="1316" y="4636"/>
                  </a:lnTo>
                  <a:lnTo>
                    <a:pt x="1316" y="4618"/>
                  </a:lnTo>
                  <a:lnTo>
                    <a:pt x="1316" y="4599"/>
                  </a:lnTo>
                  <a:lnTo>
                    <a:pt x="1316" y="4579"/>
                  </a:lnTo>
                  <a:lnTo>
                    <a:pt x="1317" y="4558"/>
                  </a:lnTo>
                  <a:lnTo>
                    <a:pt x="1317" y="4535"/>
                  </a:lnTo>
                  <a:lnTo>
                    <a:pt x="1318" y="4511"/>
                  </a:lnTo>
                  <a:lnTo>
                    <a:pt x="1320" y="4462"/>
                  </a:lnTo>
                  <a:lnTo>
                    <a:pt x="1322" y="4410"/>
                  </a:lnTo>
                  <a:lnTo>
                    <a:pt x="1325" y="4356"/>
                  </a:lnTo>
                  <a:lnTo>
                    <a:pt x="1329" y="4300"/>
                  </a:lnTo>
                  <a:lnTo>
                    <a:pt x="1334" y="4244"/>
                  </a:lnTo>
                  <a:lnTo>
                    <a:pt x="1341" y="4189"/>
                  </a:lnTo>
                  <a:lnTo>
                    <a:pt x="1348" y="4135"/>
                  </a:lnTo>
                  <a:lnTo>
                    <a:pt x="1356" y="4083"/>
                  </a:lnTo>
                  <a:lnTo>
                    <a:pt x="1366" y="4033"/>
                  </a:lnTo>
                  <a:lnTo>
                    <a:pt x="1372" y="4011"/>
                  </a:lnTo>
                  <a:lnTo>
                    <a:pt x="1378" y="3988"/>
                  </a:lnTo>
                  <a:lnTo>
                    <a:pt x="1398" y="3917"/>
                  </a:lnTo>
                  <a:lnTo>
                    <a:pt x="1421" y="3848"/>
                  </a:lnTo>
                  <a:lnTo>
                    <a:pt x="1447" y="3779"/>
                  </a:lnTo>
                  <a:lnTo>
                    <a:pt x="1474" y="3711"/>
                  </a:lnTo>
                  <a:lnTo>
                    <a:pt x="1503" y="3644"/>
                  </a:lnTo>
                  <a:lnTo>
                    <a:pt x="1534" y="3578"/>
                  </a:lnTo>
                  <a:lnTo>
                    <a:pt x="1566" y="3512"/>
                  </a:lnTo>
                  <a:lnTo>
                    <a:pt x="1600" y="3446"/>
                  </a:lnTo>
                  <a:lnTo>
                    <a:pt x="1634" y="3381"/>
                  </a:lnTo>
                  <a:lnTo>
                    <a:pt x="1670" y="3316"/>
                  </a:lnTo>
                  <a:lnTo>
                    <a:pt x="1743" y="3186"/>
                  </a:lnTo>
                  <a:lnTo>
                    <a:pt x="1820" y="3054"/>
                  </a:lnTo>
                  <a:lnTo>
                    <a:pt x="1897" y="2921"/>
                  </a:lnTo>
                  <a:lnTo>
                    <a:pt x="1780" y="2979"/>
                  </a:lnTo>
                  <a:lnTo>
                    <a:pt x="1665" y="3037"/>
                  </a:lnTo>
                  <a:lnTo>
                    <a:pt x="1547" y="3096"/>
                  </a:lnTo>
                  <a:lnTo>
                    <a:pt x="1487" y="3127"/>
                  </a:lnTo>
                  <a:lnTo>
                    <a:pt x="1425" y="3158"/>
                  </a:lnTo>
                  <a:lnTo>
                    <a:pt x="1363" y="3191"/>
                  </a:lnTo>
                  <a:lnTo>
                    <a:pt x="1298" y="3224"/>
                  </a:lnTo>
                  <a:lnTo>
                    <a:pt x="1232" y="3259"/>
                  </a:lnTo>
                  <a:lnTo>
                    <a:pt x="1164" y="3296"/>
                  </a:lnTo>
                  <a:lnTo>
                    <a:pt x="1093" y="3334"/>
                  </a:lnTo>
                  <a:lnTo>
                    <a:pt x="1020" y="3374"/>
                  </a:lnTo>
                  <a:lnTo>
                    <a:pt x="944" y="3415"/>
                  </a:lnTo>
                  <a:lnTo>
                    <a:pt x="865" y="3460"/>
                  </a:lnTo>
                  <a:lnTo>
                    <a:pt x="797" y="3496"/>
                  </a:lnTo>
                  <a:lnTo>
                    <a:pt x="731" y="3534"/>
                  </a:lnTo>
                  <a:lnTo>
                    <a:pt x="664" y="3573"/>
                  </a:lnTo>
                  <a:lnTo>
                    <a:pt x="600" y="3615"/>
                  </a:lnTo>
                  <a:lnTo>
                    <a:pt x="538" y="3658"/>
                  </a:lnTo>
                  <a:lnTo>
                    <a:pt x="477" y="3705"/>
                  </a:lnTo>
                  <a:lnTo>
                    <a:pt x="418" y="3754"/>
                  </a:lnTo>
                  <a:lnTo>
                    <a:pt x="362" y="3807"/>
                  </a:lnTo>
                  <a:lnTo>
                    <a:pt x="308" y="3862"/>
                  </a:lnTo>
                  <a:lnTo>
                    <a:pt x="259" y="3921"/>
                  </a:lnTo>
                  <a:lnTo>
                    <a:pt x="211" y="3984"/>
                  </a:lnTo>
                  <a:lnTo>
                    <a:pt x="190" y="4017"/>
                  </a:lnTo>
                  <a:lnTo>
                    <a:pt x="168" y="4051"/>
                  </a:lnTo>
                  <a:lnTo>
                    <a:pt x="148" y="4086"/>
                  </a:lnTo>
                  <a:lnTo>
                    <a:pt x="129" y="4122"/>
                  </a:lnTo>
                  <a:lnTo>
                    <a:pt x="111" y="4159"/>
                  </a:lnTo>
                  <a:lnTo>
                    <a:pt x="94" y="4197"/>
                  </a:lnTo>
                  <a:lnTo>
                    <a:pt x="78" y="4236"/>
                  </a:lnTo>
                  <a:lnTo>
                    <a:pt x="63" y="4277"/>
                  </a:lnTo>
                  <a:lnTo>
                    <a:pt x="49" y="4319"/>
                  </a:lnTo>
                  <a:lnTo>
                    <a:pt x="37" y="4362"/>
                  </a:lnTo>
                  <a:lnTo>
                    <a:pt x="29" y="4394"/>
                  </a:lnTo>
                  <a:lnTo>
                    <a:pt x="21" y="4425"/>
                  </a:lnTo>
                  <a:lnTo>
                    <a:pt x="15" y="4456"/>
                  </a:lnTo>
                  <a:lnTo>
                    <a:pt x="11" y="4485"/>
                  </a:lnTo>
                  <a:lnTo>
                    <a:pt x="3" y="4542"/>
                  </a:lnTo>
                  <a:lnTo>
                    <a:pt x="0" y="4597"/>
                  </a:lnTo>
                  <a:lnTo>
                    <a:pt x="0" y="4649"/>
                  </a:lnTo>
                  <a:lnTo>
                    <a:pt x="3" y="4699"/>
                  </a:lnTo>
                  <a:lnTo>
                    <a:pt x="9" y="4746"/>
                  </a:lnTo>
                  <a:lnTo>
                    <a:pt x="17" y="4790"/>
                  </a:lnTo>
                  <a:lnTo>
                    <a:pt x="30" y="4834"/>
                  </a:lnTo>
                  <a:lnTo>
                    <a:pt x="43" y="4874"/>
                  </a:lnTo>
                  <a:lnTo>
                    <a:pt x="59" y="4913"/>
                  </a:lnTo>
                  <a:lnTo>
                    <a:pt x="77" y="4949"/>
                  </a:lnTo>
                  <a:lnTo>
                    <a:pt x="96" y="4984"/>
                  </a:lnTo>
                  <a:lnTo>
                    <a:pt x="117" y="5018"/>
                  </a:lnTo>
                  <a:lnTo>
                    <a:pt x="139" y="5049"/>
                  </a:lnTo>
                  <a:lnTo>
                    <a:pt x="162" y="5079"/>
                  </a:lnTo>
                  <a:lnTo>
                    <a:pt x="165" y="5104"/>
                  </a:lnTo>
                  <a:lnTo>
                    <a:pt x="169" y="5128"/>
                  </a:lnTo>
                  <a:lnTo>
                    <a:pt x="173" y="5154"/>
                  </a:lnTo>
                  <a:lnTo>
                    <a:pt x="178" y="5182"/>
                  </a:lnTo>
                  <a:lnTo>
                    <a:pt x="191" y="5238"/>
                  </a:lnTo>
                  <a:lnTo>
                    <a:pt x="206" y="5298"/>
                  </a:lnTo>
                  <a:lnTo>
                    <a:pt x="225" y="5360"/>
                  </a:lnTo>
                  <a:lnTo>
                    <a:pt x="246" y="5424"/>
                  </a:lnTo>
                  <a:lnTo>
                    <a:pt x="272" y="5487"/>
                  </a:lnTo>
                  <a:lnTo>
                    <a:pt x="287" y="5519"/>
                  </a:lnTo>
                  <a:lnTo>
                    <a:pt x="302" y="5551"/>
                  </a:lnTo>
                  <a:lnTo>
                    <a:pt x="319" y="5581"/>
                  </a:lnTo>
                  <a:lnTo>
                    <a:pt x="336" y="5612"/>
                  </a:lnTo>
                  <a:lnTo>
                    <a:pt x="356" y="5643"/>
                  </a:lnTo>
                  <a:lnTo>
                    <a:pt x="375" y="5673"/>
                  </a:lnTo>
                  <a:lnTo>
                    <a:pt x="397" y="5702"/>
                  </a:lnTo>
                  <a:lnTo>
                    <a:pt x="420" y="5730"/>
                  </a:lnTo>
                  <a:lnTo>
                    <a:pt x="444" y="5758"/>
                  </a:lnTo>
                  <a:lnTo>
                    <a:pt x="468" y="5784"/>
                  </a:lnTo>
                  <a:lnTo>
                    <a:pt x="495" y="5810"/>
                  </a:lnTo>
                  <a:lnTo>
                    <a:pt x="523" y="5835"/>
                  </a:lnTo>
                  <a:lnTo>
                    <a:pt x="553" y="5858"/>
                  </a:lnTo>
                  <a:lnTo>
                    <a:pt x="584" y="5879"/>
                  </a:lnTo>
                  <a:lnTo>
                    <a:pt x="616" y="5900"/>
                  </a:lnTo>
                  <a:lnTo>
                    <a:pt x="650" y="5918"/>
                  </a:lnTo>
                  <a:lnTo>
                    <a:pt x="686" y="5936"/>
                  </a:lnTo>
                  <a:lnTo>
                    <a:pt x="723" y="5951"/>
                  </a:lnTo>
                  <a:lnTo>
                    <a:pt x="751" y="5963"/>
                  </a:lnTo>
                  <a:lnTo>
                    <a:pt x="779" y="5974"/>
                  </a:lnTo>
                  <a:lnTo>
                    <a:pt x="805" y="5983"/>
                  </a:lnTo>
                  <a:lnTo>
                    <a:pt x="830" y="5992"/>
                  </a:lnTo>
                  <a:lnTo>
                    <a:pt x="877" y="6009"/>
                  </a:lnTo>
                  <a:lnTo>
                    <a:pt x="922" y="6021"/>
                  </a:lnTo>
                  <a:lnTo>
                    <a:pt x="965" y="6032"/>
                  </a:lnTo>
                  <a:lnTo>
                    <a:pt x="1008" y="6039"/>
                  </a:lnTo>
                  <a:lnTo>
                    <a:pt x="1052" y="6043"/>
                  </a:lnTo>
                  <a:lnTo>
                    <a:pt x="1097" y="6045"/>
                  </a:lnTo>
                  <a:lnTo>
                    <a:pt x="1094" y="6086"/>
                  </a:lnTo>
                  <a:lnTo>
                    <a:pt x="1091" y="6129"/>
                  </a:lnTo>
                  <a:lnTo>
                    <a:pt x="1089" y="6173"/>
                  </a:lnTo>
                  <a:lnTo>
                    <a:pt x="1086" y="6218"/>
                  </a:lnTo>
                  <a:lnTo>
                    <a:pt x="1081" y="6311"/>
                  </a:lnTo>
                  <a:lnTo>
                    <a:pt x="1077" y="6408"/>
                  </a:lnTo>
                  <a:lnTo>
                    <a:pt x="1075" y="6507"/>
                  </a:lnTo>
                  <a:lnTo>
                    <a:pt x="1075" y="6609"/>
                  </a:lnTo>
                  <a:lnTo>
                    <a:pt x="1077" y="6714"/>
                  </a:lnTo>
                  <a:lnTo>
                    <a:pt x="1082" y="6821"/>
                  </a:lnTo>
                  <a:lnTo>
                    <a:pt x="1089" y="6928"/>
                  </a:lnTo>
                  <a:lnTo>
                    <a:pt x="1099" y="7035"/>
                  </a:lnTo>
                  <a:lnTo>
                    <a:pt x="1114" y="7143"/>
                  </a:lnTo>
                  <a:lnTo>
                    <a:pt x="1123" y="7197"/>
                  </a:lnTo>
                  <a:lnTo>
                    <a:pt x="1132" y="7250"/>
                  </a:lnTo>
                  <a:lnTo>
                    <a:pt x="1142" y="7304"/>
                  </a:lnTo>
                  <a:lnTo>
                    <a:pt x="1155" y="7356"/>
                  </a:lnTo>
                  <a:lnTo>
                    <a:pt x="1168" y="7410"/>
                  </a:lnTo>
                  <a:lnTo>
                    <a:pt x="1182" y="7461"/>
                  </a:lnTo>
                  <a:lnTo>
                    <a:pt x="1198" y="7514"/>
                  </a:lnTo>
                  <a:lnTo>
                    <a:pt x="1215" y="7564"/>
                  </a:lnTo>
                  <a:lnTo>
                    <a:pt x="1233" y="7616"/>
                  </a:lnTo>
                  <a:lnTo>
                    <a:pt x="1253" y="7665"/>
                  </a:lnTo>
                  <a:lnTo>
                    <a:pt x="1277" y="7727"/>
                  </a:lnTo>
                  <a:lnTo>
                    <a:pt x="1301" y="7789"/>
                  </a:lnTo>
                  <a:lnTo>
                    <a:pt x="1354" y="7912"/>
                  </a:lnTo>
                  <a:lnTo>
                    <a:pt x="1410" y="8037"/>
                  </a:lnTo>
                  <a:lnTo>
                    <a:pt x="1468" y="8161"/>
                  </a:lnTo>
                  <a:lnTo>
                    <a:pt x="1528" y="8282"/>
                  </a:lnTo>
                  <a:lnTo>
                    <a:pt x="1589" y="8402"/>
                  </a:lnTo>
                  <a:lnTo>
                    <a:pt x="1650" y="8518"/>
                  </a:lnTo>
                  <a:lnTo>
                    <a:pt x="1681" y="8576"/>
                  </a:lnTo>
                  <a:lnTo>
                    <a:pt x="1712" y="8631"/>
                  </a:lnTo>
                  <a:lnTo>
                    <a:pt x="1743" y="8686"/>
                  </a:lnTo>
                  <a:lnTo>
                    <a:pt x="1773" y="8741"/>
                  </a:lnTo>
                  <a:lnTo>
                    <a:pt x="1803" y="8793"/>
                  </a:lnTo>
                  <a:lnTo>
                    <a:pt x="1833" y="8844"/>
                  </a:lnTo>
                  <a:lnTo>
                    <a:pt x="1862" y="8893"/>
                  </a:lnTo>
                  <a:lnTo>
                    <a:pt x="1890" y="8941"/>
                  </a:lnTo>
                  <a:lnTo>
                    <a:pt x="1918" y="8988"/>
                  </a:lnTo>
                  <a:lnTo>
                    <a:pt x="1946" y="9033"/>
                  </a:lnTo>
                  <a:lnTo>
                    <a:pt x="1971" y="9075"/>
                  </a:lnTo>
                  <a:lnTo>
                    <a:pt x="1997" y="9117"/>
                  </a:lnTo>
                  <a:lnTo>
                    <a:pt x="2021" y="9156"/>
                  </a:lnTo>
                  <a:lnTo>
                    <a:pt x="2045" y="9193"/>
                  </a:lnTo>
                  <a:lnTo>
                    <a:pt x="2066" y="9227"/>
                  </a:lnTo>
                  <a:lnTo>
                    <a:pt x="2088" y="9260"/>
                  </a:lnTo>
                  <a:lnTo>
                    <a:pt x="2108" y="9290"/>
                  </a:lnTo>
                  <a:lnTo>
                    <a:pt x="2125" y="9317"/>
                  </a:lnTo>
                  <a:lnTo>
                    <a:pt x="2121" y="9342"/>
                  </a:lnTo>
                  <a:lnTo>
                    <a:pt x="2115" y="9371"/>
                  </a:lnTo>
                  <a:lnTo>
                    <a:pt x="2108" y="9404"/>
                  </a:lnTo>
                  <a:lnTo>
                    <a:pt x="2099" y="9439"/>
                  </a:lnTo>
                  <a:lnTo>
                    <a:pt x="2089" y="9477"/>
                  </a:lnTo>
                  <a:lnTo>
                    <a:pt x="2078" y="9518"/>
                  </a:lnTo>
                  <a:lnTo>
                    <a:pt x="2065" y="9562"/>
                  </a:lnTo>
                  <a:lnTo>
                    <a:pt x="2052" y="9607"/>
                  </a:lnTo>
                  <a:lnTo>
                    <a:pt x="2037" y="9653"/>
                  </a:lnTo>
                  <a:lnTo>
                    <a:pt x="2023" y="9703"/>
                  </a:lnTo>
                  <a:lnTo>
                    <a:pt x="2008" y="9752"/>
                  </a:lnTo>
                  <a:lnTo>
                    <a:pt x="1991" y="9804"/>
                  </a:lnTo>
                  <a:lnTo>
                    <a:pt x="1958" y="9908"/>
                  </a:lnTo>
                  <a:lnTo>
                    <a:pt x="1925" y="10014"/>
                  </a:lnTo>
                  <a:lnTo>
                    <a:pt x="1893" y="10119"/>
                  </a:lnTo>
                  <a:lnTo>
                    <a:pt x="1876" y="10170"/>
                  </a:lnTo>
                  <a:lnTo>
                    <a:pt x="1862" y="10221"/>
                  </a:lnTo>
                  <a:lnTo>
                    <a:pt x="1848" y="10270"/>
                  </a:lnTo>
                  <a:lnTo>
                    <a:pt x="1833" y="10319"/>
                  </a:lnTo>
                  <a:lnTo>
                    <a:pt x="1821" y="10365"/>
                  </a:lnTo>
                  <a:lnTo>
                    <a:pt x="1808" y="10409"/>
                  </a:lnTo>
                  <a:lnTo>
                    <a:pt x="1797" y="10452"/>
                  </a:lnTo>
                  <a:lnTo>
                    <a:pt x="1788" y="10492"/>
                  </a:lnTo>
                  <a:lnTo>
                    <a:pt x="1779" y="10528"/>
                  </a:lnTo>
                  <a:lnTo>
                    <a:pt x="1773" y="10562"/>
                  </a:lnTo>
                  <a:lnTo>
                    <a:pt x="1768" y="10593"/>
                  </a:lnTo>
                  <a:lnTo>
                    <a:pt x="1764" y="10620"/>
                  </a:lnTo>
                  <a:lnTo>
                    <a:pt x="1763" y="10644"/>
                  </a:lnTo>
                  <a:lnTo>
                    <a:pt x="1763" y="10654"/>
                  </a:lnTo>
                  <a:lnTo>
                    <a:pt x="1763" y="10664"/>
                  </a:lnTo>
                  <a:lnTo>
                    <a:pt x="1766" y="10683"/>
                  </a:lnTo>
                  <a:lnTo>
                    <a:pt x="1772" y="10704"/>
                  </a:lnTo>
                  <a:lnTo>
                    <a:pt x="1780" y="10724"/>
                  </a:lnTo>
                  <a:lnTo>
                    <a:pt x="1792" y="10745"/>
                  </a:lnTo>
                  <a:lnTo>
                    <a:pt x="1805" y="10766"/>
                  </a:lnTo>
                  <a:lnTo>
                    <a:pt x="1822" y="10786"/>
                  </a:lnTo>
                  <a:lnTo>
                    <a:pt x="1840" y="10807"/>
                  </a:lnTo>
                  <a:lnTo>
                    <a:pt x="1861" y="10829"/>
                  </a:lnTo>
                  <a:lnTo>
                    <a:pt x="1884" y="10849"/>
                  </a:lnTo>
                  <a:lnTo>
                    <a:pt x="1909" y="10870"/>
                  </a:lnTo>
                  <a:lnTo>
                    <a:pt x="1936" y="10891"/>
                  </a:lnTo>
                  <a:lnTo>
                    <a:pt x="1966" y="10912"/>
                  </a:lnTo>
                  <a:lnTo>
                    <a:pt x="1997" y="10933"/>
                  </a:lnTo>
                  <a:lnTo>
                    <a:pt x="2030" y="10954"/>
                  </a:lnTo>
                  <a:lnTo>
                    <a:pt x="2065" y="10975"/>
                  </a:lnTo>
                  <a:lnTo>
                    <a:pt x="2101" y="10995"/>
                  </a:lnTo>
                  <a:lnTo>
                    <a:pt x="2140" y="11015"/>
                  </a:lnTo>
                  <a:lnTo>
                    <a:pt x="2179" y="11036"/>
                  </a:lnTo>
                  <a:lnTo>
                    <a:pt x="2219" y="11055"/>
                  </a:lnTo>
                  <a:lnTo>
                    <a:pt x="2261" y="11076"/>
                  </a:lnTo>
                  <a:lnTo>
                    <a:pt x="2305" y="11095"/>
                  </a:lnTo>
                  <a:lnTo>
                    <a:pt x="2349" y="11114"/>
                  </a:lnTo>
                  <a:lnTo>
                    <a:pt x="2395" y="11133"/>
                  </a:lnTo>
                  <a:lnTo>
                    <a:pt x="2441" y="11152"/>
                  </a:lnTo>
                  <a:lnTo>
                    <a:pt x="2536" y="11188"/>
                  </a:lnTo>
                  <a:lnTo>
                    <a:pt x="2634" y="11223"/>
                  </a:lnTo>
                  <a:lnTo>
                    <a:pt x="2734" y="11256"/>
                  </a:lnTo>
                  <a:lnTo>
                    <a:pt x="2836" y="11287"/>
                  </a:lnTo>
                  <a:lnTo>
                    <a:pt x="2939" y="11316"/>
                  </a:lnTo>
                  <a:lnTo>
                    <a:pt x="3041" y="11342"/>
                  </a:lnTo>
                  <a:lnTo>
                    <a:pt x="3143" y="11367"/>
                  </a:lnTo>
                  <a:lnTo>
                    <a:pt x="3243" y="11389"/>
                  </a:lnTo>
                  <a:lnTo>
                    <a:pt x="3341" y="11407"/>
                  </a:lnTo>
                  <a:lnTo>
                    <a:pt x="3437" y="11424"/>
                  </a:lnTo>
                  <a:lnTo>
                    <a:pt x="3529" y="11436"/>
                  </a:lnTo>
                  <a:lnTo>
                    <a:pt x="3574" y="11441"/>
                  </a:lnTo>
                  <a:lnTo>
                    <a:pt x="3618" y="11445"/>
                  </a:lnTo>
                  <a:lnTo>
                    <a:pt x="3660" y="11449"/>
                  </a:lnTo>
                  <a:lnTo>
                    <a:pt x="3702" y="11452"/>
                  </a:lnTo>
                  <a:lnTo>
                    <a:pt x="3741" y="11453"/>
                  </a:lnTo>
                  <a:lnTo>
                    <a:pt x="3779" y="11453"/>
                  </a:lnTo>
                  <a:lnTo>
                    <a:pt x="3816" y="11453"/>
                  </a:lnTo>
                  <a:lnTo>
                    <a:pt x="3851" y="11452"/>
                  </a:lnTo>
                  <a:lnTo>
                    <a:pt x="3884" y="11449"/>
                  </a:lnTo>
                  <a:lnTo>
                    <a:pt x="3916" y="11445"/>
                  </a:lnTo>
                  <a:lnTo>
                    <a:pt x="3946" y="11440"/>
                  </a:lnTo>
                  <a:lnTo>
                    <a:pt x="3974" y="11435"/>
                  </a:lnTo>
                  <a:lnTo>
                    <a:pt x="4000" y="11428"/>
                  </a:lnTo>
                  <a:lnTo>
                    <a:pt x="4024" y="11420"/>
                  </a:lnTo>
                  <a:lnTo>
                    <a:pt x="4045" y="11410"/>
                  </a:lnTo>
                  <a:lnTo>
                    <a:pt x="4064" y="11400"/>
                  </a:lnTo>
                  <a:lnTo>
                    <a:pt x="4080" y="11389"/>
                  </a:lnTo>
                  <a:lnTo>
                    <a:pt x="4095" y="11376"/>
                  </a:lnTo>
                  <a:lnTo>
                    <a:pt x="4122" y="11347"/>
                  </a:lnTo>
                  <a:lnTo>
                    <a:pt x="4147" y="11317"/>
                  </a:lnTo>
                  <a:lnTo>
                    <a:pt x="4170" y="11287"/>
                  </a:lnTo>
                  <a:lnTo>
                    <a:pt x="4192" y="11256"/>
                  </a:lnTo>
                  <a:lnTo>
                    <a:pt x="4213" y="11224"/>
                  </a:lnTo>
                  <a:lnTo>
                    <a:pt x="4232" y="11192"/>
                  </a:lnTo>
                  <a:lnTo>
                    <a:pt x="4250" y="11159"/>
                  </a:lnTo>
                  <a:lnTo>
                    <a:pt x="4266" y="11126"/>
                  </a:lnTo>
                  <a:lnTo>
                    <a:pt x="4282" y="11093"/>
                  </a:lnTo>
                  <a:lnTo>
                    <a:pt x="4296" y="11060"/>
                  </a:lnTo>
                  <a:lnTo>
                    <a:pt x="4309" y="11027"/>
                  </a:lnTo>
                  <a:lnTo>
                    <a:pt x="4321" y="10994"/>
                  </a:lnTo>
                  <a:lnTo>
                    <a:pt x="4331" y="10961"/>
                  </a:lnTo>
                  <a:lnTo>
                    <a:pt x="4341" y="10928"/>
                  </a:lnTo>
                  <a:lnTo>
                    <a:pt x="4358" y="10862"/>
                  </a:lnTo>
                  <a:lnTo>
                    <a:pt x="4371" y="10799"/>
                  </a:lnTo>
                  <a:lnTo>
                    <a:pt x="4381" y="10737"/>
                  </a:lnTo>
                  <a:lnTo>
                    <a:pt x="4389" y="10677"/>
                  </a:lnTo>
                  <a:lnTo>
                    <a:pt x="4394" y="10621"/>
                  </a:lnTo>
                  <a:lnTo>
                    <a:pt x="4396" y="10595"/>
                  </a:lnTo>
                  <a:lnTo>
                    <a:pt x="4397" y="10569"/>
                  </a:lnTo>
                  <a:lnTo>
                    <a:pt x="4398" y="10544"/>
                  </a:lnTo>
                  <a:lnTo>
                    <a:pt x="4399" y="10521"/>
                  </a:lnTo>
                  <a:lnTo>
                    <a:pt x="4400" y="10498"/>
                  </a:lnTo>
                  <a:lnTo>
                    <a:pt x="4400" y="10477"/>
                  </a:lnTo>
                  <a:lnTo>
                    <a:pt x="4400" y="10458"/>
                  </a:lnTo>
                  <a:lnTo>
                    <a:pt x="4400" y="10439"/>
                  </a:lnTo>
                  <a:lnTo>
                    <a:pt x="4400" y="10376"/>
                  </a:lnTo>
                  <a:lnTo>
                    <a:pt x="4405" y="10369"/>
                  </a:lnTo>
                  <a:lnTo>
                    <a:pt x="4410" y="10359"/>
                  </a:lnTo>
                  <a:lnTo>
                    <a:pt x="4416" y="10346"/>
                  </a:lnTo>
                  <a:lnTo>
                    <a:pt x="4423" y="10332"/>
                  </a:lnTo>
                  <a:lnTo>
                    <a:pt x="4431" y="10315"/>
                  </a:lnTo>
                  <a:lnTo>
                    <a:pt x="4441" y="10295"/>
                  </a:lnTo>
                  <a:lnTo>
                    <a:pt x="4451" y="10274"/>
                  </a:lnTo>
                  <a:lnTo>
                    <a:pt x="4462" y="10251"/>
                  </a:lnTo>
                  <a:lnTo>
                    <a:pt x="4474" y="10227"/>
                  </a:lnTo>
                  <a:lnTo>
                    <a:pt x="4487" y="10200"/>
                  </a:lnTo>
                  <a:lnTo>
                    <a:pt x="4500" y="10173"/>
                  </a:lnTo>
                  <a:lnTo>
                    <a:pt x="4513" y="10146"/>
                  </a:lnTo>
                  <a:lnTo>
                    <a:pt x="4540" y="10087"/>
                  </a:lnTo>
                  <a:lnTo>
                    <a:pt x="4568" y="10026"/>
                  </a:lnTo>
                  <a:lnTo>
                    <a:pt x="4596" y="9964"/>
                  </a:lnTo>
                  <a:lnTo>
                    <a:pt x="4621" y="9904"/>
                  </a:lnTo>
                  <a:lnTo>
                    <a:pt x="4646" y="9845"/>
                  </a:lnTo>
                  <a:lnTo>
                    <a:pt x="4658" y="9817"/>
                  </a:lnTo>
                  <a:lnTo>
                    <a:pt x="4668" y="9789"/>
                  </a:lnTo>
                  <a:lnTo>
                    <a:pt x="4677" y="9763"/>
                  </a:lnTo>
                  <a:lnTo>
                    <a:pt x="4686" y="9739"/>
                  </a:lnTo>
                  <a:lnTo>
                    <a:pt x="4694" y="9716"/>
                  </a:lnTo>
                  <a:lnTo>
                    <a:pt x="4700" y="9694"/>
                  </a:lnTo>
                  <a:lnTo>
                    <a:pt x="4705" y="9675"/>
                  </a:lnTo>
                  <a:lnTo>
                    <a:pt x="4709" y="9657"/>
                  </a:lnTo>
                  <a:lnTo>
                    <a:pt x="4711" y="9642"/>
                  </a:lnTo>
                  <a:lnTo>
                    <a:pt x="4712" y="9628"/>
                  </a:lnTo>
                  <a:lnTo>
                    <a:pt x="4713" y="9604"/>
                  </a:lnTo>
                  <a:lnTo>
                    <a:pt x="4717" y="9576"/>
                  </a:lnTo>
                  <a:lnTo>
                    <a:pt x="4722" y="9546"/>
                  </a:lnTo>
                  <a:lnTo>
                    <a:pt x="4728" y="9512"/>
                  </a:lnTo>
                  <a:lnTo>
                    <a:pt x="4734" y="9476"/>
                  </a:lnTo>
                  <a:lnTo>
                    <a:pt x="4739" y="9436"/>
                  </a:lnTo>
                  <a:lnTo>
                    <a:pt x="4742" y="9394"/>
                  </a:lnTo>
                  <a:lnTo>
                    <a:pt x="4743" y="9348"/>
                  </a:lnTo>
                  <a:lnTo>
                    <a:pt x="4779" y="9366"/>
                  </a:lnTo>
                  <a:lnTo>
                    <a:pt x="4816" y="9382"/>
                  </a:lnTo>
                  <a:lnTo>
                    <a:pt x="4855" y="9398"/>
                  </a:lnTo>
                  <a:lnTo>
                    <a:pt x="4894" y="9412"/>
                  </a:lnTo>
                  <a:lnTo>
                    <a:pt x="4935" y="9426"/>
                  </a:lnTo>
                  <a:lnTo>
                    <a:pt x="4976" y="9439"/>
                  </a:lnTo>
                  <a:lnTo>
                    <a:pt x="5020" y="9450"/>
                  </a:lnTo>
                  <a:lnTo>
                    <a:pt x="5063" y="9462"/>
                  </a:lnTo>
                  <a:lnTo>
                    <a:pt x="5107" y="9471"/>
                  </a:lnTo>
                  <a:lnTo>
                    <a:pt x="5152" y="9479"/>
                  </a:lnTo>
                  <a:lnTo>
                    <a:pt x="5197" y="9486"/>
                  </a:lnTo>
                  <a:lnTo>
                    <a:pt x="5243" y="9493"/>
                  </a:lnTo>
                  <a:lnTo>
                    <a:pt x="5289" y="9498"/>
                  </a:lnTo>
                  <a:lnTo>
                    <a:pt x="5336" y="9502"/>
                  </a:lnTo>
                  <a:lnTo>
                    <a:pt x="5382" y="9504"/>
                  </a:lnTo>
                  <a:lnTo>
                    <a:pt x="5429" y="9504"/>
                  </a:lnTo>
                  <a:lnTo>
                    <a:pt x="5406" y="9540"/>
                  </a:lnTo>
                  <a:lnTo>
                    <a:pt x="5382" y="9575"/>
                  </a:lnTo>
                  <a:lnTo>
                    <a:pt x="5361" y="9613"/>
                  </a:lnTo>
                  <a:lnTo>
                    <a:pt x="5340" y="9652"/>
                  </a:lnTo>
                  <a:lnTo>
                    <a:pt x="5320" y="9694"/>
                  </a:lnTo>
                  <a:lnTo>
                    <a:pt x="5311" y="9717"/>
                  </a:lnTo>
                  <a:lnTo>
                    <a:pt x="5302" y="9741"/>
                  </a:lnTo>
                  <a:lnTo>
                    <a:pt x="5293" y="9765"/>
                  </a:lnTo>
                  <a:lnTo>
                    <a:pt x="5286" y="9791"/>
                  </a:lnTo>
                  <a:lnTo>
                    <a:pt x="5279" y="9819"/>
                  </a:lnTo>
                  <a:lnTo>
                    <a:pt x="5273" y="9847"/>
                  </a:lnTo>
                  <a:lnTo>
                    <a:pt x="5269" y="9894"/>
                  </a:lnTo>
                  <a:lnTo>
                    <a:pt x="5268" y="9942"/>
                  </a:lnTo>
                  <a:lnTo>
                    <a:pt x="5270" y="9991"/>
                  </a:lnTo>
                  <a:lnTo>
                    <a:pt x="5274" y="10041"/>
                  </a:lnTo>
                  <a:lnTo>
                    <a:pt x="5282" y="10091"/>
                  </a:lnTo>
                  <a:lnTo>
                    <a:pt x="5294" y="10142"/>
                  </a:lnTo>
                  <a:lnTo>
                    <a:pt x="5309" y="10195"/>
                  </a:lnTo>
                  <a:lnTo>
                    <a:pt x="5327" y="10249"/>
                  </a:lnTo>
                  <a:lnTo>
                    <a:pt x="5350" y="10303"/>
                  </a:lnTo>
                  <a:lnTo>
                    <a:pt x="5376" y="10359"/>
                  </a:lnTo>
                  <a:lnTo>
                    <a:pt x="5406" y="10415"/>
                  </a:lnTo>
                  <a:lnTo>
                    <a:pt x="5440" y="10473"/>
                  </a:lnTo>
                  <a:lnTo>
                    <a:pt x="5477" y="10533"/>
                  </a:lnTo>
                  <a:lnTo>
                    <a:pt x="5498" y="10564"/>
                  </a:lnTo>
                  <a:lnTo>
                    <a:pt x="5519" y="10594"/>
                  </a:lnTo>
                  <a:lnTo>
                    <a:pt x="5542" y="10625"/>
                  </a:lnTo>
                  <a:lnTo>
                    <a:pt x="5565" y="10656"/>
                  </a:lnTo>
                  <a:lnTo>
                    <a:pt x="5590" y="10687"/>
                  </a:lnTo>
                  <a:lnTo>
                    <a:pt x="5616" y="10719"/>
                  </a:lnTo>
                  <a:lnTo>
                    <a:pt x="5651" y="10763"/>
                  </a:lnTo>
                  <a:lnTo>
                    <a:pt x="5685" y="10805"/>
                  </a:lnTo>
                  <a:lnTo>
                    <a:pt x="5718" y="10846"/>
                  </a:lnTo>
                  <a:lnTo>
                    <a:pt x="5751" y="10886"/>
                  </a:lnTo>
                  <a:lnTo>
                    <a:pt x="5783" y="10924"/>
                  </a:lnTo>
                  <a:lnTo>
                    <a:pt x="5815" y="10962"/>
                  </a:lnTo>
                  <a:lnTo>
                    <a:pt x="5846" y="10998"/>
                  </a:lnTo>
                  <a:lnTo>
                    <a:pt x="5877" y="11033"/>
                  </a:lnTo>
                  <a:lnTo>
                    <a:pt x="5907" y="11067"/>
                  </a:lnTo>
                  <a:lnTo>
                    <a:pt x="5937" y="11100"/>
                  </a:lnTo>
                  <a:lnTo>
                    <a:pt x="5966" y="11131"/>
                  </a:lnTo>
                  <a:lnTo>
                    <a:pt x="5995" y="11162"/>
                  </a:lnTo>
                  <a:lnTo>
                    <a:pt x="6024" y="11190"/>
                  </a:lnTo>
                  <a:lnTo>
                    <a:pt x="6053" y="11218"/>
                  </a:lnTo>
                  <a:lnTo>
                    <a:pt x="6082" y="11244"/>
                  </a:lnTo>
                  <a:lnTo>
                    <a:pt x="6111" y="11269"/>
                  </a:lnTo>
                  <a:lnTo>
                    <a:pt x="6139" y="11292"/>
                  </a:lnTo>
                  <a:lnTo>
                    <a:pt x="6168" y="11315"/>
                  </a:lnTo>
                  <a:lnTo>
                    <a:pt x="6196" y="11335"/>
                  </a:lnTo>
                  <a:lnTo>
                    <a:pt x="6225" y="11354"/>
                  </a:lnTo>
                  <a:lnTo>
                    <a:pt x="6252" y="11372"/>
                  </a:lnTo>
                  <a:lnTo>
                    <a:pt x="6281" y="11388"/>
                  </a:lnTo>
                  <a:lnTo>
                    <a:pt x="6310" y="11403"/>
                  </a:lnTo>
                  <a:lnTo>
                    <a:pt x="6339" y="11417"/>
                  </a:lnTo>
                  <a:lnTo>
                    <a:pt x="6368" y="11428"/>
                  </a:lnTo>
                  <a:lnTo>
                    <a:pt x="6398" y="11438"/>
                  </a:lnTo>
                  <a:lnTo>
                    <a:pt x="6427" y="11448"/>
                  </a:lnTo>
                  <a:lnTo>
                    <a:pt x="6458" y="11455"/>
                  </a:lnTo>
                  <a:lnTo>
                    <a:pt x="6488" y="11460"/>
                  </a:lnTo>
                  <a:lnTo>
                    <a:pt x="6519" y="11464"/>
                  </a:lnTo>
                  <a:lnTo>
                    <a:pt x="6550" y="11466"/>
                  </a:lnTo>
                  <a:lnTo>
                    <a:pt x="6582" y="11467"/>
                  </a:lnTo>
                  <a:lnTo>
                    <a:pt x="6628" y="11466"/>
                  </a:lnTo>
                  <a:lnTo>
                    <a:pt x="6674" y="11460"/>
                  </a:lnTo>
                  <a:lnTo>
                    <a:pt x="6719" y="11452"/>
                  </a:lnTo>
                  <a:lnTo>
                    <a:pt x="6763" y="11440"/>
                  </a:lnTo>
                  <a:lnTo>
                    <a:pt x="6807" y="11427"/>
                  </a:lnTo>
                  <a:lnTo>
                    <a:pt x="6849" y="11410"/>
                  </a:lnTo>
                  <a:lnTo>
                    <a:pt x="6891" y="11391"/>
                  </a:lnTo>
                  <a:lnTo>
                    <a:pt x="6933" y="11370"/>
                  </a:lnTo>
                  <a:lnTo>
                    <a:pt x="6973" y="11348"/>
                  </a:lnTo>
                  <a:lnTo>
                    <a:pt x="7013" y="11323"/>
                  </a:lnTo>
                  <a:lnTo>
                    <a:pt x="7052" y="11297"/>
                  </a:lnTo>
                  <a:lnTo>
                    <a:pt x="7091" y="11270"/>
                  </a:lnTo>
                  <a:lnTo>
                    <a:pt x="7165" y="11214"/>
                  </a:lnTo>
                  <a:lnTo>
                    <a:pt x="7236" y="11156"/>
                  </a:lnTo>
                  <a:lnTo>
                    <a:pt x="7271" y="11131"/>
                  </a:lnTo>
                  <a:lnTo>
                    <a:pt x="7306" y="11105"/>
                  </a:lnTo>
                  <a:lnTo>
                    <a:pt x="7342" y="11076"/>
                  </a:lnTo>
                  <a:lnTo>
                    <a:pt x="7377" y="11047"/>
                  </a:lnTo>
                  <a:lnTo>
                    <a:pt x="7412" y="11018"/>
                  </a:lnTo>
                  <a:lnTo>
                    <a:pt x="7447" y="10989"/>
                  </a:lnTo>
                  <a:lnTo>
                    <a:pt x="7482" y="10962"/>
                  </a:lnTo>
                  <a:lnTo>
                    <a:pt x="7517" y="10938"/>
                  </a:lnTo>
                  <a:lnTo>
                    <a:pt x="7658" y="10820"/>
                  </a:lnTo>
                  <a:lnTo>
                    <a:pt x="7802" y="10703"/>
                  </a:lnTo>
                  <a:lnTo>
                    <a:pt x="7944" y="10583"/>
                  </a:lnTo>
                  <a:lnTo>
                    <a:pt x="8086" y="10462"/>
                  </a:lnTo>
                  <a:lnTo>
                    <a:pt x="8156" y="10401"/>
                  </a:lnTo>
                  <a:lnTo>
                    <a:pt x="8224" y="10338"/>
                  </a:lnTo>
                  <a:lnTo>
                    <a:pt x="8292" y="10274"/>
                  </a:lnTo>
                  <a:lnTo>
                    <a:pt x="8358" y="10210"/>
                  </a:lnTo>
                  <a:lnTo>
                    <a:pt x="8423" y="10145"/>
                  </a:lnTo>
                  <a:lnTo>
                    <a:pt x="8487" y="10078"/>
                  </a:lnTo>
                  <a:lnTo>
                    <a:pt x="8548" y="10010"/>
                  </a:lnTo>
                  <a:lnTo>
                    <a:pt x="8608" y="9941"/>
                  </a:lnTo>
                  <a:lnTo>
                    <a:pt x="8623" y="9921"/>
                  </a:lnTo>
                  <a:lnTo>
                    <a:pt x="8638" y="9900"/>
                  </a:lnTo>
                  <a:lnTo>
                    <a:pt x="8653" y="9878"/>
                  </a:lnTo>
                  <a:lnTo>
                    <a:pt x="8668" y="9855"/>
                  </a:lnTo>
                  <a:lnTo>
                    <a:pt x="8685" y="9831"/>
                  </a:lnTo>
                  <a:lnTo>
                    <a:pt x="8700" y="9807"/>
                  </a:lnTo>
                  <a:lnTo>
                    <a:pt x="8733" y="9754"/>
                  </a:lnTo>
                  <a:lnTo>
                    <a:pt x="8766" y="9698"/>
                  </a:lnTo>
                  <a:lnTo>
                    <a:pt x="8799" y="9638"/>
                  </a:lnTo>
                  <a:lnTo>
                    <a:pt x="8834" y="9575"/>
                  </a:lnTo>
                  <a:lnTo>
                    <a:pt x="8868" y="9510"/>
                  </a:lnTo>
                  <a:lnTo>
                    <a:pt x="8903" y="9442"/>
                  </a:lnTo>
                  <a:lnTo>
                    <a:pt x="8939" y="9372"/>
                  </a:lnTo>
                  <a:lnTo>
                    <a:pt x="8975" y="9300"/>
                  </a:lnTo>
                  <a:lnTo>
                    <a:pt x="9010" y="9227"/>
                  </a:lnTo>
                  <a:lnTo>
                    <a:pt x="9045" y="9153"/>
                  </a:lnTo>
                  <a:lnTo>
                    <a:pt x="9080" y="9076"/>
                  </a:lnTo>
                  <a:lnTo>
                    <a:pt x="9149" y="8924"/>
                  </a:lnTo>
                  <a:lnTo>
                    <a:pt x="9217" y="8770"/>
                  </a:lnTo>
                  <a:lnTo>
                    <a:pt x="9250" y="8694"/>
                  </a:lnTo>
                  <a:lnTo>
                    <a:pt x="9282" y="8619"/>
                  </a:lnTo>
                  <a:lnTo>
                    <a:pt x="9313" y="8545"/>
                  </a:lnTo>
                  <a:lnTo>
                    <a:pt x="9343" y="8473"/>
                  </a:lnTo>
                  <a:lnTo>
                    <a:pt x="9373" y="8402"/>
                  </a:lnTo>
                  <a:lnTo>
                    <a:pt x="9401" y="8333"/>
                  </a:lnTo>
                  <a:lnTo>
                    <a:pt x="9428" y="8266"/>
                  </a:lnTo>
                  <a:lnTo>
                    <a:pt x="9454" y="8201"/>
                  </a:lnTo>
                  <a:lnTo>
                    <a:pt x="9477" y="8139"/>
                  </a:lnTo>
                  <a:lnTo>
                    <a:pt x="9500" y="8081"/>
                  </a:lnTo>
                  <a:lnTo>
                    <a:pt x="9522" y="8026"/>
                  </a:lnTo>
                  <a:lnTo>
                    <a:pt x="9540" y="7974"/>
                  </a:lnTo>
                  <a:lnTo>
                    <a:pt x="9550" y="7951"/>
                  </a:lnTo>
                  <a:lnTo>
                    <a:pt x="9558" y="7927"/>
                  </a:lnTo>
                  <a:lnTo>
                    <a:pt x="9566" y="7905"/>
                  </a:lnTo>
                  <a:lnTo>
                    <a:pt x="9573" y="7884"/>
                  </a:lnTo>
                  <a:lnTo>
                    <a:pt x="9644" y="7942"/>
                  </a:lnTo>
                  <a:lnTo>
                    <a:pt x="9714" y="7999"/>
                  </a:lnTo>
                  <a:lnTo>
                    <a:pt x="9784" y="8055"/>
                  </a:lnTo>
                  <a:lnTo>
                    <a:pt x="9819" y="8080"/>
                  </a:lnTo>
                  <a:lnTo>
                    <a:pt x="9854" y="8106"/>
                  </a:lnTo>
                  <a:lnTo>
                    <a:pt x="9889" y="8130"/>
                  </a:lnTo>
                  <a:lnTo>
                    <a:pt x="9924" y="8153"/>
                  </a:lnTo>
                  <a:lnTo>
                    <a:pt x="9960" y="8175"/>
                  </a:lnTo>
                  <a:lnTo>
                    <a:pt x="9995" y="8195"/>
                  </a:lnTo>
                  <a:lnTo>
                    <a:pt x="10030" y="8213"/>
                  </a:lnTo>
                  <a:lnTo>
                    <a:pt x="10065" y="8231"/>
                  </a:lnTo>
                  <a:lnTo>
                    <a:pt x="10100" y="8245"/>
                  </a:lnTo>
                  <a:lnTo>
                    <a:pt x="10135" y="8258"/>
                  </a:lnTo>
                  <a:lnTo>
                    <a:pt x="10205" y="8281"/>
                  </a:lnTo>
                  <a:lnTo>
                    <a:pt x="10274" y="8304"/>
                  </a:lnTo>
                  <a:lnTo>
                    <a:pt x="10344" y="8324"/>
                  </a:lnTo>
                  <a:lnTo>
                    <a:pt x="10412" y="8343"/>
                  </a:lnTo>
                  <a:lnTo>
                    <a:pt x="10478" y="8359"/>
                  </a:lnTo>
                  <a:lnTo>
                    <a:pt x="10511" y="8366"/>
                  </a:lnTo>
                  <a:lnTo>
                    <a:pt x="10543" y="8372"/>
                  </a:lnTo>
                  <a:lnTo>
                    <a:pt x="10574" y="8376"/>
                  </a:lnTo>
                  <a:lnTo>
                    <a:pt x="10605" y="8380"/>
                  </a:lnTo>
                  <a:lnTo>
                    <a:pt x="10636" y="8382"/>
                  </a:lnTo>
                  <a:lnTo>
                    <a:pt x="10665" y="8382"/>
                  </a:lnTo>
                  <a:lnTo>
                    <a:pt x="10706" y="8382"/>
                  </a:lnTo>
                  <a:lnTo>
                    <a:pt x="10745" y="8380"/>
                  </a:lnTo>
                  <a:lnTo>
                    <a:pt x="10785" y="8377"/>
                  </a:lnTo>
                  <a:lnTo>
                    <a:pt x="10825" y="8372"/>
                  </a:lnTo>
                  <a:lnTo>
                    <a:pt x="10863" y="8367"/>
                  </a:lnTo>
                  <a:lnTo>
                    <a:pt x="10901" y="8359"/>
                  </a:lnTo>
                  <a:lnTo>
                    <a:pt x="10938" y="8351"/>
                  </a:lnTo>
                  <a:lnTo>
                    <a:pt x="10975" y="8342"/>
                  </a:lnTo>
                  <a:lnTo>
                    <a:pt x="11011" y="8331"/>
                  </a:lnTo>
                  <a:lnTo>
                    <a:pt x="11048" y="8318"/>
                  </a:lnTo>
                  <a:lnTo>
                    <a:pt x="11083" y="8305"/>
                  </a:lnTo>
                  <a:lnTo>
                    <a:pt x="11118" y="8290"/>
                  </a:lnTo>
                  <a:lnTo>
                    <a:pt x="11152" y="8274"/>
                  </a:lnTo>
                  <a:lnTo>
                    <a:pt x="11186" y="8258"/>
                  </a:lnTo>
                  <a:lnTo>
                    <a:pt x="11220" y="8239"/>
                  </a:lnTo>
                  <a:lnTo>
                    <a:pt x="11253" y="8218"/>
                  </a:lnTo>
                  <a:lnTo>
                    <a:pt x="11286" y="8198"/>
                  </a:lnTo>
                  <a:lnTo>
                    <a:pt x="11318" y="8175"/>
                  </a:lnTo>
                  <a:lnTo>
                    <a:pt x="11349" y="8151"/>
                  </a:lnTo>
                  <a:lnTo>
                    <a:pt x="11381" y="8127"/>
                  </a:lnTo>
                  <a:lnTo>
                    <a:pt x="11412" y="8101"/>
                  </a:lnTo>
                  <a:lnTo>
                    <a:pt x="11442" y="8073"/>
                  </a:lnTo>
                  <a:lnTo>
                    <a:pt x="11472" y="8044"/>
                  </a:lnTo>
                  <a:lnTo>
                    <a:pt x="11502" y="8014"/>
                  </a:lnTo>
                  <a:lnTo>
                    <a:pt x="11531" y="7982"/>
                  </a:lnTo>
                  <a:lnTo>
                    <a:pt x="11560" y="7951"/>
                  </a:lnTo>
                  <a:lnTo>
                    <a:pt x="11587" y="7917"/>
                  </a:lnTo>
                  <a:lnTo>
                    <a:pt x="11616" y="7882"/>
                  </a:lnTo>
                  <a:lnTo>
                    <a:pt x="11643" y="7844"/>
                  </a:lnTo>
                  <a:lnTo>
                    <a:pt x="11671" y="7807"/>
                  </a:lnTo>
                  <a:lnTo>
                    <a:pt x="11698" y="7768"/>
                  </a:lnTo>
                  <a:lnTo>
                    <a:pt x="11724" y="7728"/>
                  </a:lnTo>
                  <a:lnTo>
                    <a:pt x="11746" y="7693"/>
                  </a:lnTo>
                  <a:lnTo>
                    <a:pt x="11768" y="7658"/>
                  </a:lnTo>
                  <a:lnTo>
                    <a:pt x="11788" y="7623"/>
                  </a:lnTo>
                  <a:lnTo>
                    <a:pt x="11806" y="7589"/>
                  </a:lnTo>
                  <a:lnTo>
                    <a:pt x="11824" y="7555"/>
                  </a:lnTo>
                  <a:lnTo>
                    <a:pt x="11839" y="7522"/>
                  </a:lnTo>
                  <a:lnTo>
                    <a:pt x="11855" y="7490"/>
                  </a:lnTo>
                  <a:lnTo>
                    <a:pt x="11868" y="7459"/>
                  </a:lnTo>
                  <a:lnTo>
                    <a:pt x="11881" y="7429"/>
                  </a:lnTo>
                  <a:lnTo>
                    <a:pt x="11893" y="7401"/>
                  </a:lnTo>
                  <a:lnTo>
                    <a:pt x="11903" y="7373"/>
                  </a:lnTo>
                  <a:lnTo>
                    <a:pt x="11913" y="7347"/>
                  </a:lnTo>
                  <a:lnTo>
                    <a:pt x="11921" y="7322"/>
                  </a:lnTo>
                  <a:lnTo>
                    <a:pt x="11929" y="7300"/>
                  </a:lnTo>
                  <a:lnTo>
                    <a:pt x="11936" y="7279"/>
                  </a:lnTo>
                  <a:lnTo>
                    <a:pt x="11943" y="7260"/>
                  </a:lnTo>
                  <a:lnTo>
                    <a:pt x="12038" y="7282"/>
                  </a:lnTo>
                  <a:lnTo>
                    <a:pt x="12135" y="7302"/>
                  </a:lnTo>
                  <a:lnTo>
                    <a:pt x="12235" y="7317"/>
                  </a:lnTo>
                  <a:lnTo>
                    <a:pt x="12336" y="7330"/>
                  </a:lnTo>
                  <a:lnTo>
                    <a:pt x="12439" y="7341"/>
                  </a:lnTo>
                  <a:lnTo>
                    <a:pt x="12543" y="7348"/>
                  </a:lnTo>
                  <a:lnTo>
                    <a:pt x="12648" y="7352"/>
                  </a:lnTo>
                  <a:lnTo>
                    <a:pt x="12753" y="7354"/>
                  </a:lnTo>
                  <a:lnTo>
                    <a:pt x="12846" y="7354"/>
                  </a:lnTo>
                  <a:lnTo>
                    <a:pt x="12899" y="7353"/>
                  </a:lnTo>
                  <a:lnTo>
                    <a:pt x="12951" y="7351"/>
                  </a:lnTo>
                  <a:lnTo>
                    <a:pt x="13004" y="7347"/>
                  </a:lnTo>
                  <a:lnTo>
                    <a:pt x="13056" y="7341"/>
                  </a:lnTo>
                  <a:lnTo>
                    <a:pt x="13109" y="7334"/>
                  </a:lnTo>
                  <a:lnTo>
                    <a:pt x="13161" y="7324"/>
                  </a:lnTo>
                  <a:lnTo>
                    <a:pt x="13213" y="7314"/>
                  </a:lnTo>
                  <a:lnTo>
                    <a:pt x="13265" y="7303"/>
                  </a:lnTo>
                  <a:lnTo>
                    <a:pt x="13318" y="7288"/>
                  </a:lnTo>
                  <a:lnTo>
                    <a:pt x="13369" y="7274"/>
                  </a:lnTo>
                  <a:lnTo>
                    <a:pt x="13421" y="7257"/>
                  </a:lnTo>
                  <a:lnTo>
                    <a:pt x="13472" y="7239"/>
                  </a:lnTo>
                  <a:lnTo>
                    <a:pt x="13524" y="7219"/>
                  </a:lnTo>
                  <a:lnTo>
                    <a:pt x="13575" y="7198"/>
                  </a:lnTo>
                  <a:lnTo>
                    <a:pt x="13625" y="7175"/>
                  </a:lnTo>
                  <a:lnTo>
                    <a:pt x="13676" y="7151"/>
                  </a:lnTo>
                  <a:lnTo>
                    <a:pt x="13726" y="7125"/>
                  </a:lnTo>
                  <a:lnTo>
                    <a:pt x="13776" y="7099"/>
                  </a:lnTo>
                  <a:lnTo>
                    <a:pt x="13826" y="7070"/>
                  </a:lnTo>
                  <a:lnTo>
                    <a:pt x="13875" y="7040"/>
                  </a:lnTo>
                  <a:lnTo>
                    <a:pt x="13925" y="7009"/>
                  </a:lnTo>
                  <a:lnTo>
                    <a:pt x="13973" y="6976"/>
                  </a:lnTo>
                  <a:lnTo>
                    <a:pt x="14022" y="6942"/>
                  </a:lnTo>
                  <a:lnTo>
                    <a:pt x="14069" y="6907"/>
                  </a:lnTo>
                  <a:lnTo>
                    <a:pt x="14117" y="6870"/>
                  </a:lnTo>
                  <a:lnTo>
                    <a:pt x="14164" y="6832"/>
                  </a:lnTo>
                  <a:lnTo>
                    <a:pt x="14211" y="6792"/>
                  </a:lnTo>
                  <a:lnTo>
                    <a:pt x="14256" y="6752"/>
                  </a:lnTo>
                  <a:lnTo>
                    <a:pt x="14302" y="6709"/>
                  </a:lnTo>
                  <a:lnTo>
                    <a:pt x="14347" y="6666"/>
                  </a:lnTo>
                  <a:lnTo>
                    <a:pt x="14392" y="6621"/>
                  </a:lnTo>
                  <a:lnTo>
                    <a:pt x="14436" y="6574"/>
                  </a:lnTo>
                  <a:lnTo>
                    <a:pt x="14502" y="6500"/>
                  </a:lnTo>
                  <a:lnTo>
                    <a:pt x="14566" y="6424"/>
                  </a:lnTo>
                  <a:lnTo>
                    <a:pt x="14629" y="6345"/>
                  </a:lnTo>
                  <a:lnTo>
                    <a:pt x="14689" y="6264"/>
                  </a:lnTo>
                  <a:lnTo>
                    <a:pt x="14746" y="6181"/>
                  </a:lnTo>
                  <a:lnTo>
                    <a:pt x="14802" y="6095"/>
                  </a:lnTo>
                  <a:lnTo>
                    <a:pt x="14856" y="6008"/>
                  </a:lnTo>
                  <a:lnTo>
                    <a:pt x="14907" y="5918"/>
                  </a:lnTo>
                  <a:lnTo>
                    <a:pt x="14957" y="5826"/>
                  </a:lnTo>
                  <a:lnTo>
                    <a:pt x="15004" y="5732"/>
                  </a:lnTo>
                  <a:lnTo>
                    <a:pt x="15050" y="5636"/>
                  </a:lnTo>
                  <a:lnTo>
                    <a:pt x="15092" y="5539"/>
                  </a:lnTo>
                  <a:lnTo>
                    <a:pt x="15133" y="5439"/>
                  </a:lnTo>
                  <a:lnTo>
                    <a:pt x="15172" y="5337"/>
                  </a:lnTo>
                  <a:lnTo>
                    <a:pt x="15208" y="5234"/>
                  </a:lnTo>
                  <a:lnTo>
                    <a:pt x="15242" y="5129"/>
                  </a:lnTo>
                  <a:lnTo>
                    <a:pt x="15274" y="5023"/>
                  </a:lnTo>
                  <a:lnTo>
                    <a:pt x="15303" y="4914"/>
                  </a:lnTo>
                  <a:lnTo>
                    <a:pt x="15331" y="4804"/>
                  </a:lnTo>
                  <a:lnTo>
                    <a:pt x="15355" y="4693"/>
                  </a:lnTo>
                  <a:lnTo>
                    <a:pt x="15377" y="4579"/>
                  </a:lnTo>
                  <a:lnTo>
                    <a:pt x="15398" y="4464"/>
                  </a:lnTo>
                  <a:lnTo>
                    <a:pt x="15415" y="4348"/>
                  </a:lnTo>
                  <a:lnTo>
                    <a:pt x="15431" y="4230"/>
                  </a:lnTo>
                  <a:lnTo>
                    <a:pt x="15443" y="4111"/>
                  </a:lnTo>
                  <a:lnTo>
                    <a:pt x="15454" y="3990"/>
                  </a:lnTo>
                  <a:lnTo>
                    <a:pt x="15462" y="3868"/>
                  </a:lnTo>
                  <a:lnTo>
                    <a:pt x="15467" y="3745"/>
                  </a:lnTo>
                  <a:lnTo>
                    <a:pt x="15470" y="3621"/>
                  </a:lnTo>
                  <a:lnTo>
                    <a:pt x="15471" y="3496"/>
                  </a:lnTo>
                  <a:lnTo>
                    <a:pt x="15469" y="3369"/>
                  </a:lnTo>
                  <a:lnTo>
                    <a:pt x="15464" y="3240"/>
                  </a:lnTo>
                  <a:lnTo>
                    <a:pt x="15460" y="3150"/>
                  </a:lnTo>
                  <a:lnTo>
                    <a:pt x="15455" y="3060"/>
                  </a:lnTo>
                  <a:lnTo>
                    <a:pt x="15448" y="2971"/>
                  </a:lnTo>
                  <a:lnTo>
                    <a:pt x="15441" y="2885"/>
                  </a:lnTo>
                  <a:lnTo>
                    <a:pt x="15435" y="2799"/>
                  </a:lnTo>
                  <a:lnTo>
                    <a:pt x="15427" y="2716"/>
                  </a:lnTo>
                  <a:lnTo>
                    <a:pt x="15418" y="2633"/>
                  </a:lnTo>
                  <a:lnTo>
                    <a:pt x="15409" y="2553"/>
                  </a:lnTo>
                  <a:lnTo>
                    <a:pt x="15400" y="2475"/>
                  </a:lnTo>
                  <a:lnTo>
                    <a:pt x="15390" y="2397"/>
                  </a:lnTo>
                  <a:lnTo>
                    <a:pt x="15379" y="2321"/>
                  </a:lnTo>
                  <a:lnTo>
                    <a:pt x="15369" y="2246"/>
                  </a:lnTo>
                  <a:lnTo>
                    <a:pt x="15356" y="2174"/>
                  </a:lnTo>
                  <a:lnTo>
                    <a:pt x="15345" y="2102"/>
                  </a:lnTo>
                  <a:lnTo>
                    <a:pt x="15332" y="2032"/>
                  </a:lnTo>
                  <a:lnTo>
                    <a:pt x="15319" y="1964"/>
                  </a:lnTo>
                  <a:lnTo>
                    <a:pt x="15306" y="1897"/>
                  </a:lnTo>
                  <a:lnTo>
                    <a:pt x="15291" y="1832"/>
                  </a:lnTo>
                  <a:lnTo>
                    <a:pt x="15277" y="1768"/>
                  </a:lnTo>
                  <a:lnTo>
                    <a:pt x="15261" y="1705"/>
                  </a:lnTo>
                  <a:lnTo>
                    <a:pt x="15247" y="1645"/>
                  </a:lnTo>
                  <a:lnTo>
                    <a:pt x="15231" y="1585"/>
                  </a:lnTo>
                  <a:lnTo>
                    <a:pt x="15214" y="1527"/>
                  </a:lnTo>
                  <a:lnTo>
                    <a:pt x="15197" y="1471"/>
                  </a:lnTo>
                  <a:lnTo>
                    <a:pt x="15181" y="1415"/>
                  </a:lnTo>
                  <a:lnTo>
                    <a:pt x="15163" y="1361"/>
                  </a:lnTo>
                  <a:lnTo>
                    <a:pt x="15146" y="1310"/>
                  </a:lnTo>
                  <a:lnTo>
                    <a:pt x="15127" y="1258"/>
                  </a:lnTo>
                  <a:lnTo>
                    <a:pt x="15109" y="1210"/>
                  </a:lnTo>
                  <a:lnTo>
                    <a:pt x="15090" y="1162"/>
                  </a:lnTo>
                  <a:lnTo>
                    <a:pt x="15071" y="1115"/>
                  </a:lnTo>
                  <a:lnTo>
                    <a:pt x="15051" y="1071"/>
                  </a:lnTo>
                  <a:lnTo>
                    <a:pt x="15031" y="1027"/>
                  </a:lnTo>
                  <a:lnTo>
                    <a:pt x="15011" y="985"/>
                  </a:lnTo>
                  <a:lnTo>
                    <a:pt x="14991" y="944"/>
                  </a:lnTo>
                  <a:lnTo>
                    <a:pt x="14969" y="905"/>
                  </a:lnTo>
                  <a:lnTo>
                    <a:pt x="14949" y="867"/>
                  </a:lnTo>
                  <a:lnTo>
                    <a:pt x="14927" y="831"/>
                  </a:lnTo>
                  <a:lnTo>
                    <a:pt x="14905" y="796"/>
                  </a:lnTo>
                  <a:lnTo>
                    <a:pt x="14884" y="763"/>
                  </a:lnTo>
                  <a:lnTo>
                    <a:pt x="14862" y="731"/>
                  </a:lnTo>
                  <a:lnTo>
                    <a:pt x="14839" y="700"/>
                  </a:lnTo>
                  <a:lnTo>
                    <a:pt x="14817" y="670"/>
                  </a:lnTo>
                  <a:lnTo>
                    <a:pt x="14794" y="642"/>
                  </a:lnTo>
                  <a:lnTo>
                    <a:pt x="14771" y="617"/>
                  </a:lnTo>
                  <a:lnTo>
                    <a:pt x="14748" y="591"/>
                  </a:lnTo>
                  <a:lnTo>
                    <a:pt x="14725" y="567"/>
                  </a:lnTo>
                  <a:lnTo>
                    <a:pt x="14702" y="546"/>
                  </a:lnTo>
                  <a:lnTo>
                    <a:pt x="14678" y="524"/>
                  </a:lnTo>
                  <a:lnTo>
                    <a:pt x="14654" y="504"/>
                  </a:lnTo>
                  <a:lnTo>
                    <a:pt x="14630" y="487"/>
                  </a:lnTo>
                  <a:lnTo>
                    <a:pt x="14606" y="469"/>
                  </a:lnTo>
                  <a:lnTo>
                    <a:pt x="14582" y="454"/>
                  </a:lnTo>
                  <a:lnTo>
                    <a:pt x="14557" y="440"/>
                  </a:lnTo>
                  <a:lnTo>
                    <a:pt x="14534" y="427"/>
                  </a:lnTo>
                  <a:lnTo>
                    <a:pt x="14509" y="416"/>
                  </a:lnTo>
                  <a:lnTo>
                    <a:pt x="14484" y="405"/>
                  </a:lnTo>
                  <a:lnTo>
                    <a:pt x="14459" y="397"/>
                  </a:lnTo>
                  <a:lnTo>
                    <a:pt x="14435" y="390"/>
                  </a:lnTo>
                  <a:lnTo>
                    <a:pt x="14410" y="384"/>
                  </a:lnTo>
                  <a:lnTo>
                    <a:pt x="14385" y="380"/>
                  </a:lnTo>
                  <a:lnTo>
                    <a:pt x="14360" y="376"/>
                  </a:lnTo>
                  <a:lnTo>
                    <a:pt x="14336" y="374"/>
                  </a:lnTo>
                  <a:lnTo>
                    <a:pt x="14311" y="374"/>
                  </a:lnTo>
                  <a:lnTo>
                    <a:pt x="14280" y="374"/>
                  </a:lnTo>
                  <a:lnTo>
                    <a:pt x="14251" y="377"/>
                  </a:lnTo>
                  <a:lnTo>
                    <a:pt x="14223" y="381"/>
                  </a:lnTo>
                  <a:lnTo>
                    <a:pt x="14170" y="393"/>
                  </a:lnTo>
                  <a:lnTo>
                    <a:pt x="14121" y="409"/>
                  </a:lnTo>
                  <a:lnTo>
                    <a:pt x="14074" y="428"/>
                  </a:lnTo>
                  <a:lnTo>
                    <a:pt x="14031" y="450"/>
                  </a:lnTo>
                  <a:lnTo>
                    <a:pt x="13990" y="473"/>
                  </a:lnTo>
                  <a:lnTo>
                    <a:pt x="13953" y="500"/>
                  </a:lnTo>
                  <a:lnTo>
                    <a:pt x="13917" y="529"/>
                  </a:lnTo>
                  <a:lnTo>
                    <a:pt x="13885" y="559"/>
                  </a:lnTo>
                  <a:lnTo>
                    <a:pt x="13855" y="590"/>
                  </a:lnTo>
                  <a:lnTo>
                    <a:pt x="13828" y="622"/>
                  </a:lnTo>
                  <a:lnTo>
                    <a:pt x="13802" y="654"/>
                  </a:lnTo>
                  <a:lnTo>
                    <a:pt x="13779" y="686"/>
                  </a:lnTo>
                  <a:lnTo>
                    <a:pt x="13757" y="718"/>
                  </a:lnTo>
                  <a:lnTo>
                    <a:pt x="13737" y="748"/>
                  </a:lnTo>
                  <a:lnTo>
                    <a:pt x="13719" y="778"/>
                  </a:lnTo>
                  <a:lnTo>
                    <a:pt x="13706" y="803"/>
                  </a:lnTo>
                  <a:lnTo>
                    <a:pt x="13690" y="829"/>
                  </a:lnTo>
                  <a:lnTo>
                    <a:pt x="13674" y="857"/>
                  </a:lnTo>
                  <a:lnTo>
                    <a:pt x="13656" y="883"/>
                  </a:lnTo>
                  <a:lnTo>
                    <a:pt x="13639" y="909"/>
                  </a:lnTo>
                  <a:lnTo>
                    <a:pt x="13622" y="932"/>
                  </a:lnTo>
                  <a:lnTo>
                    <a:pt x="13615" y="942"/>
                  </a:lnTo>
                  <a:lnTo>
                    <a:pt x="13607" y="951"/>
                  </a:lnTo>
                  <a:lnTo>
                    <a:pt x="13600" y="959"/>
                  </a:lnTo>
                  <a:lnTo>
                    <a:pt x="13594" y="966"/>
                  </a:lnTo>
                  <a:lnTo>
                    <a:pt x="13559" y="987"/>
                  </a:lnTo>
                  <a:lnTo>
                    <a:pt x="13524" y="1007"/>
                  </a:lnTo>
                  <a:lnTo>
                    <a:pt x="13489" y="1025"/>
                  </a:lnTo>
                  <a:lnTo>
                    <a:pt x="13454" y="1040"/>
                  </a:lnTo>
                  <a:lnTo>
                    <a:pt x="13419" y="1053"/>
                  </a:lnTo>
                  <a:lnTo>
                    <a:pt x="13384" y="1067"/>
                  </a:lnTo>
                  <a:lnTo>
                    <a:pt x="13314" y="1090"/>
                  </a:lnTo>
                  <a:lnTo>
                    <a:pt x="13266" y="1112"/>
                  </a:lnTo>
                  <a:lnTo>
                    <a:pt x="13214" y="1134"/>
                  </a:lnTo>
                  <a:lnTo>
                    <a:pt x="13162" y="1157"/>
                  </a:lnTo>
                  <a:lnTo>
                    <a:pt x="13135" y="1170"/>
                  </a:lnTo>
                  <a:lnTo>
                    <a:pt x="13107" y="1183"/>
                  </a:lnTo>
                  <a:lnTo>
                    <a:pt x="13079" y="1199"/>
                  </a:lnTo>
                  <a:lnTo>
                    <a:pt x="13051" y="1216"/>
                  </a:lnTo>
                  <a:lnTo>
                    <a:pt x="13022" y="1235"/>
                  </a:lnTo>
                  <a:lnTo>
                    <a:pt x="12993" y="1256"/>
                  </a:lnTo>
                  <a:lnTo>
                    <a:pt x="12965" y="1280"/>
                  </a:lnTo>
                  <a:lnTo>
                    <a:pt x="12936" y="1307"/>
                  </a:lnTo>
                  <a:lnTo>
                    <a:pt x="12907" y="1337"/>
                  </a:lnTo>
                  <a:lnTo>
                    <a:pt x="12878" y="1371"/>
                  </a:lnTo>
                  <a:lnTo>
                    <a:pt x="12858" y="1391"/>
                  </a:lnTo>
                  <a:lnTo>
                    <a:pt x="12840" y="1412"/>
                  </a:lnTo>
                  <a:lnTo>
                    <a:pt x="12823" y="1433"/>
                  </a:lnTo>
                  <a:lnTo>
                    <a:pt x="12809" y="1455"/>
                  </a:lnTo>
                  <a:lnTo>
                    <a:pt x="12795" y="1477"/>
                  </a:lnTo>
                  <a:lnTo>
                    <a:pt x="12783" y="1499"/>
                  </a:lnTo>
                  <a:lnTo>
                    <a:pt x="12772" y="1522"/>
                  </a:lnTo>
                  <a:lnTo>
                    <a:pt x="12762" y="1545"/>
                  </a:lnTo>
                  <a:lnTo>
                    <a:pt x="12754" y="1568"/>
                  </a:lnTo>
                  <a:lnTo>
                    <a:pt x="12747" y="1591"/>
                  </a:lnTo>
                  <a:lnTo>
                    <a:pt x="12741" y="1615"/>
                  </a:lnTo>
                  <a:lnTo>
                    <a:pt x="12735" y="1638"/>
                  </a:lnTo>
                  <a:lnTo>
                    <a:pt x="12729" y="1688"/>
                  </a:lnTo>
                  <a:lnTo>
                    <a:pt x="12725" y="1736"/>
                  </a:lnTo>
                  <a:lnTo>
                    <a:pt x="12726" y="1787"/>
                  </a:lnTo>
                  <a:lnTo>
                    <a:pt x="12728" y="1837"/>
                  </a:lnTo>
                  <a:lnTo>
                    <a:pt x="12734" y="1889"/>
                  </a:lnTo>
                  <a:lnTo>
                    <a:pt x="12742" y="1940"/>
                  </a:lnTo>
                  <a:lnTo>
                    <a:pt x="12751" y="1992"/>
                  </a:lnTo>
                  <a:lnTo>
                    <a:pt x="12761" y="2044"/>
                  </a:lnTo>
                  <a:lnTo>
                    <a:pt x="12784" y="2149"/>
                  </a:lnTo>
                  <a:lnTo>
                    <a:pt x="12795" y="2203"/>
                  </a:lnTo>
                  <a:lnTo>
                    <a:pt x="12809" y="2260"/>
                  </a:lnTo>
                  <a:lnTo>
                    <a:pt x="12821" y="2318"/>
                  </a:lnTo>
                  <a:lnTo>
                    <a:pt x="12835" y="2379"/>
                  </a:lnTo>
                  <a:lnTo>
                    <a:pt x="12847" y="2444"/>
                  </a:lnTo>
                  <a:lnTo>
                    <a:pt x="12859" y="2511"/>
                  </a:lnTo>
                  <a:lnTo>
                    <a:pt x="12871" y="2582"/>
                  </a:lnTo>
                  <a:lnTo>
                    <a:pt x="12881" y="2656"/>
                  </a:lnTo>
                  <a:lnTo>
                    <a:pt x="12891" y="2733"/>
                  </a:lnTo>
                  <a:lnTo>
                    <a:pt x="12900" y="2815"/>
                  </a:lnTo>
                  <a:lnTo>
                    <a:pt x="12903" y="2858"/>
                  </a:lnTo>
                  <a:lnTo>
                    <a:pt x="12906" y="2901"/>
                  </a:lnTo>
                  <a:lnTo>
                    <a:pt x="12909" y="2946"/>
                  </a:lnTo>
                  <a:lnTo>
                    <a:pt x="12911" y="2991"/>
                  </a:lnTo>
                  <a:lnTo>
                    <a:pt x="12913" y="3037"/>
                  </a:lnTo>
                  <a:lnTo>
                    <a:pt x="12914" y="3085"/>
                  </a:lnTo>
                  <a:lnTo>
                    <a:pt x="12915" y="3134"/>
                  </a:lnTo>
                  <a:lnTo>
                    <a:pt x="12915" y="3184"/>
                  </a:lnTo>
                  <a:lnTo>
                    <a:pt x="12914" y="3235"/>
                  </a:lnTo>
                  <a:lnTo>
                    <a:pt x="12913" y="3288"/>
                  </a:lnTo>
                  <a:lnTo>
                    <a:pt x="12911" y="3341"/>
                  </a:lnTo>
                  <a:lnTo>
                    <a:pt x="12909" y="3396"/>
                  </a:lnTo>
                  <a:lnTo>
                    <a:pt x="12901" y="3396"/>
                  </a:lnTo>
                  <a:lnTo>
                    <a:pt x="12890" y="3396"/>
                  </a:lnTo>
                  <a:lnTo>
                    <a:pt x="12869" y="3392"/>
                  </a:lnTo>
                  <a:lnTo>
                    <a:pt x="12843" y="3384"/>
                  </a:lnTo>
                  <a:lnTo>
                    <a:pt x="12815" y="3375"/>
                  </a:lnTo>
                  <a:lnTo>
                    <a:pt x="12785" y="3362"/>
                  </a:lnTo>
                  <a:lnTo>
                    <a:pt x="12754" y="3345"/>
                  </a:lnTo>
                  <a:lnTo>
                    <a:pt x="12722" y="3326"/>
                  </a:lnTo>
                  <a:lnTo>
                    <a:pt x="12690" y="3303"/>
                  </a:lnTo>
                  <a:lnTo>
                    <a:pt x="12690" y="3302"/>
                  </a:lnTo>
                  <a:lnTo>
                    <a:pt x="12688" y="3300"/>
                  </a:lnTo>
                  <a:lnTo>
                    <a:pt x="12685" y="3296"/>
                  </a:lnTo>
                  <a:lnTo>
                    <a:pt x="12681" y="3291"/>
                  </a:lnTo>
                  <a:lnTo>
                    <a:pt x="12676" y="3284"/>
                  </a:lnTo>
                  <a:lnTo>
                    <a:pt x="12669" y="3276"/>
                  </a:lnTo>
                  <a:lnTo>
                    <a:pt x="12662" y="3268"/>
                  </a:lnTo>
                  <a:lnTo>
                    <a:pt x="12654" y="3258"/>
                  </a:lnTo>
                  <a:lnTo>
                    <a:pt x="12636" y="3236"/>
                  </a:lnTo>
                  <a:lnTo>
                    <a:pt x="12615" y="3210"/>
                  </a:lnTo>
                  <a:lnTo>
                    <a:pt x="12591" y="3184"/>
                  </a:lnTo>
                  <a:lnTo>
                    <a:pt x="12566" y="3155"/>
                  </a:lnTo>
                  <a:lnTo>
                    <a:pt x="12539" y="3125"/>
                  </a:lnTo>
                  <a:lnTo>
                    <a:pt x="12511" y="3096"/>
                  </a:lnTo>
                  <a:lnTo>
                    <a:pt x="12482" y="3067"/>
                  </a:lnTo>
                  <a:lnTo>
                    <a:pt x="12454" y="3039"/>
                  </a:lnTo>
                  <a:lnTo>
                    <a:pt x="12426" y="3015"/>
                  </a:lnTo>
                  <a:lnTo>
                    <a:pt x="12398" y="2992"/>
                  </a:lnTo>
                  <a:lnTo>
                    <a:pt x="12384" y="2983"/>
                  </a:lnTo>
                  <a:lnTo>
                    <a:pt x="12372" y="2973"/>
                  </a:lnTo>
                  <a:lnTo>
                    <a:pt x="12360" y="2966"/>
                  </a:lnTo>
                  <a:lnTo>
                    <a:pt x="12347" y="2960"/>
                  </a:lnTo>
                  <a:lnTo>
                    <a:pt x="12370" y="2947"/>
                  </a:lnTo>
                  <a:lnTo>
                    <a:pt x="12390" y="2931"/>
                  </a:lnTo>
                  <a:lnTo>
                    <a:pt x="12408" y="2914"/>
                  </a:lnTo>
                  <a:lnTo>
                    <a:pt x="12426" y="2893"/>
                  </a:lnTo>
                  <a:lnTo>
                    <a:pt x="12443" y="2872"/>
                  </a:lnTo>
                  <a:lnTo>
                    <a:pt x="12462" y="2850"/>
                  </a:lnTo>
                  <a:lnTo>
                    <a:pt x="12481" y="2827"/>
                  </a:lnTo>
                  <a:lnTo>
                    <a:pt x="12503" y="2803"/>
                  </a:lnTo>
                  <a:lnTo>
                    <a:pt x="12519" y="2762"/>
                  </a:lnTo>
                  <a:lnTo>
                    <a:pt x="12531" y="2721"/>
                  </a:lnTo>
                  <a:lnTo>
                    <a:pt x="12539" y="2678"/>
                  </a:lnTo>
                  <a:lnTo>
                    <a:pt x="12544" y="2634"/>
                  </a:lnTo>
                  <a:lnTo>
                    <a:pt x="12546" y="2590"/>
                  </a:lnTo>
                  <a:lnTo>
                    <a:pt x="12544" y="2545"/>
                  </a:lnTo>
                  <a:lnTo>
                    <a:pt x="12539" y="2500"/>
                  </a:lnTo>
                  <a:lnTo>
                    <a:pt x="12531" y="2453"/>
                  </a:lnTo>
                  <a:lnTo>
                    <a:pt x="12519" y="2406"/>
                  </a:lnTo>
                  <a:lnTo>
                    <a:pt x="12503" y="2358"/>
                  </a:lnTo>
                  <a:lnTo>
                    <a:pt x="12486" y="2310"/>
                  </a:lnTo>
                  <a:lnTo>
                    <a:pt x="12464" y="2261"/>
                  </a:lnTo>
                  <a:lnTo>
                    <a:pt x="12439" y="2210"/>
                  </a:lnTo>
                  <a:lnTo>
                    <a:pt x="12411" y="2160"/>
                  </a:lnTo>
                  <a:lnTo>
                    <a:pt x="12381" y="2108"/>
                  </a:lnTo>
                  <a:lnTo>
                    <a:pt x="12347" y="2056"/>
                  </a:lnTo>
                  <a:lnTo>
                    <a:pt x="12327" y="2030"/>
                  </a:lnTo>
                  <a:lnTo>
                    <a:pt x="12306" y="2006"/>
                  </a:lnTo>
                  <a:lnTo>
                    <a:pt x="12285" y="1982"/>
                  </a:lnTo>
                  <a:lnTo>
                    <a:pt x="12265" y="1961"/>
                  </a:lnTo>
                  <a:lnTo>
                    <a:pt x="12243" y="1939"/>
                  </a:lnTo>
                  <a:lnTo>
                    <a:pt x="12222" y="1920"/>
                  </a:lnTo>
                  <a:lnTo>
                    <a:pt x="12179" y="1882"/>
                  </a:lnTo>
                  <a:lnTo>
                    <a:pt x="12136" y="1848"/>
                  </a:lnTo>
                  <a:lnTo>
                    <a:pt x="12092" y="1816"/>
                  </a:lnTo>
                  <a:lnTo>
                    <a:pt x="12048" y="1786"/>
                  </a:lnTo>
                  <a:lnTo>
                    <a:pt x="12005" y="1758"/>
                  </a:lnTo>
                  <a:lnTo>
                    <a:pt x="11960" y="1730"/>
                  </a:lnTo>
                  <a:lnTo>
                    <a:pt x="11917" y="1703"/>
                  </a:lnTo>
                  <a:lnTo>
                    <a:pt x="11830" y="1650"/>
                  </a:lnTo>
                  <a:lnTo>
                    <a:pt x="11787" y="1622"/>
                  </a:lnTo>
                  <a:lnTo>
                    <a:pt x="11744" y="1592"/>
                  </a:lnTo>
                  <a:lnTo>
                    <a:pt x="11703" y="1561"/>
                  </a:lnTo>
                  <a:lnTo>
                    <a:pt x="11662" y="1526"/>
                  </a:lnTo>
                  <a:lnTo>
                    <a:pt x="11628" y="1498"/>
                  </a:lnTo>
                  <a:lnTo>
                    <a:pt x="11594" y="1470"/>
                  </a:lnTo>
                  <a:lnTo>
                    <a:pt x="11577" y="1454"/>
                  </a:lnTo>
                  <a:lnTo>
                    <a:pt x="11562" y="1438"/>
                  </a:lnTo>
                  <a:lnTo>
                    <a:pt x="11548" y="1421"/>
                  </a:lnTo>
                  <a:lnTo>
                    <a:pt x="11537" y="1402"/>
                  </a:lnTo>
                  <a:lnTo>
                    <a:pt x="11510" y="1365"/>
                  </a:lnTo>
                  <a:lnTo>
                    <a:pt x="11479" y="1325"/>
                  </a:lnTo>
                  <a:lnTo>
                    <a:pt x="11447" y="1282"/>
                  </a:lnTo>
                  <a:lnTo>
                    <a:pt x="11412" y="1237"/>
                  </a:lnTo>
                  <a:lnTo>
                    <a:pt x="11374" y="1189"/>
                  </a:lnTo>
                  <a:lnTo>
                    <a:pt x="11334" y="1139"/>
                  </a:lnTo>
                  <a:lnTo>
                    <a:pt x="11290" y="1087"/>
                  </a:lnTo>
                  <a:lnTo>
                    <a:pt x="11245" y="1034"/>
                  </a:lnTo>
                  <a:lnTo>
                    <a:pt x="11196" y="979"/>
                  </a:lnTo>
                  <a:lnTo>
                    <a:pt x="11146" y="924"/>
                  </a:lnTo>
                  <a:lnTo>
                    <a:pt x="11092" y="867"/>
                  </a:lnTo>
                  <a:lnTo>
                    <a:pt x="11036" y="810"/>
                  </a:lnTo>
                  <a:lnTo>
                    <a:pt x="10977" y="754"/>
                  </a:lnTo>
                  <a:lnTo>
                    <a:pt x="10916" y="696"/>
                  </a:lnTo>
                  <a:lnTo>
                    <a:pt x="10852" y="639"/>
                  </a:lnTo>
                  <a:lnTo>
                    <a:pt x="10785" y="584"/>
                  </a:lnTo>
                  <a:lnTo>
                    <a:pt x="10716" y="529"/>
                  </a:lnTo>
                  <a:lnTo>
                    <a:pt x="10644" y="474"/>
                  </a:lnTo>
                  <a:lnTo>
                    <a:pt x="10570" y="423"/>
                  </a:lnTo>
                  <a:lnTo>
                    <a:pt x="10492" y="371"/>
                  </a:lnTo>
                  <a:lnTo>
                    <a:pt x="10413" y="323"/>
                  </a:lnTo>
                  <a:lnTo>
                    <a:pt x="10330" y="277"/>
                  </a:lnTo>
                  <a:lnTo>
                    <a:pt x="10244" y="233"/>
                  </a:lnTo>
                  <a:lnTo>
                    <a:pt x="10157" y="192"/>
                  </a:lnTo>
                  <a:lnTo>
                    <a:pt x="10066" y="154"/>
                  </a:lnTo>
                  <a:lnTo>
                    <a:pt x="9973" y="120"/>
                  </a:lnTo>
                  <a:lnTo>
                    <a:pt x="9877" y="89"/>
                  </a:lnTo>
                  <a:lnTo>
                    <a:pt x="9827" y="75"/>
                  </a:lnTo>
                  <a:lnTo>
                    <a:pt x="9778" y="62"/>
                  </a:lnTo>
                  <a:lnTo>
                    <a:pt x="9727" y="50"/>
                  </a:lnTo>
                  <a:lnTo>
                    <a:pt x="9677" y="40"/>
                  </a:lnTo>
                  <a:lnTo>
                    <a:pt x="9625" y="30"/>
                  </a:lnTo>
                  <a:lnTo>
                    <a:pt x="9572" y="21"/>
                  </a:lnTo>
                  <a:lnTo>
                    <a:pt x="9520" y="14"/>
                  </a:lnTo>
                  <a:lnTo>
                    <a:pt x="9465" y="8"/>
                  </a:lnTo>
                  <a:lnTo>
                    <a:pt x="9411" y="3"/>
                  </a:lnTo>
                  <a:lnTo>
                    <a:pt x="9356" y="0"/>
                  </a:lnTo>
                  <a:lnTo>
                    <a:pt x="9231" y="0"/>
                  </a:lnTo>
                  <a:lnTo>
                    <a:pt x="9231" y="0"/>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ctr"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chemeClr val="tx2"/>
                </a:solidFill>
                <a:effectLst/>
                <a:uLnTx/>
                <a:uFillTx/>
              </a:endParaRPr>
            </a:p>
          </p:txBody>
        </p:sp>
        <p:sp>
          <p:nvSpPr>
            <p:cNvPr id="77" name="Freeform 45"/>
            <p:cNvSpPr>
              <a:spLocks/>
            </p:cNvSpPr>
            <p:nvPr/>
          </p:nvSpPr>
          <p:spPr bwMode="auto">
            <a:xfrm>
              <a:off x="1971676" y="4108452"/>
              <a:ext cx="220661" cy="225424"/>
            </a:xfrm>
            <a:custGeom>
              <a:avLst/>
              <a:gdLst>
                <a:gd name="T0" fmla="*/ 2086 w 2090"/>
                <a:gd name="T1" fmla="*/ 1 h 2119"/>
                <a:gd name="T2" fmla="*/ 2063 w 2090"/>
                <a:gd name="T3" fmla="*/ 8 h 2119"/>
                <a:gd name="T4" fmla="*/ 2023 w 2090"/>
                <a:gd name="T5" fmla="*/ 20 h 2119"/>
                <a:gd name="T6" fmla="*/ 1964 w 2090"/>
                <a:gd name="T7" fmla="*/ 35 h 2119"/>
                <a:gd name="T8" fmla="*/ 1887 w 2090"/>
                <a:gd name="T9" fmla="*/ 53 h 2119"/>
                <a:gd name="T10" fmla="*/ 1790 w 2090"/>
                <a:gd name="T11" fmla="*/ 73 h 2119"/>
                <a:gd name="T12" fmla="*/ 1673 w 2090"/>
                <a:gd name="T13" fmla="*/ 96 h 2119"/>
                <a:gd name="T14" fmla="*/ 1536 w 2090"/>
                <a:gd name="T15" fmla="*/ 119 h 2119"/>
                <a:gd name="T16" fmla="*/ 1298 w 2090"/>
                <a:gd name="T17" fmla="*/ 152 h 2119"/>
                <a:gd name="T18" fmla="*/ 1061 w 2090"/>
                <a:gd name="T19" fmla="*/ 171 h 2119"/>
                <a:gd name="T20" fmla="*/ 859 w 2090"/>
                <a:gd name="T21" fmla="*/ 192 h 2119"/>
                <a:gd name="T22" fmla="*/ 693 w 2090"/>
                <a:gd name="T23" fmla="*/ 233 h 2119"/>
                <a:gd name="T24" fmla="*/ 515 w 2090"/>
                <a:gd name="T25" fmla="*/ 347 h 2119"/>
                <a:gd name="T26" fmla="*/ 365 w 2090"/>
                <a:gd name="T27" fmla="*/ 513 h 2119"/>
                <a:gd name="T28" fmla="*/ 248 w 2090"/>
                <a:gd name="T29" fmla="*/ 723 h 2119"/>
                <a:gd name="T30" fmla="*/ 150 w 2090"/>
                <a:gd name="T31" fmla="*/ 986 h 2119"/>
                <a:gd name="T32" fmla="*/ 77 w 2090"/>
                <a:gd name="T33" fmla="*/ 1239 h 2119"/>
                <a:gd name="T34" fmla="*/ 19 w 2090"/>
                <a:gd name="T35" fmla="*/ 1600 h 2119"/>
                <a:gd name="T36" fmla="*/ 7 w 2090"/>
                <a:gd name="T37" fmla="*/ 1765 h 2119"/>
                <a:gd name="T38" fmla="*/ 1 w 2090"/>
                <a:gd name="T39" fmla="*/ 1907 h 2119"/>
                <a:gd name="T40" fmla="*/ 1 w 2090"/>
                <a:gd name="T41" fmla="*/ 2019 h 2119"/>
                <a:gd name="T42" fmla="*/ 2 w 2090"/>
                <a:gd name="T43" fmla="*/ 2093 h 2119"/>
                <a:gd name="T44" fmla="*/ 3 w 2090"/>
                <a:gd name="T45" fmla="*/ 2119 h 2119"/>
                <a:gd name="T46" fmla="*/ 5 w 2090"/>
                <a:gd name="T47" fmla="*/ 2110 h 2119"/>
                <a:gd name="T48" fmla="*/ 12 w 2090"/>
                <a:gd name="T49" fmla="*/ 2082 h 2119"/>
                <a:gd name="T50" fmla="*/ 40 w 2090"/>
                <a:gd name="T51" fmla="*/ 1983 h 2119"/>
                <a:gd name="T52" fmla="*/ 83 w 2090"/>
                <a:gd name="T53" fmla="*/ 1837 h 2119"/>
                <a:gd name="T54" fmla="*/ 139 w 2090"/>
                <a:gd name="T55" fmla="*/ 1659 h 2119"/>
                <a:gd name="T56" fmla="*/ 260 w 2090"/>
                <a:gd name="T57" fmla="*/ 1325 h 2119"/>
                <a:gd name="T58" fmla="*/ 337 w 2090"/>
                <a:gd name="T59" fmla="*/ 1145 h 2119"/>
                <a:gd name="T60" fmla="*/ 419 w 2090"/>
                <a:gd name="T61" fmla="*/ 997 h 2119"/>
                <a:gd name="T62" fmla="*/ 481 w 2090"/>
                <a:gd name="T63" fmla="*/ 901 h 2119"/>
                <a:gd name="T64" fmla="*/ 565 w 2090"/>
                <a:gd name="T65" fmla="*/ 784 h 2119"/>
                <a:gd name="T66" fmla="*/ 636 w 2090"/>
                <a:gd name="T67" fmla="*/ 701 h 2119"/>
                <a:gd name="T68" fmla="*/ 679 w 2090"/>
                <a:gd name="T69" fmla="*/ 662 h 2119"/>
                <a:gd name="T70" fmla="*/ 687 w 2090"/>
                <a:gd name="T71" fmla="*/ 656 h 2119"/>
                <a:gd name="T72" fmla="*/ 675 w 2090"/>
                <a:gd name="T73" fmla="*/ 694 h 2119"/>
                <a:gd name="T74" fmla="*/ 657 w 2090"/>
                <a:gd name="T75" fmla="*/ 770 h 2119"/>
                <a:gd name="T76" fmla="*/ 648 w 2090"/>
                <a:gd name="T77" fmla="*/ 863 h 2119"/>
                <a:gd name="T78" fmla="*/ 663 w 2090"/>
                <a:gd name="T79" fmla="*/ 987 h 2119"/>
                <a:gd name="T80" fmla="*/ 699 w 2090"/>
                <a:gd name="T81" fmla="*/ 1175 h 2119"/>
                <a:gd name="T82" fmla="*/ 741 w 2090"/>
                <a:gd name="T83" fmla="*/ 1322 h 2119"/>
                <a:gd name="T84" fmla="*/ 767 w 2090"/>
                <a:gd name="T85" fmla="*/ 1395 h 2119"/>
                <a:gd name="T86" fmla="*/ 778 w 2090"/>
                <a:gd name="T87" fmla="*/ 1424 h 2119"/>
                <a:gd name="T88" fmla="*/ 782 w 2090"/>
                <a:gd name="T89" fmla="*/ 1434 h 2119"/>
                <a:gd name="T90" fmla="*/ 783 w 2090"/>
                <a:gd name="T91" fmla="*/ 1407 h 2119"/>
                <a:gd name="T92" fmla="*/ 790 w 2090"/>
                <a:gd name="T93" fmla="*/ 1337 h 2119"/>
                <a:gd name="T94" fmla="*/ 803 w 2090"/>
                <a:gd name="T95" fmla="*/ 1231 h 2119"/>
                <a:gd name="T96" fmla="*/ 824 w 2090"/>
                <a:gd name="T97" fmla="*/ 1102 h 2119"/>
                <a:gd name="T98" fmla="*/ 900 w 2090"/>
                <a:gd name="T99" fmla="*/ 816 h 2119"/>
                <a:gd name="T100" fmla="*/ 974 w 2090"/>
                <a:gd name="T101" fmla="*/ 647 h 2119"/>
                <a:gd name="T102" fmla="*/ 1055 w 2090"/>
                <a:gd name="T103" fmla="*/ 533 h 2119"/>
                <a:gd name="T104" fmla="*/ 1165 w 2090"/>
                <a:gd name="T105" fmla="*/ 433 h 2119"/>
                <a:gd name="T106" fmla="*/ 1295 w 2090"/>
                <a:gd name="T107" fmla="*/ 351 h 2119"/>
                <a:gd name="T108" fmla="*/ 1560 w 2090"/>
                <a:gd name="T109" fmla="*/ 249 h 2119"/>
                <a:gd name="T110" fmla="*/ 1736 w 2090"/>
                <a:gd name="T111" fmla="*/ 184 h 2119"/>
                <a:gd name="T112" fmla="*/ 1907 w 2090"/>
                <a:gd name="T113" fmla="*/ 101 h 2119"/>
                <a:gd name="T114" fmla="*/ 2012 w 2090"/>
                <a:gd name="T115" fmla="*/ 45 h 2119"/>
                <a:gd name="T116" fmla="*/ 2060 w 2090"/>
                <a:gd name="T117" fmla="*/ 18 h 2119"/>
                <a:gd name="T118" fmla="*/ 2087 w 2090"/>
                <a:gd name="T119" fmla="*/ 2 h 2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090" h="2119">
                  <a:moveTo>
                    <a:pt x="2090" y="0"/>
                  </a:moveTo>
                  <a:lnTo>
                    <a:pt x="2090" y="0"/>
                  </a:lnTo>
                  <a:lnTo>
                    <a:pt x="2088" y="1"/>
                  </a:lnTo>
                  <a:lnTo>
                    <a:pt x="2086" y="1"/>
                  </a:lnTo>
                  <a:lnTo>
                    <a:pt x="2082" y="3"/>
                  </a:lnTo>
                  <a:lnTo>
                    <a:pt x="2077" y="4"/>
                  </a:lnTo>
                  <a:lnTo>
                    <a:pt x="2070" y="6"/>
                  </a:lnTo>
                  <a:lnTo>
                    <a:pt x="2063" y="8"/>
                  </a:lnTo>
                  <a:lnTo>
                    <a:pt x="2055" y="10"/>
                  </a:lnTo>
                  <a:lnTo>
                    <a:pt x="2046" y="13"/>
                  </a:lnTo>
                  <a:lnTo>
                    <a:pt x="2034" y="17"/>
                  </a:lnTo>
                  <a:lnTo>
                    <a:pt x="2023" y="20"/>
                  </a:lnTo>
                  <a:lnTo>
                    <a:pt x="2009" y="23"/>
                  </a:lnTo>
                  <a:lnTo>
                    <a:pt x="1996" y="27"/>
                  </a:lnTo>
                  <a:lnTo>
                    <a:pt x="1981" y="31"/>
                  </a:lnTo>
                  <a:lnTo>
                    <a:pt x="1964" y="35"/>
                  </a:lnTo>
                  <a:lnTo>
                    <a:pt x="1946" y="39"/>
                  </a:lnTo>
                  <a:lnTo>
                    <a:pt x="1928" y="43"/>
                  </a:lnTo>
                  <a:lnTo>
                    <a:pt x="1907" y="48"/>
                  </a:lnTo>
                  <a:lnTo>
                    <a:pt x="1887" y="53"/>
                  </a:lnTo>
                  <a:lnTo>
                    <a:pt x="1864" y="58"/>
                  </a:lnTo>
                  <a:lnTo>
                    <a:pt x="1840" y="63"/>
                  </a:lnTo>
                  <a:lnTo>
                    <a:pt x="1815" y="68"/>
                  </a:lnTo>
                  <a:lnTo>
                    <a:pt x="1790" y="73"/>
                  </a:lnTo>
                  <a:lnTo>
                    <a:pt x="1762" y="79"/>
                  </a:lnTo>
                  <a:lnTo>
                    <a:pt x="1733" y="85"/>
                  </a:lnTo>
                  <a:lnTo>
                    <a:pt x="1704" y="90"/>
                  </a:lnTo>
                  <a:lnTo>
                    <a:pt x="1673" y="96"/>
                  </a:lnTo>
                  <a:lnTo>
                    <a:pt x="1640" y="102"/>
                  </a:lnTo>
                  <a:lnTo>
                    <a:pt x="1607" y="107"/>
                  </a:lnTo>
                  <a:lnTo>
                    <a:pt x="1572" y="113"/>
                  </a:lnTo>
                  <a:lnTo>
                    <a:pt x="1536" y="119"/>
                  </a:lnTo>
                  <a:lnTo>
                    <a:pt x="1498" y="125"/>
                  </a:lnTo>
                  <a:lnTo>
                    <a:pt x="1429" y="135"/>
                  </a:lnTo>
                  <a:lnTo>
                    <a:pt x="1362" y="144"/>
                  </a:lnTo>
                  <a:lnTo>
                    <a:pt x="1298" y="152"/>
                  </a:lnTo>
                  <a:lnTo>
                    <a:pt x="1235" y="158"/>
                  </a:lnTo>
                  <a:lnTo>
                    <a:pt x="1175" y="163"/>
                  </a:lnTo>
                  <a:lnTo>
                    <a:pt x="1118" y="167"/>
                  </a:lnTo>
                  <a:lnTo>
                    <a:pt x="1061" y="171"/>
                  </a:lnTo>
                  <a:lnTo>
                    <a:pt x="1007" y="175"/>
                  </a:lnTo>
                  <a:lnTo>
                    <a:pt x="957" y="180"/>
                  </a:lnTo>
                  <a:lnTo>
                    <a:pt x="907" y="185"/>
                  </a:lnTo>
                  <a:lnTo>
                    <a:pt x="859" y="192"/>
                  </a:lnTo>
                  <a:lnTo>
                    <a:pt x="815" y="199"/>
                  </a:lnTo>
                  <a:lnTo>
                    <a:pt x="772" y="208"/>
                  </a:lnTo>
                  <a:lnTo>
                    <a:pt x="731" y="219"/>
                  </a:lnTo>
                  <a:lnTo>
                    <a:pt x="693" y="233"/>
                  </a:lnTo>
                  <a:lnTo>
                    <a:pt x="657" y="249"/>
                  </a:lnTo>
                  <a:lnTo>
                    <a:pt x="606" y="279"/>
                  </a:lnTo>
                  <a:lnTo>
                    <a:pt x="559" y="312"/>
                  </a:lnTo>
                  <a:lnTo>
                    <a:pt x="515" y="347"/>
                  </a:lnTo>
                  <a:lnTo>
                    <a:pt x="473" y="384"/>
                  </a:lnTo>
                  <a:lnTo>
                    <a:pt x="435" y="424"/>
                  </a:lnTo>
                  <a:lnTo>
                    <a:pt x="399" y="468"/>
                  </a:lnTo>
                  <a:lnTo>
                    <a:pt x="365" y="513"/>
                  </a:lnTo>
                  <a:lnTo>
                    <a:pt x="334" y="561"/>
                  </a:lnTo>
                  <a:lnTo>
                    <a:pt x="304" y="612"/>
                  </a:lnTo>
                  <a:lnTo>
                    <a:pt x="275" y="667"/>
                  </a:lnTo>
                  <a:lnTo>
                    <a:pt x="248" y="723"/>
                  </a:lnTo>
                  <a:lnTo>
                    <a:pt x="224" y="784"/>
                  </a:lnTo>
                  <a:lnTo>
                    <a:pt x="199" y="848"/>
                  </a:lnTo>
                  <a:lnTo>
                    <a:pt x="174" y="915"/>
                  </a:lnTo>
                  <a:lnTo>
                    <a:pt x="150" y="986"/>
                  </a:lnTo>
                  <a:lnTo>
                    <a:pt x="128" y="1060"/>
                  </a:lnTo>
                  <a:lnTo>
                    <a:pt x="113" y="1104"/>
                  </a:lnTo>
                  <a:lnTo>
                    <a:pt x="100" y="1149"/>
                  </a:lnTo>
                  <a:lnTo>
                    <a:pt x="77" y="1239"/>
                  </a:lnTo>
                  <a:lnTo>
                    <a:pt x="57" y="1331"/>
                  </a:lnTo>
                  <a:lnTo>
                    <a:pt x="42" y="1423"/>
                  </a:lnTo>
                  <a:lnTo>
                    <a:pt x="29" y="1512"/>
                  </a:lnTo>
                  <a:lnTo>
                    <a:pt x="19" y="1600"/>
                  </a:lnTo>
                  <a:lnTo>
                    <a:pt x="15" y="1643"/>
                  </a:lnTo>
                  <a:lnTo>
                    <a:pt x="12" y="1684"/>
                  </a:lnTo>
                  <a:lnTo>
                    <a:pt x="9" y="1725"/>
                  </a:lnTo>
                  <a:lnTo>
                    <a:pt x="7" y="1765"/>
                  </a:lnTo>
                  <a:lnTo>
                    <a:pt x="5" y="1803"/>
                  </a:lnTo>
                  <a:lnTo>
                    <a:pt x="3" y="1839"/>
                  </a:lnTo>
                  <a:lnTo>
                    <a:pt x="2" y="1874"/>
                  </a:lnTo>
                  <a:lnTo>
                    <a:pt x="1" y="1907"/>
                  </a:lnTo>
                  <a:lnTo>
                    <a:pt x="1" y="1939"/>
                  </a:lnTo>
                  <a:lnTo>
                    <a:pt x="0" y="1967"/>
                  </a:lnTo>
                  <a:lnTo>
                    <a:pt x="0" y="1994"/>
                  </a:lnTo>
                  <a:lnTo>
                    <a:pt x="1" y="2019"/>
                  </a:lnTo>
                  <a:lnTo>
                    <a:pt x="1" y="2042"/>
                  </a:lnTo>
                  <a:lnTo>
                    <a:pt x="1" y="2061"/>
                  </a:lnTo>
                  <a:lnTo>
                    <a:pt x="1" y="2079"/>
                  </a:lnTo>
                  <a:lnTo>
                    <a:pt x="2" y="2093"/>
                  </a:lnTo>
                  <a:lnTo>
                    <a:pt x="2" y="2104"/>
                  </a:lnTo>
                  <a:lnTo>
                    <a:pt x="3" y="2113"/>
                  </a:lnTo>
                  <a:lnTo>
                    <a:pt x="3" y="2117"/>
                  </a:lnTo>
                  <a:lnTo>
                    <a:pt x="3" y="2119"/>
                  </a:lnTo>
                  <a:lnTo>
                    <a:pt x="3" y="2119"/>
                  </a:lnTo>
                  <a:lnTo>
                    <a:pt x="4" y="2117"/>
                  </a:lnTo>
                  <a:lnTo>
                    <a:pt x="4" y="2114"/>
                  </a:lnTo>
                  <a:lnTo>
                    <a:pt x="5" y="2110"/>
                  </a:lnTo>
                  <a:lnTo>
                    <a:pt x="7" y="2104"/>
                  </a:lnTo>
                  <a:lnTo>
                    <a:pt x="8" y="2098"/>
                  </a:lnTo>
                  <a:lnTo>
                    <a:pt x="10" y="2091"/>
                  </a:lnTo>
                  <a:lnTo>
                    <a:pt x="12" y="2082"/>
                  </a:lnTo>
                  <a:lnTo>
                    <a:pt x="18" y="2062"/>
                  </a:lnTo>
                  <a:lnTo>
                    <a:pt x="24" y="2040"/>
                  </a:lnTo>
                  <a:lnTo>
                    <a:pt x="32" y="2013"/>
                  </a:lnTo>
                  <a:lnTo>
                    <a:pt x="40" y="1983"/>
                  </a:lnTo>
                  <a:lnTo>
                    <a:pt x="49" y="1950"/>
                  </a:lnTo>
                  <a:lnTo>
                    <a:pt x="59" y="1914"/>
                  </a:lnTo>
                  <a:lnTo>
                    <a:pt x="71" y="1877"/>
                  </a:lnTo>
                  <a:lnTo>
                    <a:pt x="83" y="1837"/>
                  </a:lnTo>
                  <a:lnTo>
                    <a:pt x="96" y="1794"/>
                  </a:lnTo>
                  <a:lnTo>
                    <a:pt x="110" y="1751"/>
                  </a:lnTo>
                  <a:lnTo>
                    <a:pt x="123" y="1706"/>
                  </a:lnTo>
                  <a:lnTo>
                    <a:pt x="139" y="1659"/>
                  </a:lnTo>
                  <a:lnTo>
                    <a:pt x="171" y="1565"/>
                  </a:lnTo>
                  <a:lnTo>
                    <a:pt x="205" y="1468"/>
                  </a:lnTo>
                  <a:lnTo>
                    <a:pt x="241" y="1372"/>
                  </a:lnTo>
                  <a:lnTo>
                    <a:pt x="260" y="1325"/>
                  </a:lnTo>
                  <a:lnTo>
                    <a:pt x="278" y="1277"/>
                  </a:lnTo>
                  <a:lnTo>
                    <a:pt x="298" y="1232"/>
                  </a:lnTo>
                  <a:lnTo>
                    <a:pt x="317" y="1189"/>
                  </a:lnTo>
                  <a:lnTo>
                    <a:pt x="337" y="1145"/>
                  </a:lnTo>
                  <a:lnTo>
                    <a:pt x="358" y="1105"/>
                  </a:lnTo>
                  <a:lnTo>
                    <a:pt x="377" y="1066"/>
                  </a:lnTo>
                  <a:lnTo>
                    <a:pt x="398" y="1030"/>
                  </a:lnTo>
                  <a:lnTo>
                    <a:pt x="419" y="997"/>
                  </a:lnTo>
                  <a:lnTo>
                    <a:pt x="438" y="966"/>
                  </a:lnTo>
                  <a:lnTo>
                    <a:pt x="453" y="944"/>
                  </a:lnTo>
                  <a:lnTo>
                    <a:pt x="467" y="922"/>
                  </a:lnTo>
                  <a:lnTo>
                    <a:pt x="481" y="901"/>
                  </a:lnTo>
                  <a:lnTo>
                    <a:pt x="494" y="881"/>
                  </a:lnTo>
                  <a:lnTo>
                    <a:pt x="520" y="845"/>
                  </a:lnTo>
                  <a:lnTo>
                    <a:pt x="544" y="813"/>
                  </a:lnTo>
                  <a:lnTo>
                    <a:pt x="565" y="784"/>
                  </a:lnTo>
                  <a:lnTo>
                    <a:pt x="586" y="758"/>
                  </a:lnTo>
                  <a:lnTo>
                    <a:pt x="604" y="736"/>
                  </a:lnTo>
                  <a:lnTo>
                    <a:pt x="622" y="717"/>
                  </a:lnTo>
                  <a:lnTo>
                    <a:pt x="636" y="701"/>
                  </a:lnTo>
                  <a:lnTo>
                    <a:pt x="650" y="687"/>
                  </a:lnTo>
                  <a:lnTo>
                    <a:pt x="661" y="677"/>
                  </a:lnTo>
                  <a:lnTo>
                    <a:pt x="671" y="669"/>
                  </a:lnTo>
                  <a:lnTo>
                    <a:pt x="679" y="662"/>
                  </a:lnTo>
                  <a:lnTo>
                    <a:pt x="684" y="657"/>
                  </a:lnTo>
                  <a:lnTo>
                    <a:pt x="687" y="655"/>
                  </a:lnTo>
                  <a:lnTo>
                    <a:pt x="688" y="654"/>
                  </a:lnTo>
                  <a:lnTo>
                    <a:pt x="687" y="656"/>
                  </a:lnTo>
                  <a:lnTo>
                    <a:pt x="685" y="661"/>
                  </a:lnTo>
                  <a:lnTo>
                    <a:pt x="683" y="670"/>
                  </a:lnTo>
                  <a:lnTo>
                    <a:pt x="679" y="681"/>
                  </a:lnTo>
                  <a:lnTo>
                    <a:pt x="675" y="694"/>
                  </a:lnTo>
                  <a:lnTo>
                    <a:pt x="670" y="711"/>
                  </a:lnTo>
                  <a:lnTo>
                    <a:pt x="665" y="728"/>
                  </a:lnTo>
                  <a:lnTo>
                    <a:pt x="661" y="748"/>
                  </a:lnTo>
                  <a:lnTo>
                    <a:pt x="657" y="770"/>
                  </a:lnTo>
                  <a:lnTo>
                    <a:pt x="653" y="791"/>
                  </a:lnTo>
                  <a:lnTo>
                    <a:pt x="650" y="815"/>
                  </a:lnTo>
                  <a:lnTo>
                    <a:pt x="649" y="839"/>
                  </a:lnTo>
                  <a:lnTo>
                    <a:pt x="648" y="863"/>
                  </a:lnTo>
                  <a:lnTo>
                    <a:pt x="649" y="887"/>
                  </a:lnTo>
                  <a:lnTo>
                    <a:pt x="652" y="912"/>
                  </a:lnTo>
                  <a:lnTo>
                    <a:pt x="657" y="935"/>
                  </a:lnTo>
                  <a:lnTo>
                    <a:pt x="663" y="987"/>
                  </a:lnTo>
                  <a:lnTo>
                    <a:pt x="672" y="1037"/>
                  </a:lnTo>
                  <a:lnTo>
                    <a:pt x="680" y="1085"/>
                  </a:lnTo>
                  <a:lnTo>
                    <a:pt x="689" y="1131"/>
                  </a:lnTo>
                  <a:lnTo>
                    <a:pt x="699" y="1175"/>
                  </a:lnTo>
                  <a:lnTo>
                    <a:pt x="710" y="1216"/>
                  </a:lnTo>
                  <a:lnTo>
                    <a:pt x="720" y="1255"/>
                  </a:lnTo>
                  <a:lnTo>
                    <a:pt x="731" y="1290"/>
                  </a:lnTo>
                  <a:lnTo>
                    <a:pt x="741" y="1322"/>
                  </a:lnTo>
                  <a:lnTo>
                    <a:pt x="750" y="1349"/>
                  </a:lnTo>
                  <a:lnTo>
                    <a:pt x="759" y="1374"/>
                  </a:lnTo>
                  <a:lnTo>
                    <a:pt x="762" y="1385"/>
                  </a:lnTo>
                  <a:lnTo>
                    <a:pt x="767" y="1395"/>
                  </a:lnTo>
                  <a:lnTo>
                    <a:pt x="770" y="1404"/>
                  </a:lnTo>
                  <a:lnTo>
                    <a:pt x="773" y="1411"/>
                  </a:lnTo>
                  <a:lnTo>
                    <a:pt x="776" y="1418"/>
                  </a:lnTo>
                  <a:lnTo>
                    <a:pt x="778" y="1424"/>
                  </a:lnTo>
                  <a:lnTo>
                    <a:pt x="779" y="1428"/>
                  </a:lnTo>
                  <a:lnTo>
                    <a:pt x="781" y="1431"/>
                  </a:lnTo>
                  <a:lnTo>
                    <a:pt x="781" y="1433"/>
                  </a:lnTo>
                  <a:lnTo>
                    <a:pt x="782" y="1434"/>
                  </a:lnTo>
                  <a:lnTo>
                    <a:pt x="782" y="1432"/>
                  </a:lnTo>
                  <a:lnTo>
                    <a:pt x="782" y="1427"/>
                  </a:lnTo>
                  <a:lnTo>
                    <a:pt x="783" y="1418"/>
                  </a:lnTo>
                  <a:lnTo>
                    <a:pt x="783" y="1407"/>
                  </a:lnTo>
                  <a:lnTo>
                    <a:pt x="784" y="1394"/>
                  </a:lnTo>
                  <a:lnTo>
                    <a:pt x="786" y="1377"/>
                  </a:lnTo>
                  <a:lnTo>
                    <a:pt x="788" y="1358"/>
                  </a:lnTo>
                  <a:lnTo>
                    <a:pt x="790" y="1337"/>
                  </a:lnTo>
                  <a:lnTo>
                    <a:pt x="792" y="1313"/>
                  </a:lnTo>
                  <a:lnTo>
                    <a:pt x="795" y="1288"/>
                  </a:lnTo>
                  <a:lnTo>
                    <a:pt x="799" y="1261"/>
                  </a:lnTo>
                  <a:lnTo>
                    <a:pt x="803" y="1231"/>
                  </a:lnTo>
                  <a:lnTo>
                    <a:pt x="808" y="1201"/>
                  </a:lnTo>
                  <a:lnTo>
                    <a:pt x="813" y="1169"/>
                  </a:lnTo>
                  <a:lnTo>
                    <a:pt x="818" y="1136"/>
                  </a:lnTo>
                  <a:lnTo>
                    <a:pt x="824" y="1102"/>
                  </a:lnTo>
                  <a:lnTo>
                    <a:pt x="839" y="1032"/>
                  </a:lnTo>
                  <a:lnTo>
                    <a:pt x="856" y="960"/>
                  </a:lnTo>
                  <a:lnTo>
                    <a:pt x="876" y="888"/>
                  </a:lnTo>
                  <a:lnTo>
                    <a:pt x="900" y="816"/>
                  </a:lnTo>
                  <a:lnTo>
                    <a:pt x="927" y="746"/>
                  </a:lnTo>
                  <a:lnTo>
                    <a:pt x="942" y="712"/>
                  </a:lnTo>
                  <a:lnTo>
                    <a:pt x="958" y="679"/>
                  </a:lnTo>
                  <a:lnTo>
                    <a:pt x="974" y="647"/>
                  </a:lnTo>
                  <a:lnTo>
                    <a:pt x="993" y="617"/>
                  </a:lnTo>
                  <a:lnTo>
                    <a:pt x="1011" y="588"/>
                  </a:lnTo>
                  <a:lnTo>
                    <a:pt x="1031" y="561"/>
                  </a:lnTo>
                  <a:lnTo>
                    <a:pt x="1055" y="533"/>
                  </a:lnTo>
                  <a:lnTo>
                    <a:pt x="1080" y="506"/>
                  </a:lnTo>
                  <a:lnTo>
                    <a:pt x="1107" y="480"/>
                  </a:lnTo>
                  <a:lnTo>
                    <a:pt x="1136" y="455"/>
                  </a:lnTo>
                  <a:lnTo>
                    <a:pt x="1165" y="433"/>
                  </a:lnTo>
                  <a:lnTo>
                    <a:pt x="1196" y="410"/>
                  </a:lnTo>
                  <a:lnTo>
                    <a:pt x="1228" y="389"/>
                  </a:lnTo>
                  <a:lnTo>
                    <a:pt x="1261" y="370"/>
                  </a:lnTo>
                  <a:lnTo>
                    <a:pt x="1295" y="351"/>
                  </a:lnTo>
                  <a:lnTo>
                    <a:pt x="1330" y="334"/>
                  </a:lnTo>
                  <a:lnTo>
                    <a:pt x="1403" y="302"/>
                  </a:lnTo>
                  <a:lnTo>
                    <a:pt x="1481" y="274"/>
                  </a:lnTo>
                  <a:lnTo>
                    <a:pt x="1560" y="249"/>
                  </a:lnTo>
                  <a:lnTo>
                    <a:pt x="1603" y="236"/>
                  </a:lnTo>
                  <a:lnTo>
                    <a:pt x="1646" y="221"/>
                  </a:lnTo>
                  <a:lnTo>
                    <a:pt x="1690" y="203"/>
                  </a:lnTo>
                  <a:lnTo>
                    <a:pt x="1736" y="184"/>
                  </a:lnTo>
                  <a:lnTo>
                    <a:pt x="1780" y="164"/>
                  </a:lnTo>
                  <a:lnTo>
                    <a:pt x="1825" y="143"/>
                  </a:lnTo>
                  <a:lnTo>
                    <a:pt x="1867" y="122"/>
                  </a:lnTo>
                  <a:lnTo>
                    <a:pt x="1907" y="101"/>
                  </a:lnTo>
                  <a:lnTo>
                    <a:pt x="1945" y="81"/>
                  </a:lnTo>
                  <a:lnTo>
                    <a:pt x="1981" y="63"/>
                  </a:lnTo>
                  <a:lnTo>
                    <a:pt x="1996" y="54"/>
                  </a:lnTo>
                  <a:lnTo>
                    <a:pt x="2012" y="45"/>
                  </a:lnTo>
                  <a:lnTo>
                    <a:pt x="2026" y="37"/>
                  </a:lnTo>
                  <a:lnTo>
                    <a:pt x="2038" y="30"/>
                  </a:lnTo>
                  <a:lnTo>
                    <a:pt x="2050" y="24"/>
                  </a:lnTo>
                  <a:lnTo>
                    <a:pt x="2060" y="18"/>
                  </a:lnTo>
                  <a:lnTo>
                    <a:pt x="2069" y="12"/>
                  </a:lnTo>
                  <a:lnTo>
                    <a:pt x="2077" y="8"/>
                  </a:lnTo>
                  <a:lnTo>
                    <a:pt x="2083" y="4"/>
                  </a:lnTo>
                  <a:lnTo>
                    <a:pt x="2087" y="2"/>
                  </a:lnTo>
                  <a:lnTo>
                    <a:pt x="2090" y="0"/>
                  </a:lnTo>
                  <a:lnTo>
                    <a:pt x="2090" y="0"/>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ctr"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chemeClr val="tx2"/>
                </a:solidFill>
                <a:effectLst/>
                <a:uLnTx/>
                <a:uFillTx/>
              </a:endParaRPr>
            </a:p>
          </p:txBody>
        </p:sp>
      </p:grpSp>
      <p:cxnSp>
        <p:nvCxnSpPr>
          <p:cNvPr id="78" name="Straight Arrow Connector 77"/>
          <p:cNvCxnSpPr/>
          <p:nvPr/>
        </p:nvCxnSpPr>
        <p:spPr>
          <a:xfrm flipH="1" flipV="1">
            <a:off x="6666062" y="4300914"/>
            <a:ext cx="9058" cy="948552"/>
          </a:xfrm>
          <a:prstGeom prst="straightConnector1">
            <a:avLst/>
          </a:prstGeom>
          <a:ln w="38100" cmpd="sng">
            <a:solidFill>
              <a:schemeClr val="accent1"/>
            </a:solidFill>
            <a:prstDash val="sysDash"/>
            <a:headEnd type="triangle"/>
            <a:tailEnd type="triangle" w="lg" len="med"/>
          </a:ln>
        </p:spPr>
        <p:style>
          <a:lnRef idx="1">
            <a:schemeClr val="accent1"/>
          </a:lnRef>
          <a:fillRef idx="0">
            <a:schemeClr val="accent1"/>
          </a:fillRef>
          <a:effectRef idx="0">
            <a:schemeClr val="accent1"/>
          </a:effectRef>
          <a:fontRef idx="minor">
            <a:schemeClr val="tx1"/>
          </a:fontRef>
        </p:style>
      </p:cxnSp>
      <p:pic>
        <p:nvPicPr>
          <p:cNvPr id="86" name="Graphic 1"/>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8671212" y="3111551"/>
            <a:ext cx="583610" cy="583610"/>
          </a:xfrm>
          <a:prstGeom prst="rect">
            <a:avLst/>
          </a:prstGeom>
        </p:spPr>
      </p:pic>
      <p:sp>
        <p:nvSpPr>
          <p:cNvPr id="88" name="Rectangle 87"/>
          <p:cNvSpPr/>
          <p:nvPr/>
        </p:nvSpPr>
        <p:spPr>
          <a:xfrm>
            <a:off x="8509035" y="3624718"/>
            <a:ext cx="907964" cy="46166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marL="0" marR="0" lvl="0" indent="0" algn="ctr" defTabSz="914225"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chemeClr val="tx2"/>
                </a:solidFill>
                <a:effectLst/>
                <a:uLnTx/>
                <a:uFillTx/>
              </a:rPr>
              <a:t>SQL DB/DW</a:t>
            </a:r>
          </a:p>
        </p:txBody>
      </p:sp>
      <p:sp>
        <p:nvSpPr>
          <p:cNvPr id="118" name="Rectangle 117"/>
          <p:cNvSpPr/>
          <p:nvPr/>
        </p:nvSpPr>
        <p:spPr>
          <a:xfrm>
            <a:off x="3814739" y="4192018"/>
            <a:ext cx="1296498" cy="46165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45713" rIns="91427" bIns="45713" numCol="1" spcCol="0" rtlCol="0" fromWordArt="0" anchor="b" anchorCtr="0" forceAA="0" compatLnSpc="1">
            <a:prstTxWarp prst="textNoShape">
              <a:avLst/>
            </a:prstTxWarp>
            <a:spAutoFit/>
          </a:bodyPr>
          <a:lstStyle/>
          <a:p>
            <a:pPr marL="0" marR="0" lvl="0" indent="0" algn="ctr" defTabSz="914225"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chemeClr val="tx2"/>
                </a:solidFill>
                <a:effectLst/>
                <a:uLnTx/>
                <a:uFillTx/>
              </a:rPr>
              <a:t>Azure Data Factory DMG</a:t>
            </a:r>
          </a:p>
        </p:txBody>
      </p:sp>
      <p:pic>
        <p:nvPicPr>
          <p:cNvPr id="128" name="Graphic 5"/>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4286910" y="3839861"/>
            <a:ext cx="352157" cy="352157"/>
          </a:xfrm>
          <a:prstGeom prst="rect">
            <a:avLst/>
          </a:prstGeom>
        </p:spPr>
      </p:pic>
      <p:sp>
        <p:nvSpPr>
          <p:cNvPr id="129" name="Rectangle 128"/>
          <p:cNvSpPr/>
          <p:nvPr/>
        </p:nvSpPr>
        <p:spPr>
          <a:xfrm>
            <a:off x="7112672" y="4322490"/>
            <a:ext cx="1174996" cy="27698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45713" rIns="91427" bIns="45713" numCol="1" spcCol="0" rtlCol="0" fromWordArt="0" anchor="b" anchorCtr="0" forceAA="0" compatLnSpc="1">
            <a:prstTxWarp prst="textNoShape">
              <a:avLst/>
            </a:prstTxWarp>
            <a:spAutoFit/>
          </a:bodyPr>
          <a:lstStyle/>
          <a:p>
            <a:pPr marL="0" marR="0" lvl="0" indent="0" algn="ctr" defTabSz="914225"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chemeClr val="tx2"/>
                </a:solidFill>
                <a:effectLst/>
                <a:uLnTx/>
                <a:uFillTx/>
              </a:rPr>
              <a:t>Data Factory</a:t>
            </a:r>
          </a:p>
        </p:txBody>
      </p:sp>
      <p:pic>
        <p:nvPicPr>
          <p:cNvPr id="130" name="Graphic 5"/>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7506839" y="3922196"/>
            <a:ext cx="352157" cy="352157"/>
          </a:xfrm>
          <a:prstGeom prst="rect">
            <a:avLst/>
          </a:prstGeom>
        </p:spPr>
      </p:pic>
      <p:sp>
        <p:nvSpPr>
          <p:cNvPr id="131" name="Rectangle 130"/>
          <p:cNvSpPr/>
          <p:nvPr/>
        </p:nvSpPr>
        <p:spPr>
          <a:xfrm>
            <a:off x="5872673" y="2041317"/>
            <a:ext cx="1178706" cy="27698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45713" rIns="91427" bIns="45713" numCol="1" spcCol="0" rtlCol="0" fromWordArt="0" anchor="b" anchorCtr="0" forceAA="0" compatLnSpc="1">
            <a:prstTxWarp prst="textNoShape">
              <a:avLst/>
            </a:prstTxWarp>
            <a:spAutoFit/>
          </a:bodyPr>
          <a:lstStyle/>
          <a:p>
            <a:pPr marL="0" marR="0" lvl="0" indent="0" algn="ctr" defTabSz="914225"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chemeClr val="tx2"/>
                </a:solidFill>
                <a:effectLst/>
                <a:uLnTx/>
                <a:uFillTx/>
              </a:rPr>
              <a:t>ADL Analytics</a:t>
            </a:r>
          </a:p>
        </p:txBody>
      </p:sp>
      <p:sp>
        <p:nvSpPr>
          <p:cNvPr id="132" name="Rectangle 131"/>
          <p:cNvSpPr/>
          <p:nvPr/>
        </p:nvSpPr>
        <p:spPr>
          <a:xfrm>
            <a:off x="3723662" y="2350315"/>
            <a:ext cx="1214522" cy="27698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spAutoFit/>
          </a:bodyPr>
          <a:lstStyle/>
          <a:p>
            <a:pPr marL="0" marR="0" lvl="0" indent="0" algn="ctr" defTabSz="914225"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chemeClr val="tx2"/>
                </a:solidFill>
                <a:effectLst/>
                <a:uLnTx/>
                <a:uFillTx/>
              </a:rPr>
              <a:t>Alerts</a:t>
            </a:r>
          </a:p>
        </p:txBody>
      </p:sp>
      <p:grpSp>
        <p:nvGrpSpPr>
          <p:cNvPr id="133" name="Group 132"/>
          <p:cNvGrpSpPr/>
          <p:nvPr/>
        </p:nvGrpSpPr>
        <p:grpSpPr>
          <a:xfrm>
            <a:off x="5300610" y="1895006"/>
            <a:ext cx="572064" cy="569606"/>
            <a:chOff x="2148168" y="645460"/>
            <a:chExt cx="2587625" cy="2576512"/>
          </a:xfrm>
        </p:grpSpPr>
        <p:sp>
          <p:nvSpPr>
            <p:cNvPr id="134" name="Freeform 19"/>
            <p:cNvSpPr>
              <a:spLocks noEditPoints="1"/>
            </p:cNvSpPr>
            <p:nvPr/>
          </p:nvSpPr>
          <p:spPr bwMode="auto">
            <a:xfrm>
              <a:off x="2364069" y="861361"/>
              <a:ext cx="2154236" cy="2149475"/>
            </a:xfrm>
            <a:custGeom>
              <a:avLst/>
              <a:gdLst>
                <a:gd name="T0" fmla="*/ 14609 w 16392"/>
                <a:gd name="T1" fmla="*/ 16392 h 16392"/>
                <a:gd name="T2" fmla="*/ 1782 w 16392"/>
                <a:gd name="T3" fmla="*/ 16392 h 16392"/>
                <a:gd name="T4" fmla="*/ 0 w 16392"/>
                <a:gd name="T5" fmla="*/ 14610 h 16392"/>
                <a:gd name="T6" fmla="*/ 0 w 16392"/>
                <a:gd name="T7" fmla="*/ 1782 h 16392"/>
                <a:gd name="T8" fmla="*/ 1782 w 16392"/>
                <a:gd name="T9" fmla="*/ 0 h 16392"/>
                <a:gd name="T10" fmla="*/ 14609 w 16392"/>
                <a:gd name="T11" fmla="*/ 0 h 16392"/>
                <a:gd name="T12" fmla="*/ 16392 w 16392"/>
                <a:gd name="T13" fmla="*/ 1782 h 16392"/>
                <a:gd name="T14" fmla="*/ 16392 w 16392"/>
                <a:gd name="T15" fmla="*/ 14610 h 16392"/>
                <a:gd name="T16" fmla="*/ 14609 w 16392"/>
                <a:gd name="T17" fmla="*/ 16392 h 16392"/>
                <a:gd name="T18" fmla="*/ 1782 w 16392"/>
                <a:gd name="T19" fmla="*/ 1175 h 16392"/>
                <a:gd name="T20" fmla="*/ 1194 w 16392"/>
                <a:gd name="T21" fmla="*/ 1763 h 16392"/>
                <a:gd name="T22" fmla="*/ 1194 w 16392"/>
                <a:gd name="T23" fmla="*/ 14590 h 16392"/>
                <a:gd name="T24" fmla="*/ 1782 w 16392"/>
                <a:gd name="T25" fmla="*/ 15178 h 16392"/>
                <a:gd name="T26" fmla="*/ 14609 w 16392"/>
                <a:gd name="T27" fmla="*/ 15178 h 16392"/>
                <a:gd name="T28" fmla="*/ 15197 w 16392"/>
                <a:gd name="T29" fmla="*/ 14590 h 16392"/>
                <a:gd name="T30" fmla="*/ 15197 w 16392"/>
                <a:gd name="T31" fmla="*/ 1763 h 16392"/>
                <a:gd name="T32" fmla="*/ 14609 w 16392"/>
                <a:gd name="T33" fmla="*/ 1175 h 16392"/>
                <a:gd name="T34" fmla="*/ 1782 w 16392"/>
                <a:gd name="T35" fmla="*/ 1175 h 16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6392" h="16392">
                  <a:moveTo>
                    <a:pt x="14609" y="16392"/>
                  </a:moveTo>
                  <a:lnTo>
                    <a:pt x="1782" y="16392"/>
                  </a:lnTo>
                  <a:cubicBezTo>
                    <a:pt x="803" y="16392"/>
                    <a:pt x="0" y="15589"/>
                    <a:pt x="0" y="14610"/>
                  </a:cubicBezTo>
                  <a:lnTo>
                    <a:pt x="0" y="1782"/>
                  </a:lnTo>
                  <a:cubicBezTo>
                    <a:pt x="0" y="803"/>
                    <a:pt x="803" y="0"/>
                    <a:pt x="1782" y="0"/>
                  </a:cubicBezTo>
                  <a:lnTo>
                    <a:pt x="14609" y="0"/>
                  </a:lnTo>
                  <a:cubicBezTo>
                    <a:pt x="15589" y="0"/>
                    <a:pt x="16392" y="803"/>
                    <a:pt x="16392" y="1782"/>
                  </a:cubicBezTo>
                  <a:lnTo>
                    <a:pt x="16392" y="14610"/>
                  </a:lnTo>
                  <a:cubicBezTo>
                    <a:pt x="16392" y="15589"/>
                    <a:pt x="15589" y="16392"/>
                    <a:pt x="14609" y="16392"/>
                  </a:cubicBezTo>
                  <a:close/>
                  <a:moveTo>
                    <a:pt x="1782" y="1175"/>
                  </a:moveTo>
                  <a:cubicBezTo>
                    <a:pt x="1449" y="1175"/>
                    <a:pt x="1194" y="1449"/>
                    <a:pt x="1194" y="1763"/>
                  </a:cubicBezTo>
                  <a:lnTo>
                    <a:pt x="1194" y="14590"/>
                  </a:lnTo>
                  <a:cubicBezTo>
                    <a:pt x="1194" y="14923"/>
                    <a:pt x="1469" y="15178"/>
                    <a:pt x="1782" y="15178"/>
                  </a:cubicBezTo>
                  <a:lnTo>
                    <a:pt x="14609" y="15178"/>
                  </a:lnTo>
                  <a:cubicBezTo>
                    <a:pt x="14942" y="15178"/>
                    <a:pt x="15197" y="14904"/>
                    <a:pt x="15197" y="14590"/>
                  </a:cubicBezTo>
                  <a:lnTo>
                    <a:pt x="15197" y="1763"/>
                  </a:lnTo>
                  <a:cubicBezTo>
                    <a:pt x="15197" y="1430"/>
                    <a:pt x="14923" y="1175"/>
                    <a:pt x="14609" y="1175"/>
                  </a:cubicBezTo>
                  <a:lnTo>
                    <a:pt x="1782" y="1175"/>
                  </a:lnTo>
                  <a:close/>
                </a:path>
              </a:pathLst>
            </a:custGeom>
            <a:solidFill>
              <a:srgbClr val="A0A1A2"/>
            </a:solidFill>
            <a:ln w="0">
              <a:noFill/>
              <a:prstDash val="solid"/>
              <a:round/>
              <a:headEnd/>
              <a:tailEnd/>
            </a:ln>
          </p:spPr>
          <p:txBody>
            <a:bodyPr vert="horz" wrap="square" lIns="91427" tIns="45713" rIns="91427" bIns="4571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schemeClr val="tx2"/>
                </a:solidFill>
                <a:effectLst/>
                <a:uLnTx/>
                <a:uFillTx/>
              </a:endParaRPr>
            </a:p>
          </p:txBody>
        </p:sp>
        <p:sp>
          <p:nvSpPr>
            <p:cNvPr id="135" name="Freeform 20"/>
            <p:cNvSpPr>
              <a:spLocks/>
            </p:cNvSpPr>
            <p:nvPr/>
          </p:nvSpPr>
          <p:spPr bwMode="auto">
            <a:xfrm>
              <a:off x="2860955" y="645460"/>
              <a:ext cx="758827" cy="220663"/>
            </a:xfrm>
            <a:custGeom>
              <a:avLst/>
              <a:gdLst>
                <a:gd name="T0" fmla="*/ 2683 w 5778"/>
                <a:gd name="T1" fmla="*/ 235 h 1684"/>
                <a:gd name="T2" fmla="*/ 1293 w 5778"/>
                <a:gd name="T3" fmla="*/ 176 h 1684"/>
                <a:gd name="T4" fmla="*/ 275 w 5778"/>
                <a:gd name="T5" fmla="*/ 1116 h 1684"/>
                <a:gd name="T6" fmla="*/ 0 w 5778"/>
                <a:gd name="T7" fmla="*/ 1684 h 1684"/>
                <a:gd name="T8" fmla="*/ 5778 w 5778"/>
                <a:gd name="T9" fmla="*/ 1684 h 1684"/>
                <a:gd name="T10" fmla="*/ 2683 w 5778"/>
                <a:gd name="T11" fmla="*/ 235 h 1684"/>
              </a:gdLst>
              <a:ahLst/>
              <a:cxnLst>
                <a:cxn ang="0">
                  <a:pos x="T0" y="T1"/>
                </a:cxn>
                <a:cxn ang="0">
                  <a:pos x="T2" y="T3"/>
                </a:cxn>
                <a:cxn ang="0">
                  <a:pos x="T4" y="T5"/>
                </a:cxn>
                <a:cxn ang="0">
                  <a:pos x="T6" y="T7"/>
                </a:cxn>
                <a:cxn ang="0">
                  <a:pos x="T8" y="T9"/>
                </a:cxn>
                <a:cxn ang="0">
                  <a:pos x="T10" y="T11"/>
                </a:cxn>
              </a:cxnLst>
              <a:rect l="0" t="0" r="r" b="b"/>
              <a:pathLst>
                <a:path w="5778" h="1684">
                  <a:moveTo>
                    <a:pt x="2683" y="235"/>
                  </a:moveTo>
                  <a:cubicBezTo>
                    <a:pt x="2253" y="39"/>
                    <a:pt x="1743" y="0"/>
                    <a:pt x="1293" y="176"/>
                  </a:cubicBezTo>
                  <a:cubicBezTo>
                    <a:pt x="843" y="333"/>
                    <a:pt x="471" y="666"/>
                    <a:pt x="275" y="1116"/>
                  </a:cubicBezTo>
                  <a:lnTo>
                    <a:pt x="0" y="1684"/>
                  </a:lnTo>
                  <a:lnTo>
                    <a:pt x="5778" y="1684"/>
                  </a:lnTo>
                  <a:lnTo>
                    <a:pt x="2683" y="235"/>
                  </a:lnTo>
                  <a:close/>
                </a:path>
              </a:pathLst>
            </a:custGeom>
            <a:solidFill>
              <a:srgbClr val="7A7A7A"/>
            </a:solidFill>
            <a:ln w="0">
              <a:noFill/>
              <a:prstDash val="solid"/>
              <a:round/>
              <a:headEnd/>
              <a:tailEnd/>
            </a:ln>
          </p:spPr>
          <p:txBody>
            <a:bodyPr vert="horz" wrap="square" lIns="91427" tIns="45713" rIns="91427" bIns="4571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schemeClr val="tx2"/>
                </a:solidFill>
                <a:effectLst/>
                <a:uLnTx/>
                <a:uFillTx/>
              </a:endParaRPr>
            </a:p>
          </p:txBody>
        </p:sp>
        <p:sp>
          <p:nvSpPr>
            <p:cNvPr id="136" name="Freeform 21"/>
            <p:cNvSpPr>
              <a:spLocks/>
            </p:cNvSpPr>
            <p:nvPr/>
          </p:nvSpPr>
          <p:spPr bwMode="auto">
            <a:xfrm>
              <a:off x="4515130" y="1356661"/>
              <a:ext cx="220663" cy="760413"/>
            </a:xfrm>
            <a:custGeom>
              <a:avLst/>
              <a:gdLst>
                <a:gd name="T0" fmla="*/ 1508 w 1684"/>
                <a:gd name="T1" fmla="*/ 1292 h 5797"/>
                <a:gd name="T2" fmla="*/ 568 w 1684"/>
                <a:gd name="T3" fmla="*/ 274 h 5797"/>
                <a:gd name="T4" fmla="*/ 0 w 1684"/>
                <a:gd name="T5" fmla="*/ 0 h 5797"/>
                <a:gd name="T6" fmla="*/ 0 w 1684"/>
                <a:gd name="T7" fmla="*/ 5797 h 5797"/>
                <a:gd name="T8" fmla="*/ 1449 w 1684"/>
                <a:gd name="T9" fmla="*/ 2702 h 5797"/>
                <a:gd name="T10" fmla="*/ 1508 w 1684"/>
                <a:gd name="T11" fmla="*/ 1292 h 5797"/>
              </a:gdLst>
              <a:ahLst/>
              <a:cxnLst>
                <a:cxn ang="0">
                  <a:pos x="T0" y="T1"/>
                </a:cxn>
                <a:cxn ang="0">
                  <a:pos x="T2" y="T3"/>
                </a:cxn>
                <a:cxn ang="0">
                  <a:pos x="T4" y="T5"/>
                </a:cxn>
                <a:cxn ang="0">
                  <a:pos x="T6" y="T7"/>
                </a:cxn>
                <a:cxn ang="0">
                  <a:pos x="T8" y="T9"/>
                </a:cxn>
                <a:cxn ang="0">
                  <a:pos x="T10" y="T11"/>
                </a:cxn>
              </a:cxnLst>
              <a:rect l="0" t="0" r="r" b="b"/>
              <a:pathLst>
                <a:path w="1684" h="5797">
                  <a:moveTo>
                    <a:pt x="1508" y="1292"/>
                  </a:moveTo>
                  <a:cubicBezTo>
                    <a:pt x="1351" y="842"/>
                    <a:pt x="1018" y="470"/>
                    <a:pt x="568" y="274"/>
                  </a:cubicBezTo>
                  <a:lnTo>
                    <a:pt x="0" y="0"/>
                  </a:lnTo>
                  <a:lnTo>
                    <a:pt x="0" y="5797"/>
                  </a:lnTo>
                  <a:lnTo>
                    <a:pt x="1449" y="2702"/>
                  </a:lnTo>
                  <a:cubicBezTo>
                    <a:pt x="1665" y="2252"/>
                    <a:pt x="1684" y="1762"/>
                    <a:pt x="1508" y="1292"/>
                  </a:cubicBezTo>
                  <a:close/>
                </a:path>
              </a:pathLst>
            </a:custGeom>
            <a:solidFill>
              <a:srgbClr val="7A7A7A"/>
            </a:solidFill>
            <a:ln w="0">
              <a:noFill/>
              <a:prstDash val="solid"/>
              <a:round/>
              <a:headEnd/>
              <a:tailEnd/>
            </a:ln>
          </p:spPr>
          <p:txBody>
            <a:bodyPr vert="horz" wrap="square" lIns="91427" tIns="45713" rIns="91427" bIns="4571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schemeClr val="tx2"/>
                </a:solidFill>
                <a:effectLst/>
                <a:uLnTx/>
                <a:uFillTx/>
              </a:endParaRPr>
            </a:p>
          </p:txBody>
        </p:sp>
        <p:sp>
          <p:nvSpPr>
            <p:cNvPr id="137" name="Freeform 22"/>
            <p:cNvSpPr>
              <a:spLocks/>
            </p:cNvSpPr>
            <p:nvPr/>
          </p:nvSpPr>
          <p:spPr bwMode="auto">
            <a:xfrm>
              <a:off x="2148168" y="1934509"/>
              <a:ext cx="222249" cy="758827"/>
            </a:xfrm>
            <a:custGeom>
              <a:avLst/>
              <a:gdLst>
                <a:gd name="T0" fmla="*/ 235 w 1684"/>
                <a:gd name="T1" fmla="*/ 3095 h 5778"/>
                <a:gd name="T2" fmla="*/ 176 w 1684"/>
                <a:gd name="T3" fmla="*/ 4485 h 5778"/>
                <a:gd name="T4" fmla="*/ 1116 w 1684"/>
                <a:gd name="T5" fmla="*/ 5503 h 5778"/>
                <a:gd name="T6" fmla="*/ 1684 w 1684"/>
                <a:gd name="T7" fmla="*/ 5778 h 5778"/>
                <a:gd name="T8" fmla="*/ 1684 w 1684"/>
                <a:gd name="T9" fmla="*/ 0 h 5778"/>
                <a:gd name="T10" fmla="*/ 235 w 1684"/>
                <a:gd name="T11" fmla="*/ 3095 h 5778"/>
              </a:gdLst>
              <a:ahLst/>
              <a:cxnLst>
                <a:cxn ang="0">
                  <a:pos x="T0" y="T1"/>
                </a:cxn>
                <a:cxn ang="0">
                  <a:pos x="T2" y="T3"/>
                </a:cxn>
                <a:cxn ang="0">
                  <a:pos x="T4" y="T5"/>
                </a:cxn>
                <a:cxn ang="0">
                  <a:pos x="T6" y="T7"/>
                </a:cxn>
                <a:cxn ang="0">
                  <a:pos x="T8" y="T9"/>
                </a:cxn>
                <a:cxn ang="0">
                  <a:pos x="T10" y="T11"/>
                </a:cxn>
              </a:cxnLst>
              <a:rect l="0" t="0" r="r" b="b"/>
              <a:pathLst>
                <a:path w="1684" h="5778">
                  <a:moveTo>
                    <a:pt x="235" y="3095"/>
                  </a:moveTo>
                  <a:cubicBezTo>
                    <a:pt x="39" y="3525"/>
                    <a:pt x="0" y="4035"/>
                    <a:pt x="176" y="4485"/>
                  </a:cubicBezTo>
                  <a:cubicBezTo>
                    <a:pt x="333" y="4935"/>
                    <a:pt x="666" y="5308"/>
                    <a:pt x="1116" y="5503"/>
                  </a:cubicBezTo>
                  <a:lnTo>
                    <a:pt x="1684" y="5778"/>
                  </a:lnTo>
                  <a:lnTo>
                    <a:pt x="1684" y="0"/>
                  </a:lnTo>
                  <a:lnTo>
                    <a:pt x="235" y="3095"/>
                  </a:lnTo>
                  <a:close/>
                </a:path>
              </a:pathLst>
            </a:custGeom>
            <a:solidFill>
              <a:srgbClr val="7A7A7A"/>
            </a:solidFill>
            <a:ln w="0">
              <a:noFill/>
              <a:prstDash val="solid"/>
              <a:round/>
              <a:headEnd/>
              <a:tailEnd/>
            </a:ln>
          </p:spPr>
          <p:txBody>
            <a:bodyPr vert="horz" wrap="square" lIns="91427" tIns="45713" rIns="91427" bIns="4571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schemeClr val="tx2"/>
                </a:solidFill>
                <a:effectLst/>
                <a:uLnTx/>
                <a:uFillTx/>
              </a:endParaRPr>
            </a:p>
          </p:txBody>
        </p:sp>
        <p:sp>
          <p:nvSpPr>
            <p:cNvPr id="138" name="Freeform 23"/>
            <p:cNvSpPr>
              <a:spLocks/>
            </p:cNvSpPr>
            <p:nvPr/>
          </p:nvSpPr>
          <p:spPr bwMode="auto">
            <a:xfrm>
              <a:off x="3440393" y="3009246"/>
              <a:ext cx="758827" cy="212726"/>
            </a:xfrm>
            <a:custGeom>
              <a:avLst/>
              <a:gdLst>
                <a:gd name="T0" fmla="*/ 3094 w 5777"/>
                <a:gd name="T1" fmla="*/ 1450 h 1626"/>
                <a:gd name="T2" fmla="*/ 3858 w 5777"/>
                <a:gd name="T3" fmla="*/ 1626 h 1626"/>
                <a:gd name="T4" fmla="*/ 4485 w 5777"/>
                <a:gd name="T5" fmla="*/ 1508 h 1626"/>
                <a:gd name="T6" fmla="*/ 5503 w 5777"/>
                <a:gd name="T7" fmla="*/ 568 h 1626"/>
                <a:gd name="T8" fmla="*/ 5777 w 5777"/>
                <a:gd name="T9" fmla="*/ 0 h 1626"/>
                <a:gd name="T10" fmla="*/ 0 w 5777"/>
                <a:gd name="T11" fmla="*/ 0 h 1626"/>
                <a:gd name="T12" fmla="*/ 3094 w 5777"/>
                <a:gd name="T13" fmla="*/ 1450 h 1626"/>
              </a:gdLst>
              <a:ahLst/>
              <a:cxnLst>
                <a:cxn ang="0">
                  <a:pos x="T0" y="T1"/>
                </a:cxn>
                <a:cxn ang="0">
                  <a:pos x="T2" y="T3"/>
                </a:cxn>
                <a:cxn ang="0">
                  <a:pos x="T4" y="T5"/>
                </a:cxn>
                <a:cxn ang="0">
                  <a:pos x="T6" y="T7"/>
                </a:cxn>
                <a:cxn ang="0">
                  <a:pos x="T8" y="T9"/>
                </a:cxn>
                <a:cxn ang="0">
                  <a:pos x="T10" y="T11"/>
                </a:cxn>
                <a:cxn ang="0">
                  <a:pos x="T12" y="T13"/>
                </a:cxn>
              </a:cxnLst>
              <a:rect l="0" t="0" r="r" b="b"/>
              <a:pathLst>
                <a:path w="5777" h="1626">
                  <a:moveTo>
                    <a:pt x="3094" y="1450"/>
                  </a:moveTo>
                  <a:cubicBezTo>
                    <a:pt x="3329" y="1567"/>
                    <a:pt x="3603" y="1626"/>
                    <a:pt x="3858" y="1626"/>
                  </a:cubicBezTo>
                  <a:cubicBezTo>
                    <a:pt x="4073" y="1626"/>
                    <a:pt x="4269" y="1587"/>
                    <a:pt x="4485" y="1508"/>
                  </a:cubicBezTo>
                  <a:cubicBezTo>
                    <a:pt x="4935" y="1352"/>
                    <a:pt x="5307" y="1019"/>
                    <a:pt x="5503" y="568"/>
                  </a:cubicBezTo>
                  <a:lnTo>
                    <a:pt x="5777" y="0"/>
                  </a:lnTo>
                  <a:lnTo>
                    <a:pt x="0" y="0"/>
                  </a:lnTo>
                  <a:lnTo>
                    <a:pt x="3094" y="1450"/>
                  </a:lnTo>
                  <a:close/>
                </a:path>
              </a:pathLst>
            </a:custGeom>
            <a:solidFill>
              <a:srgbClr val="7A7A7A"/>
            </a:solidFill>
            <a:ln w="0">
              <a:noFill/>
              <a:prstDash val="solid"/>
              <a:round/>
              <a:headEnd/>
              <a:tailEnd/>
            </a:ln>
          </p:spPr>
          <p:txBody>
            <a:bodyPr vert="horz" wrap="square" lIns="91427" tIns="45713" rIns="91427" bIns="4571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schemeClr val="tx2"/>
                </a:solidFill>
                <a:effectLst/>
                <a:uLnTx/>
                <a:uFillTx/>
              </a:endParaRPr>
            </a:p>
          </p:txBody>
        </p:sp>
        <p:sp>
          <p:nvSpPr>
            <p:cNvPr id="139" name="Freeform 24"/>
            <p:cNvSpPr>
              <a:spLocks/>
            </p:cNvSpPr>
            <p:nvPr/>
          </p:nvSpPr>
          <p:spPr bwMode="auto">
            <a:xfrm>
              <a:off x="2521232" y="1015348"/>
              <a:ext cx="1839912" cy="1836736"/>
            </a:xfrm>
            <a:custGeom>
              <a:avLst/>
              <a:gdLst>
                <a:gd name="T0" fmla="*/ 588 w 14003"/>
                <a:gd name="T1" fmla="*/ 0 h 14003"/>
                <a:gd name="T2" fmla="*/ 0 w 14003"/>
                <a:gd name="T3" fmla="*/ 588 h 14003"/>
                <a:gd name="T4" fmla="*/ 0 w 14003"/>
                <a:gd name="T5" fmla="*/ 13415 h 14003"/>
                <a:gd name="T6" fmla="*/ 588 w 14003"/>
                <a:gd name="T7" fmla="*/ 14003 h 14003"/>
                <a:gd name="T8" fmla="*/ 13415 w 14003"/>
                <a:gd name="T9" fmla="*/ 14003 h 14003"/>
                <a:gd name="T10" fmla="*/ 14003 w 14003"/>
                <a:gd name="T11" fmla="*/ 13415 h 14003"/>
                <a:gd name="T12" fmla="*/ 14003 w 14003"/>
                <a:gd name="T13" fmla="*/ 588 h 14003"/>
                <a:gd name="T14" fmla="*/ 13415 w 14003"/>
                <a:gd name="T15" fmla="*/ 0 h 14003"/>
                <a:gd name="T16" fmla="*/ 588 w 14003"/>
                <a:gd name="T17" fmla="*/ 0 h 140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003" h="14003">
                  <a:moveTo>
                    <a:pt x="588" y="0"/>
                  </a:moveTo>
                  <a:cubicBezTo>
                    <a:pt x="255" y="0"/>
                    <a:pt x="0" y="274"/>
                    <a:pt x="0" y="588"/>
                  </a:cubicBezTo>
                  <a:lnTo>
                    <a:pt x="0" y="13415"/>
                  </a:lnTo>
                  <a:cubicBezTo>
                    <a:pt x="0" y="13748"/>
                    <a:pt x="275" y="14003"/>
                    <a:pt x="588" y="14003"/>
                  </a:cubicBezTo>
                  <a:lnTo>
                    <a:pt x="13415" y="14003"/>
                  </a:lnTo>
                  <a:cubicBezTo>
                    <a:pt x="13748" y="14003"/>
                    <a:pt x="14003" y="13729"/>
                    <a:pt x="14003" y="13415"/>
                  </a:cubicBezTo>
                  <a:lnTo>
                    <a:pt x="14003" y="588"/>
                  </a:lnTo>
                  <a:cubicBezTo>
                    <a:pt x="14003" y="255"/>
                    <a:pt x="13729" y="0"/>
                    <a:pt x="13415" y="0"/>
                  </a:cubicBezTo>
                  <a:lnTo>
                    <a:pt x="588" y="0"/>
                  </a:lnTo>
                  <a:close/>
                </a:path>
              </a:pathLst>
            </a:custGeom>
            <a:solidFill>
              <a:srgbClr val="FFFFFF"/>
            </a:solidFill>
            <a:ln w="0">
              <a:noFill/>
              <a:prstDash val="solid"/>
              <a:round/>
              <a:headEnd/>
              <a:tailEnd/>
            </a:ln>
          </p:spPr>
          <p:txBody>
            <a:bodyPr vert="horz" wrap="square" lIns="91427" tIns="45713" rIns="91427" bIns="4571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schemeClr val="tx2"/>
                </a:solidFill>
                <a:effectLst/>
                <a:uLnTx/>
                <a:uFillTx/>
              </a:endParaRPr>
            </a:p>
          </p:txBody>
        </p:sp>
        <p:sp>
          <p:nvSpPr>
            <p:cNvPr id="140" name="Freeform 25"/>
            <p:cNvSpPr>
              <a:spLocks/>
            </p:cNvSpPr>
            <p:nvPr/>
          </p:nvSpPr>
          <p:spPr bwMode="auto">
            <a:xfrm>
              <a:off x="3046692" y="1288398"/>
              <a:ext cx="792163" cy="1311276"/>
            </a:xfrm>
            <a:custGeom>
              <a:avLst/>
              <a:gdLst>
                <a:gd name="T0" fmla="*/ 5836 w 6031"/>
                <a:gd name="T1" fmla="*/ 3721 h 10008"/>
                <a:gd name="T2" fmla="*/ 3348 w 6031"/>
                <a:gd name="T3" fmla="*/ 3721 h 10008"/>
                <a:gd name="T4" fmla="*/ 4386 w 6031"/>
                <a:gd name="T5" fmla="*/ 255 h 10008"/>
                <a:gd name="T6" fmla="*/ 4288 w 6031"/>
                <a:gd name="T7" fmla="*/ 20 h 10008"/>
                <a:gd name="T8" fmla="*/ 4210 w 6031"/>
                <a:gd name="T9" fmla="*/ 0 h 10008"/>
                <a:gd name="T10" fmla="*/ 4053 w 6031"/>
                <a:gd name="T11" fmla="*/ 78 h 10008"/>
                <a:gd name="T12" fmla="*/ 39 w 6031"/>
                <a:gd name="T13" fmla="*/ 5934 h 10008"/>
                <a:gd name="T14" fmla="*/ 19 w 6031"/>
                <a:gd name="T15" fmla="*/ 6130 h 10008"/>
                <a:gd name="T16" fmla="*/ 195 w 6031"/>
                <a:gd name="T17" fmla="*/ 6228 h 10008"/>
                <a:gd name="T18" fmla="*/ 2604 w 6031"/>
                <a:gd name="T19" fmla="*/ 6228 h 10008"/>
                <a:gd name="T20" fmla="*/ 1527 w 6031"/>
                <a:gd name="T21" fmla="*/ 9753 h 10008"/>
                <a:gd name="T22" fmla="*/ 1625 w 6031"/>
                <a:gd name="T23" fmla="*/ 9988 h 10008"/>
                <a:gd name="T24" fmla="*/ 1703 w 6031"/>
                <a:gd name="T25" fmla="*/ 10008 h 10008"/>
                <a:gd name="T26" fmla="*/ 1860 w 6031"/>
                <a:gd name="T27" fmla="*/ 9929 h 10008"/>
                <a:gd name="T28" fmla="*/ 5992 w 6031"/>
                <a:gd name="T29" fmla="*/ 4015 h 10008"/>
                <a:gd name="T30" fmla="*/ 6031 w 6031"/>
                <a:gd name="T31" fmla="*/ 3897 h 10008"/>
                <a:gd name="T32" fmla="*/ 5836 w 6031"/>
                <a:gd name="T33" fmla="*/ 3721 h 100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031" h="10008">
                  <a:moveTo>
                    <a:pt x="5836" y="3721"/>
                  </a:moveTo>
                  <a:lnTo>
                    <a:pt x="3348" y="3721"/>
                  </a:lnTo>
                  <a:lnTo>
                    <a:pt x="4386" y="255"/>
                  </a:lnTo>
                  <a:cubicBezTo>
                    <a:pt x="4406" y="157"/>
                    <a:pt x="4367" y="59"/>
                    <a:pt x="4288" y="20"/>
                  </a:cubicBezTo>
                  <a:cubicBezTo>
                    <a:pt x="4269" y="0"/>
                    <a:pt x="4230" y="0"/>
                    <a:pt x="4210" y="0"/>
                  </a:cubicBezTo>
                  <a:cubicBezTo>
                    <a:pt x="4151" y="0"/>
                    <a:pt x="4093" y="39"/>
                    <a:pt x="4053" y="78"/>
                  </a:cubicBezTo>
                  <a:lnTo>
                    <a:pt x="39" y="5934"/>
                  </a:lnTo>
                  <a:cubicBezTo>
                    <a:pt x="0" y="5993"/>
                    <a:pt x="0" y="6071"/>
                    <a:pt x="19" y="6130"/>
                  </a:cubicBezTo>
                  <a:cubicBezTo>
                    <a:pt x="58" y="6189"/>
                    <a:pt x="117" y="6228"/>
                    <a:pt x="195" y="6228"/>
                  </a:cubicBezTo>
                  <a:lnTo>
                    <a:pt x="2604" y="6228"/>
                  </a:lnTo>
                  <a:lnTo>
                    <a:pt x="1527" y="9753"/>
                  </a:lnTo>
                  <a:cubicBezTo>
                    <a:pt x="1508" y="9851"/>
                    <a:pt x="1547" y="9949"/>
                    <a:pt x="1625" y="9988"/>
                  </a:cubicBezTo>
                  <a:cubicBezTo>
                    <a:pt x="1645" y="10008"/>
                    <a:pt x="1684" y="10008"/>
                    <a:pt x="1703" y="10008"/>
                  </a:cubicBezTo>
                  <a:cubicBezTo>
                    <a:pt x="1762" y="10008"/>
                    <a:pt x="1821" y="9968"/>
                    <a:pt x="1860" y="9929"/>
                  </a:cubicBezTo>
                  <a:lnTo>
                    <a:pt x="5992" y="4015"/>
                  </a:lnTo>
                  <a:cubicBezTo>
                    <a:pt x="6012" y="3976"/>
                    <a:pt x="6031" y="3936"/>
                    <a:pt x="6031" y="3897"/>
                  </a:cubicBezTo>
                  <a:cubicBezTo>
                    <a:pt x="6031" y="3799"/>
                    <a:pt x="5933" y="3721"/>
                    <a:pt x="5836" y="3721"/>
                  </a:cubicBezTo>
                  <a:close/>
                </a:path>
              </a:pathLst>
            </a:custGeom>
            <a:solidFill>
              <a:srgbClr val="59B4D9"/>
            </a:solidFill>
            <a:ln w="0">
              <a:noFill/>
              <a:prstDash val="solid"/>
              <a:round/>
              <a:headEnd/>
              <a:tailEnd/>
            </a:ln>
          </p:spPr>
          <p:txBody>
            <a:bodyPr vert="horz" wrap="square" lIns="91427" tIns="45713" rIns="91427" bIns="4571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schemeClr val="tx2"/>
                </a:solidFill>
                <a:effectLst/>
                <a:uLnTx/>
                <a:uFillTx/>
              </a:endParaRPr>
            </a:p>
          </p:txBody>
        </p:sp>
      </p:grpSp>
      <p:sp>
        <p:nvSpPr>
          <p:cNvPr id="141" name="Rectangle 140"/>
          <p:cNvSpPr/>
          <p:nvPr/>
        </p:nvSpPr>
        <p:spPr>
          <a:xfrm>
            <a:off x="4259959" y="2041317"/>
            <a:ext cx="908302" cy="27698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45713" rIns="91427" bIns="45713" numCol="1" spcCol="0" rtlCol="0" fromWordArt="0" anchor="b" anchorCtr="0" forceAA="0" compatLnSpc="1">
            <a:prstTxWarp prst="textNoShape">
              <a:avLst/>
            </a:prstTxWarp>
            <a:spAutoFit/>
          </a:bodyPr>
          <a:lstStyle/>
          <a:p>
            <a:pPr marL="0" marR="0" lvl="0" indent="0" algn="ctr" defTabSz="914225"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chemeClr val="tx2"/>
                </a:solidFill>
                <a:effectLst/>
                <a:uLnTx/>
                <a:uFillTx/>
              </a:rPr>
              <a:t>Cleansing</a:t>
            </a:r>
          </a:p>
        </p:txBody>
      </p:sp>
      <p:grpSp>
        <p:nvGrpSpPr>
          <p:cNvPr id="142" name="Group 141"/>
          <p:cNvGrpSpPr/>
          <p:nvPr/>
        </p:nvGrpSpPr>
        <p:grpSpPr>
          <a:xfrm>
            <a:off x="7151977" y="1895006"/>
            <a:ext cx="572064" cy="569606"/>
            <a:chOff x="2148168" y="645460"/>
            <a:chExt cx="2587625" cy="2576512"/>
          </a:xfrm>
        </p:grpSpPr>
        <p:sp>
          <p:nvSpPr>
            <p:cNvPr id="143" name="Freeform 19"/>
            <p:cNvSpPr>
              <a:spLocks noEditPoints="1"/>
            </p:cNvSpPr>
            <p:nvPr/>
          </p:nvSpPr>
          <p:spPr bwMode="auto">
            <a:xfrm>
              <a:off x="2364069" y="861361"/>
              <a:ext cx="2154236" cy="2149475"/>
            </a:xfrm>
            <a:custGeom>
              <a:avLst/>
              <a:gdLst>
                <a:gd name="T0" fmla="*/ 14609 w 16392"/>
                <a:gd name="T1" fmla="*/ 16392 h 16392"/>
                <a:gd name="T2" fmla="*/ 1782 w 16392"/>
                <a:gd name="T3" fmla="*/ 16392 h 16392"/>
                <a:gd name="T4" fmla="*/ 0 w 16392"/>
                <a:gd name="T5" fmla="*/ 14610 h 16392"/>
                <a:gd name="T6" fmla="*/ 0 w 16392"/>
                <a:gd name="T7" fmla="*/ 1782 h 16392"/>
                <a:gd name="T8" fmla="*/ 1782 w 16392"/>
                <a:gd name="T9" fmla="*/ 0 h 16392"/>
                <a:gd name="T10" fmla="*/ 14609 w 16392"/>
                <a:gd name="T11" fmla="*/ 0 h 16392"/>
                <a:gd name="T12" fmla="*/ 16392 w 16392"/>
                <a:gd name="T13" fmla="*/ 1782 h 16392"/>
                <a:gd name="T14" fmla="*/ 16392 w 16392"/>
                <a:gd name="T15" fmla="*/ 14610 h 16392"/>
                <a:gd name="T16" fmla="*/ 14609 w 16392"/>
                <a:gd name="T17" fmla="*/ 16392 h 16392"/>
                <a:gd name="T18" fmla="*/ 1782 w 16392"/>
                <a:gd name="T19" fmla="*/ 1175 h 16392"/>
                <a:gd name="T20" fmla="*/ 1194 w 16392"/>
                <a:gd name="T21" fmla="*/ 1763 h 16392"/>
                <a:gd name="T22" fmla="*/ 1194 w 16392"/>
                <a:gd name="T23" fmla="*/ 14590 h 16392"/>
                <a:gd name="T24" fmla="*/ 1782 w 16392"/>
                <a:gd name="T25" fmla="*/ 15178 h 16392"/>
                <a:gd name="T26" fmla="*/ 14609 w 16392"/>
                <a:gd name="T27" fmla="*/ 15178 h 16392"/>
                <a:gd name="T28" fmla="*/ 15197 w 16392"/>
                <a:gd name="T29" fmla="*/ 14590 h 16392"/>
                <a:gd name="T30" fmla="*/ 15197 w 16392"/>
                <a:gd name="T31" fmla="*/ 1763 h 16392"/>
                <a:gd name="T32" fmla="*/ 14609 w 16392"/>
                <a:gd name="T33" fmla="*/ 1175 h 16392"/>
                <a:gd name="T34" fmla="*/ 1782 w 16392"/>
                <a:gd name="T35" fmla="*/ 1175 h 16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6392" h="16392">
                  <a:moveTo>
                    <a:pt x="14609" y="16392"/>
                  </a:moveTo>
                  <a:lnTo>
                    <a:pt x="1782" y="16392"/>
                  </a:lnTo>
                  <a:cubicBezTo>
                    <a:pt x="803" y="16392"/>
                    <a:pt x="0" y="15589"/>
                    <a:pt x="0" y="14610"/>
                  </a:cubicBezTo>
                  <a:lnTo>
                    <a:pt x="0" y="1782"/>
                  </a:lnTo>
                  <a:cubicBezTo>
                    <a:pt x="0" y="803"/>
                    <a:pt x="803" y="0"/>
                    <a:pt x="1782" y="0"/>
                  </a:cubicBezTo>
                  <a:lnTo>
                    <a:pt x="14609" y="0"/>
                  </a:lnTo>
                  <a:cubicBezTo>
                    <a:pt x="15589" y="0"/>
                    <a:pt x="16392" y="803"/>
                    <a:pt x="16392" y="1782"/>
                  </a:cubicBezTo>
                  <a:lnTo>
                    <a:pt x="16392" y="14610"/>
                  </a:lnTo>
                  <a:cubicBezTo>
                    <a:pt x="16392" y="15589"/>
                    <a:pt x="15589" y="16392"/>
                    <a:pt x="14609" y="16392"/>
                  </a:cubicBezTo>
                  <a:close/>
                  <a:moveTo>
                    <a:pt x="1782" y="1175"/>
                  </a:moveTo>
                  <a:cubicBezTo>
                    <a:pt x="1449" y="1175"/>
                    <a:pt x="1194" y="1449"/>
                    <a:pt x="1194" y="1763"/>
                  </a:cubicBezTo>
                  <a:lnTo>
                    <a:pt x="1194" y="14590"/>
                  </a:lnTo>
                  <a:cubicBezTo>
                    <a:pt x="1194" y="14923"/>
                    <a:pt x="1469" y="15178"/>
                    <a:pt x="1782" y="15178"/>
                  </a:cubicBezTo>
                  <a:lnTo>
                    <a:pt x="14609" y="15178"/>
                  </a:lnTo>
                  <a:cubicBezTo>
                    <a:pt x="14942" y="15178"/>
                    <a:pt x="15197" y="14904"/>
                    <a:pt x="15197" y="14590"/>
                  </a:cubicBezTo>
                  <a:lnTo>
                    <a:pt x="15197" y="1763"/>
                  </a:lnTo>
                  <a:cubicBezTo>
                    <a:pt x="15197" y="1430"/>
                    <a:pt x="14923" y="1175"/>
                    <a:pt x="14609" y="1175"/>
                  </a:cubicBezTo>
                  <a:lnTo>
                    <a:pt x="1782" y="1175"/>
                  </a:lnTo>
                  <a:close/>
                </a:path>
              </a:pathLst>
            </a:custGeom>
            <a:solidFill>
              <a:srgbClr val="A0A1A2"/>
            </a:solidFill>
            <a:ln w="0">
              <a:noFill/>
              <a:prstDash val="solid"/>
              <a:round/>
              <a:headEnd/>
              <a:tailEnd/>
            </a:ln>
          </p:spPr>
          <p:txBody>
            <a:bodyPr vert="horz" wrap="square" lIns="91427" tIns="45713" rIns="91427" bIns="4571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schemeClr val="tx2"/>
                </a:solidFill>
                <a:effectLst/>
                <a:uLnTx/>
                <a:uFillTx/>
              </a:endParaRPr>
            </a:p>
          </p:txBody>
        </p:sp>
        <p:sp>
          <p:nvSpPr>
            <p:cNvPr id="144" name="Freeform 20"/>
            <p:cNvSpPr>
              <a:spLocks/>
            </p:cNvSpPr>
            <p:nvPr/>
          </p:nvSpPr>
          <p:spPr bwMode="auto">
            <a:xfrm>
              <a:off x="2860955" y="645460"/>
              <a:ext cx="758827" cy="220663"/>
            </a:xfrm>
            <a:custGeom>
              <a:avLst/>
              <a:gdLst>
                <a:gd name="T0" fmla="*/ 2683 w 5778"/>
                <a:gd name="T1" fmla="*/ 235 h 1684"/>
                <a:gd name="T2" fmla="*/ 1293 w 5778"/>
                <a:gd name="T3" fmla="*/ 176 h 1684"/>
                <a:gd name="T4" fmla="*/ 275 w 5778"/>
                <a:gd name="T5" fmla="*/ 1116 h 1684"/>
                <a:gd name="T6" fmla="*/ 0 w 5778"/>
                <a:gd name="T7" fmla="*/ 1684 h 1684"/>
                <a:gd name="T8" fmla="*/ 5778 w 5778"/>
                <a:gd name="T9" fmla="*/ 1684 h 1684"/>
                <a:gd name="T10" fmla="*/ 2683 w 5778"/>
                <a:gd name="T11" fmla="*/ 235 h 1684"/>
              </a:gdLst>
              <a:ahLst/>
              <a:cxnLst>
                <a:cxn ang="0">
                  <a:pos x="T0" y="T1"/>
                </a:cxn>
                <a:cxn ang="0">
                  <a:pos x="T2" y="T3"/>
                </a:cxn>
                <a:cxn ang="0">
                  <a:pos x="T4" y="T5"/>
                </a:cxn>
                <a:cxn ang="0">
                  <a:pos x="T6" y="T7"/>
                </a:cxn>
                <a:cxn ang="0">
                  <a:pos x="T8" y="T9"/>
                </a:cxn>
                <a:cxn ang="0">
                  <a:pos x="T10" y="T11"/>
                </a:cxn>
              </a:cxnLst>
              <a:rect l="0" t="0" r="r" b="b"/>
              <a:pathLst>
                <a:path w="5778" h="1684">
                  <a:moveTo>
                    <a:pt x="2683" y="235"/>
                  </a:moveTo>
                  <a:cubicBezTo>
                    <a:pt x="2253" y="39"/>
                    <a:pt x="1743" y="0"/>
                    <a:pt x="1293" y="176"/>
                  </a:cubicBezTo>
                  <a:cubicBezTo>
                    <a:pt x="843" y="333"/>
                    <a:pt x="471" y="666"/>
                    <a:pt x="275" y="1116"/>
                  </a:cubicBezTo>
                  <a:lnTo>
                    <a:pt x="0" y="1684"/>
                  </a:lnTo>
                  <a:lnTo>
                    <a:pt x="5778" y="1684"/>
                  </a:lnTo>
                  <a:lnTo>
                    <a:pt x="2683" y="235"/>
                  </a:lnTo>
                  <a:close/>
                </a:path>
              </a:pathLst>
            </a:custGeom>
            <a:solidFill>
              <a:srgbClr val="7A7A7A"/>
            </a:solidFill>
            <a:ln w="0">
              <a:noFill/>
              <a:prstDash val="solid"/>
              <a:round/>
              <a:headEnd/>
              <a:tailEnd/>
            </a:ln>
          </p:spPr>
          <p:txBody>
            <a:bodyPr vert="horz" wrap="square" lIns="91427" tIns="45713" rIns="91427" bIns="4571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schemeClr val="tx2"/>
                </a:solidFill>
                <a:effectLst/>
                <a:uLnTx/>
                <a:uFillTx/>
              </a:endParaRPr>
            </a:p>
          </p:txBody>
        </p:sp>
        <p:sp>
          <p:nvSpPr>
            <p:cNvPr id="145" name="Freeform 21"/>
            <p:cNvSpPr>
              <a:spLocks/>
            </p:cNvSpPr>
            <p:nvPr/>
          </p:nvSpPr>
          <p:spPr bwMode="auto">
            <a:xfrm>
              <a:off x="4515130" y="1356661"/>
              <a:ext cx="220663" cy="760413"/>
            </a:xfrm>
            <a:custGeom>
              <a:avLst/>
              <a:gdLst>
                <a:gd name="T0" fmla="*/ 1508 w 1684"/>
                <a:gd name="T1" fmla="*/ 1292 h 5797"/>
                <a:gd name="T2" fmla="*/ 568 w 1684"/>
                <a:gd name="T3" fmla="*/ 274 h 5797"/>
                <a:gd name="T4" fmla="*/ 0 w 1684"/>
                <a:gd name="T5" fmla="*/ 0 h 5797"/>
                <a:gd name="T6" fmla="*/ 0 w 1684"/>
                <a:gd name="T7" fmla="*/ 5797 h 5797"/>
                <a:gd name="T8" fmla="*/ 1449 w 1684"/>
                <a:gd name="T9" fmla="*/ 2702 h 5797"/>
                <a:gd name="T10" fmla="*/ 1508 w 1684"/>
                <a:gd name="T11" fmla="*/ 1292 h 5797"/>
              </a:gdLst>
              <a:ahLst/>
              <a:cxnLst>
                <a:cxn ang="0">
                  <a:pos x="T0" y="T1"/>
                </a:cxn>
                <a:cxn ang="0">
                  <a:pos x="T2" y="T3"/>
                </a:cxn>
                <a:cxn ang="0">
                  <a:pos x="T4" y="T5"/>
                </a:cxn>
                <a:cxn ang="0">
                  <a:pos x="T6" y="T7"/>
                </a:cxn>
                <a:cxn ang="0">
                  <a:pos x="T8" y="T9"/>
                </a:cxn>
                <a:cxn ang="0">
                  <a:pos x="T10" y="T11"/>
                </a:cxn>
              </a:cxnLst>
              <a:rect l="0" t="0" r="r" b="b"/>
              <a:pathLst>
                <a:path w="1684" h="5797">
                  <a:moveTo>
                    <a:pt x="1508" y="1292"/>
                  </a:moveTo>
                  <a:cubicBezTo>
                    <a:pt x="1351" y="842"/>
                    <a:pt x="1018" y="470"/>
                    <a:pt x="568" y="274"/>
                  </a:cubicBezTo>
                  <a:lnTo>
                    <a:pt x="0" y="0"/>
                  </a:lnTo>
                  <a:lnTo>
                    <a:pt x="0" y="5797"/>
                  </a:lnTo>
                  <a:lnTo>
                    <a:pt x="1449" y="2702"/>
                  </a:lnTo>
                  <a:cubicBezTo>
                    <a:pt x="1665" y="2252"/>
                    <a:pt x="1684" y="1762"/>
                    <a:pt x="1508" y="1292"/>
                  </a:cubicBezTo>
                  <a:close/>
                </a:path>
              </a:pathLst>
            </a:custGeom>
            <a:solidFill>
              <a:srgbClr val="7A7A7A"/>
            </a:solidFill>
            <a:ln w="0">
              <a:noFill/>
              <a:prstDash val="solid"/>
              <a:round/>
              <a:headEnd/>
              <a:tailEnd/>
            </a:ln>
          </p:spPr>
          <p:txBody>
            <a:bodyPr vert="horz" wrap="square" lIns="91427" tIns="45713" rIns="91427" bIns="4571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schemeClr val="tx2"/>
                </a:solidFill>
                <a:effectLst/>
                <a:uLnTx/>
                <a:uFillTx/>
              </a:endParaRPr>
            </a:p>
          </p:txBody>
        </p:sp>
        <p:sp>
          <p:nvSpPr>
            <p:cNvPr id="146" name="Freeform 22"/>
            <p:cNvSpPr>
              <a:spLocks/>
            </p:cNvSpPr>
            <p:nvPr/>
          </p:nvSpPr>
          <p:spPr bwMode="auto">
            <a:xfrm>
              <a:off x="2148168" y="1934509"/>
              <a:ext cx="222249" cy="758827"/>
            </a:xfrm>
            <a:custGeom>
              <a:avLst/>
              <a:gdLst>
                <a:gd name="T0" fmla="*/ 235 w 1684"/>
                <a:gd name="T1" fmla="*/ 3095 h 5778"/>
                <a:gd name="T2" fmla="*/ 176 w 1684"/>
                <a:gd name="T3" fmla="*/ 4485 h 5778"/>
                <a:gd name="T4" fmla="*/ 1116 w 1684"/>
                <a:gd name="T5" fmla="*/ 5503 h 5778"/>
                <a:gd name="T6" fmla="*/ 1684 w 1684"/>
                <a:gd name="T7" fmla="*/ 5778 h 5778"/>
                <a:gd name="T8" fmla="*/ 1684 w 1684"/>
                <a:gd name="T9" fmla="*/ 0 h 5778"/>
                <a:gd name="T10" fmla="*/ 235 w 1684"/>
                <a:gd name="T11" fmla="*/ 3095 h 5778"/>
              </a:gdLst>
              <a:ahLst/>
              <a:cxnLst>
                <a:cxn ang="0">
                  <a:pos x="T0" y="T1"/>
                </a:cxn>
                <a:cxn ang="0">
                  <a:pos x="T2" y="T3"/>
                </a:cxn>
                <a:cxn ang="0">
                  <a:pos x="T4" y="T5"/>
                </a:cxn>
                <a:cxn ang="0">
                  <a:pos x="T6" y="T7"/>
                </a:cxn>
                <a:cxn ang="0">
                  <a:pos x="T8" y="T9"/>
                </a:cxn>
                <a:cxn ang="0">
                  <a:pos x="T10" y="T11"/>
                </a:cxn>
              </a:cxnLst>
              <a:rect l="0" t="0" r="r" b="b"/>
              <a:pathLst>
                <a:path w="1684" h="5778">
                  <a:moveTo>
                    <a:pt x="235" y="3095"/>
                  </a:moveTo>
                  <a:cubicBezTo>
                    <a:pt x="39" y="3525"/>
                    <a:pt x="0" y="4035"/>
                    <a:pt x="176" y="4485"/>
                  </a:cubicBezTo>
                  <a:cubicBezTo>
                    <a:pt x="333" y="4935"/>
                    <a:pt x="666" y="5308"/>
                    <a:pt x="1116" y="5503"/>
                  </a:cubicBezTo>
                  <a:lnTo>
                    <a:pt x="1684" y="5778"/>
                  </a:lnTo>
                  <a:lnTo>
                    <a:pt x="1684" y="0"/>
                  </a:lnTo>
                  <a:lnTo>
                    <a:pt x="235" y="3095"/>
                  </a:lnTo>
                  <a:close/>
                </a:path>
              </a:pathLst>
            </a:custGeom>
            <a:solidFill>
              <a:srgbClr val="7A7A7A"/>
            </a:solidFill>
            <a:ln w="0">
              <a:noFill/>
              <a:prstDash val="solid"/>
              <a:round/>
              <a:headEnd/>
              <a:tailEnd/>
            </a:ln>
          </p:spPr>
          <p:txBody>
            <a:bodyPr vert="horz" wrap="square" lIns="91427" tIns="45713" rIns="91427" bIns="4571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schemeClr val="tx2"/>
                </a:solidFill>
                <a:effectLst/>
                <a:uLnTx/>
                <a:uFillTx/>
              </a:endParaRPr>
            </a:p>
          </p:txBody>
        </p:sp>
        <p:sp>
          <p:nvSpPr>
            <p:cNvPr id="149" name="Freeform 23"/>
            <p:cNvSpPr>
              <a:spLocks/>
            </p:cNvSpPr>
            <p:nvPr/>
          </p:nvSpPr>
          <p:spPr bwMode="auto">
            <a:xfrm>
              <a:off x="3440393" y="3009246"/>
              <a:ext cx="758827" cy="212726"/>
            </a:xfrm>
            <a:custGeom>
              <a:avLst/>
              <a:gdLst>
                <a:gd name="T0" fmla="*/ 3094 w 5777"/>
                <a:gd name="T1" fmla="*/ 1450 h 1626"/>
                <a:gd name="T2" fmla="*/ 3858 w 5777"/>
                <a:gd name="T3" fmla="*/ 1626 h 1626"/>
                <a:gd name="T4" fmla="*/ 4485 w 5777"/>
                <a:gd name="T5" fmla="*/ 1508 h 1626"/>
                <a:gd name="T6" fmla="*/ 5503 w 5777"/>
                <a:gd name="T7" fmla="*/ 568 h 1626"/>
                <a:gd name="T8" fmla="*/ 5777 w 5777"/>
                <a:gd name="T9" fmla="*/ 0 h 1626"/>
                <a:gd name="T10" fmla="*/ 0 w 5777"/>
                <a:gd name="T11" fmla="*/ 0 h 1626"/>
                <a:gd name="T12" fmla="*/ 3094 w 5777"/>
                <a:gd name="T13" fmla="*/ 1450 h 1626"/>
              </a:gdLst>
              <a:ahLst/>
              <a:cxnLst>
                <a:cxn ang="0">
                  <a:pos x="T0" y="T1"/>
                </a:cxn>
                <a:cxn ang="0">
                  <a:pos x="T2" y="T3"/>
                </a:cxn>
                <a:cxn ang="0">
                  <a:pos x="T4" y="T5"/>
                </a:cxn>
                <a:cxn ang="0">
                  <a:pos x="T6" y="T7"/>
                </a:cxn>
                <a:cxn ang="0">
                  <a:pos x="T8" y="T9"/>
                </a:cxn>
                <a:cxn ang="0">
                  <a:pos x="T10" y="T11"/>
                </a:cxn>
                <a:cxn ang="0">
                  <a:pos x="T12" y="T13"/>
                </a:cxn>
              </a:cxnLst>
              <a:rect l="0" t="0" r="r" b="b"/>
              <a:pathLst>
                <a:path w="5777" h="1626">
                  <a:moveTo>
                    <a:pt x="3094" y="1450"/>
                  </a:moveTo>
                  <a:cubicBezTo>
                    <a:pt x="3329" y="1567"/>
                    <a:pt x="3603" y="1626"/>
                    <a:pt x="3858" y="1626"/>
                  </a:cubicBezTo>
                  <a:cubicBezTo>
                    <a:pt x="4073" y="1626"/>
                    <a:pt x="4269" y="1587"/>
                    <a:pt x="4485" y="1508"/>
                  </a:cubicBezTo>
                  <a:cubicBezTo>
                    <a:pt x="4935" y="1352"/>
                    <a:pt x="5307" y="1019"/>
                    <a:pt x="5503" y="568"/>
                  </a:cubicBezTo>
                  <a:lnTo>
                    <a:pt x="5777" y="0"/>
                  </a:lnTo>
                  <a:lnTo>
                    <a:pt x="0" y="0"/>
                  </a:lnTo>
                  <a:lnTo>
                    <a:pt x="3094" y="1450"/>
                  </a:lnTo>
                  <a:close/>
                </a:path>
              </a:pathLst>
            </a:custGeom>
            <a:solidFill>
              <a:srgbClr val="7A7A7A"/>
            </a:solidFill>
            <a:ln w="0">
              <a:noFill/>
              <a:prstDash val="solid"/>
              <a:round/>
              <a:headEnd/>
              <a:tailEnd/>
            </a:ln>
          </p:spPr>
          <p:txBody>
            <a:bodyPr vert="horz" wrap="square" lIns="91427" tIns="45713" rIns="91427" bIns="4571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schemeClr val="tx2"/>
                </a:solidFill>
                <a:effectLst/>
                <a:uLnTx/>
                <a:uFillTx/>
              </a:endParaRPr>
            </a:p>
          </p:txBody>
        </p:sp>
        <p:sp>
          <p:nvSpPr>
            <p:cNvPr id="150" name="Freeform 24"/>
            <p:cNvSpPr>
              <a:spLocks/>
            </p:cNvSpPr>
            <p:nvPr/>
          </p:nvSpPr>
          <p:spPr bwMode="auto">
            <a:xfrm>
              <a:off x="2521232" y="1015348"/>
              <a:ext cx="1839912" cy="1836736"/>
            </a:xfrm>
            <a:custGeom>
              <a:avLst/>
              <a:gdLst>
                <a:gd name="T0" fmla="*/ 588 w 14003"/>
                <a:gd name="T1" fmla="*/ 0 h 14003"/>
                <a:gd name="T2" fmla="*/ 0 w 14003"/>
                <a:gd name="T3" fmla="*/ 588 h 14003"/>
                <a:gd name="T4" fmla="*/ 0 w 14003"/>
                <a:gd name="T5" fmla="*/ 13415 h 14003"/>
                <a:gd name="T6" fmla="*/ 588 w 14003"/>
                <a:gd name="T7" fmla="*/ 14003 h 14003"/>
                <a:gd name="T8" fmla="*/ 13415 w 14003"/>
                <a:gd name="T9" fmla="*/ 14003 h 14003"/>
                <a:gd name="T10" fmla="*/ 14003 w 14003"/>
                <a:gd name="T11" fmla="*/ 13415 h 14003"/>
                <a:gd name="T12" fmla="*/ 14003 w 14003"/>
                <a:gd name="T13" fmla="*/ 588 h 14003"/>
                <a:gd name="T14" fmla="*/ 13415 w 14003"/>
                <a:gd name="T15" fmla="*/ 0 h 14003"/>
                <a:gd name="T16" fmla="*/ 588 w 14003"/>
                <a:gd name="T17" fmla="*/ 0 h 140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003" h="14003">
                  <a:moveTo>
                    <a:pt x="588" y="0"/>
                  </a:moveTo>
                  <a:cubicBezTo>
                    <a:pt x="255" y="0"/>
                    <a:pt x="0" y="274"/>
                    <a:pt x="0" y="588"/>
                  </a:cubicBezTo>
                  <a:lnTo>
                    <a:pt x="0" y="13415"/>
                  </a:lnTo>
                  <a:cubicBezTo>
                    <a:pt x="0" y="13748"/>
                    <a:pt x="275" y="14003"/>
                    <a:pt x="588" y="14003"/>
                  </a:cubicBezTo>
                  <a:lnTo>
                    <a:pt x="13415" y="14003"/>
                  </a:lnTo>
                  <a:cubicBezTo>
                    <a:pt x="13748" y="14003"/>
                    <a:pt x="14003" y="13729"/>
                    <a:pt x="14003" y="13415"/>
                  </a:cubicBezTo>
                  <a:lnTo>
                    <a:pt x="14003" y="588"/>
                  </a:lnTo>
                  <a:cubicBezTo>
                    <a:pt x="14003" y="255"/>
                    <a:pt x="13729" y="0"/>
                    <a:pt x="13415" y="0"/>
                  </a:cubicBezTo>
                  <a:lnTo>
                    <a:pt x="588" y="0"/>
                  </a:lnTo>
                  <a:close/>
                </a:path>
              </a:pathLst>
            </a:custGeom>
            <a:solidFill>
              <a:srgbClr val="FFFFFF"/>
            </a:solidFill>
            <a:ln w="0">
              <a:noFill/>
              <a:prstDash val="solid"/>
              <a:round/>
              <a:headEnd/>
              <a:tailEnd/>
            </a:ln>
          </p:spPr>
          <p:txBody>
            <a:bodyPr vert="horz" wrap="square" lIns="91427" tIns="45713" rIns="91427" bIns="4571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schemeClr val="tx2"/>
                </a:solidFill>
                <a:effectLst/>
                <a:uLnTx/>
                <a:uFillTx/>
              </a:endParaRPr>
            </a:p>
          </p:txBody>
        </p:sp>
        <p:sp>
          <p:nvSpPr>
            <p:cNvPr id="151" name="Freeform 25"/>
            <p:cNvSpPr>
              <a:spLocks/>
            </p:cNvSpPr>
            <p:nvPr/>
          </p:nvSpPr>
          <p:spPr bwMode="auto">
            <a:xfrm>
              <a:off x="3046692" y="1288398"/>
              <a:ext cx="792163" cy="1311276"/>
            </a:xfrm>
            <a:custGeom>
              <a:avLst/>
              <a:gdLst>
                <a:gd name="T0" fmla="*/ 5836 w 6031"/>
                <a:gd name="T1" fmla="*/ 3721 h 10008"/>
                <a:gd name="T2" fmla="*/ 3348 w 6031"/>
                <a:gd name="T3" fmla="*/ 3721 h 10008"/>
                <a:gd name="T4" fmla="*/ 4386 w 6031"/>
                <a:gd name="T5" fmla="*/ 255 h 10008"/>
                <a:gd name="T6" fmla="*/ 4288 w 6031"/>
                <a:gd name="T7" fmla="*/ 20 h 10008"/>
                <a:gd name="T8" fmla="*/ 4210 w 6031"/>
                <a:gd name="T9" fmla="*/ 0 h 10008"/>
                <a:gd name="T10" fmla="*/ 4053 w 6031"/>
                <a:gd name="T11" fmla="*/ 78 h 10008"/>
                <a:gd name="T12" fmla="*/ 39 w 6031"/>
                <a:gd name="T13" fmla="*/ 5934 h 10008"/>
                <a:gd name="T14" fmla="*/ 19 w 6031"/>
                <a:gd name="T15" fmla="*/ 6130 h 10008"/>
                <a:gd name="T16" fmla="*/ 195 w 6031"/>
                <a:gd name="T17" fmla="*/ 6228 h 10008"/>
                <a:gd name="T18" fmla="*/ 2604 w 6031"/>
                <a:gd name="T19" fmla="*/ 6228 h 10008"/>
                <a:gd name="T20" fmla="*/ 1527 w 6031"/>
                <a:gd name="T21" fmla="*/ 9753 h 10008"/>
                <a:gd name="T22" fmla="*/ 1625 w 6031"/>
                <a:gd name="T23" fmla="*/ 9988 h 10008"/>
                <a:gd name="T24" fmla="*/ 1703 w 6031"/>
                <a:gd name="T25" fmla="*/ 10008 h 10008"/>
                <a:gd name="T26" fmla="*/ 1860 w 6031"/>
                <a:gd name="T27" fmla="*/ 9929 h 10008"/>
                <a:gd name="T28" fmla="*/ 5992 w 6031"/>
                <a:gd name="T29" fmla="*/ 4015 h 10008"/>
                <a:gd name="T30" fmla="*/ 6031 w 6031"/>
                <a:gd name="T31" fmla="*/ 3897 h 10008"/>
                <a:gd name="T32" fmla="*/ 5836 w 6031"/>
                <a:gd name="T33" fmla="*/ 3721 h 100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031" h="10008">
                  <a:moveTo>
                    <a:pt x="5836" y="3721"/>
                  </a:moveTo>
                  <a:lnTo>
                    <a:pt x="3348" y="3721"/>
                  </a:lnTo>
                  <a:lnTo>
                    <a:pt x="4386" y="255"/>
                  </a:lnTo>
                  <a:cubicBezTo>
                    <a:pt x="4406" y="157"/>
                    <a:pt x="4367" y="59"/>
                    <a:pt x="4288" y="20"/>
                  </a:cubicBezTo>
                  <a:cubicBezTo>
                    <a:pt x="4269" y="0"/>
                    <a:pt x="4230" y="0"/>
                    <a:pt x="4210" y="0"/>
                  </a:cubicBezTo>
                  <a:cubicBezTo>
                    <a:pt x="4151" y="0"/>
                    <a:pt x="4093" y="39"/>
                    <a:pt x="4053" y="78"/>
                  </a:cubicBezTo>
                  <a:lnTo>
                    <a:pt x="39" y="5934"/>
                  </a:lnTo>
                  <a:cubicBezTo>
                    <a:pt x="0" y="5993"/>
                    <a:pt x="0" y="6071"/>
                    <a:pt x="19" y="6130"/>
                  </a:cubicBezTo>
                  <a:cubicBezTo>
                    <a:pt x="58" y="6189"/>
                    <a:pt x="117" y="6228"/>
                    <a:pt x="195" y="6228"/>
                  </a:cubicBezTo>
                  <a:lnTo>
                    <a:pt x="2604" y="6228"/>
                  </a:lnTo>
                  <a:lnTo>
                    <a:pt x="1527" y="9753"/>
                  </a:lnTo>
                  <a:cubicBezTo>
                    <a:pt x="1508" y="9851"/>
                    <a:pt x="1547" y="9949"/>
                    <a:pt x="1625" y="9988"/>
                  </a:cubicBezTo>
                  <a:cubicBezTo>
                    <a:pt x="1645" y="10008"/>
                    <a:pt x="1684" y="10008"/>
                    <a:pt x="1703" y="10008"/>
                  </a:cubicBezTo>
                  <a:cubicBezTo>
                    <a:pt x="1762" y="10008"/>
                    <a:pt x="1821" y="9968"/>
                    <a:pt x="1860" y="9929"/>
                  </a:cubicBezTo>
                  <a:lnTo>
                    <a:pt x="5992" y="4015"/>
                  </a:lnTo>
                  <a:cubicBezTo>
                    <a:pt x="6012" y="3976"/>
                    <a:pt x="6031" y="3936"/>
                    <a:pt x="6031" y="3897"/>
                  </a:cubicBezTo>
                  <a:cubicBezTo>
                    <a:pt x="6031" y="3799"/>
                    <a:pt x="5933" y="3721"/>
                    <a:pt x="5836" y="3721"/>
                  </a:cubicBezTo>
                  <a:close/>
                </a:path>
              </a:pathLst>
            </a:custGeom>
            <a:solidFill>
              <a:srgbClr val="59B4D9"/>
            </a:solidFill>
            <a:ln w="0">
              <a:noFill/>
              <a:prstDash val="solid"/>
              <a:round/>
              <a:headEnd/>
              <a:tailEnd/>
            </a:ln>
          </p:spPr>
          <p:txBody>
            <a:bodyPr vert="horz" wrap="square" lIns="91427" tIns="45713" rIns="91427" bIns="4571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schemeClr val="tx2"/>
                </a:solidFill>
                <a:effectLst/>
                <a:uLnTx/>
                <a:uFillTx/>
              </a:endParaRPr>
            </a:p>
          </p:txBody>
        </p:sp>
      </p:grpSp>
      <p:sp>
        <p:nvSpPr>
          <p:cNvPr id="152" name="Rectangle 151"/>
          <p:cNvSpPr/>
          <p:nvPr/>
        </p:nvSpPr>
        <p:spPr>
          <a:xfrm>
            <a:off x="7855968" y="2041317"/>
            <a:ext cx="808125" cy="27698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45713" rIns="91427" bIns="45713" numCol="1" spcCol="0" rtlCol="0" fromWordArt="0" anchor="b" anchorCtr="0" forceAA="0" compatLnSpc="1">
            <a:prstTxWarp prst="textNoShape">
              <a:avLst/>
            </a:prstTxWarp>
            <a:spAutoFit/>
          </a:bodyPr>
          <a:lstStyle/>
          <a:p>
            <a:pPr marL="0" marR="0" lvl="0" indent="0" algn="ctr" defTabSz="914225"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chemeClr val="tx2"/>
                </a:solidFill>
                <a:effectLst/>
                <a:uLnTx/>
                <a:uFillTx/>
              </a:rPr>
              <a:t>Analysis</a:t>
            </a:r>
          </a:p>
        </p:txBody>
      </p:sp>
      <p:cxnSp>
        <p:nvCxnSpPr>
          <p:cNvPr id="153" name="Straight Arrow Connector 152"/>
          <p:cNvCxnSpPr/>
          <p:nvPr/>
        </p:nvCxnSpPr>
        <p:spPr>
          <a:xfrm flipH="1" flipV="1">
            <a:off x="5612671" y="2537167"/>
            <a:ext cx="418678" cy="709892"/>
          </a:xfrm>
          <a:prstGeom prst="straightConnector1">
            <a:avLst/>
          </a:prstGeom>
          <a:ln w="38100" cmpd="sng">
            <a:solidFill>
              <a:schemeClr val="accent1"/>
            </a:solidFill>
            <a:prstDash val="sysDash"/>
            <a:headEnd type="triangle" w="lg" len="med"/>
            <a:tailEnd type="triangle" w="lg" len="med"/>
          </a:ln>
        </p:spPr>
        <p:style>
          <a:lnRef idx="1">
            <a:schemeClr val="accent1"/>
          </a:lnRef>
          <a:fillRef idx="0">
            <a:schemeClr val="accent1"/>
          </a:fillRef>
          <a:effectRef idx="0">
            <a:schemeClr val="accent1"/>
          </a:effectRef>
          <a:fontRef idx="minor">
            <a:schemeClr val="tx1"/>
          </a:fontRef>
        </p:style>
      </p:cxnSp>
      <p:cxnSp>
        <p:nvCxnSpPr>
          <p:cNvPr id="154" name="Straight Arrow Connector 153"/>
          <p:cNvCxnSpPr/>
          <p:nvPr/>
        </p:nvCxnSpPr>
        <p:spPr>
          <a:xfrm flipV="1">
            <a:off x="6841239" y="2543596"/>
            <a:ext cx="534616" cy="770279"/>
          </a:xfrm>
          <a:prstGeom prst="straightConnector1">
            <a:avLst/>
          </a:prstGeom>
          <a:ln w="38100" cmpd="sng">
            <a:solidFill>
              <a:schemeClr val="accent1"/>
            </a:solidFill>
            <a:prstDash val="sysDash"/>
            <a:headEnd type="triangle" w="lg" len="med"/>
            <a:tailEnd type="triangle" w="lg" len="med"/>
          </a:ln>
        </p:spPr>
        <p:style>
          <a:lnRef idx="1">
            <a:schemeClr val="accent1"/>
          </a:lnRef>
          <a:fillRef idx="0">
            <a:schemeClr val="accent1"/>
          </a:fillRef>
          <a:effectRef idx="0">
            <a:schemeClr val="accent1"/>
          </a:effectRef>
          <a:fontRef idx="minor">
            <a:schemeClr val="tx1"/>
          </a:fontRef>
        </p:style>
      </p:cxnSp>
      <p:cxnSp>
        <p:nvCxnSpPr>
          <p:cNvPr id="155" name="Straight Arrow Connector 154"/>
          <p:cNvCxnSpPr/>
          <p:nvPr/>
        </p:nvCxnSpPr>
        <p:spPr>
          <a:xfrm>
            <a:off x="6932397" y="3552627"/>
            <a:ext cx="1618692" cy="0"/>
          </a:xfrm>
          <a:prstGeom prst="straightConnector1">
            <a:avLst/>
          </a:prstGeom>
          <a:ln w="38100" cmpd="sng">
            <a:solidFill>
              <a:schemeClr val="accent1"/>
            </a:solidFill>
            <a:prstDash val="sysDash"/>
            <a:headEnd type="none"/>
            <a:tailEnd type="triangle" w="lg" len="med"/>
          </a:ln>
        </p:spPr>
        <p:style>
          <a:lnRef idx="1">
            <a:schemeClr val="accent1"/>
          </a:lnRef>
          <a:fillRef idx="0">
            <a:schemeClr val="accent1"/>
          </a:fillRef>
          <a:effectRef idx="0">
            <a:schemeClr val="accent1"/>
          </a:effectRef>
          <a:fontRef idx="minor">
            <a:schemeClr val="tx1"/>
          </a:fontRef>
        </p:style>
      </p:cxnSp>
      <p:grpSp>
        <p:nvGrpSpPr>
          <p:cNvPr id="165" name="Group 164"/>
          <p:cNvGrpSpPr/>
          <p:nvPr/>
        </p:nvGrpSpPr>
        <p:grpSpPr>
          <a:xfrm flipH="1">
            <a:off x="9537122" y="2723477"/>
            <a:ext cx="1232646" cy="2237687"/>
            <a:chOff x="778955" y="2315543"/>
            <a:chExt cx="291033" cy="2675519"/>
          </a:xfrm>
        </p:grpSpPr>
        <p:cxnSp>
          <p:nvCxnSpPr>
            <p:cNvPr id="166" name="Straight Connector 165"/>
            <p:cNvCxnSpPr/>
            <p:nvPr/>
          </p:nvCxnSpPr>
          <p:spPr>
            <a:xfrm>
              <a:off x="891733" y="2315543"/>
              <a:ext cx="7708" cy="2675519"/>
            </a:xfrm>
            <a:prstGeom prst="line">
              <a:avLst/>
            </a:prstGeom>
            <a:ln w="38100" cap="sq">
              <a:solidFill>
                <a:schemeClr val="accent1"/>
              </a:solidFill>
              <a:prstDash val="sysDash"/>
              <a:miter lim="800000"/>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67" name="Straight Connector 166"/>
            <p:cNvCxnSpPr/>
            <p:nvPr/>
          </p:nvCxnSpPr>
          <p:spPr>
            <a:xfrm>
              <a:off x="785855" y="2315543"/>
              <a:ext cx="99580" cy="0"/>
            </a:xfrm>
            <a:prstGeom prst="line">
              <a:avLst/>
            </a:prstGeom>
            <a:ln w="38100" cap="sq">
              <a:solidFill>
                <a:schemeClr val="accent1"/>
              </a:solidFill>
              <a:prstDash val="sysDash"/>
              <a:miter lim="800000"/>
              <a:headEnd type="triangl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70" name="Straight Connector 169"/>
            <p:cNvCxnSpPr/>
            <p:nvPr/>
          </p:nvCxnSpPr>
          <p:spPr>
            <a:xfrm flipH="1">
              <a:off x="902617" y="3355200"/>
              <a:ext cx="167371" cy="0"/>
            </a:xfrm>
            <a:prstGeom prst="line">
              <a:avLst/>
            </a:prstGeom>
            <a:ln w="38100" cap="sq">
              <a:solidFill>
                <a:schemeClr val="accent1"/>
              </a:solidFill>
              <a:prstDash val="sysDash"/>
              <a:miter lim="800000"/>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778955" y="4991062"/>
              <a:ext cx="120487" cy="0"/>
            </a:xfrm>
            <a:prstGeom prst="line">
              <a:avLst/>
            </a:prstGeom>
            <a:ln w="38100" cap="sq">
              <a:solidFill>
                <a:schemeClr val="accent1"/>
              </a:solidFill>
              <a:prstDash val="sysDash"/>
              <a:miter lim="800000"/>
              <a:headEnd type="triangle" w="lg" len="med"/>
              <a:tailEnd type="none" w="lg" len="med"/>
            </a:ln>
          </p:spPr>
          <p:style>
            <a:lnRef idx="1">
              <a:schemeClr val="accent1"/>
            </a:lnRef>
            <a:fillRef idx="0">
              <a:schemeClr val="accent1"/>
            </a:fillRef>
            <a:effectRef idx="0">
              <a:schemeClr val="accent1"/>
            </a:effectRef>
            <a:fontRef idx="minor">
              <a:schemeClr val="tx1"/>
            </a:fontRef>
          </p:style>
        </p:cxnSp>
      </p:grpSp>
      <p:sp>
        <p:nvSpPr>
          <p:cNvPr id="175" name="Freeform 182"/>
          <p:cNvSpPr/>
          <p:nvPr/>
        </p:nvSpPr>
        <p:spPr bwMode="auto">
          <a:xfrm>
            <a:off x="766589" y="1995952"/>
            <a:ext cx="365414" cy="468660"/>
          </a:xfrm>
          <a:custGeom>
            <a:avLst/>
            <a:gdLst>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143359 h 1866625"/>
              <a:gd name="connsiteX30" fmla="*/ 21049 w 1455401"/>
              <a:gd name="connsiteY30" fmla="*/ 1033051 h 1866625"/>
              <a:gd name="connsiteX31" fmla="*/ 15633 w 1455401"/>
              <a:gd name="connsiteY31" fmla="*/ 1030526 h 1866625"/>
              <a:gd name="connsiteX32" fmla="*/ 0 w 1455401"/>
              <a:gd name="connsiteY32" fmla="*/ 1017423 h 1866625"/>
              <a:gd name="connsiteX33" fmla="*/ 1 w 1455401"/>
              <a:gd name="connsiteY33" fmla="*/ 296841 h 1866625"/>
              <a:gd name="connsiteX34" fmla="*/ 0 w 1455401"/>
              <a:gd name="connsiteY34" fmla="*/ 296838 h 1866625"/>
              <a:gd name="connsiteX35" fmla="*/ 1 w 1455401"/>
              <a:gd name="connsiteY35" fmla="*/ 296835 h 1866625"/>
              <a:gd name="connsiteX36" fmla="*/ 3758 w 1455401"/>
              <a:gd name="connsiteY36" fmla="*/ 266488 h 1866625"/>
              <a:gd name="connsiteX37" fmla="*/ 727700 w 1455401"/>
              <a:gd name="connsiteY3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033051 h 1866625"/>
              <a:gd name="connsiteX30" fmla="*/ 15633 w 1455401"/>
              <a:gd name="connsiteY30" fmla="*/ 1030526 h 1866625"/>
              <a:gd name="connsiteX31" fmla="*/ 0 w 1455401"/>
              <a:gd name="connsiteY31" fmla="*/ 1017423 h 1866625"/>
              <a:gd name="connsiteX32" fmla="*/ 1 w 1455401"/>
              <a:gd name="connsiteY32" fmla="*/ 296841 h 1866625"/>
              <a:gd name="connsiteX33" fmla="*/ 0 w 1455401"/>
              <a:gd name="connsiteY33" fmla="*/ 296838 h 1866625"/>
              <a:gd name="connsiteX34" fmla="*/ 1 w 1455401"/>
              <a:gd name="connsiteY34" fmla="*/ 296835 h 1866625"/>
              <a:gd name="connsiteX35" fmla="*/ 3758 w 1455401"/>
              <a:gd name="connsiteY35" fmla="*/ 266488 h 1866625"/>
              <a:gd name="connsiteX36" fmla="*/ 727700 w 1455401"/>
              <a:gd name="connsiteY3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15633 w 1455401"/>
              <a:gd name="connsiteY29" fmla="*/ 1030526 h 1866625"/>
              <a:gd name="connsiteX30" fmla="*/ 0 w 1455401"/>
              <a:gd name="connsiteY30" fmla="*/ 1017423 h 1866625"/>
              <a:gd name="connsiteX31" fmla="*/ 1 w 1455401"/>
              <a:gd name="connsiteY31" fmla="*/ 296841 h 1866625"/>
              <a:gd name="connsiteX32" fmla="*/ 0 w 1455401"/>
              <a:gd name="connsiteY32" fmla="*/ 296838 h 1866625"/>
              <a:gd name="connsiteX33" fmla="*/ 1 w 1455401"/>
              <a:gd name="connsiteY33" fmla="*/ 296835 h 1866625"/>
              <a:gd name="connsiteX34" fmla="*/ 3758 w 1455401"/>
              <a:gd name="connsiteY34" fmla="*/ 266488 h 1866625"/>
              <a:gd name="connsiteX35" fmla="*/ 727700 w 1455401"/>
              <a:gd name="connsiteY35"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0 w 1455401"/>
              <a:gd name="connsiteY29" fmla="*/ 1017423 h 1866625"/>
              <a:gd name="connsiteX30" fmla="*/ 1 w 1455401"/>
              <a:gd name="connsiteY30" fmla="*/ 296841 h 1866625"/>
              <a:gd name="connsiteX31" fmla="*/ 0 w 1455401"/>
              <a:gd name="connsiteY31" fmla="*/ 296838 h 1866625"/>
              <a:gd name="connsiteX32" fmla="*/ 1 w 1455401"/>
              <a:gd name="connsiteY32" fmla="*/ 296835 h 1866625"/>
              <a:gd name="connsiteX33" fmla="*/ 3758 w 1455401"/>
              <a:gd name="connsiteY33" fmla="*/ 266488 h 1866625"/>
              <a:gd name="connsiteX34" fmla="*/ 727700 w 1455401"/>
              <a:gd name="connsiteY34"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0 w 1455401"/>
              <a:gd name="connsiteY28" fmla="*/ 1017423 h 1866625"/>
              <a:gd name="connsiteX29" fmla="*/ 1 w 1455401"/>
              <a:gd name="connsiteY29" fmla="*/ 296841 h 1866625"/>
              <a:gd name="connsiteX30" fmla="*/ 0 w 1455401"/>
              <a:gd name="connsiteY30" fmla="*/ 296838 h 1866625"/>
              <a:gd name="connsiteX31" fmla="*/ 1 w 1455401"/>
              <a:gd name="connsiteY31" fmla="*/ 296835 h 1866625"/>
              <a:gd name="connsiteX32" fmla="*/ 3758 w 1455401"/>
              <a:gd name="connsiteY32" fmla="*/ 266488 h 1866625"/>
              <a:gd name="connsiteX33" fmla="*/ 727700 w 1455401"/>
              <a:gd name="connsiteY33"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 w 1455401"/>
              <a:gd name="connsiteY28" fmla="*/ 296841 h 1866625"/>
              <a:gd name="connsiteX29" fmla="*/ 0 w 1455401"/>
              <a:gd name="connsiteY29" fmla="*/ 296838 h 1866625"/>
              <a:gd name="connsiteX30" fmla="*/ 1 w 1455401"/>
              <a:gd name="connsiteY30" fmla="*/ 296835 h 1866625"/>
              <a:gd name="connsiteX31" fmla="*/ 3758 w 1455401"/>
              <a:gd name="connsiteY31" fmla="*/ 266488 h 1866625"/>
              <a:gd name="connsiteX32" fmla="*/ 727700 w 1455401"/>
              <a:gd name="connsiteY32"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296841 h 1866625"/>
              <a:gd name="connsiteX28" fmla="*/ 0 w 1455401"/>
              <a:gd name="connsiteY28" fmla="*/ 296838 h 1866625"/>
              <a:gd name="connsiteX29" fmla="*/ 1 w 1455401"/>
              <a:gd name="connsiteY29" fmla="*/ 296835 h 1866625"/>
              <a:gd name="connsiteX30" fmla="*/ 3758 w 1455401"/>
              <a:gd name="connsiteY30" fmla="*/ 266488 h 1866625"/>
              <a:gd name="connsiteX31" fmla="*/ 727700 w 1455401"/>
              <a:gd name="connsiteY31"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143359 h 1866625"/>
              <a:gd name="connsiteX13" fmla="*/ 1439768 w 1455401"/>
              <a:gd name="connsiteY13" fmla="*/ 1140834 h 1866625"/>
              <a:gd name="connsiteX14" fmla="*/ 1455401 w 1455401"/>
              <a:gd name="connsiteY14" fmla="*/ 1127732 h 1866625"/>
              <a:gd name="connsiteX15" fmla="*/ 1455401 w 1455401"/>
              <a:gd name="connsiteY15" fmla="*/ 1569784 h 1866625"/>
              <a:gd name="connsiteX16" fmla="*/ 1455401 w 1455401"/>
              <a:gd name="connsiteY16" fmla="*/ 1569787 h 1866625"/>
              <a:gd name="connsiteX17" fmla="*/ 1455401 w 1455401"/>
              <a:gd name="connsiteY17" fmla="*/ 1569790 h 1866625"/>
              <a:gd name="connsiteX18" fmla="*/ 1455401 w 1455401"/>
              <a:gd name="connsiteY18" fmla="*/ 1578767 h 1866625"/>
              <a:gd name="connsiteX19" fmla="*/ 1454289 w 1455401"/>
              <a:gd name="connsiteY19" fmla="*/ 1578767 h 1866625"/>
              <a:gd name="connsiteX20" fmla="*/ 1451644 w 1455401"/>
              <a:gd name="connsiteY20" fmla="*/ 1600137 h 1866625"/>
              <a:gd name="connsiteX21" fmla="*/ 727701 w 1455401"/>
              <a:gd name="connsiteY21" fmla="*/ 1866625 h 1866625"/>
              <a:gd name="connsiteX22" fmla="*/ 3758 w 1455401"/>
              <a:gd name="connsiteY22" fmla="*/ 1600137 h 1866625"/>
              <a:gd name="connsiteX23" fmla="*/ 1113 w 1455401"/>
              <a:gd name="connsiteY23" fmla="*/ 1578767 h 1866625"/>
              <a:gd name="connsiteX24" fmla="*/ 1 w 1455401"/>
              <a:gd name="connsiteY24" fmla="*/ 1578767 h 1866625"/>
              <a:gd name="connsiteX25" fmla="*/ 1 w 1455401"/>
              <a:gd name="connsiteY25" fmla="*/ 1569787 h 1866625"/>
              <a:gd name="connsiteX26" fmla="*/ 1 w 1455401"/>
              <a:gd name="connsiteY26" fmla="*/ 296841 h 1866625"/>
              <a:gd name="connsiteX27" fmla="*/ 0 w 1455401"/>
              <a:gd name="connsiteY27" fmla="*/ 296838 h 1866625"/>
              <a:gd name="connsiteX28" fmla="*/ 1 w 1455401"/>
              <a:gd name="connsiteY28" fmla="*/ 296835 h 1866625"/>
              <a:gd name="connsiteX29" fmla="*/ 3758 w 1455401"/>
              <a:gd name="connsiteY29" fmla="*/ 266488 h 1866625"/>
              <a:gd name="connsiteX30" fmla="*/ 727700 w 1455401"/>
              <a:gd name="connsiteY30"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4352 w 1455401"/>
              <a:gd name="connsiteY11" fmla="*/ 1143359 h 1866625"/>
              <a:gd name="connsiteX12" fmla="*/ 1439768 w 1455401"/>
              <a:gd name="connsiteY12" fmla="*/ 1140834 h 1866625"/>
              <a:gd name="connsiteX13" fmla="*/ 1455401 w 1455401"/>
              <a:gd name="connsiteY13" fmla="*/ 1127732 h 1866625"/>
              <a:gd name="connsiteX14" fmla="*/ 1455401 w 1455401"/>
              <a:gd name="connsiteY14" fmla="*/ 1569784 h 1866625"/>
              <a:gd name="connsiteX15" fmla="*/ 1455401 w 1455401"/>
              <a:gd name="connsiteY15" fmla="*/ 1569787 h 1866625"/>
              <a:gd name="connsiteX16" fmla="*/ 1455401 w 1455401"/>
              <a:gd name="connsiteY16" fmla="*/ 1569790 h 1866625"/>
              <a:gd name="connsiteX17" fmla="*/ 1455401 w 1455401"/>
              <a:gd name="connsiteY17" fmla="*/ 1578767 h 1866625"/>
              <a:gd name="connsiteX18" fmla="*/ 1454289 w 1455401"/>
              <a:gd name="connsiteY18" fmla="*/ 1578767 h 1866625"/>
              <a:gd name="connsiteX19" fmla="*/ 1451644 w 1455401"/>
              <a:gd name="connsiteY19" fmla="*/ 1600137 h 1866625"/>
              <a:gd name="connsiteX20" fmla="*/ 727701 w 1455401"/>
              <a:gd name="connsiteY20" fmla="*/ 1866625 h 1866625"/>
              <a:gd name="connsiteX21" fmla="*/ 3758 w 1455401"/>
              <a:gd name="connsiteY21" fmla="*/ 1600137 h 1866625"/>
              <a:gd name="connsiteX22" fmla="*/ 1113 w 1455401"/>
              <a:gd name="connsiteY22" fmla="*/ 1578767 h 1866625"/>
              <a:gd name="connsiteX23" fmla="*/ 1 w 1455401"/>
              <a:gd name="connsiteY23" fmla="*/ 1578767 h 1866625"/>
              <a:gd name="connsiteX24" fmla="*/ 1 w 1455401"/>
              <a:gd name="connsiteY24" fmla="*/ 1569787 h 1866625"/>
              <a:gd name="connsiteX25" fmla="*/ 1 w 1455401"/>
              <a:gd name="connsiteY25" fmla="*/ 296841 h 1866625"/>
              <a:gd name="connsiteX26" fmla="*/ 0 w 1455401"/>
              <a:gd name="connsiteY26" fmla="*/ 296838 h 1866625"/>
              <a:gd name="connsiteX27" fmla="*/ 1 w 1455401"/>
              <a:gd name="connsiteY27" fmla="*/ 296835 h 1866625"/>
              <a:gd name="connsiteX28" fmla="*/ 3758 w 1455401"/>
              <a:gd name="connsiteY28" fmla="*/ 266488 h 1866625"/>
              <a:gd name="connsiteX29" fmla="*/ 727700 w 1455401"/>
              <a:gd name="connsiteY29"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127732 h 1866625"/>
              <a:gd name="connsiteX13" fmla="*/ 1455401 w 1455401"/>
              <a:gd name="connsiteY13" fmla="*/ 1569784 h 1866625"/>
              <a:gd name="connsiteX14" fmla="*/ 1455401 w 1455401"/>
              <a:gd name="connsiteY14" fmla="*/ 1569787 h 1866625"/>
              <a:gd name="connsiteX15" fmla="*/ 1455401 w 1455401"/>
              <a:gd name="connsiteY15" fmla="*/ 1569790 h 1866625"/>
              <a:gd name="connsiteX16" fmla="*/ 1455401 w 1455401"/>
              <a:gd name="connsiteY16" fmla="*/ 1578767 h 1866625"/>
              <a:gd name="connsiteX17" fmla="*/ 1454289 w 1455401"/>
              <a:gd name="connsiteY17" fmla="*/ 1578767 h 1866625"/>
              <a:gd name="connsiteX18" fmla="*/ 1451644 w 1455401"/>
              <a:gd name="connsiteY18" fmla="*/ 1600137 h 1866625"/>
              <a:gd name="connsiteX19" fmla="*/ 727701 w 1455401"/>
              <a:gd name="connsiteY19" fmla="*/ 1866625 h 1866625"/>
              <a:gd name="connsiteX20" fmla="*/ 3758 w 1455401"/>
              <a:gd name="connsiteY20" fmla="*/ 1600137 h 1866625"/>
              <a:gd name="connsiteX21" fmla="*/ 1113 w 1455401"/>
              <a:gd name="connsiteY21" fmla="*/ 1578767 h 1866625"/>
              <a:gd name="connsiteX22" fmla="*/ 1 w 1455401"/>
              <a:gd name="connsiteY22" fmla="*/ 1578767 h 1866625"/>
              <a:gd name="connsiteX23" fmla="*/ 1 w 1455401"/>
              <a:gd name="connsiteY23" fmla="*/ 1569787 h 1866625"/>
              <a:gd name="connsiteX24" fmla="*/ 1 w 1455401"/>
              <a:gd name="connsiteY24" fmla="*/ 296841 h 1866625"/>
              <a:gd name="connsiteX25" fmla="*/ 0 w 1455401"/>
              <a:gd name="connsiteY25" fmla="*/ 296838 h 1866625"/>
              <a:gd name="connsiteX26" fmla="*/ 1 w 1455401"/>
              <a:gd name="connsiteY26" fmla="*/ 296835 h 1866625"/>
              <a:gd name="connsiteX27" fmla="*/ 3758 w 1455401"/>
              <a:gd name="connsiteY27" fmla="*/ 266488 h 1866625"/>
              <a:gd name="connsiteX28" fmla="*/ 727700 w 1455401"/>
              <a:gd name="connsiteY28"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569784 h 1866625"/>
              <a:gd name="connsiteX13" fmla="*/ 1455401 w 1455401"/>
              <a:gd name="connsiteY13" fmla="*/ 1569787 h 1866625"/>
              <a:gd name="connsiteX14" fmla="*/ 1455401 w 1455401"/>
              <a:gd name="connsiteY14" fmla="*/ 1569790 h 1866625"/>
              <a:gd name="connsiteX15" fmla="*/ 1455401 w 1455401"/>
              <a:gd name="connsiteY15" fmla="*/ 1578767 h 1866625"/>
              <a:gd name="connsiteX16" fmla="*/ 1454289 w 1455401"/>
              <a:gd name="connsiteY16" fmla="*/ 1578767 h 1866625"/>
              <a:gd name="connsiteX17" fmla="*/ 1451644 w 1455401"/>
              <a:gd name="connsiteY17" fmla="*/ 1600137 h 1866625"/>
              <a:gd name="connsiteX18" fmla="*/ 727701 w 1455401"/>
              <a:gd name="connsiteY18" fmla="*/ 1866625 h 1866625"/>
              <a:gd name="connsiteX19" fmla="*/ 3758 w 1455401"/>
              <a:gd name="connsiteY19" fmla="*/ 1600137 h 1866625"/>
              <a:gd name="connsiteX20" fmla="*/ 1113 w 1455401"/>
              <a:gd name="connsiteY20" fmla="*/ 1578767 h 1866625"/>
              <a:gd name="connsiteX21" fmla="*/ 1 w 1455401"/>
              <a:gd name="connsiteY21" fmla="*/ 1578767 h 1866625"/>
              <a:gd name="connsiteX22" fmla="*/ 1 w 1455401"/>
              <a:gd name="connsiteY22" fmla="*/ 1569787 h 1866625"/>
              <a:gd name="connsiteX23" fmla="*/ 1 w 1455401"/>
              <a:gd name="connsiteY23" fmla="*/ 296841 h 1866625"/>
              <a:gd name="connsiteX24" fmla="*/ 0 w 1455401"/>
              <a:gd name="connsiteY24" fmla="*/ 296838 h 1866625"/>
              <a:gd name="connsiteX25" fmla="*/ 1 w 1455401"/>
              <a:gd name="connsiteY25" fmla="*/ 296835 h 1866625"/>
              <a:gd name="connsiteX26" fmla="*/ 3758 w 1455401"/>
              <a:gd name="connsiteY26" fmla="*/ 266488 h 1866625"/>
              <a:gd name="connsiteX27" fmla="*/ 727700 w 1455401"/>
              <a:gd name="connsiteY2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55401 w 1455401"/>
              <a:gd name="connsiteY11" fmla="*/ 1569784 h 1866625"/>
              <a:gd name="connsiteX12" fmla="*/ 1455401 w 1455401"/>
              <a:gd name="connsiteY12" fmla="*/ 1569787 h 1866625"/>
              <a:gd name="connsiteX13" fmla="*/ 1455401 w 1455401"/>
              <a:gd name="connsiteY13" fmla="*/ 1569790 h 1866625"/>
              <a:gd name="connsiteX14" fmla="*/ 1455401 w 1455401"/>
              <a:gd name="connsiteY14" fmla="*/ 1578767 h 1866625"/>
              <a:gd name="connsiteX15" fmla="*/ 1454289 w 1455401"/>
              <a:gd name="connsiteY15" fmla="*/ 1578767 h 1866625"/>
              <a:gd name="connsiteX16" fmla="*/ 1451644 w 1455401"/>
              <a:gd name="connsiteY16" fmla="*/ 1600137 h 1866625"/>
              <a:gd name="connsiteX17" fmla="*/ 727701 w 1455401"/>
              <a:gd name="connsiteY17" fmla="*/ 1866625 h 1866625"/>
              <a:gd name="connsiteX18" fmla="*/ 3758 w 1455401"/>
              <a:gd name="connsiteY18" fmla="*/ 1600137 h 1866625"/>
              <a:gd name="connsiteX19" fmla="*/ 1113 w 1455401"/>
              <a:gd name="connsiteY19" fmla="*/ 1578767 h 1866625"/>
              <a:gd name="connsiteX20" fmla="*/ 1 w 1455401"/>
              <a:gd name="connsiteY20" fmla="*/ 1578767 h 1866625"/>
              <a:gd name="connsiteX21" fmla="*/ 1 w 1455401"/>
              <a:gd name="connsiteY21" fmla="*/ 1569787 h 1866625"/>
              <a:gd name="connsiteX22" fmla="*/ 1 w 1455401"/>
              <a:gd name="connsiteY22" fmla="*/ 296841 h 1866625"/>
              <a:gd name="connsiteX23" fmla="*/ 0 w 1455401"/>
              <a:gd name="connsiteY23" fmla="*/ 296838 h 1866625"/>
              <a:gd name="connsiteX24" fmla="*/ 1 w 1455401"/>
              <a:gd name="connsiteY24" fmla="*/ 296835 h 1866625"/>
              <a:gd name="connsiteX25" fmla="*/ 3758 w 1455401"/>
              <a:gd name="connsiteY25" fmla="*/ 266488 h 1866625"/>
              <a:gd name="connsiteX26" fmla="*/ 727700 w 1455401"/>
              <a:gd name="connsiteY2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569784 h 1866625"/>
              <a:gd name="connsiteX11" fmla="*/ 1455401 w 1455401"/>
              <a:gd name="connsiteY11" fmla="*/ 1569787 h 1866625"/>
              <a:gd name="connsiteX12" fmla="*/ 1455401 w 1455401"/>
              <a:gd name="connsiteY12" fmla="*/ 1569790 h 1866625"/>
              <a:gd name="connsiteX13" fmla="*/ 1455401 w 1455401"/>
              <a:gd name="connsiteY13" fmla="*/ 1578767 h 1866625"/>
              <a:gd name="connsiteX14" fmla="*/ 1454289 w 1455401"/>
              <a:gd name="connsiteY14" fmla="*/ 1578767 h 1866625"/>
              <a:gd name="connsiteX15" fmla="*/ 1451644 w 1455401"/>
              <a:gd name="connsiteY15" fmla="*/ 1600137 h 1866625"/>
              <a:gd name="connsiteX16" fmla="*/ 727701 w 1455401"/>
              <a:gd name="connsiteY16" fmla="*/ 1866625 h 1866625"/>
              <a:gd name="connsiteX17" fmla="*/ 3758 w 1455401"/>
              <a:gd name="connsiteY17" fmla="*/ 1600137 h 1866625"/>
              <a:gd name="connsiteX18" fmla="*/ 1113 w 1455401"/>
              <a:gd name="connsiteY18" fmla="*/ 1578767 h 1866625"/>
              <a:gd name="connsiteX19" fmla="*/ 1 w 1455401"/>
              <a:gd name="connsiteY19" fmla="*/ 1578767 h 1866625"/>
              <a:gd name="connsiteX20" fmla="*/ 1 w 1455401"/>
              <a:gd name="connsiteY20" fmla="*/ 1569787 h 1866625"/>
              <a:gd name="connsiteX21" fmla="*/ 1 w 1455401"/>
              <a:gd name="connsiteY21" fmla="*/ 296841 h 1866625"/>
              <a:gd name="connsiteX22" fmla="*/ 0 w 1455401"/>
              <a:gd name="connsiteY22" fmla="*/ 296838 h 1866625"/>
              <a:gd name="connsiteX23" fmla="*/ 1 w 1455401"/>
              <a:gd name="connsiteY23" fmla="*/ 296835 h 1866625"/>
              <a:gd name="connsiteX24" fmla="*/ 3758 w 1455401"/>
              <a:gd name="connsiteY24" fmla="*/ 266488 h 1866625"/>
              <a:gd name="connsiteX25" fmla="*/ 727700 w 1455401"/>
              <a:gd name="connsiteY25" fmla="*/ 0 h 1866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455401" h="1866625">
                <a:moveTo>
                  <a:pt x="727701" y="107085"/>
                </a:moveTo>
                <a:cubicBezTo>
                  <a:pt x="450294" y="107085"/>
                  <a:pt x="225411" y="173087"/>
                  <a:pt x="225411" y="254506"/>
                </a:cubicBezTo>
                <a:cubicBezTo>
                  <a:pt x="225411" y="335924"/>
                  <a:pt x="450294" y="401926"/>
                  <a:pt x="727701" y="401926"/>
                </a:cubicBezTo>
                <a:cubicBezTo>
                  <a:pt x="1005108" y="401926"/>
                  <a:pt x="1229991" y="335924"/>
                  <a:pt x="1229991" y="254506"/>
                </a:cubicBezTo>
                <a:cubicBezTo>
                  <a:pt x="1229991" y="173087"/>
                  <a:pt x="1005108" y="107085"/>
                  <a:pt x="727701" y="107085"/>
                </a:cubicBezTo>
                <a:close/>
                <a:moveTo>
                  <a:pt x="727700" y="0"/>
                </a:moveTo>
                <a:cubicBezTo>
                  <a:pt x="1104479" y="0"/>
                  <a:pt x="1414378" y="116806"/>
                  <a:pt x="1451644" y="266488"/>
                </a:cubicBezTo>
                <a:lnTo>
                  <a:pt x="1454289" y="287858"/>
                </a:lnTo>
                <a:lnTo>
                  <a:pt x="1455400" y="287858"/>
                </a:lnTo>
                <a:lnTo>
                  <a:pt x="1455400" y="296838"/>
                </a:lnTo>
                <a:cubicBezTo>
                  <a:pt x="1455400" y="510492"/>
                  <a:pt x="1455401" y="1357626"/>
                  <a:pt x="1455401" y="1569784"/>
                </a:cubicBezTo>
                <a:lnTo>
                  <a:pt x="1455401" y="1569787"/>
                </a:lnTo>
                <a:lnTo>
                  <a:pt x="1455401" y="1569790"/>
                </a:lnTo>
                <a:lnTo>
                  <a:pt x="1455401" y="1578767"/>
                </a:lnTo>
                <a:lnTo>
                  <a:pt x="1454289" y="1578767"/>
                </a:lnTo>
                <a:lnTo>
                  <a:pt x="1451644" y="1600137"/>
                </a:lnTo>
                <a:cubicBezTo>
                  <a:pt x="1414379" y="1749819"/>
                  <a:pt x="1104480" y="1866625"/>
                  <a:pt x="727701" y="1866625"/>
                </a:cubicBezTo>
                <a:cubicBezTo>
                  <a:pt x="350922" y="1866625"/>
                  <a:pt x="41024" y="1749819"/>
                  <a:pt x="3758" y="1600137"/>
                </a:cubicBezTo>
                <a:lnTo>
                  <a:pt x="1113" y="1578767"/>
                </a:lnTo>
                <a:lnTo>
                  <a:pt x="1" y="1578767"/>
                </a:lnTo>
                <a:lnTo>
                  <a:pt x="1" y="1569787"/>
                </a:lnTo>
                <a:lnTo>
                  <a:pt x="1" y="296841"/>
                </a:lnTo>
                <a:cubicBezTo>
                  <a:pt x="1" y="158359"/>
                  <a:pt x="0" y="296839"/>
                  <a:pt x="0" y="296838"/>
                </a:cubicBezTo>
                <a:cubicBezTo>
                  <a:pt x="0" y="296837"/>
                  <a:pt x="1" y="296836"/>
                  <a:pt x="1" y="296835"/>
                </a:cubicBezTo>
                <a:lnTo>
                  <a:pt x="3758" y="266488"/>
                </a:lnTo>
                <a:cubicBezTo>
                  <a:pt x="41023" y="116806"/>
                  <a:pt x="350921" y="0"/>
                  <a:pt x="727700" y="0"/>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76" name="Freeform 182"/>
          <p:cNvSpPr/>
          <p:nvPr/>
        </p:nvSpPr>
        <p:spPr bwMode="auto">
          <a:xfrm>
            <a:off x="766589" y="3320469"/>
            <a:ext cx="365414" cy="468660"/>
          </a:xfrm>
          <a:custGeom>
            <a:avLst/>
            <a:gdLst>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143359 h 1866625"/>
              <a:gd name="connsiteX30" fmla="*/ 21049 w 1455401"/>
              <a:gd name="connsiteY30" fmla="*/ 1033051 h 1866625"/>
              <a:gd name="connsiteX31" fmla="*/ 15633 w 1455401"/>
              <a:gd name="connsiteY31" fmla="*/ 1030526 h 1866625"/>
              <a:gd name="connsiteX32" fmla="*/ 0 w 1455401"/>
              <a:gd name="connsiteY32" fmla="*/ 1017423 h 1866625"/>
              <a:gd name="connsiteX33" fmla="*/ 1 w 1455401"/>
              <a:gd name="connsiteY33" fmla="*/ 296841 h 1866625"/>
              <a:gd name="connsiteX34" fmla="*/ 0 w 1455401"/>
              <a:gd name="connsiteY34" fmla="*/ 296838 h 1866625"/>
              <a:gd name="connsiteX35" fmla="*/ 1 w 1455401"/>
              <a:gd name="connsiteY35" fmla="*/ 296835 h 1866625"/>
              <a:gd name="connsiteX36" fmla="*/ 3758 w 1455401"/>
              <a:gd name="connsiteY36" fmla="*/ 266488 h 1866625"/>
              <a:gd name="connsiteX37" fmla="*/ 727700 w 1455401"/>
              <a:gd name="connsiteY3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033051 h 1866625"/>
              <a:gd name="connsiteX30" fmla="*/ 15633 w 1455401"/>
              <a:gd name="connsiteY30" fmla="*/ 1030526 h 1866625"/>
              <a:gd name="connsiteX31" fmla="*/ 0 w 1455401"/>
              <a:gd name="connsiteY31" fmla="*/ 1017423 h 1866625"/>
              <a:gd name="connsiteX32" fmla="*/ 1 w 1455401"/>
              <a:gd name="connsiteY32" fmla="*/ 296841 h 1866625"/>
              <a:gd name="connsiteX33" fmla="*/ 0 w 1455401"/>
              <a:gd name="connsiteY33" fmla="*/ 296838 h 1866625"/>
              <a:gd name="connsiteX34" fmla="*/ 1 w 1455401"/>
              <a:gd name="connsiteY34" fmla="*/ 296835 h 1866625"/>
              <a:gd name="connsiteX35" fmla="*/ 3758 w 1455401"/>
              <a:gd name="connsiteY35" fmla="*/ 266488 h 1866625"/>
              <a:gd name="connsiteX36" fmla="*/ 727700 w 1455401"/>
              <a:gd name="connsiteY3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15633 w 1455401"/>
              <a:gd name="connsiteY29" fmla="*/ 1030526 h 1866625"/>
              <a:gd name="connsiteX30" fmla="*/ 0 w 1455401"/>
              <a:gd name="connsiteY30" fmla="*/ 1017423 h 1866625"/>
              <a:gd name="connsiteX31" fmla="*/ 1 w 1455401"/>
              <a:gd name="connsiteY31" fmla="*/ 296841 h 1866625"/>
              <a:gd name="connsiteX32" fmla="*/ 0 w 1455401"/>
              <a:gd name="connsiteY32" fmla="*/ 296838 h 1866625"/>
              <a:gd name="connsiteX33" fmla="*/ 1 w 1455401"/>
              <a:gd name="connsiteY33" fmla="*/ 296835 h 1866625"/>
              <a:gd name="connsiteX34" fmla="*/ 3758 w 1455401"/>
              <a:gd name="connsiteY34" fmla="*/ 266488 h 1866625"/>
              <a:gd name="connsiteX35" fmla="*/ 727700 w 1455401"/>
              <a:gd name="connsiteY35"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0 w 1455401"/>
              <a:gd name="connsiteY29" fmla="*/ 1017423 h 1866625"/>
              <a:gd name="connsiteX30" fmla="*/ 1 w 1455401"/>
              <a:gd name="connsiteY30" fmla="*/ 296841 h 1866625"/>
              <a:gd name="connsiteX31" fmla="*/ 0 w 1455401"/>
              <a:gd name="connsiteY31" fmla="*/ 296838 h 1866625"/>
              <a:gd name="connsiteX32" fmla="*/ 1 w 1455401"/>
              <a:gd name="connsiteY32" fmla="*/ 296835 h 1866625"/>
              <a:gd name="connsiteX33" fmla="*/ 3758 w 1455401"/>
              <a:gd name="connsiteY33" fmla="*/ 266488 h 1866625"/>
              <a:gd name="connsiteX34" fmla="*/ 727700 w 1455401"/>
              <a:gd name="connsiteY34"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0 w 1455401"/>
              <a:gd name="connsiteY28" fmla="*/ 1017423 h 1866625"/>
              <a:gd name="connsiteX29" fmla="*/ 1 w 1455401"/>
              <a:gd name="connsiteY29" fmla="*/ 296841 h 1866625"/>
              <a:gd name="connsiteX30" fmla="*/ 0 w 1455401"/>
              <a:gd name="connsiteY30" fmla="*/ 296838 h 1866625"/>
              <a:gd name="connsiteX31" fmla="*/ 1 w 1455401"/>
              <a:gd name="connsiteY31" fmla="*/ 296835 h 1866625"/>
              <a:gd name="connsiteX32" fmla="*/ 3758 w 1455401"/>
              <a:gd name="connsiteY32" fmla="*/ 266488 h 1866625"/>
              <a:gd name="connsiteX33" fmla="*/ 727700 w 1455401"/>
              <a:gd name="connsiteY33"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 w 1455401"/>
              <a:gd name="connsiteY28" fmla="*/ 296841 h 1866625"/>
              <a:gd name="connsiteX29" fmla="*/ 0 w 1455401"/>
              <a:gd name="connsiteY29" fmla="*/ 296838 h 1866625"/>
              <a:gd name="connsiteX30" fmla="*/ 1 w 1455401"/>
              <a:gd name="connsiteY30" fmla="*/ 296835 h 1866625"/>
              <a:gd name="connsiteX31" fmla="*/ 3758 w 1455401"/>
              <a:gd name="connsiteY31" fmla="*/ 266488 h 1866625"/>
              <a:gd name="connsiteX32" fmla="*/ 727700 w 1455401"/>
              <a:gd name="connsiteY32"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296841 h 1866625"/>
              <a:gd name="connsiteX28" fmla="*/ 0 w 1455401"/>
              <a:gd name="connsiteY28" fmla="*/ 296838 h 1866625"/>
              <a:gd name="connsiteX29" fmla="*/ 1 w 1455401"/>
              <a:gd name="connsiteY29" fmla="*/ 296835 h 1866625"/>
              <a:gd name="connsiteX30" fmla="*/ 3758 w 1455401"/>
              <a:gd name="connsiteY30" fmla="*/ 266488 h 1866625"/>
              <a:gd name="connsiteX31" fmla="*/ 727700 w 1455401"/>
              <a:gd name="connsiteY31"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143359 h 1866625"/>
              <a:gd name="connsiteX13" fmla="*/ 1439768 w 1455401"/>
              <a:gd name="connsiteY13" fmla="*/ 1140834 h 1866625"/>
              <a:gd name="connsiteX14" fmla="*/ 1455401 w 1455401"/>
              <a:gd name="connsiteY14" fmla="*/ 1127732 h 1866625"/>
              <a:gd name="connsiteX15" fmla="*/ 1455401 w 1455401"/>
              <a:gd name="connsiteY15" fmla="*/ 1569784 h 1866625"/>
              <a:gd name="connsiteX16" fmla="*/ 1455401 w 1455401"/>
              <a:gd name="connsiteY16" fmla="*/ 1569787 h 1866625"/>
              <a:gd name="connsiteX17" fmla="*/ 1455401 w 1455401"/>
              <a:gd name="connsiteY17" fmla="*/ 1569790 h 1866625"/>
              <a:gd name="connsiteX18" fmla="*/ 1455401 w 1455401"/>
              <a:gd name="connsiteY18" fmla="*/ 1578767 h 1866625"/>
              <a:gd name="connsiteX19" fmla="*/ 1454289 w 1455401"/>
              <a:gd name="connsiteY19" fmla="*/ 1578767 h 1866625"/>
              <a:gd name="connsiteX20" fmla="*/ 1451644 w 1455401"/>
              <a:gd name="connsiteY20" fmla="*/ 1600137 h 1866625"/>
              <a:gd name="connsiteX21" fmla="*/ 727701 w 1455401"/>
              <a:gd name="connsiteY21" fmla="*/ 1866625 h 1866625"/>
              <a:gd name="connsiteX22" fmla="*/ 3758 w 1455401"/>
              <a:gd name="connsiteY22" fmla="*/ 1600137 h 1866625"/>
              <a:gd name="connsiteX23" fmla="*/ 1113 w 1455401"/>
              <a:gd name="connsiteY23" fmla="*/ 1578767 h 1866625"/>
              <a:gd name="connsiteX24" fmla="*/ 1 w 1455401"/>
              <a:gd name="connsiteY24" fmla="*/ 1578767 h 1866625"/>
              <a:gd name="connsiteX25" fmla="*/ 1 w 1455401"/>
              <a:gd name="connsiteY25" fmla="*/ 1569787 h 1866625"/>
              <a:gd name="connsiteX26" fmla="*/ 1 w 1455401"/>
              <a:gd name="connsiteY26" fmla="*/ 296841 h 1866625"/>
              <a:gd name="connsiteX27" fmla="*/ 0 w 1455401"/>
              <a:gd name="connsiteY27" fmla="*/ 296838 h 1866625"/>
              <a:gd name="connsiteX28" fmla="*/ 1 w 1455401"/>
              <a:gd name="connsiteY28" fmla="*/ 296835 h 1866625"/>
              <a:gd name="connsiteX29" fmla="*/ 3758 w 1455401"/>
              <a:gd name="connsiteY29" fmla="*/ 266488 h 1866625"/>
              <a:gd name="connsiteX30" fmla="*/ 727700 w 1455401"/>
              <a:gd name="connsiteY30"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4352 w 1455401"/>
              <a:gd name="connsiteY11" fmla="*/ 1143359 h 1866625"/>
              <a:gd name="connsiteX12" fmla="*/ 1439768 w 1455401"/>
              <a:gd name="connsiteY12" fmla="*/ 1140834 h 1866625"/>
              <a:gd name="connsiteX13" fmla="*/ 1455401 w 1455401"/>
              <a:gd name="connsiteY13" fmla="*/ 1127732 h 1866625"/>
              <a:gd name="connsiteX14" fmla="*/ 1455401 w 1455401"/>
              <a:gd name="connsiteY14" fmla="*/ 1569784 h 1866625"/>
              <a:gd name="connsiteX15" fmla="*/ 1455401 w 1455401"/>
              <a:gd name="connsiteY15" fmla="*/ 1569787 h 1866625"/>
              <a:gd name="connsiteX16" fmla="*/ 1455401 w 1455401"/>
              <a:gd name="connsiteY16" fmla="*/ 1569790 h 1866625"/>
              <a:gd name="connsiteX17" fmla="*/ 1455401 w 1455401"/>
              <a:gd name="connsiteY17" fmla="*/ 1578767 h 1866625"/>
              <a:gd name="connsiteX18" fmla="*/ 1454289 w 1455401"/>
              <a:gd name="connsiteY18" fmla="*/ 1578767 h 1866625"/>
              <a:gd name="connsiteX19" fmla="*/ 1451644 w 1455401"/>
              <a:gd name="connsiteY19" fmla="*/ 1600137 h 1866625"/>
              <a:gd name="connsiteX20" fmla="*/ 727701 w 1455401"/>
              <a:gd name="connsiteY20" fmla="*/ 1866625 h 1866625"/>
              <a:gd name="connsiteX21" fmla="*/ 3758 w 1455401"/>
              <a:gd name="connsiteY21" fmla="*/ 1600137 h 1866625"/>
              <a:gd name="connsiteX22" fmla="*/ 1113 w 1455401"/>
              <a:gd name="connsiteY22" fmla="*/ 1578767 h 1866625"/>
              <a:gd name="connsiteX23" fmla="*/ 1 w 1455401"/>
              <a:gd name="connsiteY23" fmla="*/ 1578767 h 1866625"/>
              <a:gd name="connsiteX24" fmla="*/ 1 w 1455401"/>
              <a:gd name="connsiteY24" fmla="*/ 1569787 h 1866625"/>
              <a:gd name="connsiteX25" fmla="*/ 1 w 1455401"/>
              <a:gd name="connsiteY25" fmla="*/ 296841 h 1866625"/>
              <a:gd name="connsiteX26" fmla="*/ 0 w 1455401"/>
              <a:gd name="connsiteY26" fmla="*/ 296838 h 1866625"/>
              <a:gd name="connsiteX27" fmla="*/ 1 w 1455401"/>
              <a:gd name="connsiteY27" fmla="*/ 296835 h 1866625"/>
              <a:gd name="connsiteX28" fmla="*/ 3758 w 1455401"/>
              <a:gd name="connsiteY28" fmla="*/ 266488 h 1866625"/>
              <a:gd name="connsiteX29" fmla="*/ 727700 w 1455401"/>
              <a:gd name="connsiteY29"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127732 h 1866625"/>
              <a:gd name="connsiteX13" fmla="*/ 1455401 w 1455401"/>
              <a:gd name="connsiteY13" fmla="*/ 1569784 h 1866625"/>
              <a:gd name="connsiteX14" fmla="*/ 1455401 w 1455401"/>
              <a:gd name="connsiteY14" fmla="*/ 1569787 h 1866625"/>
              <a:gd name="connsiteX15" fmla="*/ 1455401 w 1455401"/>
              <a:gd name="connsiteY15" fmla="*/ 1569790 h 1866625"/>
              <a:gd name="connsiteX16" fmla="*/ 1455401 w 1455401"/>
              <a:gd name="connsiteY16" fmla="*/ 1578767 h 1866625"/>
              <a:gd name="connsiteX17" fmla="*/ 1454289 w 1455401"/>
              <a:gd name="connsiteY17" fmla="*/ 1578767 h 1866625"/>
              <a:gd name="connsiteX18" fmla="*/ 1451644 w 1455401"/>
              <a:gd name="connsiteY18" fmla="*/ 1600137 h 1866625"/>
              <a:gd name="connsiteX19" fmla="*/ 727701 w 1455401"/>
              <a:gd name="connsiteY19" fmla="*/ 1866625 h 1866625"/>
              <a:gd name="connsiteX20" fmla="*/ 3758 w 1455401"/>
              <a:gd name="connsiteY20" fmla="*/ 1600137 h 1866625"/>
              <a:gd name="connsiteX21" fmla="*/ 1113 w 1455401"/>
              <a:gd name="connsiteY21" fmla="*/ 1578767 h 1866625"/>
              <a:gd name="connsiteX22" fmla="*/ 1 w 1455401"/>
              <a:gd name="connsiteY22" fmla="*/ 1578767 h 1866625"/>
              <a:gd name="connsiteX23" fmla="*/ 1 w 1455401"/>
              <a:gd name="connsiteY23" fmla="*/ 1569787 h 1866625"/>
              <a:gd name="connsiteX24" fmla="*/ 1 w 1455401"/>
              <a:gd name="connsiteY24" fmla="*/ 296841 h 1866625"/>
              <a:gd name="connsiteX25" fmla="*/ 0 w 1455401"/>
              <a:gd name="connsiteY25" fmla="*/ 296838 h 1866625"/>
              <a:gd name="connsiteX26" fmla="*/ 1 w 1455401"/>
              <a:gd name="connsiteY26" fmla="*/ 296835 h 1866625"/>
              <a:gd name="connsiteX27" fmla="*/ 3758 w 1455401"/>
              <a:gd name="connsiteY27" fmla="*/ 266488 h 1866625"/>
              <a:gd name="connsiteX28" fmla="*/ 727700 w 1455401"/>
              <a:gd name="connsiteY28"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569784 h 1866625"/>
              <a:gd name="connsiteX13" fmla="*/ 1455401 w 1455401"/>
              <a:gd name="connsiteY13" fmla="*/ 1569787 h 1866625"/>
              <a:gd name="connsiteX14" fmla="*/ 1455401 w 1455401"/>
              <a:gd name="connsiteY14" fmla="*/ 1569790 h 1866625"/>
              <a:gd name="connsiteX15" fmla="*/ 1455401 w 1455401"/>
              <a:gd name="connsiteY15" fmla="*/ 1578767 h 1866625"/>
              <a:gd name="connsiteX16" fmla="*/ 1454289 w 1455401"/>
              <a:gd name="connsiteY16" fmla="*/ 1578767 h 1866625"/>
              <a:gd name="connsiteX17" fmla="*/ 1451644 w 1455401"/>
              <a:gd name="connsiteY17" fmla="*/ 1600137 h 1866625"/>
              <a:gd name="connsiteX18" fmla="*/ 727701 w 1455401"/>
              <a:gd name="connsiteY18" fmla="*/ 1866625 h 1866625"/>
              <a:gd name="connsiteX19" fmla="*/ 3758 w 1455401"/>
              <a:gd name="connsiteY19" fmla="*/ 1600137 h 1866625"/>
              <a:gd name="connsiteX20" fmla="*/ 1113 w 1455401"/>
              <a:gd name="connsiteY20" fmla="*/ 1578767 h 1866625"/>
              <a:gd name="connsiteX21" fmla="*/ 1 w 1455401"/>
              <a:gd name="connsiteY21" fmla="*/ 1578767 h 1866625"/>
              <a:gd name="connsiteX22" fmla="*/ 1 w 1455401"/>
              <a:gd name="connsiteY22" fmla="*/ 1569787 h 1866625"/>
              <a:gd name="connsiteX23" fmla="*/ 1 w 1455401"/>
              <a:gd name="connsiteY23" fmla="*/ 296841 h 1866625"/>
              <a:gd name="connsiteX24" fmla="*/ 0 w 1455401"/>
              <a:gd name="connsiteY24" fmla="*/ 296838 h 1866625"/>
              <a:gd name="connsiteX25" fmla="*/ 1 w 1455401"/>
              <a:gd name="connsiteY25" fmla="*/ 296835 h 1866625"/>
              <a:gd name="connsiteX26" fmla="*/ 3758 w 1455401"/>
              <a:gd name="connsiteY26" fmla="*/ 266488 h 1866625"/>
              <a:gd name="connsiteX27" fmla="*/ 727700 w 1455401"/>
              <a:gd name="connsiteY2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55401 w 1455401"/>
              <a:gd name="connsiteY11" fmla="*/ 1569784 h 1866625"/>
              <a:gd name="connsiteX12" fmla="*/ 1455401 w 1455401"/>
              <a:gd name="connsiteY12" fmla="*/ 1569787 h 1866625"/>
              <a:gd name="connsiteX13" fmla="*/ 1455401 w 1455401"/>
              <a:gd name="connsiteY13" fmla="*/ 1569790 h 1866625"/>
              <a:gd name="connsiteX14" fmla="*/ 1455401 w 1455401"/>
              <a:gd name="connsiteY14" fmla="*/ 1578767 h 1866625"/>
              <a:gd name="connsiteX15" fmla="*/ 1454289 w 1455401"/>
              <a:gd name="connsiteY15" fmla="*/ 1578767 h 1866625"/>
              <a:gd name="connsiteX16" fmla="*/ 1451644 w 1455401"/>
              <a:gd name="connsiteY16" fmla="*/ 1600137 h 1866625"/>
              <a:gd name="connsiteX17" fmla="*/ 727701 w 1455401"/>
              <a:gd name="connsiteY17" fmla="*/ 1866625 h 1866625"/>
              <a:gd name="connsiteX18" fmla="*/ 3758 w 1455401"/>
              <a:gd name="connsiteY18" fmla="*/ 1600137 h 1866625"/>
              <a:gd name="connsiteX19" fmla="*/ 1113 w 1455401"/>
              <a:gd name="connsiteY19" fmla="*/ 1578767 h 1866625"/>
              <a:gd name="connsiteX20" fmla="*/ 1 w 1455401"/>
              <a:gd name="connsiteY20" fmla="*/ 1578767 h 1866625"/>
              <a:gd name="connsiteX21" fmla="*/ 1 w 1455401"/>
              <a:gd name="connsiteY21" fmla="*/ 1569787 h 1866625"/>
              <a:gd name="connsiteX22" fmla="*/ 1 w 1455401"/>
              <a:gd name="connsiteY22" fmla="*/ 296841 h 1866625"/>
              <a:gd name="connsiteX23" fmla="*/ 0 w 1455401"/>
              <a:gd name="connsiteY23" fmla="*/ 296838 h 1866625"/>
              <a:gd name="connsiteX24" fmla="*/ 1 w 1455401"/>
              <a:gd name="connsiteY24" fmla="*/ 296835 h 1866625"/>
              <a:gd name="connsiteX25" fmla="*/ 3758 w 1455401"/>
              <a:gd name="connsiteY25" fmla="*/ 266488 h 1866625"/>
              <a:gd name="connsiteX26" fmla="*/ 727700 w 1455401"/>
              <a:gd name="connsiteY2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569784 h 1866625"/>
              <a:gd name="connsiteX11" fmla="*/ 1455401 w 1455401"/>
              <a:gd name="connsiteY11" fmla="*/ 1569787 h 1866625"/>
              <a:gd name="connsiteX12" fmla="*/ 1455401 w 1455401"/>
              <a:gd name="connsiteY12" fmla="*/ 1569790 h 1866625"/>
              <a:gd name="connsiteX13" fmla="*/ 1455401 w 1455401"/>
              <a:gd name="connsiteY13" fmla="*/ 1578767 h 1866625"/>
              <a:gd name="connsiteX14" fmla="*/ 1454289 w 1455401"/>
              <a:gd name="connsiteY14" fmla="*/ 1578767 h 1866625"/>
              <a:gd name="connsiteX15" fmla="*/ 1451644 w 1455401"/>
              <a:gd name="connsiteY15" fmla="*/ 1600137 h 1866625"/>
              <a:gd name="connsiteX16" fmla="*/ 727701 w 1455401"/>
              <a:gd name="connsiteY16" fmla="*/ 1866625 h 1866625"/>
              <a:gd name="connsiteX17" fmla="*/ 3758 w 1455401"/>
              <a:gd name="connsiteY17" fmla="*/ 1600137 h 1866625"/>
              <a:gd name="connsiteX18" fmla="*/ 1113 w 1455401"/>
              <a:gd name="connsiteY18" fmla="*/ 1578767 h 1866625"/>
              <a:gd name="connsiteX19" fmla="*/ 1 w 1455401"/>
              <a:gd name="connsiteY19" fmla="*/ 1578767 h 1866625"/>
              <a:gd name="connsiteX20" fmla="*/ 1 w 1455401"/>
              <a:gd name="connsiteY20" fmla="*/ 1569787 h 1866625"/>
              <a:gd name="connsiteX21" fmla="*/ 1 w 1455401"/>
              <a:gd name="connsiteY21" fmla="*/ 296841 h 1866625"/>
              <a:gd name="connsiteX22" fmla="*/ 0 w 1455401"/>
              <a:gd name="connsiteY22" fmla="*/ 296838 h 1866625"/>
              <a:gd name="connsiteX23" fmla="*/ 1 w 1455401"/>
              <a:gd name="connsiteY23" fmla="*/ 296835 h 1866625"/>
              <a:gd name="connsiteX24" fmla="*/ 3758 w 1455401"/>
              <a:gd name="connsiteY24" fmla="*/ 266488 h 1866625"/>
              <a:gd name="connsiteX25" fmla="*/ 727700 w 1455401"/>
              <a:gd name="connsiteY25" fmla="*/ 0 h 1866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455401" h="1866625">
                <a:moveTo>
                  <a:pt x="727701" y="107085"/>
                </a:moveTo>
                <a:cubicBezTo>
                  <a:pt x="450294" y="107085"/>
                  <a:pt x="225411" y="173087"/>
                  <a:pt x="225411" y="254506"/>
                </a:cubicBezTo>
                <a:cubicBezTo>
                  <a:pt x="225411" y="335924"/>
                  <a:pt x="450294" y="401926"/>
                  <a:pt x="727701" y="401926"/>
                </a:cubicBezTo>
                <a:cubicBezTo>
                  <a:pt x="1005108" y="401926"/>
                  <a:pt x="1229991" y="335924"/>
                  <a:pt x="1229991" y="254506"/>
                </a:cubicBezTo>
                <a:cubicBezTo>
                  <a:pt x="1229991" y="173087"/>
                  <a:pt x="1005108" y="107085"/>
                  <a:pt x="727701" y="107085"/>
                </a:cubicBezTo>
                <a:close/>
                <a:moveTo>
                  <a:pt x="727700" y="0"/>
                </a:moveTo>
                <a:cubicBezTo>
                  <a:pt x="1104479" y="0"/>
                  <a:pt x="1414378" y="116806"/>
                  <a:pt x="1451644" y="266488"/>
                </a:cubicBezTo>
                <a:lnTo>
                  <a:pt x="1454289" y="287858"/>
                </a:lnTo>
                <a:lnTo>
                  <a:pt x="1455400" y="287858"/>
                </a:lnTo>
                <a:lnTo>
                  <a:pt x="1455400" y="296838"/>
                </a:lnTo>
                <a:cubicBezTo>
                  <a:pt x="1455400" y="510492"/>
                  <a:pt x="1455401" y="1357626"/>
                  <a:pt x="1455401" y="1569784"/>
                </a:cubicBezTo>
                <a:lnTo>
                  <a:pt x="1455401" y="1569787"/>
                </a:lnTo>
                <a:lnTo>
                  <a:pt x="1455401" y="1569790"/>
                </a:lnTo>
                <a:lnTo>
                  <a:pt x="1455401" y="1578767"/>
                </a:lnTo>
                <a:lnTo>
                  <a:pt x="1454289" y="1578767"/>
                </a:lnTo>
                <a:lnTo>
                  <a:pt x="1451644" y="1600137"/>
                </a:lnTo>
                <a:cubicBezTo>
                  <a:pt x="1414379" y="1749819"/>
                  <a:pt x="1104480" y="1866625"/>
                  <a:pt x="727701" y="1866625"/>
                </a:cubicBezTo>
                <a:cubicBezTo>
                  <a:pt x="350922" y="1866625"/>
                  <a:pt x="41024" y="1749819"/>
                  <a:pt x="3758" y="1600137"/>
                </a:cubicBezTo>
                <a:lnTo>
                  <a:pt x="1113" y="1578767"/>
                </a:lnTo>
                <a:lnTo>
                  <a:pt x="1" y="1578767"/>
                </a:lnTo>
                <a:lnTo>
                  <a:pt x="1" y="1569787"/>
                </a:lnTo>
                <a:lnTo>
                  <a:pt x="1" y="296841"/>
                </a:lnTo>
                <a:cubicBezTo>
                  <a:pt x="1" y="158359"/>
                  <a:pt x="0" y="296839"/>
                  <a:pt x="0" y="296838"/>
                </a:cubicBezTo>
                <a:cubicBezTo>
                  <a:pt x="0" y="296837"/>
                  <a:pt x="1" y="296836"/>
                  <a:pt x="1" y="296835"/>
                </a:cubicBezTo>
                <a:lnTo>
                  <a:pt x="3758" y="266488"/>
                </a:lnTo>
                <a:cubicBezTo>
                  <a:pt x="41023" y="116806"/>
                  <a:pt x="350921" y="0"/>
                  <a:pt x="727700" y="0"/>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77" name="Freeform 182"/>
          <p:cNvSpPr/>
          <p:nvPr/>
        </p:nvSpPr>
        <p:spPr bwMode="auto">
          <a:xfrm>
            <a:off x="766589" y="4623670"/>
            <a:ext cx="365414" cy="468660"/>
          </a:xfrm>
          <a:custGeom>
            <a:avLst/>
            <a:gdLst>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143359 h 1866625"/>
              <a:gd name="connsiteX30" fmla="*/ 21049 w 1455401"/>
              <a:gd name="connsiteY30" fmla="*/ 1033051 h 1866625"/>
              <a:gd name="connsiteX31" fmla="*/ 15633 w 1455401"/>
              <a:gd name="connsiteY31" fmla="*/ 1030526 h 1866625"/>
              <a:gd name="connsiteX32" fmla="*/ 0 w 1455401"/>
              <a:gd name="connsiteY32" fmla="*/ 1017423 h 1866625"/>
              <a:gd name="connsiteX33" fmla="*/ 1 w 1455401"/>
              <a:gd name="connsiteY33" fmla="*/ 296841 h 1866625"/>
              <a:gd name="connsiteX34" fmla="*/ 0 w 1455401"/>
              <a:gd name="connsiteY34" fmla="*/ 296838 h 1866625"/>
              <a:gd name="connsiteX35" fmla="*/ 1 w 1455401"/>
              <a:gd name="connsiteY35" fmla="*/ 296835 h 1866625"/>
              <a:gd name="connsiteX36" fmla="*/ 3758 w 1455401"/>
              <a:gd name="connsiteY36" fmla="*/ 266488 h 1866625"/>
              <a:gd name="connsiteX37" fmla="*/ 727700 w 1455401"/>
              <a:gd name="connsiteY3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033051 h 1866625"/>
              <a:gd name="connsiteX30" fmla="*/ 15633 w 1455401"/>
              <a:gd name="connsiteY30" fmla="*/ 1030526 h 1866625"/>
              <a:gd name="connsiteX31" fmla="*/ 0 w 1455401"/>
              <a:gd name="connsiteY31" fmla="*/ 1017423 h 1866625"/>
              <a:gd name="connsiteX32" fmla="*/ 1 w 1455401"/>
              <a:gd name="connsiteY32" fmla="*/ 296841 h 1866625"/>
              <a:gd name="connsiteX33" fmla="*/ 0 w 1455401"/>
              <a:gd name="connsiteY33" fmla="*/ 296838 h 1866625"/>
              <a:gd name="connsiteX34" fmla="*/ 1 w 1455401"/>
              <a:gd name="connsiteY34" fmla="*/ 296835 h 1866625"/>
              <a:gd name="connsiteX35" fmla="*/ 3758 w 1455401"/>
              <a:gd name="connsiteY35" fmla="*/ 266488 h 1866625"/>
              <a:gd name="connsiteX36" fmla="*/ 727700 w 1455401"/>
              <a:gd name="connsiteY3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15633 w 1455401"/>
              <a:gd name="connsiteY29" fmla="*/ 1030526 h 1866625"/>
              <a:gd name="connsiteX30" fmla="*/ 0 w 1455401"/>
              <a:gd name="connsiteY30" fmla="*/ 1017423 h 1866625"/>
              <a:gd name="connsiteX31" fmla="*/ 1 w 1455401"/>
              <a:gd name="connsiteY31" fmla="*/ 296841 h 1866625"/>
              <a:gd name="connsiteX32" fmla="*/ 0 w 1455401"/>
              <a:gd name="connsiteY32" fmla="*/ 296838 h 1866625"/>
              <a:gd name="connsiteX33" fmla="*/ 1 w 1455401"/>
              <a:gd name="connsiteY33" fmla="*/ 296835 h 1866625"/>
              <a:gd name="connsiteX34" fmla="*/ 3758 w 1455401"/>
              <a:gd name="connsiteY34" fmla="*/ 266488 h 1866625"/>
              <a:gd name="connsiteX35" fmla="*/ 727700 w 1455401"/>
              <a:gd name="connsiteY35"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0 w 1455401"/>
              <a:gd name="connsiteY29" fmla="*/ 1017423 h 1866625"/>
              <a:gd name="connsiteX30" fmla="*/ 1 w 1455401"/>
              <a:gd name="connsiteY30" fmla="*/ 296841 h 1866625"/>
              <a:gd name="connsiteX31" fmla="*/ 0 w 1455401"/>
              <a:gd name="connsiteY31" fmla="*/ 296838 h 1866625"/>
              <a:gd name="connsiteX32" fmla="*/ 1 w 1455401"/>
              <a:gd name="connsiteY32" fmla="*/ 296835 h 1866625"/>
              <a:gd name="connsiteX33" fmla="*/ 3758 w 1455401"/>
              <a:gd name="connsiteY33" fmla="*/ 266488 h 1866625"/>
              <a:gd name="connsiteX34" fmla="*/ 727700 w 1455401"/>
              <a:gd name="connsiteY34"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0 w 1455401"/>
              <a:gd name="connsiteY28" fmla="*/ 1017423 h 1866625"/>
              <a:gd name="connsiteX29" fmla="*/ 1 w 1455401"/>
              <a:gd name="connsiteY29" fmla="*/ 296841 h 1866625"/>
              <a:gd name="connsiteX30" fmla="*/ 0 w 1455401"/>
              <a:gd name="connsiteY30" fmla="*/ 296838 h 1866625"/>
              <a:gd name="connsiteX31" fmla="*/ 1 w 1455401"/>
              <a:gd name="connsiteY31" fmla="*/ 296835 h 1866625"/>
              <a:gd name="connsiteX32" fmla="*/ 3758 w 1455401"/>
              <a:gd name="connsiteY32" fmla="*/ 266488 h 1866625"/>
              <a:gd name="connsiteX33" fmla="*/ 727700 w 1455401"/>
              <a:gd name="connsiteY33"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 w 1455401"/>
              <a:gd name="connsiteY28" fmla="*/ 296841 h 1866625"/>
              <a:gd name="connsiteX29" fmla="*/ 0 w 1455401"/>
              <a:gd name="connsiteY29" fmla="*/ 296838 h 1866625"/>
              <a:gd name="connsiteX30" fmla="*/ 1 w 1455401"/>
              <a:gd name="connsiteY30" fmla="*/ 296835 h 1866625"/>
              <a:gd name="connsiteX31" fmla="*/ 3758 w 1455401"/>
              <a:gd name="connsiteY31" fmla="*/ 266488 h 1866625"/>
              <a:gd name="connsiteX32" fmla="*/ 727700 w 1455401"/>
              <a:gd name="connsiteY32"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296841 h 1866625"/>
              <a:gd name="connsiteX28" fmla="*/ 0 w 1455401"/>
              <a:gd name="connsiteY28" fmla="*/ 296838 h 1866625"/>
              <a:gd name="connsiteX29" fmla="*/ 1 w 1455401"/>
              <a:gd name="connsiteY29" fmla="*/ 296835 h 1866625"/>
              <a:gd name="connsiteX30" fmla="*/ 3758 w 1455401"/>
              <a:gd name="connsiteY30" fmla="*/ 266488 h 1866625"/>
              <a:gd name="connsiteX31" fmla="*/ 727700 w 1455401"/>
              <a:gd name="connsiteY31"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143359 h 1866625"/>
              <a:gd name="connsiteX13" fmla="*/ 1439768 w 1455401"/>
              <a:gd name="connsiteY13" fmla="*/ 1140834 h 1866625"/>
              <a:gd name="connsiteX14" fmla="*/ 1455401 w 1455401"/>
              <a:gd name="connsiteY14" fmla="*/ 1127732 h 1866625"/>
              <a:gd name="connsiteX15" fmla="*/ 1455401 w 1455401"/>
              <a:gd name="connsiteY15" fmla="*/ 1569784 h 1866625"/>
              <a:gd name="connsiteX16" fmla="*/ 1455401 w 1455401"/>
              <a:gd name="connsiteY16" fmla="*/ 1569787 h 1866625"/>
              <a:gd name="connsiteX17" fmla="*/ 1455401 w 1455401"/>
              <a:gd name="connsiteY17" fmla="*/ 1569790 h 1866625"/>
              <a:gd name="connsiteX18" fmla="*/ 1455401 w 1455401"/>
              <a:gd name="connsiteY18" fmla="*/ 1578767 h 1866625"/>
              <a:gd name="connsiteX19" fmla="*/ 1454289 w 1455401"/>
              <a:gd name="connsiteY19" fmla="*/ 1578767 h 1866625"/>
              <a:gd name="connsiteX20" fmla="*/ 1451644 w 1455401"/>
              <a:gd name="connsiteY20" fmla="*/ 1600137 h 1866625"/>
              <a:gd name="connsiteX21" fmla="*/ 727701 w 1455401"/>
              <a:gd name="connsiteY21" fmla="*/ 1866625 h 1866625"/>
              <a:gd name="connsiteX22" fmla="*/ 3758 w 1455401"/>
              <a:gd name="connsiteY22" fmla="*/ 1600137 h 1866625"/>
              <a:gd name="connsiteX23" fmla="*/ 1113 w 1455401"/>
              <a:gd name="connsiteY23" fmla="*/ 1578767 h 1866625"/>
              <a:gd name="connsiteX24" fmla="*/ 1 w 1455401"/>
              <a:gd name="connsiteY24" fmla="*/ 1578767 h 1866625"/>
              <a:gd name="connsiteX25" fmla="*/ 1 w 1455401"/>
              <a:gd name="connsiteY25" fmla="*/ 1569787 h 1866625"/>
              <a:gd name="connsiteX26" fmla="*/ 1 w 1455401"/>
              <a:gd name="connsiteY26" fmla="*/ 296841 h 1866625"/>
              <a:gd name="connsiteX27" fmla="*/ 0 w 1455401"/>
              <a:gd name="connsiteY27" fmla="*/ 296838 h 1866625"/>
              <a:gd name="connsiteX28" fmla="*/ 1 w 1455401"/>
              <a:gd name="connsiteY28" fmla="*/ 296835 h 1866625"/>
              <a:gd name="connsiteX29" fmla="*/ 3758 w 1455401"/>
              <a:gd name="connsiteY29" fmla="*/ 266488 h 1866625"/>
              <a:gd name="connsiteX30" fmla="*/ 727700 w 1455401"/>
              <a:gd name="connsiteY30"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4352 w 1455401"/>
              <a:gd name="connsiteY11" fmla="*/ 1143359 h 1866625"/>
              <a:gd name="connsiteX12" fmla="*/ 1439768 w 1455401"/>
              <a:gd name="connsiteY12" fmla="*/ 1140834 h 1866625"/>
              <a:gd name="connsiteX13" fmla="*/ 1455401 w 1455401"/>
              <a:gd name="connsiteY13" fmla="*/ 1127732 h 1866625"/>
              <a:gd name="connsiteX14" fmla="*/ 1455401 w 1455401"/>
              <a:gd name="connsiteY14" fmla="*/ 1569784 h 1866625"/>
              <a:gd name="connsiteX15" fmla="*/ 1455401 w 1455401"/>
              <a:gd name="connsiteY15" fmla="*/ 1569787 h 1866625"/>
              <a:gd name="connsiteX16" fmla="*/ 1455401 w 1455401"/>
              <a:gd name="connsiteY16" fmla="*/ 1569790 h 1866625"/>
              <a:gd name="connsiteX17" fmla="*/ 1455401 w 1455401"/>
              <a:gd name="connsiteY17" fmla="*/ 1578767 h 1866625"/>
              <a:gd name="connsiteX18" fmla="*/ 1454289 w 1455401"/>
              <a:gd name="connsiteY18" fmla="*/ 1578767 h 1866625"/>
              <a:gd name="connsiteX19" fmla="*/ 1451644 w 1455401"/>
              <a:gd name="connsiteY19" fmla="*/ 1600137 h 1866625"/>
              <a:gd name="connsiteX20" fmla="*/ 727701 w 1455401"/>
              <a:gd name="connsiteY20" fmla="*/ 1866625 h 1866625"/>
              <a:gd name="connsiteX21" fmla="*/ 3758 w 1455401"/>
              <a:gd name="connsiteY21" fmla="*/ 1600137 h 1866625"/>
              <a:gd name="connsiteX22" fmla="*/ 1113 w 1455401"/>
              <a:gd name="connsiteY22" fmla="*/ 1578767 h 1866625"/>
              <a:gd name="connsiteX23" fmla="*/ 1 w 1455401"/>
              <a:gd name="connsiteY23" fmla="*/ 1578767 h 1866625"/>
              <a:gd name="connsiteX24" fmla="*/ 1 w 1455401"/>
              <a:gd name="connsiteY24" fmla="*/ 1569787 h 1866625"/>
              <a:gd name="connsiteX25" fmla="*/ 1 w 1455401"/>
              <a:gd name="connsiteY25" fmla="*/ 296841 h 1866625"/>
              <a:gd name="connsiteX26" fmla="*/ 0 w 1455401"/>
              <a:gd name="connsiteY26" fmla="*/ 296838 h 1866625"/>
              <a:gd name="connsiteX27" fmla="*/ 1 w 1455401"/>
              <a:gd name="connsiteY27" fmla="*/ 296835 h 1866625"/>
              <a:gd name="connsiteX28" fmla="*/ 3758 w 1455401"/>
              <a:gd name="connsiteY28" fmla="*/ 266488 h 1866625"/>
              <a:gd name="connsiteX29" fmla="*/ 727700 w 1455401"/>
              <a:gd name="connsiteY29"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127732 h 1866625"/>
              <a:gd name="connsiteX13" fmla="*/ 1455401 w 1455401"/>
              <a:gd name="connsiteY13" fmla="*/ 1569784 h 1866625"/>
              <a:gd name="connsiteX14" fmla="*/ 1455401 w 1455401"/>
              <a:gd name="connsiteY14" fmla="*/ 1569787 h 1866625"/>
              <a:gd name="connsiteX15" fmla="*/ 1455401 w 1455401"/>
              <a:gd name="connsiteY15" fmla="*/ 1569790 h 1866625"/>
              <a:gd name="connsiteX16" fmla="*/ 1455401 w 1455401"/>
              <a:gd name="connsiteY16" fmla="*/ 1578767 h 1866625"/>
              <a:gd name="connsiteX17" fmla="*/ 1454289 w 1455401"/>
              <a:gd name="connsiteY17" fmla="*/ 1578767 h 1866625"/>
              <a:gd name="connsiteX18" fmla="*/ 1451644 w 1455401"/>
              <a:gd name="connsiteY18" fmla="*/ 1600137 h 1866625"/>
              <a:gd name="connsiteX19" fmla="*/ 727701 w 1455401"/>
              <a:gd name="connsiteY19" fmla="*/ 1866625 h 1866625"/>
              <a:gd name="connsiteX20" fmla="*/ 3758 w 1455401"/>
              <a:gd name="connsiteY20" fmla="*/ 1600137 h 1866625"/>
              <a:gd name="connsiteX21" fmla="*/ 1113 w 1455401"/>
              <a:gd name="connsiteY21" fmla="*/ 1578767 h 1866625"/>
              <a:gd name="connsiteX22" fmla="*/ 1 w 1455401"/>
              <a:gd name="connsiteY22" fmla="*/ 1578767 h 1866625"/>
              <a:gd name="connsiteX23" fmla="*/ 1 w 1455401"/>
              <a:gd name="connsiteY23" fmla="*/ 1569787 h 1866625"/>
              <a:gd name="connsiteX24" fmla="*/ 1 w 1455401"/>
              <a:gd name="connsiteY24" fmla="*/ 296841 h 1866625"/>
              <a:gd name="connsiteX25" fmla="*/ 0 w 1455401"/>
              <a:gd name="connsiteY25" fmla="*/ 296838 h 1866625"/>
              <a:gd name="connsiteX26" fmla="*/ 1 w 1455401"/>
              <a:gd name="connsiteY26" fmla="*/ 296835 h 1866625"/>
              <a:gd name="connsiteX27" fmla="*/ 3758 w 1455401"/>
              <a:gd name="connsiteY27" fmla="*/ 266488 h 1866625"/>
              <a:gd name="connsiteX28" fmla="*/ 727700 w 1455401"/>
              <a:gd name="connsiteY28"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569784 h 1866625"/>
              <a:gd name="connsiteX13" fmla="*/ 1455401 w 1455401"/>
              <a:gd name="connsiteY13" fmla="*/ 1569787 h 1866625"/>
              <a:gd name="connsiteX14" fmla="*/ 1455401 w 1455401"/>
              <a:gd name="connsiteY14" fmla="*/ 1569790 h 1866625"/>
              <a:gd name="connsiteX15" fmla="*/ 1455401 w 1455401"/>
              <a:gd name="connsiteY15" fmla="*/ 1578767 h 1866625"/>
              <a:gd name="connsiteX16" fmla="*/ 1454289 w 1455401"/>
              <a:gd name="connsiteY16" fmla="*/ 1578767 h 1866625"/>
              <a:gd name="connsiteX17" fmla="*/ 1451644 w 1455401"/>
              <a:gd name="connsiteY17" fmla="*/ 1600137 h 1866625"/>
              <a:gd name="connsiteX18" fmla="*/ 727701 w 1455401"/>
              <a:gd name="connsiteY18" fmla="*/ 1866625 h 1866625"/>
              <a:gd name="connsiteX19" fmla="*/ 3758 w 1455401"/>
              <a:gd name="connsiteY19" fmla="*/ 1600137 h 1866625"/>
              <a:gd name="connsiteX20" fmla="*/ 1113 w 1455401"/>
              <a:gd name="connsiteY20" fmla="*/ 1578767 h 1866625"/>
              <a:gd name="connsiteX21" fmla="*/ 1 w 1455401"/>
              <a:gd name="connsiteY21" fmla="*/ 1578767 h 1866625"/>
              <a:gd name="connsiteX22" fmla="*/ 1 w 1455401"/>
              <a:gd name="connsiteY22" fmla="*/ 1569787 h 1866625"/>
              <a:gd name="connsiteX23" fmla="*/ 1 w 1455401"/>
              <a:gd name="connsiteY23" fmla="*/ 296841 h 1866625"/>
              <a:gd name="connsiteX24" fmla="*/ 0 w 1455401"/>
              <a:gd name="connsiteY24" fmla="*/ 296838 h 1866625"/>
              <a:gd name="connsiteX25" fmla="*/ 1 w 1455401"/>
              <a:gd name="connsiteY25" fmla="*/ 296835 h 1866625"/>
              <a:gd name="connsiteX26" fmla="*/ 3758 w 1455401"/>
              <a:gd name="connsiteY26" fmla="*/ 266488 h 1866625"/>
              <a:gd name="connsiteX27" fmla="*/ 727700 w 1455401"/>
              <a:gd name="connsiteY2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55401 w 1455401"/>
              <a:gd name="connsiteY11" fmla="*/ 1569784 h 1866625"/>
              <a:gd name="connsiteX12" fmla="*/ 1455401 w 1455401"/>
              <a:gd name="connsiteY12" fmla="*/ 1569787 h 1866625"/>
              <a:gd name="connsiteX13" fmla="*/ 1455401 w 1455401"/>
              <a:gd name="connsiteY13" fmla="*/ 1569790 h 1866625"/>
              <a:gd name="connsiteX14" fmla="*/ 1455401 w 1455401"/>
              <a:gd name="connsiteY14" fmla="*/ 1578767 h 1866625"/>
              <a:gd name="connsiteX15" fmla="*/ 1454289 w 1455401"/>
              <a:gd name="connsiteY15" fmla="*/ 1578767 h 1866625"/>
              <a:gd name="connsiteX16" fmla="*/ 1451644 w 1455401"/>
              <a:gd name="connsiteY16" fmla="*/ 1600137 h 1866625"/>
              <a:gd name="connsiteX17" fmla="*/ 727701 w 1455401"/>
              <a:gd name="connsiteY17" fmla="*/ 1866625 h 1866625"/>
              <a:gd name="connsiteX18" fmla="*/ 3758 w 1455401"/>
              <a:gd name="connsiteY18" fmla="*/ 1600137 h 1866625"/>
              <a:gd name="connsiteX19" fmla="*/ 1113 w 1455401"/>
              <a:gd name="connsiteY19" fmla="*/ 1578767 h 1866625"/>
              <a:gd name="connsiteX20" fmla="*/ 1 w 1455401"/>
              <a:gd name="connsiteY20" fmla="*/ 1578767 h 1866625"/>
              <a:gd name="connsiteX21" fmla="*/ 1 w 1455401"/>
              <a:gd name="connsiteY21" fmla="*/ 1569787 h 1866625"/>
              <a:gd name="connsiteX22" fmla="*/ 1 w 1455401"/>
              <a:gd name="connsiteY22" fmla="*/ 296841 h 1866625"/>
              <a:gd name="connsiteX23" fmla="*/ 0 w 1455401"/>
              <a:gd name="connsiteY23" fmla="*/ 296838 h 1866625"/>
              <a:gd name="connsiteX24" fmla="*/ 1 w 1455401"/>
              <a:gd name="connsiteY24" fmla="*/ 296835 h 1866625"/>
              <a:gd name="connsiteX25" fmla="*/ 3758 w 1455401"/>
              <a:gd name="connsiteY25" fmla="*/ 266488 h 1866625"/>
              <a:gd name="connsiteX26" fmla="*/ 727700 w 1455401"/>
              <a:gd name="connsiteY2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569784 h 1866625"/>
              <a:gd name="connsiteX11" fmla="*/ 1455401 w 1455401"/>
              <a:gd name="connsiteY11" fmla="*/ 1569787 h 1866625"/>
              <a:gd name="connsiteX12" fmla="*/ 1455401 w 1455401"/>
              <a:gd name="connsiteY12" fmla="*/ 1569790 h 1866625"/>
              <a:gd name="connsiteX13" fmla="*/ 1455401 w 1455401"/>
              <a:gd name="connsiteY13" fmla="*/ 1578767 h 1866625"/>
              <a:gd name="connsiteX14" fmla="*/ 1454289 w 1455401"/>
              <a:gd name="connsiteY14" fmla="*/ 1578767 h 1866625"/>
              <a:gd name="connsiteX15" fmla="*/ 1451644 w 1455401"/>
              <a:gd name="connsiteY15" fmla="*/ 1600137 h 1866625"/>
              <a:gd name="connsiteX16" fmla="*/ 727701 w 1455401"/>
              <a:gd name="connsiteY16" fmla="*/ 1866625 h 1866625"/>
              <a:gd name="connsiteX17" fmla="*/ 3758 w 1455401"/>
              <a:gd name="connsiteY17" fmla="*/ 1600137 h 1866625"/>
              <a:gd name="connsiteX18" fmla="*/ 1113 w 1455401"/>
              <a:gd name="connsiteY18" fmla="*/ 1578767 h 1866625"/>
              <a:gd name="connsiteX19" fmla="*/ 1 w 1455401"/>
              <a:gd name="connsiteY19" fmla="*/ 1578767 h 1866625"/>
              <a:gd name="connsiteX20" fmla="*/ 1 w 1455401"/>
              <a:gd name="connsiteY20" fmla="*/ 1569787 h 1866625"/>
              <a:gd name="connsiteX21" fmla="*/ 1 w 1455401"/>
              <a:gd name="connsiteY21" fmla="*/ 296841 h 1866625"/>
              <a:gd name="connsiteX22" fmla="*/ 0 w 1455401"/>
              <a:gd name="connsiteY22" fmla="*/ 296838 h 1866625"/>
              <a:gd name="connsiteX23" fmla="*/ 1 w 1455401"/>
              <a:gd name="connsiteY23" fmla="*/ 296835 h 1866625"/>
              <a:gd name="connsiteX24" fmla="*/ 3758 w 1455401"/>
              <a:gd name="connsiteY24" fmla="*/ 266488 h 1866625"/>
              <a:gd name="connsiteX25" fmla="*/ 727700 w 1455401"/>
              <a:gd name="connsiteY25" fmla="*/ 0 h 1866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455401" h="1866625">
                <a:moveTo>
                  <a:pt x="727701" y="107085"/>
                </a:moveTo>
                <a:cubicBezTo>
                  <a:pt x="450294" y="107085"/>
                  <a:pt x="225411" y="173087"/>
                  <a:pt x="225411" y="254506"/>
                </a:cubicBezTo>
                <a:cubicBezTo>
                  <a:pt x="225411" y="335924"/>
                  <a:pt x="450294" y="401926"/>
                  <a:pt x="727701" y="401926"/>
                </a:cubicBezTo>
                <a:cubicBezTo>
                  <a:pt x="1005108" y="401926"/>
                  <a:pt x="1229991" y="335924"/>
                  <a:pt x="1229991" y="254506"/>
                </a:cubicBezTo>
                <a:cubicBezTo>
                  <a:pt x="1229991" y="173087"/>
                  <a:pt x="1005108" y="107085"/>
                  <a:pt x="727701" y="107085"/>
                </a:cubicBezTo>
                <a:close/>
                <a:moveTo>
                  <a:pt x="727700" y="0"/>
                </a:moveTo>
                <a:cubicBezTo>
                  <a:pt x="1104479" y="0"/>
                  <a:pt x="1414378" y="116806"/>
                  <a:pt x="1451644" y="266488"/>
                </a:cubicBezTo>
                <a:lnTo>
                  <a:pt x="1454289" y="287858"/>
                </a:lnTo>
                <a:lnTo>
                  <a:pt x="1455400" y="287858"/>
                </a:lnTo>
                <a:lnTo>
                  <a:pt x="1455400" y="296838"/>
                </a:lnTo>
                <a:cubicBezTo>
                  <a:pt x="1455400" y="510492"/>
                  <a:pt x="1455401" y="1357626"/>
                  <a:pt x="1455401" y="1569784"/>
                </a:cubicBezTo>
                <a:lnTo>
                  <a:pt x="1455401" y="1569787"/>
                </a:lnTo>
                <a:lnTo>
                  <a:pt x="1455401" y="1569790"/>
                </a:lnTo>
                <a:lnTo>
                  <a:pt x="1455401" y="1578767"/>
                </a:lnTo>
                <a:lnTo>
                  <a:pt x="1454289" y="1578767"/>
                </a:lnTo>
                <a:lnTo>
                  <a:pt x="1451644" y="1600137"/>
                </a:lnTo>
                <a:cubicBezTo>
                  <a:pt x="1414379" y="1749819"/>
                  <a:pt x="1104480" y="1866625"/>
                  <a:pt x="727701" y="1866625"/>
                </a:cubicBezTo>
                <a:cubicBezTo>
                  <a:pt x="350922" y="1866625"/>
                  <a:pt x="41024" y="1749819"/>
                  <a:pt x="3758" y="1600137"/>
                </a:cubicBezTo>
                <a:lnTo>
                  <a:pt x="1113" y="1578767"/>
                </a:lnTo>
                <a:lnTo>
                  <a:pt x="1" y="1578767"/>
                </a:lnTo>
                <a:lnTo>
                  <a:pt x="1" y="1569787"/>
                </a:lnTo>
                <a:lnTo>
                  <a:pt x="1" y="296841"/>
                </a:lnTo>
                <a:cubicBezTo>
                  <a:pt x="1" y="158359"/>
                  <a:pt x="0" y="296839"/>
                  <a:pt x="0" y="296838"/>
                </a:cubicBezTo>
                <a:cubicBezTo>
                  <a:pt x="0" y="296837"/>
                  <a:pt x="1" y="296836"/>
                  <a:pt x="1" y="296835"/>
                </a:cubicBezTo>
                <a:lnTo>
                  <a:pt x="3758" y="266488"/>
                </a:lnTo>
                <a:cubicBezTo>
                  <a:pt x="41023" y="116806"/>
                  <a:pt x="350921" y="0"/>
                  <a:pt x="727700" y="0"/>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78" name="Freeform 182"/>
          <p:cNvSpPr/>
          <p:nvPr/>
        </p:nvSpPr>
        <p:spPr bwMode="auto">
          <a:xfrm>
            <a:off x="766589" y="5831154"/>
            <a:ext cx="365414" cy="468660"/>
          </a:xfrm>
          <a:custGeom>
            <a:avLst/>
            <a:gdLst>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143359 h 1866625"/>
              <a:gd name="connsiteX30" fmla="*/ 21049 w 1455401"/>
              <a:gd name="connsiteY30" fmla="*/ 1033051 h 1866625"/>
              <a:gd name="connsiteX31" fmla="*/ 15633 w 1455401"/>
              <a:gd name="connsiteY31" fmla="*/ 1030526 h 1866625"/>
              <a:gd name="connsiteX32" fmla="*/ 0 w 1455401"/>
              <a:gd name="connsiteY32" fmla="*/ 1017423 h 1866625"/>
              <a:gd name="connsiteX33" fmla="*/ 1 w 1455401"/>
              <a:gd name="connsiteY33" fmla="*/ 296841 h 1866625"/>
              <a:gd name="connsiteX34" fmla="*/ 0 w 1455401"/>
              <a:gd name="connsiteY34" fmla="*/ 296838 h 1866625"/>
              <a:gd name="connsiteX35" fmla="*/ 1 w 1455401"/>
              <a:gd name="connsiteY35" fmla="*/ 296835 h 1866625"/>
              <a:gd name="connsiteX36" fmla="*/ 3758 w 1455401"/>
              <a:gd name="connsiteY36" fmla="*/ 266488 h 1866625"/>
              <a:gd name="connsiteX37" fmla="*/ 727700 w 1455401"/>
              <a:gd name="connsiteY3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033051 h 1866625"/>
              <a:gd name="connsiteX30" fmla="*/ 15633 w 1455401"/>
              <a:gd name="connsiteY30" fmla="*/ 1030526 h 1866625"/>
              <a:gd name="connsiteX31" fmla="*/ 0 w 1455401"/>
              <a:gd name="connsiteY31" fmla="*/ 1017423 h 1866625"/>
              <a:gd name="connsiteX32" fmla="*/ 1 w 1455401"/>
              <a:gd name="connsiteY32" fmla="*/ 296841 h 1866625"/>
              <a:gd name="connsiteX33" fmla="*/ 0 w 1455401"/>
              <a:gd name="connsiteY33" fmla="*/ 296838 h 1866625"/>
              <a:gd name="connsiteX34" fmla="*/ 1 w 1455401"/>
              <a:gd name="connsiteY34" fmla="*/ 296835 h 1866625"/>
              <a:gd name="connsiteX35" fmla="*/ 3758 w 1455401"/>
              <a:gd name="connsiteY35" fmla="*/ 266488 h 1866625"/>
              <a:gd name="connsiteX36" fmla="*/ 727700 w 1455401"/>
              <a:gd name="connsiteY3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15633 w 1455401"/>
              <a:gd name="connsiteY29" fmla="*/ 1030526 h 1866625"/>
              <a:gd name="connsiteX30" fmla="*/ 0 w 1455401"/>
              <a:gd name="connsiteY30" fmla="*/ 1017423 h 1866625"/>
              <a:gd name="connsiteX31" fmla="*/ 1 w 1455401"/>
              <a:gd name="connsiteY31" fmla="*/ 296841 h 1866625"/>
              <a:gd name="connsiteX32" fmla="*/ 0 w 1455401"/>
              <a:gd name="connsiteY32" fmla="*/ 296838 h 1866625"/>
              <a:gd name="connsiteX33" fmla="*/ 1 w 1455401"/>
              <a:gd name="connsiteY33" fmla="*/ 296835 h 1866625"/>
              <a:gd name="connsiteX34" fmla="*/ 3758 w 1455401"/>
              <a:gd name="connsiteY34" fmla="*/ 266488 h 1866625"/>
              <a:gd name="connsiteX35" fmla="*/ 727700 w 1455401"/>
              <a:gd name="connsiteY35"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0 w 1455401"/>
              <a:gd name="connsiteY29" fmla="*/ 1017423 h 1866625"/>
              <a:gd name="connsiteX30" fmla="*/ 1 w 1455401"/>
              <a:gd name="connsiteY30" fmla="*/ 296841 h 1866625"/>
              <a:gd name="connsiteX31" fmla="*/ 0 w 1455401"/>
              <a:gd name="connsiteY31" fmla="*/ 296838 h 1866625"/>
              <a:gd name="connsiteX32" fmla="*/ 1 w 1455401"/>
              <a:gd name="connsiteY32" fmla="*/ 296835 h 1866625"/>
              <a:gd name="connsiteX33" fmla="*/ 3758 w 1455401"/>
              <a:gd name="connsiteY33" fmla="*/ 266488 h 1866625"/>
              <a:gd name="connsiteX34" fmla="*/ 727700 w 1455401"/>
              <a:gd name="connsiteY34"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0 w 1455401"/>
              <a:gd name="connsiteY28" fmla="*/ 1017423 h 1866625"/>
              <a:gd name="connsiteX29" fmla="*/ 1 w 1455401"/>
              <a:gd name="connsiteY29" fmla="*/ 296841 h 1866625"/>
              <a:gd name="connsiteX30" fmla="*/ 0 w 1455401"/>
              <a:gd name="connsiteY30" fmla="*/ 296838 h 1866625"/>
              <a:gd name="connsiteX31" fmla="*/ 1 w 1455401"/>
              <a:gd name="connsiteY31" fmla="*/ 296835 h 1866625"/>
              <a:gd name="connsiteX32" fmla="*/ 3758 w 1455401"/>
              <a:gd name="connsiteY32" fmla="*/ 266488 h 1866625"/>
              <a:gd name="connsiteX33" fmla="*/ 727700 w 1455401"/>
              <a:gd name="connsiteY33"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 w 1455401"/>
              <a:gd name="connsiteY28" fmla="*/ 296841 h 1866625"/>
              <a:gd name="connsiteX29" fmla="*/ 0 w 1455401"/>
              <a:gd name="connsiteY29" fmla="*/ 296838 h 1866625"/>
              <a:gd name="connsiteX30" fmla="*/ 1 w 1455401"/>
              <a:gd name="connsiteY30" fmla="*/ 296835 h 1866625"/>
              <a:gd name="connsiteX31" fmla="*/ 3758 w 1455401"/>
              <a:gd name="connsiteY31" fmla="*/ 266488 h 1866625"/>
              <a:gd name="connsiteX32" fmla="*/ 727700 w 1455401"/>
              <a:gd name="connsiteY32"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296841 h 1866625"/>
              <a:gd name="connsiteX28" fmla="*/ 0 w 1455401"/>
              <a:gd name="connsiteY28" fmla="*/ 296838 h 1866625"/>
              <a:gd name="connsiteX29" fmla="*/ 1 w 1455401"/>
              <a:gd name="connsiteY29" fmla="*/ 296835 h 1866625"/>
              <a:gd name="connsiteX30" fmla="*/ 3758 w 1455401"/>
              <a:gd name="connsiteY30" fmla="*/ 266488 h 1866625"/>
              <a:gd name="connsiteX31" fmla="*/ 727700 w 1455401"/>
              <a:gd name="connsiteY31"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143359 h 1866625"/>
              <a:gd name="connsiteX13" fmla="*/ 1439768 w 1455401"/>
              <a:gd name="connsiteY13" fmla="*/ 1140834 h 1866625"/>
              <a:gd name="connsiteX14" fmla="*/ 1455401 w 1455401"/>
              <a:gd name="connsiteY14" fmla="*/ 1127732 h 1866625"/>
              <a:gd name="connsiteX15" fmla="*/ 1455401 w 1455401"/>
              <a:gd name="connsiteY15" fmla="*/ 1569784 h 1866625"/>
              <a:gd name="connsiteX16" fmla="*/ 1455401 w 1455401"/>
              <a:gd name="connsiteY16" fmla="*/ 1569787 h 1866625"/>
              <a:gd name="connsiteX17" fmla="*/ 1455401 w 1455401"/>
              <a:gd name="connsiteY17" fmla="*/ 1569790 h 1866625"/>
              <a:gd name="connsiteX18" fmla="*/ 1455401 w 1455401"/>
              <a:gd name="connsiteY18" fmla="*/ 1578767 h 1866625"/>
              <a:gd name="connsiteX19" fmla="*/ 1454289 w 1455401"/>
              <a:gd name="connsiteY19" fmla="*/ 1578767 h 1866625"/>
              <a:gd name="connsiteX20" fmla="*/ 1451644 w 1455401"/>
              <a:gd name="connsiteY20" fmla="*/ 1600137 h 1866625"/>
              <a:gd name="connsiteX21" fmla="*/ 727701 w 1455401"/>
              <a:gd name="connsiteY21" fmla="*/ 1866625 h 1866625"/>
              <a:gd name="connsiteX22" fmla="*/ 3758 w 1455401"/>
              <a:gd name="connsiteY22" fmla="*/ 1600137 h 1866625"/>
              <a:gd name="connsiteX23" fmla="*/ 1113 w 1455401"/>
              <a:gd name="connsiteY23" fmla="*/ 1578767 h 1866625"/>
              <a:gd name="connsiteX24" fmla="*/ 1 w 1455401"/>
              <a:gd name="connsiteY24" fmla="*/ 1578767 h 1866625"/>
              <a:gd name="connsiteX25" fmla="*/ 1 w 1455401"/>
              <a:gd name="connsiteY25" fmla="*/ 1569787 h 1866625"/>
              <a:gd name="connsiteX26" fmla="*/ 1 w 1455401"/>
              <a:gd name="connsiteY26" fmla="*/ 296841 h 1866625"/>
              <a:gd name="connsiteX27" fmla="*/ 0 w 1455401"/>
              <a:gd name="connsiteY27" fmla="*/ 296838 h 1866625"/>
              <a:gd name="connsiteX28" fmla="*/ 1 w 1455401"/>
              <a:gd name="connsiteY28" fmla="*/ 296835 h 1866625"/>
              <a:gd name="connsiteX29" fmla="*/ 3758 w 1455401"/>
              <a:gd name="connsiteY29" fmla="*/ 266488 h 1866625"/>
              <a:gd name="connsiteX30" fmla="*/ 727700 w 1455401"/>
              <a:gd name="connsiteY30"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4352 w 1455401"/>
              <a:gd name="connsiteY11" fmla="*/ 1143359 h 1866625"/>
              <a:gd name="connsiteX12" fmla="*/ 1439768 w 1455401"/>
              <a:gd name="connsiteY12" fmla="*/ 1140834 h 1866625"/>
              <a:gd name="connsiteX13" fmla="*/ 1455401 w 1455401"/>
              <a:gd name="connsiteY13" fmla="*/ 1127732 h 1866625"/>
              <a:gd name="connsiteX14" fmla="*/ 1455401 w 1455401"/>
              <a:gd name="connsiteY14" fmla="*/ 1569784 h 1866625"/>
              <a:gd name="connsiteX15" fmla="*/ 1455401 w 1455401"/>
              <a:gd name="connsiteY15" fmla="*/ 1569787 h 1866625"/>
              <a:gd name="connsiteX16" fmla="*/ 1455401 w 1455401"/>
              <a:gd name="connsiteY16" fmla="*/ 1569790 h 1866625"/>
              <a:gd name="connsiteX17" fmla="*/ 1455401 w 1455401"/>
              <a:gd name="connsiteY17" fmla="*/ 1578767 h 1866625"/>
              <a:gd name="connsiteX18" fmla="*/ 1454289 w 1455401"/>
              <a:gd name="connsiteY18" fmla="*/ 1578767 h 1866625"/>
              <a:gd name="connsiteX19" fmla="*/ 1451644 w 1455401"/>
              <a:gd name="connsiteY19" fmla="*/ 1600137 h 1866625"/>
              <a:gd name="connsiteX20" fmla="*/ 727701 w 1455401"/>
              <a:gd name="connsiteY20" fmla="*/ 1866625 h 1866625"/>
              <a:gd name="connsiteX21" fmla="*/ 3758 w 1455401"/>
              <a:gd name="connsiteY21" fmla="*/ 1600137 h 1866625"/>
              <a:gd name="connsiteX22" fmla="*/ 1113 w 1455401"/>
              <a:gd name="connsiteY22" fmla="*/ 1578767 h 1866625"/>
              <a:gd name="connsiteX23" fmla="*/ 1 w 1455401"/>
              <a:gd name="connsiteY23" fmla="*/ 1578767 h 1866625"/>
              <a:gd name="connsiteX24" fmla="*/ 1 w 1455401"/>
              <a:gd name="connsiteY24" fmla="*/ 1569787 h 1866625"/>
              <a:gd name="connsiteX25" fmla="*/ 1 w 1455401"/>
              <a:gd name="connsiteY25" fmla="*/ 296841 h 1866625"/>
              <a:gd name="connsiteX26" fmla="*/ 0 w 1455401"/>
              <a:gd name="connsiteY26" fmla="*/ 296838 h 1866625"/>
              <a:gd name="connsiteX27" fmla="*/ 1 w 1455401"/>
              <a:gd name="connsiteY27" fmla="*/ 296835 h 1866625"/>
              <a:gd name="connsiteX28" fmla="*/ 3758 w 1455401"/>
              <a:gd name="connsiteY28" fmla="*/ 266488 h 1866625"/>
              <a:gd name="connsiteX29" fmla="*/ 727700 w 1455401"/>
              <a:gd name="connsiteY29"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127732 h 1866625"/>
              <a:gd name="connsiteX13" fmla="*/ 1455401 w 1455401"/>
              <a:gd name="connsiteY13" fmla="*/ 1569784 h 1866625"/>
              <a:gd name="connsiteX14" fmla="*/ 1455401 w 1455401"/>
              <a:gd name="connsiteY14" fmla="*/ 1569787 h 1866625"/>
              <a:gd name="connsiteX15" fmla="*/ 1455401 w 1455401"/>
              <a:gd name="connsiteY15" fmla="*/ 1569790 h 1866625"/>
              <a:gd name="connsiteX16" fmla="*/ 1455401 w 1455401"/>
              <a:gd name="connsiteY16" fmla="*/ 1578767 h 1866625"/>
              <a:gd name="connsiteX17" fmla="*/ 1454289 w 1455401"/>
              <a:gd name="connsiteY17" fmla="*/ 1578767 h 1866625"/>
              <a:gd name="connsiteX18" fmla="*/ 1451644 w 1455401"/>
              <a:gd name="connsiteY18" fmla="*/ 1600137 h 1866625"/>
              <a:gd name="connsiteX19" fmla="*/ 727701 w 1455401"/>
              <a:gd name="connsiteY19" fmla="*/ 1866625 h 1866625"/>
              <a:gd name="connsiteX20" fmla="*/ 3758 w 1455401"/>
              <a:gd name="connsiteY20" fmla="*/ 1600137 h 1866625"/>
              <a:gd name="connsiteX21" fmla="*/ 1113 w 1455401"/>
              <a:gd name="connsiteY21" fmla="*/ 1578767 h 1866625"/>
              <a:gd name="connsiteX22" fmla="*/ 1 w 1455401"/>
              <a:gd name="connsiteY22" fmla="*/ 1578767 h 1866625"/>
              <a:gd name="connsiteX23" fmla="*/ 1 w 1455401"/>
              <a:gd name="connsiteY23" fmla="*/ 1569787 h 1866625"/>
              <a:gd name="connsiteX24" fmla="*/ 1 w 1455401"/>
              <a:gd name="connsiteY24" fmla="*/ 296841 h 1866625"/>
              <a:gd name="connsiteX25" fmla="*/ 0 w 1455401"/>
              <a:gd name="connsiteY25" fmla="*/ 296838 h 1866625"/>
              <a:gd name="connsiteX26" fmla="*/ 1 w 1455401"/>
              <a:gd name="connsiteY26" fmla="*/ 296835 h 1866625"/>
              <a:gd name="connsiteX27" fmla="*/ 3758 w 1455401"/>
              <a:gd name="connsiteY27" fmla="*/ 266488 h 1866625"/>
              <a:gd name="connsiteX28" fmla="*/ 727700 w 1455401"/>
              <a:gd name="connsiteY28"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569784 h 1866625"/>
              <a:gd name="connsiteX13" fmla="*/ 1455401 w 1455401"/>
              <a:gd name="connsiteY13" fmla="*/ 1569787 h 1866625"/>
              <a:gd name="connsiteX14" fmla="*/ 1455401 w 1455401"/>
              <a:gd name="connsiteY14" fmla="*/ 1569790 h 1866625"/>
              <a:gd name="connsiteX15" fmla="*/ 1455401 w 1455401"/>
              <a:gd name="connsiteY15" fmla="*/ 1578767 h 1866625"/>
              <a:gd name="connsiteX16" fmla="*/ 1454289 w 1455401"/>
              <a:gd name="connsiteY16" fmla="*/ 1578767 h 1866625"/>
              <a:gd name="connsiteX17" fmla="*/ 1451644 w 1455401"/>
              <a:gd name="connsiteY17" fmla="*/ 1600137 h 1866625"/>
              <a:gd name="connsiteX18" fmla="*/ 727701 w 1455401"/>
              <a:gd name="connsiteY18" fmla="*/ 1866625 h 1866625"/>
              <a:gd name="connsiteX19" fmla="*/ 3758 w 1455401"/>
              <a:gd name="connsiteY19" fmla="*/ 1600137 h 1866625"/>
              <a:gd name="connsiteX20" fmla="*/ 1113 w 1455401"/>
              <a:gd name="connsiteY20" fmla="*/ 1578767 h 1866625"/>
              <a:gd name="connsiteX21" fmla="*/ 1 w 1455401"/>
              <a:gd name="connsiteY21" fmla="*/ 1578767 h 1866625"/>
              <a:gd name="connsiteX22" fmla="*/ 1 w 1455401"/>
              <a:gd name="connsiteY22" fmla="*/ 1569787 h 1866625"/>
              <a:gd name="connsiteX23" fmla="*/ 1 w 1455401"/>
              <a:gd name="connsiteY23" fmla="*/ 296841 h 1866625"/>
              <a:gd name="connsiteX24" fmla="*/ 0 w 1455401"/>
              <a:gd name="connsiteY24" fmla="*/ 296838 h 1866625"/>
              <a:gd name="connsiteX25" fmla="*/ 1 w 1455401"/>
              <a:gd name="connsiteY25" fmla="*/ 296835 h 1866625"/>
              <a:gd name="connsiteX26" fmla="*/ 3758 w 1455401"/>
              <a:gd name="connsiteY26" fmla="*/ 266488 h 1866625"/>
              <a:gd name="connsiteX27" fmla="*/ 727700 w 1455401"/>
              <a:gd name="connsiteY2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55401 w 1455401"/>
              <a:gd name="connsiteY11" fmla="*/ 1569784 h 1866625"/>
              <a:gd name="connsiteX12" fmla="*/ 1455401 w 1455401"/>
              <a:gd name="connsiteY12" fmla="*/ 1569787 h 1866625"/>
              <a:gd name="connsiteX13" fmla="*/ 1455401 w 1455401"/>
              <a:gd name="connsiteY13" fmla="*/ 1569790 h 1866625"/>
              <a:gd name="connsiteX14" fmla="*/ 1455401 w 1455401"/>
              <a:gd name="connsiteY14" fmla="*/ 1578767 h 1866625"/>
              <a:gd name="connsiteX15" fmla="*/ 1454289 w 1455401"/>
              <a:gd name="connsiteY15" fmla="*/ 1578767 h 1866625"/>
              <a:gd name="connsiteX16" fmla="*/ 1451644 w 1455401"/>
              <a:gd name="connsiteY16" fmla="*/ 1600137 h 1866625"/>
              <a:gd name="connsiteX17" fmla="*/ 727701 w 1455401"/>
              <a:gd name="connsiteY17" fmla="*/ 1866625 h 1866625"/>
              <a:gd name="connsiteX18" fmla="*/ 3758 w 1455401"/>
              <a:gd name="connsiteY18" fmla="*/ 1600137 h 1866625"/>
              <a:gd name="connsiteX19" fmla="*/ 1113 w 1455401"/>
              <a:gd name="connsiteY19" fmla="*/ 1578767 h 1866625"/>
              <a:gd name="connsiteX20" fmla="*/ 1 w 1455401"/>
              <a:gd name="connsiteY20" fmla="*/ 1578767 h 1866625"/>
              <a:gd name="connsiteX21" fmla="*/ 1 w 1455401"/>
              <a:gd name="connsiteY21" fmla="*/ 1569787 h 1866625"/>
              <a:gd name="connsiteX22" fmla="*/ 1 w 1455401"/>
              <a:gd name="connsiteY22" fmla="*/ 296841 h 1866625"/>
              <a:gd name="connsiteX23" fmla="*/ 0 w 1455401"/>
              <a:gd name="connsiteY23" fmla="*/ 296838 h 1866625"/>
              <a:gd name="connsiteX24" fmla="*/ 1 w 1455401"/>
              <a:gd name="connsiteY24" fmla="*/ 296835 h 1866625"/>
              <a:gd name="connsiteX25" fmla="*/ 3758 w 1455401"/>
              <a:gd name="connsiteY25" fmla="*/ 266488 h 1866625"/>
              <a:gd name="connsiteX26" fmla="*/ 727700 w 1455401"/>
              <a:gd name="connsiteY2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569784 h 1866625"/>
              <a:gd name="connsiteX11" fmla="*/ 1455401 w 1455401"/>
              <a:gd name="connsiteY11" fmla="*/ 1569787 h 1866625"/>
              <a:gd name="connsiteX12" fmla="*/ 1455401 w 1455401"/>
              <a:gd name="connsiteY12" fmla="*/ 1569790 h 1866625"/>
              <a:gd name="connsiteX13" fmla="*/ 1455401 w 1455401"/>
              <a:gd name="connsiteY13" fmla="*/ 1578767 h 1866625"/>
              <a:gd name="connsiteX14" fmla="*/ 1454289 w 1455401"/>
              <a:gd name="connsiteY14" fmla="*/ 1578767 h 1866625"/>
              <a:gd name="connsiteX15" fmla="*/ 1451644 w 1455401"/>
              <a:gd name="connsiteY15" fmla="*/ 1600137 h 1866625"/>
              <a:gd name="connsiteX16" fmla="*/ 727701 w 1455401"/>
              <a:gd name="connsiteY16" fmla="*/ 1866625 h 1866625"/>
              <a:gd name="connsiteX17" fmla="*/ 3758 w 1455401"/>
              <a:gd name="connsiteY17" fmla="*/ 1600137 h 1866625"/>
              <a:gd name="connsiteX18" fmla="*/ 1113 w 1455401"/>
              <a:gd name="connsiteY18" fmla="*/ 1578767 h 1866625"/>
              <a:gd name="connsiteX19" fmla="*/ 1 w 1455401"/>
              <a:gd name="connsiteY19" fmla="*/ 1578767 h 1866625"/>
              <a:gd name="connsiteX20" fmla="*/ 1 w 1455401"/>
              <a:gd name="connsiteY20" fmla="*/ 1569787 h 1866625"/>
              <a:gd name="connsiteX21" fmla="*/ 1 w 1455401"/>
              <a:gd name="connsiteY21" fmla="*/ 296841 h 1866625"/>
              <a:gd name="connsiteX22" fmla="*/ 0 w 1455401"/>
              <a:gd name="connsiteY22" fmla="*/ 296838 h 1866625"/>
              <a:gd name="connsiteX23" fmla="*/ 1 w 1455401"/>
              <a:gd name="connsiteY23" fmla="*/ 296835 h 1866625"/>
              <a:gd name="connsiteX24" fmla="*/ 3758 w 1455401"/>
              <a:gd name="connsiteY24" fmla="*/ 266488 h 1866625"/>
              <a:gd name="connsiteX25" fmla="*/ 727700 w 1455401"/>
              <a:gd name="connsiteY25" fmla="*/ 0 h 1866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455401" h="1866625">
                <a:moveTo>
                  <a:pt x="727701" y="107085"/>
                </a:moveTo>
                <a:cubicBezTo>
                  <a:pt x="450294" y="107085"/>
                  <a:pt x="225411" y="173087"/>
                  <a:pt x="225411" y="254506"/>
                </a:cubicBezTo>
                <a:cubicBezTo>
                  <a:pt x="225411" y="335924"/>
                  <a:pt x="450294" y="401926"/>
                  <a:pt x="727701" y="401926"/>
                </a:cubicBezTo>
                <a:cubicBezTo>
                  <a:pt x="1005108" y="401926"/>
                  <a:pt x="1229991" y="335924"/>
                  <a:pt x="1229991" y="254506"/>
                </a:cubicBezTo>
                <a:cubicBezTo>
                  <a:pt x="1229991" y="173087"/>
                  <a:pt x="1005108" y="107085"/>
                  <a:pt x="727701" y="107085"/>
                </a:cubicBezTo>
                <a:close/>
                <a:moveTo>
                  <a:pt x="727700" y="0"/>
                </a:moveTo>
                <a:cubicBezTo>
                  <a:pt x="1104479" y="0"/>
                  <a:pt x="1414378" y="116806"/>
                  <a:pt x="1451644" y="266488"/>
                </a:cubicBezTo>
                <a:lnTo>
                  <a:pt x="1454289" y="287858"/>
                </a:lnTo>
                <a:lnTo>
                  <a:pt x="1455400" y="287858"/>
                </a:lnTo>
                <a:lnTo>
                  <a:pt x="1455400" y="296838"/>
                </a:lnTo>
                <a:cubicBezTo>
                  <a:pt x="1455400" y="510492"/>
                  <a:pt x="1455401" y="1357626"/>
                  <a:pt x="1455401" y="1569784"/>
                </a:cubicBezTo>
                <a:lnTo>
                  <a:pt x="1455401" y="1569787"/>
                </a:lnTo>
                <a:lnTo>
                  <a:pt x="1455401" y="1569790"/>
                </a:lnTo>
                <a:lnTo>
                  <a:pt x="1455401" y="1578767"/>
                </a:lnTo>
                <a:lnTo>
                  <a:pt x="1454289" y="1578767"/>
                </a:lnTo>
                <a:lnTo>
                  <a:pt x="1451644" y="1600137"/>
                </a:lnTo>
                <a:cubicBezTo>
                  <a:pt x="1414379" y="1749819"/>
                  <a:pt x="1104480" y="1866625"/>
                  <a:pt x="727701" y="1866625"/>
                </a:cubicBezTo>
                <a:cubicBezTo>
                  <a:pt x="350922" y="1866625"/>
                  <a:pt x="41024" y="1749819"/>
                  <a:pt x="3758" y="1600137"/>
                </a:cubicBezTo>
                <a:lnTo>
                  <a:pt x="1113" y="1578767"/>
                </a:lnTo>
                <a:lnTo>
                  <a:pt x="1" y="1578767"/>
                </a:lnTo>
                <a:lnTo>
                  <a:pt x="1" y="1569787"/>
                </a:lnTo>
                <a:lnTo>
                  <a:pt x="1" y="296841"/>
                </a:lnTo>
                <a:cubicBezTo>
                  <a:pt x="1" y="158359"/>
                  <a:pt x="0" y="296839"/>
                  <a:pt x="0" y="296838"/>
                </a:cubicBezTo>
                <a:cubicBezTo>
                  <a:pt x="0" y="296837"/>
                  <a:pt x="1" y="296836"/>
                  <a:pt x="1" y="296835"/>
                </a:cubicBezTo>
                <a:lnTo>
                  <a:pt x="3758" y="266488"/>
                </a:lnTo>
                <a:cubicBezTo>
                  <a:pt x="41023" y="116806"/>
                  <a:pt x="350921" y="0"/>
                  <a:pt x="727700" y="0"/>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nvGrpSpPr>
          <p:cNvPr id="180" name="Group 179"/>
          <p:cNvGrpSpPr/>
          <p:nvPr/>
        </p:nvGrpSpPr>
        <p:grpSpPr>
          <a:xfrm>
            <a:off x="1667324" y="2037144"/>
            <a:ext cx="128733" cy="2157553"/>
            <a:chOff x="2516027" y="1964052"/>
            <a:chExt cx="271724" cy="4592592"/>
          </a:xfrm>
        </p:grpSpPr>
        <p:cxnSp>
          <p:nvCxnSpPr>
            <p:cNvPr id="181" name="Straight Connector 180"/>
            <p:cNvCxnSpPr/>
            <p:nvPr/>
          </p:nvCxnSpPr>
          <p:spPr>
            <a:xfrm>
              <a:off x="2787751" y="1971989"/>
              <a:ext cx="0" cy="4584655"/>
            </a:xfrm>
            <a:prstGeom prst="line">
              <a:avLst/>
            </a:prstGeom>
            <a:ln w="38100" cap="sq">
              <a:solidFill>
                <a:schemeClr val="accent1"/>
              </a:solidFill>
              <a:prstDash val="sysDash"/>
              <a:miter lim="800000"/>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182" name="Group 181"/>
            <p:cNvGrpSpPr/>
            <p:nvPr/>
          </p:nvGrpSpPr>
          <p:grpSpPr>
            <a:xfrm flipH="1">
              <a:off x="2516027" y="1964052"/>
              <a:ext cx="271344" cy="4592591"/>
              <a:chOff x="778955" y="2315543"/>
              <a:chExt cx="120487" cy="2675519"/>
            </a:xfrm>
          </p:grpSpPr>
          <p:cxnSp>
            <p:nvCxnSpPr>
              <p:cNvPr id="183" name="Straight Connector 182"/>
              <p:cNvCxnSpPr/>
              <p:nvPr/>
            </p:nvCxnSpPr>
            <p:spPr>
              <a:xfrm>
                <a:off x="785855" y="2315543"/>
                <a:ext cx="99580" cy="0"/>
              </a:xfrm>
              <a:prstGeom prst="line">
                <a:avLst/>
              </a:prstGeom>
              <a:ln w="38100" cap="sq">
                <a:solidFill>
                  <a:schemeClr val="accent1"/>
                </a:solidFill>
                <a:prstDash val="sysDash"/>
                <a:miter lim="800000"/>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778955" y="4991062"/>
                <a:ext cx="120487" cy="0"/>
              </a:xfrm>
              <a:prstGeom prst="line">
                <a:avLst/>
              </a:prstGeom>
              <a:ln w="38100" cap="sq">
                <a:solidFill>
                  <a:schemeClr val="accent1"/>
                </a:solidFill>
                <a:prstDash val="sysDash"/>
                <a:miter lim="800000"/>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grpSp>
        <p:nvGrpSpPr>
          <p:cNvPr id="185" name="Group 184"/>
          <p:cNvGrpSpPr/>
          <p:nvPr/>
        </p:nvGrpSpPr>
        <p:grpSpPr>
          <a:xfrm>
            <a:off x="1667324" y="4641388"/>
            <a:ext cx="128733" cy="1888952"/>
            <a:chOff x="2516027" y="1964052"/>
            <a:chExt cx="271724" cy="4592592"/>
          </a:xfrm>
        </p:grpSpPr>
        <p:cxnSp>
          <p:nvCxnSpPr>
            <p:cNvPr id="186" name="Straight Connector 185"/>
            <p:cNvCxnSpPr/>
            <p:nvPr/>
          </p:nvCxnSpPr>
          <p:spPr>
            <a:xfrm>
              <a:off x="2787751" y="1971989"/>
              <a:ext cx="0" cy="4584655"/>
            </a:xfrm>
            <a:prstGeom prst="line">
              <a:avLst/>
            </a:prstGeom>
            <a:ln w="38100" cap="sq">
              <a:solidFill>
                <a:schemeClr val="accent1"/>
              </a:solidFill>
              <a:prstDash val="sysDash"/>
              <a:miter lim="800000"/>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187" name="Group 186"/>
            <p:cNvGrpSpPr/>
            <p:nvPr/>
          </p:nvGrpSpPr>
          <p:grpSpPr>
            <a:xfrm flipH="1">
              <a:off x="2516027" y="1964052"/>
              <a:ext cx="271344" cy="4592591"/>
              <a:chOff x="778955" y="2315543"/>
              <a:chExt cx="120487" cy="2675519"/>
            </a:xfrm>
          </p:grpSpPr>
          <p:cxnSp>
            <p:nvCxnSpPr>
              <p:cNvPr id="188" name="Straight Connector 187"/>
              <p:cNvCxnSpPr/>
              <p:nvPr/>
            </p:nvCxnSpPr>
            <p:spPr>
              <a:xfrm>
                <a:off x="785855" y="2315543"/>
                <a:ext cx="99580" cy="0"/>
              </a:xfrm>
              <a:prstGeom prst="line">
                <a:avLst/>
              </a:prstGeom>
              <a:ln w="38100" cap="sq">
                <a:solidFill>
                  <a:schemeClr val="accent1"/>
                </a:solidFill>
                <a:prstDash val="sysDash"/>
                <a:miter lim="800000"/>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778955" y="4991062"/>
                <a:ext cx="120487" cy="0"/>
              </a:xfrm>
              <a:prstGeom prst="line">
                <a:avLst/>
              </a:prstGeom>
              <a:ln w="38100" cap="sq">
                <a:solidFill>
                  <a:schemeClr val="accent1"/>
                </a:solidFill>
                <a:prstDash val="sysDash"/>
                <a:miter lim="800000"/>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pic>
        <p:nvPicPr>
          <p:cNvPr id="119" name="Picture 2" descr="http://www.ebaytechblog.com/wp-content/uploads/2014/05/spark_logo.png"/>
          <p:cNvPicPr>
            <a:picLocks noChangeAspect="1" noChangeArrowheads="1"/>
          </p:cNvPicPr>
          <p:nvPr/>
        </p:nvPicPr>
        <p:blipFill>
          <a:blip r:embed="rId15" cstate="print">
            <a:duotone>
              <a:schemeClr val="accent3">
                <a:shade val="45000"/>
                <a:satMod val="135000"/>
              </a:schemeClr>
              <a:prstClr val="white"/>
            </a:duotone>
            <a:extLst>
              <a:ext uri="{BEBA8EAE-BF5A-486C-A8C5-ECC9F3942E4B}">
                <a14:imgProps xmlns:a14="http://schemas.microsoft.com/office/drawing/2010/main">
                  <a14:imgLayer r:embed="rId16">
                    <a14:imgEffect>
                      <a14:brightnessContrast bright="-40000" contrast="-40000"/>
                    </a14:imgEffect>
                  </a14:imgLayer>
                </a14:imgProps>
              </a:ext>
              <a:ext uri="{28A0092B-C50C-407E-A947-70E740481C1C}">
                <a14:useLocalDpi xmlns:a14="http://schemas.microsoft.com/office/drawing/2010/main" val="0"/>
              </a:ext>
            </a:extLst>
          </a:blip>
          <a:srcRect/>
          <a:stretch>
            <a:fillRect/>
          </a:stretch>
        </p:blipFill>
        <p:spPr bwMode="auto">
          <a:xfrm>
            <a:off x="4700981" y="5207956"/>
            <a:ext cx="513039" cy="272390"/>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156" name="Picture 2" descr="http://www.ebaytechblog.com/wp-content/uploads/2014/05/spark_logo.png"/>
          <p:cNvPicPr>
            <a:picLocks noChangeAspect="1" noChangeArrowheads="1"/>
          </p:cNvPicPr>
          <p:nvPr/>
        </p:nvPicPr>
        <p:blipFill>
          <a:blip r:embed="rId17" cstate="print">
            <a:duotone>
              <a:schemeClr val="accent3">
                <a:shade val="45000"/>
                <a:satMod val="135000"/>
              </a:schemeClr>
              <a:prstClr val="white"/>
            </a:duotone>
            <a:extLst>
              <a:ext uri="{BEBA8EAE-BF5A-486C-A8C5-ECC9F3942E4B}">
                <a14:imgProps xmlns:a14="http://schemas.microsoft.com/office/drawing/2010/main">
                  <a14:imgLayer r:embed="rId18">
                    <a14:imgEffect>
                      <a14:brightnessContrast bright="-40000" contrast="-40000"/>
                    </a14:imgEffect>
                  </a14:imgLayer>
                </a14:imgProps>
              </a:ext>
              <a:ext uri="{28A0092B-C50C-407E-A947-70E740481C1C}">
                <a14:useLocalDpi xmlns:a14="http://schemas.microsoft.com/office/drawing/2010/main" val="0"/>
              </a:ext>
            </a:extLst>
          </a:blip>
          <a:srcRect/>
          <a:stretch>
            <a:fillRect/>
          </a:stretch>
        </p:blipFill>
        <p:spPr bwMode="auto">
          <a:xfrm>
            <a:off x="6641338" y="5277516"/>
            <a:ext cx="597533" cy="317251"/>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157" name="Picture 156"/>
          <p:cNvPicPr>
            <a:picLocks noChangeAspect="1"/>
          </p:cNvPicPr>
          <p:nvPr/>
        </p:nvPicPr>
        <p:blipFill>
          <a:blip r:embed="rId19" cstate="print">
            <a:extLst>
              <a:ext uri="{28A0092B-C50C-407E-A947-70E740481C1C}">
                <a14:useLocalDpi xmlns:a14="http://schemas.microsoft.com/office/drawing/2010/main" val="0"/>
              </a:ext>
            </a:extLst>
          </a:blip>
          <a:stretch>
            <a:fillRect/>
          </a:stretch>
        </p:blipFill>
        <p:spPr>
          <a:xfrm>
            <a:off x="6438156" y="5718973"/>
            <a:ext cx="406363" cy="299752"/>
          </a:xfrm>
          <a:prstGeom prst="rect">
            <a:avLst/>
          </a:prstGeom>
        </p:spPr>
      </p:pic>
      <p:cxnSp>
        <p:nvCxnSpPr>
          <p:cNvPr id="12" name="Straight Connector 11"/>
          <p:cNvCxnSpPr/>
          <p:nvPr/>
        </p:nvCxnSpPr>
        <p:spPr>
          <a:xfrm>
            <a:off x="4454391" y="6116855"/>
            <a:ext cx="0" cy="502465"/>
          </a:xfrm>
          <a:prstGeom prst="line">
            <a:avLst/>
          </a:prstGeom>
          <a:ln w="38100" cmpd="sng">
            <a:solidFill>
              <a:schemeClr val="accent1"/>
            </a:solidFill>
            <a:prstDash val="sysDash"/>
            <a:headEnd type="none"/>
            <a:tailEnd type="none" w="lg" len="med"/>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a:xfrm flipV="1">
            <a:off x="4462988" y="6601541"/>
            <a:ext cx="4954011" cy="20174"/>
          </a:xfrm>
          <a:prstGeom prst="line">
            <a:avLst/>
          </a:prstGeom>
          <a:ln w="38100" cmpd="sng">
            <a:solidFill>
              <a:schemeClr val="accent1"/>
            </a:solidFill>
            <a:prstDash val="sysDash"/>
            <a:headEnd type="none"/>
            <a:tailEnd type="none" w="lg" len="med"/>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a:xfrm flipV="1">
            <a:off x="9416999" y="4373470"/>
            <a:ext cx="0" cy="2245851"/>
          </a:xfrm>
          <a:prstGeom prst="line">
            <a:avLst/>
          </a:prstGeom>
          <a:ln w="38100" cmpd="sng">
            <a:solidFill>
              <a:schemeClr val="accent1"/>
            </a:solidFill>
            <a:prstDash val="sysDash"/>
            <a:headEnd type="none"/>
            <a:tailEnd type="none" w="lg" len="med"/>
          </a:ln>
        </p:spPr>
        <p:style>
          <a:lnRef idx="1">
            <a:schemeClr val="accent1"/>
          </a:lnRef>
          <a:fillRef idx="0">
            <a:schemeClr val="accent1"/>
          </a:fillRef>
          <a:effectRef idx="0">
            <a:schemeClr val="accent1"/>
          </a:effectRef>
          <a:fontRef idx="minor">
            <a:schemeClr val="tx1"/>
          </a:fontRef>
        </p:style>
      </p:cxnSp>
      <p:cxnSp>
        <p:nvCxnSpPr>
          <p:cNvPr id="19" name="Straight Arrow Connector 18"/>
          <p:cNvCxnSpPr/>
          <p:nvPr/>
        </p:nvCxnSpPr>
        <p:spPr>
          <a:xfrm>
            <a:off x="9379819" y="4373470"/>
            <a:ext cx="826968" cy="0"/>
          </a:xfrm>
          <a:prstGeom prst="straightConnector1">
            <a:avLst/>
          </a:prstGeom>
          <a:ln w="38100" cmpd="sng">
            <a:solidFill>
              <a:schemeClr val="accent1"/>
            </a:solidFill>
            <a:prstDash val="sysDash"/>
            <a:headEnd type="none"/>
            <a:tailEnd type="triangl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90548472"/>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9" name="Rectangle 228"/>
          <p:cNvSpPr/>
          <p:nvPr/>
        </p:nvSpPr>
        <p:spPr bwMode="auto">
          <a:xfrm>
            <a:off x="5054885" y="0"/>
            <a:ext cx="7137115"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defTabSz="932472" eaLnBrk="1" fontAlgn="base" latinLnBrk="0" hangingPunct="1">
              <a:lnSpc>
                <a:spcPct val="90000"/>
              </a:lnSpc>
              <a:spcBef>
                <a:spcPct val="0"/>
              </a:spcBef>
              <a:spcAft>
                <a:spcPct val="0"/>
              </a:spcAft>
              <a:buClrTx/>
              <a:buSzTx/>
              <a:buFontTx/>
              <a:buNone/>
              <a:tabLst/>
              <a:defRPr/>
            </a:pPr>
            <a:endParaRPr kumimoji="0" lang="en-US" sz="6000" b="0" i="0" u="none" strike="noStrike" kern="0" cap="none" spc="0" normalizeH="0" baseline="0" noProof="0" dirty="0">
              <a:ln>
                <a:noFill/>
              </a:ln>
              <a:solidFill>
                <a:schemeClr val="bg1"/>
              </a:solidFill>
              <a:effectLst/>
              <a:uLnTx/>
              <a:uFillTx/>
              <a:latin typeface="+mj-lt"/>
              <a:ea typeface="Segoe UI" pitchFamily="34" charset="0"/>
              <a:cs typeface="Segoe UI" pitchFamily="34" charset="0"/>
            </a:endParaRPr>
          </a:p>
        </p:txBody>
      </p:sp>
      <p:sp>
        <p:nvSpPr>
          <p:cNvPr id="173" name="Rectangle 172"/>
          <p:cNvSpPr/>
          <p:nvPr/>
        </p:nvSpPr>
        <p:spPr bwMode="auto">
          <a:xfrm>
            <a:off x="5054885" y="6503660"/>
            <a:ext cx="7137115" cy="365834"/>
          </a:xfrm>
          <a:prstGeom prst="rect">
            <a:avLst/>
          </a:prstGeom>
          <a:solidFill>
            <a:srgbClr val="79A5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GB" sz="2000" b="1" i="0" u="none" strike="noStrike" kern="0" cap="none" spc="0" normalizeH="0" baseline="0" noProof="0" dirty="0">
              <a:ln>
                <a:noFill/>
              </a:ln>
              <a:solidFill>
                <a:schemeClr val="bg1"/>
              </a:solidFill>
              <a:effectLst/>
              <a:uLnTx/>
              <a:uFillTx/>
              <a:latin typeface="+mj-lt"/>
              <a:ea typeface="Segoe UI" pitchFamily="34" charset="0"/>
              <a:cs typeface="Segoe UI" pitchFamily="34" charset="0"/>
            </a:endParaRPr>
          </a:p>
        </p:txBody>
      </p:sp>
      <p:graphicFrame>
        <p:nvGraphicFramePr>
          <p:cNvPr id="2" name="Object 1"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4520" name="think-cell Slide" r:id="rId5" imgW="377" imgH="377" progId="TCLayout.ActiveDocument.1">
                  <p:embed/>
                </p:oleObj>
              </mc:Choice>
              <mc:Fallback>
                <p:oleObj name="think-cell Slide" r:id="rId5" imgW="377" imgH="377"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 name="TextBox 2"/>
          <p:cNvSpPr txBox="1"/>
          <p:nvPr/>
        </p:nvSpPr>
        <p:spPr>
          <a:xfrm>
            <a:off x="143279" y="2407922"/>
            <a:ext cx="4911606" cy="2376035"/>
          </a:xfrm>
          <a:prstGeom prst="rect">
            <a:avLst/>
          </a:prstGeom>
          <a:noFill/>
        </p:spPr>
        <p:txBody>
          <a:bodyPr wrap="square" lIns="182880" tIns="146304" rIns="182880" bIns="146304" rtlCol="0">
            <a:spAutoFit/>
          </a:body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US" sz="4800" b="0" i="0" u="none" strike="noStrike" kern="0" cap="none" spc="0" normalizeH="0" baseline="0" noProof="0" dirty="0">
                <a:ln>
                  <a:noFill/>
                </a:ln>
                <a:solidFill>
                  <a:schemeClr val="bg1"/>
                </a:solidFill>
                <a:effectLst/>
                <a:uLnTx/>
                <a:uFillTx/>
                <a:latin typeface="+mj-lt"/>
                <a:ea typeface="Segoe UI" pitchFamily="34" charset="0"/>
                <a:cs typeface="Segoe UI" pitchFamily="34" charset="0"/>
              </a:rPr>
              <a:t>ADL Store</a:t>
            </a:r>
            <a:endParaRPr kumimoji="0" lang="en-US" sz="4800" b="0" i="1" u="none" strike="noStrike" kern="0" cap="none" spc="0" normalizeH="0" baseline="0" noProof="0" dirty="0">
              <a:ln>
                <a:noFill/>
              </a:ln>
              <a:solidFill>
                <a:schemeClr val="bg1"/>
              </a:solidFill>
              <a:effectLst/>
              <a:uLnTx/>
              <a:uFillTx/>
              <a:latin typeface="+mj-lt"/>
              <a:ea typeface="Segoe UI" pitchFamily="34" charset="0"/>
              <a:cs typeface="Segoe UI" pitchFamily="34" charset="0"/>
            </a:endParaRPr>
          </a:p>
          <a:p>
            <a:pPr marL="0" marR="0" lvl="0" indent="0" defTabSz="914400" eaLnBrk="1" fontAlgn="auto" latinLnBrk="0" hangingPunct="1">
              <a:lnSpc>
                <a:spcPct val="90000"/>
              </a:lnSpc>
              <a:spcBef>
                <a:spcPts val="1200"/>
              </a:spcBef>
              <a:spcAft>
                <a:spcPts val="600"/>
              </a:spcAft>
              <a:buClrTx/>
              <a:buSzTx/>
              <a:buFontTx/>
              <a:buNone/>
              <a:tabLst/>
              <a:defRPr/>
            </a:pPr>
            <a:r>
              <a:rPr kumimoji="0" lang="en-US" sz="3600" b="0" i="0" u="none" strike="noStrike" kern="0" cap="none" spc="0" normalizeH="0" baseline="0" noProof="0" dirty="0">
                <a:ln>
                  <a:noFill/>
                </a:ln>
                <a:solidFill>
                  <a:schemeClr val="accent1"/>
                </a:solidFill>
                <a:effectLst/>
                <a:uLnTx/>
                <a:uFillTx/>
                <a:latin typeface="+mj-lt"/>
                <a:ea typeface="Segoe UI" pitchFamily="34" charset="0"/>
                <a:cs typeface="Segoe UI" pitchFamily="34" charset="0"/>
              </a:rPr>
              <a:t>Costs</a:t>
            </a:r>
          </a:p>
          <a:p>
            <a:pPr marL="0" marR="0" lvl="0" indent="0" defTabSz="914400" eaLnBrk="1" fontAlgn="auto" latinLnBrk="0" hangingPunct="1">
              <a:lnSpc>
                <a:spcPct val="90000"/>
              </a:lnSpc>
              <a:spcBef>
                <a:spcPts val="0"/>
              </a:spcBef>
              <a:spcAft>
                <a:spcPts val="600"/>
              </a:spcAft>
              <a:buClrTx/>
              <a:buSzTx/>
              <a:buFontTx/>
              <a:buNone/>
              <a:tabLst/>
              <a:defRPr/>
            </a:pPr>
            <a:endParaRPr kumimoji="0" lang="en-US" sz="4400" b="0" i="0" u="none" strike="noStrike" kern="0" cap="none" spc="0" normalizeH="0" baseline="0" noProof="0" dirty="0">
              <a:ln>
                <a:noFill/>
              </a:ln>
              <a:solidFill>
                <a:schemeClr val="accent2"/>
              </a:solidFill>
              <a:effectLst/>
              <a:uLnTx/>
              <a:uFillTx/>
              <a:latin typeface="+mj-lt"/>
              <a:ea typeface="Segoe UI" pitchFamily="34" charset="0"/>
              <a:cs typeface="Segoe UI" pitchFamily="34" charset="0"/>
            </a:endParaRPr>
          </a:p>
        </p:txBody>
      </p:sp>
      <p:grpSp>
        <p:nvGrpSpPr>
          <p:cNvPr id="253" name="Group 252"/>
          <p:cNvGrpSpPr/>
          <p:nvPr/>
        </p:nvGrpSpPr>
        <p:grpSpPr>
          <a:xfrm>
            <a:off x="8928100" y="4765407"/>
            <a:ext cx="3263900" cy="1819124"/>
            <a:chOff x="8372475" y="2503488"/>
            <a:chExt cx="3446463" cy="1920875"/>
          </a:xfrm>
        </p:grpSpPr>
        <p:sp>
          <p:nvSpPr>
            <p:cNvPr id="6" name="Freeform 5"/>
            <p:cNvSpPr>
              <a:spLocks/>
            </p:cNvSpPr>
            <p:nvPr/>
          </p:nvSpPr>
          <p:spPr bwMode="auto">
            <a:xfrm>
              <a:off x="9236075" y="3125788"/>
              <a:ext cx="2343150" cy="815975"/>
            </a:xfrm>
            <a:custGeom>
              <a:avLst/>
              <a:gdLst>
                <a:gd name="T0" fmla="*/ 8 w 1476"/>
                <a:gd name="T1" fmla="*/ 514 h 514"/>
                <a:gd name="T2" fmla="*/ 0 w 1476"/>
                <a:gd name="T3" fmla="*/ 479 h 514"/>
                <a:gd name="T4" fmla="*/ 429 w 1476"/>
                <a:gd name="T5" fmla="*/ 374 h 514"/>
                <a:gd name="T6" fmla="*/ 780 w 1476"/>
                <a:gd name="T7" fmla="*/ 156 h 514"/>
                <a:gd name="T8" fmla="*/ 1213 w 1476"/>
                <a:gd name="T9" fmla="*/ 139 h 514"/>
                <a:gd name="T10" fmla="*/ 1476 w 1476"/>
                <a:gd name="T11" fmla="*/ 0 h 514"/>
                <a:gd name="T12" fmla="*/ 1476 w 1476"/>
                <a:gd name="T13" fmla="*/ 0 h 514"/>
                <a:gd name="T14" fmla="*/ 1476 w 1476"/>
                <a:gd name="T15" fmla="*/ 37 h 514"/>
                <a:gd name="T16" fmla="*/ 1476 w 1476"/>
                <a:gd name="T17" fmla="*/ 39 h 514"/>
                <a:gd name="T18" fmla="*/ 1222 w 1476"/>
                <a:gd name="T19" fmla="*/ 175 h 514"/>
                <a:gd name="T20" fmla="*/ 792 w 1476"/>
                <a:gd name="T21" fmla="*/ 191 h 514"/>
                <a:gd name="T22" fmla="*/ 443 w 1476"/>
                <a:gd name="T23" fmla="*/ 408 h 514"/>
                <a:gd name="T24" fmla="*/ 8 w 1476"/>
                <a:gd name="T25" fmla="*/ 514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76" h="514">
                  <a:moveTo>
                    <a:pt x="8" y="514"/>
                  </a:moveTo>
                  <a:lnTo>
                    <a:pt x="0" y="479"/>
                  </a:lnTo>
                  <a:lnTo>
                    <a:pt x="429" y="374"/>
                  </a:lnTo>
                  <a:lnTo>
                    <a:pt x="780" y="156"/>
                  </a:lnTo>
                  <a:lnTo>
                    <a:pt x="1213" y="139"/>
                  </a:lnTo>
                  <a:lnTo>
                    <a:pt x="1476" y="0"/>
                  </a:lnTo>
                  <a:lnTo>
                    <a:pt x="1476" y="0"/>
                  </a:lnTo>
                  <a:lnTo>
                    <a:pt x="1476" y="37"/>
                  </a:lnTo>
                  <a:lnTo>
                    <a:pt x="1476" y="39"/>
                  </a:lnTo>
                  <a:lnTo>
                    <a:pt x="1222" y="175"/>
                  </a:lnTo>
                  <a:lnTo>
                    <a:pt x="792" y="191"/>
                  </a:lnTo>
                  <a:lnTo>
                    <a:pt x="443" y="408"/>
                  </a:lnTo>
                  <a:lnTo>
                    <a:pt x="8" y="514"/>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7" name="Freeform 6"/>
            <p:cNvSpPr>
              <a:spLocks/>
            </p:cNvSpPr>
            <p:nvPr/>
          </p:nvSpPr>
          <p:spPr bwMode="auto">
            <a:xfrm>
              <a:off x="9242425" y="2503488"/>
              <a:ext cx="2366963" cy="1343025"/>
            </a:xfrm>
            <a:custGeom>
              <a:avLst/>
              <a:gdLst>
                <a:gd name="T0" fmla="*/ 14 w 1491"/>
                <a:gd name="T1" fmla="*/ 846 h 846"/>
                <a:gd name="T2" fmla="*/ 0 w 1491"/>
                <a:gd name="T3" fmla="*/ 814 h 846"/>
                <a:gd name="T4" fmla="*/ 348 w 1491"/>
                <a:gd name="T5" fmla="*/ 653 h 846"/>
                <a:gd name="T6" fmla="*/ 562 w 1491"/>
                <a:gd name="T7" fmla="*/ 402 h 846"/>
                <a:gd name="T8" fmla="*/ 915 w 1491"/>
                <a:gd name="T9" fmla="*/ 328 h 846"/>
                <a:gd name="T10" fmla="*/ 1127 w 1491"/>
                <a:gd name="T11" fmla="*/ 77 h 846"/>
                <a:gd name="T12" fmla="*/ 1491 w 1491"/>
                <a:gd name="T13" fmla="*/ 0 h 846"/>
                <a:gd name="T14" fmla="*/ 1491 w 1491"/>
                <a:gd name="T15" fmla="*/ 37 h 846"/>
                <a:gd name="T16" fmla="*/ 1147 w 1491"/>
                <a:gd name="T17" fmla="*/ 111 h 846"/>
                <a:gd name="T18" fmla="*/ 934 w 1491"/>
                <a:gd name="T19" fmla="*/ 360 h 846"/>
                <a:gd name="T20" fmla="*/ 582 w 1491"/>
                <a:gd name="T21" fmla="*/ 434 h 846"/>
                <a:gd name="T22" fmla="*/ 371 w 1491"/>
                <a:gd name="T23" fmla="*/ 682 h 846"/>
                <a:gd name="T24" fmla="*/ 14 w 1491"/>
                <a:gd name="T25" fmla="*/ 846 h 8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91" h="846">
                  <a:moveTo>
                    <a:pt x="14" y="846"/>
                  </a:moveTo>
                  <a:lnTo>
                    <a:pt x="0" y="814"/>
                  </a:lnTo>
                  <a:lnTo>
                    <a:pt x="348" y="653"/>
                  </a:lnTo>
                  <a:lnTo>
                    <a:pt x="562" y="402"/>
                  </a:lnTo>
                  <a:lnTo>
                    <a:pt x="915" y="328"/>
                  </a:lnTo>
                  <a:lnTo>
                    <a:pt x="1127" y="77"/>
                  </a:lnTo>
                  <a:lnTo>
                    <a:pt x="1491" y="0"/>
                  </a:lnTo>
                  <a:lnTo>
                    <a:pt x="1491" y="37"/>
                  </a:lnTo>
                  <a:lnTo>
                    <a:pt x="1147" y="111"/>
                  </a:lnTo>
                  <a:lnTo>
                    <a:pt x="934" y="360"/>
                  </a:lnTo>
                  <a:lnTo>
                    <a:pt x="582" y="434"/>
                  </a:lnTo>
                  <a:lnTo>
                    <a:pt x="371" y="682"/>
                  </a:lnTo>
                  <a:lnTo>
                    <a:pt x="14" y="846"/>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26" name="Freeform 7"/>
            <p:cNvSpPr>
              <a:spLocks/>
            </p:cNvSpPr>
            <p:nvPr/>
          </p:nvSpPr>
          <p:spPr bwMode="auto">
            <a:xfrm>
              <a:off x="9247188" y="3478213"/>
              <a:ext cx="2332038" cy="633412"/>
            </a:xfrm>
            <a:custGeom>
              <a:avLst/>
              <a:gdLst>
                <a:gd name="T0" fmla="*/ 5 w 1469"/>
                <a:gd name="T1" fmla="*/ 399 h 399"/>
                <a:gd name="T2" fmla="*/ 0 w 1469"/>
                <a:gd name="T3" fmla="*/ 362 h 399"/>
                <a:gd name="T4" fmla="*/ 340 w 1469"/>
                <a:gd name="T5" fmla="*/ 309 h 399"/>
                <a:gd name="T6" fmla="*/ 624 w 1469"/>
                <a:gd name="T7" fmla="*/ 137 h 399"/>
                <a:gd name="T8" fmla="*/ 968 w 1469"/>
                <a:gd name="T9" fmla="*/ 170 h 399"/>
                <a:gd name="T10" fmla="*/ 1249 w 1469"/>
                <a:gd name="T11" fmla="*/ 0 h 399"/>
                <a:gd name="T12" fmla="*/ 1469 w 1469"/>
                <a:gd name="T13" fmla="*/ 25 h 399"/>
                <a:gd name="T14" fmla="*/ 1469 w 1469"/>
                <a:gd name="T15" fmla="*/ 61 h 399"/>
                <a:gd name="T16" fmla="*/ 1257 w 1469"/>
                <a:gd name="T17" fmla="*/ 36 h 399"/>
                <a:gd name="T18" fmla="*/ 976 w 1469"/>
                <a:gd name="T19" fmla="*/ 208 h 399"/>
                <a:gd name="T20" fmla="*/ 632 w 1469"/>
                <a:gd name="T21" fmla="*/ 173 h 399"/>
                <a:gd name="T22" fmla="*/ 352 w 1469"/>
                <a:gd name="T23" fmla="*/ 344 h 399"/>
                <a:gd name="T24" fmla="*/ 5 w 1469"/>
                <a:gd name="T25" fmla="*/ 399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69" h="399">
                  <a:moveTo>
                    <a:pt x="5" y="399"/>
                  </a:moveTo>
                  <a:lnTo>
                    <a:pt x="0" y="362"/>
                  </a:lnTo>
                  <a:lnTo>
                    <a:pt x="340" y="309"/>
                  </a:lnTo>
                  <a:lnTo>
                    <a:pt x="624" y="137"/>
                  </a:lnTo>
                  <a:lnTo>
                    <a:pt x="968" y="170"/>
                  </a:lnTo>
                  <a:lnTo>
                    <a:pt x="1249" y="0"/>
                  </a:lnTo>
                  <a:lnTo>
                    <a:pt x="1469" y="25"/>
                  </a:lnTo>
                  <a:lnTo>
                    <a:pt x="1469" y="61"/>
                  </a:lnTo>
                  <a:lnTo>
                    <a:pt x="1257" y="36"/>
                  </a:lnTo>
                  <a:lnTo>
                    <a:pt x="976" y="208"/>
                  </a:lnTo>
                  <a:lnTo>
                    <a:pt x="632" y="173"/>
                  </a:lnTo>
                  <a:lnTo>
                    <a:pt x="352" y="344"/>
                  </a:lnTo>
                  <a:lnTo>
                    <a:pt x="5" y="399"/>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27" name="Freeform 8"/>
            <p:cNvSpPr>
              <a:spLocks/>
            </p:cNvSpPr>
            <p:nvPr/>
          </p:nvSpPr>
          <p:spPr bwMode="auto">
            <a:xfrm>
              <a:off x="8372475" y="4017963"/>
              <a:ext cx="1739900" cy="406400"/>
            </a:xfrm>
            <a:custGeom>
              <a:avLst/>
              <a:gdLst>
                <a:gd name="T0" fmla="*/ 485 w 784"/>
                <a:gd name="T1" fmla="*/ 29 h 183"/>
                <a:gd name="T2" fmla="*/ 0 w 784"/>
                <a:gd name="T3" fmla="*/ 183 h 183"/>
                <a:gd name="T4" fmla="*/ 277 w 784"/>
                <a:gd name="T5" fmla="*/ 183 h 183"/>
                <a:gd name="T6" fmla="*/ 784 w 784"/>
                <a:gd name="T7" fmla="*/ 183 h 183"/>
                <a:gd name="T8" fmla="*/ 485 w 784"/>
                <a:gd name="T9" fmla="*/ 29 h 183"/>
              </a:gdLst>
              <a:ahLst/>
              <a:cxnLst>
                <a:cxn ang="0">
                  <a:pos x="T0" y="T1"/>
                </a:cxn>
                <a:cxn ang="0">
                  <a:pos x="T2" y="T3"/>
                </a:cxn>
                <a:cxn ang="0">
                  <a:pos x="T4" y="T5"/>
                </a:cxn>
                <a:cxn ang="0">
                  <a:pos x="T6" y="T7"/>
                </a:cxn>
                <a:cxn ang="0">
                  <a:pos x="T8" y="T9"/>
                </a:cxn>
              </a:cxnLst>
              <a:rect l="0" t="0" r="r" b="b"/>
              <a:pathLst>
                <a:path w="784" h="183">
                  <a:moveTo>
                    <a:pt x="485" y="29"/>
                  </a:moveTo>
                  <a:cubicBezTo>
                    <a:pt x="314" y="0"/>
                    <a:pt x="132" y="51"/>
                    <a:pt x="0" y="183"/>
                  </a:cubicBezTo>
                  <a:cubicBezTo>
                    <a:pt x="277" y="183"/>
                    <a:pt x="277" y="183"/>
                    <a:pt x="277" y="183"/>
                  </a:cubicBezTo>
                  <a:cubicBezTo>
                    <a:pt x="784" y="183"/>
                    <a:pt x="784" y="183"/>
                    <a:pt x="784" y="183"/>
                  </a:cubicBezTo>
                  <a:cubicBezTo>
                    <a:pt x="700" y="99"/>
                    <a:pt x="594" y="47"/>
                    <a:pt x="485" y="29"/>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28" name="Freeform 9"/>
            <p:cNvSpPr>
              <a:spLocks/>
            </p:cNvSpPr>
            <p:nvPr/>
          </p:nvSpPr>
          <p:spPr bwMode="auto">
            <a:xfrm>
              <a:off x="9169400" y="3819525"/>
              <a:ext cx="2649538" cy="604837"/>
            </a:xfrm>
            <a:custGeom>
              <a:avLst/>
              <a:gdLst>
                <a:gd name="T0" fmla="*/ 858 w 1193"/>
                <a:gd name="T1" fmla="*/ 37 h 272"/>
                <a:gd name="T2" fmla="*/ 437 w 1193"/>
                <a:gd name="T3" fmla="*/ 31 h 272"/>
                <a:gd name="T4" fmla="*/ 0 w 1193"/>
                <a:gd name="T5" fmla="*/ 272 h 272"/>
                <a:gd name="T6" fmla="*/ 1193 w 1193"/>
                <a:gd name="T7" fmla="*/ 272 h 272"/>
                <a:gd name="T8" fmla="*/ 1193 w 1193"/>
                <a:gd name="T9" fmla="*/ 204 h 272"/>
                <a:gd name="T10" fmla="*/ 858 w 1193"/>
                <a:gd name="T11" fmla="*/ 37 h 272"/>
              </a:gdLst>
              <a:ahLst/>
              <a:cxnLst>
                <a:cxn ang="0">
                  <a:pos x="T0" y="T1"/>
                </a:cxn>
                <a:cxn ang="0">
                  <a:pos x="T2" y="T3"/>
                </a:cxn>
                <a:cxn ang="0">
                  <a:pos x="T4" y="T5"/>
                </a:cxn>
                <a:cxn ang="0">
                  <a:pos x="T6" y="T7"/>
                </a:cxn>
                <a:cxn ang="0">
                  <a:pos x="T8" y="T9"/>
                </a:cxn>
                <a:cxn ang="0">
                  <a:pos x="T10" y="T11"/>
                </a:cxn>
              </a:cxnLst>
              <a:rect l="0" t="0" r="r" b="b"/>
              <a:pathLst>
                <a:path w="1193" h="272">
                  <a:moveTo>
                    <a:pt x="858" y="37"/>
                  </a:moveTo>
                  <a:cubicBezTo>
                    <a:pt x="720" y="2"/>
                    <a:pt x="575" y="0"/>
                    <a:pt x="437" y="31"/>
                  </a:cubicBezTo>
                  <a:cubicBezTo>
                    <a:pt x="277" y="68"/>
                    <a:pt x="125" y="148"/>
                    <a:pt x="0" y="272"/>
                  </a:cubicBezTo>
                  <a:cubicBezTo>
                    <a:pt x="1193" y="272"/>
                    <a:pt x="1193" y="272"/>
                    <a:pt x="1193" y="272"/>
                  </a:cubicBezTo>
                  <a:cubicBezTo>
                    <a:pt x="1193" y="204"/>
                    <a:pt x="1193" y="204"/>
                    <a:pt x="1193" y="204"/>
                  </a:cubicBezTo>
                  <a:cubicBezTo>
                    <a:pt x="1092" y="124"/>
                    <a:pt x="978" y="68"/>
                    <a:pt x="858" y="37"/>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225" name="Freeform 10"/>
            <p:cNvSpPr>
              <a:spLocks/>
            </p:cNvSpPr>
            <p:nvPr/>
          </p:nvSpPr>
          <p:spPr bwMode="auto">
            <a:xfrm>
              <a:off x="10139363" y="3819525"/>
              <a:ext cx="935038" cy="493712"/>
            </a:xfrm>
            <a:custGeom>
              <a:avLst/>
              <a:gdLst>
                <a:gd name="T0" fmla="*/ 114 w 421"/>
                <a:gd name="T1" fmla="*/ 199 h 222"/>
                <a:gd name="T2" fmla="*/ 211 w 421"/>
                <a:gd name="T3" fmla="*/ 222 h 222"/>
                <a:gd name="T4" fmla="*/ 421 w 421"/>
                <a:gd name="T5" fmla="*/ 37 h 222"/>
                <a:gd name="T6" fmla="*/ 0 w 421"/>
                <a:gd name="T7" fmla="*/ 31 h 222"/>
                <a:gd name="T8" fmla="*/ 59 w 421"/>
                <a:gd name="T9" fmla="*/ 158 h 222"/>
                <a:gd name="T10" fmla="*/ 114 w 421"/>
                <a:gd name="T11" fmla="*/ 199 h 222"/>
              </a:gdLst>
              <a:ahLst/>
              <a:cxnLst>
                <a:cxn ang="0">
                  <a:pos x="T0" y="T1"/>
                </a:cxn>
                <a:cxn ang="0">
                  <a:pos x="T2" y="T3"/>
                </a:cxn>
                <a:cxn ang="0">
                  <a:pos x="T4" y="T5"/>
                </a:cxn>
                <a:cxn ang="0">
                  <a:pos x="T6" y="T7"/>
                </a:cxn>
                <a:cxn ang="0">
                  <a:pos x="T8" y="T9"/>
                </a:cxn>
                <a:cxn ang="0">
                  <a:pos x="T10" y="T11"/>
                </a:cxn>
              </a:cxnLst>
              <a:rect l="0" t="0" r="r" b="b"/>
              <a:pathLst>
                <a:path w="421" h="222">
                  <a:moveTo>
                    <a:pt x="114" y="199"/>
                  </a:moveTo>
                  <a:cubicBezTo>
                    <a:pt x="143" y="213"/>
                    <a:pt x="176" y="222"/>
                    <a:pt x="211" y="222"/>
                  </a:cubicBezTo>
                  <a:cubicBezTo>
                    <a:pt x="318" y="222"/>
                    <a:pt x="407" y="141"/>
                    <a:pt x="421" y="37"/>
                  </a:cubicBezTo>
                  <a:cubicBezTo>
                    <a:pt x="283" y="2"/>
                    <a:pt x="138" y="0"/>
                    <a:pt x="0" y="31"/>
                  </a:cubicBezTo>
                  <a:cubicBezTo>
                    <a:pt x="5" y="81"/>
                    <a:pt x="27" y="125"/>
                    <a:pt x="59" y="158"/>
                  </a:cubicBezTo>
                  <a:cubicBezTo>
                    <a:pt x="75" y="174"/>
                    <a:pt x="94" y="188"/>
                    <a:pt x="114" y="199"/>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226" name="Freeform 11"/>
            <p:cNvSpPr>
              <a:spLocks/>
            </p:cNvSpPr>
            <p:nvPr/>
          </p:nvSpPr>
          <p:spPr bwMode="auto">
            <a:xfrm>
              <a:off x="10188575" y="3368675"/>
              <a:ext cx="517525" cy="471487"/>
            </a:xfrm>
            <a:custGeom>
              <a:avLst/>
              <a:gdLst>
                <a:gd name="T0" fmla="*/ 233 w 233"/>
                <a:gd name="T1" fmla="*/ 55 h 212"/>
                <a:gd name="T2" fmla="*/ 90 w 233"/>
                <a:gd name="T3" fmla="*/ 0 h 212"/>
                <a:gd name="T4" fmla="*/ 0 w 233"/>
                <a:gd name="T5" fmla="*/ 20 h 212"/>
                <a:gd name="T6" fmla="*/ 90 w 233"/>
                <a:gd name="T7" fmla="*/ 212 h 212"/>
                <a:gd name="T8" fmla="*/ 233 w 233"/>
                <a:gd name="T9" fmla="*/ 55 h 212"/>
              </a:gdLst>
              <a:ahLst/>
              <a:cxnLst>
                <a:cxn ang="0">
                  <a:pos x="T0" y="T1"/>
                </a:cxn>
                <a:cxn ang="0">
                  <a:pos x="T2" y="T3"/>
                </a:cxn>
                <a:cxn ang="0">
                  <a:pos x="T4" y="T5"/>
                </a:cxn>
                <a:cxn ang="0">
                  <a:pos x="T6" y="T7"/>
                </a:cxn>
                <a:cxn ang="0">
                  <a:pos x="T8" y="T9"/>
                </a:cxn>
              </a:cxnLst>
              <a:rect l="0" t="0" r="r" b="b"/>
              <a:pathLst>
                <a:path w="233" h="212">
                  <a:moveTo>
                    <a:pt x="233" y="55"/>
                  </a:moveTo>
                  <a:cubicBezTo>
                    <a:pt x="195" y="21"/>
                    <a:pt x="145" y="0"/>
                    <a:pt x="90" y="0"/>
                  </a:cubicBezTo>
                  <a:cubicBezTo>
                    <a:pt x="58" y="0"/>
                    <a:pt x="27" y="7"/>
                    <a:pt x="0" y="20"/>
                  </a:cubicBezTo>
                  <a:cubicBezTo>
                    <a:pt x="90" y="212"/>
                    <a:pt x="90" y="212"/>
                    <a:pt x="90" y="212"/>
                  </a:cubicBezTo>
                  <a:lnTo>
                    <a:pt x="233" y="55"/>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234" name="Freeform 12"/>
            <p:cNvSpPr>
              <a:spLocks/>
            </p:cNvSpPr>
            <p:nvPr/>
          </p:nvSpPr>
          <p:spPr bwMode="auto">
            <a:xfrm>
              <a:off x="10388600" y="3490913"/>
              <a:ext cx="436563" cy="349250"/>
            </a:xfrm>
            <a:custGeom>
              <a:avLst/>
              <a:gdLst>
                <a:gd name="T0" fmla="*/ 197 w 197"/>
                <a:gd name="T1" fmla="*/ 77 h 157"/>
                <a:gd name="T2" fmla="*/ 143 w 197"/>
                <a:gd name="T3" fmla="*/ 0 h 157"/>
                <a:gd name="T4" fmla="*/ 0 w 197"/>
                <a:gd name="T5" fmla="*/ 157 h 157"/>
                <a:gd name="T6" fmla="*/ 197 w 197"/>
                <a:gd name="T7" fmla="*/ 77 h 157"/>
              </a:gdLst>
              <a:ahLst/>
              <a:cxnLst>
                <a:cxn ang="0">
                  <a:pos x="T0" y="T1"/>
                </a:cxn>
                <a:cxn ang="0">
                  <a:pos x="T2" y="T3"/>
                </a:cxn>
                <a:cxn ang="0">
                  <a:pos x="T4" y="T5"/>
                </a:cxn>
                <a:cxn ang="0">
                  <a:pos x="T6" y="T7"/>
                </a:cxn>
              </a:cxnLst>
              <a:rect l="0" t="0" r="r" b="b"/>
              <a:pathLst>
                <a:path w="197" h="157">
                  <a:moveTo>
                    <a:pt x="197" y="77"/>
                  </a:moveTo>
                  <a:cubicBezTo>
                    <a:pt x="185" y="47"/>
                    <a:pt x="166" y="21"/>
                    <a:pt x="143" y="0"/>
                  </a:cubicBezTo>
                  <a:cubicBezTo>
                    <a:pt x="0" y="157"/>
                    <a:pt x="0" y="157"/>
                    <a:pt x="0" y="157"/>
                  </a:cubicBezTo>
                  <a:lnTo>
                    <a:pt x="197" y="77"/>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235" name="Freeform 13"/>
            <p:cNvSpPr>
              <a:spLocks/>
            </p:cNvSpPr>
            <p:nvPr/>
          </p:nvSpPr>
          <p:spPr bwMode="auto">
            <a:xfrm>
              <a:off x="9917113" y="3413125"/>
              <a:ext cx="471488" cy="757237"/>
            </a:xfrm>
            <a:custGeom>
              <a:avLst/>
              <a:gdLst>
                <a:gd name="T0" fmla="*/ 122 w 212"/>
                <a:gd name="T1" fmla="*/ 0 h 341"/>
                <a:gd name="T2" fmla="*/ 0 w 212"/>
                <a:gd name="T3" fmla="*/ 192 h 341"/>
                <a:gd name="T4" fmla="*/ 61 w 212"/>
                <a:gd name="T5" fmla="*/ 341 h 341"/>
                <a:gd name="T6" fmla="*/ 212 w 212"/>
                <a:gd name="T7" fmla="*/ 192 h 341"/>
                <a:gd name="T8" fmla="*/ 122 w 212"/>
                <a:gd name="T9" fmla="*/ 0 h 341"/>
              </a:gdLst>
              <a:ahLst/>
              <a:cxnLst>
                <a:cxn ang="0">
                  <a:pos x="T0" y="T1"/>
                </a:cxn>
                <a:cxn ang="0">
                  <a:pos x="T2" y="T3"/>
                </a:cxn>
                <a:cxn ang="0">
                  <a:pos x="T4" y="T5"/>
                </a:cxn>
                <a:cxn ang="0">
                  <a:pos x="T6" y="T7"/>
                </a:cxn>
                <a:cxn ang="0">
                  <a:pos x="T8" y="T9"/>
                </a:cxn>
              </a:cxnLst>
              <a:rect l="0" t="0" r="r" b="b"/>
              <a:pathLst>
                <a:path w="212" h="341">
                  <a:moveTo>
                    <a:pt x="122" y="0"/>
                  </a:moveTo>
                  <a:cubicBezTo>
                    <a:pt x="50" y="34"/>
                    <a:pt x="0" y="107"/>
                    <a:pt x="0" y="192"/>
                  </a:cubicBezTo>
                  <a:cubicBezTo>
                    <a:pt x="0" y="250"/>
                    <a:pt x="23" y="303"/>
                    <a:pt x="61" y="341"/>
                  </a:cubicBezTo>
                  <a:cubicBezTo>
                    <a:pt x="212" y="192"/>
                    <a:pt x="212" y="192"/>
                    <a:pt x="212" y="192"/>
                  </a:cubicBezTo>
                  <a:lnTo>
                    <a:pt x="122" y="0"/>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236" name="Freeform 14"/>
            <p:cNvSpPr>
              <a:spLocks/>
            </p:cNvSpPr>
            <p:nvPr/>
          </p:nvSpPr>
          <p:spPr bwMode="auto">
            <a:xfrm>
              <a:off x="10388600" y="3662363"/>
              <a:ext cx="473075" cy="177800"/>
            </a:xfrm>
            <a:custGeom>
              <a:avLst/>
              <a:gdLst>
                <a:gd name="T0" fmla="*/ 0 w 213"/>
                <a:gd name="T1" fmla="*/ 80 h 80"/>
                <a:gd name="T2" fmla="*/ 213 w 213"/>
                <a:gd name="T3" fmla="*/ 80 h 80"/>
                <a:gd name="T4" fmla="*/ 197 w 213"/>
                <a:gd name="T5" fmla="*/ 0 h 80"/>
                <a:gd name="T6" fmla="*/ 0 w 213"/>
                <a:gd name="T7" fmla="*/ 80 h 80"/>
              </a:gdLst>
              <a:ahLst/>
              <a:cxnLst>
                <a:cxn ang="0">
                  <a:pos x="T0" y="T1"/>
                </a:cxn>
                <a:cxn ang="0">
                  <a:pos x="T2" y="T3"/>
                </a:cxn>
                <a:cxn ang="0">
                  <a:pos x="T4" y="T5"/>
                </a:cxn>
                <a:cxn ang="0">
                  <a:pos x="T6" y="T7"/>
                </a:cxn>
              </a:cxnLst>
              <a:rect l="0" t="0" r="r" b="b"/>
              <a:pathLst>
                <a:path w="213" h="80">
                  <a:moveTo>
                    <a:pt x="0" y="80"/>
                  </a:moveTo>
                  <a:cubicBezTo>
                    <a:pt x="213" y="80"/>
                    <a:pt x="213" y="80"/>
                    <a:pt x="213" y="80"/>
                  </a:cubicBezTo>
                  <a:cubicBezTo>
                    <a:pt x="213" y="52"/>
                    <a:pt x="207" y="25"/>
                    <a:pt x="197" y="0"/>
                  </a:cubicBezTo>
                  <a:lnTo>
                    <a:pt x="0" y="80"/>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237" name="Freeform 15"/>
            <p:cNvSpPr>
              <a:spLocks/>
            </p:cNvSpPr>
            <p:nvPr/>
          </p:nvSpPr>
          <p:spPr bwMode="auto">
            <a:xfrm>
              <a:off x="10053638" y="3840163"/>
              <a:ext cx="334963" cy="422275"/>
            </a:xfrm>
            <a:custGeom>
              <a:avLst/>
              <a:gdLst>
                <a:gd name="T0" fmla="*/ 0 w 151"/>
                <a:gd name="T1" fmla="*/ 149 h 190"/>
                <a:gd name="T2" fmla="*/ 55 w 151"/>
                <a:gd name="T3" fmla="*/ 190 h 190"/>
                <a:gd name="T4" fmla="*/ 151 w 151"/>
                <a:gd name="T5" fmla="*/ 0 h 190"/>
                <a:gd name="T6" fmla="*/ 0 w 151"/>
                <a:gd name="T7" fmla="*/ 149 h 190"/>
              </a:gdLst>
              <a:ahLst/>
              <a:cxnLst>
                <a:cxn ang="0">
                  <a:pos x="T0" y="T1"/>
                </a:cxn>
                <a:cxn ang="0">
                  <a:pos x="T2" y="T3"/>
                </a:cxn>
                <a:cxn ang="0">
                  <a:pos x="T4" y="T5"/>
                </a:cxn>
                <a:cxn ang="0">
                  <a:pos x="T6" y="T7"/>
                </a:cxn>
              </a:cxnLst>
              <a:rect l="0" t="0" r="r" b="b"/>
              <a:pathLst>
                <a:path w="151" h="190">
                  <a:moveTo>
                    <a:pt x="0" y="149"/>
                  </a:moveTo>
                  <a:cubicBezTo>
                    <a:pt x="16" y="165"/>
                    <a:pt x="35" y="179"/>
                    <a:pt x="55" y="190"/>
                  </a:cubicBezTo>
                  <a:cubicBezTo>
                    <a:pt x="151" y="0"/>
                    <a:pt x="151" y="0"/>
                    <a:pt x="151" y="0"/>
                  </a:cubicBezTo>
                  <a:lnTo>
                    <a:pt x="0" y="149"/>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238" name="Freeform 16"/>
            <p:cNvSpPr>
              <a:spLocks/>
            </p:cNvSpPr>
            <p:nvPr/>
          </p:nvSpPr>
          <p:spPr bwMode="auto">
            <a:xfrm>
              <a:off x="10175875" y="3840163"/>
              <a:ext cx="685800" cy="473075"/>
            </a:xfrm>
            <a:custGeom>
              <a:avLst/>
              <a:gdLst>
                <a:gd name="T0" fmla="*/ 0 w 309"/>
                <a:gd name="T1" fmla="*/ 190 h 213"/>
                <a:gd name="T2" fmla="*/ 96 w 309"/>
                <a:gd name="T3" fmla="*/ 213 h 213"/>
                <a:gd name="T4" fmla="*/ 309 w 309"/>
                <a:gd name="T5" fmla="*/ 0 h 213"/>
                <a:gd name="T6" fmla="*/ 96 w 309"/>
                <a:gd name="T7" fmla="*/ 0 h 213"/>
                <a:gd name="T8" fmla="*/ 0 w 309"/>
                <a:gd name="T9" fmla="*/ 190 h 213"/>
              </a:gdLst>
              <a:ahLst/>
              <a:cxnLst>
                <a:cxn ang="0">
                  <a:pos x="T0" y="T1"/>
                </a:cxn>
                <a:cxn ang="0">
                  <a:pos x="T2" y="T3"/>
                </a:cxn>
                <a:cxn ang="0">
                  <a:pos x="T4" y="T5"/>
                </a:cxn>
                <a:cxn ang="0">
                  <a:pos x="T6" y="T7"/>
                </a:cxn>
                <a:cxn ang="0">
                  <a:pos x="T8" y="T9"/>
                </a:cxn>
              </a:cxnLst>
              <a:rect l="0" t="0" r="r" b="b"/>
              <a:pathLst>
                <a:path w="309" h="213">
                  <a:moveTo>
                    <a:pt x="0" y="190"/>
                  </a:moveTo>
                  <a:cubicBezTo>
                    <a:pt x="29" y="204"/>
                    <a:pt x="62" y="213"/>
                    <a:pt x="96" y="213"/>
                  </a:cubicBezTo>
                  <a:cubicBezTo>
                    <a:pt x="214" y="213"/>
                    <a:pt x="309" y="118"/>
                    <a:pt x="309" y="0"/>
                  </a:cubicBezTo>
                  <a:cubicBezTo>
                    <a:pt x="96" y="0"/>
                    <a:pt x="96" y="0"/>
                    <a:pt x="96" y="0"/>
                  </a:cubicBezTo>
                  <a:lnTo>
                    <a:pt x="0" y="19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239" name="Freeform 17"/>
            <p:cNvSpPr>
              <a:spLocks/>
            </p:cNvSpPr>
            <p:nvPr/>
          </p:nvSpPr>
          <p:spPr bwMode="auto">
            <a:xfrm>
              <a:off x="10179050" y="4111625"/>
              <a:ext cx="1452563" cy="312737"/>
            </a:xfrm>
            <a:custGeom>
              <a:avLst/>
              <a:gdLst>
                <a:gd name="T0" fmla="*/ 511 w 654"/>
                <a:gd name="T1" fmla="*/ 44 h 141"/>
                <a:gd name="T2" fmla="*/ 404 w 654"/>
                <a:gd name="T3" fmla="*/ 12 h 141"/>
                <a:gd name="T4" fmla="*/ 349 w 654"/>
                <a:gd name="T5" fmla="*/ 6 h 141"/>
                <a:gd name="T6" fmla="*/ 0 w 654"/>
                <a:gd name="T7" fmla="*/ 141 h 141"/>
                <a:gd name="T8" fmla="*/ 231 w 654"/>
                <a:gd name="T9" fmla="*/ 141 h 141"/>
                <a:gd name="T10" fmla="*/ 654 w 654"/>
                <a:gd name="T11" fmla="*/ 141 h 141"/>
                <a:gd name="T12" fmla="*/ 511 w 654"/>
                <a:gd name="T13" fmla="*/ 44 h 141"/>
              </a:gdLst>
              <a:ahLst/>
              <a:cxnLst>
                <a:cxn ang="0">
                  <a:pos x="T0" y="T1"/>
                </a:cxn>
                <a:cxn ang="0">
                  <a:pos x="T2" y="T3"/>
                </a:cxn>
                <a:cxn ang="0">
                  <a:pos x="T4" y="T5"/>
                </a:cxn>
                <a:cxn ang="0">
                  <a:pos x="T6" y="T7"/>
                </a:cxn>
                <a:cxn ang="0">
                  <a:pos x="T8" y="T9"/>
                </a:cxn>
                <a:cxn ang="0">
                  <a:pos x="T10" y="T11"/>
                </a:cxn>
                <a:cxn ang="0">
                  <a:pos x="T12" y="T13"/>
                </a:cxn>
              </a:cxnLst>
              <a:rect l="0" t="0" r="r" b="b"/>
              <a:pathLst>
                <a:path w="654" h="141">
                  <a:moveTo>
                    <a:pt x="511" y="44"/>
                  </a:moveTo>
                  <a:cubicBezTo>
                    <a:pt x="477" y="29"/>
                    <a:pt x="441" y="18"/>
                    <a:pt x="404" y="12"/>
                  </a:cubicBezTo>
                  <a:cubicBezTo>
                    <a:pt x="386" y="9"/>
                    <a:pt x="367" y="7"/>
                    <a:pt x="349" y="6"/>
                  </a:cubicBezTo>
                  <a:cubicBezTo>
                    <a:pt x="223" y="0"/>
                    <a:pt x="96" y="45"/>
                    <a:pt x="0" y="141"/>
                  </a:cubicBezTo>
                  <a:cubicBezTo>
                    <a:pt x="231" y="141"/>
                    <a:pt x="231" y="141"/>
                    <a:pt x="231" y="141"/>
                  </a:cubicBezTo>
                  <a:cubicBezTo>
                    <a:pt x="654" y="141"/>
                    <a:pt x="654" y="141"/>
                    <a:pt x="654" y="141"/>
                  </a:cubicBezTo>
                  <a:cubicBezTo>
                    <a:pt x="612" y="99"/>
                    <a:pt x="563" y="67"/>
                    <a:pt x="511" y="44"/>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240" name="Rectangle 18"/>
            <p:cNvSpPr>
              <a:spLocks noChangeArrowheads="1"/>
            </p:cNvSpPr>
            <p:nvPr/>
          </p:nvSpPr>
          <p:spPr bwMode="auto">
            <a:xfrm>
              <a:off x="9309100" y="4059238"/>
              <a:ext cx="120650" cy="36512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241" name="Freeform 19"/>
            <p:cNvSpPr>
              <a:spLocks/>
            </p:cNvSpPr>
            <p:nvPr/>
          </p:nvSpPr>
          <p:spPr bwMode="auto">
            <a:xfrm>
              <a:off x="8872538" y="4117975"/>
              <a:ext cx="120650" cy="306387"/>
            </a:xfrm>
            <a:custGeom>
              <a:avLst/>
              <a:gdLst>
                <a:gd name="T0" fmla="*/ 0 w 76"/>
                <a:gd name="T1" fmla="*/ 0 h 193"/>
                <a:gd name="T2" fmla="*/ 0 w 76"/>
                <a:gd name="T3" fmla="*/ 39 h 193"/>
                <a:gd name="T4" fmla="*/ 0 w 76"/>
                <a:gd name="T5" fmla="*/ 193 h 193"/>
                <a:gd name="T6" fmla="*/ 76 w 76"/>
                <a:gd name="T7" fmla="*/ 193 h 193"/>
                <a:gd name="T8" fmla="*/ 76 w 76"/>
                <a:gd name="T9" fmla="*/ 10 h 193"/>
                <a:gd name="T10" fmla="*/ 76 w 76"/>
                <a:gd name="T11" fmla="*/ 0 h 193"/>
                <a:gd name="T12" fmla="*/ 0 w 76"/>
                <a:gd name="T13" fmla="*/ 0 h 193"/>
              </a:gdLst>
              <a:ahLst/>
              <a:cxnLst>
                <a:cxn ang="0">
                  <a:pos x="T0" y="T1"/>
                </a:cxn>
                <a:cxn ang="0">
                  <a:pos x="T2" y="T3"/>
                </a:cxn>
                <a:cxn ang="0">
                  <a:pos x="T4" y="T5"/>
                </a:cxn>
                <a:cxn ang="0">
                  <a:pos x="T6" y="T7"/>
                </a:cxn>
                <a:cxn ang="0">
                  <a:pos x="T8" y="T9"/>
                </a:cxn>
                <a:cxn ang="0">
                  <a:pos x="T10" y="T11"/>
                </a:cxn>
                <a:cxn ang="0">
                  <a:pos x="T12" y="T13"/>
                </a:cxn>
              </a:cxnLst>
              <a:rect l="0" t="0" r="r" b="b"/>
              <a:pathLst>
                <a:path w="76" h="193">
                  <a:moveTo>
                    <a:pt x="0" y="0"/>
                  </a:moveTo>
                  <a:lnTo>
                    <a:pt x="0" y="39"/>
                  </a:lnTo>
                  <a:lnTo>
                    <a:pt x="0" y="193"/>
                  </a:lnTo>
                  <a:lnTo>
                    <a:pt x="76" y="193"/>
                  </a:lnTo>
                  <a:lnTo>
                    <a:pt x="76" y="10"/>
                  </a:lnTo>
                  <a:lnTo>
                    <a:pt x="76" y="0"/>
                  </a:lnTo>
                  <a:lnTo>
                    <a:pt x="0" y="0"/>
                  </a:lnTo>
                  <a:close/>
                </a:path>
              </a:pathLst>
            </a:custGeom>
            <a:solidFill>
              <a:srgbClr val="28C9F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242" name="Freeform 20"/>
            <p:cNvSpPr>
              <a:spLocks/>
            </p:cNvSpPr>
            <p:nvPr/>
          </p:nvSpPr>
          <p:spPr bwMode="auto">
            <a:xfrm>
              <a:off x="9018588" y="3824288"/>
              <a:ext cx="119063" cy="600075"/>
            </a:xfrm>
            <a:custGeom>
              <a:avLst/>
              <a:gdLst>
                <a:gd name="T0" fmla="*/ 0 w 75"/>
                <a:gd name="T1" fmla="*/ 0 h 378"/>
                <a:gd name="T2" fmla="*/ 0 w 75"/>
                <a:gd name="T3" fmla="*/ 188 h 378"/>
                <a:gd name="T4" fmla="*/ 0 w 75"/>
                <a:gd name="T5" fmla="*/ 378 h 378"/>
                <a:gd name="T6" fmla="*/ 75 w 75"/>
                <a:gd name="T7" fmla="*/ 378 h 378"/>
                <a:gd name="T8" fmla="*/ 75 w 75"/>
                <a:gd name="T9" fmla="*/ 158 h 378"/>
                <a:gd name="T10" fmla="*/ 75 w 75"/>
                <a:gd name="T11" fmla="*/ 0 h 378"/>
                <a:gd name="T12" fmla="*/ 0 w 75"/>
                <a:gd name="T13" fmla="*/ 0 h 378"/>
              </a:gdLst>
              <a:ahLst/>
              <a:cxnLst>
                <a:cxn ang="0">
                  <a:pos x="T0" y="T1"/>
                </a:cxn>
                <a:cxn ang="0">
                  <a:pos x="T2" y="T3"/>
                </a:cxn>
                <a:cxn ang="0">
                  <a:pos x="T4" y="T5"/>
                </a:cxn>
                <a:cxn ang="0">
                  <a:pos x="T6" y="T7"/>
                </a:cxn>
                <a:cxn ang="0">
                  <a:pos x="T8" y="T9"/>
                </a:cxn>
                <a:cxn ang="0">
                  <a:pos x="T10" y="T11"/>
                </a:cxn>
                <a:cxn ang="0">
                  <a:pos x="T12" y="T13"/>
                </a:cxn>
              </a:cxnLst>
              <a:rect l="0" t="0" r="r" b="b"/>
              <a:pathLst>
                <a:path w="75" h="378">
                  <a:moveTo>
                    <a:pt x="0" y="0"/>
                  </a:moveTo>
                  <a:lnTo>
                    <a:pt x="0" y="188"/>
                  </a:lnTo>
                  <a:lnTo>
                    <a:pt x="0" y="378"/>
                  </a:lnTo>
                  <a:lnTo>
                    <a:pt x="75" y="378"/>
                  </a:lnTo>
                  <a:lnTo>
                    <a:pt x="75" y="158"/>
                  </a:lnTo>
                  <a:lnTo>
                    <a:pt x="75" y="0"/>
                  </a:lnTo>
                  <a:lnTo>
                    <a:pt x="0" y="0"/>
                  </a:lnTo>
                  <a:close/>
                </a:path>
              </a:pathLst>
            </a:custGeom>
            <a:solidFill>
              <a:srgbClr val="1F4F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243" name="Freeform 21"/>
            <p:cNvSpPr>
              <a:spLocks/>
            </p:cNvSpPr>
            <p:nvPr/>
          </p:nvSpPr>
          <p:spPr bwMode="auto">
            <a:xfrm>
              <a:off x="9163050" y="3557588"/>
              <a:ext cx="122238" cy="866775"/>
            </a:xfrm>
            <a:custGeom>
              <a:avLst/>
              <a:gdLst>
                <a:gd name="T0" fmla="*/ 0 w 77"/>
                <a:gd name="T1" fmla="*/ 0 h 546"/>
                <a:gd name="T2" fmla="*/ 0 w 77"/>
                <a:gd name="T3" fmla="*/ 319 h 546"/>
                <a:gd name="T4" fmla="*/ 0 w 77"/>
                <a:gd name="T5" fmla="*/ 546 h 546"/>
                <a:gd name="T6" fmla="*/ 77 w 77"/>
                <a:gd name="T7" fmla="*/ 546 h 546"/>
                <a:gd name="T8" fmla="*/ 77 w 77"/>
                <a:gd name="T9" fmla="*/ 290 h 546"/>
                <a:gd name="T10" fmla="*/ 77 w 77"/>
                <a:gd name="T11" fmla="*/ 0 h 546"/>
                <a:gd name="T12" fmla="*/ 0 w 77"/>
                <a:gd name="T13" fmla="*/ 0 h 546"/>
              </a:gdLst>
              <a:ahLst/>
              <a:cxnLst>
                <a:cxn ang="0">
                  <a:pos x="T0" y="T1"/>
                </a:cxn>
                <a:cxn ang="0">
                  <a:pos x="T2" y="T3"/>
                </a:cxn>
                <a:cxn ang="0">
                  <a:pos x="T4" y="T5"/>
                </a:cxn>
                <a:cxn ang="0">
                  <a:pos x="T6" y="T7"/>
                </a:cxn>
                <a:cxn ang="0">
                  <a:pos x="T8" y="T9"/>
                </a:cxn>
                <a:cxn ang="0">
                  <a:pos x="T10" y="T11"/>
                </a:cxn>
                <a:cxn ang="0">
                  <a:pos x="T12" y="T13"/>
                </a:cxn>
              </a:cxnLst>
              <a:rect l="0" t="0" r="r" b="b"/>
              <a:pathLst>
                <a:path w="77" h="546">
                  <a:moveTo>
                    <a:pt x="0" y="0"/>
                  </a:moveTo>
                  <a:lnTo>
                    <a:pt x="0" y="319"/>
                  </a:lnTo>
                  <a:lnTo>
                    <a:pt x="0" y="546"/>
                  </a:lnTo>
                  <a:lnTo>
                    <a:pt x="77" y="546"/>
                  </a:lnTo>
                  <a:lnTo>
                    <a:pt x="77" y="290"/>
                  </a:lnTo>
                  <a:lnTo>
                    <a:pt x="77" y="0"/>
                  </a:lnTo>
                  <a:lnTo>
                    <a:pt x="0" y="0"/>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244" name="Freeform 22"/>
            <p:cNvSpPr>
              <a:spLocks/>
            </p:cNvSpPr>
            <p:nvPr/>
          </p:nvSpPr>
          <p:spPr bwMode="auto">
            <a:xfrm>
              <a:off x="9455150" y="3833813"/>
              <a:ext cx="120650" cy="590550"/>
            </a:xfrm>
            <a:custGeom>
              <a:avLst/>
              <a:gdLst>
                <a:gd name="T0" fmla="*/ 0 w 76"/>
                <a:gd name="T1" fmla="*/ 0 h 372"/>
                <a:gd name="T2" fmla="*/ 0 w 76"/>
                <a:gd name="T3" fmla="*/ 74 h 372"/>
                <a:gd name="T4" fmla="*/ 0 w 76"/>
                <a:gd name="T5" fmla="*/ 372 h 372"/>
                <a:gd name="T6" fmla="*/ 76 w 76"/>
                <a:gd name="T7" fmla="*/ 372 h 372"/>
                <a:gd name="T8" fmla="*/ 76 w 76"/>
                <a:gd name="T9" fmla="*/ 43 h 372"/>
                <a:gd name="T10" fmla="*/ 76 w 76"/>
                <a:gd name="T11" fmla="*/ 0 h 372"/>
                <a:gd name="T12" fmla="*/ 0 w 76"/>
                <a:gd name="T13" fmla="*/ 0 h 372"/>
              </a:gdLst>
              <a:ahLst/>
              <a:cxnLst>
                <a:cxn ang="0">
                  <a:pos x="T0" y="T1"/>
                </a:cxn>
                <a:cxn ang="0">
                  <a:pos x="T2" y="T3"/>
                </a:cxn>
                <a:cxn ang="0">
                  <a:pos x="T4" y="T5"/>
                </a:cxn>
                <a:cxn ang="0">
                  <a:pos x="T6" y="T7"/>
                </a:cxn>
                <a:cxn ang="0">
                  <a:pos x="T8" y="T9"/>
                </a:cxn>
                <a:cxn ang="0">
                  <a:pos x="T10" y="T11"/>
                </a:cxn>
                <a:cxn ang="0">
                  <a:pos x="T12" y="T13"/>
                </a:cxn>
              </a:cxnLst>
              <a:rect l="0" t="0" r="r" b="b"/>
              <a:pathLst>
                <a:path w="76" h="372">
                  <a:moveTo>
                    <a:pt x="0" y="0"/>
                  </a:moveTo>
                  <a:lnTo>
                    <a:pt x="0" y="74"/>
                  </a:lnTo>
                  <a:lnTo>
                    <a:pt x="0" y="372"/>
                  </a:lnTo>
                  <a:lnTo>
                    <a:pt x="76" y="372"/>
                  </a:lnTo>
                  <a:lnTo>
                    <a:pt x="76" y="43"/>
                  </a:lnTo>
                  <a:lnTo>
                    <a:pt x="76" y="0"/>
                  </a:lnTo>
                  <a:lnTo>
                    <a:pt x="0" y="0"/>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245" name="Freeform 23"/>
            <p:cNvSpPr>
              <a:spLocks/>
            </p:cNvSpPr>
            <p:nvPr/>
          </p:nvSpPr>
          <p:spPr bwMode="auto">
            <a:xfrm>
              <a:off x="8580438" y="4130675"/>
              <a:ext cx="122238" cy="293687"/>
            </a:xfrm>
            <a:custGeom>
              <a:avLst/>
              <a:gdLst>
                <a:gd name="T0" fmla="*/ 0 w 77"/>
                <a:gd name="T1" fmla="*/ 0 h 185"/>
                <a:gd name="T2" fmla="*/ 0 w 77"/>
                <a:gd name="T3" fmla="*/ 104 h 185"/>
                <a:gd name="T4" fmla="*/ 0 w 77"/>
                <a:gd name="T5" fmla="*/ 185 h 185"/>
                <a:gd name="T6" fmla="*/ 77 w 77"/>
                <a:gd name="T7" fmla="*/ 185 h 185"/>
                <a:gd name="T8" fmla="*/ 77 w 77"/>
                <a:gd name="T9" fmla="*/ 73 h 185"/>
                <a:gd name="T10" fmla="*/ 77 w 77"/>
                <a:gd name="T11" fmla="*/ 0 h 185"/>
                <a:gd name="T12" fmla="*/ 0 w 77"/>
                <a:gd name="T13" fmla="*/ 0 h 185"/>
              </a:gdLst>
              <a:ahLst/>
              <a:cxnLst>
                <a:cxn ang="0">
                  <a:pos x="T0" y="T1"/>
                </a:cxn>
                <a:cxn ang="0">
                  <a:pos x="T2" y="T3"/>
                </a:cxn>
                <a:cxn ang="0">
                  <a:pos x="T4" y="T5"/>
                </a:cxn>
                <a:cxn ang="0">
                  <a:pos x="T6" y="T7"/>
                </a:cxn>
                <a:cxn ang="0">
                  <a:pos x="T8" y="T9"/>
                </a:cxn>
                <a:cxn ang="0">
                  <a:pos x="T10" y="T11"/>
                </a:cxn>
                <a:cxn ang="0">
                  <a:pos x="T12" y="T13"/>
                </a:cxn>
              </a:cxnLst>
              <a:rect l="0" t="0" r="r" b="b"/>
              <a:pathLst>
                <a:path w="77" h="185">
                  <a:moveTo>
                    <a:pt x="0" y="0"/>
                  </a:moveTo>
                  <a:lnTo>
                    <a:pt x="0" y="104"/>
                  </a:lnTo>
                  <a:lnTo>
                    <a:pt x="0" y="185"/>
                  </a:lnTo>
                  <a:lnTo>
                    <a:pt x="77" y="185"/>
                  </a:lnTo>
                  <a:lnTo>
                    <a:pt x="77" y="73"/>
                  </a:lnTo>
                  <a:lnTo>
                    <a:pt x="77" y="0"/>
                  </a:lnTo>
                  <a:lnTo>
                    <a:pt x="0" y="0"/>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246" name="Freeform 24"/>
            <p:cNvSpPr>
              <a:spLocks/>
            </p:cNvSpPr>
            <p:nvPr/>
          </p:nvSpPr>
          <p:spPr bwMode="auto">
            <a:xfrm>
              <a:off x="8728075" y="3648075"/>
              <a:ext cx="119063" cy="776287"/>
            </a:xfrm>
            <a:custGeom>
              <a:avLst/>
              <a:gdLst>
                <a:gd name="T0" fmla="*/ 0 w 75"/>
                <a:gd name="T1" fmla="*/ 0 h 489"/>
                <a:gd name="T2" fmla="*/ 0 w 75"/>
                <a:gd name="T3" fmla="*/ 371 h 489"/>
                <a:gd name="T4" fmla="*/ 0 w 75"/>
                <a:gd name="T5" fmla="*/ 489 h 489"/>
                <a:gd name="T6" fmla="*/ 75 w 75"/>
                <a:gd name="T7" fmla="*/ 489 h 489"/>
                <a:gd name="T8" fmla="*/ 75 w 75"/>
                <a:gd name="T9" fmla="*/ 341 h 489"/>
                <a:gd name="T10" fmla="*/ 75 w 75"/>
                <a:gd name="T11" fmla="*/ 0 h 489"/>
                <a:gd name="T12" fmla="*/ 0 w 75"/>
                <a:gd name="T13" fmla="*/ 0 h 489"/>
              </a:gdLst>
              <a:ahLst/>
              <a:cxnLst>
                <a:cxn ang="0">
                  <a:pos x="T0" y="T1"/>
                </a:cxn>
                <a:cxn ang="0">
                  <a:pos x="T2" y="T3"/>
                </a:cxn>
                <a:cxn ang="0">
                  <a:pos x="T4" y="T5"/>
                </a:cxn>
                <a:cxn ang="0">
                  <a:pos x="T6" y="T7"/>
                </a:cxn>
                <a:cxn ang="0">
                  <a:pos x="T8" y="T9"/>
                </a:cxn>
                <a:cxn ang="0">
                  <a:pos x="T10" y="T11"/>
                </a:cxn>
                <a:cxn ang="0">
                  <a:pos x="T12" y="T13"/>
                </a:cxn>
              </a:cxnLst>
              <a:rect l="0" t="0" r="r" b="b"/>
              <a:pathLst>
                <a:path w="75" h="489">
                  <a:moveTo>
                    <a:pt x="0" y="0"/>
                  </a:moveTo>
                  <a:lnTo>
                    <a:pt x="0" y="371"/>
                  </a:lnTo>
                  <a:lnTo>
                    <a:pt x="0" y="489"/>
                  </a:lnTo>
                  <a:lnTo>
                    <a:pt x="75" y="489"/>
                  </a:lnTo>
                  <a:lnTo>
                    <a:pt x="75" y="341"/>
                  </a:lnTo>
                  <a:lnTo>
                    <a:pt x="75" y="0"/>
                  </a:lnTo>
                  <a:lnTo>
                    <a:pt x="0"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247" name="Rectangle 25"/>
            <p:cNvSpPr>
              <a:spLocks noChangeArrowheads="1"/>
            </p:cNvSpPr>
            <p:nvPr/>
          </p:nvSpPr>
          <p:spPr bwMode="auto">
            <a:xfrm>
              <a:off x="10933113" y="4114800"/>
              <a:ext cx="246063" cy="8572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248" name="Rectangle 26"/>
            <p:cNvSpPr>
              <a:spLocks noChangeArrowheads="1"/>
            </p:cNvSpPr>
            <p:nvPr/>
          </p:nvSpPr>
          <p:spPr bwMode="auto">
            <a:xfrm>
              <a:off x="10933113" y="4200525"/>
              <a:ext cx="246063" cy="21907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249" name="Rectangle 27"/>
            <p:cNvSpPr>
              <a:spLocks noChangeArrowheads="1"/>
            </p:cNvSpPr>
            <p:nvPr/>
          </p:nvSpPr>
          <p:spPr bwMode="auto">
            <a:xfrm>
              <a:off x="11220450" y="3746500"/>
              <a:ext cx="247650" cy="2444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250" name="Rectangle 28"/>
            <p:cNvSpPr>
              <a:spLocks noChangeArrowheads="1"/>
            </p:cNvSpPr>
            <p:nvPr/>
          </p:nvSpPr>
          <p:spPr bwMode="auto">
            <a:xfrm>
              <a:off x="11220450" y="3990975"/>
              <a:ext cx="247650" cy="42862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251" name="Rectangle 29"/>
            <p:cNvSpPr>
              <a:spLocks noChangeArrowheads="1"/>
            </p:cNvSpPr>
            <p:nvPr/>
          </p:nvSpPr>
          <p:spPr bwMode="auto">
            <a:xfrm>
              <a:off x="11509375" y="4064000"/>
              <a:ext cx="246063" cy="24765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252" name="Rectangle 30"/>
            <p:cNvSpPr>
              <a:spLocks noChangeArrowheads="1"/>
            </p:cNvSpPr>
            <p:nvPr/>
          </p:nvSpPr>
          <p:spPr bwMode="auto">
            <a:xfrm>
              <a:off x="11509375" y="4311650"/>
              <a:ext cx="246063" cy="10795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grpSp>
      <p:sp>
        <p:nvSpPr>
          <p:cNvPr id="198" name="Freeform 36"/>
          <p:cNvSpPr>
            <a:spLocks/>
          </p:cNvSpPr>
          <p:nvPr/>
        </p:nvSpPr>
        <p:spPr bwMode="auto">
          <a:xfrm>
            <a:off x="9594590" y="4431535"/>
            <a:ext cx="785923" cy="518157"/>
          </a:xfrm>
          <a:custGeom>
            <a:avLst/>
            <a:gdLst>
              <a:gd name="T0" fmla="*/ 462 w 550"/>
              <a:gd name="T1" fmla="*/ 159 h 362"/>
              <a:gd name="T2" fmla="*/ 462 w 550"/>
              <a:gd name="T3" fmla="*/ 152 h 362"/>
              <a:gd name="T4" fmla="*/ 311 w 550"/>
              <a:gd name="T5" fmla="*/ 0 h 362"/>
              <a:gd name="T6" fmla="*/ 184 w 550"/>
              <a:gd name="T7" fmla="*/ 68 h 362"/>
              <a:gd name="T8" fmla="*/ 143 w 550"/>
              <a:gd name="T9" fmla="*/ 57 h 362"/>
              <a:gd name="T10" fmla="*/ 94 w 550"/>
              <a:gd name="T11" fmla="*/ 72 h 362"/>
              <a:gd name="T12" fmla="*/ 55 w 550"/>
              <a:gd name="T13" fmla="*/ 143 h 362"/>
              <a:gd name="T14" fmla="*/ 0 w 550"/>
              <a:gd name="T15" fmla="*/ 243 h 362"/>
              <a:gd name="T16" fmla="*/ 106 w 550"/>
              <a:gd name="T17" fmla="*/ 362 h 362"/>
              <a:gd name="T18" fmla="*/ 119 w 550"/>
              <a:gd name="T19" fmla="*/ 362 h 362"/>
              <a:gd name="T20" fmla="*/ 131 w 550"/>
              <a:gd name="T21" fmla="*/ 362 h 362"/>
              <a:gd name="T22" fmla="*/ 379 w 550"/>
              <a:gd name="T23" fmla="*/ 362 h 362"/>
              <a:gd name="T24" fmla="*/ 384 w 550"/>
              <a:gd name="T25" fmla="*/ 362 h 362"/>
              <a:gd name="T26" fmla="*/ 390 w 550"/>
              <a:gd name="T27" fmla="*/ 362 h 362"/>
              <a:gd name="T28" fmla="*/ 409 w 550"/>
              <a:gd name="T29" fmla="*/ 362 h 362"/>
              <a:gd name="T30" fmla="*/ 448 w 550"/>
              <a:gd name="T31" fmla="*/ 362 h 362"/>
              <a:gd name="T32" fmla="*/ 550 w 550"/>
              <a:gd name="T33" fmla="*/ 260 h 362"/>
              <a:gd name="T34" fmla="*/ 462 w 550"/>
              <a:gd name="T35" fmla="*/ 159 h 3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50" h="362">
                <a:moveTo>
                  <a:pt x="462" y="159"/>
                </a:moveTo>
                <a:cubicBezTo>
                  <a:pt x="462" y="157"/>
                  <a:pt x="462" y="154"/>
                  <a:pt x="462" y="152"/>
                </a:cubicBezTo>
                <a:cubicBezTo>
                  <a:pt x="462" y="68"/>
                  <a:pt x="395" y="0"/>
                  <a:pt x="311" y="0"/>
                </a:cubicBezTo>
                <a:cubicBezTo>
                  <a:pt x="258" y="0"/>
                  <a:pt x="211" y="28"/>
                  <a:pt x="184" y="68"/>
                </a:cubicBezTo>
                <a:cubicBezTo>
                  <a:pt x="172" y="61"/>
                  <a:pt x="158" y="57"/>
                  <a:pt x="143" y="57"/>
                </a:cubicBezTo>
                <a:cubicBezTo>
                  <a:pt x="124" y="57"/>
                  <a:pt x="108" y="62"/>
                  <a:pt x="94" y="72"/>
                </a:cubicBezTo>
                <a:cubicBezTo>
                  <a:pt x="70" y="87"/>
                  <a:pt x="55" y="113"/>
                  <a:pt x="55" y="143"/>
                </a:cubicBezTo>
                <a:cubicBezTo>
                  <a:pt x="22" y="164"/>
                  <a:pt x="0" y="201"/>
                  <a:pt x="0" y="243"/>
                </a:cubicBezTo>
                <a:cubicBezTo>
                  <a:pt x="0" y="305"/>
                  <a:pt x="46" y="355"/>
                  <a:pt x="106" y="362"/>
                </a:cubicBezTo>
                <a:cubicBezTo>
                  <a:pt x="110" y="362"/>
                  <a:pt x="115" y="362"/>
                  <a:pt x="119" y="362"/>
                </a:cubicBezTo>
                <a:cubicBezTo>
                  <a:pt x="123" y="362"/>
                  <a:pt x="127" y="362"/>
                  <a:pt x="131" y="362"/>
                </a:cubicBezTo>
                <a:cubicBezTo>
                  <a:pt x="187" y="362"/>
                  <a:pt x="318" y="362"/>
                  <a:pt x="379" y="362"/>
                </a:cubicBezTo>
                <a:cubicBezTo>
                  <a:pt x="381" y="362"/>
                  <a:pt x="383" y="362"/>
                  <a:pt x="384" y="362"/>
                </a:cubicBezTo>
                <a:cubicBezTo>
                  <a:pt x="390" y="362"/>
                  <a:pt x="390" y="362"/>
                  <a:pt x="390" y="362"/>
                </a:cubicBezTo>
                <a:cubicBezTo>
                  <a:pt x="394" y="362"/>
                  <a:pt x="403" y="362"/>
                  <a:pt x="409" y="362"/>
                </a:cubicBezTo>
                <a:cubicBezTo>
                  <a:pt x="448" y="362"/>
                  <a:pt x="448" y="362"/>
                  <a:pt x="448" y="362"/>
                </a:cubicBezTo>
                <a:cubicBezTo>
                  <a:pt x="505" y="361"/>
                  <a:pt x="550" y="316"/>
                  <a:pt x="550" y="260"/>
                </a:cubicBezTo>
                <a:cubicBezTo>
                  <a:pt x="550" y="209"/>
                  <a:pt x="512" y="166"/>
                  <a:pt x="462" y="159"/>
                </a:cubicBezTo>
                <a:close/>
              </a:path>
            </a:pathLst>
          </a:custGeom>
          <a:solidFill>
            <a:schemeClr val="accent6">
              <a:lumMod val="20000"/>
              <a:lumOff val="8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355" name="Freeform 127"/>
          <p:cNvSpPr/>
          <p:nvPr/>
        </p:nvSpPr>
        <p:spPr bwMode="auto">
          <a:xfrm>
            <a:off x="9927153" y="4523368"/>
            <a:ext cx="200621" cy="368419"/>
          </a:xfrm>
          <a:custGeom>
            <a:avLst/>
            <a:gdLst>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41426"/>
              <a:gd name="connsiteY0" fmla="*/ 0 h 4914900"/>
              <a:gd name="connsiteX1" fmla="*/ 1676400 w 2641426"/>
              <a:gd name="connsiteY1" fmla="*/ 0 h 4914900"/>
              <a:gd name="connsiteX2" fmla="*/ 1676400 w 2641426"/>
              <a:gd name="connsiteY2" fmla="*/ 523875 h 4914900"/>
              <a:gd name="connsiteX3" fmla="*/ 2466975 w 2641426"/>
              <a:gd name="connsiteY3" fmla="*/ 647700 h 4914900"/>
              <a:gd name="connsiteX4" fmla="*/ 2466975 w 2641426"/>
              <a:gd name="connsiteY4" fmla="*/ 1628775 h 4914900"/>
              <a:gd name="connsiteX5" fmla="*/ 1276350 w 2641426"/>
              <a:gd name="connsiteY5" fmla="*/ 1400175 h 4914900"/>
              <a:gd name="connsiteX6" fmla="*/ 1238250 w 2641426"/>
              <a:gd name="connsiteY6" fmla="*/ 1800225 h 4914900"/>
              <a:gd name="connsiteX7" fmla="*/ 2638425 w 2641426"/>
              <a:gd name="connsiteY7" fmla="*/ 3276600 h 4914900"/>
              <a:gd name="connsiteX8" fmla="*/ 1685925 w 2641426"/>
              <a:gd name="connsiteY8" fmla="*/ 4305300 h 4914900"/>
              <a:gd name="connsiteX9" fmla="*/ 1685925 w 2641426"/>
              <a:gd name="connsiteY9" fmla="*/ 4914900 h 4914900"/>
              <a:gd name="connsiteX10" fmla="*/ 1038225 w 2641426"/>
              <a:gd name="connsiteY10" fmla="*/ 4914900 h 4914900"/>
              <a:gd name="connsiteX11" fmla="*/ 1038225 w 2641426"/>
              <a:gd name="connsiteY11" fmla="*/ 4381500 h 4914900"/>
              <a:gd name="connsiteX12" fmla="*/ 19050 w 2641426"/>
              <a:gd name="connsiteY12" fmla="*/ 4152900 h 4914900"/>
              <a:gd name="connsiteX13" fmla="*/ 19050 w 2641426"/>
              <a:gd name="connsiteY13" fmla="*/ 3133725 h 4914900"/>
              <a:gd name="connsiteX14" fmla="*/ 1181100 w 2641426"/>
              <a:gd name="connsiteY14" fmla="*/ 3533775 h 4914900"/>
              <a:gd name="connsiteX15" fmla="*/ 1333500 w 2641426"/>
              <a:gd name="connsiteY15" fmla="*/ 3086100 h 4914900"/>
              <a:gd name="connsiteX16" fmla="*/ 0 w 2641426"/>
              <a:gd name="connsiteY16" fmla="*/ 1447800 h 4914900"/>
              <a:gd name="connsiteX17" fmla="*/ 1038225 w 2641426"/>
              <a:gd name="connsiteY17" fmla="*/ 561975 h 4914900"/>
              <a:gd name="connsiteX18" fmla="*/ 1028700 w 2641426"/>
              <a:gd name="connsiteY18" fmla="*/ 0 h 4914900"/>
              <a:gd name="connsiteX0" fmla="*/ 1028700 w 2640867"/>
              <a:gd name="connsiteY0" fmla="*/ 0 h 4914900"/>
              <a:gd name="connsiteX1" fmla="*/ 1676400 w 2640867"/>
              <a:gd name="connsiteY1" fmla="*/ 0 h 4914900"/>
              <a:gd name="connsiteX2" fmla="*/ 1676400 w 2640867"/>
              <a:gd name="connsiteY2" fmla="*/ 523875 h 4914900"/>
              <a:gd name="connsiteX3" fmla="*/ 2466975 w 2640867"/>
              <a:gd name="connsiteY3" fmla="*/ 647700 h 4914900"/>
              <a:gd name="connsiteX4" fmla="*/ 2466975 w 2640867"/>
              <a:gd name="connsiteY4" fmla="*/ 1628775 h 4914900"/>
              <a:gd name="connsiteX5" fmla="*/ 1276350 w 2640867"/>
              <a:gd name="connsiteY5" fmla="*/ 1400175 h 4914900"/>
              <a:gd name="connsiteX6" fmla="*/ 1238250 w 2640867"/>
              <a:gd name="connsiteY6" fmla="*/ 1800225 h 4914900"/>
              <a:gd name="connsiteX7" fmla="*/ 2638425 w 2640867"/>
              <a:gd name="connsiteY7" fmla="*/ 3276600 h 4914900"/>
              <a:gd name="connsiteX8" fmla="*/ 1685925 w 2640867"/>
              <a:gd name="connsiteY8" fmla="*/ 4305300 h 4914900"/>
              <a:gd name="connsiteX9" fmla="*/ 1685925 w 2640867"/>
              <a:gd name="connsiteY9" fmla="*/ 4914900 h 4914900"/>
              <a:gd name="connsiteX10" fmla="*/ 1038225 w 2640867"/>
              <a:gd name="connsiteY10" fmla="*/ 4914900 h 4914900"/>
              <a:gd name="connsiteX11" fmla="*/ 1038225 w 2640867"/>
              <a:gd name="connsiteY11" fmla="*/ 4381500 h 4914900"/>
              <a:gd name="connsiteX12" fmla="*/ 19050 w 2640867"/>
              <a:gd name="connsiteY12" fmla="*/ 4152900 h 4914900"/>
              <a:gd name="connsiteX13" fmla="*/ 19050 w 2640867"/>
              <a:gd name="connsiteY13" fmla="*/ 3133725 h 4914900"/>
              <a:gd name="connsiteX14" fmla="*/ 1181100 w 2640867"/>
              <a:gd name="connsiteY14" fmla="*/ 3533775 h 4914900"/>
              <a:gd name="connsiteX15" fmla="*/ 1333500 w 2640867"/>
              <a:gd name="connsiteY15" fmla="*/ 3086100 h 4914900"/>
              <a:gd name="connsiteX16" fmla="*/ 0 w 2640867"/>
              <a:gd name="connsiteY16" fmla="*/ 1447800 h 4914900"/>
              <a:gd name="connsiteX17" fmla="*/ 1038225 w 2640867"/>
              <a:gd name="connsiteY17" fmla="*/ 561975 h 4914900"/>
              <a:gd name="connsiteX18" fmla="*/ 1028700 w 2640867"/>
              <a:gd name="connsiteY18" fmla="*/ 0 h 4914900"/>
              <a:gd name="connsiteX0" fmla="*/ 1028700 w 2646293"/>
              <a:gd name="connsiteY0" fmla="*/ 0 h 4914900"/>
              <a:gd name="connsiteX1" fmla="*/ 1676400 w 2646293"/>
              <a:gd name="connsiteY1" fmla="*/ 0 h 4914900"/>
              <a:gd name="connsiteX2" fmla="*/ 1676400 w 2646293"/>
              <a:gd name="connsiteY2" fmla="*/ 523875 h 4914900"/>
              <a:gd name="connsiteX3" fmla="*/ 2466975 w 2646293"/>
              <a:gd name="connsiteY3" fmla="*/ 647700 h 4914900"/>
              <a:gd name="connsiteX4" fmla="*/ 2466975 w 2646293"/>
              <a:gd name="connsiteY4" fmla="*/ 1628775 h 4914900"/>
              <a:gd name="connsiteX5" fmla="*/ 1276350 w 2646293"/>
              <a:gd name="connsiteY5" fmla="*/ 1400175 h 4914900"/>
              <a:gd name="connsiteX6" fmla="*/ 1238250 w 2646293"/>
              <a:gd name="connsiteY6" fmla="*/ 1800225 h 4914900"/>
              <a:gd name="connsiteX7" fmla="*/ 2638425 w 2646293"/>
              <a:gd name="connsiteY7" fmla="*/ 3276600 h 4914900"/>
              <a:gd name="connsiteX8" fmla="*/ 1685925 w 2646293"/>
              <a:gd name="connsiteY8" fmla="*/ 4305300 h 4914900"/>
              <a:gd name="connsiteX9" fmla="*/ 1685925 w 2646293"/>
              <a:gd name="connsiteY9" fmla="*/ 4914900 h 4914900"/>
              <a:gd name="connsiteX10" fmla="*/ 1038225 w 2646293"/>
              <a:gd name="connsiteY10" fmla="*/ 4914900 h 4914900"/>
              <a:gd name="connsiteX11" fmla="*/ 1038225 w 2646293"/>
              <a:gd name="connsiteY11" fmla="*/ 4381500 h 4914900"/>
              <a:gd name="connsiteX12" fmla="*/ 19050 w 2646293"/>
              <a:gd name="connsiteY12" fmla="*/ 4152900 h 4914900"/>
              <a:gd name="connsiteX13" fmla="*/ 19050 w 2646293"/>
              <a:gd name="connsiteY13" fmla="*/ 3133725 h 4914900"/>
              <a:gd name="connsiteX14" fmla="*/ 1181100 w 2646293"/>
              <a:gd name="connsiteY14" fmla="*/ 3533775 h 4914900"/>
              <a:gd name="connsiteX15" fmla="*/ 1333500 w 2646293"/>
              <a:gd name="connsiteY15" fmla="*/ 3086100 h 4914900"/>
              <a:gd name="connsiteX16" fmla="*/ 0 w 2646293"/>
              <a:gd name="connsiteY16" fmla="*/ 1447800 h 4914900"/>
              <a:gd name="connsiteX17" fmla="*/ 1038225 w 2646293"/>
              <a:gd name="connsiteY17" fmla="*/ 561975 h 4914900"/>
              <a:gd name="connsiteX18" fmla="*/ 1028700 w 2646293"/>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64796 w 2682440"/>
              <a:gd name="connsiteY0" fmla="*/ 0 h 4914900"/>
              <a:gd name="connsiteX1" fmla="*/ 1712496 w 2682440"/>
              <a:gd name="connsiteY1" fmla="*/ 0 h 4914900"/>
              <a:gd name="connsiteX2" fmla="*/ 1712496 w 2682440"/>
              <a:gd name="connsiteY2" fmla="*/ 523875 h 4914900"/>
              <a:gd name="connsiteX3" fmla="*/ 2503071 w 2682440"/>
              <a:gd name="connsiteY3" fmla="*/ 647700 h 4914900"/>
              <a:gd name="connsiteX4" fmla="*/ 2503071 w 2682440"/>
              <a:gd name="connsiteY4" fmla="*/ 1628775 h 4914900"/>
              <a:gd name="connsiteX5" fmla="*/ 1312446 w 2682440"/>
              <a:gd name="connsiteY5" fmla="*/ 1400175 h 4914900"/>
              <a:gd name="connsiteX6" fmla="*/ 1274346 w 2682440"/>
              <a:gd name="connsiteY6" fmla="*/ 1800225 h 4914900"/>
              <a:gd name="connsiteX7" fmla="*/ 2674521 w 2682440"/>
              <a:gd name="connsiteY7" fmla="*/ 3276600 h 4914900"/>
              <a:gd name="connsiteX8" fmla="*/ 1722021 w 2682440"/>
              <a:gd name="connsiteY8" fmla="*/ 4305300 h 4914900"/>
              <a:gd name="connsiteX9" fmla="*/ 1722021 w 2682440"/>
              <a:gd name="connsiteY9" fmla="*/ 4914900 h 4914900"/>
              <a:gd name="connsiteX10" fmla="*/ 1074321 w 2682440"/>
              <a:gd name="connsiteY10" fmla="*/ 4914900 h 4914900"/>
              <a:gd name="connsiteX11" fmla="*/ 1074321 w 2682440"/>
              <a:gd name="connsiteY11" fmla="*/ 4381500 h 4914900"/>
              <a:gd name="connsiteX12" fmla="*/ 55146 w 2682440"/>
              <a:gd name="connsiteY12" fmla="*/ 4152900 h 4914900"/>
              <a:gd name="connsiteX13" fmla="*/ 55146 w 2682440"/>
              <a:gd name="connsiteY13" fmla="*/ 3133725 h 4914900"/>
              <a:gd name="connsiteX14" fmla="*/ 1217196 w 2682440"/>
              <a:gd name="connsiteY14" fmla="*/ 3533775 h 4914900"/>
              <a:gd name="connsiteX15" fmla="*/ 1369596 w 2682440"/>
              <a:gd name="connsiteY15" fmla="*/ 3086100 h 4914900"/>
              <a:gd name="connsiteX16" fmla="*/ 36096 w 2682440"/>
              <a:gd name="connsiteY16" fmla="*/ 1447800 h 4914900"/>
              <a:gd name="connsiteX17" fmla="*/ 1074321 w 2682440"/>
              <a:gd name="connsiteY17" fmla="*/ 561975 h 4914900"/>
              <a:gd name="connsiteX18" fmla="*/ 1064796 w 2682440"/>
              <a:gd name="connsiteY18" fmla="*/ 0 h 4914900"/>
              <a:gd name="connsiteX0" fmla="*/ 1065400 w 2683044"/>
              <a:gd name="connsiteY0" fmla="*/ 0 h 4914900"/>
              <a:gd name="connsiteX1" fmla="*/ 1713100 w 2683044"/>
              <a:gd name="connsiteY1" fmla="*/ 0 h 4914900"/>
              <a:gd name="connsiteX2" fmla="*/ 1713100 w 2683044"/>
              <a:gd name="connsiteY2" fmla="*/ 523875 h 4914900"/>
              <a:gd name="connsiteX3" fmla="*/ 2503675 w 2683044"/>
              <a:gd name="connsiteY3" fmla="*/ 647700 h 4914900"/>
              <a:gd name="connsiteX4" fmla="*/ 2503675 w 2683044"/>
              <a:gd name="connsiteY4" fmla="*/ 1628775 h 4914900"/>
              <a:gd name="connsiteX5" fmla="*/ 1313050 w 2683044"/>
              <a:gd name="connsiteY5" fmla="*/ 1400175 h 4914900"/>
              <a:gd name="connsiteX6" fmla="*/ 1274950 w 2683044"/>
              <a:gd name="connsiteY6" fmla="*/ 1800225 h 4914900"/>
              <a:gd name="connsiteX7" fmla="*/ 2675125 w 2683044"/>
              <a:gd name="connsiteY7" fmla="*/ 3276600 h 4914900"/>
              <a:gd name="connsiteX8" fmla="*/ 1722625 w 2683044"/>
              <a:gd name="connsiteY8" fmla="*/ 4305300 h 4914900"/>
              <a:gd name="connsiteX9" fmla="*/ 1722625 w 2683044"/>
              <a:gd name="connsiteY9" fmla="*/ 4914900 h 4914900"/>
              <a:gd name="connsiteX10" fmla="*/ 1074925 w 2683044"/>
              <a:gd name="connsiteY10" fmla="*/ 4914900 h 4914900"/>
              <a:gd name="connsiteX11" fmla="*/ 1074925 w 2683044"/>
              <a:gd name="connsiteY11" fmla="*/ 4381500 h 4914900"/>
              <a:gd name="connsiteX12" fmla="*/ 55750 w 2683044"/>
              <a:gd name="connsiteY12" fmla="*/ 4152900 h 4914900"/>
              <a:gd name="connsiteX13" fmla="*/ 55750 w 2683044"/>
              <a:gd name="connsiteY13" fmla="*/ 3133725 h 4914900"/>
              <a:gd name="connsiteX14" fmla="*/ 1217800 w 2683044"/>
              <a:gd name="connsiteY14" fmla="*/ 3533775 h 4914900"/>
              <a:gd name="connsiteX15" fmla="*/ 1370200 w 2683044"/>
              <a:gd name="connsiteY15" fmla="*/ 3086100 h 4914900"/>
              <a:gd name="connsiteX16" fmla="*/ 36700 w 2683044"/>
              <a:gd name="connsiteY16" fmla="*/ 1447800 h 4914900"/>
              <a:gd name="connsiteX17" fmla="*/ 1074925 w 2683044"/>
              <a:gd name="connsiteY17" fmla="*/ 561975 h 4914900"/>
              <a:gd name="connsiteX18" fmla="*/ 1065400 w 2683044"/>
              <a:gd name="connsiteY18" fmla="*/ 0 h 4914900"/>
              <a:gd name="connsiteX0" fmla="*/ 1061280 w 2678924"/>
              <a:gd name="connsiteY0" fmla="*/ 0 h 4914900"/>
              <a:gd name="connsiteX1" fmla="*/ 1708980 w 2678924"/>
              <a:gd name="connsiteY1" fmla="*/ 0 h 4914900"/>
              <a:gd name="connsiteX2" fmla="*/ 1708980 w 2678924"/>
              <a:gd name="connsiteY2" fmla="*/ 523875 h 4914900"/>
              <a:gd name="connsiteX3" fmla="*/ 2499555 w 2678924"/>
              <a:gd name="connsiteY3" fmla="*/ 647700 h 4914900"/>
              <a:gd name="connsiteX4" fmla="*/ 2499555 w 2678924"/>
              <a:gd name="connsiteY4" fmla="*/ 1628775 h 4914900"/>
              <a:gd name="connsiteX5" fmla="*/ 1308930 w 2678924"/>
              <a:gd name="connsiteY5" fmla="*/ 1400175 h 4914900"/>
              <a:gd name="connsiteX6" fmla="*/ 1270830 w 2678924"/>
              <a:gd name="connsiteY6" fmla="*/ 1800225 h 4914900"/>
              <a:gd name="connsiteX7" fmla="*/ 2671005 w 2678924"/>
              <a:gd name="connsiteY7" fmla="*/ 3276600 h 4914900"/>
              <a:gd name="connsiteX8" fmla="*/ 1718505 w 2678924"/>
              <a:gd name="connsiteY8" fmla="*/ 4305300 h 4914900"/>
              <a:gd name="connsiteX9" fmla="*/ 1718505 w 2678924"/>
              <a:gd name="connsiteY9" fmla="*/ 4914900 h 4914900"/>
              <a:gd name="connsiteX10" fmla="*/ 1070805 w 2678924"/>
              <a:gd name="connsiteY10" fmla="*/ 4914900 h 4914900"/>
              <a:gd name="connsiteX11" fmla="*/ 1070805 w 2678924"/>
              <a:gd name="connsiteY11" fmla="*/ 4381500 h 4914900"/>
              <a:gd name="connsiteX12" fmla="*/ 51630 w 2678924"/>
              <a:gd name="connsiteY12" fmla="*/ 4152900 h 4914900"/>
              <a:gd name="connsiteX13" fmla="*/ 51630 w 2678924"/>
              <a:gd name="connsiteY13" fmla="*/ 3133725 h 4914900"/>
              <a:gd name="connsiteX14" fmla="*/ 1213680 w 2678924"/>
              <a:gd name="connsiteY14" fmla="*/ 3533775 h 4914900"/>
              <a:gd name="connsiteX15" fmla="*/ 1366080 w 2678924"/>
              <a:gd name="connsiteY15" fmla="*/ 3086100 h 4914900"/>
              <a:gd name="connsiteX16" fmla="*/ 32580 w 2678924"/>
              <a:gd name="connsiteY16" fmla="*/ 1447800 h 4914900"/>
              <a:gd name="connsiteX17" fmla="*/ 1070805 w 2678924"/>
              <a:gd name="connsiteY17" fmla="*/ 561975 h 4914900"/>
              <a:gd name="connsiteX18" fmla="*/ 1061280 w 2678924"/>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676383" h="4914900">
                <a:moveTo>
                  <a:pt x="1058739" y="0"/>
                </a:moveTo>
                <a:lnTo>
                  <a:pt x="1706439" y="0"/>
                </a:lnTo>
                <a:lnTo>
                  <a:pt x="1706439" y="523875"/>
                </a:lnTo>
                <a:cubicBezTo>
                  <a:pt x="2008064" y="531813"/>
                  <a:pt x="2233489" y="573087"/>
                  <a:pt x="2497014" y="647700"/>
                </a:cubicBezTo>
                <a:lnTo>
                  <a:pt x="2497014" y="1628775"/>
                </a:lnTo>
                <a:cubicBezTo>
                  <a:pt x="2047752" y="1390650"/>
                  <a:pt x="1488951" y="1281112"/>
                  <a:pt x="1306389" y="1400175"/>
                </a:cubicBezTo>
                <a:cubicBezTo>
                  <a:pt x="1127001" y="1471613"/>
                  <a:pt x="1142876" y="1714500"/>
                  <a:pt x="1268289" y="1800225"/>
                </a:cubicBezTo>
                <a:cubicBezTo>
                  <a:pt x="1425452" y="2020888"/>
                  <a:pt x="2792289" y="2236787"/>
                  <a:pt x="2668464" y="3276600"/>
                </a:cubicBezTo>
                <a:cubicBezTo>
                  <a:pt x="2608139" y="4000500"/>
                  <a:pt x="1966789" y="4233862"/>
                  <a:pt x="1715964" y="4305300"/>
                </a:cubicBezTo>
                <a:lnTo>
                  <a:pt x="1715964" y="4914900"/>
                </a:lnTo>
                <a:lnTo>
                  <a:pt x="1068264" y="4914900"/>
                </a:lnTo>
                <a:lnTo>
                  <a:pt x="1068264" y="4381500"/>
                </a:lnTo>
                <a:cubicBezTo>
                  <a:pt x="685676" y="4371975"/>
                  <a:pt x="222127" y="4267200"/>
                  <a:pt x="49089" y="4152900"/>
                </a:cubicBezTo>
                <a:lnTo>
                  <a:pt x="49089" y="3133725"/>
                </a:lnTo>
                <a:cubicBezTo>
                  <a:pt x="403102" y="3438525"/>
                  <a:pt x="923802" y="3562350"/>
                  <a:pt x="1211139" y="3533775"/>
                </a:cubicBezTo>
                <a:cubicBezTo>
                  <a:pt x="1490539" y="3503613"/>
                  <a:pt x="1498476" y="3201988"/>
                  <a:pt x="1363539" y="3086100"/>
                </a:cubicBezTo>
                <a:cubicBezTo>
                  <a:pt x="1176215" y="2820987"/>
                  <a:pt x="-220786" y="2727324"/>
                  <a:pt x="30039" y="1447800"/>
                </a:cubicBezTo>
                <a:cubicBezTo>
                  <a:pt x="142751" y="795338"/>
                  <a:pt x="798389" y="585787"/>
                  <a:pt x="1068264" y="561975"/>
                </a:cubicBezTo>
                <a:lnTo>
                  <a:pt x="1058739" y="0"/>
                </a:lnTo>
                <a:close/>
              </a:path>
            </a:pathLst>
          </a:custGeom>
          <a:solidFill>
            <a:schemeClr val="accent6"/>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45720" rIns="45720" bIns="91440"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ctr" defTabSz="91409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50" normalizeH="0" baseline="0" noProof="0" dirty="0" err="1">
              <a:ln>
                <a:noFill/>
              </a:ln>
              <a:solidFill>
                <a:schemeClr val="accent1"/>
              </a:solidFill>
              <a:effectLst/>
              <a:uLnTx/>
              <a:uFillTx/>
              <a:latin typeface="Segoe UI" pitchFamily="34" charset="0"/>
              <a:ea typeface="Segoe UI" pitchFamily="34" charset="0"/>
              <a:cs typeface="Segoe UI" pitchFamily="34" charset="0"/>
            </a:endParaRPr>
          </a:p>
        </p:txBody>
      </p:sp>
      <p:sp>
        <p:nvSpPr>
          <p:cNvPr id="195" name="Freeform 36"/>
          <p:cNvSpPr>
            <a:spLocks/>
          </p:cNvSpPr>
          <p:nvPr/>
        </p:nvSpPr>
        <p:spPr bwMode="auto">
          <a:xfrm>
            <a:off x="10702869" y="3871785"/>
            <a:ext cx="571482" cy="376776"/>
          </a:xfrm>
          <a:custGeom>
            <a:avLst/>
            <a:gdLst>
              <a:gd name="T0" fmla="*/ 462 w 550"/>
              <a:gd name="T1" fmla="*/ 159 h 362"/>
              <a:gd name="T2" fmla="*/ 462 w 550"/>
              <a:gd name="T3" fmla="*/ 152 h 362"/>
              <a:gd name="T4" fmla="*/ 311 w 550"/>
              <a:gd name="T5" fmla="*/ 0 h 362"/>
              <a:gd name="T6" fmla="*/ 184 w 550"/>
              <a:gd name="T7" fmla="*/ 68 h 362"/>
              <a:gd name="T8" fmla="*/ 143 w 550"/>
              <a:gd name="T9" fmla="*/ 57 h 362"/>
              <a:gd name="T10" fmla="*/ 94 w 550"/>
              <a:gd name="T11" fmla="*/ 72 h 362"/>
              <a:gd name="T12" fmla="*/ 55 w 550"/>
              <a:gd name="T13" fmla="*/ 143 h 362"/>
              <a:gd name="T14" fmla="*/ 0 w 550"/>
              <a:gd name="T15" fmla="*/ 243 h 362"/>
              <a:gd name="T16" fmla="*/ 106 w 550"/>
              <a:gd name="T17" fmla="*/ 362 h 362"/>
              <a:gd name="T18" fmla="*/ 119 w 550"/>
              <a:gd name="T19" fmla="*/ 362 h 362"/>
              <a:gd name="T20" fmla="*/ 131 w 550"/>
              <a:gd name="T21" fmla="*/ 362 h 362"/>
              <a:gd name="T22" fmla="*/ 379 w 550"/>
              <a:gd name="T23" fmla="*/ 362 h 362"/>
              <a:gd name="T24" fmla="*/ 384 w 550"/>
              <a:gd name="T25" fmla="*/ 362 h 362"/>
              <a:gd name="T26" fmla="*/ 390 w 550"/>
              <a:gd name="T27" fmla="*/ 362 h 362"/>
              <a:gd name="T28" fmla="*/ 409 w 550"/>
              <a:gd name="T29" fmla="*/ 362 h 362"/>
              <a:gd name="T30" fmla="*/ 448 w 550"/>
              <a:gd name="T31" fmla="*/ 362 h 362"/>
              <a:gd name="T32" fmla="*/ 550 w 550"/>
              <a:gd name="T33" fmla="*/ 260 h 362"/>
              <a:gd name="T34" fmla="*/ 462 w 550"/>
              <a:gd name="T35" fmla="*/ 159 h 3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50" h="362">
                <a:moveTo>
                  <a:pt x="462" y="159"/>
                </a:moveTo>
                <a:cubicBezTo>
                  <a:pt x="462" y="157"/>
                  <a:pt x="462" y="154"/>
                  <a:pt x="462" y="152"/>
                </a:cubicBezTo>
                <a:cubicBezTo>
                  <a:pt x="462" y="68"/>
                  <a:pt x="395" y="0"/>
                  <a:pt x="311" y="0"/>
                </a:cubicBezTo>
                <a:cubicBezTo>
                  <a:pt x="258" y="0"/>
                  <a:pt x="211" y="28"/>
                  <a:pt x="184" y="68"/>
                </a:cubicBezTo>
                <a:cubicBezTo>
                  <a:pt x="172" y="61"/>
                  <a:pt x="158" y="57"/>
                  <a:pt x="143" y="57"/>
                </a:cubicBezTo>
                <a:cubicBezTo>
                  <a:pt x="124" y="57"/>
                  <a:pt x="108" y="62"/>
                  <a:pt x="94" y="72"/>
                </a:cubicBezTo>
                <a:cubicBezTo>
                  <a:pt x="70" y="87"/>
                  <a:pt x="55" y="113"/>
                  <a:pt x="55" y="143"/>
                </a:cubicBezTo>
                <a:cubicBezTo>
                  <a:pt x="22" y="164"/>
                  <a:pt x="0" y="201"/>
                  <a:pt x="0" y="243"/>
                </a:cubicBezTo>
                <a:cubicBezTo>
                  <a:pt x="0" y="305"/>
                  <a:pt x="46" y="355"/>
                  <a:pt x="106" y="362"/>
                </a:cubicBezTo>
                <a:cubicBezTo>
                  <a:pt x="110" y="362"/>
                  <a:pt x="115" y="362"/>
                  <a:pt x="119" y="362"/>
                </a:cubicBezTo>
                <a:cubicBezTo>
                  <a:pt x="123" y="362"/>
                  <a:pt x="127" y="362"/>
                  <a:pt x="131" y="362"/>
                </a:cubicBezTo>
                <a:cubicBezTo>
                  <a:pt x="187" y="362"/>
                  <a:pt x="318" y="362"/>
                  <a:pt x="379" y="362"/>
                </a:cubicBezTo>
                <a:cubicBezTo>
                  <a:pt x="381" y="362"/>
                  <a:pt x="383" y="362"/>
                  <a:pt x="384" y="362"/>
                </a:cubicBezTo>
                <a:cubicBezTo>
                  <a:pt x="390" y="362"/>
                  <a:pt x="390" y="362"/>
                  <a:pt x="390" y="362"/>
                </a:cubicBezTo>
                <a:cubicBezTo>
                  <a:pt x="394" y="362"/>
                  <a:pt x="403" y="362"/>
                  <a:pt x="409" y="362"/>
                </a:cubicBezTo>
                <a:cubicBezTo>
                  <a:pt x="448" y="362"/>
                  <a:pt x="448" y="362"/>
                  <a:pt x="448" y="362"/>
                </a:cubicBezTo>
                <a:cubicBezTo>
                  <a:pt x="505" y="361"/>
                  <a:pt x="550" y="316"/>
                  <a:pt x="550" y="260"/>
                </a:cubicBezTo>
                <a:cubicBezTo>
                  <a:pt x="550" y="209"/>
                  <a:pt x="512" y="166"/>
                  <a:pt x="462" y="159"/>
                </a:cubicBezTo>
                <a:close/>
              </a:path>
            </a:pathLst>
          </a:custGeom>
          <a:solidFill>
            <a:schemeClr val="accent6">
              <a:lumMod val="20000"/>
              <a:lumOff val="8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grpSp>
        <p:nvGrpSpPr>
          <p:cNvPr id="183" name="Group 182"/>
          <p:cNvGrpSpPr/>
          <p:nvPr/>
        </p:nvGrpSpPr>
        <p:grpSpPr>
          <a:xfrm>
            <a:off x="5820870" y="1242995"/>
            <a:ext cx="2845635" cy="5285910"/>
            <a:chOff x="5820871" y="1532303"/>
            <a:chExt cx="2689888" cy="4996602"/>
          </a:xfrm>
        </p:grpSpPr>
        <p:sp>
          <p:nvSpPr>
            <p:cNvPr id="43" name="Freeform 36"/>
            <p:cNvSpPr>
              <a:spLocks/>
            </p:cNvSpPr>
            <p:nvPr/>
          </p:nvSpPr>
          <p:spPr bwMode="auto">
            <a:xfrm>
              <a:off x="6544301" y="1532303"/>
              <a:ext cx="785923" cy="518157"/>
            </a:xfrm>
            <a:custGeom>
              <a:avLst/>
              <a:gdLst>
                <a:gd name="T0" fmla="*/ 462 w 550"/>
                <a:gd name="T1" fmla="*/ 159 h 362"/>
                <a:gd name="T2" fmla="*/ 462 w 550"/>
                <a:gd name="T3" fmla="*/ 152 h 362"/>
                <a:gd name="T4" fmla="*/ 311 w 550"/>
                <a:gd name="T5" fmla="*/ 0 h 362"/>
                <a:gd name="T6" fmla="*/ 184 w 550"/>
                <a:gd name="T7" fmla="*/ 68 h 362"/>
                <a:gd name="T8" fmla="*/ 143 w 550"/>
                <a:gd name="T9" fmla="*/ 57 h 362"/>
                <a:gd name="T10" fmla="*/ 94 w 550"/>
                <a:gd name="T11" fmla="*/ 72 h 362"/>
                <a:gd name="T12" fmla="*/ 55 w 550"/>
                <a:gd name="T13" fmla="*/ 143 h 362"/>
                <a:gd name="T14" fmla="*/ 0 w 550"/>
                <a:gd name="T15" fmla="*/ 243 h 362"/>
                <a:gd name="T16" fmla="*/ 106 w 550"/>
                <a:gd name="T17" fmla="*/ 362 h 362"/>
                <a:gd name="T18" fmla="*/ 119 w 550"/>
                <a:gd name="T19" fmla="*/ 362 h 362"/>
                <a:gd name="T20" fmla="*/ 131 w 550"/>
                <a:gd name="T21" fmla="*/ 362 h 362"/>
                <a:gd name="T22" fmla="*/ 379 w 550"/>
                <a:gd name="T23" fmla="*/ 362 h 362"/>
                <a:gd name="T24" fmla="*/ 384 w 550"/>
                <a:gd name="T25" fmla="*/ 362 h 362"/>
                <a:gd name="T26" fmla="*/ 390 w 550"/>
                <a:gd name="T27" fmla="*/ 362 h 362"/>
                <a:gd name="T28" fmla="*/ 409 w 550"/>
                <a:gd name="T29" fmla="*/ 362 h 362"/>
                <a:gd name="T30" fmla="*/ 448 w 550"/>
                <a:gd name="T31" fmla="*/ 362 h 362"/>
                <a:gd name="T32" fmla="*/ 550 w 550"/>
                <a:gd name="T33" fmla="*/ 260 h 362"/>
                <a:gd name="T34" fmla="*/ 462 w 550"/>
                <a:gd name="T35" fmla="*/ 159 h 3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50" h="362">
                  <a:moveTo>
                    <a:pt x="462" y="159"/>
                  </a:moveTo>
                  <a:cubicBezTo>
                    <a:pt x="462" y="157"/>
                    <a:pt x="462" y="154"/>
                    <a:pt x="462" y="152"/>
                  </a:cubicBezTo>
                  <a:cubicBezTo>
                    <a:pt x="462" y="68"/>
                    <a:pt x="395" y="0"/>
                    <a:pt x="311" y="0"/>
                  </a:cubicBezTo>
                  <a:cubicBezTo>
                    <a:pt x="258" y="0"/>
                    <a:pt x="211" y="28"/>
                    <a:pt x="184" y="68"/>
                  </a:cubicBezTo>
                  <a:cubicBezTo>
                    <a:pt x="172" y="61"/>
                    <a:pt x="158" y="57"/>
                    <a:pt x="143" y="57"/>
                  </a:cubicBezTo>
                  <a:cubicBezTo>
                    <a:pt x="124" y="57"/>
                    <a:pt x="108" y="62"/>
                    <a:pt x="94" y="72"/>
                  </a:cubicBezTo>
                  <a:cubicBezTo>
                    <a:pt x="70" y="87"/>
                    <a:pt x="55" y="113"/>
                    <a:pt x="55" y="143"/>
                  </a:cubicBezTo>
                  <a:cubicBezTo>
                    <a:pt x="22" y="164"/>
                    <a:pt x="0" y="201"/>
                    <a:pt x="0" y="243"/>
                  </a:cubicBezTo>
                  <a:cubicBezTo>
                    <a:pt x="0" y="305"/>
                    <a:pt x="46" y="355"/>
                    <a:pt x="106" y="362"/>
                  </a:cubicBezTo>
                  <a:cubicBezTo>
                    <a:pt x="110" y="362"/>
                    <a:pt x="115" y="362"/>
                    <a:pt x="119" y="362"/>
                  </a:cubicBezTo>
                  <a:cubicBezTo>
                    <a:pt x="123" y="362"/>
                    <a:pt x="127" y="362"/>
                    <a:pt x="131" y="362"/>
                  </a:cubicBezTo>
                  <a:cubicBezTo>
                    <a:pt x="187" y="362"/>
                    <a:pt x="318" y="362"/>
                    <a:pt x="379" y="362"/>
                  </a:cubicBezTo>
                  <a:cubicBezTo>
                    <a:pt x="381" y="362"/>
                    <a:pt x="383" y="362"/>
                    <a:pt x="384" y="362"/>
                  </a:cubicBezTo>
                  <a:cubicBezTo>
                    <a:pt x="390" y="362"/>
                    <a:pt x="390" y="362"/>
                    <a:pt x="390" y="362"/>
                  </a:cubicBezTo>
                  <a:cubicBezTo>
                    <a:pt x="394" y="362"/>
                    <a:pt x="403" y="362"/>
                    <a:pt x="409" y="362"/>
                  </a:cubicBezTo>
                  <a:cubicBezTo>
                    <a:pt x="448" y="362"/>
                    <a:pt x="448" y="362"/>
                    <a:pt x="448" y="362"/>
                  </a:cubicBezTo>
                  <a:cubicBezTo>
                    <a:pt x="505" y="361"/>
                    <a:pt x="550" y="316"/>
                    <a:pt x="550" y="260"/>
                  </a:cubicBezTo>
                  <a:cubicBezTo>
                    <a:pt x="550" y="209"/>
                    <a:pt x="512" y="166"/>
                    <a:pt x="462" y="159"/>
                  </a:cubicBezTo>
                  <a:close/>
                </a:path>
              </a:pathLst>
            </a:custGeom>
            <a:solidFill>
              <a:schemeClr val="accent6">
                <a:lumMod val="20000"/>
                <a:lumOff val="8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262" name="Freeform 54"/>
            <p:cNvSpPr>
              <a:spLocks/>
            </p:cNvSpPr>
            <p:nvPr/>
          </p:nvSpPr>
          <p:spPr bwMode="auto">
            <a:xfrm>
              <a:off x="5945829" y="4460520"/>
              <a:ext cx="2065097" cy="2068385"/>
            </a:xfrm>
            <a:custGeom>
              <a:avLst/>
              <a:gdLst>
                <a:gd name="T0" fmla="*/ 251 w 628"/>
                <a:gd name="T1" fmla="*/ 66 h 629"/>
                <a:gd name="T2" fmla="*/ 251 w 628"/>
                <a:gd name="T3" fmla="*/ 0 h 629"/>
                <a:gd name="T4" fmla="*/ 89 w 628"/>
                <a:gd name="T5" fmla="*/ 0 h 629"/>
                <a:gd name="T6" fmla="*/ 89 w 628"/>
                <a:gd name="T7" fmla="*/ 66 h 629"/>
                <a:gd name="T8" fmla="*/ 0 w 628"/>
                <a:gd name="T9" fmla="*/ 66 h 629"/>
                <a:gd name="T10" fmla="*/ 0 w 628"/>
                <a:gd name="T11" fmla="*/ 82 h 629"/>
                <a:gd name="T12" fmla="*/ 21 w 628"/>
                <a:gd name="T13" fmla="*/ 82 h 629"/>
                <a:gd name="T14" fmla="*/ 21 w 628"/>
                <a:gd name="T15" fmla="*/ 629 h 629"/>
                <a:gd name="T16" fmla="*/ 607 w 628"/>
                <a:gd name="T17" fmla="*/ 629 h 629"/>
                <a:gd name="T18" fmla="*/ 607 w 628"/>
                <a:gd name="T19" fmla="*/ 82 h 629"/>
                <a:gd name="T20" fmla="*/ 628 w 628"/>
                <a:gd name="T21" fmla="*/ 82 h 629"/>
                <a:gd name="T22" fmla="*/ 628 w 628"/>
                <a:gd name="T23" fmla="*/ 66 h 629"/>
                <a:gd name="T24" fmla="*/ 251 w 628"/>
                <a:gd name="T25" fmla="*/ 66 h 6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8" h="629">
                  <a:moveTo>
                    <a:pt x="251" y="66"/>
                  </a:moveTo>
                  <a:lnTo>
                    <a:pt x="251" y="0"/>
                  </a:lnTo>
                  <a:lnTo>
                    <a:pt x="89" y="0"/>
                  </a:lnTo>
                  <a:lnTo>
                    <a:pt x="89" y="66"/>
                  </a:lnTo>
                  <a:lnTo>
                    <a:pt x="0" y="66"/>
                  </a:lnTo>
                  <a:lnTo>
                    <a:pt x="0" y="82"/>
                  </a:lnTo>
                  <a:lnTo>
                    <a:pt x="21" y="82"/>
                  </a:lnTo>
                  <a:lnTo>
                    <a:pt x="21" y="629"/>
                  </a:lnTo>
                  <a:lnTo>
                    <a:pt x="607" y="629"/>
                  </a:lnTo>
                  <a:lnTo>
                    <a:pt x="607" y="82"/>
                  </a:lnTo>
                  <a:lnTo>
                    <a:pt x="628" y="82"/>
                  </a:lnTo>
                  <a:lnTo>
                    <a:pt x="628" y="66"/>
                  </a:lnTo>
                  <a:lnTo>
                    <a:pt x="251" y="66"/>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315" name="Freeform 55"/>
            <p:cNvSpPr>
              <a:spLocks/>
            </p:cNvSpPr>
            <p:nvPr/>
          </p:nvSpPr>
          <p:spPr bwMode="auto">
            <a:xfrm>
              <a:off x="5945829" y="4460520"/>
              <a:ext cx="2065097" cy="2068385"/>
            </a:xfrm>
            <a:custGeom>
              <a:avLst/>
              <a:gdLst>
                <a:gd name="T0" fmla="*/ 251 w 628"/>
                <a:gd name="T1" fmla="*/ 66 h 629"/>
                <a:gd name="T2" fmla="*/ 251 w 628"/>
                <a:gd name="T3" fmla="*/ 0 h 629"/>
                <a:gd name="T4" fmla="*/ 89 w 628"/>
                <a:gd name="T5" fmla="*/ 0 h 629"/>
                <a:gd name="T6" fmla="*/ 89 w 628"/>
                <a:gd name="T7" fmla="*/ 66 h 629"/>
                <a:gd name="T8" fmla="*/ 0 w 628"/>
                <a:gd name="T9" fmla="*/ 66 h 629"/>
                <a:gd name="T10" fmla="*/ 0 w 628"/>
                <a:gd name="T11" fmla="*/ 82 h 629"/>
                <a:gd name="T12" fmla="*/ 21 w 628"/>
                <a:gd name="T13" fmla="*/ 82 h 629"/>
                <a:gd name="T14" fmla="*/ 21 w 628"/>
                <a:gd name="T15" fmla="*/ 629 h 629"/>
                <a:gd name="T16" fmla="*/ 607 w 628"/>
                <a:gd name="T17" fmla="*/ 629 h 629"/>
                <a:gd name="T18" fmla="*/ 607 w 628"/>
                <a:gd name="T19" fmla="*/ 82 h 629"/>
                <a:gd name="T20" fmla="*/ 628 w 628"/>
                <a:gd name="T21" fmla="*/ 82 h 629"/>
                <a:gd name="T22" fmla="*/ 628 w 628"/>
                <a:gd name="T23" fmla="*/ 66 h 629"/>
                <a:gd name="T24" fmla="*/ 251 w 628"/>
                <a:gd name="T25" fmla="*/ 66 h 6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8" h="629">
                  <a:moveTo>
                    <a:pt x="251" y="66"/>
                  </a:moveTo>
                  <a:lnTo>
                    <a:pt x="251" y="0"/>
                  </a:lnTo>
                  <a:lnTo>
                    <a:pt x="89" y="0"/>
                  </a:lnTo>
                  <a:lnTo>
                    <a:pt x="89" y="66"/>
                  </a:lnTo>
                  <a:lnTo>
                    <a:pt x="0" y="66"/>
                  </a:lnTo>
                  <a:lnTo>
                    <a:pt x="0" y="82"/>
                  </a:lnTo>
                  <a:lnTo>
                    <a:pt x="21" y="82"/>
                  </a:lnTo>
                  <a:lnTo>
                    <a:pt x="21" y="629"/>
                  </a:lnTo>
                  <a:lnTo>
                    <a:pt x="607" y="629"/>
                  </a:lnTo>
                  <a:lnTo>
                    <a:pt x="607" y="82"/>
                  </a:lnTo>
                  <a:lnTo>
                    <a:pt x="628" y="82"/>
                  </a:lnTo>
                  <a:lnTo>
                    <a:pt x="628" y="66"/>
                  </a:lnTo>
                  <a:lnTo>
                    <a:pt x="251" y="6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316" name="Freeform 56"/>
            <p:cNvSpPr>
              <a:spLocks/>
            </p:cNvSpPr>
            <p:nvPr/>
          </p:nvSpPr>
          <p:spPr bwMode="auto">
            <a:xfrm>
              <a:off x="6396336" y="2549976"/>
              <a:ext cx="1127911" cy="739883"/>
            </a:xfrm>
            <a:custGeom>
              <a:avLst/>
              <a:gdLst>
                <a:gd name="T0" fmla="*/ 206 w 245"/>
                <a:gd name="T1" fmla="*/ 71 h 161"/>
                <a:gd name="T2" fmla="*/ 206 w 245"/>
                <a:gd name="T3" fmla="*/ 67 h 161"/>
                <a:gd name="T4" fmla="*/ 139 w 245"/>
                <a:gd name="T5" fmla="*/ 0 h 161"/>
                <a:gd name="T6" fmla="*/ 82 w 245"/>
                <a:gd name="T7" fmla="*/ 30 h 161"/>
                <a:gd name="T8" fmla="*/ 64 w 245"/>
                <a:gd name="T9" fmla="*/ 25 h 161"/>
                <a:gd name="T10" fmla="*/ 42 w 245"/>
                <a:gd name="T11" fmla="*/ 32 h 161"/>
                <a:gd name="T12" fmla="*/ 25 w 245"/>
                <a:gd name="T13" fmla="*/ 63 h 161"/>
                <a:gd name="T14" fmla="*/ 0 w 245"/>
                <a:gd name="T15" fmla="*/ 108 h 161"/>
                <a:gd name="T16" fmla="*/ 48 w 245"/>
                <a:gd name="T17" fmla="*/ 161 h 161"/>
                <a:gd name="T18" fmla="*/ 54 w 245"/>
                <a:gd name="T19" fmla="*/ 161 h 161"/>
                <a:gd name="T20" fmla="*/ 59 w 245"/>
                <a:gd name="T21" fmla="*/ 161 h 161"/>
                <a:gd name="T22" fmla="*/ 169 w 245"/>
                <a:gd name="T23" fmla="*/ 161 h 161"/>
                <a:gd name="T24" fmla="*/ 171 w 245"/>
                <a:gd name="T25" fmla="*/ 161 h 161"/>
                <a:gd name="T26" fmla="*/ 174 w 245"/>
                <a:gd name="T27" fmla="*/ 161 h 161"/>
                <a:gd name="T28" fmla="*/ 182 w 245"/>
                <a:gd name="T29" fmla="*/ 161 h 161"/>
                <a:gd name="T30" fmla="*/ 200 w 245"/>
                <a:gd name="T31" fmla="*/ 161 h 161"/>
                <a:gd name="T32" fmla="*/ 245 w 245"/>
                <a:gd name="T33" fmla="*/ 116 h 161"/>
                <a:gd name="T34" fmla="*/ 206 w 245"/>
                <a:gd name="T35" fmla="*/ 71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5" h="161">
                  <a:moveTo>
                    <a:pt x="206" y="71"/>
                  </a:moveTo>
                  <a:cubicBezTo>
                    <a:pt x="206" y="70"/>
                    <a:pt x="206" y="68"/>
                    <a:pt x="206" y="67"/>
                  </a:cubicBezTo>
                  <a:cubicBezTo>
                    <a:pt x="206" y="30"/>
                    <a:pt x="176" y="0"/>
                    <a:pt x="139" y="0"/>
                  </a:cubicBezTo>
                  <a:cubicBezTo>
                    <a:pt x="115" y="0"/>
                    <a:pt x="95" y="12"/>
                    <a:pt x="82" y="30"/>
                  </a:cubicBezTo>
                  <a:cubicBezTo>
                    <a:pt x="77" y="27"/>
                    <a:pt x="71" y="25"/>
                    <a:pt x="64" y="25"/>
                  </a:cubicBezTo>
                  <a:cubicBezTo>
                    <a:pt x="56" y="25"/>
                    <a:pt x="48" y="28"/>
                    <a:pt x="42" y="32"/>
                  </a:cubicBezTo>
                  <a:cubicBezTo>
                    <a:pt x="32" y="39"/>
                    <a:pt x="25" y="50"/>
                    <a:pt x="25" y="63"/>
                  </a:cubicBezTo>
                  <a:cubicBezTo>
                    <a:pt x="10" y="73"/>
                    <a:pt x="0" y="90"/>
                    <a:pt x="0" y="108"/>
                  </a:cubicBezTo>
                  <a:cubicBezTo>
                    <a:pt x="0" y="135"/>
                    <a:pt x="21" y="158"/>
                    <a:pt x="48" y="161"/>
                  </a:cubicBezTo>
                  <a:cubicBezTo>
                    <a:pt x="50" y="161"/>
                    <a:pt x="52" y="161"/>
                    <a:pt x="54" y="161"/>
                  </a:cubicBezTo>
                  <a:cubicBezTo>
                    <a:pt x="55" y="161"/>
                    <a:pt x="57" y="161"/>
                    <a:pt x="59" y="161"/>
                  </a:cubicBezTo>
                  <a:cubicBezTo>
                    <a:pt x="84" y="161"/>
                    <a:pt x="142" y="161"/>
                    <a:pt x="169" y="161"/>
                  </a:cubicBezTo>
                  <a:cubicBezTo>
                    <a:pt x="170" y="161"/>
                    <a:pt x="171" y="161"/>
                    <a:pt x="171" y="161"/>
                  </a:cubicBezTo>
                  <a:cubicBezTo>
                    <a:pt x="174" y="161"/>
                    <a:pt x="174" y="161"/>
                    <a:pt x="174" y="161"/>
                  </a:cubicBezTo>
                  <a:cubicBezTo>
                    <a:pt x="176" y="161"/>
                    <a:pt x="180" y="161"/>
                    <a:pt x="182" y="161"/>
                  </a:cubicBezTo>
                  <a:cubicBezTo>
                    <a:pt x="200" y="161"/>
                    <a:pt x="200" y="161"/>
                    <a:pt x="200" y="161"/>
                  </a:cubicBezTo>
                  <a:cubicBezTo>
                    <a:pt x="225" y="161"/>
                    <a:pt x="245" y="140"/>
                    <a:pt x="245" y="116"/>
                  </a:cubicBezTo>
                  <a:cubicBezTo>
                    <a:pt x="245" y="93"/>
                    <a:pt x="228" y="74"/>
                    <a:pt x="206" y="71"/>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318" name="Freeform 57"/>
            <p:cNvSpPr>
              <a:spLocks/>
            </p:cNvSpPr>
            <p:nvPr/>
          </p:nvSpPr>
          <p:spPr bwMode="auto">
            <a:xfrm>
              <a:off x="7668936" y="3105711"/>
              <a:ext cx="404470" cy="263070"/>
            </a:xfrm>
            <a:custGeom>
              <a:avLst/>
              <a:gdLst>
                <a:gd name="T0" fmla="*/ 74 w 88"/>
                <a:gd name="T1" fmla="*/ 25 h 57"/>
                <a:gd name="T2" fmla="*/ 74 w 88"/>
                <a:gd name="T3" fmla="*/ 24 h 57"/>
                <a:gd name="T4" fmla="*/ 50 w 88"/>
                <a:gd name="T5" fmla="*/ 0 h 57"/>
                <a:gd name="T6" fmla="*/ 29 w 88"/>
                <a:gd name="T7" fmla="*/ 10 h 57"/>
                <a:gd name="T8" fmla="*/ 23 w 88"/>
                <a:gd name="T9" fmla="*/ 9 h 57"/>
                <a:gd name="T10" fmla="*/ 15 w 88"/>
                <a:gd name="T11" fmla="*/ 11 h 57"/>
                <a:gd name="T12" fmla="*/ 9 w 88"/>
                <a:gd name="T13" fmla="*/ 22 h 57"/>
                <a:gd name="T14" fmla="*/ 0 w 88"/>
                <a:gd name="T15" fmla="*/ 38 h 57"/>
                <a:gd name="T16" fmla="*/ 17 w 88"/>
                <a:gd name="T17" fmla="*/ 57 h 57"/>
                <a:gd name="T18" fmla="*/ 19 w 88"/>
                <a:gd name="T19" fmla="*/ 57 h 57"/>
                <a:gd name="T20" fmla="*/ 21 w 88"/>
                <a:gd name="T21" fmla="*/ 57 h 57"/>
                <a:gd name="T22" fmla="*/ 61 w 88"/>
                <a:gd name="T23" fmla="*/ 57 h 57"/>
                <a:gd name="T24" fmla="*/ 61 w 88"/>
                <a:gd name="T25" fmla="*/ 57 h 57"/>
                <a:gd name="T26" fmla="*/ 62 w 88"/>
                <a:gd name="T27" fmla="*/ 57 h 57"/>
                <a:gd name="T28" fmla="*/ 65 w 88"/>
                <a:gd name="T29" fmla="*/ 57 h 57"/>
                <a:gd name="T30" fmla="*/ 72 w 88"/>
                <a:gd name="T31" fmla="*/ 57 h 57"/>
                <a:gd name="T32" fmla="*/ 88 w 88"/>
                <a:gd name="T33" fmla="*/ 41 h 57"/>
                <a:gd name="T34" fmla="*/ 74 w 88"/>
                <a:gd name="T35" fmla="*/ 25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8" h="57">
                  <a:moveTo>
                    <a:pt x="74" y="25"/>
                  </a:moveTo>
                  <a:cubicBezTo>
                    <a:pt x="74" y="24"/>
                    <a:pt x="74" y="24"/>
                    <a:pt x="74" y="24"/>
                  </a:cubicBezTo>
                  <a:cubicBezTo>
                    <a:pt x="74" y="10"/>
                    <a:pt x="63" y="0"/>
                    <a:pt x="50" y="0"/>
                  </a:cubicBezTo>
                  <a:cubicBezTo>
                    <a:pt x="41" y="0"/>
                    <a:pt x="34" y="4"/>
                    <a:pt x="29" y="10"/>
                  </a:cubicBezTo>
                  <a:cubicBezTo>
                    <a:pt x="28" y="9"/>
                    <a:pt x="25" y="9"/>
                    <a:pt x="23" y="9"/>
                  </a:cubicBezTo>
                  <a:cubicBezTo>
                    <a:pt x="20" y="9"/>
                    <a:pt x="17" y="10"/>
                    <a:pt x="15" y="11"/>
                  </a:cubicBezTo>
                  <a:cubicBezTo>
                    <a:pt x="11" y="13"/>
                    <a:pt x="9" y="18"/>
                    <a:pt x="9" y="22"/>
                  </a:cubicBezTo>
                  <a:cubicBezTo>
                    <a:pt x="4" y="26"/>
                    <a:pt x="0" y="32"/>
                    <a:pt x="0" y="38"/>
                  </a:cubicBezTo>
                  <a:cubicBezTo>
                    <a:pt x="0" y="48"/>
                    <a:pt x="7" y="56"/>
                    <a:pt x="17" y="57"/>
                  </a:cubicBezTo>
                  <a:cubicBezTo>
                    <a:pt x="18" y="57"/>
                    <a:pt x="18" y="57"/>
                    <a:pt x="19" y="57"/>
                  </a:cubicBezTo>
                  <a:cubicBezTo>
                    <a:pt x="20" y="57"/>
                    <a:pt x="20" y="57"/>
                    <a:pt x="21" y="57"/>
                  </a:cubicBezTo>
                  <a:cubicBezTo>
                    <a:pt x="30" y="57"/>
                    <a:pt x="51" y="57"/>
                    <a:pt x="61" y="57"/>
                  </a:cubicBezTo>
                  <a:cubicBezTo>
                    <a:pt x="61" y="57"/>
                    <a:pt x="61" y="57"/>
                    <a:pt x="61" y="57"/>
                  </a:cubicBezTo>
                  <a:cubicBezTo>
                    <a:pt x="62" y="57"/>
                    <a:pt x="62" y="57"/>
                    <a:pt x="62" y="57"/>
                  </a:cubicBezTo>
                  <a:cubicBezTo>
                    <a:pt x="63" y="57"/>
                    <a:pt x="64" y="57"/>
                    <a:pt x="65" y="57"/>
                  </a:cubicBezTo>
                  <a:cubicBezTo>
                    <a:pt x="72" y="57"/>
                    <a:pt x="72" y="57"/>
                    <a:pt x="72" y="57"/>
                  </a:cubicBezTo>
                  <a:cubicBezTo>
                    <a:pt x="81" y="57"/>
                    <a:pt x="88" y="50"/>
                    <a:pt x="88" y="41"/>
                  </a:cubicBezTo>
                  <a:cubicBezTo>
                    <a:pt x="88" y="33"/>
                    <a:pt x="82" y="26"/>
                    <a:pt x="74" y="25"/>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327" name="Freeform 58"/>
            <p:cNvSpPr>
              <a:spLocks/>
            </p:cNvSpPr>
            <p:nvPr/>
          </p:nvSpPr>
          <p:spPr bwMode="auto">
            <a:xfrm>
              <a:off x="5870197" y="3240534"/>
              <a:ext cx="628079" cy="407758"/>
            </a:xfrm>
            <a:custGeom>
              <a:avLst/>
              <a:gdLst>
                <a:gd name="T0" fmla="*/ 114 w 136"/>
                <a:gd name="T1" fmla="*/ 39 h 89"/>
                <a:gd name="T2" fmla="*/ 114 w 136"/>
                <a:gd name="T3" fmla="*/ 37 h 89"/>
                <a:gd name="T4" fmla="*/ 76 w 136"/>
                <a:gd name="T5" fmla="*/ 0 h 89"/>
                <a:gd name="T6" fmla="*/ 45 w 136"/>
                <a:gd name="T7" fmla="*/ 16 h 89"/>
                <a:gd name="T8" fmla="*/ 35 w 136"/>
                <a:gd name="T9" fmla="*/ 14 h 89"/>
                <a:gd name="T10" fmla="*/ 23 w 136"/>
                <a:gd name="T11" fmla="*/ 17 h 89"/>
                <a:gd name="T12" fmla="*/ 13 w 136"/>
                <a:gd name="T13" fmla="*/ 35 h 89"/>
                <a:gd name="T14" fmla="*/ 0 w 136"/>
                <a:gd name="T15" fmla="*/ 60 h 89"/>
                <a:gd name="T16" fmla="*/ 26 w 136"/>
                <a:gd name="T17" fmla="*/ 89 h 89"/>
                <a:gd name="T18" fmla="*/ 29 w 136"/>
                <a:gd name="T19" fmla="*/ 89 h 89"/>
                <a:gd name="T20" fmla="*/ 32 w 136"/>
                <a:gd name="T21" fmla="*/ 89 h 89"/>
                <a:gd name="T22" fmla="*/ 93 w 136"/>
                <a:gd name="T23" fmla="*/ 89 h 89"/>
                <a:gd name="T24" fmla="*/ 95 w 136"/>
                <a:gd name="T25" fmla="*/ 89 h 89"/>
                <a:gd name="T26" fmla="*/ 96 w 136"/>
                <a:gd name="T27" fmla="*/ 89 h 89"/>
                <a:gd name="T28" fmla="*/ 101 w 136"/>
                <a:gd name="T29" fmla="*/ 89 h 89"/>
                <a:gd name="T30" fmla="*/ 110 w 136"/>
                <a:gd name="T31" fmla="*/ 89 h 89"/>
                <a:gd name="T32" fmla="*/ 136 w 136"/>
                <a:gd name="T33" fmla="*/ 64 h 89"/>
                <a:gd name="T34" fmla="*/ 114 w 136"/>
                <a:gd name="T35" fmla="*/ 39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6" h="89">
                  <a:moveTo>
                    <a:pt x="114" y="39"/>
                  </a:moveTo>
                  <a:cubicBezTo>
                    <a:pt x="114" y="38"/>
                    <a:pt x="114" y="38"/>
                    <a:pt x="114" y="37"/>
                  </a:cubicBezTo>
                  <a:cubicBezTo>
                    <a:pt x="114" y="16"/>
                    <a:pt x="97" y="0"/>
                    <a:pt x="76" y="0"/>
                  </a:cubicBezTo>
                  <a:cubicBezTo>
                    <a:pt x="63" y="0"/>
                    <a:pt x="52" y="6"/>
                    <a:pt x="45" y="16"/>
                  </a:cubicBezTo>
                  <a:cubicBezTo>
                    <a:pt x="42" y="15"/>
                    <a:pt x="39" y="14"/>
                    <a:pt x="35" y="14"/>
                  </a:cubicBezTo>
                  <a:cubicBezTo>
                    <a:pt x="30" y="14"/>
                    <a:pt x="26" y="15"/>
                    <a:pt x="23" y="17"/>
                  </a:cubicBezTo>
                  <a:cubicBezTo>
                    <a:pt x="17" y="21"/>
                    <a:pt x="13" y="27"/>
                    <a:pt x="13" y="35"/>
                  </a:cubicBezTo>
                  <a:cubicBezTo>
                    <a:pt x="5" y="40"/>
                    <a:pt x="0" y="49"/>
                    <a:pt x="0" y="60"/>
                  </a:cubicBezTo>
                  <a:cubicBezTo>
                    <a:pt x="0" y="75"/>
                    <a:pt x="11" y="87"/>
                    <a:pt x="26" y="89"/>
                  </a:cubicBezTo>
                  <a:cubicBezTo>
                    <a:pt x="27" y="89"/>
                    <a:pt x="28" y="89"/>
                    <a:pt x="29" y="89"/>
                  </a:cubicBezTo>
                  <a:cubicBezTo>
                    <a:pt x="30" y="89"/>
                    <a:pt x="31" y="89"/>
                    <a:pt x="32" y="89"/>
                  </a:cubicBezTo>
                  <a:cubicBezTo>
                    <a:pt x="46" y="89"/>
                    <a:pt x="78" y="89"/>
                    <a:pt x="93" y="89"/>
                  </a:cubicBezTo>
                  <a:cubicBezTo>
                    <a:pt x="94" y="89"/>
                    <a:pt x="94" y="89"/>
                    <a:pt x="95" y="89"/>
                  </a:cubicBezTo>
                  <a:cubicBezTo>
                    <a:pt x="96" y="89"/>
                    <a:pt x="96" y="89"/>
                    <a:pt x="96" y="89"/>
                  </a:cubicBezTo>
                  <a:cubicBezTo>
                    <a:pt x="97" y="89"/>
                    <a:pt x="99" y="89"/>
                    <a:pt x="101" y="89"/>
                  </a:cubicBezTo>
                  <a:cubicBezTo>
                    <a:pt x="110" y="89"/>
                    <a:pt x="110" y="89"/>
                    <a:pt x="110" y="89"/>
                  </a:cubicBezTo>
                  <a:cubicBezTo>
                    <a:pt x="124" y="89"/>
                    <a:pt x="136" y="78"/>
                    <a:pt x="136" y="64"/>
                  </a:cubicBezTo>
                  <a:cubicBezTo>
                    <a:pt x="136" y="51"/>
                    <a:pt x="126" y="41"/>
                    <a:pt x="114" y="39"/>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328" name="Rectangle 59"/>
            <p:cNvSpPr>
              <a:spLocks noChangeArrowheads="1"/>
            </p:cNvSpPr>
            <p:nvPr/>
          </p:nvSpPr>
          <p:spPr bwMode="auto">
            <a:xfrm>
              <a:off x="6718596" y="3625273"/>
              <a:ext cx="1377828" cy="1147642"/>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329" name="Rectangle 60"/>
            <p:cNvSpPr>
              <a:spLocks noChangeArrowheads="1"/>
            </p:cNvSpPr>
            <p:nvPr/>
          </p:nvSpPr>
          <p:spPr bwMode="auto">
            <a:xfrm>
              <a:off x="6718596" y="3625273"/>
              <a:ext cx="1377828" cy="11476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330" name="Rectangle 61"/>
            <p:cNvSpPr>
              <a:spLocks noChangeArrowheads="1"/>
            </p:cNvSpPr>
            <p:nvPr/>
          </p:nvSpPr>
          <p:spPr bwMode="auto">
            <a:xfrm>
              <a:off x="6649541" y="3572659"/>
              <a:ext cx="1515939" cy="52614"/>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331" name="Rectangle 62"/>
            <p:cNvSpPr>
              <a:spLocks noChangeArrowheads="1"/>
            </p:cNvSpPr>
            <p:nvPr/>
          </p:nvSpPr>
          <p:spPr bwMode="auto">
            <a:xfrm>
              <a:off x="6649541" y="3572659"/>
              <a:ext cx="1515939" cy="526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332" name="Rectangle 63"/>
            <p:cNvSpPr>
              <a:spLocks noChangeArrowheads="1"/>
            </p:cNvSpPr>
            <p:nvPr/>
          </p:nvSpPr>
          <p:spPr bwMode="auto">
            <a:xfrm>
              <a:off x="6856708" y="3779827"/>
              <a:ext cx="1111470" cy="177572"/>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333" name="Rectangle 64"/>
            <p:cNvSpPr>
              <a:spLocks noChangeArrowheads="1"/>
            </p:cNvSpPr>
            <p:nvPr/>
          </p:nvSpPr>
          <p:spPr bwMode="auto">
            <a:xfrm>
              <a:off x="6856708" y="3779827"/>
              <a:ext cx="1111470" cy="1775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334" name="Rectangle 65"/>
            <p:cNvSpPr>
              <a:spLocks noChangeArrowheads="1"/>
            </p:cNvSpPr>
            <p:nvPr/>
          </p:nvSpPr>
          <p:spPr bwMode="auto">
            <a:xfrm>
              <a:off x="6856708" y="4092222"/>
              <a:ext cx="1111470" cy="177572"/>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335" name="Rectangle 66"/>
            <p:cNvSpPr>
              <a:spLocks noChangeArrowheads="1"/>
            </p:cNvSpPr>
            <p:nvPr/>
          </p:nvSpPr>
          <p:spPr bwMode="auto">
            <a:xfrm>
              <a:off x="6856708" y="4092222"/>
              <a:ext cx="1111470" cy="1775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336" name="Freeform 67"/>
            <p:cNvSpPr>
              <a:spLocks/>
            </p:cNvSpPr>
            <p:nvPr/>
          </p:nvSpPr>
          <p:spPr bwMode="auto">
            <a:xfrm>
              <a:off x="6718596" y="3625273"/>
              <a:ext cx="486679" cy="460372"/>
            </a:xfrm>
            <a:custGeom>
              <a:avLst/>
              <a:gdLst>
                <a:gd name="T0" fmla="*/ 106 w 106"/>
                <a:gd name="T1" fmla="*/ 0 h 100"/>
                <a:gd name="T2" fmla="*/ 0 w 106"/>
                <a:gd name="T3" fmla="*/ 0 h 100"/>
                <a:gd name="T4" fmla="*/ 0 w 106"/>
                <a:gd name="T5" fmla="*/ 99 h 100"/>
                <a:gd name="T6" fmla="*/ 8 w 106"/>
                <a:gd name="T7" fmla="*/ 100 h 100"/>
                <a:gd name="T8" fmla="*/ 76 w 106"/>
                <a:gd name="T9" fmla="*/ 72 h 100"/>
                <a:gd name="T10" fmla="*/ 30 w 106"/>
                <a:gd name="T11" fmla="*/ 72 h 100"/>
                <a:gd name="T12" fmla="*/ 30 w 106"/>
                <a:gd name="T13" fmla="*/ 33 h 100"/>
                <a:gd name="T14" fmla="*/ 101 w 106"/>
                <a:gd name="T15" fmla="*/ 33 h 100"/>
                <a:gd name="T16" fmla="*/ 106 w 106"/>
                <a:gd name="T17" fmla="*/ 2 h 100"/>
                <a:gd name="T18" fmla="*/ 106 w 106"/>
                <a:gd name="T19" fmla="*/ 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6" h="100">
                  <a:moveTo>
                    <a:pt x="106" y="0"/>
                  </a:moveTo>
                  <a:cubicBezTo>
                    <a:pt x="0" y="0"/>
                    <a:pt x="0" y="0"/>
                    <a:pt x="0" y="0"/>
                  </a:cubicBezTo>
                  <a:cubicBezTo>
                    <a:pt x="0" y="99"/>
                    <a:pt x="0" y="99"/>
                    <a:pt x="0" y="99"/>
                  </a:cubicBezTo>
                  <a:cubicBezTo>
                    <a:pt x="3" y="99"/>
                    <a:pt x="5" y="100"/>
                    <a:pt x="8" y="100"/>
                  </a:cubicBezTo>
                  <a:cubicBezTo>
                    <a:pt x="34" y="100"/>
                    <a:pt x="58" y="89"/>
                    <a:pt x="76" y="72"/>
                  </a:cubicBezTo>
                  <a:cubicBezTo>
                    <a:pt x="30" y="72"/>
                    <a:pt x="30" y="72"/>
                    <a:pt x="30" y="72"/>
                  </a:cubicBezTo>
                  <a:cubicBezTo>
                    <a:pt x="30" y="33"/>
                    <a:pt x="30" y="33"/>
                    <a:pt x="30" y="33"/>
                  </a:cubicBezTo>
                  <a:cubicBezTo>
                    <a:pt x="101" y="33"/>
                    <a:pt x="101" y="33"/>
                    <a:pt x="101" y="33"/>
                  </a:cubicBezTo>
                  <a:cubicBezTo>
                    <a:pt x="104" y="23"/>
                    <a:pt x="106" y="13"/>
                    <a:pt x="106" y="2"/>
                  </a:cubicBezTo>
                  <a:cubicBezTo>
                    <a:pt x="106" y="1"/>
                    <a:pt x="106" y="0"/>
                    <a:pt x="106"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337" name="Freeform 68"/>
            <p:cNvSpPr>
              <a:spLocks/>
            </p:cNvSpPr>
            <p:nvPr/>
          </p:nvSpPr>
          <p:spPr bwMode="auto">
            <a:xfrm>
              <a:off x="6718596" y="3572659"/>
              <a:ext cx="486679" cy="52614"/>
            </a:xfrm>
            <a:custGeom>
              <a:avLst/>
              <a:gdLst>
                <a:gd name="T0" fmla="*/ 105 w 106"/>
                <a:gd name="T1" fmla="*/ 0 h 12"/>
                <a:gd name="T2" fmla="*/ 0 w 106"/>
                <a:gd name="T3" fmla="*/ 0 h 12"/>
                <a:gd name="T4" fmla="*/ 0 w 106"/>
                <a:gd name="T5" fmla="*/ 12 h 12"/>
                <a:gd name="T6" fmla="*/ 106 w 106"/>
                <a:gd name="T7" fmla="*/ 12 h 12"/>
                <a:gd name="T8" fmla="*/ 105 w 106"/>
                <a:gd name="T9" fmla="*/ 0 h 12"/>
              </a:gdLst>
              <a:ahLst/>
              <a:cxnLst>
                <a:cxn ang="0">
                  <a:pos x="T0" y="T1"/>
                </a:cxn>
                <a:cxn ang="0">
                  <a:pos x="T2" y="T3"/>
                </a:cxn>
                <a:cxn ang="0">
                  <a:pos x="T4" y="T5"/>
                </a:cxn>
                <a:cxn ang="0">
                  <a:pos x="T6" y="T7"/>
                </a:cxn>
                <a:cxn ang="0">
                  <a:pos x="T8" y="T9"/>
                </a:cxn>
              </a:cxnLst>
              <a:rect l="0" t="0" r="r" b="b"/>
              <a:pathLst>
                <a:path w="106" h="12">
                  <a:moveTo>
                    <a:pt x="105" y="0"/>
                  </a:moveTo>
                  <a:cubicBezTo>
                    <a:pt x="0" y="0"/>
                    <a:pt x="0" y="0"/>
                    <a:pt x="0" y="0"/>
                  </a:cubicBezTo>
                  <a:cubicBezTo>
                    <a:pt x="0" y="12"/>
                    <a:pt x="0" y="12"/>
                    <a:pt x="0" y="12"/>
                  </a:cubicBezTo>
                  <a:cubicBezTo>
                    <a:pt x="106" y="12"/>
                    <a:pt x="106" y="12"/>
                    <a:pt x="106" y="12"/>
                  </a:cubicBezTo>
                  <a:cubicBezTo>
                    <a:pt x="106" y="8"/>
                    <a:pt x="105" y="4"/>
                    <a:pt x="105"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338" name="Freeform 69"/>
            <p:cNvSpPr>
              <a:spLocks/>
            </p:cNvSpPr>
            <p:nvPr/>
          </p:nvSpPr>
          <p:spPr bwMode="auto">
            <a:xfrm>
              <a:off x="6856708" y="3779827"/>
              <a:ext cx="325549" cy="177572"/>
            </a:xfrm>
            <a:custGeom>
              <a:avLst/>
              <a:gdLst>
                <a:gd name="T0" fmla="*/ 71 w 71"/>
                <a:gd name="T1" fmla="*/ 0 h 39"/>
                <a:gd name="T2" fmla="*/ 0 w 71"/>
                <a:gd name="T3" fmla="*/ 0 h 39"/>
                <a:gd name="T4" fmla="*/ 0 w 71"/>
                <a:gd name="T5" fmla="*/ 39 h 39"/>
                <a:gd name="T6" fmla="*/ 46 w 71"/>
                <a:gd name="T7" fmla="*/ 39 h 39"/>
                <a:gd name="T8" fmla="*/ 71 w 71"/>
                <a:gd name="T9" fmla="*/ 0 h 39"/>
              </a:gdLst>
              <a:ahLst/>
              <a:cxnLst>
                <a:cxn ang="0">
                  <a:pos x="T0" y="T1"/>
                </a:cxn>
                <a:cxn ang="0">
                  <a:pos x="T2" y="T3"/>
                </a:cxn>
                <a:cxn ang="0">
                  <a:pos x="T4" y="T5"/>
                </a:cxn>
                <a:cxn ang="0">
                  <a:pos x="T6" y="T7"/>
                </a:cxn>
                <a:cxn ang="0">
                  <a:pos x="T8" y="T9"/>
                </a:cxn>
              </a:cxnLst>
              <a:rect l="0" t="0" r="r" b="b"/>
              <a:pathLst>
                <a:path w="71" h="39">
                  <a:moveTo>
                    <a:pt x="71" y="0"/>
                  </a:moveTo>
                  <a:cubicBezTo>
                    <a:pt x="0" y="0"/>
                    <a:pt x="0" y="0"/>
                    <a:pt x="0" y="0"/>
                  </a:cubicBezTo>
                  <a:cubicBezTo>
                    <a:pt x="0" y="39"/>
                    <a:pt x="0" y="39"/>
                    <a:pt x="0" y="39"/>
                  </a:cubicBezTo>
                  <a:cubicBezTo>
                    <a:pt x="46" y="39"/>
                    <a:pt x="46" y="39"/>
                    <a:pt x="46" y="39"/>
                  </a:cubicBezTo>
                  <a:cubicBezTo>
                    <a:pt x="57" y="29"/>
                    <a:pt x="65" y="15"/>
                    <a:pt x="71"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347" name="Rectangle 70"/>
            <p:cNvSpPr>
              <a:spLocks noChangeArrowheads="1"/>
            </p:cNvSpPr>
            <p:nvPr/>
          </p:nvSpPr>
          <p:spPr bwMode="auto">
            <a:xfrm>
              <a:off x="6856708" y="4401329"/>
              <a:ext cx="1111470" cy="177572"/>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348" name="Rectangle 71"/>
            <p:cNvSpPr>
              <a:spLocks noChangeArrowheads="1"/>
            </p:cNvSpPr>
            <p:nvPr/>
          </p:nvSpPr>
          <p:spPr bwMode="auto">
            <a:xfrm>
              <a:off x="6856708" y="4401329"/>
              <a:ext cx="1111470" cy="1775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349" name="Rectangle 72"/>
            <p:cNvSpPr>
              <a:spLocks noChangeArrowheads="1"/>
            </p:cNvSpPr>
            <p:nvPr/>
          </p:nvSpPr>
          <p:spPr bwMode="auto">
            <a:xfrm>
              <a:off x="6718596" y="4772915"/>
              <a:ext cx="1377828" cy="175599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350" name="Rectangle 73"/>
            <p:cNvSpPr>
              <a:spLocks noChangeArrowheads="1"/>
            </p:cNvSpPr>
            <p:nvPr/>
          </p:nvSpPr>
          <p:spPr bwMode="auto">
            <a:xfrm>
              <a:off x="6718596" y="4772915"/>
              <a:ext cx="1377828" cy="17559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351" name="Rectangle 74"/>
            <p:cNvSpPr>
              <a:spLocks noChangeArrowheads="1"/>
            </p:cNvSpPr>
            <p:nvPr/>
          </p:nvSpPr>
          <p:spPr bwMode="auto">
            <a:xfrm>
              <a:off x="6649541" y="4746608"/>
              <a:ext cx="1515939" cy="52614"/>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128" name="Rectangle 75"/>
            <p:cNvSpPr>
              <a:spLocks noChangeArrowheads="1"/>
            </p:cNvSpPr>
            <p:nvPr/>
          </p:nvSpPr>
          <p:spPr bwMode="auto">
            <a:xfrm>
              <a:off x="6649541" y="4746608"/>
              <a:ext cx="1515939" cy="526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129" name="Rectangle 76"/>
            <p:cNvSpPr>
              <a:spLocks noChangeArrowheads="1"/>
            </p:cNvSpPr>
            <p:nvPr/>
          </p:nvSpPr>
          <p:spPr bwMode="auto">
            <a:xfrm>
              <a:off x="7478210" y="6177049"/>
              <a:ext cx="177572" cy="345279"/>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130" name="Rectangle 77"/>
            <p:cNvSpPr>
              <a:spLocks noChangeArrowheads="1"/>
            </p:cNvSpPr>
            <p:nvPr/>
          </p:nvSpPr>
          <p:spPr bwMode="auto">
            <a:xfrm>
              <a:off x="7162527" y="6177049"/>
              <a:ext cx="180860" cy="345279"/>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131" name="Rectangle 78"/>
            <p:cNvSpPr>
              <a:spLocks noChangeArrowheads="1"/>
            </p:cNvSpPr>
            <p:nvPr/>
          </p:nvSpPr>
          <p:spPr bwMode="auto">
            <a:xfrm>
              <a:off x="7162527" y="6177049"/>
              <a:ext cx="180860" cy="3452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132" name="Rectangle 79"/>
            <p:cNvSpPr>
              <a:spLocks noChangeArrowheads="1"/>
            </p:cNvSpPr>
            <p:nvPr/>
          </p:nvSpPr>
          <p:spPr bwMode="auto">
            <a:xfrm>
              <a:off x="6856708" y="4957064"/>
              <a:ext cx="1111470" cy="180860"/>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133" name="Rectangle 80"/>
            <p:cNvSpPr>
              <a:spLocks noChangeArrowheads="1"/>
            </p:cNvSpPr>
            <p:nvPr/>
          </p:nvSpPr>
          <p:spPr bwMode="auto">
            <a:xfrm>
              <a:off x="6856708" y="4957064"/>
              <a:ext cx="1111470" cy="1808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134" name="Rectangle 81"/>
            <p:cNvSpPr>
              <a:spLocks noChangeArrowheads="1"/>
            </p:cNvSpPr>
            <p:nvPr/>
          </p:nvSpPr>
          <p:spPr bwMode="auto">
            <a:xfrm>
              <a:off x="6856708" y="5266171"/>
              <a:ext cx="1111470" cy="180860"/>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135" name="Rectangle 82"/>
            <p:cNvSpPr>
              <a:spLocks noChangeArrowheads="1"/>
            </p:cNvSpPr>
            <p:nvPr/>
          </p:nvSpPr>
          <p:spPr bwMode="auto">
            <a:xfrm>
              <a:off x="6856708" y="5266171"/>
              <a:ext cx="1111470" cy="1808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136" name="Rectangle 83"/>
            <p:cNvSpPr>
              <a:spLocks noChangeArrowheads="1"/>
            </p:cNvSpPr>
            <p:nvPr/>
          </p:nvSpPr>
          <p:spPr bwMode="auto">
            <a:xfrm>
              <a:off x="6856708" y="5575277"/>
              <a:ext cx="1111470" cy="177572"/>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137" name="Rectangle 84"/>
            <p:cNvSpPr>
              <a:spLocks noChangeArrowheads="1"/>
            </p:cNvSpPr>
            <p:nvPr/>
          </p:nvSpPr>
          <p:spPr bwMode="auto">
            <a:xfrm>
              <a:off x="6856708" y="5575277"/>
              <a:ext cx="1111470" cy="1775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138" name="Rectangle 85"/>
            <p:cNvSpPr>
              <a:spLocks noChangeArrowheads="1"/>
            </p:cNvSpPr>
            <p:nvPr/>
          </p:nvSpPr>
          <p:spPr bwMode="auto">
            <a:xfrm>
              <a:off x="6856708" y="5887673"/>
              <a:ext cx="1111470" cy="180860"/>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139" name="Rectangle 86"/>
            <p:cNvSpPr>
              <a:spLocks noChangeArrowheads="1"/>
            </p:cNvSpPr>
            <p:nvPr/>
          </p:nvSpPr>
          <p:spPr bwMode="auto">
            <a:xfrm>
              <a:off x="6856708" y="5887673"/>
              <a:ext cx="1111470" cy="1808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140" name="Rectangle 87"/>
            <p:cNvSpPr>
              <a:spLocks noChangeArrowheads="1"/>
            </p:cNvSpPr>
            <p:nvPr/>
          </p:nvSpPr>
          <p:spPr bwMode="auto">
            <a:xfrm>
              <a:off x="6412778" y="6252682"/>
              <a:ext cx="75633" cy="276223"/>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141" name="Oval 88"/>
            <p:cNvSpPr>
              <a:spLocks noChangeArrowheads="1"/>
            </p:cNvSpPr>
            <p:nvPr/>
          </p:nvSpPr>
          <p:spPr bwMode="auto">
            <a:xfrm>
              <a:off x="6268090" y="6012631"/>
              <a:ext cx="361721" cy="361721"/>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142" name="Oval 89"/>
            <p:cNvSpPr>
              <a:spLocks noChangeArrowheads="1"/>
            </p:cNvSpPr>
            <p:nvPr/>
          </p:nvSpPr>
          <p:spPr bwMode="auto">
            <a:xfrm>
              <a:off x="6314127" y="5821905"/>
              <a:ext cx="266358" cy="269646"/>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144" name="Rectangle 90"/>
            <p:cNvSpPr>
              <a:spLocks noChangeArrowheads="1"/>
            </p:cNvSpPr>
            <p:nvPr/>
          </p:nvSpPr>
          <p:spPr bwMode="auto">
            <a:xfrm>
              <a:off x="5968848" y="6252682"/>
              <a:ext cx="72344" cy="276223"/>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145" name="Oval 91"/>
            <p:cNvSpPr>
              <a:spLocks noChangeArrowheads="1"/>
            </p:cNvSpPr>
            <p:nvPr/>
          </p:nvSpPr>
          <p:spPr bwMode="auto">
            <a:xfrm>
              <a:off x="5820871" y="6012631"/>
              <a:ext cx="361721" cy="361721"/>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146" name="Oval 92"/>
            <p:cNvSpPr>
              <a:spLocks noChangeArrowheads="1"/>
            </p:cNvSpPr>
            <p:nvPr/>
          </p:nvSpPr>
          <p:spPr bwMode="auto">
            <a:xfrm>
              <a:off x="5866908" y="5821905"/>
              <a:ext cx="266358" cy="269646"/>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147" name="Freeform 93"/>
            <p:cNvSpPr>
              <a:spLocks noEditPoints="1"/>
            </p:cNvSpPr>
            <p:nvPr/>
          </p:nvSpPr>
          <p:spPr bwMode="auto">
            <a:xfrm>
              <a:off x="6527871" y="3441125"/>
              <a:ext cx="450507" cy="384739"/>
            </a:xfrm>
            <a:custGeom>
              <a:avLst/>
              <a:gdLst>
                <a:gd name="T0" fmla="*/ 93 w 98"/>
                <a:gd name="T1" fmla="*/ 78 h 83"/>
                <a:gd name="T2" fmla="*/ 0 w 98"/>
                <a:gd name="T3" fmla="*/ 15 h 83"/>
                <a:gd name="T4" fmla="*/ 0 w 98"/>
                <a:gd name="T5" fmla="*/ 83 h 83"/>
                <a:gd name="T6" fmla="*/ 98 w 98"/>
                <a:gd name="T7" fmla="*/ 0 h 83"/>
                <a:gd name="T8" fmla="*/ 0 w 98"/>
                <a:gd name="T9" fmla="*/ 0 h 83"/>
                <a:gd name="T10" fmla="*/ 57 w 98"/>
                <a:gd name="T11" fmla="*/ 47 h 83"/>
                <a:gd name="T12" fmla="*/ 54 w 98"/>
                <a:gd name="T13" fmla="*/ 42 h 83"/>
                <a:gd name="T14" fmla="*/ 51 w 98"/>
                <a:gd name="T15" fmla="*/ 40 h 83"/>
                <a:gd name="T16" fmla="*/ 46 w 98"/>
                <a:gd name="T17" fmla="*/ 37 h 83"/>
                <a:gd name="T18" fmla="*/ 41 w 98"/>
                <a:gd name="T19" fmla="*/ 37 h 83"/>
                <a:gd name="T20" fmla="*/ 36 w 98"/>
                <a:gd name="T21" fmla="*/ 40 h 83"/>
                <a:gd name="T22" fmla="*/ 33 w 98"/>
                <a:gd name="T23" fmla="*/ 42 h 83"/>
                <a:gd name="T24" fmla="*/ 30 w 98"/>
                <a:gd name="T25" fmla="*/ 47 h 83"/>
                <a:gd name="T26" fmla="*/ 29 w 98"/>
                <a:gd name="T27" fmla="*/ 51 h 83"/>
                <a:gd name="T28" fmla="*/ 30 w 98"/>
                <a:gd name="T29" fmla="*/ 57 h 83"/>
                <a:gd name="T30" fmla="*/ 32 w 98"/>
                <a:gd name="T31" fmla="*/ 60 h 83"/>
                <a:gd name="T32" fmla="*/ 37 w 98"/>
                <a:gd name="T33" fmla="*/ 64 h 83"/>
                <a:gd name="T34" fmla="*/ 41 w 98"/>
                <a:gd name="T35" fmla="*/ 66 h 83"/>
                <a:gd name="T36" fmla="*/ 44 w 98"/>
                <a:gd name="T37" fmla="*/ 62 h 83"/>
                <a:gd name="T38" fmla="*/ 50 w 98"/>
                <a:gd name="T39" fmla="*/ 65 h 83"/>
                <a:gd name="T40" fmla="*/ 51 w 98"/>
                <a:gd name="T41" fmla="*/ 59 h 83"/>
                <a:gd name="T42" fmla="*/ 57 w 98"/>
                <a:gd name="T43" fmla="*/ 58 h 83"/>
                <a:gd name="T44" fmla="*/ 54 w 98"/>
                <a:gd name="T45" fmla="*/ 53 h 83"/>
                <a:gd name="T46" fmla="*/ 49 w 98"/>
                <a:gd name="T47" fmla="*/ 52 h 83"/>
                <a:gd name="T48" fmla="*/ 40 w 98"/>
                <a:gd name="T49" fmla="*/ 56 h 83"/>
                <a:gd name="T50" fmla="*/ 44 w 98"/>
                <a:gd name="T51" fmla="*/ 46 h 83"/>
                <a:gd name="T52" fmla="*/ 41 w 98"/>
                <a:gd name="T53" fmla="*/ 52 h 83"/>
                <a:gd name="T54" fmla="*/ 44 w 98"/>
                <a:gd name="T55" fmla="*/ 54 h 83"/>
                <a:gd name="T56" fmla="*/ 67 w 98"/>
                <a:gd name="T57" fmla="*/ 41 h 83"/>
                <a:gd name="T58" fmla="*/ 69 w 98"/>
                <a:gd name="T59" fmla="*/ 38 h 83"/>
                <a:gd name="T60" fmla="*/ 67 w 98"/>
                <a:gd name="T61" fmla="*/ 36 h 83"/>
                <a:gd name="T62" fmla="*/ 63 w 98"/>
                <a:gd name="T63" fmla="*/ 36 h 83"/>
                <a:gd name="T64" fmla="*/ 61 w 98"/>
                <a:gd name="T65" fmla="*/ 33 h 83"/>
                <a:gd name="T66" fmla="*/ 58 w 98"/>
                <a:gd name="T67" fmla="*/ 37 h 83"/>
                <a:gd name="T68" fmla="*/ 55 w 98"/>
                <a:gd name="T69" fmla="*/ 37 h 83"/>
                <a:gd name="T70" fmla="*/ 54 w 98"/>
                <a:gd name="T71" fmla="*/ 39 h 83"/>
                <a:gd name="T72" fmla="*/ 56 w 98"/>
                <a:gd name="T73" fmla="*/ 42 h 83"/>
                <a:gd name="T74" fmla="*/ 54 w 98"/>
                <a:gd name="T75" fmla="*/ 45 h 83"/>
                <a:gd name="T76" fmla="*/ 56 w 98"/>
                <a:gd name="T77" fmla="*/ 46 h 83"/>
                <a:gd name="T78" fmla="*/ 60 w 98"/>
                <a:gd name="T79" fmla="*/ 49 h 83"/>
                <a:gd name="T80" fmla="*/ 63 w 98"/>
                <a:gd name="T81" fmla="*/ 49 h 83"/>
                <a:gd name="T82" fmla="*/ 67 w 98"/>
                <a:gd name="T83" fmla="*/ 46 h 83"/>
                <a:gd name="T84" fmla="*/ 69 w 98"/>
                <a:gd name="T85" fmla="*/ 45 h 83"/>
                <a:gd name="T86" fmla="*/ 67 w 98"/>
                <a:gd name="T87" fmla="*/ 42 h 83"/>
                <a:gd name="T88" fmla="*/ 59 w 98"/>
                <a:gd name="T89" fmla="*/ 41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98" h="83">
                  <a:moveTo>
                    <a:pt x="5" y="20"/>
                  </a:moveTo>
                  <a:cubicBezTo>
                    <a:pt x="5" y="78"/>
                    <a:pt x="5" y="78"/>
                    <a:pt x="5" y="78"/>
                  </a:cubicBezTo>
                  <a:cubicBezTo>
                    <a:pt x="93" y="78"/>
                    <a:pt x="93" y="78"/>
                    <a:pt x="93" y="78"/>
                  </a:cubicBezTo>
                  <a:cubicBezTo>
                    <a:pt x="93" y="20"/>
                    <a:pt x="93" y="20"/>
                    <a:pt x="93" y="20"/>
                  </a:cubicBezTo>
                  <a:cubicBezTo>
                    <a:pt x="5" y="20"/>
                    <a:pt x="5" y="20"/>
                    <a:pt x="5" y="20"/>
                  </a:cubicBezTo>
                  <a:close/>
                  <a:moveTo>
                    <a:pt x="0" y="15"/>
                  </a:moveTo>
                  <a:cubicBezTo>
                    <a:pt x="98" y="15"/>
                    <a:pt x="98" y="15"/>
                    <a:pt x="98" y="15"/>
                  </a:cubicBezTo>
                  <a:cubicBezTo>
                    <a:pt x="98" y="83"/>
                    <a:pt x="98" y="83"/>
                    <a:pt x="98" y="83"/>
                  </a:cubicBezTo>
                  <a:cubicBezTo>
                    <a:pt x="0" y="83"/>
                    <a:pt x="0" y="83"/>
                    <a:pt x="0" y="83"/>
                  </a:cubicBezTo>
                  <a:cubicBezTo>
                    <a:pt x="0" y="15"/>
                    <a:pt x="0" y="15"/>
                    <a:pt x="0" y="15"/>
                  </a:cubicBezTo>
                  <a:close/>
                  <a:moveTo>
                    <a:pt x="0" y="0"/>
                  </a:moveTo>
                  <a:cubicBezTo>
                    <a:pt x="98" y="0"/>
                    <a:pt x="98" y="0"/>
                    <a:pt x="98" y="0"/>
                  </a:cubicBezTo>
                  <a:cubicBezTo>
                    <a:pt x="98" y="10"/>
                    <a:pt x="98" y="10"/>
                    <a:pt x="98" y="10"/>
                  </a:cubicBezTo>
                  <a:cubicBezTo>
                    <a:pt x="0" y="10"/>
                    <a:pt x="0" y="10"/>
                    <a:pt x="0" y="10"/>
                  </a:cubicBezTo>
                  <a:cubicBezTo>
                    <a:pt x="0" y="0"/>
                    <a:pt x="0" y="0"/>
                    <a:pt x="0" y="0"/>
                  </a:cubicBezTo>
                  <a:close/>
                  <a:moveTo>
                    <a:pt x="58" y="50"/>
                  </a:moveTo>
                  <a:cubicBezTo>
                    <a:pt x="58" y="48"/>
                    <a:pt x="58" y="48"/>
                    <a:pt x="58" y="48"/>
                  </a:cubicBezTo>
                  <a:cubicBezTo>
                    <a:pt x="58" y="48"/>
                    <a:pt x="57" y="47"/>
                    <a:pt x="57" y="47"/>
                  </a:cubicBezTo>
                  <a:cubicBezTo>
                    <a:pt x="53" y="47"/>
                    <a:pt x="53" y="47"/>
                    <a:pt x="53" y="47"/>
                  </a:cubicBezTo>
                  <a:cubicBezTo>
                    <a:pt x="52" y="46"/>
                    <a:pt x="52" y="46"/>
                    <a:pt x="52" y="46"/>
                  </a:cubicBezTo>
                  <a:cubicBezTo>
                    <a:pt x="54" y="42"/>
                    <a:pt x="54" y="42"/>
                    <a:pt x="54" y="42"/>
                  </a:cubicBezTo>
                  <a:cubicBezTo>
                    <a:pt x="54" y="41"/>
                    <a:pt x="54" y="41"/>
                    <a:pt x="54" y="41"/>
                  </a:cubicBezTo>
                  <a:cubicBezTo>
                    <a:pt x="52" y="40"/>
                    <a:pt x="52" y="40"/>
                    <a:pt x="52" y="40"/>
                  </a:cubicBezTo>
                  <a:cubicBezTo>
                    <a:pt x="51" y="40"/>
                    <a:pt x="51" y="40"/>
                    <a:pt x="51" y="40"/>
                  </a:cubicBezTo>
                  <a:cubicBezTo>
                    <a:pt x="48" y="42"/>
                    <a:pt x="48" y="42"/>
                    <a:pt x="48" y="42"/>
                  </a:cubicBezTo>
                  <a:cubicBezTo>
                    <a:pt x="47" y="42"/>
                    <a:pt x="47" y="42"/>
                    <a:pt x="47" y="42"/>
                  </a:cubicBezTo>
                  <a:cubicBezTo>
                    <a:pt x="46" y="37"/>
                    <a:pt x="46" y="37"/>
                    <a:pt x="46" y="37"/>
                  </a:cubicBezTo>
                  <a:cubicBezTo>
                    <a:pt x="45" y="37"/>
                    <a:pt x="45" y="37"/>
                    <a:pt x="45" y="37"/>
                  </a:cubicBezTo>
                  <a:cubicBezTo>
                    <a:pt x="42" y="37"/>
                    <a:pt x="42" y="37"/>
                    <a:pt x="42" y="37"/>
                  </a:cubicBezTo>
                  <a:cubicBezTo>
                    <a:pt x="41" y="37"/>
                    <a:pt x="41" y="37"/>
                    <a:pt x="41" y="37"/>
                  </a:cubicBezTo>
                  <a:cubicBezTo>
                    <a:pt x="41" y="42"/>
                    <a:pt x="41" y="42"/>
                    <a:pt x="41" y="42"/>
                  </a:cubicBezTo>
                  <a:cubicBezTo>
                    <a:pt x="40" y="42"/>
                    <a:pt x="40" y="42"/>
                    <a:pt x="40" y="42"/>
                  </a:cubicBezTo>
                  <a:cubicBezTo>
                    <a:pt x="36" y="40"/>
                    <a:pt x="36" y="40"/>
                    <a:pt x="36" y="40"/>
                  </a:cubicBezTo>
                  <a:cubicBezTo>
                    <a:pt x="35" y="40"/>
                    <a:pt x="35" y="40"/>
                    <a:pt x="35" y="40"/>
                  </a:cubicBezTo>
                  <a:cubicBezTo>
                    <a:pt x="33" y="41"/>
                    <a:pt x="33" y="41"/>
                    <a:pt x="33" y="41"/>
                  </a:cubicBezTo>
                  <a:cubicBezTo>
                    <a:pt x="33" y="42"/>
                    <a:pt x="33" y="42"/>
                    <a:pt x="33" y="42"/>
                  </a:cubicBezTo>
                  <a:cubicBezTo>
                    <a:pt x="35" y="46"/>
                    <a:pt x="35" y="46"/>
                    <a:pt x="35" y="46"/>
                  </a:cubicBezTo>
                  <a:cubicBezTo>
                    <a:pt x="34" y="47"/>
                    <a:pt x="34" y="47"/>
                    <a:pt x="34" y="47"/>
                  </a:cubicBezTo>
                  <a:cubicBezTo>
                    <a:pt x="30" y="47"/>
                    <a:pt x="30" y="47"/>
                    <a:pt x="30" y="47"/>
                  </a:cubicBezTo>
                  <a:cubicBezTo>
                    <a:pt x="30" y="47"/>
                    <a:pt x="30" y="48"/>
                    <a:pt x="29" y="48"/>
                  </a:cubicBezTo>
                  <a:cubicBezTo>
                    <a:pt x="29" y="50"/>
                    <a:pt x="29" y="50"/>
                    <a:pt x="29" y="50"/>
                  </a:cubicBezTo>
                  <a:cubicBezTo>
                    <a:pt x="29" y="51"/>
                    <a:pt x="29" y="51"/>
                    <a:pt x="29" y="51"/>
                  </a:cubicBezTo>
                  <a:cubicBezTo>
                    <a:pt x="33" y="53"/>
                    <a:pt x="33" y="53"/>
                    <a:pt x="33" y="53"/>
                  </a:cubicBezTo>
                  <a:cubicBezTo>
                    <a:pt x="33" y="53"/>
                    <a:pt x="33" y="54"/>
                    <a:pt x="33" y="54"/>
                  </a:cubicBezTo>
                  <a:cubicBezTo>
                    <a:pt x="30" y="57"/>
                    <a:pt x="30" y="57"/>
                    <a:pt x="30" y="57"/>
                  </a:cubicBezTo>
                  <a:cubicBezTo>
                    <a:pt x="30" y="58"/>
                    <a:pt x="30" y="58"/>
                    <a:pt x="30" y="58"/>
                  </a:cubicBezTo>
                  <a:cubicBezTo>
                    <a:pt x="32" y="60"/>
                    <a:pt x="32" y="60"/>
                    <a:pt x="32" y="60"/>
                  </a:cubicBezTo>
                  <a:cubicBezTo>
                    <a:pt x="32" y="60"/>
                    <a:pt x="32" y="60"/>
                    <a:pt x="32" y="60"/>
                  </a:cubicBezTo>
                  <a:cubicBezTo>
                    <a:pt x="36" y="59"/>
                    <a:pt x="36" y="59"/>
                    <a:pt x="36" y="59"/>
                  </a:cubicBezTo>
                  <a:cubicBezTo>
                    <a:pt x="37" y="60"/>
                    <a:pt x="37" y="60"/>
                    <a:pt x="37" y="60"/>
                  </a:cubicBezTo>
                  <a:cubicBezTo>
                    <a:pt x="37" y="64"/>
                    <a:pt x="37" y="64"/>
                    <a:pt x="37" y="64"/>
                  </a:cubicBezTo>
                  <a:cubicBezTo>
                    <a:pt x="37" y="65"/>
                    <a:pt x="37" y="65"/>
                    <a:pt x="37" y="65"/>
                  </a:cubicBezTo>
                  <a:cubicBezTo>
                    <a:pt x="40" y="66"/>
                    <a:pt x="40" y="66"/>
                    <a:pt x="40" y="66"/>
                  </a:cubicBezTo>
                  <a:cubicBezTo>
                    <a:pt x="41" y="66"/>
                    <a:pt x="41" y="66"/>
                    <a:pt x="41" y="66"/>
                  </a:cubicBezTo>
                  <a:cubicBezTo>
                    <a:pt x="43" y="62"/>
                    <a:pt x="43" y="62"/>
                    <a:pt x="43" y="62"/>
                  </a:cubicBezTo>
                  <a:cubicBezTo>
                    <a:pt x="44" y="62"/>
                    <a:pt x="44" y="62"/>
                    <a:pt x="44" y="62"/>
                  </a:cubicBezTo>
                  <a:cubicBezTo>
                    <a:pt x="44" y="62"/>
                    <a:pt x="44" y="62"/>
                    <a:pt x="44" y="62"/>
                  </a:cubicBezTo>
                  <a:cubicBezTo>
                    <a:pt x="46" y="66"/>
                    <a:pt x="46" y="66"/>
                    <a:pt x="46" y="66"/>
                  </a:cubicBezTo>
                  <a:cubicBezTo>
                    <a:pt x="47" y="66"/>
                    <a:pt x="47" y="66"/>
                    <a:pt x="47" y="66"/>
                  </a:cubicBezTo>
                  <a:cubicBezTo>
                    <a:pt x="50" y="65"/>
                    <a:pt x="50" y="65"/>
                    <a:pt x="50" y="65"/>
                  </a:cubicBezTo>
                  <a:cubicBezTo>
                    <a:pt x="50" y="64"/>
                    <a:pt x="50" y="64"/>
                    <a:pt x="50" y="64"/>
                  </a:cubicBezTo>
                  <a:cubicBezTo>
                    <a:pt x="50" y="60"/>
                    <a:pt x="50" y="60"/>
                    <a:pt x="50" y="60"/>
                  </a:cubicBezTo>
                  <a:cubicBezTo>
                    <a:pt x="51" y="59"/>
                    <a:pt x="51" y="59"/>
                    <a:pt x="51" y="59"/>
                  </a:cubicBezTo>
                  <a:cubicBezTo>
                    <a:pt x="55" y="60"/>
                    <a:pt x="55" y="60"/>
                    <a:pt x="55" y="60"/>
                  </a:cubicBezTo>
                  <a:cubicBezTo>
                    <a:pt x="55" y="60"/>
                    <a:pt x="55" y="60"/>
                    <a:pt x="55" y="60"/>
                  </a:cubicBezTo>
                  <a:cubicBezTo>
                    <a:pt x="57" y="58"/>
                    <a:pt x="57" y="58"/>
                    <a:pt x="57" y="58"/>
                  </a:cubicBezTo>
                  <a:cubicBezTo>
                    <a:pt x="57" y="57"/>
                    <a:pt x="57" y="57"/>
                    <a:pt x="57" y="57"/>
                  </a:cubicBezTo>
                  <a:cubicBezTo>
                    <a:pt x="54" y="54"/>
                    <a:pt x="54" y="54"/>
                    <a:pt x="54" y="54"/>
                  </a:cubicBezTo>
                  <a:cubicBezTo>
                    <a:pt x="54" y="54"/>
                    <a:pt x="54" y="53"/>
                    <a:pt x="54" y="53"/>
                  </a:cubicBezTo>
                  <a:cubicBezTo>
                    <a:pt x="58" y="51"/>
                    <a:pt x="58" y="51"/>
                    <a:pt x="58" y="51"/>
                  </a:cubicBezTo>
                  <a:cubicBezTo>
                    <a:pt x="58" y="51"/>
                    <a:pt x="58" y="51"/>
                    <a:pt x="58" y="50"/>
                  </a:cubicBezTo>
                  <a:close/>
                  <a:moveTo>
                    <a:pt x="49" y="52"/>
                  </a:moveTo>
                  <a:cubicBezTo>
                    <a:pt x="49" y="53"/>
                    <a:pt x="49" y="55"/>
                    <a:pt x="48" y="56"/>
                  </a:cubicBezTo>
                  <a:cubicBezTo>
                    <a:pt x="47" y="57"/>
                    <a:pt x="45" y="58"/>
                    <a:pt x="44" y="58"/>
                  </a:cubicBezTo>
                  <a:cubicBezTo>
                    <a:pt x="42" y="58"/>
                    <a:pt x="41" y="57"/>
                    <a:pt x="40" y="56"/>
                  </a:cubicBezTo>
                  <a:cubicBezTo>
                    <a:pt x="39" y="55"/>
                    <a:pt x="38" y="53"/>
                    <a:pt x="38" y="52"/>
                  </a:cubicBezTo>
                  <a:cubicBezTo>
                    <a:pt x="38" y="50"/>
                    <a:pt x="39" y="49"/>
                    <a:pt x="40" y="48"/>
                  </a:cubicBezTo>
                  <a:cubicBezTo>
                    <a:pt x="41" y="47"/>
                    <a:pt x="42" y="46"/>
                    <a:pt x="44" y="46"/>
                  </a:cubicBezTo>
                  <a:cubicBezTo>
                    <a:pt x="45" y="46"/>
                    <a:pt x="47" y="47"/>
                    <a:pt x="48" y="48"/>
                  </a:cubicBezTo>
                  <a:cubicBezTo>
                    <a:pt x="49" y="49"/>
                    <a:pt x="49" y="50"/>
                    <a:pt x="49" y="52"/>
                  </a:cubicBezTo>
                  <a:close/>
                  <a:moveTo>
                    <a:pt x="41" y="52"/>
                  </a:moveTo>
                  <a:cubicBezTo>
                    <a:pt x="41" y="50"/>
                    <a:pt x="42" y="49"/>
                    <a:pt x="44" y="49"/>
                  </a:cubicBezTo>
                  <a:cubicBezTo>
                    <a:pt x="45" y="49"/>
                    <a:pt x="46" y="50"/>
                    <a:pt x="46" y="52"/>
                  </a:cubicBezTo>
                  <a:cubicBezTo>
                    <a:pt x="46" y="53"/>
                    <a:pt x="45" y="54"/>
                    <a:pt x="44" y="54"/>
                  </a:cubicBezTo>
                  <a:cubicBezTo>
                    <a:pt x="42" y="54"/>
                    <a:pt x="41" y="53"/>
                    <a:pt x="41" y="52"/>
                  </a:cubicBezTo>
                  <a:close/>
                  <a:moveTo>
                    <a:pt x="67" y="42"/>
                  </a:moveTo>
                  <a:cubicBezTo>
                    <a:pt x="67" y="41"/>
                    <a:pt x="67" y="41"/>
                    <a:pt x="67" y="41"/>
                  </a:cubicBezTo>
                  <a:cubicBezTo>
                    <a:pt x="67" y="40"/>
                    <a:pt x="67" y="40"/>
                    <a:pt x="67" y="40"/>
                  </a:cubicBezTo>
                  <a:cubicBezTo>
                    <a:pt x="69" y="39"/>
                    <a:pt x="69" y="39"/>
                    <a:pt x="69" y="39"/>
                  </a:cubicBezTo>
                  <a:cubicBezTo>
                    <a:pt x="69" y="38"/>
                    <a:pt x="69" y="38"/>
                    <a:pt x="69" y="38"/>
                  </a:cubicBezTo>
                  <a:cubicBezTo>
                    <a:pt x="69" y="38"/>
                    <a:pt x="69" y="38"/>
                    <a:pt x="69" y="38"/>
                  </a:cubicBezTo>
                  <a:cubicBezTo>
                    <a:pt x="68" y="37"/>
                    <a:pt x="68" y="37"/>
                    <a:pt x="68" y="37"/>
                  </a:cubicBezTo>
                  <a:cubicBezTo>
                    <a:pt x="67" y="36"/>
                    <a:pt x="67" y="36"/>
                    <a:pt x="67" y="36"/>
                  </a:cubicBezTo>
                  <a:cubicBezTo>
                    <a:pt x="67" y="36"/>
                    <a:pt x="67" y="36"/>
                    <a:pt x="67" y="36"/>
                  </a:cubicBezTo>
                  <a:cubicBezTo>
                    <a:pt x="65" y="37"/>
                    <a:pt x="65" y="37"/>
                    <a:pt x="65" y="37"/>
                  </a:cubicBezTo>
                  <a:cubicBezTo>
                    <a:pt x="65" y="37"/>
                    <a:pt x="64" y="36"/>
                    <a:pt x="63" y="36"/>
                  </a:cubicBezTo>
                  <a:cubicBezTo>
                    <a:pt x="63" y="34"/>
                    <a:pt x="63" y="34"/>
                    <a:pt x="63" y="34"/>
                  </a:cubicBezTo>
                  <a:cubicBezTo>
                    <a:pt x="62" y="33"/>
                    <a:pt x="62" y="33"/>
                    <a:pt x="62" y="33"/>
                  </a:cubicBezTo>
                  <a:cubicBezTo>
                    <a:pt x="61" y="33"/>
                    <a:pt x="61" y="33"/>
                    <a:pt x="61" y="33"/>
                  </a:cubicBezTo>
                  <a:cubicBezTo>
                    <a:pt x="60" y="34"/>
                    <a:pt x="60" y="34"/>
                    <a:pt x="60" y="34"/>
                  </a:cubicBezTo>
                  <a:cubicBezTo>
                    <a:pt x="60" y="36"/>
                    <a:pt x="60" y="36"/>
                    <a:pt x="60" y="36"/>
                  </a:cubicBezTo>
                  <a:cubicBezTo>
                    <a:pt x="59" y="36"/>
                    <a:pt x="58" y="37"/>
                    <a:pt x="58" y="37"/>
                  </a:cubicBezTo>
                  <a:cubicBezTo>
                    <a:pt x="56" y="36"/>
                    <a:pt x="56" y="36"/>
                    <a:pt x="56" y="36"/>
                  </a:cubicBezTo>
                  <a:cubicBezTo>
                    <a:pt x="56" y="36"/>
                    <a:pt x="56" y="36"/>
                    <a:pt x="56" y="36"/>
                  </a:cubicBezTo>
                  <a:cubicBezTo>
                    <a:pt x="55" y="37"/>
                    <a:pt x="55" y="37"/>
                    <a:pt x="55" y="37"/>
                  </a:cubicBezTo>
                  <a:cubicBezTo>
                    <a:pt x="54" y="38"/>
                    <a:pt x="54" y="38"/>
                    <a:pt x="54" y="38"/>
                  </a:cubicBezTo>
                  <a:cubicBezTo>
                    <a:pt x="54" y="38"/>
                    <a:pt x="54" y="38"/>
                    <a:pt x="54" y="38"/>
                  </a:cubicBezTo>
                  <a:cubicBezTo>
                    <a:pt x="54" y="39"/>
                    <a:pt x="54" y="39"/>
                    <a:pt x="54" y="39"/>
                  </a:cubicBezTo>
                  <a:cubicBezTo>
                    <a:pt x="56" y="40"/>
                    <a:pt x="56" y="40"/>
                    <a:pt x="56" y="40"/>
                  </a:cubicBezTo>
                  <a:cubicBezTo>
                    <a:pt x="56" y="41"/>
                    <a:pt x="56" y="41"/>
                    <a:pt x="56" y="41"/>
                  </a:cubicBezTo>
                  <a:cubicBezTo>
                    <a:pt x="56" y="42"/>
                    <a:pt x="56" y="42"/>
                    <a:pt x="56" y="42"/>
                  </a:cubicBezTo>
                  <a:cubicBezTo>
                    <a:pt x="54" y="44"/>
                    <a:pt x="54" y="44"/>
                    <a:pt x="54" y="44"/>
                  </a:cubicBezTo>
                  <a:cubicBezTo>
                    <a:pt x="54" y="44"/>
                    <a:pt x="54" y="44"/>
                    <a:pt x="54" y="44"/>
                  </a:cubicBezTo>
                  <a:cubicBezTo>
                    <a:pt x="54" y="45"/>
                    <a:pt x="54" y="45"/>
                    <a:pt x="54" y="45"/>
                  </a:cubicBezTo>
                  <a:cubicBezTo>
                    <a:pt x="55" y="46"/>
                    <a:pt x="55" y="46"/>
                    <a:pt x="55" y="46"/>
                  </a:cubicBezTo>
                  <a:cubicBezTo>
                    <a:pt x="56" y="46"/>
                    <a:pt x="56" y="46"/>
                    <a:pt x="56" y="46"/>
                  </a:cubicBezTo>
                  <a:cubicBezTo>
                    <a:pt x="56" y="46"/>
                    <a:pt x="56" y="46"/>
                    <a:pt x="56" y="46"/>
                  </a:cubicBezTo>
                  <a:cubicBezTo>
                    <a:pt x="58" y="46"/>
                    <a:pt x="58" y="46"/>
                    <a:pt x="58" y="46"/>
                  </a:cubicBezTo>
                  <a:cubicBezTo>
                    <a:pt x="58" y="46"/>
                    <a:pt x="59" y="46"/>
                    <a:pt x="60" y="47"/>
                  </a:cubicBezTo>
                  <a:cubicBezTo>
                    <a:pt x="60" y="49"/>
                    <a:pt x="60" y="49"/>
                    <a:pt x="60" y="49"/>
                  </a:cubicBezTo>
                  <a:cubicBezTo>
                    <a:pt x="61" y="49"/>
                    <a:pt x="61" y="49"/>
                    <a:pt x="61" y="49"/>
                  </a:cubicBezTo>
                  <a:cubicBezTo>
                    <a:pt x="62" y="49"/>
                    <a:pt x="62" y="49"/>
                    <a:pt x="62" y="49"/>
                  </a:cubicBezTo>
                  <a:cubicBezTo>
                    <a:pt x="63" y="49"/>
                    <a:pt x="63" y="49"/>
                    <a:pt x="63" y="49"/>
                  </a:cubicBezTo>
                  <a:cubicBezTo>
                    <a:pt x="63" y="47"/>
                    <a:pt x="63" y="47"/>
                    <a:pt x="63" y="47"/>
                  </a:cubicBezTo>
                  <a:cubicBezTo>
                    <a:pt x="64" y="46"/>
                    <a:pt x="65" y="46"/>
                    <a:pt x="65" y="46"/>
                  </a:cubicBezTo>
                  <a:cubicBezTo>
                    <a:pt x="67" y="46"/>
                    <a:pt x="67" y="46"/>
                    <a:pt x="67" y="46"/>
                  </a:cubicBezTo>
                  <a:cubicBezTo>
                    <a:pt x="67" y="46"/>
                    <a:pt x="67" y="46"/>
                    <a:pt x="67" y="46"/>
                  </a:cubicBezTo>
                  <a:cubicBezTo>
                    <a:pt x="68" y="46"/>
                    <a:pt x="68" y="46"/>
                    <a:pt x="68" y="46"/>
                  </a:cubicBezTo>
                  <a:cubicBezTo>
                    <a:pt x="69" y="45"/>
                    <a:pt x="69" y="45"/>
                    <a:pt x="69" y="45"/>
                  </a:cubicBezTo>
                  <a:cubicBezTo>
                    <a:pt x="69" y="44"/>
                    <a:pt x="69" y="44"/>
                    <a:pt x="69" y="44"/>
                  </a:cubicBezTo>
                  <a:cubicBezTo>
                    <a:pt x="69" y="44"/>
                    <a:pt x="69" y="44"/>
                    <a:pt x="69" y="44"/>
                  </a:cubicBezTo>
                  <a:cubicBezTo>
                    <a:pt x="67" y="42"/>
                    <a:pt x="67" y="42"/>
                    <a:pt x="67" y="42"/>
                  </a:cubicBezTo>
                  <a:close/>
                  <a:moveTo>
                    <a:pt x="64" y="41"/>
                  </a:moveTo>
                  <a:cubicBezTo>
                    <a:pt x="64" y="42"/>
                    <a:pt x="63" y="43"/>
                    <a:pt x="62" y="43"/>
                  </a:cubicBezTo>
                  <a:cubicBezTo>
                    <a:pt x="60" y="43"/>
                    <a:pt x="59" y="42"/>
                    <a:pt x="59" y="41"/>
                  </a:cubicBezTo>
                  <a:cubicBezTo>
                    <a:pt x="59" y="40"/>
                    <a:pt x="60" y="39"/>
                    <a:pt x="62" y="39"/>
                  </a:cubicBezTo>
                  <a:cubicBezTo>
                    <a:pt x="63" y="39"/>
                    <a:pt x="64" y="40"/>
                    <a:pt x="64" y="4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148" name="Oval 94"/>
            <p:cNvSpPr>
              <a:spLocks noChangeArrowheads="1"/>
            </p:cNvSpPr>
            <p:nvPr/>
          </p:nvSpPr>
          <p:spPr bwMode="auto">
            <a:xfrm>
              <a:off x="6225341" y="3105711"/>
              <a:ext cx="901014" cy="897725"/>
            </a:xfrm>
            <a:prstGeom prst="ellipse">
              <a:avLst/>
            </a:pr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150" name="Freeform 96"/>
            <p:cNvSpPr>
              <a:spLocks noEditPoints="1"/>
            </p:cNvSpPr>
            <p:nvPr/>
          </p:nvSpPr>
          <p:spPr bwMode="auto">
            <a:xfrm>
              <a:off x="6929052" y="4799222"/>
              <a:ext cx="585330" cy="466949"/>
            </a:xfrm>
            <a:custGeom>
              <a:avLst/>
              <a:gdLst>
                <a:gd name="T0" fmla="*/ 127 w 127"/>
                <a:gd name="T1" fmla="*/ 73 h 101"/>
                <a:gd name="T2" fmla="*/ 0 w 127"/>
                <a:gd name="T3" fmla="*/ 73 h 101"/>
                <a:gd name="T4" fmla="*/ 16 w 127"/>
                <a:gd name="T5" fmla="*/ 101 h 101"/>
                <a:gd name="T6" fmla="*/ 112 w 127"/>
                <a:gd name="T7" fmla="*/ 101 h 101"/>
                <a:gd name="T8" fmla="*/ 127 w 127"/>
                <a:gd name="T9" fmla="*/ 73 h 101"/>
                <a:gd name="T10" fmla="*/ 95 w 127"/>
                <a:gd name="T11" fmla="*/ 0 h 101"/>
                <a:gd name="T12" fmla="*/ 33 w 127"/>
                <a:gd name="T13" fmla="*/ 0 h 101"/>
                <a:gd name="T14" fmla="*/ 3 w 127"/>
                <a:gd name="T15" fmla="*/ 34 h 101"/>
                <a:gd name="T16" fmla="*/ 124 w 127"/>
                <a:gd name="T17" fmla="*/ 34 h 101"/>
                <a:gd name="T18" fmla="*/ 95 w 127"/>
                <a:gd name="T19"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7" h="101">
                  <a:moveTo>
                    <a:pt x="127" y="73"/>
                  </a:moveTo>
                  <a:cubicBezTo>
                    <a:pt x="0" y="73"/>
                    <a:pt x="0" y="73"/>
                    <a:pt x="0" y="73"/>
                  </a:cubicBezTo>
                  <a:cubicBezTo>
                    <a:pt x="3" y="83"/>
                    <a:pt x="8" y="93"/>
                    <a:pt x="16" y="101"/>
                  </a:cubicBezTo>
                  <a:cubicBezTo>
                    <a:pt x="112" y="101"/>
                    <a:pt x="112" y="101"/>
                    <a:pt x="112" y="101"/>
                  </a:cubicBezTo>
                  <a:cubicBezTo>
                    <a:pt x="119" y="93"/>
                    <a:pt x="124" y="83"/>
                    <a:pt x="127" y="73"/>
                  </a:cubicBezTo>
                  <a:moveTo>
                    <a:pt x="95" y="0"/>
                  </a:moveTo>
                  <a:cubicBezTo>
                    <a:pt x="33" y="0"/>
                    <a:pt x="33" y="0"/>
                    <a:pt x="33" y="0"/>
                  </a:cubicBezTo>
                  <a:cubicBezTo>
                    <a:pt x="19" y="7"/>
                    <a:pt x="9" y="19"/>
                    <a:pt x="3" y="34"/>
                  </a:cubicBezTo>
                  <a:cubicBezTo>
                    <a:pt x="124" y="34"/>
                    <a:pt x="124" y="34"/>
                    <a:pt x="124" y="34"/>
                  </a:cubicBezTo>
                  <a:cubicBezTo>
                    <a:pt x="119" y="19"/>
                    <a:pt x="108" y="7"/>
                    <a:pt x="95"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151" name="Freeform 97"/>
            <p:cNvSpPr>
              <a:spLocks/>
            </p:cNvSpPr>
            <p:nvPr/>
          </p:nvSpPr>
          <p:spPr bwMode="auto">
            <a:xfrm>
              <a:off x="7080317" y="4763050"/>
              <a:ext cx="286088" cy="36172"/>
            </a:xfrm>
            <a:custGeom>
              <a:avLst/>
              <a:gdLst>
                <a:gd name="T0" fmla="*/ 31 w 62"/>
                <a:gd name="T1" fmla="*/ 0 h 8"/>
                <a:gd name="T2" fmla="*/ 0 w 62"/>
                <a:gd name="T3" fmla="*/ 8 h 8"/>
                <a:gd name="T4" fmla="*/ 62 w 62"/>
                <a:gd name="T5" fmla="*/ 8 h 8"/>
                <a:gd name="T6" fmla="*/ 31 w 62"/>
                <a:gd name="T7" fmla="*/ 0 h 8"/>
              </a:gdLst>
              <a:ahLst/>
              <a:cxnLst>
                <a:cxn ang="0">
                  <a:pos x="T0" y="T1"/>
                </a:cxn>
                <a:cxn ang="0">
                  <a:pos x="T2" y="T3"/>
                </a:cxn>
                <a:cxn ang="0">
                  <a:pos x="T4" y="T5"/>
                </a:cxn>
                <a:cxn ang="0">
                  <a:pos x="T6" y="T7"/>
                </a:cxn>
              </a:cxnLst>
              <a:rect l="0" t="0" r="r" b="b"/>
              <a:pathLst>
                <a:path w="62" h="8">
                  <a:moveTo>
                    <a:pt x="31" y="0"/>
                  </a:moveTo>
                  <a:cubicBezTo>
                    <a:pt x="19" y="0"/>
                    <a:pt x="9" y="3"/>
                    <a:pt x="0" y="8"/>
                  </a:cubicBezTo>
                  <a:cubicBezTo>
                    <a:pt x="62" y="8"/>
                    <a:pt x="62" y="8"/>
                    <a:pt x="62" y="8"/>
                  </a:cubicBezTo>
                  <a:cubicBezTo>
                    <a:pt x="53" y="3"/>
                    <a:pt x="42" y="0"/>
                    <a:pt x="31"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152" name="Freeform 98"/>
            <p:cNvSpPr>
              <a:spLocks/>
            </p:cNvSpPr>
            <p:nvPr/>
          </p:nvSpPr>
          <p:spPr bwMode="auto">
            <a:xfrm>
              <a:off x="6925764" y="4957064"/>
              <a:ext cx="598484" cy="180860"/>
            </a:xfrm>
            <a:custGeom>
              <a:avLst/>
              <a:gdLst>
                <a:gd name="T0" fmla="*/ 125 w 130"/>
                <a:gd name="T1" fmla="*/ 0 h 39"/>
                <a:gd name="T2" fmla="*/ 4 w 130"/>
                <a:gd name="T3" fmla="*/ 0 h 39"/>
                <a:gd name="T4" fmla="*/ 0 w 130"/>
                <a:gd name="T5" fmla="*/ 23 h 39"/>
                <a:gd name="T6" fmla="*/ 1 w 130"/>
                <a:gd name="T7" fmla="*/ 39 h 39"/>
                <a:gd name="T8" fmla="*/ 128 w 130"/>
                <a:gd name="T9" fmla="*/ 39 h 39"/>
                <a:gd name="T10" fmla="*/ 130 w 130"/>
                <a:gd name="T11" fmla="*/ 23 h 39"/>
                <a:gd name="T12" fmla="*/ 125 w 130"/>
                <a:gd name="T13" fmla="*/ 0 h 39"/>
              </a:gdLst>
              <a:ahLst/>
              <a:cxnLst>
                <a:cxn ang="0">
                  <a:pos x="T0" y="T1"/>
                </a:cxn>
                <a:cxn ang="0">
                  <a:pos x="T2" y="T3"/>
                </a:cxn>
                <a:cxn ang="0">
                  <a:pos x="T4" y="T5"/>
                </a:cxn>
                <a:cxn ang="0">
                  <a:pos x="T6" y="T7"/>
                </a:cxn>
                <a:cxn ang="0">
                  <a:pos x="T8" y="T9"/>
                </a:cxn>
                <a:cxn ang="0">
                  <a:pos x="T10" y="T11"/>
                </a:cxn>
                <a:cxn ang="0">
                  <a:pos x="T12" y="T13"/>
                </a:cxn>
              </a:cxnLst>
              <a:rect l="0" t="0" r="r" b="b"/>
              <a:pathLst>
                <a:path w="130" h="39">
                  <a:moveTo>
                    <a:pt x="125" y="0"/>
                  </a:moveTo>
                  <a:cubicBezTo>
                    <a:pt x="4" y="0"/>
                    <a:pt x="4" y="0"/>
                    <a:pt x="4" y="0"/>
                  </a:cubicBezTo>
                  <a:cubicBezTo>
                    <a:pt x="1" y="7"/>
                    <a:pt x="0" y="15"/>
                    <a:pt x="0" y="23"/>
                  </a:cubicBezTo>
                  <a:cubicBezTo>
                    <a:pt x="0" y="28"/>
                    <a:pt x="0" y="34"/>
                    <a:pt x="1" y="39"/>
                  </a:cubicBezTo>
                  <a:cubicBezTo>
                    <a:pt x="128" y="39"/>
                    <a:pt x="128" y="39"/>
                    <a:pt x="128" y="39"/>
                  </a:cubicBezTo>
                  <a:cubicBezTo>
                    <a:pt x="129" y="34"/>
                    <a:pt x="130" y="28"/>
                    <a:pt x="130" y="23"/>
                  </a:cubicBezTo>
                  <a:cubicBezTo>
                    <a:pt x="130" y="15"/>
                    <a:pt x="128" y="7"/>
                    <a:pt x="125"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153" name="Freeform 99"/>
            <p:cNvSpPr>
              <a:spLocks/>
            </p:cNvSpPr>
            <p:nvPr/>
          </p:nvSpPr>
          <p:spPr bwMode="auto">
            <a:xfrm>
              <a:off x="7001396" y="5266171"/>
              <a:ext cx="443930" cy="95363"/>
            </a:xfrm>
            <a:custGeom>
              <a:avLst/>
              <a:gdLst>
                <a:gd name="T0" fmla="*/ 96 w 96"/>
                <a:gd name="T1" fmla="*/ 0 h 21"/>
                <a:gd name="T2" fmla="*/ 0 w 96"/>
                <a:gd name="T3" fmla="*/ 0 h 21"/>
                <a:gd name="T4" fmla="*/ 48 w 96"/>
                <a:gd name="T5" fmla="*/ 21 h 21"/>
                <a:gd name="T6" fmla="*/ 96 w 96"/>
                <a:gd name="T7" fmla="*/ 0 h 21"/>
              </a:gdLst>
              <a:ahLst/>
              <a:cxnLst>
                <a:cxn ang="0">
                  <a:pos x="T0" y="T1"/>
                </a:cxn>
                <a:cxn ang="0">
                  <a:pos x="T2" y="T3"/>
                </a:cxn>
                <a:cxn ang="0">
                  <a:pos x="T4" y="T5"/>
                </a:cxn>
                <a:cxn ang="0">
                  <a:pos x="T6" y="T7"/>
                </a:cxn>
              </a:cxnLst>
              <a:rect l="0" t="0" r="r" b="b"/>
              <a:pathLst>
                <a:path w="96" h="21">
                  <a:moveTo>
                    <a:pt x="96" y="0"/>
                  </a:moveTo>
                  <a:cubicBezTo>
                    <a:pt x="0" y="0"/>
                    <a:pt x="0" y="0"/>
                    <a:pt x="0" y="0"/>
                  </a:cubicBezTo>
                  <a:cubicBezTo>
                    <a:pt x="12" y="13"/>
                    <a:pt x="29" y="21"/>
                    <a:pt x="48" y="21"/>
                  </a:cubicBezTo>
                  <a:cubicBezTo>
                    <a:pt x="67" y="21"/>
                    <a:pt x="84" y="13"/>
                    <a:pt x="96"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154" name="Oval 100"/>
            <p:cNvSpPr>
              <a:spLocks noChangeArrowheads="1"/>
            </p:cNvSpPr>
            <p:nvPr/>
          </p:nvSpPr>
          <p:spPr bwMode="auto">
            <a:xfrm>
              <a:off x="6886303" y="4726878"/>
              <a:ext cx="598484" cy="598484"/>
            </a:xfrm>
            <a:prstGeom prst="ellipse">
              <a:avLst/>
            </a:pr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158" name="Freeform 104"/>
            <p:cNvSpPr>
              <a:spLocks/>
            </p:cNvSpPr>
            <p:nvPr/>
          </p:nvSpPr>
          <p:spPr bwMode="auto">
            <a:xfrm>
              <a:off x="7652494" y="5308919"/>
              <a:ext cx="391316" cy="312395"/>
            </a:xfrm>
            <a:custGeom>
              <a:avLst/>
              <a:gdLst>
                <a:gd name="T0" fmla="*/ 69 w 85"/>
                <a:gd name="T1" fmla="*/ 0 h 68"/>
                <a:gd name="T2" fmla="*/ 69 w 85"/>
                <a:gd name="T3" fmla="*/ 30 h 68"/>
                <a:gd name="T4" fmla="*/ 1 w 85"/>
                <a:gd name="T5" fmla="*/ 30 h 68"/>
                <a:gd name="T6" fmla="*/ 0 w 85"/>
                <a:gd name="T7" fmla="*/ 34 h 68"/>
                <a:gd name="T8" fmla="*/ 8 w 85"/>
                <a:gd name="T9" fmla="*/ 58 h 68"/>
                <a:gd name="T10" fmla="*/ 69 w 85"/>
                <a:gd name="T11" fmla="*/ 58 h 68"/>
                <a:gd name="T12" fmla="*/ 69 w 85"/>
                <a:gd name="T13" fmla="*/ 68 h 68"/>
                <a:gd name="T14" fmla="*/ 85 w 85"/>
                <a:gd name="T15" fmla="*/ 34 h 68"/>
                <a:gd name="T16" fmla="*/ 69 w 85"/>
                <a:gd name="T17"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5" h="68">
                  <a:moveTo>
                    <a:pt x="69" y="0"/>
                  </a:moveTo>
                  <a:cubicBezTo>
                    <a:pt x="69" y="30"/>
                    <a:pt x="69" y="30"/>
                    <a:pt x="69" y="30"/>
                  </a:cubicBezTo>
                  <a:cubicBezTo>
                    <a:pt x="1" y="30"/>
                    <a:pt x="1" y="30"/>
                    <a:pt x="1" y="30"/>
                  </a:cubicBezTo>
                  <a:cubicBezTo>
                    <a:pt x="0" y="31"/>
                    <a:pt x="0" y="33"/>
                    <a:pt x="0" y="34"/>
                  </a:cubicBezTo>
                  <a:cubicBezTo>
                    <a:pt x="0" y="43"/>
                    <a:pt x="3" y="51"/>
                    <a:pt x="8" y="58"/>
                  </a:cubicBezTo>
                  <a:cubicBezTo>
                    <a:pt x="69" y="58"/>
                    <a:pt x="69" y="58"/>
                    <a:pt x="69" y="58"/>
                  </a:cubicBezTo>
                  <a:cubicBezTo>
                    <a:pt x="69" y="68"/>
                    <a:pt x="69" y="68"/>
                    <a:pt x="69" y="68"/>
                  </a:cubicBezTo>
                  <a:cubicBezTo>
                    <a:pt x="79" y="60"/>
                    <a:pt x="85" y="48"/>
                    <a:pt x="85" y="34"/>
                  </a:cubicBezTo>
                  <a:cubicBezTo>
                    <a:pt x="85" y="20"/>
                    <a:pt x="79" y="8"/>
                    <a:pt x="69"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159" name="Freeform 105"/>
            <p:cNvSpPr>
              <a:spLocks/>
            </p:cNvSpPr>
            <p:nvPr/>
          </p:nvSpPr>
          <p:spPr bwMode="auto">
            <a:xfrm>
              <a:off x="7655782" y="5266171"/>
              <a:ext cx="312395" cy="180860"/>
            </a:xfrm>
            <a:custGeom>
              <a:avLst/>
              <a:gdLst>
                <a:gd name="T0" fmla="*/ 42 w 68"/>
                <a:gd name="T1" fmla="*/ 0 h 39"/>
                <a:gd name="T2" fmla="*/ 0 w 68"/>
                <a:gd name="T3" fmla="*/ 39 h 39"/>
                <a:gd name="T4" fmla="*/ 68 w 68"/>
                <a:gd name="T5" fmla="*/ 39 h 39"/>
                <a:gd name="T6" fmla="*/ 68 w 68"/>
                <a:gd name="T7" fmla="*/ 9 h 39"/>
                <a:gd name="T8" fmla="*/ 42 w 68"/>
                <a:gd name="T9" fmla="*/ 0 h 39"/>
              </a:gdLst>
              <a:ahLst/>
              <a:cxnLst>
                <a:cxn ang="0">
                  <a:pos x="T0" y="T1"/>
                </a:cxn>
                <a:cxn ang="0">
                  <a:pos x="T2" y="T3"/>
                </a:cxn>
                <a:cxn ang="0">
                  <a:pos x="T4" y="T5"/>
                </a:cxn>
                <a:cxn ang="0">
                  <a:pos x="T6" y="T7"/>
                </a:cxn>
                <a:cxn ang="0">
                  <a:pos x="T8" y="T9"/>
                </a:cxn>
              </a:cxnLst>
              <a:rect l="0" t="0" r="r" b="b"/>
              <a:pathLst>
                <a:path w="68" h="39">
                  <a:moveTo>
                    <a:pt x="42" y="0"/>
                  </a:moveTo>
                  <a:cubicBezTo>
                    <a:pt x="20" y="0"/>
                    <a:pt x="2" y="17"/>
                    <a:pt x="0" y="39"/>
                  </a:cubicBezTo>
                  <a:cubicBezTo>
                    <a:pt x="68" y="39"/>
                    <a:pt x="68" y="39"/>
                    <a:pt x="68" y="39"/>
                  </a:cubicBezTo>
                  <a:cubicBezTo>
                    <a:pt x="68" y="9"/>
                    <a:pt x="68" y="9"/>
                    <a:pt x="68" y="9"/>
                  </a:cubicBezTo>
                  <a:cubicBezTo>
                    <a:pt x="61" y="4"/>
                    <a:pt x="52" y="0"/>
                    <a:pt x="42"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160" name="Freeform 106"/>
            <p:cNvSpPr>
              <a:spLocks/>
            </p:cNvSpPr>
            <p:nvPr/>
          </p:nvSpPr>
          <p:spPr bwMode="auto">
            <a:xfrm>
              <a:off x="7688666" y="5575277"/>
              <a:ext cx="279512" cy="82209"/>
            </a:xfrm>
            <a:custGeom>
              <a:avLst/>
              <a:gdLst>
                <a:gd name="T0" fmla="*/ 61 w 61"/>
                <a:gd name="T1" fmla="*/ 0 h 18"/>
                <a:gd name="T2" fmla="*/ 0 w 61"/>
                <a:gd name="T3" fmla="*/ 0 h 18"/>
                <a:gd name="T4" fmla="*/ 35 w 61"/>
                <a:gd name="T5" fmla="*/ 18 h 18"/>
                <a:gd name="T6" fmla="*/ 61 w 61"/>
                <a:gd name="T7" fmla="*/ 10 h 18"/>
                <a:gd name="T8" fmla="*/ 61 w 61"/>
                <a:gd name="T9" fmla="*/ 0 h 18"/>
              </a:gdLst>
              <a:ahLst/>
              <a:cxnLst>
                <a:cxn ang="0">
                  <a:pos x="T0" y="T1"/>
                </a:cxn>
                <a:cxn ang="0">
                  <a:pos x="T2" y="T3"/>
                </a:cxn>
                <a:cxn ang="0">
                  <a:pos x="T4" y="T5"/>
                </a:cxn>
                <a:cxn ang="0">
                  <a:pos x="T6" y="T7"/>
                </a:cxn>
                <a:cxn ang="0">
                  <a:pos x="T8" y="T9"/>
                </a:cxn>
              </a:cxnLst>
              <a:rect l="0" t="0" r="r" b="b"/>
              <a:pathLst>
                <a:path w="61" h="18">
                  <a:moveTo>
                    <a:pt x="61" y="0"/>
                  </a:moveTo>
                  <a:cubicBezTo>
                    <a:pt x="0" y="0"/>
                    <a:pt x="0" y="0"/>
                    <a:pt x="0" y="0"/>
                  </a:cubicBezTo>
                  <a:cubicBezTo>
                    <a:pt x="8" y="11"/>
                    <a:pt x="20" y="18"/>
                    <a:pt x="35" y="18"/>
                  </a:cubicBezTo>
                  <a:cubicBezTo>
                    <a:pt x="45" y="18"/>
                    <a:pt x="54" y="15"/>
                    <a:pt x="61" y="10"/>
                  </a:cubicBezTo>
                  <a:cubicBezTo>
                    <a:pt x="61" y="0"/>
                    <a:pt x="61" y="0"/>
                    <a:pt x="61"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161" name="Oval 107"/>
            <p:cNvSpPr>
              <a:spLocks noChangeArrowheads="1"/>
            </p:cNvSpPr>
            <p:nvPr/>
          </p:nvSpPr>
          <p:spPr bwMode="auto">
            <a:xfrm>
              <a:off x="7616322" y="5229998"/>
              <a:ext cx="388028" cy="391316"/>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163" name="Freeform 109"/>
            <p:cNvSpPr>
              <a:spLocks noEditPoints="1"/>
            </p:cNvSpPr>
            <p:nvPr/>
          </p:nvSpPr>
          <p:spPr bwMode="auto">
            <a:xfrm>
              <a:off x="7218429" y="4269794"/>
              <a:ext cx="391316" cy="318972"/>
            </a:xfrm>
            <a:custGeom>
              <a:avLst/>
              <a:gdLst>
                <a:gd name="T0" fmla="*/ 54 w 85"/>
                <a:gd name="T1" fmla="*/ 67 h 69"/>
                <a:gd name="T2" fmla="*/ 31 w 85"/>
                <a:gd name="T3" fmla="*/ 67 h 69"/>
                <a:gd name="T4" fmla="*/ 42 w 85"/>
                <a:gd name="T5" fmla="*/ 69 h 69"/>
                <a:gd name="T6" fmla="*/ 54 w 85"/>
                <a:gd name="T7" fmla="*/ 67 h 69"/>
                <a:gd name="T8" fmla="*/ 76 w 85"/>
                <a:gd name="T9" fmla="*/ 0 h 69"/>
                <a:gd name="T10" fmla="*/ 9 w 85"/>
                <a:gd name="T11" fmla="*/ 0 h 69"/>
                <a:gd name="T12" fmla="*/ 0 w 85"/>
                <a:gd name="T13" fmla="*/ 26 h 69"/>
                <a:gd name="T14" fmla="*/ 0 w 85"/>
                <a:gd name="T15" fmla="*/ 28 h 69"/>
                <a:gd name="T16" fmla="*/ 85 w 85"/>
                <a:gd name="T17" fmla="*/ 28 h 69"/>
                <a:gd name="T18" fmla="*/ 85 w 85"/>
                <a:gd name="T19" fmla="*/ 26 h 69"/>
                <a:gd name="T20" fmla="*/ 76 w 85"/>
                <a:gd name="T21" fmla="*/ 0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5" h="69">
                  <a:moveTo>
                    <a:pt x="54" y="67"/>
                  </a:moveTo>
                  <a:cubicBezTo>
                    <a:pt x="31" y="67"/>
                    <a:pt x="31" y="67"/>
                    <a:pt x="31" y="67"/>
                  </a:cubicBezTo>
                  <a:cubicBezTo>
                    <a:pt x="35" y="68"/>
                    <a:pt x="38" y="69"/>
                    <a:pt x="42" y="69"/>
                  </a:cubicBezTo>
                  <a:cubicBezTo>
                    <a:pt x="47" y="69"/>
                    <a:pt x="50" y="68"/>
                    <a:pt x="54" y="67"/>
                  </a:cubicBezTo>
                  <a:moveTo>
                    <a:pt x="76" y="0"/>
                  </a:moveTo>
                  <a:cubicBezTo>
                    <a:pt x="9" y="0"/>
                    <a:pt x="9" y="0"/>
                    <a:pt x="9" y="0"/>
                  </a:cubicBezTo>
                  <a:cubicBezTo>
                    <a:pt x="3" y="7"/>
                    <a:pt x="0" y="16"/>
                    <a:pt x="0" y="26"/>
                  </a:cubicBezTo>
                  <a:cubicBezTo>
                    <a:pt x="0" y="27"/>
                    <a:pt x="0" y="27"/>
                    <a:pt x="0" y="28"/>
                  </a:cubicBezTo>
                  <a:cubicBezTo>
                    <a:pt x="85" y="28"/>
                    <a:pt x="85" y="28"/>
                    <a:pt x="85" y="28"/>
                  </a:cubicBezTo>
                  <a:cubicBezTo>
                    <a:pt x="85" y="27"/>
                    <a:pt x="85" y="27"/>
                    <a:pt x="85" y="26"/>
                  </a:cubicBezTo>
                  <a:cubicBezTo>
                    <a:pt x="85" y="16"/>
                    <a:pt x="82" y="7"/>
                    <a:pt x="76"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165" name="Freeform 110"/>
            <p:cNvSpPr>
              <a:spLocks/>
            </p:cNvSpPr>
            <p:nvPr/>
          </p:nvSpPr>
          <p:spPr bwMode="auto">
            <a:xfrm>
              <a:off x="7261178" y="4194162"/>
              <a:ext cx="309107" cy="75633"/>
            </a:xfrm>
            <a:custGeom>
              <a:avLst/>
              <a:gdLst>
                <a:gd name="T0" fmla="*/ 33 w 67"/>
                <a:gd name="T1" fmla="*/ 0 h 17"/>
                <a:gd name="T2" fmla="*/ 0 w 67"/>
                <a:gd name="T3" fmla="*/ 17 h 17"/>
                <a:gd name="T4" fmla="*/ 67 w 67"/>
                <a:gd name="T5" fmla="*/ 17 h 17"/>
                <a:gd name="T6" fmla="*/ 33 w 67"/>
                <a:gd name="T7" fmla="*/ 0 h 17"/>
              </a:gdLst>
              <a:ahLst/>
              <a:cxnLst>
                <a:cxn ang="0">
                  <a:pos x="T0" y="T1"/>
                </a:cxn>
                <a:cxn ang="0">
                  <a:pos x="T2" y="T3"/>
                </a:cxn>
                <a:cxn ang="0">
                  <a:pos x="T4" y="T5"/>
                </a:cxn>
                <a:cxn ang="0">
                  <a:pos x="T6" y="T7"/>
                </a:cxn>
              </a:cxnLst>
              <a:rect l="0" t="0" r="r" b="b"/>
              <a:pathLst>
                <a:path w="67" h="17">
                  <a:moveTo>
                    <a:pt x="33" y="0"/>
                  </a:moveTo>
                  <a:cubicBezTo>
                    <a:pt x="20" y="0"/>
                    <a:pt x="8" y="7"/>
                    <a:pt x="0" y="17"/>
                  </a:cubicBezTo>
                  <a:cubicBezTo>
                    <a:pt x="67" y="17"/>
                    <a:pt x="67" y="17"/>
                    <a:pt x="67" y="17"/>
                  </a:cubicBezTo>
                  <a:cubicBezTo>
                    <a:pt x="59" y="7"/>
                    <a:pt x="47" y="0"/>
                    <a:pt x="33"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166" name="Freeform 111"/>
            <p:cNvSpPr>
              <a:spLocks/>
            </p:cNvSpPr>
            <p:nvPr/>
          </p:nvSpPr>
          <p:spPr bwMode="auto">
            <a:xfrm>
              <a:off x="7218429" y="4401329"/>
              <a:ext cx="391316" cy="177572"/>
            </a:xfrm>
            <a:custGeom>
              <a:avLst/>
              <a:gdLst>
                <a:gd name="T0" fmla="*/ 85 w 85"/>
                <a:gd name="T1" fmla="*/ 0 h 39"/>
                <a:gd name="T2" fmla="*/ 0 w 85"/>
                <a:gd name="T3" fmla="*/ 0 h 39"/>
                <a:gd name="T4" fmla="*/ 31 w 85"/>
                <a:gd name="T5" fmla="*/ 39 h 39"/>
                <a:gd name="T6" fmla="*/ 54 w 85"/>
                <a:gd name="T7" fmla="*/ 39 h 39"/>
                <a:gd name="T8" fmla="*/ 85 w 85"/>
                <a:gd name="T9" fmla="*/ 0 h 39"/>
              </a:gdLst>
              <a:ahLst/>
              <a:cxnLst>
                <a:cxn ang="0">
                  <a:pos x="T0" y="T1"/>
                </a:cxn>
                <a:cxn ang="0">
                  <a:pos x="T2" y="T3"/>
                </a:cxn>
                <a:cxn ang="0">
                  <a:pos x="T4" y="T5"/>
                </a:cxn>
                <a:cxn ang="0">
                  <a:pos x="T6" y="T7"/>
                </a:cxn>
                <a:cxn ang="0">
                  <a:pos x="T8" y="T9"/>
                </a:cxn>
              </a:cxnLst>
              <a:rect l="0" t="0" r="r" b="b"/>
              <a:pathLst>
                <a:path w="85" h="39">
                  <a:moveTo>
                    <a:pt x="85" y="0"/>
                  </a:moveTo>
                  <a:cubicBezTo>
                    <a:pt x="0" y="0"/>
                    <a:pt x="0" y="0"/>
                    <a:pt x="0" y="0"/>
                  </a:cubicBezTo>
                  <a:cubicBezTo>
                    <a:pt x="1" y="19"/>
                    <a:pt x="14" y="34"/>
                    <a:pt x="31" y="39"/>
                  </a:cubicBezTo>
                  <a:cubicBezTo>
                    <a:pt x="54" y="39"/>
                    <a:pt x="54" y="39"/>
                    <a:pt x="54" y="39"/>
                  </a:cubicBezTo>
                  <a:cubicBezTo>
                    <a:pt x="71" y="34"/>
                    <a:pt x="84" y="19"/>
                    <a:pt x="85"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167" name="Oval 112"/>
            <p:cNvSpPr>
              <a:spLocks noChangeArrowheads="1"/>
            </p:cNvSpPr>
            <p:nvPr/>
          </p:nvSpPr>
          <p:spPr bwMode="auto">
            <a:xfrm>
              <a:off x="7146085" y="4125106"/>
              <a:ext cx="391316" cy="391316"/>
            </a:xfrm>
            <a:prstGeom prst="ellipse">
              <a:avLst/>
            </a:pr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169" name="Freeform 114"/>
            <p:cNvSpPr>
              <a:spLocks/>
            </p:cNvSpPr>
            <p:nvPr/>
          </p:nvSpPr>
          <p:spPr bwMode="auto">
            <a:xfrm>
              <a:off x="7034280" y="5752849"/>
              <a:ext cx="450507" cy="134823"/>
            </a:xfrm>
            <a:custGeom>
              <a:avLst/>
              <a:gdLst>
                <a:gd name="T0" fmla="*/ 62 w 98"/>
                <a:gd name="T1" fmla="*/ 0 h 29"/>
                <a:gd name="T2" fmla="*/ 36 w 98"/>
                <a:gd name="T3" fmla="*/ 0 h 29"/>
                <a:gd name="T4" fmla="*/ 0 w 98"/>
                <a:gd name="T5" fmla="*/ 29 h 29"/>
                <a:gd name="T6" fmla="*/ 98 w 98"/>
                <a:gd name="T7" fmla="*/ 29 h 29"/>
                <a:gd name="T8" fmla="*/ 62 w 98"/>
                <a:gd name="T9" fmla="*/ 0 h 29"/>
              </a:gdLst>
              <a:ahLst/>
              <a:cxnLst>
                <a:cxn ang="0">
                  <a:pos x="T0" y="T1"/>
                </a:cxn>
                <a:cxn ang="0">
                  <a:pos x="T2" y="T3"/>
                </a:cxn>
                <a:cxn ang="0">
                  <a:pos x="T4" y="T5"/>
                </a:cxn>
                <a:cxn ang="0">
                  <a:pos x="T6" y="T7"/>
                </a:cxn>
                <a:cxn ang="0">
                  <a:pos x="T8" y="T9"/>
                </a:cxn>
              </a:cxnLst>
              <a:rect l="0" t="0" r="r" b="b"/>
              <a:pathLst>
                <a:path w="98" h="29">
                  <a:moveTo>
                    <a:pt x="62" y="0"/>
                  </a:moveTo>
                  <a:cubicBezTo>
                    <a:pt x="36" y="0"/>
                    <a:pt x="36" y="0"/>
                    <a:pt x="36" y="0"/>
                  </a:cubicBezTo>
                  <a:cubicBezTo>
                    <a:pt x="20" y="4"/>
                    <a:pt x="7" y="15"/>
                    <a:pt x="0" y="29"/>
                  </a:cubicBezTo>
                  <a:cubicBezTo>
                    <a:pt x="98" y="29"/>
                    <a:pt x="98" y="29"/>
                    <a:pt x="98" y="29"/>
                  </a:cubicBezTo>
                  <a:cubicBezTo>
                    <a:pt x="91" y="15"/>
                    <a:pt x="78" y="4"/>
                    <a:pt x="62"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172" name="Freeform 115"/>
            <p:cNvSpPr>
              <a:spLocks/>
            </p:cNvSpPr>
            <p:nvPr/>
          </p:nvSpPr>
          <p:spPr bwMode="auto">
            <a:xfrm>
              <a:off x="7201987" y="5749561"/>
              <a:ext cx="118381" cy="3288"/>
            </a:xfrm>
            <a:custGeom>
              <a:avLst/>
              <a:gdLst>
                <a:gd name="T0" fmla="*/ 13 w 26"/>
                <a:gd name="T1" fmla="*/ 0 h 1"/>
                <a:gd name="T2" fmla="*/ 0 w 26"/>
                <a:gd name="T3" fmla="*/ 1 h 1"/>
                <a:gd name="T4" fmla="*/ 26 w 26"/>
                <a:gd name="T5" fmla="*/ 1 h 1"/>
                <a:gd name="T6" fmla="*/ 13 w 26"/>
                <a:gd name="T7" fmla="*/ 0 h 1"/>
              </a:gdLst>
              <a:ahLst/>
              <a:cxnLst>
                <a:cxn ang="0">
                  <a:pos x="T0" y="T1"/>
                </a:cxn>
                <a:cxn ang="0">
                  <a:pos x="T2" y="T3"/>
                </a:cxn>
                <a:cxn ang="0">
                  <a:pos x="T4" y="T5"/>
                </a:cxn>
                <a:cxn ang="0">
                  <a:pos x="T6" y="T7"/>
                </a:cxn>
              </a:cxnLst>
              <a:rect l="0" t="0" r="r" b="b"/>
              <a:pathLst>
                <a:path w="26" h="1">
                  <a:moveTo>
                    <a:pt x="13" y="0"/>
                  </a:moveTo>
                  <a:cubicBezTo>
                    <a:pt x="8" y="0"/>
                    <a:pt x="4" y="0"/>
                    <a:pt x="0" y="1"/>
                  </a:cubicBezTo>
                  <a:cubicBezTo>
                    <a:pt x="26" y="1"/>
                    <a:pt x="26" y="1"/>
                    <a:pt x="26" y="1"/>
                  </a:cubicBezTo>
                  <a:cubicBezTo>
                    <a:pt x="22" y="0"/>
                    <a:pt x="17" y="0"/>
                    <a:pt x="13"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176" name="Freeform 116"/>
            <p:cNvSpPr>
              <a:spLocks/>
            </p:cNvSpPr>
            <p:nvPr/>
          </p:nvSpPr>
          <p:spPr bwMode="auto">
            <a:xfrm>
              <a:off x="7017838" y="6068533"/>
              <a:ext cx="486679" cy="167707"/>
            </a:xfrm>
            <a:custGeom>
              <a:avLst/>
              <a:gdLst>
                <a:gd name="T0" fmla="*/ 106 w 106"/>
                <a:gd name="T1" fmla="*/ 0 h 37"/>
                <a:gd name="T2" fmla="*/ 0 w 106"/>
                <a:gd name="T3" fmla="*/ 0 h 37"/>
                <a:gd name="T4" fmla="*/ 32 w 106"/>
                <a:gd name="T5" fmla="*/ 36 h 37"/>
                <a:gd name="T6" fmla="*/ 32 w 106"/>
                <a:gd name="T7" fmla="*/ 24 h 37"/>
                <a:gd name="T8" fmla="*/ 71 w 106"/>
                <a:gd name="T9" fmla="*/ 24 h 37"/>
                <a:gd name="T10" fmla="*/ 71 w 106"/>
                <a:gd name="T11" fmla="*/ 37 h 37"/>
                <a:gd name="T12" fmla="*/ 106 w 106"/>
                <a:gd name="T13" fmla="*/ 0 h 37"/>
              </a:gdLst>
              <a:ahLst/>
              <a:cxnLst>
                <a:cxn ang="0">
                  <a:pos x="T0" y="T1"/>
                </a:cxn>
                <a:cxn ang="0">
                  <a:pos x="T2" y="T3"/>
                </a:cxn>
                <a:cxn ang="0">
                  <a:pos x="T4" y="T5"/>
                </a:cxn>
                <a:cxn ang="0">
                  <a:pos x="T6" y="T7"/>
                </a:cxn>
                <a:cxn ang="0">
                  <a:pos x="T8" y="T9"/>
                </a:cxn>
                <a:cxn ang="0">
                  <a:pos x="T10" y="T11"/>
                </a:cxn>
                <a:cxn ang="0">
                  <a:pos x="T12" y="T13"/>
                </a:cxn>
              </a:cxnLst>
              <a:rect l="0" t="0" r="r" b="b"/>
              <a:pathLst>
                <a:path w="106" h="37">
                  <a:moveTo>
                    <a:pt x="106" y="0"/>
                  </a:moveTo>
                  <a:cubicBezTo>
                    <a:pt x="0" y="0"/>
                    <a:pt x="0" y="0"/>
                    <a:pt x="0" y="0"/>
                  </a:cubicBezTo>
                  <a:cubicBezTo>
                    <a:pt x="4" y="16"/>
                    <a:pt x="16" y="30"/>
                    <a:pt x="32" y="36"/>
                  </a:cubicBezTo>
                  <a:cubicBezTo>
                    <a:pt x="32" y="24"/>
                    <a:pt x="32" y="24"/>
                    <a:pt x="32" y="24"/>
                  </a:cubicBezTo>
                  <a:cubicBezTo>
                    <a:pt x="71" y="24"/>
                    <a:pt x="71" y="24"/>
                    <a:pt x="71" y="24"/>
                  </a:cubicBezTo>
                  <a:cubicBezTo>
                    <a:pt x="71" y="37"/>
                    <a:pt x="71" y="37"/>
                    <a:pt x="71" y="37"/>
                  </a:cubicBezTo>
                  <a:cubicBezTo>
                    <a:pt x="88" y="31"/>
                    <a:pt x="101" y="17"/>
                    <a:pt x="106"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177" name="Freeform 117"/>
            <p:cNvSpPr>
              <a:spLocks/>
            </p:cNvSpPr>
            <p:nvPr/>
          </p:nvSpPr>
          <p:spPr bwMode="auto">
            <a:xfrm>
              <a:off x="7162527" y="6177049"/>
              <a:ext cx="180860" cy="75633"/>
            </a:xfrm>
            <a:custGeom>
              <a:avLst/>
              <a:gdLst>
                <a:gd name="T0" fmla="*/ 39 w 39"/>
                <a:gd name="T1" fmla="*/ 0 h 16"/>
                <a:gd name="T2" fmla="*/ 0 w 39"/>
                <a:gd name="T3" fmla="*/ 0 h 16"/>
                <a:gd name="T4" fmla="*/ 0 w 39"/>
                <a:gd name="T5" fmla="*/ 12 h 16"/>
                <a:gd name="T6" fmla="*/ 21 w 39"/>
                <a:gd name="T7" fmla="*/ 16 h 16"/>
                <a:gd name="T8" fmla="*/ 39 w 39"/>
                <a:gd name="T9" fmla="*/ 13 h 16"/>
                <a:gd name="T10" fmla="*/ 39 w 39"/>
                <a:gd name="T11" fmla="*/ 0 h 16"/>
              </a:gdLst>
              <a:ahLst/>
              <a:cxnLst>
                <a:cxn ang="0">
                  <a:pos x="T0" y="T1"/>
                </a:cxn>
                <a:cxn ang="0">
                  <a:pos x="T2" y="T3"/>
                </a:cxn>
                <a:cxn ang="0">
                  <a:pos x="T4" y="T5"/>
                </a:cxn>
                <a:cxn ang="0">
                  <a:pos x="T6" y="T7"/>
                </a:cxn>
                <a:cxn ang="0">
                  <a:pos x="T8" y="T9"/>
                </a:cxn>
                <a:cxn ang="0">
                  <a:pos x="T10" y="T11"/>
                </a:cxn>
              </a:cxnLst>
              <a:rect l="0" t="0" r="r" b="b"/>
              <a:pathLst>
                <a:path w="39" h="16">
                  <a:moveTo>
                    <a:pt x="39" y="0"/>
                  </a:moveTo>
                  <a:cubicBezTo>
                    <a:pt x="0" y="0"/>
                    <a:pt x="0" y="0"/>
                    <a:pt x="0" y="0"/>
                  </a:cubicBezTo>
                  <a:cubicBezTo>
                    <a:pt x="0" y="12"/>
                    <a:pt x="0" y="12"/>
                    <a:pt x="0" y="12"/>
                  </a:cubicBezTo>
                  <a:cubicBezTo>
                    <a:pt x="7" y="15"/>
                    <a:pt x="14" y="16"/>
                    <a:pt x="21" y="16"/>
                  </a:cubicBezTo>
                  <a:cubicBezTo>
                    <a:pt x="27" y="16"/>
                    <a:pt x="34" y="15"/>
                    <a:pt x="39" y="13"/>
                  </a:cubicBezTo>
                  <a:cubicBezTo>
                    <a:pt x="39" y="0"/>
                    <a:pt x="39" y="0"/>
                    <a:pt x="39"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178" name="Freeform 118"/>
            <p:cNvSpPr>
              <a:spLocks/>
            </p:cNvSpPr>
            <p:nvPr/>
          </p:nvSpPr>
          <p:spPr bwMode="auto">
            <a:xfrm>
              <a:off x="7007973" y="5887673"/>
              <a:ext cx="506409" cy="180860"/>
            </a:xfrm>
            <a:custGeom>
              <a:avLst/>
              <a:gdLst>
                <a:gd name="T0" fmla="*/ 104 w 110"/>
                <a:gd name="T1" fmla="*/ 0 h 39"/>
                <a:gd name="T2" fmla="*/ 6 w 110"/>
                <a:gd name="T3" fmla="*/ 0 h 39"/>
                <a:gd name="T4" fmla="*/ 0 w 110"/>
                <a:gd name="T5" fmla="*/ 25 h 39"/>
                <a:gd name="T6" fmla="*/ 2 w 110"/>
                <a:gd name="T7" fmla="*/ 39 h 39"/>
                <a:gd name="T8" fmla="*/ 108 w 110"/>
                <a:gd name="T9" fmla="*/ 39 h 39"/>
                <a:gd name="T10" fmla="*/ 110 w 110"/>
                <a:gd name="T11" fmla="*/ 25 h 39"/>
                <a:gd name="T12" fmla="*/ 104 w 110"/>
                <a:gd name="T13" fmla="*/ 0 h 39"/>
              </a:gdLst>
              <a:ahLst/>
              <a:cxnLst>
                <a:cxn ang="0">
                  <a:pos x="T0" y="T1"/>
                </a:cxn>
                <a:cxn ang="0">
                  <a:pos x="T2" y="T3"/>
                </a:cxn>
                <a:cxn ang="0">
                  <a:pos x="T4" y="T5"/>
                </a:cxn>
                <a:cxn ang="0">
                  <a:pos x="T6" y="T7"/>
                </a:cxn>
                <a:cxn ang="0">
                  <a:pos x="T8" y="T9"/>
                </a:cxn>
                <a:cxn ang="0">
                  <a:pos x="T10" y="T11"/>
                </a:cxn>
                <a:cxn ang="0">
                  <a:pos x="T12" y="T13"/>
                </a:cxn>
              </a:cxnLst>
              <a:rect l="0" t="0" r="r" b="b"/>
              <a:pathLst>
                <a:path w="110" h="39">
                  <a:moveTo>
                    <a:pt x="104" y="0"/>
                  </a:moveTo>
                  <a:cubicBezTo>
                    <a:pt x="6" y="0"/>
                    <a:pt x="6" y="0"/>
                    <a:pt x="6" y="0"/>
                  </a:cubicBezTo>
                  <a:cubicBezTo>
                    <a:pt x="2" y="7"/>
                    <a:pt x="0" y="16"/>
                    <a:pt x="0" y="25"/>
                  </a:cubicBezTo>
                  <a:cubicBezTo>
                    <a:pt x="0" y="29"/>
                    <a:pt x="1" y="34"/>
                    <a:pt x="2" y="39"/>
                  </a:cubicBezTo>
                  <a:cubicBezTo>
                    <a:pt x="108" y="39"/>
                    <a:pt x="108" y="39"/>
                    <a:pt x="108" y="39"/>
                  </a:cubicBezTo>
                  <a:cubicBezTo>
                    <a:pt x="109" y="34"/>
                    <a:pt x="110" y="29"/>
                    <a:pt x="110" y="25"/>
                  </a:cubicBezTo>
                  <a:cubicBezTo>
                    <a:pt x="110" y="16"/>
                    <a:pt x="108" y="7"/>
                    <a:pt x="104"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179" name="Oval 119"/>
            <p:cNvSpPr>
              <a:spLocks noChangeArrowheads="1"/>
            </p:cNvSpPr>
            <p:nvPr/>
          </p:nvSpPr>
          <p:spPr bwMode="auto">
            <a:xfrm>
              <a:off x="6915899" y="5654198"/>
              <a:ext cx="499832" cy="506409"/>
            </a:xfrm>
            <a:prstGeom prst="ellipse">
              <a:avLst/>
            </a:pr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224" name="Freeform 109"/>
            <p:cNvSpPr/>
            <p:nvPr/>
          </p:nvSpPr>
          <p:spPr>
            <a:xfrm flipH="1">
              <a:off x="6518403" y="3324199"/>
              <a:ext cx="314891" cy="460748"/>
            </a:xfrm>
            <a:custGeom>
              <a:avLst/>
              <a:gdLst>
                <a:gd name="connsiteX0" fmla="*/ 3284673 w 3284673"/>
                <a:gd name="connsiteY0" fmla="*/ 701841 h 4806110"/>
                <a:gd name="connsiteX1" fmla="*/ 3284671 w 3284673"/>
                <a:gd name="connsiteY1" fmla="*/ 701843 h 4806110"/>
                <a:gd name="connsiteX2" fmla="*/ 3284671 w 3284673"/>
                <a:gd name="connsiteY2" fmla="*/ 701841 h 4806110"/>
                <a:gd name="connsiteX3" fmla="*/ 3284669 w 3284673"/>
                <a:gd name="connsiteY3" fmla="*/ 701842 h 4806110"/>
                <a:gd name="connsiteX4" fmla="*/ 3284669 w 3284673"/>
                <a:gd name="connsiteY4" fmla="*/ 701841 h 4806110"/>
                <a:gd name="connsiteX5" fmla="*/ 3195823 w 3284673"/>
                <a:gd name="connsiteY5" fmla="*/ 779666 h 4806110"/>
                <a:gd name="connsiteX6" fmla="*/ 2143690 w 3284673"/>
                <a:gd name="connsiteY6" fmla="*/ 1039044 h 4806110"/>
                <a:gd name="connsiteX7" fmla="*/ 1642337 w 3284673"/>
                <a:gd name="connsiteY7" fmla="*/ 1059655 h 4806110"/>
                <a:gd name="connsiteX8" fmla="*/ 1140983 w 3284673"/>
                <a:gd name="connsiteY8" fmla="*/ 1039044 h 4806110"/>
                <a:gd name="connsiteX9" fmla="*/ 508725 w 3284673"/>
                <a:gd name="connsiteY9" fmla="*/ 940562 h 4806110"/>
                <a:gd name="connsiteX10" fmla="*/ 395039 w 3284673"/>
                <a:gd name="connsiteY10" fmla="*/ 909279 h 4806110"/>
                <a:gd name="connsiteX11" fmla="*/ 380829 w 3284673"/>
                <a:gd name="connsiteY11" fmla="*/ 905369 h 4806110"/>
                <a:gd name="connsiteX12" fmla="*/ 88851 w 3284673"/>
                <a:gd name="connsiteY12" fmla="*/ 779666 h 4806110"/>
                <a:gd name="connsiteX13" fmla="*/ 59720 w 3284673"/>
                <a:gd name="connsiteY13" fmla="*/ 754150 h 4806110"/>
                <a:gd name="connsiteX14" fmla="*/ 4 w 3284673"/>
                <a:gd name="connsiteY14" fmla="*/ 701841 h 4806110"/>
                <a:gd name="connsiteX15" fmla="*/ 4 w 3284673"/>
                <a:gd name="connsiteY15" fmla="*/ 701842 h 4806110"/>
                <a:gd name="connsiteX16" fmla="*/ 2 w 3284673"/>
                <a:gd name="connsiteY16" fmla="*/ 701841 h 4806110"/>
                <a:gd name="connsiteX17" fmla="*/ 2 w 3284673"/>
                <a:gd name="connsiteY17" fmla="*/ 701843 h 4806110"/>
                <a:gd name="connsiteX18" fmla="*/ 0 w 3284673"/>
                <a:gd name="connsiteY18" fmla="*/ 701841 h 4806110"/>
                <a:gd name="connsiteX19" fmla="*/ 0 w 3284673"/>
                <a:gd name="connsiteY19" fmla="*/ 1053189 h 4806110"/>
                <a:gd name="connsiteX20" fmla="*/ 2 w 3284673"/>
                <a:gd name="connsiteY20" fmla="*/ 1053191 h 4806110"/>
                <a:gd name="connsiteX21" fmla="*/ 2 w 3284673"/>
                <a:gd name="connsiteY21" fmla="*/ 1918845 h 4806110"/>
                <a:gd name="connsiteX22" fmla="*/ 2 w 3284673"/>
                <a:gd name="connsiteY22" fmla="*/ 2181795 h 4806110"/>
                <a:gd name="connsiteX23" fmla="*/ 2 w 3284673"/>
                <a:gd name="connsiteY23" fmla="*/ 2551024 h 4806110"/>
                <a:gd name="connsiteX24" fmla="*/ 4 w 3284673"/>
                <a:gd name="connsiteY24" fmla="*/ 2551025 h 4806110"/>
                <a:gd name="connsiteX25" fmla="*/ 4 w 3284673"/>
                <a:gd name="connsiteY25" fmla="*/ 2920828 h 4806110"/>
                <a:gd name="connsiteX26" fmla="*/ 4 w 3284673"/>
                <a:gd name="connsiteY26" fmla="*/ 3146226 h 4806110"/>
                <a:gd name="connsiteX27" fmla="*/ 0 w 3284673"/>
                <a:gd name="connsiteY27" fmla="*/ 3146222 h 4806110"/>
                <a:gd name="connsiteX28" fmla="*/ 0 w 3284673"/>
                <a:gd name="connsiteY28" fmla="*/ 3169359 h 4806110"/>
                <a:gd name="connsiteX29" fmla="*/ 4 w 3284673"/>
                <a:gd name="connsiteY29" fmla="*/ 3169359 h 4806110"/>
                <a:gd name="connsiteX30" fmla="*/ 4 w 3284673"/>
                <a:gd name="connsiteY30" fmla="*/ 3398798 h 4806110"/>
                <a:gd name="connsiteX31" fmla="*/ 4 w 3284673"/>
                <a:gd name="connsiteY31" fmla="*/ 3719407 h 4806110"/>
                <a:gd name="connsiteX32" fmla="*/ 0 w 3284673"/>
                <a:gd name="connsiteY32" fmla="*/ 3719407 h 4806110"/>
                <a:gd name="connsiteX33" fmla="*/ 0 w 3284673"/>
                <a:gd name="connsiteY33" fmla="*/ 4400783 h 4806110"/>
                <a:gd name="connsiteX34" fmla="*/ 1642335 w 3284673"/>
                <a:gd name="connsiteY34" fmla="*/ 4806110 h 4806110"/>
                <a:gd name="connsiteX35" fmla="*/ 1642339 w 3284673"/>
                <a:gd name="connsiteY35" fmla="*/ 4806110 h 4806110"/>
                <a:gd name="connsiteX36" fmla="*/ 3284673 w 3284673"/>
                <a:gd name="connsiteY36" fmla="*/ 4400783 h 4806110"/>
                <a:gd name="connsiteX37" fmla="*/ 3284673 w 3284673"/>
                <a:gd name="connsiteY37" fmla="*/ 3719407 h 4806110"/>
                <a:gd name="connsiteX38" fmla="*/ 3284669 w 3284673"/>
                <a:gd name="connsiteY38" fmla="*/ 3719407 h 4806110"/>
                <a:gd name="connsiteX39" fmla="*/ 3284669 w 3284673"/>
                <a:gd name="connsiteY39" fmla="*/ 3398798 h 4806110"/>
                <a:gd name="connsiteX40" fmla="*/ 3284669 w 3284673"/>
                <a:gd name="connsiteY40" fmla="*/ 3169359 h 4806110"/>
                <a:gd name="connsiteX41" fmla="*/ 3284673 w 3284673"/>
                <a:gd name="connsiteY41" fmla="*/ 3169359 h 4806110"/>
                <a:gd name="connsiteX42" fmla="*/ 3284673 w 3284673"/>
                <a:gd name="connsiteY42" fmla="*/ 3146222 h 4806110"/>
                <a:gd name="connsiteX43" fmla="*/ 3284669 w 3284673"/>
                <a:gd name="connsiteY43" fmla="*/ 3146226 h 4806110"/>
                <a:gd name="connsiteX44" fmla="*/ 3284669 w 3284673"/>
                <a:gd name="connsiteY44" fmla="*/ 2920828 h 4806110"/>
                <a:gd name="connsiteX45" fmla="*/ 3284669 w 3284673"/>
                <a:gd name="connsiteY45" fmla="*/ 2551025 h 4806110"/>
                <a:gd name="connsiteX46" fmla="*/ 3284671 w 3284673"/>
                <a:gd name="connsiteY46" fmla="*/ 2551024 h 4806110"/>
                <a:gd name="connsiteX47" fmla="*/ 3284671 w 3284673"/>
                <a:gd name="connsiteY47" fmla="*/ 2181795 h 4806110"/>
                <a:gd name="connsiteX48" fmla="*/ 3284671 w 3284673"/>
                <a:gd name="connsiteY48" fmla="*/ 1918845 h 4806110"/>
                <a:gd name="connsiteX49" fmla="*/ 3284671 w 3284673"/>
                <a:gd name="connsiteY49" fmla="*/ 1053191 h 4806110"/>
                <a:gd name="connsiteX50" fmla="*/ 3284673 w 3284673"/>
                <a:gd name="connsiteY50" fmla="*/ 1053189 h 4806110"/>
                <a:gd name="connsiteX51" fmla="*/ 1642339 w 3284673"/>
                <a:gd name="connsiteY51" fmla="*/ 0 h 4806110"/>
                <a:gd name="connsiteX52" fmla="*/ 1642335 w 3284673"/>
                <a:gd name="connsiteY52" fmla="*/ 0 h 4806110"/>
                <a:gd name="connsiteX53" fmla="*/ 0 w 3284673"/>
                <a:gd name="connsiteY53" fmla="*/ 458431 h 4806110"/>
                <a:gd name="connsiteX54" fmla="*/ 1642335 w 3284673"/>
                <a:gd name="connsiteY54" fmla="*/ 916862 h 4806110"/>
                <a:gd name="connsiteX55" fmla="*/ 1642339 w 3284673"/>
                <a:gd name="connsiteY55" fmla="*/ 916862 h 4806110"/>
                <a:gd name="connsiteX56" fmla="*/ 3284673 w 3284673"/>
                <a:gd name="connsiteY56" fmla="*/ 458431 h 4806110"/>
                <a:gd name="connsiteX57" fmla="*/ 1642339 w 3284673"/>
                <a:gd name="connsiteY57" fmla="*/ 0 h 48061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3284673" h="4806110">
                  <a:moveTo>
                    <a:pt x="3284673" y="701841"/>
                  </a:moveTo>
                  <a:lnTo>
                    <a:pt x="3284671" y="701843"/>
                  </a:lnTo>
                  <a:lnTo>
                    <a:pt x="3284671" y="701841"/>
                  </a:lnTo>
                  <a:lnTo>
                    <a:pt x="3284669" y="701842"/>
                  </a:lnTo>
                  <a:lnTo>
                    <a:pt x="3284669" y="701841"/>
                  </a:lnTo>
                  <a:lnTo>
                    <a:pt x="3195823" y="779666"/>
                  </a:lnTo>
                  <a:cubicBezTo>
                    <a:pt x="3003862" y="903069"/>
                    <a:pt x="2618829" y="998859"/>
                    <a:pt x="2143690" y="1039044"/>
                  </a:cubicBezTo>
                  <a:lnTo>
                    <a:pt x="1642337" y="1059655"/>
                  </a:lnTo>
                  <a:lnTo>
                    <a:pt x="1140983" y="1039044"/>
                  </a:lnTo>
                  <a:cubicBezTo>
                    <a:pt x="903413" y="1018952"/>
                    <a:pt x="688370" y="984958"/>
                    <a:pt x="508725" y="940562"/>
                  </a:cubicBezTo>
                  <a:lnTo>
                    <a:pt x="395039" y="909279"/>
                  </a:lnTo>
                  <a:lnTo>
                    <a:pt x="380829" y="905369"/>
                  </a:lnTo>
                  <a:cubicBezTo>
                    <a:pt x="259972" y="868335"/>
                    <a:pt x="160836" y="825942"/>
                    <a:pt x="88851" y="779666"/>
                  </a:cubicBezTo>
                  <a:lnTo>
                    <a:pt x="59720" y="754150"/>
                  </a:lnTo>
                  <a:lnTo>
                    <a:pt x="4" y="701841"/>
                  </a:lnTo>
                  <a:lnTo>
                    <a:pt x="4" y="701842"/>
                  </a:lnTo>
                  <a:lnTo>
                    <a:pt x="2" y="701841"/>
                  </a:lnTo>
                  <a:lnTo>
                    <a:pt x="2" y="701843"/>
                  </a:lnTo>
                  <a:lnTo>
                    <a:pt x="0" y="701841"/>
                  </a:lnTo>
                  <a:lnTo>
                    <a:pt x="0" y="1053189"/>
                  </a:lnTo>
                  <a:lnTo>
                    <a:pt x="2" y="1053191"/>
                  </a:lnTo>
                  <a:lnTo>
                    <a:pt x="2" y="1918845"/>
                  </a:lnTo>
                  <a:lnTo>
                    <a:pt x="2" y="2181795"/>
                  </a:lnTo>
                  <a:lnTo>
                    <a:pt x="2" y="2551024"/>
                  </a:lnTo>
                  <a:lnTo>
                    <a:pt x="4" y="2551025"/>
                  </a:lnTo>
                  <a:lnTo>
                    <a:pt x="4" y="2920828"/>
                  </a:lnTo>
                  <a:lnTo>
                    <a:pt x="4" y="3146226"/>
                  </a:lnTo>
                  <a:lnTo>
                    <a:pt x="0" y="3146222"/>
                  </a:lnTo>
                  <a:lnTo>
                    <a:pt x="0" y="3169359"/>
                  </a:lnTo>
                  <a:lnTo>
                    <a:pt x="4" y="3169359"/>
                  </a:lnTo>
                  <a:lnTo>
                    <a:pt x="4" y="3398798"/>
                  </a:lnTo>
                  <a:lnTo>
                    <a:pt x="4" y="3719407"/>
                  </a:lnTo>
                  <a:lnTo>
                    <a:pt x="0" y="3719407"/>
                  </a:lnTo>
                  <a:lnTo>
                    <a:pt x="0" y="4400783"/>
                  </a:lnTo>
                  <a:cubicBezTo>
                    <a:pt x="0" y="4624721"/>
                    <a:pt x="735436" y="4806110"/>
                    <a:pt x="1642335" y="4806110"/>
                  </a:cubicBezTo>
                  <a:lnTo>
                    <a:pt x="1642339" y="4806110"/>
                  </a:lnTo>
                  <a:cubicBezTo>
                    <a:pt x="2549237" y="4806110"/>
                    <a:pt x="3284673" y="4624721"/>
                    <a:pt x="3284673" y="4400783"/>
                  </a:cubicBezTo>
                  <a:lnTo>
                    <a:pt x="3284673" y="3719407"/>
                  </a:lnTo>
                  <a:lnTo>
                    <a:pt x="3284669" y="3719407"/>
                  </a:lnTo>
                  <a:lnTo>
                    <a:pt x="3284669" y="3398798"/>
                  </a:lnTo>
                  <a:lnTo>
                    <a:pt x="3284669" y="3169359"/>
                  </a:lnTo>
                  <a:lnTo>
                    <a:pt x="3284673" y="3169359"/>
                  </a:lnTo>
                  <a:lnTo>
                    <a:pt x="3284673" y="3146222"/>
                  </a:lnTo>
                  <a:lnTo>
                    <a:pt x="3284669" y="3146226"/>
                  </a:lnTo>
                  <a:lnTo>
                    <a:pt x="3284669" y="2920828"/>
                  </a:lnTo>
                  <a:lnTo>
                    <a:pt x="3284669" y="2551025"/>
                  </a:lnTo>
                  <a:lnTo>
                    <a:pt x="3284671" y="2551024"/>
                  </a:lnTo>
                  <a:lnTo>
                    <a:pt x="3284671" y="2181795"/>
                  </a:lnTo>
                  <a:lnTo>
                    <a:pt x="3284671" y="1918845"/>
                  </a:lnTo>
                  <a:lnTo>
                    <a:pt x="3284671" y="1053191"/>
                  </a:lnTo>
                  <a:lnTo>
                    <a:pt x="3284673" y="1053189"/>
                  </a:lnTo>
                  <a:close/>
                  <a:moveTo>
                    <a:pt x="1642339" y="0"/>
                  </a:moveTo>
                  <a:lnTo>
                    <a:pt x="1642335" y="0"/>
                  </a:lnTo>
                  <a:cubicBezTo>
                    <a:pt x="735297" y="0"/>
                    <a:pt x="0" y="205248"/>
                    <a:pt x="0" y="458431"/>
                  </a:cubicBezTo>
                  <a:cubicBezTo>
                    <a:pt x="0" y="711614"/>
                    <a:pt x="735297" y="916862"/>
                    <a:pt x="1642335" y="916862"/>
                  </a:cubicBezTo>
                  <a:lnTo>
                    <a:pt x="1642339" y="916862"/>
                  </a:lnTo>
                  <a:cubicBezTo>
                    <a:pt x="2549376" y="916862"/>
                    <a:pt x="3284673" y="711614"/>
                    <a:pt x="3284673" y="458431"/>
                  </a:cubicBezTo>
                  <a:cubicBezTo>
                    <a:pt x="3284673" y="205248"/>
                    <a:pt x="2549376" y="0"/>
                    <a:pt x="1642339"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16" tIns="45708" rIns="91416" bIns="45708" numCol="1" spcCol="0" rtlCol="0" fromWordArt="0" anchor="ctr"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ctr" defTabSz="914126"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solidFill>
                  <a:prstClr val="white"/>
                </a:solidFill>
                <a:effectLst/>
                <a:uLnTx/>
                <a:uFillTx/>
                <a:latin typeface="+mn-lt"/>
                <a:ea typeface="+mn-ea"/>
                <a:cs typeface="+mn-cs"/>
              </a:endParaRPr>
            </a:p>
          </p:txBody>
        </p:sp>
        <p:sp>
          <p:nvSpPr>
            <p:cNvPr id="227" name="Freeform 533"/>
            <p:cNvSpPr/>
            <p:nvPr/>
          </p:nvSpPr>
          <p:spPr bwMode="auto">
            <a:xfrm>
              <a:off x="6991005" y="5732592"/>
              <a:ext cx="349621" cy="349620"/>
            </a:xfrm>
            <a:custGeom>
              <a:avLst/>
              <a:gdLst/>
              <a:ahLst/>
              <a:cxnLst/>
              <a:rect l="l" t="t" r="r" b="b"/>
              <a:pathLst>
                <a:path w="3771688" h="3771678">
                  <a:moveTo>
                    <a:pt x="1170813" y="2357992"/>
                  </a:moveTo>
                  <a:cubicBezTo>
                    <a:pt x="1111992" y="2382777"/>
                    <a:pt x="1047346" y="2396330"/>
                    <a:pt x="979535" y="2396330"/>
                  </a:cubicBezTo>
                  <a:lnTo>
                    <a:pt x="966453" y="2395012"/>
                  </a:lnTo>
                  <a:cubicBezTo>
                    <a:pt x="883319" y="2612303"/>
                    <a:pt x="833420" y="2858368"/>
                    <a:pt x="826353" y="3135160"/>
                  </a:cubicBezTo>
                  <a:cubicBezTo>
                    <a:pt x="1111538" y="3378474"/>
                    <a:pt x="1481600" y="3524821"/>
                    <a:pt x="1885843" y="3524821"/>
                  </a:cubicBezTo>
                  <a:cubicBezTo>
                    <a:pt x="2339009" y="3524821"/>
                    <a:pt x="2749219" y="3340908"/>
                    <a:pt x="3045852" y="3043597"/>
                  </a:cubicBezTo>
                  <a:cubicBezTo>
                    <a:pt x="2805887" y="3038579"/>
                    <a:pt x="2587112" y="3013186"/>
                    <a:pt x="2388278" y="2969814"/>
                  </a:cubicBezTo>
                  <a:cubicBezTo>
                    <a:pt x="2331347" y="3055619"/>
                    <a:pt x="2233838" y="3112082"/>
                    <a:pt x="2123141" y="3112082"/>
                  </a:cubicBezTo>
                  <a:cubicBezTo>
                    <a:pt x="1947210" y="3112082"/>
                    <a:pt x="1804590" y="2969463"/>
                    <a:pt x="1804590" y="2793533"/>
                  </a:cubicBezTo>
                  <a:lnTo>
                    <a:pt x="1805949" y="2780055"/>
                  </a:lnTo>
                  <a:cubicBezTo>
                    <a:pt x="1549285" y="2666155"/>
                    <a:pt x="1340216" y="2518864"/>
                    <a:pt x="1170813" y="2357992"/>
                  </a:cubicBezTo>
                  <a:close/>
                  <a:moveTo>
                    <a:pt x="1917963" y="1269900"/>
                  </a:moveTo>
                  <a:cubicBezTo>
                    <a:pt x="1742858" y="1377541"/>
                    <a:pt x="1571623" y="1510227"/>
                    <a:pt x="1421807" y="1673923"/>
                  </a:cubicBezTo>
                  <a:cubicBezTo>
                    <a:pt x="1458137" y="1740622"/>
                    <a:pt x="1477533" y="1817212"/>
                    <a:pt x="1477533" y="1898333"/>
                  </a:cubicBezTo>
                  <a:cubicBezTo>
                    <a:pt x="1477533" y="1995213"/>
                    <a:pt x="1449869" y="2085631"/>
                    <a:pt x="1400834" y="2161383"/>
                  </a:cubicBezTo>
                  <a:cubicBezTo>
                    <a:pt x="1556230" y="2298906"/>
                    <a:pt x="1738753" y="2424541"/>
                    <a:pt x="1949562" y="2526931"/>
                  </a:cubicBezTo>
                  <a:cubicBezTo>
                    <a:pt x="1999298" y="2493937"/>
                    <a:pt x="2059006" y="2474984"/>
                    <a:pt x="2123141" y="2474984"/>
                  </a:cubicBezTo>
                  <a:cubicBezTo>
                    <a:pt x="2266947" y="2474984"/>
                    <a:pt x="2388496" y="2570273"/>
                    <a:pt x="2426612" y="2701602"/>
                  </a:cubicBezTo>
                  <a:cubicBezTo>
                    <a:pt x="2672548" y="2766286"/>
                    <a:pt x="2946719" y="2800378"/>
                    <a:pt x="3250025" y="2793803"/>
                  </a:cubicBezTo>
                  <a:cubicBezTo>
                    <a:pt x="3324551" y="2682855"/>
                    <a:pt x="3385478" y="2562082"/>
                    <a:pt x="3429138" y="2433348"/>
                  </a:cubicBezTo>
                  <a:cubicBezTo>
                    <a:pt x="3338857" y="2361270"/>
                    <a:pt x="3226294" y="2282273"/>
                    <a:pt x="3097462" y="2192900"/>
                  </a:cubicBezTo>
                  <a:cubicBezTo>
                    <a:pt x="3035056" y="2253619"/>
                    <a:pt x="2949762" y="2290655"/>
                    <a:pt x="2855817" y="2290655"/>
                  </a:cubicBezTo>
                  <a:cubicBezTo>
                    <a:pt x="2662639" y="2290655"/>
                    <a:pt x="2506038" y="2134055"/>
                    <a:pt x="2506038" y="1940878"/>
                  </a:cubicBezTo>
                  <a:cubicBezTo>
                    <a:pt x="2506038" y="1888016"/>
                    <a:pt x="2517765" y="1837892"/>
                    <a:pt x="2539677" y="1793396"/>
                  </a:cubicBezTo>
                  <a:cubicBezTo>
                    <a:pt x="2341462" y="1643986"/>
                    <a:pt x="2130574" y="1471504"/>
                    <a:pt x="1917963" y="1269900"/>
                  </a:cubicBezTo>
                  <a:close/>
                  <a:moveTo>
                    <a:pt x="513102" y="991965"/>
                  </a:moveTo>
                  <a:cubicBezTo>
                    <a:pt x="344394" y="1248586"/>
                    <a:pt x="246856" y="1555822"/>
                    <a:pt x="246856" y="1885839"/>
                  </a:cubicBezTo>
                  <a:cubicBezTo>
                    <a:pt x="246856" y="2228384"/>
                    <a:pt x="351940" y="2546384"/>
                    <a:pt x="531953" y="2809142"/>
                  </a:cubicBezTo>
                  <a:cubicBezTo>
                    <a:pt x="549141" y="2611547"/>
                    <a:pt x="584950" y="2428200"/>
                    <a:pt x="638399" y="2259547"/>
                  </a:cubicBezTo>
                  <a:cubicBezTo>
                    <a:pt x="541504" y="2169601"/>
                    <a:pt x="481537" y="2040970"/>
                    <a:pt x="481537" y="1898333"/>
                  </a:cubicBezTo>
                  <a:cubicBezTo>
                    <a:pt x="481537" y="1763870"/>
                    <a:pt x="534828" y="1641853"/>
                    <a:pt x="621976" y="1552767"/>
                  </a:cubicBezTo>
                  <a:cubicBezTo>
                    <a:pt x="525006" y="1308454"/>
                    <a:pt x="497710" y="1099531"/>
                    <a:pt x="513102" y="991965"/>
                  </a:cubicBezTo>
                  <a:close/>
                  <a:moveTo>
                    <a:pt x="3156081" y="850671"/>
                  </a:moveTo>
                  <a:cubicBezTo>
                    <a:pt x="2974938" y="846231"/>
                    <a:pt x="2570313" y="925816"/>
                    <a:pt x="2149056" y="1140246"/>
                  </a:cubicBezTo>
                  <a:cubicBezTo>
                    <a:pt x="2305862" y="1298314"/>
                    <a:pt x="2480556" y="1465085"/>
                    <a:pt x="2679283" y="1640508"/>
                  </a:cubicBezTo>
                  <a:cubicBezTo>
                    <a:pt x="2730538" y="1608663"/>
                    <a:pt x="2791127" y="1591101"/>
                    <a:pt x="2855817" y="1591101"/>
                  </a:cubicBezTo>
                  <a:cubicBezTo>
                    <a:pt x="3048995" y="1591101"/>
                    <a:pt x="3205596" y="1747701"/>
                    <a:pt x="3205596" y="1940878"/>
                  </a:cubicBezTo>
                  <a:cubicBezTo>
                    <a:pt x="3205596" y="1983725"/>
                    <a:pt x="3197892" y="2024773"/>
                    <a:pt x="3182681" y="2062298"/>
                  </a:cubicBezTo>
                  <a:cubicBezTo>
                    <a:pt x="3274893" y="2136338"/>
                    <a:pt x="3371714" y="2211317"/>
                    <a:pt x="3473137" y="2287690"/>
                  </a:cubicBezTo>
                  <a:cubicBezTo>
                    <a:pt x="3507571" y="2159450"/>
                    <a:pt x="3524830" y="2024660"/>
                    <a:pt x="3524830" y="1885839"/>
                  </a:cubicBezTo>
                  <a:cubicBezTo>
                    <a:pt x="3524830" y="1493128"/>
                    <a:pt x="3386712" y="1132675"/>
                    <a:pt x="3156081" y="850671"/>
                  </a:cubicBezTo>
                  <a:close/>
                  <a:moveTo>
                    <a:pt x="1167372" y="414437"/>
                  </a:moveTo>
                  <a:cubicBezTo>
                    <a:pt x="994754" y="496757"/>
                    <a:pt x="839843" y="609954"/>
                    <a:pt x="709006" y="746596"/>
                  </a:cubicBezTo>
                  <a:cubicBezTo>
                    <a:pt x="656695" y="881549"/>
                    <a:pt x="694723" y="1138245"/>
                    <a:pt x="834094" y="1424446"/>
                  </a:cubicBezTo>
                  <a:cubicBezTo>
                    <a:pt x="879599" y="1407960"/>
                    <a:pt x="928677" y="1400336"/>
                    <a:pt x="979535" y="1400336"/>
                  </a:cubicBezTo>
                  <a:cubicBezTo>
                    <a:pt x="1017560" y="1400336"/>
                    <a:pt x="1054590" y="1404598"/>
                    <a:pt x="1089967" y="1413579"/>
                  </a:cubicBezTo>
                  <a:cubicBezTo>
                    <a:pt x="1244168" y="1226717"/>
                    <a:pt x="1421621" y="1074480"/>
                    <a:pt x="1607991" y="955200"/>
                  </a:cubicBezTo>
                  <a:cubicBezTo>
                    <a:pt x="1457566" y="792176"/>
                    <a:pt x="1309542" y="612523"/>
                    <a:pt x="1167372" y="414437"/>
                  </a:cubicBezTo>
                  <a:close/>
                  <a:moveTo>
                    <a:pt x="1885843" y="246857"/>
                  </a:moveTo>
                  <a:cubicBezTo>
                    <a:pt x="1714273" y="246857"/>
                    <a:pt x="1548861" y="273219"/>
                    <a:pt x="1393510" y="322354"/>
                  </a:cubicBezTo>
                  <a:cubicBezTo>
                    <a:pt x="1529569" y="475615"/>
                    <a:pt x="1675197" y="641640"/>
                    <a:pt x="1842024" y="820292"/>
                  </a:cubicBezTo>
                  <a:cubicBezTo>
                    <a:pt x="2228189" y="624889"/>
                    <a:pt x="2625611" y="560552"/>
                    <a:pt x="2918518" y="613738"/>
                  </a:cubicBezTo>
                  <a:cubicBezTo>
                    <a:pt x="2636954" y="384188"/>
                    <a:pt x="2277437" y="246857"/>
                    <a:pt x="1885843" y="246857"/>
                  </a:cubicBezTo>
                  <a:close/>
                  <a:moveTo>
                    <a:pt x="1885844" y="0"/>
                  </a:moveTo>
                  <a:cubicBezTo>
                    <a:pt x="2927367" y="0"/>
                    <a:pt x="3771688" y="844319"/>
                    <a:pt x="3771688" y="1885839"/>
                  </a:cubicBezTo>
                  <a:cubicBezTo>
                    <a:pt x="3771688" y="2927359"/>
                    <a:pt x="2927367" y="3771678"/>
                    <a:pt x="1885844" y="3771678"/>
                  </a:cubicBezTo>
                  <a:cubicBezTo>
                    <a:pt x="844321" y="3771678"/>
                    <a:pt x="0" y="2927359"/>
                    <a:pt x="0" y="1885839"/>
                  </a:cubicBezTo>
                  <a:cubicBezTo>
                    <a:pt x="0" y="844319"/>
                    <a:pt x="844321" y="0"/>
                    <a:pt x="1885844" y="0"/>
                  </a:cubicBezTo>
                  <a:close/>
                </a:path>
              </a:pathLst>
            </a:cu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mn-lt"/>
                <a:ea typeface="+mn-ea"/>
                <a:cs typeface="+mn-cs"/>
              </a:endParaRPr>
            </a:p>
          </p:txBody>
        </p:sp>
        <p:grpSp>
          <p:nvGrpSpPr>
            <p:cNvPr id="181" name="Group 180"/>
            <p:cNvGrpSpPr/>
            <p:nvPr/>
          </p:nvGrpSpPr>
          <p:grpSpPr>
            <a:xfrm>
              <a:off x="6261422" y="5104880"/>
              <a:ext cx="526230" cy="526230"/>
              <a:chOff x="6139752" y="4908035"/>
              <a:chExt cx="637944" cy="637944"/>
            </a:xfrm>
          </p:grpSpPr>
          <p:sp>
            <p:nvSpPr>
              <p:cNvPr id="352" name="Oval 102"/>
              <p:cNvSpPr>
                <a:spLocks noChangeArrowheads="1"/>
              </p:cNvSpPr>
              <p:nvPr/>
            </p:nvSpPr>
            <p:spPr bwMode="auto">
              <a:xfrm>
                <a:off x="6139752" y="4908035"/>
                <a:ext cx="637944" cy="637944"/>
              </a:xfrm>
              <a:prstGeom prst="ellipse">
                <a:avLst/>
              </a:pr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222" name="Freeform 164"/>
              <p:cNvSpPr>
                <a:spLocks noEditPoints="1"/>
              </p:cNvSpPr>
              <p:nvPr/>
            </p:nvSpPr>
            <p:spPr bwMode="black">
              <a:xfrm>
                <a:off x="6324079" y="5040335"/>
                <a:ext cx="269290" cy="373345"/>
              </a:xfrm>
              <a:custGeom>
                <a:avLst/>
                <a:gdLst>
                  <a:gd name="T0" fmla="*/ 221 w 288"/>
                  <a:gd name="T1" fmla="*/ 373 h 399"/>
                  <a:gd name="T2" fmla="*/ 194 w 288"/>
                  <a:gd name="T3" fmla="*/ 350 h 399"/>
                  <a:gd name="T4" fmla="*/ 137 w 288"/>
                  <a:gd name="T5" fmla="*/ 150 h 399"/>
                  <a:gd name="T6" fmla="*/ 165 w 288"/>
                  <a:gd name="T7" fmla="*/ 398 h 399"/>
                  <a:gd name="T8" fmla="*/ 94 w 288"/>
                  <a:gd name="T9" fmla="*/ 325 h 399"/>
                  <a:gd name="T10" fmla="*/ 192 w 288"/>
                  <a:gd name="T11" fmla="*/ 269 h 399"/>
                  <a:gd name="T12" fmla="*/ 223 w 288"/>
                  <a:gd name="T13" fmla="*/ 371 h 399"/>
                  <a:gd name="T14" fmla="*/ 135 w 288"/>
                  <a:gd name="T15" fmla="*/ 170 h 399"/>
                  <a:gd name="T16" fmla="*/ 179 w 288"/>
                  <a:gd name="T17" fmla="*/ 395 h 399"/>
                  <a:gd name="T18" fmla="*/ 135 w 288"/>
                  <a:gd name="T19" fmla="*/ 324 h 399"/>
                  <a:gd name="T20" fmla="*/ 154 w 288"/>
                  <a:gd name="T21" fmla="*/ 308 h 399"/>
                  <a:gd name="T22" fmla="*/ 208 w 288"/>
                  <a:gd name="T23" fmla="*/ 382 h 399"/>
                  <a:gd name="T24" fmla="*/ 85 w 288"/>
                  <a:gd name="T25" fmla="*/ 380 h 399"/>
                  <a:gd name="T26" fmla="*/ 143 w 288"/>
                  <a:gd name="T27" fmla="*/ 82 h 399"/>
                  <a:gd name="T28" fmla="*/ 228 w 288"/>
                  <a:gd name="T29" fmla="*/ 288 h 399"/>
                  <a:gd name="T30" fmla="*/ 253 w 288"/>
                  <a:gd name="T31" fmla="*/ 340 h 399"/>
                  <a:gd name="T32" fmla="*/ 247 w 288"/>
                  <a:gd name="T33" fmla="*/ 233 h 399"/>
                  <a:gd name="T34" fmla="*/ 20 w 288"/>
                  <a:gd name="T35" fmla="*/ 263 h 399"/>
                  <a:gd name="T36" fmla="*/ 85 w 288"/>
                  <a:gd name="T37" fmla="*/ 380 h 399"/>
                  <a:gd name="T38" fmla="*/ 219 w 288"/>
                  <a:gd name="T39" fmla="*/ 242 h 399"/>
                  <a:gd name="T40" fmla="*/ 56 w 288"/>
                  <a:gd name="T41" fmla="*/ 305 h 399"/>
                  <a:gd name="T42" fmla="*/ 129 w 288"/>
                  <a:gd name="T43" fmla="*/ 397 h 399"/>
                  <a:gd name="T44" fmla="*/ 137 w 288"/>
                  <a:gd name="T45" fmla="*/ 115 h 399"/>
                  <a:gd name="T46" fmla="*/ 210 w 288"/>
                  <a:gd name="T47" fmla="*/ 334 h 399"/>
                  <a:gd name="T48" fmla="*/ 239 w 288"/>
                  <a:gd name="T49" fmla="*/ 357 h 399"/>
                  <a:gd name="T50" fmla="*/ 0 w 288"/>
                  <a:gd name="T51" fmla="*/ 202 h 399"/>
                  <a:gd name="T52" fmla="*/ 144 w 288"/>
                  <a:gd name="T53" fmla="*/ 51 h 399"/>
                  <a:gd name="T54" fmla="*/ 252 w 288"/>
                  <a:gd name="T55" fmla="*/ 298 h 399"/>
                  <a:gd name="T56" fmla="*/ 266 w 288"/>
                  <a:gd name="T57" fmla="*/ 320 h 399"/>
                  <a:gd name="T58" fmla="*/ 277 w 288"/>
                  <a:gd name="T59" fmla="*/ 221 h 399"/>
                  <a:gd name="T60" fmla="*/ 3 w 288"/>
                  <a:gd name="T61" fmla="*/ 162 h 399"/>
                  <a:gd name="T62" fmla="*/ 0 w 288"/>
                  <a:gd name="T63" fmla="*/ 202 h 399"/>
                  <a:gd name="T64" fmla="*/ 145 w 288"/>
                  <a:gd name="T65" fmla="*/ 0 h 399"/>
                  <a:gd name="T66" fmla="*/ 144 w 288"/>
                  <a:gd name="T67" fmla="*/ 18 h 399"/>
                  <a:gd name="T68" fmla="*/ 142 w 288"/>
                  <a:gd name="T69" fmla="*/ 308 h 399"/>
                  <a:gd name="T70" fmla="*/ 137 w 288"/>
                  <a:gd name="T71" fmla="*/ 201 h 399"/>
                  <a:gd name="T72" fmla="*/ 130 w 288"/>
                  <a:gd name="T73" fmla="*/ 208 h 399"/>
                  <a:gd name="T74" fmla="*/ 142 w 288"/>
                  <a:gd name="T75" fmla="*/ 308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88" h="399">
                    <a:moveTo>
                      <a:pt x="223" y="371"/>
                    </a:moveTo>
                    <a:cubicBezTo>
                      <a:pt x="221" y="373"/>
                      <a:pt x="221" y="373"/>
                      <a:pt x="221" y="373"/>
                    </a:cubicBezTo>
                    <a:cubicBezTo>
                      <a:pt x="220" y="374"/>
                      <a:pt x="218" y="375"/>
                      <a:pt x="217" y="376"/>
                    </a:cubicBezTo>
                    <a:cubicBezTo>
                      <a:pt x="215" y="374"/>
                      <a:pt x="205" y="366"/>
                      <a:pt x="194" y="350"/>
                    </a:cubicBezTo>
                    <a:cubicBezTo>
                      <a:pt x="181" y="332"/>
                      <a:pt x="177" y="299"/>
                      <a:pt x="180" y="268"/>
                    </a:cubicBezTo>
                    <a:cubicBezTo>
                      <a:pt x="186" y="212"/>
                      <a:pt x="180" y="148"/>
                      <a:pt x="137" y="150"/>
                    </a:cubicBezTo>
                    <a:cubicBezTo>
                      <a:pt x="90" y="152"/>
                      <a:pt x="69" y="245"/>
                      <a:pt x="106" y="319"/>
                    </a:cubicBezTo>
                    <a:cubicBezTo>
                      <a:pt x="125" y="357"/>
                      <a:pt x="150" y="384"/>
                      <a:pt x="165" y="398"/>
                    </a:cubicBezTo>
                    <a:cubicBezTo>
                      <a:pt x="161" y="398"/>
                      <a:pt x="157" y="399"/>
                      <a:pt x="153" y="399"/>
                    </a:cubicBezTo>
                    <a:cubicBezTo>
                      <a:pt x="137" y="384"/>
                      <a:pt x="115" y="364"/>
                      <a:pt x="94" y="325"/>
                    </a:cubicBezTo>
                    <a:cubicBezTo>
                      <a:pt x="46" y="236"/>
                      <a:pt x="82" y="134"/>
                      <a:pt x="137" y="134"/>
                    </a:cubicBezTo>
                    <a:cubicBezTo>
                      <a:pt x="195" y="134"/>
                      <a:pt x="201" y="201"/>
                      <a:pt x="192" y="269"/>
                    </a:cubicBezTo>
                    <a:cubicBezTo>
                      <a:pt x="188" y="301"/>
                      <a:pt x="191" y="329"/>
                      <a:pt x="202" y="346"/>
                    </a:cubicBezTo>
                    <a:cubicBezTo>
                      <a:pt x="213" y="363"/>
                      <a:pt x="224" y="370"/>
                      <a:pt x="223" y="371"/>
                    </a:cubicBezTo>
                    <a:close/>
                    <a:moveTo>
                      <a:pt x="166" y="306"/>
                    </a:moveTo>
                    <a:cubicBezTo>
                      <a:pt x="163" y="275"/>
                      <a:pt x="185" y="172"/>
                      <a:pt x="135" y="170"/>
                    </a:cubicBezTo>
                    <a:cubicBezTo>
                      <a:pt x="104" y="169"/>
                      <a:pt x="77" y="248"/>
                      <a:pt x="125" y="329"/>
                    </a:cubicBezTo>
                    <a:cubicBezTo>
                      <a:pt x="143" y="361"/>
                      <a:pt x="166" y="383"/>
                      <a:pt x="179" y="395"/>
                    </a:cubicBezTo>
                    <a:cubicBezTo>
                      <a:pt x="182" y="394"/>
                      <a:pt x="185" y="393"/>
                      <a:pt x="188" y="392"/>
                    </a:cubicBezTo>
                    <a:cubicBezTo>
                      <a:pt x="177" y="381"/>
                      <a:pt x="153" y="358"/>
                      <a:pt x="135" y="324"/>
                    </a:cubicBezTo>
                    <a:cubicBezTo>
                      <a:pt x="101" y="266"/>
                      <a:pt x="110" y="186"/>
                      <a:pt x="135" y="186"/>
                    </a:cubicBezTo>
                    <a:cubicBezTo>
                      <a:pt x="168" y="186"/>
                      <a:pt x="149" y="268"/>
                      <a:pt x="154" y="308"/>
                    </a:cubicBezTo>
                    <a:cubicBezTo>
                      <a:pt x="160" y="352"/>
                      <a:pt x="187" y="377"/>
                      <a:pt x="200" y="386"/>
                    </a:cubicBezTo>
                    <a:cubicBezTo>
                      <a:pt x="203" y="385"/>
                      <a:pt x="205" y="384"/>
                      <a:pt x="208" y="382"/>
                    </a:cubicBezTo>
                    <a:cubicBezTo>
                      <a:pt x="199" y="375"/>
                      <a:pt x="170" y="350"/>
                      <a:pt x="166" y="306"/>
                    </a:cubicBezTo>
                    <a:close/>
                    <a:moveTo>
                      <a:pt x="85" y="380"/>
                    </a:moveTo>
                    <a:cubicBezTo>
                      <a:pt x="65" y="357"/>
                      <a:pt x="36" y="313"/>
                      <a:pt x="31" y="261"/>
                    </a:cubicBezTo>
                    <a:cubicBezTo>
                      <a:pt x="25" y="164"/>
                      <a:pt x="66" y="82"/>
                      <a:pt x="143" y="82"/>
                    </a:cubicBezTo>
                    <a:cubicBezTo>
                      <a:pt x="213" y="82"/>
                      <a:pt x="241" y="157"/>
                      <a:pt x="235" y="231"/>
                    </a:cubicBezTo>
                    <a:cubicBezTo>
                      <a:pt x="234" y="251"/>
                      <a:pt x="228" y="269"/>
                      <a:pt x="228" y="288"/>
                    </a:cubicBezTo>
                    <a:cubicBezTo>
                      <a:pt x="227" y="320"/>
                      <a:pt x="236" y="334"/>
                      <a:pt x="248" y="347"/>
                    </a:cubicBezTo>
                    <a:cubicBezTo>
                      <a:pt x="250" y="345"/>
                      <a:pt x="251" y="343"/>
                      <a:pt x="253" y="340"/>
                    </a:cubicBezTo>
                    <a:cubicBezTo>
                      <a:pt x="246" y="330"/>
                      <a:pt x="237" y="313"/>
                      <a:pt x="238" y="289"/>
                    </a:cubicBezTo>
                    <a:cubicBezTo>
                      <a:pt x="239" y="273"/>
                      <a:pt x="243" y="254"/>
                      <a:pt x="247" y="233"/>
                    </a:cubicBezTo>
                    <a:cubicBezTo>
                      <a:pt x="257" y="169"/>
                      <a:pt x="233" y="66"/>
                      <a:pt x="143" y="65"/>
                    </a:cubicBezTo>
                    <a:cubicBezTo>
                      <a:pt x="77" y="64"/>
                      <a:pt x="7" y="129"/>
                      <a:pt x="20" y="263"/>
                    </a:cubicBezTo>
                    <a:cubicBezTo>
                      <a:pt x="24" y="299"/>
                      <a:pt x="39" y="330"/>
                      <a:pt x="54" y="354"/>
                    </a:cubicBezTo>
                    <a:cubicBezTo>
                      <a:pt x="64" y="365"/>
                      <a:pt x="74" y="373"/>
                      <a:pt x="85" y="380"/>
                    </a:cubicBezTo>
                    <a:close/>
                    <a:moveTo>
                      <a:pt x="219" y="331"/>
                    </a:moveTo>
                    <a:cubicBezTo>
                      <a:pt x="211" y="309"/>
                      <a:pt x="212" y="277"/>
                      <a:pt x="219" y="242"/>
                    </a:cubicBezTo>
                    <a:cubicBezTo>
                      <a:pt x="228" y="183"/>
                      <a:pt x="216" y="99"/>
                      <a:pt x="137" y="99"/>
                    </a:cubicBezTo>
                    <a:cubicBezTo>
                      <a:pt x="73" y="99"/>
                      <a:pt x="16" y="198"/>
                      <a:pt x="56" y="305"/>
                    </a:cubicBezTo>
                    <a:cubicBezTo>
                      <a:pt x="72" y="346"/>
                      <a:pt x="96" y="376"/>
                      <a:pt x="113" y="393"/>
                    </a:cubicBezTo>
                    <a:cubicBezTo>
                      <a:pt x="118" y="395"/>
                      <a:pt x="123" y="396"/>
                      <a:pt x="129" y="397"/>
                    </a:cubicBezTo>
                    <a:cubicBezTo>
                      <a:pt x="113" y="382"/>
                      <a:pt x="84" y="348"/>
                      <a:pt x="67" y="300"/>
                    </a:cubicBezTo>
                    <a:cubicBezTo>
                      <a:pt x="37" y="213"/>
                      <a:pt x="79" y="116"/>
                      <a:pt x="137" y="115"/>
                    </a:cubicBezTo>
                    <a:cubicBezTo>
                      <a:pt x="189" y="114"/>
                      <a:pt x="216" y="168"/>
                      <a:pt x="208" y="239"/>
                    </a:cubicBezTo>
                    <a:cubicBezTo>
                      <a:pt x="201" y="274"/>
                      <a:pt x="200" y="310"/>
                      <a:pt x="210" y="334"/>
                    </a:cubicBezTo>
                    <a:cubicBezTo>
                      <a:pt x="217" y="351"/>
                      <a:pt x="228" y="359"/>
                      <a:pt x="233" y="363"/>
                    </a:cubicBezTo>
                    <a:cubicBezTo>
                      <a:pt x="235" y="361"/>
                      <a:pt x="237" y="359"/>
                      <a:pt x="239" y="357"/>
                    </a:cubicBezTo>
                    <a:cubicBezTo>
                      <a:pt x="235" y="354"/>
                      <a:pt x="225" y="347"/>
                      <a:pt x="219" y="331"/>
                    </a:cubicBezTo>
                    <a:close/>
                    <a:moveTo>
                      <a:pt x="0" y="202"/>
                    </a:moveTo>
                    <a:cubicBezTo>
                      <a:pt x="0" y="217"/>
                      <a:pt x="1" y="231"/>
                      <a:pt x="4" y="245"/>
                    </a:cubicBezTo>
                    <a:cubicBezTo>
                      <a:pt x="6" y="146"/>
                      <a:pt x="40" y="49"/>
                      <a:pt x="144" y="51"/>
                    </a:cubicBezTo>
                    <a:cubicBezTo>
                      <a:pt x="230" y="51"/>
                      <a:pt x="271" y="143"/>
                      <a:pt x="262" y="219"/>
                    </a:cubicBezTo>
                    <a:cubicBezTo>
                      <a:pt x="259" y="248"/>
                      <a:pt x="252" y="276"/>
                      <a:pt x="252" y="298"/>
                    </a:cubicBezTo>
                    <a:cubicBezTo>
                      <a:pt x="252" y="315"/>
                      <a:pt x="258" y="326"/>
                      <a:pt x="260" y="330"/>
                    </a:cubicBezTo>
                    <a:cubicBezTo>
                      <a:pt x="262" y="327"/>
                      <a:pt x="264" y="323"/>
                      <a:pt x="266" y="320"/>
                    </a:cubicBezTo>
                    <a:cubicBezTo>
                      <a:pt x="263" y="314"/>
                      <a:pt x="261" y="308"/>
                      <a:pt x="262" y="298"/>
                    </a:cubicBezTo>
                    <a:cubicBezTo>
                      <a:pt x="262" y="279"/>
                      <a:pt x="272" y="252"/>
                      <a:pt x="277" y="221"/>
                    </a:cubicBezTo>
                    <a:cubicBezTo>
                      <a:pt x="288" y="144"/>
                      <a:pt x="247" y="31"/>
                      <a:pt x="144" y="31"/>
                    </a:cubicBezTo>
                    <a:cubicBezTo>
                      <a:pt x="62" y="32"/>
                      <a:pt x="18" y="92"/>
                      <a:pt x="3" y="162"/>
                    </a:cubicBezTo>
                    <a:cubicBezTo>
                      <a:pt x="1" y="175"/>
                      <a:pt x="0" y="188"/>
                      <a:pt x="0" y="201"/>
                    </a:cubicBezTo>
                    <a:cubicBezTo>
                      <a:pt x="0" y="201"/>
                      <a:pt x="0" y="202"/>
                      <a:pt x="0" y="202"/>
                    </a:cubicBezTo>
                    <a:close/>
                    <a:moveTo>
                      <a:pt x="262" y="75"/>
                    </a:moveTo>
                    <a:cubicBezTo>
                      <a:pt x="244" y="44"/>
                      <a:pt x="206" y="0"/>
                      <a:pt x="145" y="0"/>
                    </a:cubicBezTo>
                    <a:cubicBezTo>
                      <a:pt x="108" y="0"/>
                      <a:pt x="80" y="18"/>
                      <a:pt x="58" y="40"/>
                    </a:cubicBezTo>
                    <a:cubicBezTo>
                      <a:pt x="60" y="39"/>
                      <a:pt x="91" y="18"/>
                      <a:pt x="144" y="18"/>
                    </a:cubicBezTo>
                    <a:cubicBezTo>
                      <a:pt x="220" y="18"/>
                      <a:pt x="262" y="75"/>
                      <a:pt x="262" y="75"/>
                    </a:cubicBezTo>
                    <a:close/>
                    <a:moveTo>
                      <a:pt x="142" y="308"/>
                    </a:moveTo>
                    <a:cubicBezTo>
                      <a:pt x="140" y="294"/>
                      <a:pt x="141" y="277"/>
                      <a:pt x="142" y="260"/>
                    </a:cubicBezTo>
                    <a:cubicBezTo>
                      <a:pt x="143" y="238"/>
                      <a:pt x="144" y="209"/>
                      <a:pt x="137" y="201"/>
                    </a:cubicBezTo>
                    <a:cubicBezTo>
                      <a:pt x="137" y="201"/>
                      <a:pt x="137" y="201"/>
                      <a:pt x="135" y="201"/>
                    </a:cubicBezTo>
                    <a:cubicBezTo>
                      <a:pt x="135" y="201"/>
                      <a:pt x="132" y="202"/>
                      <a:pt x="130" y="208"/>
                    </a:cubicBezTo>
                    <a:cubicBezTo>
                      <a:pt x="122" y="227"/>
                      <a:pt x="122" y="271"/>
                      <a:pt x="141" y="308"/>
                    </a:cubicBezTo>
                    <a:cubicBezTo>
                      <a:pt x="141" y="309"/>
                      <a:pt x="142" y="309"/>
                      <a:pt x="142" y="308"/>
                    </a:cubicBezTo>
                    <a:close/>
                  </a:path>
                </a:pathLst>
              </a:custGeom>
              <a:solidFill>
                <a:schemeClr val="bg1"/>
              </a:solidFill>
              <a:ln>
                <a:noFill/>
              </a:ln>
              <a:extLst/>
            </p:spPr>
            <p:txBody>
              <a:bodyPr vert="horz" wrap="square" lIns="82305" tIns="41153" rIns="82305" bIns="41153"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chemeClr val="tx1"/>
                  </a:solidFill>
                  <a:effectLst/>
                  <a:uLnTx/>
                  <a:uFillTx/>
                  <a:latin typeface="+mn-lt"/>
                  <a:ea typeface="+mn-ea"/>
                  <a:cs typeface="+mn-cs"/>
                </a:endParaRPr>
              </a:p>
            </p:txBody>
          </p:sp>
        </p:grpSp>
        <p:sp>
          <p:nvSpPr>
            <p:cNvPr id="218" name="Round Diagonal Corner Rectangle 53"/>
            <p:cNvSpPr/>
            <p:nvPr/>
          </p:nvSpPr>
          <p:spPr bwMode="auto">
            <a:xfrm flipH="1">
              <a:off x="7046301" y="4852830"/>
              <a:ext cx="272724" cy="310430"/>
            </a:xfrm>
            <a:custGeom>
              <a:avLst/>
              <a:gdLst/>
              <a:ahLst/>
              <a:cxnLst/>
              <a:rect l="l" t="t" r="r" b="b"/>
              <a:pathLst>
                <a:path w="1069848" h="1217762">
                  <a:moveTo>
                    <a:pt x="859964" y="887952"/>
                  </a:moveTo>
                  <a:cubicBezTo>
                    <a:pt x="859964" y="887952"/>
                    <a:pt x="859964" y="887952"/>
                    <a:pt x="859964" y="887953"/>
                  </a:cubicBezTo>
                  <a:lnTo>
                    <a:pt x="859964" y="887953"/>
                  </a:lnTo>
                  <a:close/>
                  <a:moveTo>
                    <a:pt x="823054" y="851043"/>
                  </a:moveTo>
                  <a:lnTo>
                    <a:pt x="246792" y="851043"/>
                  </a:lnTo>
                  <a:cubicBezTo>
                    <a:pt x="226407" y="851043"/>
                    <a:pt x="209882" y="867568"/>
                    <a:pt x="209882" y="887953"/>
                  </a:cubicBezTo>
                  <a:lnTo>
                    <a:pt x="209883" y="887953"/>
                  </a:lnTo>
                  <a:cubicBezTo>
                    <a:pt x="209883" y="908338"/>
                    <a:pt x="226408" y="924863"/>
                    <a:pt x="246793" y="924863"/>
                  </a:cubicBezTo>
                  <a:lnTo>
                    <a:pt x="823054" y="924862"/>
                  </a:lnTo>
                  <a:cubicBezTo>
                    <a:pt x="843439" y="924862"/>
                    <a:pt x="859964" y="908337"/>
                    <a:pt x="859964" y="887953"/>
                  </a:cubicBezTo>
                  <a:cubicBezTo>
                    <a:pt x="859964" y="867568"/>
                    <a:pt x="843439" y="851043"/>
                    <a:pt x="823054" y="851043"/>
                  </a:cubicBezTo>
                  <a:close/>
                  <a:moveTo>
                    <a:pt x="859964" y="716502"/>
                  </a:moveTo>
                  <a:lnTo>
                    <a:pt x="859964" y="716503"/>
                  </a:lnTo>
                  <a:lnTo>
                    <a:pt x="859964" y="716503"/>
                  </a:lnTo>
                  <a:close/>
                  <a:moveTo>
                    <a:pt x="823054" y="679593"/>
                  </a:moveTo>
                  <a:lnTo>
                    <a:pt x="246792" y="679593"/>
                  </a:lnTo>
                  <a:cubicBezTo>
                    <a:pt x="226407" y="679593"/>
                    <a:pt x="209882" y="696118"/>
                    <a:pt x="209882" y="716503"/>
                  </a:cubicBezTo>
                  <a:lnTo>
                    <a:pt x="209883" y="716503"/>
                  </a:lnTo>
                  <a:cubicBezTo>
                    <a:pt x="209883" y="736888"/>
                    <a:pt x="226408" y="753413"/>
                    <a:pt x="246793" y="753413"/>
                  </a:cubicBezTo>
                  <a:lnTo>
                    <a:pt x="823054" y="753412"/>
                  </a:lnTo>
                  <a:cubicBezTo>
                    <a:pt x="843439" y="753412"/>
                    <a:pt x="859964" y="736887"/>
                    <a:pt x="859964" y="716503"/>
                  </a:cubicBezTo>
                  <a:cubicBezTo>
                    <a:pt x="859964" y="696118"/>
                    <a:pt x="843439" y="679593"/>
                    <a:pt x="823054" y="679593"/>
                  </a:cubicBezTo>
                  <a:close/>
                  <a:moveTo>
                    <a:pt x="859964" y="545051"/>
                  </a:moveTo>
                  <a:lnTo>
                    <a:pt x="859964" y="545052"/>
                  </a:lnTo>
                  <a:lnTo>
                    <a:pt x="859964" y="545052"/>
                  </a:lnTo>
                  <a:close/>
                  <a:moveTo>
                    <a:pt x="823054" y="508142"/>
                  </a:moveTo>
                  <a:lnTo>
                    <a:pt x="246792" y="508142"/>
                  </a:lnTo>
                  <a:cubicBezTo>
                    <a:pt x="226407" y="508142"/>
                    <a:pt x="209882" y="524667"/>
                    <a:pt x="209882" y="545052"/>
                  </a:cubicBezTo>
                  <a:lnTo>
                    <a:pt x="209883" y="545052"/>
                  </a:lnTo>
                  <a:cubicBezTo>
                    <a:pt x="209883" y="565437"/>
                    <a:pt x="226408" y="581962"/>
                    <a:pt x="246793" y="581962"/>
                  </a:cubicBezTo>
                  <a:lnTo>
                    <a:pt x="823054" y="581961"/>
                  </a:lnTo>
                  <a:cubicBezTo>
                    <a:pt x="843439" y="581961"/>
                    <a:pt x="859964" y="565436"/>
                    <a:pt x="859964" y="545052"/>
                  </a:cubicBezTo>
                  <a:cubicBezTo>
                    <a:pt x="859964" y="524667"/>
                    <a:pt x="843439" y="508142"/>
                    <a:pt x="823054" y="508142"/>
                  </a:cubicBezTo>
                  <a:close/>
                  <a:moveTo>
                    <a:pt x="607552" y="375982"/>
                  </a:moveTo>
                  <a:lnTo>
                    <a:pt x="607552" y="375983"/>
                  </a:lnTo>
                  <a:lnTo>
                    <a:pt x="607552" y="375983"/>
                  </a:lnTo>
                  <a:close/>
                  <a:moveTo>
                    <a:pt x="570642" y="339073"/>
                  </a:moveTo>
                  <a:lnTo>
                    <a:pt x="246792" y="339073"/>
                  </a:lnTo>
                  <a:cubicBezTo>
                    <a:pt x="226407" y="339073"/>
                    <a:pt x="209882" y="355598"/>
                    <a:pt x="209882" y="375983"/>
                  </a:cubicBezTo>
                  <a:lnTo>
                    <a:pt x="209883" y="375983"/>
                  </a:lnTo>
                  <a:cubicBezTo>
                    <a:pt x="209883" y="396368"/>
                    <a:pt x="226408" y="412893"/>
                    <a:pt x="246793" y="412893"/>
                  </a:cubicBezTo>
                  <a:lnTo>
                    <a:pt x="570642" y="412892"/>
                  </a:lnTo>
                  <a:cubicBezTo>
                    <a:pt x="591027" y="412892"/>
                    <a:pt x="607552" y="396367"/>
                    <a:pt x="607552" y="375983"/>
                  </a:cubicBezTo>
                  <a:cubicBezTo>
                    <a:pt x="607552" y="355598"/>
                    <a:pt x="591027" y="339073"/>
                    <a:pt x="570642" y="339073"/>
                  </a:cubicBezTo>
                  <a:close/>
                  <a:moveTo>
                    <a:pt x="679213" y="74747"/>
                  </a:moveTo>
                  <a:lnTo>
                    <a:pt x="679213" y="291168"/>
                  </a:lnTo>
                  <a:cubicBezTo>
                    <a:pt x="679213" y="325515"/>
                    <a:pt x="707057" y="353359"/>
                    <a:pt x="741404" y="353359"/>
                  </a:cubicBezTo>
                  <a:lnTo>
                    <a:pt x="992124" y="353359"/>
                  </a:lnTo>
                  <a:lnTo>
                    <a:pt x="992124" y="1044200"/>
                  </a:lnTo>
                  <a:cubicBezTo>
                    <a:pt x="992124" y="1097470"/>
                    <a:pt x="971294" y="1150179"/>
                    <a:pt x="897731" y="1140654"/>
                  </a:cubicBezTo>
                  <a:lnTo>
                    <a:pt x="77724" y="1140654"/>
                  </a:lnTo>
                  <a:lnTo>
                    <a:pt x="77724" y="173562"/>
                  </a:lnTo>
                  <a:cubicBezTo>
                    <a:pt x="80105" y="89336"/>
                    <a:pt x="119986" y="77108"/>
                    <a:pt x="172117" y="77108"/>
                  </a:cubicBezTo>
                  <a:close/>
                  <a:moveTo>
                    <a:pt x="733418" y="0"/>
                  </a:moveTo>
                  <a:lnTo>
                    <a:pt x="110440" y="0"/>
                  </a:lnTo>
                  <a:cubicBezTo>
                    <a:pt x="49446" y="0"/>
                    <a:pt x="0" y="49446"/>
                    <a:pt x="0" y="110440"/>
                  </a:cubicBezTo>
                  <a:lnTo>
                    <a:pt x="0" y="1217762"/>
                  </a:lnTo>
                  <a:lnTo>
                    <a:pt x="959408" y="1217762"/>
                  </a:lnTo>
                  <a:cubicBezTo>
                    <a:pt x="1020402" y="1217762"/>
                    <a:pt x="1069848" y="1168316"/>
                    <a:pt x="1069848" y="1107322"/>
                  </a:cubicBezTo>
                  <a:lnTo>
                    <a:pt x="1069848" y="310551"/>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45720" rIns="45720" bIns="91440"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ctr" defTabSz="914099"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50" normalizeH="0" baseline="0" noProof="0" dirty="0" err="1">
                <a:ln>
                  <a:noFill/>
                </a:ln>
                <a:gradFill>
                  <a:gsLst>
                    <a:gs pos="0">
                      <a:srgbClr val="FFFFFF"/>
                    </a:gs>
                    <a:gs pos="100000">
                      <a:srgbClr val="FFFFFF"/>
                    </a:gs>
                  </a:gsLst>
                  <a:lin ang="5400000" scaled="0"/>
                </a:gradFill>
                <a:effectLst/>
                <a:uLnTx/>
                <a:uFillTx/>
                <a:latin typeface="Segoe UI" pitchFamily="34" charset="0"/>
                <a:ea typeface="Segoe UI" pitchFamily="34" charset="0"/>
                <a:cs typeface="Segoe UI" pitchFamily="34" charset="0"/>
              </a:endParaRPr>
            </a:p>
          </p:txBody>
        </p:sp>
        <p:sp>
          <p:nvSpPr>
            <p:cNvPr id="217" name="Freeform 13"/>
            <p:cNvSpPr>
              <a:spLocks noEditPoints="1"/>
            </p:cNvSpPr>
            <p:nvPr/>
          </p:nvSpPr>
          <p:spPr bwMode="black">
            <a:xfrm>
              <a:off x="7679646" y="5316492"/>
              <a:ext cx="261380" cy="222547"/>
            </a:xfrm>
            <a:custGeom>
              <a:avLst/>
              <a:gdLst>
                <a:gd name="T0" fmla="*/ 344 w 414"/>
                <a:gd name="T1" fmla="*/ 55 h 353"/>
                <a:gd name="T2" fmla="*/ 296 w 414"/>
                <a:gd name="T3" fmla="*/ 9 h 353"/>
                <a:gd name="T4" fmla="*/ 206 w 414"/>
                <a:gd name="T5" fmla="*/ 45 h 353"/>
                <a:gd name="T6" fmla="*/ 0 w 414"/>
                <a:gd name="T7" fmla="*/ 174 h 353"/>
                <a:gd name="T8" fmla="*/ 158 w 414"/>
                <a:gd name="T9" fmla="*/ 278 h 353"/>
                <a:gd name="T10" fmla="*/ 160 w 414"/>
                <a:gd name="T11" fmla="*/ 278 h 353"/>
                <a:gd name="T12" fmla="*/ 160 w 414"/>
                <a:gd name="T13" fmla="*/ 332 h 353"/>
                <a:gd name="T14" fmla="*/ 133 w 414"/>
                <a:gd name="T15" fmla="*/ 337 h 353"/>
                <a:gd name="T16" fmla="*/ 128 w 414"/>
                <a:gd name="T17" fmla="*/ 347 h 353"/>
                <a:gd name="T18" fmla="*/ 137 w 414"/>
                <a:gd name="T19" fmla="*/ 352 h 353"/>
                <a:gd name="T20" fmla="*/ 137 w 414"/>
                <a:gd name="T21" fmla="*/ 352 h 353"/>
                <a:gd name="T22" fmla="*/ 176 w 414"/>
                <a:gd name="T23" fmla="*/ 346 h 353"/>
                <a:gd name="T24" fmla="*/ 215 w 414"/>
                <a:gd name="T25" fmla="*/ 352 h 353"/>
                <a:gd name="T26" fmla="*/ 218 w 414"/>
                <a:gd name="T27" fmla="*/ 352 h 353"/>
                <a:gd name="T28" fmla="*/ 224 w 414"/>
                <a:gd name="T29" fmla="*/ 347 h 353"/>
                <a:gd name="T30" fmla="*/ 245 w 414"/>
                <a:gd name="T31" fmla="*/ 352 h 353"/>
                <a:gd name="T32" fmla="*/ 248 w 414"/>
                <a:gd name="T33" fmla="*/ 352 h 353"/>
                <a:gd name="T34" fmla="*/ 255 w 414"/>
                <a:gd name="T35" fmla="*/ 347 h 353"/>
                <a:gd name="T36" fmla="*/ 250 w 414"/>
                <a:gd name="T37" fmla="*/ 337 h 353"/>
                <a:gd name="T38" fmla="*/ 207 w 414"/>
                <a:gd name="T39" fmla="*/ 331 h 353"/>
                <a:gd name="T40" fmla="*/ 207 w 414"/>
                <a:gd name="T41" fmla="*/ 271 h 353"/>
                <a:gd name="T42" fmla="*/ 343 w 414"/>
                <a:gd name="T43" fmla="*/ 112 h 353"/>
                <a:gd name="T44" fmla="*/ 414 w 414"/>
                <a:gd name="T45" fmla="*/ 83 h 353"/>
                <a:gd name="T46" fmla="*/ 344 w 414"/>
                <a:gd name="T47" fmla="*/ 55 h 353"/>
                <a:gd name="T48" fmla="*/ 192 w 414"/>
                <a:gd name="T49" fmla="*/ 332 h 353"/>
                <a:gd name="T50" fmla="*/ 192 w 414"/>
                <a:gd name="T51" fmla="*/ 332 h 353"/>
                <a:gd name="T52" fmla="*/ 191 w 414"/>
                <a:gd name="T53" fmla="*/ 332 h 353"/>
                <a:gd name="T54" fmla="*/ 176 w 414"/>
                <a:gd name="T55" fmla="*/ 331 h 353"/>
                <a:gd name="T56" fmla="*/ 175 w 414"/>
                <a:gd name="T57" fmla="*/ 331 h 353"/>
                <a:gd name="T58" fmla="*/ 175 w 414"/>
                <a:gd name="T59" fmla="*/ 277 h 353"/>
                <a:gd name="T60" fmla="*/ 192 w 414"/>
                <a:gd name="T61" fmla="*/ 275 h 353"/>
                <a:gd name="T62" fmla="*/ 192 w 414"/>
                <a:gd name="T63" fmla="*/ 332 h 353"/>
                <a:gd name="T64" fmla="*/ 286 w 414"/>
                <a:gd name="T65" fmla="*/ 82 h 353"/>
                <a:gd name="T66" fmla="*/ 271 w 414"/>
                <a:gd name="T67" fmla="*/ 67 h 353"/>
                <a:gd name="T68" fmla="*/ 286 w 414"/>
                <a:gd name="T69" fmla="*/ 52 h 353"/>
                <a:gd name="T70" fmla="*/ 301 w 414"/>
                <a:gd name="T71" fmla="*/ 67 h 353"/>
                <a:gd name="T72" fmla="*/ 286 w 414"/>
                <a:gd name="T73" fmla="*/ 82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14" h="353">
                  <a:moveTo>
                    <a:pt x="344" y="55"/>
                  </a:moveTo>
                  <a:cubicBezTo>
                    <a:pt x="336" y="33"/>
                    <a:pt x="319" y="16"/>
                    <a:pt x="296" y="9"/>
                  </a:cubicBezTo>
                  <a:cubicBezTo>
                    <a:pt x="263" y="0"/>
                    <a:pt x="228" y="11"/>
                    <a:pt x="206" y="45"/>
                  </a:cubicBezTo>
                  <a:cubicBezTo>
                    <a:pt x="145" y="140"/>
                    <a:pt x="71" y="200"/>
                    <a:pt x="0" y="174"/>
                  </a:cubicBezTo>
                  <a:cubicBezTo>
                    <a:pt x="0" y="174"/>
                    <a:pt x="50" y="278"/>
                    <a:pt x="158" y="278"/>
                  </a:cubicBezTo>
                  <a:cubicBezTo>
                    <a:pt x="159" y="278"/>
                    <a:pt x="160" y="278"/>
                    <a:pt x="160" y="278"/>
                  </a:cubicBezTo>
                  <a:cubicBezTo>
                    <a:pt x="160" y="332"/>
                    <a:pt x="160" y="332"/>
                    <a:pt x="160" y="332"/>
                  </a:cubicBezTo>
                  <a:cubicBezTo>
                    <a:pt x="150" y="333"/>
                    <a:pt x="140" y="335"/>
                    <a:pt x="133" y="337"/>
                  </a:cubicBezTo>
                  <a:cubicBezTo>
                    <a:pt x="129" y="339"/>
                    <a:pt x="127" y="343"/>
                    <a:pt x="128" y="347"/>
                  </a:cubicBezTo>
                  <a:cubicBezTo>
                    <a:pt x="129" y="351"/>
                    <a:pt x="134" y="353"/>
                    <a:pt x="137" y="352"/>
                  </a:cubicBezTo>
                  <a:cubicBezTo>
                    <a:pt x="137" y="352"/>
                    <a:pt x="137" y="352"/>
                    <a:pt x="137" y="352"/>
                  </a:cubicBezTo>
                  <a:cubicBezTo>
                    <a:pt x="147" y="348"/>
                    <a:pt x="161" y="346"/>
                    <a:pt x="176" y="346"/>
                  </a:cubicBezTo>
                  <a:cubicBezTo>
                    <a:pt x="192" y="346"/>
                    <a:pt x="206" y="348"/>
                    <a:pt x="215" y="352"/>
                  </a:cubicBezTo>
                  <a:cubicBezTo>
                    <a:pt x="216" y="352"/>
                    <a:pt x="217" y="352"/>
                    <a:pt x="218" y="352"/>
                  </a:cubicBezTo>
                  <a:cubicBezTo>
                    <a:pt x="221" y="352"/>
                    <a:pt x="223" y="350"/>
                    <a:pt x="224" y="347"/>
                  </a:cubicBezTo>
                  <a:cubicBezTo>
                    <a:pt x="232" y="348"/>
                    <a:pt x="240" y="350"/>
                    <a:pt x="245" y="352"/>
                  </a:cubicBezTo>
                  <a:cubicBezTo>
                    <a:pt x="246" y="352"/>
                    <a:pt x="247" y="352"/>
                    <a:pt x="248" y="352"/>
                  </a:cubicBezTo>
                  <a:cubicBezTo>
                    <a:pt x="251" y="352"/>
                    <a:pt x="254" y="350"/>
                    <a:pt x="255" y="347"/>
                  </a:cubicBezTo>
                  <a:cubicBezTo>
                    <a:pt x="256" y="343"/>
                    <a:pt x="254" y="339"/>
                    <a:pt x="250" y="337"/>
                  </a:cubicBezTo>
                  <a:cubicBezTo>
                    <a:pt x="239" y="334"/>
                    <a:pt x="224" y="331"/>
                    <a:pt x="207" y="331"/>
                  </a:cubicBezTo>
                  <a:cubicBezTo>
                    <a:pt x="207" y="271"/>
                    <a:pt x="207" y="271"/>
                    <a:pt x="207" y="271"/>
                  </a:cubicBezTo>
                  <a:cubicBezTo>
                    <a:pt x="283" y="251"/>
                    <a:pt x="323" y="185"/>
                    <a:pt x="343" y="112"/>
                  </a:cubicBezTo>
                  <a:cubicBezTo>
                    <a:pt x="414" y="83"/>
                    <a:pt x="414" y="83"/>
                    <a:pt x="414" y="83"/>
                  </a:cubicBezTo>
                  <a:lnTo>
                    <a:pt x="344" y="55"/>
                  </a:lnTo>
                  <a:close/>
                  <a:moveTo>
                    <a:pt x="192" y="332"/>
                  </a:moveTo>
                  <a:cubicBezTo>
                    <a:pt x="192" y="332"/>
                    <a:pt x="192" y="332"/>
                    <a:pt x="192" y="332"/>
                  </a:cubicBezTo>
                  <a:cubicBezTo>
                    <a:pt x="192" y="332"/>
                    <a:pt x="192" y="332"/>
                    <a:pt x="191" y="332"/>
                  </a:cubicBezTo>
                  <a:cubicBezTo>
                    <a:pt x="187" y="331"/>
                    <a:pt x="181" y="331"/>
                    <a:pt x="176" y="331"/>
                  </a:cubicBezTo>
                  <a:cubicBezTo>
                    <a:pt x="176" y="331"/>
                    <a:pt x="176" y="331"/>
                    <a:pt x="175" y="331"/>
                  </a:cubicBezTo>
                  <a:cubicBezTo>
                    <a:pt x="175" y="277"/>
                    <a:pt x="175" y="277"/>
                    <a:pt x="175" y="277"/>
                  </a:cubicBezTo>
                  <a:cubicBezTo>
                    <a:pt x="181" y="276"/>
                    <a:pt x="187" y="276"/>
                    <a:pt x="192" y="275"/>
                  </a:cubicBezTo>
                  <a:lnTo>
                    <a:pt x="192" y="332"/>
                  </a:lnTo>
                  <a:close/>
                  <a:moveTo>
                    <a:pt x="286" y="82"/>
                  </a:moveTo>
                  <a:cubicBezTo>
                    <a:pt x="278" y="82"/>
                    <a:pt x="271" y="75"/>
                    <a:pt x="271" y="67"/>
                  </a:cubicBezTo>
                  <a:cubicBezTo>
                    <a:pt x="271" y="59"/>
                    <a:pt x="278" y="52"/>
                    <a:pt x="286" y="52"/>
                  </a:cubicBezTo>
                  <a:cubicBezTo>
                    <a:pt x="294" y="52"/>
                    <a:pt x="301" y="59"/>
                    <a:pt x="301" y="67"/>
                  </a:cubicBezTo>
                  <a:cubicBezTo>
                    <a:pt x="301" y="75"/>
                    <a:pt x="294" y="82"/>
                    <a:pt x="286" y="82"/>
                  </a:cubicBezTo>
                  <a:close/>
                </a:path>
              </a:pathLst>
            </a:custGeom>
            <a:solidFill>
              <a:schemeClr val="bg1"/>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l" defTabSz="74074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22" normalizeH="0" baseline="0" noProof="0">
                <a:ln>
                  <a:noFill/>
                </a:ln>
                <a:solidFill>
                  <a:schemeClr val="tx1">
                    <a:lumMod val="50000"/>
                  </a:schemeClr>
                </a:solidFill>
                <a:effectLst/>
                <a:uLnTx/>
                <a:uFillTx/>
                <a:latin typeface="Segoe Light" pitchFamily="34" charset="0"/>
                <a:ea typeface="+mn-ea"/>
                <a:cs typeface="+mn-cs"/>
              </a:endParaRPr>
            </a:p>
          </p:txBody>
        </p:sp>
        <p:grpSp>
          <p:nvGrpSpPr>
            <p:cNvPr id="216" name="Group 215"/>
            <p:cNvGrpSpPr/>
            <p:nvPr/>
          </p:nvGrpSpPr>
          <p:grpSpPr>
            <a:xfrm>
              <a:off x="7198970" y="4189435"/>
              <a:ext cx="259510" cy="265946"/>
              <a:chOff x="10461975" y="506077"/>
              <a:chExt cx="1348841" cy="1382292"/>
            </a:xfrm>
            <a:solidFill>
              <a:schemeClr val="bg1"/>
            </a:solidFill>
          </p:grpSpPr>
          <p:sp>
            <p:nvSpPr>
              <p:cNvPr id="209" name="Freeform 27"/>
              <p:cNvSpPr>
                <a:spLocks noChangeAspect="1" noEditPoints="1"/>
              </p:cNvSpPr>
              <p:nvPr/>
            </p:nvSpPr>
            <p:spPr bwMode="black">
              <a:xfrm>
                <a:off x="10864217" y="1301399"/>
                <a:ext cx="768710" cy="586970"/>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grpFill/>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1218939" rtl="0" eaLnBrk="1" fontAlgn="auto" latinLnBrk="0" hangingPunct="1">
                  <a:lnSpc>
                    <a:spcPct val="100000"/>
                  </a:lnSpc>
                  <a:spcBef>
                    <a:spcPts val="0"/>
                  </a:spcBef>
                  <a:spcAft>
                    <a:spcPts val="0"/>
                  </a:spcAft>
                  <a:buClrTx/>
                  <a:buSzTx/>
                  <a:buFontTx/>
                  <a:buNone/>
                  <a:tabLst/>
                  <a:defRPr/>
                </a:pPr>
                <a:endParaRPr kumimoji="0" lang="en-US" sz="2300" b="0" i="0" u="none" strike="noStrike" kern="0" cap="none" spc="0" normalizeH="0" baseline="0" noProof="0">
                  <a:ln>
                    <a:solidFill>
                      <a:schemeClr val="tx1">
                        <a:alpha val="0"/>
                      </a:schemeClr>
                    </a:solidFill>
                  </a:ln>
                  <a:solidFill>
                    <a:srgbClr val="000000"/>
                  </a:solidFill>
                  <a:effectLst/>
                  <a:uLnTx/>
                  <a:uFillTx/>
                  <a:latin typeface="+mn-lt"/>
                  <a:ea typeface="+mn-ea"/>
                  <a:cs typeface="+mn-cs"/>
                </a:endParaRPr>
              </a:p>
            </p:txBody>
          </p:sp>
          <p:grpSp>
            <p:nvGrpSpPr>
              <p:cNvPr id="210" name="Group 209"/>
              <p:cNvGrpSpPr/>
              <p:nvPr/>
            </p:nvGrpSpPr>
            <p:grpSpPr>
              <a:xfrm>
                <a:off x="10461975" y="506077"/>
                <a:ext cx="1348841" cy="637489"/>
                <a:chOff x="4597127" y="1485062"/>
                <a:chExt cx="4900347" cy="2315999"/>
              </a:xfrm>
              <a:grpFill/>
            </p:grpSpPr>
            <p:sp>
              <p:nvSpPr>
                <p:cNvPr id="212" name="Freeform 95"/>
                <p:cNvSpPr/>
                <p:nvPr/>
              </p:nvSpPr>
              <p:spPr>
                <a:xfrm>
                  <a:off x="4597127" y="1972262"/>
                  <a:ext cx="3058803" cy="1828799"/>
                </a:xfrm>
                <a:custGeom>
                  <a:avLst/>
                  <a:gdLst>
                    <a:gd name="connsiteX0" fmla="*/ 160062 w 3058803"/>
                    <a:gd name="connsiteY0" fmla="*/ 144070 h 1828799"/>
                    <a:gd name="connsiteX1" fmla="*/ 160062 w 3058803"/>
                    <a:gd name="connsiteY1" fmla="*/ 1684729 h 1828799"/>
                    <a:gd name="connsiteX2" fmla="*/ 2898741 w 3058803"/>
                    <a:gd name="connsiteY2" fmla="*/ 1684729 h 1828799"/>
                    <a:gd name="connsiteX3" fmla="*/ 2898741 w 3058803"/>
                    <a:gd name="connsiteY3" fmla="*/ 144070 h 1828799"/>
                    <a:gd name="connsiteX4" fmla="*/ 133502 w 3058803"/>
                    <a:gd name="connsiteY4" fmla="*/ 0 h 1828799"/>
                    <a:gd name="connsiteX5" fmla="*/ 2925301 w 3058803"/>
                    <a:gd name="connsiteY5" fmla="*/ 0 h 1828799"/>
                    <a:gd name="connsiteX6" fmla="*/ 3058803 w 3058803"/>
                    <a:gd name="connsiteY6" fmla="*/ 133502 h 1828799"/>
                    <a:gd name="connsiteX7" fmla="*/ 3058803 w 3058803"/>
                    <a:gd name="connsiteY7" fmla="*/ 1695297 h 1828799"/>
                    <a:gd name="connsiteX8" fmla="*/ 2925301 w 3058803"/>
                    <a:gd name="connsiteY8" fmla="*/ 1828799 h 1828799"/>
                    <a:gd name="connsiteX9" fmla="*/ 133502 w 3058803"/>
                    <a:gd name="connsiteY9" fmla="*/ 1828799 h 1828799"/>
                    <a:gd name="connsiteX10" fmla="*/ 0 w 3058803"/>
                    <a:gd name="connsiteY10" fmla="*/ 1695297 h 1828799"/>
                    <a:gd name="connsiteX11" fmla="*/ 0 w 3058803"/>
                    <a:gd name="connsiteY11" fmla="*/ 133502 h 1828799"/>
                    <a:gd name="connsiteX12" fmla="*/ 133502 w 3058803"/>
                    <a:gd name="connsiteY12" fmla="*/ 0 h 1828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058803" h="1828799">
                      <a:moveTo>
                        <a:pt x="160062" y="144070"/>
                      </a:moveTo>
                      <a:lnTo>
                        <a:pt x="160062" y="1684729"/>
                      </a:lnTo>
                      <a:lnTo>
                        <a:pt x="2898741" y="1684729"/>
                      </a:lnTo>
                      <a:lnTo>
                        <a:pt x="2898741" y="144070"/>
                      </a:lnTo>
                      <a:close/>
                      <a:moveTo>
                        <a:pt x="133502" y="0"/>
                      </a:moveTo>
                      <a:lnTo>
                        <a:pt x="2925301" y="0"/>
                      </a:lnTo>
                      <a:cubicBezTo>
                        <a:pt x="2999032" y="0"/>
                        <a:pt x="3058803" y="59771"/>
                        <a:pt x="3058803" y="133502"/>
                      </a:cubicBezTo>
                      <a:lnTo>
                        <a:pt x="3058803" y="1695297"/>
                      </a:lnTo>
                      <a:cubicBezTo>
                        <a:pt x="3058803" y="1769028"/>
                        <a:pt x="2999032" y="1828799"/>
                        <a:pt x="2925301" y="1828799"/>
                      </a:cubicBezTo>
                      <a:lnTo>
                        <a:pt x="133502" y="1828799"/>
                      </a:lnTo>
                      <a:cubicBezTo>
                        <a:pt x="59771" y="1828799"/>
                        <a:pt x="0" y="1769028"/>
                        <a:pt x="0" y="1695297"/>
                      </a:cubicBezTo>
                      <a:lnTo>
                        <a:pt x="0" y="133502"/>
                      </a:lnTo>
                      <a:cubicBezTo>
                        <a:pt x="0" y="59771"/>
                        <a:pt x="59771" y="0"/>
                        <a:pt x="133502"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ctr" defTabSz="914363"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chemeClr val="lt1"/>
                    </a:solidFill>
                    <a:effectLst/>
                    <a:uLnTx/>
                    <a:uFillTx/>
                    <a:latin typeface="+mn-lt"/>
                    <a:ea typeface="+mn-ea"/>
                    <a:cs typeface="+mn-cs"/>
                  </a:endParaRPr>
                </a:p>
              </p:txBody>
            </p:sp>
            <p:sp>
              <p:nvSpPr>
                <p:cNvPr id="213" name="Freeform 96"/>
                <p:cNvSpPr/>
                <p:nvPr/>
              </p:nvSpPr>
              <p:spPr>
                <a:xfrm>
                  <a:off x="8114451" y="1485062"/>
                  <a:ext cx="1383023" cy="2301293"/>
                </a:xfrm>
                <a:custGeom>
                  <a:avLst/>
                  <a:gdLst>
                    <a:gd name="connsiteX0" fmla="*/ 153350 w 1383024"/>
                    <a:gd name="connsiteY0" fmla="*/ 158752 h 2301294"/>
                    <a:gd name="connsiteX1" fmla="*/ 153350 w 1383024"/>
                    <a:gd name="connsiteY1" fmla="*/ 1958976 h 2301294"/>
                    <a:gd name="connsiteX2" fmla="*/ 1229675 w 1383024"/>
                    <a:gd name="connsiteY2" fmla="*/ 1958976 h 2301294"/>
                    <a:gd name="connsiteX3" fmla="*/ 1229675 w 1383024"/>
                    <a:gd name="connsiteY3" fmla="*/ 158752 h 2301294"/>
                    <a:gd name="connsiteX4" fmla="*/ 116838 w 1383024"/>
                    <a:gd name="connsiteY4" fmla="*/ 0 h 2301294"/>
                    <a:gd name="connsiteX5" fmla="*/ 1266186 w 1383024"/>
                    <a:gd name="connsiteY5" fmla="*/ 0 h 2301294"/>
                    <a:gd name="connsiteX6" fmla="*/ 1383024 w 1383024"/>
                    <a:gd name="connsiteY6" fmla="*/ 116838 h 2301294"/>
                    <a:gd name="connsiteX7" fmla="*/ 1383024 w 1383024"/>
                    <a:gd name="connsiteY7" fmla="*/ 2184456 h 2301294"/>
                    <a:gd name="connsiteX8" fmla="*/ 1266186 w 1383024"/>
                    <a:gd name="connsiteY8" fmla="*/ 2301294 h 2301294"/>
                    <a:gd name="connsiteX9" fmla="*/ 116838 w 1383024"/>
                    <a:gd name="connsiteY9" fmla="*/ 2301294 h 2301294"/>
                    <a:gd name="connsiteX10" fmla="*/ 0 w 1383024"/>
                    <a:gd name="connsiteY10" fmla="*/ 2184456 h 2301294"/>
                    <a:gd name="connsiteX11" fmla="*/ 0 w 1383024"/>
                    <a:gd name="connsiteY11" fmla="*/ 116838 h 2301294"/>
                    <a:gd name="connsiteX12" fmla="*/ 116838 w 1383024"/>
                    <a:gd name="connsiteY12" fmla="*/ 0 h 23012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383024" h="2301294">
                      <a:moveTo>
                        <a:pt x="153350" y="158752"/>
                      </a:moveTo>
                      <a:lnTo>
                        <a:pt x="153350" y="1958976"/>
                      </a:lnTo>
                      <a:lnTo>
                        <a:pt x="1229675" y="1958976"/>
                      </a:lnTo>
                      <a:lnTo>
                        <a:pt x="1229675" y="158752"/>
                      </a:lnTo>
                      <a:close/>
                      <a:moveTo>
                        <a:pt x="116838" y="0"/>
                      </a:moveTo>
                      <a:lnTo>
                        <a:pt x="1266186" y="0"/>
                      </a:lnTo>
                      <a:cubicBezTo>
                        <a:pt x="1330714" y="0"/>
                        <a:pt x="1383024" y="52310"/>
                        <a:pt x="1383024" y="116838"/>
                      </a:cubicBezTo>
                      <a:lnTo>
                        <a:pt x="1383024" y="2184456"/>
                      </a:lnTo>
                      <a:cubicBezTo>
                        <a:pt x="1383024" y="2248984"/>
                        <a:pt x="1330714" y="2301294"/>
                        <a:pt x="1266186" y="2301294"/>
                      </a:cubicBezTo>
                      <a:lnTo>
                        <a:pt x="116838" y="2301294"/>
                      </a:lnTo>
                      <a:cubicBezTo>
                        <a:pt x="52310" y="2301294"/>
                        <a:pt x="0" y="2248984"/>
                        <a:pt x="0" y="2184456"/>
                      </a:cubicBezTo>
                      <a:lnTo>
                        <a:pt x="0" y="116838"/>
                      </a:lnTo>
                      <a:cubicBezTo>
                        <a:pt x="0" y="52310"/>
                        <a:pt x="52310" y="0"/>
                        <a:pt x="116838"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ctr" defTabSz="914363"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chemeClr val="lt1"/>
                    </a:solidFill>
                    <a:effectLst/>
                    <a:uLnTx/>
                    <a:uFillTx/>
                    <a:latin typeface="+mn-lt"/>
                    <a:ea typeface="+mn-ea"/>
                    <a:cs typeface="+mn-cs"/>
                  </a:endParaRPr>
                </a:p>
              </p:txBody>
            </p:sp>
          </p:grpSp>
        </p:grpSp>
        <p:sp>
          <p:nvSpPr>
            <p:cNvPr id="353" name="Oval 112"/>
            <p:cNvSpPr>
              <a:spLocks noChangeArrowheads="1"/>
            </p:cNvSpPr>
            <p:nvPr/>
          </p:nvSpPr>
          <p:spPr bwMode="auto">
            <a:xfrm>
              <a:off x="7670823" y="4511606"/>
              <a:ext cx="520964" cy="520964"/>
            </a:xfrm>
            <a:prstGeom prst="ellipse">
              <a:avLst/>
            </a:pr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220" name="Freeform 10"/>
            <p:cNvSpPr/>
            <p:nvPr/>
          </p:nvSpPr>
          <p:spPr>
            <a:xfrm rot="16200000">
              <a:off x="7767214" y="4608919"/>
              <a:ext cx="336623" cy="336623"/>
            </a:xfrm>
            <a:custGeom>
              <a:avLst/>
              <a:gdLst>
                <a:gd name="connsiteX0" fmla="*/ 688598 w 3295651"/>
                <a:gd name="connsiteY0" fmla="*/ 967956 h 3295651"/>
                <a:gd name="connsiteX1" fmla="*/ 677731 w 3295651"/>
                <a:gd name="connsiteY1" fmla="*/ 945398 h 3295651"/>
                <a:gd name="connsiteX2" fmla="*/ 603916 w 3295651"/>
                <a:gd name="connsiteY2" fmla="*/ 823895 h 3295651"/>
                <a:gd name="connsiteX3" fmla="*/ 523671 w 3295651"/>
                <a:gd name="connsiteY3" fmla="*/ 716585 h 3295651"/>
                <a:gd name="connsiteX4" fmla="*/ 453797 w 3295651"/>
                <a:gd name="connsiteY4" fmla="*/ 800243 h 3295651"/>
                <a:gd name="connsiteX5" fmla="*/ 249493 w 3295651"/>
                <a:gd name="connsiteY5" fmla="*/ 1212430 h 3295651"/>
                <a:gd name="connsiteX6" fmla="*/ 243899 w 3295651"/>
                <a:gd name="connsiteY6" fmla="*/ 1234188 h 3295651"/>
                <a:gd name="connsiteX7" fmla="*/ 294775 w 3295651"/>
                <a:gd name="connsiteY7" fmla="*/ 1194206 h 3295651"/>
                <a:gd name="connsiteX8" fmla="*/ 590064 w 3295651"/>
                <a:gd name="connsiteY8" fmla="*/ 1013716 h 3295651"/>
                <a:gd name="connsiteX9" fmla="*/ 688599 w 3295651"/>
                <a:gd name="connsiteY9" fmla="*/ 2327695 h 3295651"/>
                <a:gd name="connsiteX10" fmla="*/ 590064 w 3295651"/>
                <a:gd name="connsiteY10" fmla="*/ 2281936 h 3295651"/>
                <a:gd name="connsiteX11" fmla="*/ 294775 w 3295651"/>
                <a:gd name="connsiteY11" fmla="*/ 2101445 h 3295651"/>
                <a:gd name="connsiteX12" fmla="*/ 243899 w 3295651"/>
                <a:gd name="connsiteY12" fmla="*/ 2061464 h 3295651"/>
                <a:gd name="connsiteX13" fmla="*/ 249493 w 3295651"/>
                <a:gd name="connsiteY13" fmla="*/ 2083222 h 3295651"/>
                <a:gd name="connsiteX14" fmla="*/ 453797 w 3295651"/>
                <a:gd name="connsiteY14" fmla="*/ 2495409 h 3295651"/>
                <a:gd name="connsiteX15" fmla="*/ 523672 w 3295651"/>
                <a:gd name="connsiteY15" fmla="*/ 2579067 h 3295651"/>
                <a:gd name="connsiteX16" fmla="*/ 603916 w 3295651"/>
                <a:gd name="connsiteY16" fmla="*/ 2471759 h 3295651"/>
                <a:gd name="connsiteX17" fmla="*/ 677731 w 3295651"/>
                <a:gd name="connsiteY17" fmla="*/ 2350256 h 3295651"/>
                <a:gd name="connsiteX18" fmla="*/ 855593 w 3295651"/>
                <a:gd name="connsiteY18" fmla="*/ 1647827 h 3295651"/>
                <a:gd name="connsiteX19" fmla="*/ 789340 w 3295651"/>
                <a:gd name="connsiteY19" fmla="*/ 1209609 h 3295651"/>
                <a:gd name="connsiteX20" fmla="*/ 765819 w 3295651"/>
                <a:gd name="connsiteY20" fmla="*/ 1145344 h 3295651"/>
                <a:gd name="connsiteX21" fmla="*/ 673328 w 3295651"/>
                <a:gd name="connsiteY21" fmla="*/ 1186893 h 3295651"/>
                <a:gd name="connsiteX22" fmla="*/ 197779 w 3295651"/>
                <a:gd name="connsiteY22" fmla="*/ 1511702 h 3295651"/>
                <a:gd name="connsiteX23" fmla="*/ 190164 w 3295651"/>
                <a:gd name="connsiteY23" fmla="*/ 1519183 h 3295651"/>
                <a:gd name="connsiteX24" fmla="*/ 183668 w 3295651"/>
                <a:gd name="connsiteY24" fmla="*/ 1647826 h 3295651"/>
                <a:gd name="connsiteX25" fmla="*/ 190658 w 3295651"/>
                <a:gd name="connsiteY25" fmla="*/ 1786254 h 3295651"/>
                <a:gd name="connsiteX26" fmla="*/ 197779 w 3295651"/>
                <a:gd name="connsiteY26" fmla="*/ 1793249 h 3295651"/>
                <a:gd name="connsiteX27" fmla="*/ 673328 w 3295651"/>
                <a:gd name="connsiteY27" fmla="*/ 2118059 h 3295651"/>
                <a:gd name="connsiteX28" fmla="*/ 762897 w 3295651"/>
                <a:gd name="connsiteY28" fmla="*/ 2158295 h 3295651"/>
                <a:gd name="connsiteX29" fmla="*/ 789340 w 3295651"/>
                <a:gd name="connsiteY29" fmla="*/ 2086045 h 3295651"/>
                <a:gd name="connsiteX30" fmla="*/ 855593 w 3295651"/>
                <a:gd name="connsiteY30" fmla="*/ 1647827 h 3295651"/>
                <a:gd name="connsiteX31" fmla="*/ 1553976 w 3295651"/>
                <a:gd name="connsiteY31" fmla="*/ 2526459 h 3295651"/>
                <a:gd name="connsiteX32" fmla="*/ 1432371 w 3295651"/>
                <a:gd name="connsiteY32" fmla="*/ 2521576 h 3295651"/>
                <a:gd name="connsiteX33" fmla="*/ 911236 w 3295651"/>
                <a:gd name="connsiteY33" fmla="*/ 2416235 h 3295651"/>
                <a:gd name="connsiteX34" fmla="*/ 850097 w 3295651"/>
                <a:gd name="connsiteY34" fmla="*/ 2393395 h 3295651"/>
                <a:gd name="connsiteX35" fmla="*/ 830884 w 3295651"/>
                <a:gd name="connsiteY35" fmla="*/ 2433279 h 3295651"/>
                <a:gd name="connsiteX36" fmla="*/ 653484 w 3295651"/>
                <a:gd name="connsiteY36" fmla="*/ 2695997 h 3295651"/>
                <a:gd name="connsiteX37" fmla="*/ 642663 w 3295651"/>
                <a:gd name="connsiteY37" fmla="*/ 2707904 h 3295651"/>
                <a:gd name="connsiteX38" fmla="*/ 771797 w 3295651"/>
                <a:gd name="connsiteY38" fmla="*/ 2821107 h 3295651"/>
                <a:gd name="connsiteX39" fmla="*/ 1525886 w 3295651"/>
                <a:gd name="connsiteY39" fmla="*/ 3106978 h 3295651"/>
                <a:gd name="connsiteX40" fmla="*/ 1553976 w 3295651"/>
                <a:gd name="connsiteY40" fmla="*/ 3108131 h 3295651"/>
                <a:gd name="connsiteX41" fmla="*/ 1553976 w 3295651"/>
                <a:gd name="connsiteY41" fmla="*/ 964224 h 3295651"/>
                <a:gd name="connsiteX42" fmla="*/ 1464365 w 3295651"/>
                <a:gd name="connsiteY42" fmla="*/ 967436 h 3295651"/>
                <a:gd name="connsiteX43" fmla="*/ 1031256 w 3295651"/>
                <a:gd name="connsiteY43" fmla="*/ 1045428 h 3295651"/>
                <a:gd name="connsiteX44" fmla="*/ 927581 w 3295651"/>
                <a:gd name="connsiteY44" fmla="*/ 1081027 h 3295651"/>
                <a:gd name="connsiteX45" fmla="*/ 955685 w 3295651"/>
                <a:gd name="connsiteY45" fmla="*/ 1157814 h 3295651"/>
                <a:gd name="connsiteX46" fmla="*/ 1029768 w 3295651"/>
                <a:gd name="connsiteY46" fmla="*/ 1647827 h 3295651"/>
                <a:gd name="connsiteX47" fmla="*/ 955685 w 3295651"/>
                <a:gd name="connsiteY47" fmla="*/ 2137840 h 3295651"/>
                <a:gd name="connsiteX48" fmla="*/ 924557 w 3295651"/>
                <a:gd name="connsiteY48" fmla="*/ 2222886 h 3295651"/>
                <a:gd name="connsiteX49" fmla="*/ 1031256 w 3295651"/>
                <a:gd name="connsiteY49" fmla="*/ 2259524 h 3295651"/>
                <a:gd name="connsiteX50" fmla="*/ 1464365 w 3295651"/>
                <a:gd name="connsiteY50" fmla="*/ 2337515 h 3295651"/>
                <a:gd name="connsiteX51" fmla="*/ 1553976 w 3295651"/>
                <a:gd name="connsiteY51" fmla="*/ 2340728 h 3295651"/>
                <a:gd name="connsiteX52" fmla="*/ 1553976 w 3295651"/>
                <a:gd name="connsiteY52" fmla="*/ 187520 h 3295651"/>
                <a:gd name="connsiteX53" fmla="*/ 1525886 w 3295651"/>
                <a:gd name="connsiteY53" fmla="*/ 188673 h 3295651"/>
                <a:gd name="connsiteX54" fmla="*/ 771797 w 3295651"/>
                <a:gd name="connsiteY54" fmla="*/ 474544 h 3295651"/>
                <a:gd name="connsiteX55" fmla="*/ 642661 w 3295651"/>
                <a:gd name="connsiteY55" fmla="*/ 587748 h 3295651"/>
                <a:gd name="connsiteX56" fmla="*/ 653484 w 3295651"/>
                <a:gd name="connsiteY56" fmla="*/ 599657 h 3295651"/>
                <a:gd name="connsiteX57" fmla="*/ 830884 w 3295651"/>
                <a:gd name="connsiteY57" fmla="*/ 862375 h 3295651"/>
                <a:gd name="connsiteX58" fmla="*/ 850096 w 3295651"/>
                <a:gd name="connsiteY58" fmla="*/ 902257 h 3295651"/>
                <a:gd name="connsiteX59" fmla="*/ 911236 w 3295651"/>
                <a:gd name="connsiteY59" fmla="*/ 879416 h 3295651"/>
                <a:gd name="connsiteX60" fmla="*/ 1432371 w 3295651"/>
                <a:gd name="connsiteY60" fmla="*/ 774075 h 3295651"/>
                <a:gd name="connsiteX61" fmla="*/ 1553976 w 3295651"/>
                <a:gd name="connsiteY61" fmla="*/ 769193 h 3295651"/>
                <a:gd name="connsiteX62" fmla="*/ 2363650 w 3295651"/>
                <a:gd name="connsiteY62" fmla="*/ 2202550 h 3295651"/>
                <a:gd name="connsiteX63" fmla="*/ 2339965 w 3295651"/>
                <a:gd name="connsiteY63" fmla="*/ 2137840 h 3295651"/>
                <a:gd name="connsiteX64" fmla="*/ 2265883 w 3295651"/>
                <a:gd name="connsiteY64" fmla="*/ 1647827 h 3295651"/>
                <a:gd name="connsiteX65" fmla="*/ 2339965 w 3295651"/>
                <a:gd name="connsiteY65" fmla="*/ 1157814 h 3295651"/>
                <a:gd name="connsiteX66" fmla="*/ 2360627 w 3295651"/>
                <a:gd name="connsiteY66" fmla="*/ 1101363 h 3295651"/>
                <a:gd name="connsiteX67" fmla="*/ 2197727 w 3295651"/>
                <a:gd name="connsiteY67" fmla="*/ 1045428 h 3295651"/>
                <a:gd name="connsiteX68" fmla="*/ 1764617 w 3295651"/>
                <a:gd name="connsiteY68" fmla="*/ 967436 h 3295651"/>
                <a:gd name="connsiteX69" fmla="*/ 1741675 w 3295651"/>
                <a:gd name="connsiteY69" fmla="*/ 966614 h 3295651"/>
                <a:gd name="connsiteX70" fmla="*/ 1741675 w 3295651"/>
                <a:gd name="connsiteY70" fmla="*/ 2338338 h 3295651"/>
                <a:gd name="connsiteX71" fmla="*/ 1764617 w 3295651"/>
                <a:gd name="connsiteY71" fmla="*/ 2337515 h 3295651"/>
                <a:gd name="connsiteX72" fmla="*/ 2197727 w 3295651"/>
                <a:gd name="connsiteY72" fmla="*/ 2259524 h 3295651"/>
                <a:gd name="connsiteX73" fmla="*/ 2652988 w 3295651"/>
                <a:gd name="connsiteY73" fmla="*/ 2707905 h 3295651"/>
                <a:gd name="connsiteX74" fmla="*/ 2642165 w 3295651"/>
                <a:gd name="connsiteY74" fmla="*/ 2695997 h 3295651"/>
                <a:gd name="connsiteX75" fmla="*/ 2464766 w 3295651"/>
                <a:gd name="connsiteY75" fmla="*/ 2433279 h 3295651"/>
                <a:gd name="connsiteX76" fmla="*/ 2435384 w 3295651"/>
                <a:gd name="connsiteY76" fmla="*/ 2372286 h 3295651"/>
                <a:gd name="connsiteX77" fmla="*/ 2317745 w 3295651"/>
                <a:gd name="connsiteY77" fmla="*/ 2416235 h 3295651"/>
                <a:gd name="connsiteX78" fmla="*/ 1796610 w 3295651"/>
                <a:gd name="connsiteY78" fmla="*/ 2521576 h 3295651"/>
                <a:gd name="connsiteX79" fmla="*/ 1741675 w 3295651"/>
                <a:gd name="connsiteY79" fmla="*/ 2523782 h 3295651"/>
                <a:gd name="connsiteX80" fmla="*/ 1741675 w 3295651"/>
                <a:gd name="connsiteY80" fmla="*/ 3108131 h 3295651"/>
                <a:gd name="connsiteX81" fmla="*/ 1769765 w 3295651"/>
                <a:gd name="connsiteY81" fmla="*/ 3106978 h 3295651"/>
                <a:gd name="connsiteX82" fmla="*/ 2523855 w 3295651"/>
                <a:gd name="connsiteY82" fmla="*/ 2821107 h 3295651"/>
                <a:gd name="connsiteX83" fmla="*/ 2652989 w 3295651"/>
                <a:gd name="connsiteY83" fmla="*/ 587748 h 3295651"/>
                <a:gd name="connsiteX84" fmla="*/ 2523855 w 3295651"/>
                <a:gd name="connsiteY84" fmla="*/ 474544 h 3295651"/>
                <a:gd name="connsiteX85" fmla="*/ 1769765 w 3295651"/>
                <a:gd name="connsiteY85" fmla="*/ 188673 h 3295651"/>
                <a:gd name="connsiteX86" fmla="*/ 1741675 w 3295651"/>
                <a:gd name="connsiteY86" fmla="*/ 187520 h 3295651"/>
                <a:gd name="connsiteX87" fmla="*/ 1741675 w 3295651"/>
                <a:gd name="connsiteY87" fmla="*/ 771870 h 3295651"/>
                <a:gd name="connsiteX88" fmla="*/ 1796610 w 3295651"/>
                <a:gd name="connsiteY88" fmla="*/ 774075 h 3295651"/>
                <a:gd name="connsiteX89" fmla="*/ 2317745 w 3295651"/>
                <a:gd name="connsiteY89" fmla="*/ 879416 h 3295651"/>
                <a:gd name="connsiteX90" fmla="*/ 2435385 w 3295651"/>
                <a:gd name="connsiteY90" fmla="*/ 923365 h 3295651"/>
                <a:gd name="connsiteX91" fmla="*/ 2464766 w 3295651"/>
                <a:gd name="connsiteY91" fmla="*/ 862375 h 3295651"/>
                <a:gd name="connsiteX92" fmla="*/ 2642165 w 3295651"/>
                <a:gd name="connsiteY92" fmla="*/ 599657 h 3295651"/>
                <a:gd name="connsiteX93" fmla="*/ 3068636 w 3295651"/>
                <a:gd name="connsiteY93" fmla="*/ 1995803 h 3295651"/>
                <a:gd name="connsiteX94" fmla="*/ 2934206 w 3295651"/>
                <a:gd name="connsiteY94" fmla="*/ 2101445 h 3295651"/>
                <a:gd name="connsiteX95" fmla="*/ 2638917 w 3295651"/>
                <a:gd name="connsiteY95" fmla="*/ 2281936 h 3295651"/>
                <a:gd name="connsiteX96" fmla="*/ 2607257 w 3295651"/>
                <a:gd name="connsiteY96" fmla="*/ 2296639 h 3295651"/>
                <a:gd name="connsiteX97" fmla="*/ 2629945 w 3295651"/>
                <a:gd name="connsiteY97" fmla="*/ 2343737 h 3295651"/>
                <a:gd name="connsiteX98" fmla="*/ 2703075 w 3295651"/>
                <a:gd name="connsiteY98" fmla="*/ 2464112 h 3295651"/>
                <a:gd name="connsiteX99" fmla="*/ 2780979 w 3295651"/>
                <a:gd name="connsiteY99" fmla="*/ 2568292 h 3295651"/>
                <a:gd name="connsiteX100" fmla="*/ 2841854 w 3295651"/>
                <a:gd name="connsiteY100" fmla="*/ 2495409 h 3295651"/>
                <a:gd name="connsiteX101" fmla="*/ 3046158 w 3295651"/>
                <a:gd name="connsiteY101" fmla="*/ 2083222 h 3295651"/>
                <a:gd name="connsiteX102" fmla="*/ 3068636 w 3295651"/>
                <a:gd name="connsiteY102" fmla="*/ 1299849 h 3295651"/>
                <a:gd name="connsiteX103" fmla="*/ 3046158 w 3295651"/>
                <a:gd name="connsiteY103" fmla="*/ 1212430 h 3295651"/>
                <a:gd name="connsiteX104" fmla="*/ 2841854 w 3295651"/>
                <a:gd name="connsiteY104" fmla="*/ 800243 h 3295651"/>
                <a:gd name="connsiteX105" fmla="*/ 2780980 w 3295651"/>
                <a:gd name="connsiteY105" fmla="*/ 727361 h 3295651"/>
                <a:gd name="connsiteX106" fmla="*/ 2703075 w 3295651"/>
                <a:gd name="connsiteY106" fmla="*/ 831542 h 3295651"/>
                <a:gd name="connsiteX107" fmla="*/ 2629945 w 3295651"/>
                <a:gd name="connsiteY107" fmla="*/ 951917 h 3295651"/>
                <a:gd name="connsiteX108" fmla="*/ 2607258 w 3295651"/>
                <a:gd name="connsiteY108" fmla="*/ 999013 h 3295651"/>
                <a:gd name="connsiteX109" fmla="*/ 2638917 w 3295651"/>
                <a:gd name="connsiteY109" fmla="*/ 1013716 h 3295651"/>
                <a:gd name="connsiteX110" fmla="*/ 2934206 w 3295651"/>
                <a:gd name="connsiteY110" fmla="*/ 1194206 h 3295651"/>
                <a:gd name="connsiteX111" fmla="*/ 3111984 w 3295651"/>
                <a:gd name="connsiteY111" fmla="*/ 1647826 h 3295651"/>
                <a:gd name="connsiteX112" fmla="*/ 3108967 w 3295651"/>
                <a:gd name="connsiteY112" fmla="*/ 1588083 h 3295651"/>
                <a:gd name="connsiteX113" fmla="*/ 3031205 w 3295651"/>
                <a:gd name="connsiteY113" fmla="*/ 1511702 h 3295651"/>
                <a:gd name="connsiteX114" fmla="*/ 2555656 w 3295651"/>
                <a:gd name="connsiteY114" fmla="*/ 1186893 h 3295651"/>
                <a:gd name="connsiteX115" fmla="*/ 2532914 w 3295651"/>
                <a:gd name="connsiteY115" fmla="*/ 1176677 h 3295651"/>
                <a:gd name="connsiteX116" fmla="*/ 2519372 w 3295651"/>
                <a:gd name="connsiteY116" fmla="*/ 1213676 h 3295651"/>
                <a:gd name="connsiteX117" fmla="*/ 2453735 w 3295651"/>
                <a:gd name="connsiteY117" fmla="*/ 1647827 h 3295651"/>
                <a:gd name="connsiteX118" fmla="*/ 2519372 w 3295651"/>
                <a:gd name="connsiteY118" fmla="*/ 2081978 h 3295651"/>
                <a:gd name="connsiteX119" fmla="*/ 2535836 w 3295651"/>
                <a:gd name="connsiteY119" fmla="*/ 2126962 h 3295651"/>
                <a:gd name="connsiteX120" fmla="*/ 2555656 w 3295651"/>
                <a:gd name="connsiteY120" fmla="*/ 2118059 h 3295651"/>
                <a:gd name="connsiteX121" fmla="*/ 3031205 w 3295651"/>
                <a:gd name="connsiteY121" fmla="*/ 1793249 h 3295651"/>
                <a:gd name="connsiteX122" fmla="*/ 3108473 w 3295651"/>
                <a:gd name="connsiteY122" fmla="*/ 1717354 h 3295651"/>
                <a:gd name="connsiteX123" fmla="*/ 3295651 w 3295651"/>
                <a:gd name="connsiteY123" fmla="*/ 1647826 h 3295651"/>
                <a:gd name="connsiteX124" fmla="*/ 2919368 w 3295651"/>
                <a:gd name="connsiteY124" fmla="*/ 2695996 h 3295651"/>
                <a:gd name="connsiteX125" fmla="*/ 2838724 w 3295651"/>
                <a:gd name="connsiteY125" fmla="*/ 2784726 h 3295651"/>
                <a:gd name="connsiteX126" fmla="*/ 2813013 w 3295651"/>
                <a:gd name="connsiteY126" fmla="*/ 2813016 h 3295651"/>
                <a:gd name="connsiteX127" fmla="*/ 2780766 w 3295651"/>
                <a:gd name="connsiteY127" fmla="*/ 2842324 h 3295651"/>
                <a:gd name="connsiteX128" fmla="*/ 2780765 w 3295651"/>
                <a:gd name="connsiteY128" fmla="*/ 2842324 h 3295651"/>
                <a:gd name="connsiteX129" fmla="*/ 2695995 w 3295651"/>
                <a:gd name="connsiteY129" fmla="*/ 2919368 h 3295651"/>
                <a:gd name="connsiteX130" fmla="*/ 1647826 w 3295651"/>
                <a:gd name="connsiteY130" fmla="*/ 3295651 h 3295651"/>
                <a:gd name="connsiteX131" fmla="*/ 599656 w 3295651"/>
                <a:gd name="connsiteY131" fmla="*/ 2919368 h 3295651"/>
                <a:gd name="connsiteX132" fmla="*/ 514885 w 3295651"/>
                <a:gd name="connsiteY132" fmla="*/ 2842323 h 3295651"/>
                <a:gd name="connsiteX133" fmla="*/ 514884 w 3295651"/>
                <a:gd name="connsiteY133" fmla="*/ 2842324 h 3295651"/>
                <a:gd name="connsiteX134" fmla="*/ 482637 w 3295651"/>
                <a:gd name="connsiteY134" fmla="*/ 2813016 h 3295651"/>
                <a:gd name="connsiteX135" fmla="*/ 394798 w 3295651"/>
                <a:gd name="connsiteY135" fmla="*/ 2716368 h 3295651"/>
                <a:gd name="connsiteX136" fmla="*/ 394799 w 3295651"/>
                <a:gd name="connsiteY136" fmla="*/ 2716367 h 3295651"/>
                <a:gd name="connsiteX137" fmla="*/ 376284 w 3295651"/>
                <a:gd name="connsiteY137" fmla="*/ 2695996 h 3295651"/>
                <a:gd name="connsiteX138" fmla="*/ 0 w 3295651"/>
                <a:gd name="connsiteY138" fmla="*/ 1647826 h 3295651"/>
                <a:gd name="connsiteX139" fmla="*/ 1647826 w 3295651"/>
                <a:gd name="connsiteY139" fmla="*/ 0 h 3295651"/>
                <a:gd name="connsiteX140" fmla="*/ 3295651 w 3295651"/>
                <a:gd name="connsiteY140" fmla="*/ 1647826 h 3295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Lst>
              <a:rect l="l" t="t" r="r" b="b"/>
              <a:pathLst>
                <a:path w="3295651" h="3295651">
                  <a:moveTo>
                    <a:pt x="688598" y="967956"/>
                  </a:moveTo>
                  <a:lnTo>
                    <a:pt x="677731" y="945398"/>
                  </a:lnTo>
                  <a:cubicBezTo>
                    <a:pt x="655045" y="903637"/>
                    <a:pt x="630399" y="863095"/>
                    <a:pt x="603916" y="823895"/>
                  </a:cubicBezTo>
                  <a:lnTo>
                    <a:pt x="523671" y="716585"/>
                  </a:lnTo>
                  <a:lnTo>
                    <a:pt x="453797" y="800243"/>
                  </a:lnTo>
                  <a:cubicBezTo>
                    <a:pt x="365343" y="924628"/>
                    <a:pt x="295838" y="1063427"/>
                    <a:pt x="249493" y="1212430"/>
                  </a:cubicBezTo>
                  <a:lnTo>
                    <a:pt x="243899" y="1234188"/>
                  </a:lnTo>
                  <a:lnTo>
                    <a:pt x="294775" y="1194206"/>
                  </a:lnTo>
                  <a:cubicBezTo>
                    <a:pt x="388426" y="1126827"/>
                    <a:pt x="487088" y="1066422"/>
                    <a:pt x="590064" y="1013716"/>
                  </a:cubicBezTo>
                  <a:close/>
                  <a:moveTo>
                    <a:pt x="688599" y="2327695"/>
                  </a:moveTo>
                  <a:lnTo>
                    <a:pt x="590064" y="2281936"/>
                  </a:lnTo>
                  <a:cubicBezTo>
                    <a:pt x="487088" y="2229229"/>
                    <a:pt x="388426" y="2168824"/>
                    <a:pt x="294775" y="2101445"/>
                  </a:cubicBezTo>
                  <a:lnTo>
                    <a:pt x="243899" y="2061464"/>
                  </a:lnTo>
                  <a:lnTo>
                    <a:pt x="249493" y="2083222"/>
                  </a:lnTo>
                  <a:cubicBezTo>
                    <a:pt x="295838" y="2232225"/>
                    <a:pt x="365343" y="2371024"/>
                    <a:pt x="453797" y="2495409"/>
                  </a:cubicBezTo>
                  <a:lnTo>
                    <a:pt x="523672" y="2579067"/>
                  </a:lnTo>
                  <a:lnTo>
                    <a:pt x="603916" y="2471759"/>
                  </a:lnTo>
                  <a:cubicBezTo>
                    <a:pt x="630399" y="2432559"/>
                    <a:pt x="655045" y="2392017"/>
                    <a:pt x="677731" y="2350256"/>
                  </a:cubicBezTo>
                  <a:close/>
                  <a:moveTo>
                    <a:pt x="855593" y="1647827"/>
                  </a:moveTo>
                  <a:cubicBezTo>
                    <a:pt x="855593" y="1495225"/>
                    <a:pt x="832397" y="1348042"/>
                    <a:pt x="789340" y="1209609"/>
                  </a:cubicBezTo>
                  <a:lnTo>
                    <a:pt x="765819" y="1145344"/>
                  </a:lnTo>
                  <a:lnTo>
                    <a:pt x="673328" y="1186893"/>
                  </a:lnTo>
                  <a:cubicBezTo>
                    <a:pt x="501793" y="1273451"/>
                    <a:pt x="342152" y="1382936"/>
                    <a:pt x="197779" y="1511702"/>
                  </a:cubicBezTo>
                  <a:lnTo>
                    <a:pt x="190164" y="1519183"/>
                  </a:lnTo>
                  <a:lnTo>
                    <a:pt x="183668" y="1647826"/>
                  </a:lnTo>
                  <a:lnTo>
                    <a:pt x="190658" y="1786254"/>
                  </a:lnTo>
                  <a:lnTo>
                    <a:pt x="197779" y="1793249"/>
                  </a:lnTo>
                  <a:cubicBezTo>
                    <a:pt x="342152" y="1922016"/>
                    <a:pt x="501793" y="2031501"/>
                    <a:pt x="673328" y="2118059"/>
                  </a:cubicBezTo>
                  <a:lnTo>
                    <a:pt x="762897" y="2158295"/>
                  </a:lnTo>
                  <a:lnTo>
                    <a:pt x="789340" y="2086045"/>
                  </a:lnTo>
                  <a:cubicBezTo>
                    <a:pt x="832397" y="1947612"/>
                    <a:pt x="855593" y="1800428"/>
                    <a:pt x="855593" y="1647827"/>
                  </a:cubicBezTo>
                  <a:close/>
                  <a:moveTo>
                    <a:pt x="1553976" y="2526459"/>
                  </a:moveTo>
                  <a:lnTo>
                    <a:pt x="1432371" y="2521576"/>
                  </a:lnTo>
                  <a:cubicBezTo>
                    <a:pt x="1252092" y="2507042"/>
                    <a:pt x="1077596" y="2471114"/>
                    <a:pt x="911236" y="2416235"/>
                  </a:cubicBezTo>
                  <a:lnTo>
                    <a:pt x="850097" y="2393395"/>
                  </a:lnTo>
                  <a:lnTo>
                    <a:pt x="830884" y="2433279"/>
                  </a:lnTo>
                  <a:cubicBezTo>
                    <a:pt x="780149" y="2526673"/>
                    <a:pt x="720648" y="2614614"/>
                    <a:pt x="653484" y="2695997"/>
                  </a:cubicBezTo>
                  <a:lnTo>
                    <a:pt x="642663" y="2707904"/>
                  </a:lnTo>
                  <a:lnTo>
                    <a:pt x="771797" y="2821107"/>
                  </a:lnTo>
                  <a:cubicBezTo>
                    <a:pt x="985545" y="2980960"/>
                    <a:pt x="1244430" y="3083773"/>
                    <a:pt x="1525886" y="3106978"/>
                  </a:cubicBezTo>
                  <a:lnTo>
                    <a:pt x="1553976" y="3108131"/>
                  </a:lnTo>
                  <a:close/>
                  <a:moveTo>
                    <a:pt x="1553976" y="964224"/>
                  </a:moveTo>
                  <a:lnTo>
                    <a:pt x="1464365" y="967436"/>
                  </a:lnTo>
                  <a:cubicBezTo>
                    <a:pt x="1315520" y="978143"/>
                    <a:pt x="1170675" y="1004653"/>
                    <a:pt x="1031256" y="1045428"/>
                  </a:cubicBezTo>
                  <a:lnTo>
                    <a:pt x="927581" y="1081027"/>
                  </a:lnTo>
                  <a:lnTo>
                    <a:pt x="955685" y="1157814"/>
                  </a:lnTo>
                  <a:cubicBezTo>
                    <a:pt x="1003831" y="1312609"/>
                    <a:pt x="1029768" y="1477189"/>
                    <a:pt x="1029768" y="1647827"/>
                  </a:cubicBezTo>
                  <a:cubicBezTo>
                    <a:pt x="1029768" y="1818465"/>
                    <a:pt x="1003831" y="1983045"/>
                    <a:pt x="955685" y="2137840"/>
                  </a:cubicBezTo>
                  <a:lnTo>
                    <a:pt x="924557" y="2222886"/>
                  </a:lnTo>
                  <a:lnTo>
                    <a:pt x="1031256" y="2259524"/>
                  </a:lnTo>
                  <a:cubicBezTo>
                    <a:pt x="1170675" y="2300299"/>
                    <a:pt x="1315520" y="2326809"/>
                    <a:pt x="1464365" y="2337515"/>
                  </a:cubicBezTo>
                  <a:lnTo>
                    <a:pt x="1553976" y="2340728"/>
                  </a:lnTo>
                  <a:close/>
                  <a:moveTo>
                    <a:pt x="1553976" y="187520"/>
                  </a:moveTo>
                  <a:lnTo>
                    <a:pt x="1525886" y="188673"/>
                  </a:lnTo>
                  <a:cubicBezTo>
                    <a:pt x="1244430" y="211878"/>
                    <a:pt x="985545" y="314691"/>
                    <a:pt x="771797" y="474544"/>
                  </a:cubicBezTo>
                  <a:lnTo>
                    <a:pt x="642661" y="587748"/>
                  </a:lnTo>
                  <a:lnTo>
                    <a:pt x="653484" y="599657"/>
                  </a:lnTo>
                  <a:cubicBezTo>
                    <a:pt x="720648" y="681040"/>
                    <a:pt x="780149" y="768981"/>
                    <a:pt x="830884" y="862375"/>
                  </a:cubicBezTo>
                  <a:lnTo>
                    <a:pt x="850096" y="902257"/>
                  </a:lnTo>
                  <a:lnTo>
                    <a:pt x="911236" y="879416"/>
                  </a:lnTo>
                  <a:cubicBezTo>
                    <a:pt x="1077596" y="824537"/>
                    <a:pt x="1252092" y="788610"/>
                    <a:pt x="1432371" y="774075"/>
                  </a:cubicBezTo>
                  <a:lnTo>
                    <a:pt x="1553976" y="769193"/>
                  </a:lnTo>
                  <a:close/>
                  <a:moveTo>
                    <a:pt x="2363650" y="2202550"/>
                  </a:moveTo>
                  <a:lnTo>
                    <a:pt x="2339965" y="2137840"/>
                  </a:lnTo>
                  <a:cubicBezTo>
                    <a:pt x="2291819" y="1983045"/>
                    <a:pt x="2265883" y="1818465"/>
                    <a:pt x="2265883" y="1647827"/>
                  </a:cubicBezTo>
                  <a:cubicBezTo>
                    <a:pt x="2265883" y="1477189"/>
                    <a:pt x="2291819" y="1312609"/>
                    <a:pt x="2339965" y="1157814"/>
                  </a:cubicBezTo>
                  <a:lnTo>
                    <a:pt x="2360627" y="1101363"/>
                  </a:lnTo>
                  <a:lnTo>
                    <a:pt x="2197727" y="1045428"/>
                  </a:lnTo>
                  <a:cubicBezTo>
                    <a:pt x="2058307" y="1004653"/>
                    <a:pt x="1913463" y="978143"/>
                    <a:pt x="1764617" y="967436"/>
                  </a:cubicBezTo>
                  <a:lnTo>
                    <a:pt x="1741675" y="966614"/>
                  </a:lnTo>
                  <a:lnTo>
                    <a:pt x="1741675" y="2338338"/>
                  </a:lnTo>
                  <a:lnTo>
                    <a:pt x="1764617" y="2337515"/>
                  </a:lnTo>
                  <a:cubicBezTo>
                    <a:pt x="1913463" y="2326809"/>
                    <a:pt x="2058307" y="2300299"/>
                    <a:pt x="2197727" y="2259524"/>
                  </a:cubicBezTo>
                  <a:close/>
                  <a:moveTo>
                    <a:pt x="2652988" y="2707905"/>
                  </a:moveTo>
                  <a:lnTo>
                    <a:pt x="2642165" y="2695997"/>
                  </a:lnTo>
                  <a:cubicBezTo>
                    <a:pt x="2575002" y="2614614"/>
                    <a:pt x="2515501" y="2526673"/>
                    <a:pt x="2464766" y="2433279"/>
                  </a:cubicBezTo>
                  <a:lnTo>
                    <a:pt x="2435384" y="2372286"/>
                  </a:lnTo>
                  <a:lnTo>
                    <a:pt x="2317745" y="2416235"/>
                  </a:lnTo>
                  <a:cubicBezTo>
                    <a:pt x="2151385" y="2471114"/>
                    <a:pt x="1976889" y="2507042"/>
                    <a:pt x="1796610" y="2521576"/>
                  </a:cubicBezTo>
                  <a:lnTo>
                    <a:pt x="1741675" y="2523782"/>
                  </a:lnTo>
                  <a:lnTo>
                    <a:pt x="1741675" y="3108131"/>
                  </a:lnTo>
                  <a:lnTo>
                    <a:pt x="1769765" y="3106978"/>
                  </a:lnTo>
                  <a:cubicBezTo>
                    <a:pt x="2051221" y="3083773"/>
                    <a:pt x="2310106" y="2980960"/>
                    <a:pt x="2523855" y="2821107"/>
                  </a:cubicBezTo>
                  <a:close/>
                  <a:moveTo>
                    <a:pt x="2652989" y="587748"/>
                  </a:moveTo>
                  <a:lnTo>
                    <a:pt x="2523855" y="474544"/>
                  </a:lnTo>
                  <a:cubicBezTo>
                    <a:pt x="2310106" y="314691"/>
                    <a:pt x="2051221" y="211878"/>
                    <a:pt x="1769765" y="188673"/>
                  </a:cubicBezTo>
                  <a:lnTo>
                    <a:pt x="1741675" y="187520"/>
                  </a:lnTo>
                  <a:lnTo>
                    <a:pt x="1741675" y="771870"/>
                  </a:lnTo>
                  <a:lnTo>
                    <a:pt x="1796610" y="774075"/>
                  </a:lnTo>
                  <a:cubicBezTo>
                    <a:pt x="1976889" y="788610"/>
                    <a:pt x="2151385" y="824537"/>
                    <a:pt x="2317745" y="879416"/>
                  </a:cubicBezTo>
                  <a:lnTo>
                    <a:pt x="2435385" y="923365"/>
                  </a:lnTo>
                  <a:lnTo>
                    <a:pt x="2464766" y="862375"/>
                  </a:lnTo>
                  <a:cubicBezTo>
                    <a:pt x="2515501" y="768981"/>
                    <a:pt x="2575002" y="681040"/>
                    <a:pt x="2642165" y="599657"/>
                  </a:cubicBezTo>
                  <a:close/>
                  <a:moveTo>
                    <a:pt x="3068636" y="1995803"/>
                  </a:moveTo>
                  <a:lnTo>
                    <a:pt x="2934206" y="2101445"/>
                  </a:lnTo>
                  <a:cubicBezTo>
                    <a:pt x="2840555" y="2168824"/>
                    <a:pt x="2741893" y="2229229"/>
                    <a:pt x="2638917" y="2281936"/>
                  </a:cubicBezTo>
                  <a:lnTo>
                    <a:pt x="2607257" y="2296639"/>
                  </a:lnTo>
                  <a:lnTo>
                    <a:pt x="2629945" y="2343737"/>
                  </a:lnTo>
                  <a:cubicBezTo>
                    <a:pt x="2652421" y="2385111"/>
                    <a:pt x="2676838" y="2425276"/>
                    <a:pt x="2703075" y="2464112"/>
                  </a:cubicBezTo>
                  <a:lnTo>
                    <a:pt x="2780979" y="2568292"/>
                  </a:lnTo>
                  <a:lnTo>
                    <a:pt x="2841854" y="2495409"/>
                  </a:lnTo>
                  <a:cubicBezTo>
                    <a:pt x="2930308" y="2371024"/>
                    <a:pt x="2999813" y="2232225"/>
                    <a:pt x="3046158" y="2083222"/>
                  </a:cubicBezTo>
                  <a:close/>
                  <a:moveTo>
                    <a:pt x="3068636" y="1299849"/>
                  </a:moveTo>
                  <a:lnTo>
                    <a:pt x="3046158" y="1212430"/>
                  </a:lnTo>
                  <a:cubicBezTo>
                    <a:pt x="2999813" y="1063427"/>
                    <a:pt x="2930308" y="924628"/>
                    <a:pt x="2841854" y="800243"/>
                  </a:cubicBezTo>
                  <a:lnTo>
                    <a:pt x="2780980" y="727361"/>
                  </a:lnTo>
                  <a:lnTo>
                    <a:pt x="2703075" y="831542"/>
                  </a:lnTo>
                  <a:cubicBezTo>
                    <a:pt x="2676838" y="870377"/>
                    <a:pt x="2652421" y="910543"/>
                    <a:pt x="2629945" y="951917"/>
                  </a:cubicBezTo>
                  <a:lnTo>
                    <a:pt x="2607258" y="999013"/>
                  </a:lnTo>
                  <a:lnTo>
                    <a:pt x="2638917" y="1013716"/>
                  </a:lnTo>
                  <a:cubicBezTo>
                    <a:pt x="2741893" y="1066422"/>
                    <a:pt x="2840555" y="1126827"/>
                    <a:pt x="2934206" y="1194206"/>
                  </a:cubicBezTo>
                  <a:close/>
                  <a:moveTo>
                    <a:pt x="3111984" y="1647826"/>
                  </a:moveTo>
                  <a:lnTo>
                    <a:pt x="3108967" y="1588083"/>
                  </a:lnTo>
                  <a:lnTo>
                    <a:pt x="3031205" y="1511702"/>
                  </a:lnTo>
                  <a:cubicBezTo>
                    <a:pt x="2886832" y="1382936"/>
                    <a:pt x="2727191" y="1273451"/>
                    <a:pt x="2555656" y="1186893"/>
                  </a:cubicBezTo>
                  <a:lnTo>
                    <a:pt x="2532914" y="1176677"/>
                  </a:lnTo>
                  <a:lnTo>
                    <a:pt x="2519372" y="1213676"/>
                  </a:lnTo>
                  <a:cubicBezTo>
                    <a:pt x="2476715" y="1350824"/>
                    <a:pt x="2453735" y="1496642"/>
                    <a:pt x="2453735" y="1647827"/>
                  </a:cubicBezTo>
                  <a:cubicBezTo>
                    <a:pt x="2453735" y="1799012"/>
                    <a:pt x="2476715" y="1944830"/>
                    <a:pt x="2519372" y="2081978"/>
                  </a:cubicBezTo>
                  <a:lnTo>
                    <a:pt x="2535836" y="2126962"/>
                  </a:lnTo>
                  <a:lnTo>
                    <a:pt x="2555656" y="2118059"/>
                  </a:lnTo>
                  <a:cubicBezTo>
                    <a:pt x="2727191" y="2031501"/>
                    <a:pt x="2886832" y="1922016"/>
                    <a:pt x="3031205" y="1793249"/>
                  </a:cubicBezTo>
                  <a:lnTo>
                    <a:pt x="3108473" y="1717354"/>
                  </a:lnTo>
                  <a:close/>
                  <a:moveTo>
                    <a:pt x="3295651" y="1647826"/>
                  </a:moveTo>
                  <a:cubicBezTo>
                    <a:pt x="3295651" y="2045981"/>
                    <a:pt x="3154439" y="2411154"/>
                    <a:pt x="2919368" y="2695996"/>
                  </a:cubicBezTo>
                  <a:lnTo>
                    <a:pt x="2838724" y="2784726"/>
                  </a:lnTo>
                  <a:lnTo>
                    <a:pt x="2813013" y="2813016"/>
                  </a:lnTo>
                  <a:lnTo>
                    <a:pt x="2780766" y="2842324"/>
                  </a:lnTo>
                  <a:lnTo>
                    <a:pt x="2780765" y="2842324"/>
                  </a:lnTo>
                  <a:lnTo>
                    <a:pt x="2695995" y="2919368"/>
                  </a:lnTo>
                  <a:cubicBezTo>
                    <a:pt x="2411154" y="3154440"/>
                    <a:pt x="2045981" y="3295651"/>
                    <a:pt x="1647826" y="3295651"/>
                  </a:cubicBezTo>
                  <a:cubicBezTo>
                    <a:pt x="1249671" y="3295651"/>
                    <a:pt x="884497" y="3154440"/>
                    <a:pt x="599656" y="2919368"/>
                  </a:cubicBezTo>
                  <a:lnTo>
                    <a:pt x="514885" y="2842323"/>
                  </a:lnTo>
                  <a:lnTo>
                    <a:pt x="514884" y="2842324"/>
                  </a:lnTo>
                  <a:lnTo>
                    <a:pt x="482637" y="2813016"/>
                  </a:lnTo>
                  <a:lnTo>
                    <a:pt x="394798" y="2716368"/>
                  </a:lnTo>
                  <a:lnTo>
                    <a:pt x="394799" y="2716367"/>
                  </a:lnTo>
                  <a:lnTo>
                    <a:pt x="376284" y="2695996"/>
                  </a:lnTo>
                  <a:cubicBezTo>
                    <a:pt x="141212" y="2411154"/>
                    <a:pt x="0" y="2045981"/>
                    <a:pt x="0" y="1647826"/>
                  </a:cubicBezTo>
                  <a:cubicBezTo>
                    <a:pt x="0" y="737756"/>
                    <a:pt x="737757" y="0"/>
                    <a:pt x="1647826" y="0"/>
                  </a:cubicBezTo>
                  <a:cubicBezTo>
                    <a:pt x="2557895" y="0"/>
                    <a:pt x="3295651" y="737756"/>
                    <a:pt x="3295651" y="1647826"/>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ctr" defTabSz="9143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tx1"/>
                </a:solidFill>
                <a:effectLst/>
                <a:uLnTx/>
                <a:uFillTx/>
                <a:latin typeface="+mn-lt"/>
                <a:ea typeface="+mn-ea"/>
                <a:cs typeface="+mn-cs"/>
              </a:endParaRPr>
            </a:p>
          </p:txBody>
        </p:sp>
        <p:sp>
          <p:nvSpPr>
            <p:cNvPr id="230" name="Freeform 127"/>
            <p:cNvSpPr/>
            <p:nvPr/>
          </p:nvSpPr>
          <p:spPr bwMode="auto">
            <a:xfrm>
              <a:off x="6937262" y="2676627"/>
              <a:ext cx="273342" cy="501963"/>
            </a:xfrm>
            <a:custGeom>
              <a:avLst/>
              <a:gdLst>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41426"/>
                <a:gd name="connsiteY0" fmla="*/ 0 h 4914900"/>
                <a:gd name="connsiteX1" fmla="*/ 1676400 w 2641426"/>
                <a:gd name="connsiteY1" fmla="*/ 0 h 4914900"/>
                <a:gd name="connsiteX2" fmla="*/ 1676400 w 2641426"/>
                <a:gd name="connsiteY2" fmla="*/ 523875 h 4914900"/>
                <a:gd name="connsiteX3" fmla="*/ 2466975 w 2641426"/>
                <a:gd name="connsiteY3" fmla="*/ 647700 h 4914900"/>
                <a:gd name="connsiteX4" fmla="*/ 2466975 w 2641426"/>
                <a:gd name="connsiteY4" fmla="*/ 1628775 h 4914900"/>
                <a:gd name="connsiteX5" fmla="*/ 1276350 w 2641426"/>
                <a:gd name="connsiteY5" fmla="*/ 1400175 h 4914900"/>
                <a:gd name="connsiteX6" fmla="*/ 1238250 w 2641426"/>
                <a:gd name="connsiteY6" fmla="*/ 1800225 h 4914900"/>
                <a:gd name="connsiteX7" fmla="*/ 2638425 w 2641426"/>
                <a:gd name="connsiteY7" fmla="*/ 3276600 h 4914900"/>
                <a:gd name="connsiteX8" fmla="*/ 1685925 w 2641426"/>
                <a:gd name="connsiteY8" fmla="*/ 4305300 h 4914900"/>
                <a:gd name="connsiteX9" fmla="*/ 1685925 w 2641426"/>
                <a:gd name="connsiteY9" fmla="*/ 4914900 h 4914900"/>
                <a:gd name="connsiteX10" fmla="*/ 1038225 w 2641426"/>
                <a:gd name="connsiteY10" fmla="*/ 4914900 h 4914900"/>
                <a:gd name="connsiteX11" fmla="*/ 1038225 w 2641426"/>
                <a:gd name="connsiteY11" fmla="*/ 4381500 h 4914900"/>
                <a:gd name="connsiteX12" fmla="*/ 19050 w 2641426"/>
                <a:gd name="connsiteY12" fmla="*/ 4152900 h 4914900"/>
                <a:gd name="connsiteX13" fmla="*/ 19050 w 2641426"/>
                <a:gd name="connsiteY13" fmla="*/ 3133725 h 4914900"/>
                <a:gd name="connsiteX14" fmla="*/ 1181100 w 2641426"/>
                <a:gd name="connsiteY14" fmla="*/ 3533775 h 4914900"/>
                <a:gd name="connsiteX15" fmla="*/ 1333500 w 2641426"/>
                <a:gd name="connsiteY15" fmla="*/ 3086100 h 4914900"/>
                <a:gd name="connsiteX16" fmla="*/ 0 w 2641426"/>
                <a:gd name="connsiteY16" fmla="*/ 1447800 h 4914900"/>
                <a:gd name="connsiteX17" fmla="*/ 1038225 w 2641426"/>
                <a:gd name="connsiteY17" fmla="*/ 561975 h 4914900"/>
                <a:gd name="connsiteX18" fmla="*/ 1028700 w 2641426"/>
                <a:gd name="connsiteY18" fmla="*/ 0 h 4914900"/>
                <a:gd name="connsiteX0" fmla="*/ 1028700 w 2640867"/>
                <a:gd name="connsiteY0" fmla="*/ 0 h 4914900"/>
                <a:gd name="connsiteX1" fmla="*/ 1676400 w 2640867"/>
                <a:gd name="connsiteY1" fmla="*/ 0 h 4914900"/>
                <a:gd name="connsiteX2" fmla="*/ 1676400 w 2640867"/>
                <a:gd name="connsiteY2" fmla="*/ 523875 h 4914900"/>
                <a:gd name="connsiteX3" fmla="*/ 2466975 w 2640867"/>
                <a:gd name="connsiteY3" fmla="*/ 647700 h 4914900"/>
                <a:gd name="connsiteX4" fmla="*/ 2466975 w 2640867"/>
                <a:gd name="connsiteY4" fmla="*/ 1628775 h 4914900"/>
                <a:gd name="connsiteX5" fmla="*/ 1276350 w 2640867"/>
                <a:gd name="connsiteY5" fmla="*/ 1400175 h 4914900"/>
                <a:gd name="connsiteX6" fmla="*/ 1238250 w 2640867"/>
                <a:gd name="connsiteY6" fmla="*/ 1800225 h 4914900"/>
                <a:gd name="connsiteX7" fmla="*/ 2638425 w 2640867"/>
                <a:gd name="connsiteY7" fmla="*/ 3276600 h 4914900"/>
                <a:gd name="connsiteX8" fmla="*/ 1685925 w 2640867"/>
                <a:gd name="connsiteY8" fmla="*/ 4305300 h 4914900"/>
                <a:gd name="connsiteX9" fmla="*/ 1685925 w 2640867"/>
                <a:gd name="connsiteY9" fmla="*/ 4914900 h 4914900"/>
                <a:gd name="connsiteX10" fmla="*/ 1038225 w 2640867"/>
                <a:gd name="connsiteY10" fmla="*/ 4914900 h 4914900"/>
                <a:gd name="connsiteX11" fmla="*/ 1038225 w 2640867"/>
                <a:gd name="connsiteY11" fmla="*/ 4381500 h 4914900"/>
                <a:gd name="connsiteX12" fmla="*/ 19050 w 2640867"/>
                <a:gd name="connsiteY12" fmla="*/ 4152900 h 4914900"/>
                <a:gd name="connsiteX13" fmla="*/ 19050 w 2640867"/>
                <a:gd name="connsiteY13" fmla="*/ 3133725 h 4914900"/>
                <a:gd name="connsiteX14" fmla="*/ 1181100 w 2640867"/>
                <a:gd name="connsiteY14" fmla="*/ 3533775 h 4914900"/>
                <a:gd name="connsiteX15" fmla="*/ 1333500 w 2640867"/>
                <a:gd name="connsiteY15" fmla="*/ 3086100 h 4914900"/>
                <a:gd name="connsiteX16" fmla="*/ 0 w 2640867"/>
                <a:gd name="connsiteY16" fmla="*/ 1447800 h 4914900"/>
                <a:gd name="connsiteX17" fmla="*/ 1038225 w 2640867"/>
                <a:gd name="connsiteY17" fmla="*/ 561975 h 4914900"/>
                <a:gd name="connsiteX18" fmla="*/ 1028700 w 2640867"/>
                <a:gd name="connsiteY18" fmla="*/ 0 h 4914900"/>
                <a:gd name="connsiteX0" fmla="*/ 1028700 w 2646293"/>
                <a:gd name="connsiteY0" fmla="*/ 0 h 4914900"/>
                <a:gd name="connsiteX1" fmla="*/ 1676400 w 2646293"/>
                <a:gd name="connsiteY1" fmla="*/ 0 h 4914900"/>
                <a:gd name="connsiteX2" fmla="*/ 1676400 w 2646293"/>
                <a:gd name="connsiteY2" fmla="*/ 523875 h 4914900"/>
                <a:gd name="connsiteX3" fmla="*/ 2466975 w 2646293"/>
                <a:gd name="connsiteY3" fmla="*/ 647700 h 4914900"/>
                <a:gd name="connsiteX4" fmla="*/ 2466975 w 2646293"/>
                <a:gd name="connsiteY4" fmla="*/ 1628775 h 4914900"/>
                <a:gd name="connsiteX5" fmla="*/ 1276350 w 2646293"/>
                <a:gd name="connsiteY5" fmla="*/ 1400175 h 4914900"/>
                <a:gd name="connsiteX6" fmla="*/ 1238250 w 2646293"/>
                <a:gd name="connsiteY6" fmla="*/ 1800225 h 4914900"/>
                <a:gd name="connsiteX7" fmla="*/ 2638425 w 2646293"/>
                <a:gd name="connsiteY7" fmla="*/ 3276600 h 4914900"/>
                <a:gd name="connsiteX8" fmla="*/ 1685925 w 2646293"/>
                <a:gd name="connsiteY8" fmla="*/ 4305300 h 4914900"/>
                <a:gd name="connsiteX9" fmla="*/ 1685925 w 2646293"/>
                <a:gd name="connsiteY9" fmla="*/ 4914900 h 4914900"/>
                <a:gd name="connsiteX10" fmla="*/ 1038225 w 2646293"/>
                <a:gd name="connsiteY10" fmla="*/ 4914900 h 4914900"/>
                <a:gd name="connsiteX11" fmla="*/ 1038225 w 2646293"/>
                <a:gd name="connsiteY11" fmla="*/ 4381500 h 4914900"/>
                <a:gd name="connsiteX12" fmla="*/ 19050 w 2646293"/>
                <a:gd name="connsiteY12" fmla="*/ 4152900 h 4914900"/>
                <a:gd name="connsiteX13" fmla="*/ 19050 w 2646293"/>
                <a:gd name="connsiteY13" fmla="*/ 3133725 h 4914900"/>
                <a:gd name="connsiteX14" fmla="*/ 1181100 w 2646293"/>
                <a:gd name="connsiteY14" fmla="*/ 3533775 h 4914900"/>
                <a:gd name="connsiteX15" fmla="*/ 1333500 w 2646293"/>
                <a:gd name="connsiteY15" fmla="*/ 3086100 h 4914900"/>
                <a:gd name="connsiteX16" fmla="*/ 0 w 2646293"/>
                <a:gd name="connsiteY16" fmla="*/ 1447800 h 4914900"/>
                <a:gd name="connsiteX17" fmla="*/ 1038225 w 2646293"/>
                <a:gd name="connsiteY17" fmla="*/ 561975 h 4914900"/>
                <a:gd name="connsiteX18" fmla="*/ 1028700 w 2646293"/>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64796 w 2682440"/>
                <a:gd name="connsiteY0" fmla="*/ 0 h 4914900"/>
                <a:gd name="connsiteX1" fmla="*/ 1712496 w 2682440"/>
                <a:gd name="connsiteY1" fmla="*/ 0 h 4914900"/>
                <a:gd name="connsiteX2" fmla="*/ 1712496 w 2682440"/>
                <a:gd name="connsiteY2" fmla="*/ 523875 h 4914900"/>
                <a:gd name="connsiteX3" fmla="*/ 2503071 w 2682440"/>
                <a:gd name="connsiteY3" fmla="*/ 647700 h 4914900"/>
                <a:gd name="connsiteX4" fmla="*/ 2503071 w 2682440"/>
                <a:gd name="connsiteY4" fmla="*/ 1628775 h 4914900"/>
                <a:gd name="connsiteX5" fmla="*/ 1312446 w 2682440"/>
                <a:gd name="connsiteY5" fmla="*/ 1400175 h 4914900"/>
                <a:gd name="connsiteX6" fmla="*/ 1274346 w 2682440"/>
                <a:gd name="connsiteY6" fmla="*/ 1800225 h 4914900"/>
                <a:gd name="connsiteX7" fmla="*/ 2674521 w 2682440"/>
                <a:gd name="connsiteY7" fmla="*/ 3276600 h 4914900"/>
                <a:gd name="connsiteX8" fmla="*/ 1722021 w 2682440"/>
                <a:gd name="connsiteY8" fmla="*/ 4305300 h 4914900"/>
                <a:gd name="connsiteX9" fmla="*/ 1722021 w 2682440"/>
                <a:gd name="connsiteY9" fmla="*/ 4914900 h 4914900"/>
                <a:gd name="connsiteX10" fmla="*/ 1074321 w 2682440"/>
                <a:gd name="connsiteY10" fmla="*/ 4914900 h 4914900"/>
                <a:gd name="connsiteX11" fmla="*/ 1074321 w 2682440"/>
                <a:gd name="connsiteY11" fmla="*/ 4381500 h 4914900"/>
                <a:gd name="connsiteX12" fmla="*/ 55146 w 2682440"/>
                <a:gd name="connsiteY12" fmla="*/ 4152900 h 4914900"/>
                <a:gd name="connsiteX13" fmla="*/ 55146 w 2682440"/>
                <a:gd name="connsiteY13" fmla="*/ 3133725 h 4914900"/>
                <a:gd name="connsiteX14" fmla="*/ 1217196 w 2682440"/>
                <a:gd name="connsiteY14" fmla="*/ 3533775 h 4914900"/>
                <a:gd name="connsiteX15" fmla="*/ 1369596 w 2682440"/>
                <a:gd name="connsiteY15" fmla="*/ 3086100 h 4914900"/>
                <a:gd name="connsiteX16" fmla="*/ 36096 w 2682440"/>
                <a:gd name="connsiteY16" fmla="*/ 1447800 h 4914900"/>
                <a:gd name="connsiteX17" fmla="*/ 1074321 w 2682440"/>
                <a:gd name="connsiteY17" fmla="*/ 561975 h 4914900"/>
                <a:gd name="connsiteX18" fmla="*/ 1064796 w 2682440"/>
                <a:gd name="connsiteY18" fmla="*/ 0 h 4914900"/>
                <a:gd name="connsiteX0" fmla="*/ 1065400 w 2683044"/>
                <a:gd name="connsiteY0" fmla="*/ 0 h 4914900"/>
                <a:gd name="connsiteX1" fmla="*/ 1713100 w 2683044"/>
                <a:gd name="connsiteY1" fmla="*/ 0 h 4914900"/>
                <a:gd name="connsiteX2" fmla="*/ 1713100 w 2683044"/>
                <a:gd name="connsiteY2" fmla="*/ 523875 h 4914900"/>
                <a:gd name="connsiteX3" fmla="*/ 2503675 w 2683044"/>
                <a:gd name="connsiteY3" fmla="*/ 647700 h 4914900"/>
                <a:gd name="connsiteX4" fmla="*/ 2503675 w 2683044"/>
                <a:gd name="connsiteY4" fmla="*/ 1628775 h 4914900"/>
                <a:gd name="connsiteX5" fmla="*/ 1313050 w 2683044"/>
                <a:gd name="connsiteY5" fmla="*/ 1400175 h 4914900"/>
                <a:gd name="connsiteX6" fmla="*/ 1274950 w 2683044"/>
                <a:gd name="connsiteY6" fmla="*/ 1800225 h 4914900"/>
                <a:gd name="connsiteX7" fmla="*/ 2675125 w 2683044"/>
                <a:gd name="connsiteY7" fmla="*/ 3276600 h 4914900"/>
                <a:gd name="connsiteX8" fmla="*/ 1722625 w 2683044"/>
                <a:gd name="connsiteY8" fmla="*/ 4305300 h 4914900"/>
                <a:gd name="connsiteX9" fmla="*/ 1722625 w 2683044"/>
                <a:gd name="connsiteY9" fmla="*/ 4914900 h 4914900"/>
                <a:gd name="connsiteX10" fmla="*/ 1074925 w 2683044"/>
                <a:gd name="connsiteY10" fmla="*/ 4914900 h 4914900"/>
                <a:gd name="connsiteX11" fmla="*/ 1074925 w 2683044"/>
                <a:gd name="connsiteY11" fmla="*/ 4381500 h 4914900"/>
                <a:gd name="connsiteX12" fmla="*/ 55750 w 2683044"/>
                <a:gd name="connsiteY12" fmla="*/ 4152900 h 4914900"/>
                <a:gd name="connsiteX13" fmla="*/ 55750 w 2683044"/>
                <a:gd name="connsiteY13" fmla="*/ 3133725 h 4914900"/>
                <a:gd name="connsiteX14" fmla="*/ 1217800 w 2683044"/>
                <a:gd name="connsiteY14" fmla="*/ 3533775 h 4914900"/>
                <a:gd name="connsiteX15" fmla="*/ 1370200 w 2683044"/>
                <a:gd name="connsiteY15" fmla="*/ 3086100 h 4914900"/>
                <a:gd name="connsiteX16" fmla="*/ 36700 w 2683044"/>
                <a:gd name="connsiteY16" fmla="*/ 1447800 h 4914900"/>
                <a:gd name="connsiteX17" fmla="*/ 1074925 w 2683044"/>
                <a:gd name="connsiteY17" fmla="*/ 561975 h 4914900"/>
                <a:gd name="connsiteX18" fmla="*/ 1065400 w 2683044"/>
                <a:gd name="connsiteY18" fmla="*/ 0 h 4914900"/>
                <a:gd name="connsiteX0" fmla="*/ 1061280 w 2678924"/>
                <a:gd name="connsiteY0" fmla="*/ 0 h 4914900"/>
                <a:gd name="connsiteX1" fmla="*/ 1708980 w 2678924"/>
                <a:gd name="connsiteY1" fmla="*/ 0 h 4914900"/>
                <a:gd name="connsiteX2" fmla="*/ 1708980 w 2678924"/>
                <a:gd name="connsiteY2" fmla="*/ 523875 h 4914900"/>
                <a:gd name="connsiteX3" fmla="*/ 2499555 w 2678924"/>
                <a:gd name="connsiteY3" fmla="*/ 647700 h 4914900"/>
                <a:gd name="connsiteX4" fmla="*/ 2499555 w 2678924"/>
                <a:gd name="connsiteY4" fmla="*/ 1628775 h 4914900"/>
                <a:gd name="connsiteX5" fmla="*/ 1308930 w 2678924"/>
                <a:gd name="connsiteY5" fmla="*/ 1400175 h 4914900"/>
                <a:gd name="connsiteX6" fmla="*/ 1270830 w 2678924"/>
                <a:gd name="connsiteY6" fmla="*/ 1800225 h 4914900"/>
                <a:gd name="connsiteX7" fmla="*/ 2671005 w 2678924"/>
                <a:gd name="connsiteY7" fmla="*/ 3276600 h 4914900"/>
                <a:gd name="connsiteX8" fmla="*/ 1718505 w 2678924"/>
                <a:gd name="connsiteY8" fmla="*/ 4305300 h 4914900"/>
                <a:gd name="connsiteX9" fmla="*/ 1718505 w 2678924"/>
                <a:gd name="connsiteY9" fmla="*/ 4914900 h 4914900"/>
                <a:gd name="connsiteX10" fmla="*/ 1070805 w 2678924"/>
                <a:gd name="connsiteY10" fmla="*/ 4914900 h 4914900"/>
                <a:gd name="connsiteX11" fmla="*/ 1070805 w 2678924"/>
                <a:gd name="connsiteY11" fmla="*/ 4381500 h 4914900"/>
                <a:gd name="connsiteX12" fmla="*/ 51630 w 2678924"/>
                <a:gd name="connsiteY12" fmla="*/ 4152900 h 4914900"/>
                <a:gd name="connsiteX13" fmla="*/ 51630 w 2678924"/>
                <a:gd name="connsiteY13" fmla="*/ 3133725 h 4914900"/>
                <a:gd name="connsiteX14" fmla="*/ 1213680 w 2678924"/>
                <a:gd name="connsiteY14" fmla="*/ 3533775 h 4914900"/>
                <a:gd name="connsiteX15" fmla="*/ 1366080 w 2678924"/>
                <a:gd name="connsiteY15" fmla="*/ 3086100 h 4914900"/>
                <a:gd name="connsiteX16" fmla="*/ 32580 w 2678924"/>
                <a:gd name="connsiteY16" fmla="*/ 1447800 h 4914900"/>
                <a:gd name="connsiteX17" fmla="*/ 1070805 w 2678924"/>
                <a:gd name="connsiteY17" fmla="*/ 561975 h 4914900"/>
                <a:gd name="connsiteX18" fmla="*/ 1061280 w 2678924"/>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676383" h="4914900">
                  <a:moveTo>
                    <a:pt x="1058739" y="0"/>
                  </a:moveTo>
                  <a:lnTo>
                    <a:pt x="1706439" y="0"/>
                  </a:lnTo>
                  <a:lnTo>
                    <a:pt x="1706439" y="523875"/>
                  </a:lnTo>
                  <a:cubicBezTo>
                    <a:pt x="2008064" y="531813"/>
                    <a:pt x="2233489" y="573087"/>
                    <a:pt x="2497014" y="647700"/>
                  </a:cubicBezTo>
                  <a:lnTo>
                    <a:pt x="2497014" y="1628775"/>
                  </a:lnTo>
                  <a:cubicBezTo>
                    <a:pt x="2047752" y="1390650"/>
                    <a:pt x="1488951" y="1281112"/>
                    <a:pt x="1306389" y="1400175"/>
                  </a:cubicBezTo>
                  <a:cubicBezTo>
                    <a:pt x="1127001" y="1471613"/>
                    <a:pt x="1142876" y="1714500"/>
                    <a:pt x="1268289" y="1800225"/>
                  </a:cubicBezTo>
                  <a:cubicBezTo>
                    <a:pt x="1425452" y="2020888"/>
                    <a:pt x="2792289" y="2236787"/>
                    <a:pt x="2668464" y="3276600"/>
                  </a:cubicBezTo>
                  <a:cubicBezTo>
                    <a:pt x="2608139" y="4000500"/>
                    <a:pt x="1966789" y="4233862"/>
                    <a:pt x="1715964" y="4305300"/>
                  </a:cubicBezTo>
                  <a:lnTo>
                    <a:pt x="1715964" y="4914900"/>
                  </a:lnTo>
                  <a:lnTo>
                    <a:pt x="1068264" y="4914900"/>
                  </a:lnTo>
                  <a:lnTo>
                    <a:pt x="1068264" y="4381500"/>
                  </a:lnTo>
                  <a:cubicBezTo>
                    <a:pt x="685676" y="4371975"/>
                    <a:pt x="222127" y="4267200"/>
                    <a:pt x="49089" y="4152900"/>
                  </a:cubicBezTo>
                  <a:lnTo>
                    <a:pt x="49089" y="3133725"/>
                  </a:lnTo>
                  <a:cubicBezTo>
                    <a:pt x="403102" y="3438525"/>
                    <a:pt x="923802" y="3562350"/>
                    <a:pt x="1211139" y="3533775"/>
                  </a:cubicBezTo>
                  <a:cubicBezTo>
                    <a:pt x="1490539" y="3503613"/>
                    <a:pt x="1498476" y="3201988"/>
                    <a:pt x="1363539" y="3086100"/>
                  </a:cubicBezTo>
                  <a:cubicBezTo>
                    <a:pt x="1176215" y="2820987"/>
                    <a:pt x="-220786" y="2727324"/>
                    <a:pt x="30039" y="1447800"/>
                  </a:cubicBezTo>
                  <a:cubicBezTo>
                    <a:pt x="142751" y="795338"/>
                    <a:pt x="798389" y="585787"/>
                    <a:pt x="1068264" y="561975"/>
                  </a:cubicBezTo>
                  <a:lnTo>
                    <a:pt x="1058739" y="0"/>
                  </a:lnTo>
                  <a:close/>
                </a:path>
              </a:pathLst>
            </a:custGeom>
            <a:solidFill>
              <a:schemeClr val="tx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45720" rIns="45720" bIns="91440"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ctr" defTabSz="91409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50" normalizeH="0" baseline="0" noProof="0" dirty="0" err="1">
                <a:ln>
                  <a:noFill/>
                </a:ln>
                <a:solidFill>
                  <a:schemeClr val="accent1"/>
                </a:solidFill>
                <a:effectLst/>
                <a:uLnTx/>
                <a:uFillTx/>
                <a:latin typeface="Segoe UI" pitchFamily="34" charset="0"/>
                <a:ea typeface="Segoe UI" pitchFamily="34" charset="0"/>
                <a:cs typeface="Segoe UI" pitchFamily="34" charset="0"/>
              </a:endParaRPr>
            </a:p>
          </p:txBody>
        </p:sp>
        <p:sp>
          <p:nvSpPr>
            <p:cNvPr id="354" name="Freeform 127"/>
            <p:cNvSpPr/>
            <p:nvPr/>
          </p:nvSpPr>
          <p:spPr bwMode="auto">
            <a:xfrm>
              <a:off x="6845680" y="1621710"/>
              <a:ext cx="200621" cy="368419"/>
            </a:xfrm>
            <a:custGeom>
              <a:avLst/>
              <a:gdLst>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41426"/>
                <a:gd name="connsiteY0" fmla="*/ 0 h 4914900"/>
                <a:gd name="connsiteX1" fmla="*/ 1676400 w 2641426"/>
                <a:gd name="connsiteY1" fmla="*/ 0 h 4914900"/>
                <a:gd name="connsiteX2" fmla="*/ 1676400 w 2641426"/>
                <a:gd name="connsiteY2" fmla="*/ 523875 h 4914900"/>
                <a:gd name="connsiteX3" fmla="*/ 2466975 w 2641426"/>
                <a:gd name="connsiteY3" fmla="*/ 647700 h 4914900"/>
                <a:gd name="connsiteX4" fmla="*/ 2466975 w 2641426"/>
                <a:gd name="connsiteY4" fmla="*/ 1628775 h 4914900"/>
                <a:gd name="connsiteX5" fmla="*/ 1276350 w 2641426"/>
                <a:gd name="connsiteY5" fmla="*/ 1400175 h 4914900"/>
                <a:gd name="connsiteX6" fmla="*/ 1238250 w 2641426"/>
                <a:gd name="connsiteY6" fmla="*/ 1800225 h 4914900"/>
                <a:gd name="connsiteX7" fmla="*/ 2638425 w 2641426"/>
                <a:gd name="connsiteY7" fmla="*/ 3276600 h 4914900"/>
                <a:gd name="connsiteX8" fmla="*/ 1685925 w 2641426"/>
                <a:gd name="connsiteY8" fmla="*/ 4305300 h 4914900"/>
                <a:gd name="connsiteX9" fmla="*/ 1685925 w 2641426"/>
                <a:gd name="connsiteY9" fmla="*/ 4914900 h 4914900"/>
                <a:gd name="connsiteX10" fmla="*/ 1038225 w 2641426"/>
                <a:gd name="connsiteY10" fmla="*/ 4914900 h 4914900"/>
                <a:gd name="connsiteX11" fmla="*/ 1038225 w 2641426"/>
                <a:gd name="connsiteY11" fmla="*/ 4381500 h 4914900"/>
                <a:gd name="connsiteX12" fmla="*/ 19050 w 2641426"/>
                <a:gd name="connsiteY12" fmla="*/ 4152900 h 4914900"/>
                <a:gd name="connsiteX13" fmla="*/ 19050 w 2641426"/>
                <a:gd name="connsiteY13" fmla="*/ 3133725 h 4914900"/>
                <a:gd name="connsiteX14" fmla="*/ 1181100 w 2641426"/>
                <a:gd name="connsiteY14" fmla="*/ 3533775 h 4914900"/>
                <a:gd name="connsiteX15" fmla="*/ 1333500 w 2641426"/>
                <a:gd name="connsiteY15" fmla="*/ 3086100 h 4914900"/>
                <a:gd name="connsiteX16" fmla="*/ 0 w 2641426"/>
                <a:gd name="connsiteY16" fmla="*/ 1447800 h 4914900"/>
                <a:gd name="connsiteX17" fmla="*/ 1038225 w 2641426"/>
                <a:gd name="connsiteY17" fmla="*/ 561975 h 4914900"/>
                <a:gd name="connsiteX18" fmla="*/ 1028700 w 2641426"/>
                <a:gd name="connsiteY18" fmla="*/ 0 h 4914900"/>
                <a:gd name="connsiteX0" fmla="*/ 1028700 w 2640867"/>
                <a:gd name="connsiteY0" fmla="*/ 0 h 4914900"/>
                <a:gd name="connsiteX1" fmla="*/ 1676400 w 2640867"/>
                <a:gd name="connsiteY1" fmla="*/ 0 h 4914900"/>
                <a:gd name="connsiteX2" fmla="*/ 1676400 w 2640867"/>
                <a:gd name="connsiteY2" fmla="*/ 523875 h 4914900"/>
                <a:gd name="connsiteX3" fmla="*/ 2466975 w 2640867"/>
                <a:gd name="connsiteY3" fmla="*/ 647700 h 4914900"/>
                <a:gd name="connsiteX4" fmla="*/ 2466975 w 2640867"/>
                <a:gd name="connsiteY4" fmla="*/ 1628775 h 4914900"/>
                <a:gd name="connsiteX5" fmla="*/ 1276350 w 2640867"/>
                <a:gd name="connsiteY5" fmla="*/ 1400175 h 4914900"/>
                <a:gd name="connsiteX6" fmla="*/ 1238250 w 2640867"/>
                <a:gd name="connsiteY6" fmla="*/ 1800225 h 4914900"/>
                <a:gd name="connsiteX7" fmla="*/ 2638425 w 2640867"/>
                <a:gd name="connsiteY7" fmla="*/ 3276600 h 4914900"/>
                <a:gd name="connsiteX8" fmla="*/ 1685925 w 2640867"/>
                <a:gd name="connsiteY8" fmla="*/ 4305300 h 4914900"/>
                <a:gd name="connsiteX9" fmla="*/ 1685925 w 2640867"/>
                <a:gd name="connsiteY9" fmla="*/ 4914900 h 4914900"/>
                <a:gd name="connsiteX10" fmla="*/ 1038225 w 2640867"/>
                <a:gd name="connsiteY10" fmla="*/ 4914900 h 4914900"/>
                <a:gd name="connsiteX11" fmla="*/ 1038225 w 2640867"/>
                <a:gd name="connsiteY11" fmla="*/ 4381500 h 4914900"/>
                <a:gd name="connsiteX12" fmla="*/ 19050 w 2640867"/>
                <a:gd name="connsiteY12" fmla="*/ 4152900 h 4914900"/>
                <a:gd name="connsiteX13" fmla="*/ 19050 w 2640867"/>
                <a:gd name="connsiteY13" fmla="*/ 3133725 h 4914900"/>
                <a:gd name="connsiteX14" fmla="*/ 1181100 w 2640867"/>
                <a:gd name="connsiteY14" fmla="*/ 3533775 h 4914900"/>
                <a:gd name="connsiteX15" fmla="*/ 1333500 w 2640867"/>
                <a:gd name="connsiteY15" fmla="*/ 3086100 h 4914900"/>
                <a:gd name="connsiteX16" fmla="*/ 0 w 2640867"/>
                <a:gd name="connsiteY16" fmla="*/ 1447800 h 4914900"/>
                <a:gd name="connsiteX17" fmla="*/ 1038225 w 2640867"/>
                <a:gd name="connsiteY17" fmla="*/ 561975 h 4914900"/>
                <a:gd name="connsiteX18" fmla="*/ 1028700 w 2640867"/>
                <a:gd name="connsiteY18" fmla="*/ 0 h 4914900"/>
                <a:gd name="connsiteX0" fmla="*/ 1028700 w 2646293"/>
                <a:gd name="connsiteY0" fmla="*/ 0 h 4914900"/>
                <a:gd name="connsiteX1" fmla="*/ 1676400 w 2646293"/>
                <a:gd name="connsiteY1" fmla="*/ 0 h 4914900"/>
                <a:gd name="connsiteX2" fmla="*/ 1676400 w 2646293"/>
                <a:gd name="connsiteY2" fmla="*/ 523875 h 4914900"/>
                <a:gd name="connsiteX3" fmla="*/ 2466975 w 2646293"/>
                <a:gd name="connsiteY3" fmla="*/ 647700 h 4914900"/>
                <a:gd name="connsiteX4" fmla="*/ 2466975 w 2646293"/>
                <a:gd name="connsiteY4" fmla="*/ 1628775 h 4914900"/>
                <a:gd name="connsiteX5" fmla="*/ 1276350 w 2646293"/>
                <a:gd name="connsiteY5" fmla="*/ 1400175 h 4914900"/>
                <a:gd name="connsiteX6" fmla="*/ 1238250 w 2646293"/>
                <a:gd name="connsiteY6" fmla="*/ 1800225 h 4914900"/>
                <a:gd name="connsiteX7" fmla="*/ 2638425 w 2646293"/>
                <a:gd name="connsiteY7" fmla="*/ 3276600 h 4914900"/>
                <a:gd name="connsiteX8" fmla="*/ 1685925 w 2646293"/>
                <a:gd name="connsiteY8" fmla="*/ 4305300 h 4914900"/>
                <a:gd name="connsiteX9" fmla="*/ 1685925 w 2646293"/>
                <a:gd name="connsiteY9" fmla="*/ 4914900 h 4914900"/>
                <a:gd name="connsiteX10" fmla="*/ 1038225 w 2646293"/>
                <a:gd name="connsiteY10" fmla="*/ 4914900 h 4914900"/>
                <a:gd name="connsiteX11" fmla="*/ 1038225 w 2646293"/>
                <a:gd name="connsiteY11" fmla="*/ 4381500 h 4914900"/>
                <a:gd name="connsiteX12" fmla="*/ 19050 w 2646293"/>
                <a:gd name="connsiteY12" fmla="*/ 4152900 h 4914900"/>
                <a:gd name="connsiteX13" fmla="*/ 19050 w 2646293"/>
                <a:gd name="connsiteY13" fmla="*/ 3133725 h 4914900"/>
                <a:gd name="connsiteX14" fmla="*/ 1181100 w 2646293"/>
                <a:gd name="connsiteY14" fmla="*/ 3533775 h 4914900"/>
                <a:gd name="connsiteX15" fmla="*/ 1333500 w 2646293"/>
                <a:gd name="connsiteY15" fmla="*/ 3086100 h 4914900"/>
                <a:gd name="connsiteX16" fmla="*/ 0 w 2646293"/>
                <a:gd name="connsiteY16" fmla="*/ 1447800 h 4914900"/>
                <a:gd name="connsiteX17" fmla="*/ 1038225 w 2646293"/>
                <a:gd name="connsiteY17" fmla="*/ 561975 h 4914900"/>
                <a:gd name="connsiteX18" fmla="*/ 1028700 w 2646293"/>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64796 w 2682440"/>
                <a:gd name="connsiteY0" fmla="*/ 0 h 4914900"/>
                <a:gd name="connsiteX1" fmla="*/ 1712496 w 2682440"/>
                <a:gd name="connsiteY1" fmla="*/ 0 h 4914900"/>
                <a:gd name="connsiteX2" fmla="*/ 1712496 w 2682440"/>
                <a:gd name="connsiteY2" fmla="*/ 523875 h 4914900"/>
                <a:gd name="connsiteX3" fmla="*/ 2503071 w 2682440"/>
                <a:gd name="connsiteY3" fmla="*/ 647700 h 4914900"/>
                <a:gd name="connsiteX4" fmla="*/ 2503071 w 2682440"/>
                <a:gd name="connsiteY4" fmla="*/ 1628775 h 4914900"/>
                <a:gd name="connsiteX5" fmla="*/ 1312446 w 2682440"/>
                <a:gd name="connsiteY5" fmla="*/ 1400175 h 4914900"/>
                <a:gd name="connsiteX6" fmla="*/ 1274346 w 2682440"/>
                <a:gd name="connsiteY6" fmla="*/ 1800225 h 4914900"/>
                <a:gd name="connsiteX7" fmla="*/ 2674521 w 2682440"/>
                <a:gd name="connsiteY7" fmla="*/ 3276600 h 4914900"/>
                <a:gd name="connsiteX8" fmla="*/ 1722021 w 2682440"/>
                <a:gd name="connsiteY8" fmla="*/ 4305300 h 4914900"/>
                <a:gd name="connsiteX9" fmla="*/ 1722021 w 2682440"/>
                <a:gd name="connsiteY9" fmla="*/ 4914900 h 4914900"/>
                <a:gd name="connsiteX10" fmla="*/ 1074321 w 2682440"/>
                <a:gd name="connsiteY10" fmla="*/ 4914900 h 4914900"/>
                <a:gd name="connsiteX11" fmla="*/ 1074321 w 2682440"/>
                <a:gd name="connsiteY11" fmla="*/ 4381500 h 4914900"/>
                <a:gd name="connsiteX12" fmla="*/ 55146 w 2682440"/>
                <a:gd name="connsiteY12" fmla="*/ 4152900 h 4914900"/>
                <a:gd name="connsiteX13" fmla="*/ 55146 w 2682440"/>
                <a:gd name="connsiteY13" fmla="*/ 3133725 h 4914900"/>
                <a:gd name="connsiteX14" fmla="*/ 1217196 w 2682440"/>
                <a:gd name="connsiteY14" fmla="*/ 3533775 h 4914900"/>
                <a:gd name="connsiteX15" fmla="*/ 1369596 w 2682440"/>
                <a:gd name="connsiteY15" fmla="*/ 3086100 h 4914900"/>
                <a:gd name="connsiteX16" fmla="*/ 36096 w 2682440"/>
                <a:gd name="connsiteY16" fmla="*/ 1447800 h 4914900"/>
                <a:gd name="connsiteX17" fmla="*/ 1074321 w 2682440"/>
                <a:gd name="connsiteY17" fmla="*/ 561975 h 4914900"/>
                <a:gd name="connsiteX18" fmla="*/ 1064796 w 2682440"/>
                <a:gd name="connsiteY18" fmla="*/ 0 h 4914900"/>
                <a:gd name="connsiteX0" fmla="*/ 1065400 w 2683044"/>
                <a:gd name="connsiteY0" fmla="*/ 0 h 4914900"/>
                <a:gd name="connsiteX1" fmla="*/ 1713100 w 2683044"/>
                <a:gd name="connsiteY1" fmla="*/ 0 h 4914900"/>
                <a:gd name="connsiteX2" fmla="*/ 1713100 w 2683044"/>
                <a:gd name="connsiteY2" fmla="*/ 523875 h 4914900"/>
                <a:gd name="connsiteX3" fmla="*/ 2503675 w 2683044"/>
                <a:gd name="connsiteY3" fmla="*/ 647700 h 4914900"/>
                <a:gd name="connsiteX4" fmla="*/ 2503675 w 2683044"/>
                <a:gd name="connsiteY4" fmla="*/ 1628775 h 4914900"/>
                <a:gd name="connsiteX5" fmla="*/ 1313050 w 2683044"/>
                <a:gd name="connsiteY5" fmla="*/ 1400175 h 4914900"/>
                <a:gd name="connsiteX6" fmla="*/ 1274950 w 2683044"/>
                <a:gd name="connsiteY6" fmla="*/ 1800225 h 4914900"/>
                <a:gd name="connsiteX7" fmla="*/ 2675125 w 2683044"/>
                <a:gd name="connsiteY7" fmla="*/ 3276600 h 4914900"/>
                <a:gd name="connsiteX8" fmla="*/ 1722625 w 2683044"/>
                <a:gd name="connsiteY8" fmla="*/ 4305300 h 4914900"/>
                <a:gd name="connsiteX9" fmla="*/ 1722625 w 2683044"/>
                <a:gd name="connsiteY9" fmla="*/ 4914900 h 4914900"/>
                <a:gd name="connsiteX10" fmla="*/ 1074925 w 2683044"/>
                <a:gd name="connsiteY10" fmla="*/ 4914900 h 4914900"/>
                <a:gd name="connsiteX11" fmla="*/ 1074925 w 2683044"/>
                <a:gd name="connsiteY11" fmla="*/ 4381500 h 4914900"/>
                <a:gd name="connsiteX12" fmla="*/ 55750 w 2683044"/>
                <a:gd name="connsiteY12" fmla="*/ 4152900 h 4914900"/>
                <a:gd name="connsiteX13" fmla="*/ 55750 w 2683044"/>
                <a:gd name="connsiteY13" fmla="*/ 3133725 h 4914900"/>
                <a:gd name="connsiteX14" fmla="*/ 1217800 w 2683044"/>
                <a:gd name="connsiteY14" fmla="*/ 3533775 h 4914900"/>
                <a:gd name="connsiteX15" fmla="*/ 1370200 w 2683044"/>
                <a:gd name="connsiteY15" fmla="*/ 3086100 h 4914900"/>
                <a:gd name="connsiteX16" fmla="*/ 36700 w 2683044"/>
                <a:gd name="connsiteY16" fmla="*/ 1447800 h 4914900"/>
                <a:gd name="connsiteX17" fmla="*/ 1074925 w 2683044"/>
                <a:gd name="connsiteY17" fmla="*/ 561975 h 4914900"/>
                <a:gd name="connsiteX18" fmla="*/ 1065400 w 2683044"/>
                <a:gd name="connsiteY18" fmla="*/ 0 h 4914900"/>
                <a:gd name="connsiteX0" fmla="*/ 1061280 w 2678924"/>
                <a:gd name="connsiteY0" fmla="*/ 0 h 4914900"/>
                <a:gd name="connsiteX1" fmla="*/ 1708980 w 2678924"/>
                <a:gd name="connsiteY1" fmla="*/ 0 h 4914900"/>
                <a:gd name="connsiteX2" fmla="*/ 1708980 w 2678924"/>
                <a:gd name="connsiteY2" fmla="*/ 523875 h 4914900"/>
                <a:gd name="connsiteX3" fmla="*/ 2499555 w 2678924"/>
                <a:gd name="connsiteY3" fmla="*/ 647700 h 4914900"/>
                <a:gd name="connsiteX4" fmla="*/ 2499555 w 2678924"/>
                <a:gd name="connsiteY4" fmla="*/ 1628775 h 4914900"/>
                <a:gd name="connsiteX5" fmla="*/ 1308930 w 2678924"/>
                <a:gd name="connsiteY5" fmla="*/ 1400175 h 4914900"/>
                <a:gd name="connsiteX6" fmla="*/ 1270830 w 2678924"/>
                <a:gd name="connsiteY6" fmla="*/ 1800225 h 4914900"/>
                <a:gd name="connsiteX7" fmla="*/ 2671005 w 2678924"/>
                <a:gd name="connsiteY7" fmla="*/ 3276600 h 4914900"/>
                <a:gd name="connsiteX8" fmla="*/ 1718505 w 2678924"/>
                <a:gd name="connsiteY8" fmla="*/ 4305300 h 4914900"/>
                <a:gd name="connsiteX9" fmla="*/ 1718505 w 2678924"/>
                <a:gd name="connsiteY9" fmla="*/ 4914900 h 4914900"/>
                <a:gd name="connsiteX10" fmla="*/ 1070805 w 2678924"/>
                <a:gd name="connsiteY10" fmla="*/ 4914900 h 4914900"/>
                <a:gd name="connsiteX11" fmla="*/ 1070805 w 2678924"/>
                <a:gd name="connsiteY11" fmla="*/ 4381500 h 4914900"/>
                <a:gd name="connsiteX12" fmla="*/ 51630 w 2678924"/>
                <a:gd name="connsiteY12" fmla="*/ 4152900 h 4914900"/>
                <a:gd name="connsiteX13" fmla="*/ 51630 w 2678924"/>
                <a:gd name="connsiteY13" fmla="*/ 3133725 h 4914900"/>
                <a:gd name="connsiteX14" fmla="*/ 1213680 w 2678924"/>
                <a:gd name="connsiteY14" fmla="*/ 3533775 h 4914900"/>
                <a:gd name="connsiteX15" fmla="*/ 1366080 w 2678924"/>
                <a:gd name="connsiteY15" fmla="*/ 3086100 h 4914900"/>
                <a:gd name="connsiteX16" fmla="*/ 32580 w 2678924"/>
                <a:gd name="connsiteY16" fmla="*/ 1447800 h 4914900"/>
                <a:gd name="connsiteX17" fmla="*/ 1070805 w 2678924"/>
                <a:gd name="connsiteY17" fmla="*/ 561975 h 4914900"/>
                <a:gd name="connsiteX18" fmla="*/ 1061280 w 2678924"/>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676383" h="4914900">
                  <a:moveTo>
                    <a:pt x="1058739" y="0"/>
                  </a:moveTo>
                  <a:lnTo>
                    <a:pt x="1706439" y="0"/>
                  </a:lnTo>
                  <a:lnTo>
                    <a:pt x="1706439" y="523875"/>
                  </a:lnTo>
                  <a:cubicBezTo>
                    <a:pt x="2008064" y="531813"/>
                    <a:pt x="2233489" y="573087"/>
                    <a:pt x="2497014" y="647700"/>
                  </a:cubicBezTo>
                  <a:lnTo>
                    <a:pt x="2497014" y="1628775"/>
                  </a:lnTo>
                  <a:cubicBezTo>
                    <a:pt x="2047752" y="1390650"/>
                    <a:pt x="1488951" y="1281112"/>
                    <a:pt x="1306389" y="1400175"/>
                  </a:cubicBezTo>
                  <a:cubicBezTo>
                    <a:pt x="1127001" y="1471613"/>
                    <a:pt x="1142876" y="1714500"/>
                    <a:pt x="1268289" y="1800225"/>
                  </a:cubicBezTo>
                  <a:cubicBezTo>
                    <a:pt x="1425452" y="2020888"/>
                    <a:pt x="2792289" y="2236787"/>
                    <a:pt x="2668464" y="3276600"/>
                  </a:cubicBezTo>
                  <a:cubicBezTo>
                    <a:pt x="2608139" y="4000500"/>
                    <a:pt x="1966789" y="4233862"/>
                    <a:pt x="1715964" y="4305300"/>
                  </a:cubicBezTo>
                  <a:lnTo>
                    <a:pt x="1715964" y="4914900"/>
                  </a:lnTo>
                  <a:lnTo>
                    <a:pt x="1068264" y="4914900"/>
                  </a:lnTo>
                  <a:lnTo>
                    <a:pt x="1068264" y="4381500"/>
                  </a:lnTo>
                  <a:cubicBezTo>
                    <a:pt x="685676" y="4371975"/>
                    <a:pt x="222127" y="4267200"/>
                    <a:pt x="49089" y="4152900"/>
                  </a:cubicBezTo>
                  <a:lnTo>
                    <a:pt x="49089" y="3133725"/>
                  </a:lnTo>
                  <a:cubicBezTo>
                    <a:pt x="403102" y="3438525"/>
                    <a:pt x="923802" y="3562350"/>
                    <a:pt x="1211139" y="3533775"/>
                  </a:cubicBezTo>
                  <a:cubicBezTo>
                    <a:pt x="1490539" y="3503613"/>
                    <a:pt x="1498476" y="3201988"/>
                    <a:pt x="1363539" y="3086100"/>
                  </a:cubicBezTo>
                  <a:cubicBezTo>
                    <a:pt x="1176215" y="2820987"/>
                    <a:pt x="-220786" y="2727324"/>
                    <a:pt x="30039" y="1447800"/>
                  </a:cubicBezTo>
                  <a:cubicBezTo>
                    <a:pt x="142751" y="795338"/>
                    <a:pt x="798389" y="585787"/>
                    <a:pt x="1068264" y="561975"/>
                  </a:cubicBezTo>
                  <a:lnTo>
                    <a:pt x="1058739" y="0"/>
                  </a:lnTo>
                  <a:close/>
                </a:path>
              </a:pathLst>
            </a:custGeom>
            <a:solidFill>
              <a:schemeClr val="accent6"/>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45720" rIns="45720" bIns="91440"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ctr" defTabSz="91409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50" normalizeH="0" baseline="0" noProof="0" dirty="0" err="1">
                <a:ln>
                  <a:noFill/>
                </a:ln>
                <a:solidFill>
                  <a:schemeClr val="accent1"/>
                </a:solidFill>
                <a:effectLst/>
                <a:uLnTx/>
                <a:uFillTx/>
                <a:latin typeface="Segoe UI" pitchFamily="34" charset="0"/>
                <a:ea typeface="Segoe UI" pitchFamily="34" charset="0"/>
                <a:cs typeface="Segoe UI" pitchFamily="34" charset="0"/>
              </a:endParaRPr>
            </a:p>
          </p:txBody>
        </p:sp>
        <p:sp>
          <p:nvSpPr>
            <p:cNvPr id="156" name="Oval 102"/>
            <p:cNvSpPr>
              <a:spLocks noChangeArrowheads="1"/>
            </p:cNvSpPr>
            <p:nvPr/>
          </p:nvSpPr>
          <p:spPr bwMode="auto">
            <a:xfrm>
              <a:off x="7872815" y="3802845"/>
              <a:ext cx="637944" cy="637944"/>
            </a:xfrm>
            <a:prstGeom prst="ellipse">
              <a:avLst/>
            </a:pr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219" name="Freeform 7"/>
            <p:cNvSpPr>
              <a:spLocks noEditPoints="1"/>
            </p:cNvSpPr>
            <p:nvPr/>
          </p:nvSpPr>
          <p:spPr bwMode="black">
            <a:xfrm>
              <a:off x="8045537" y="3964684"/>
              <a:ext cx="292501" cy="314267"/>
            </a:xfrm>
            <a:custGeom>
              <a:avLst/>
              <a:gdLst>
                <a:gd name="T0" fmla="*/ 278 w 306"/>
                <a:gd name="T1" fmla="*/ 15 h 329"/>
                <a:gd name="T2" fmla="*/ 256 w 306"/>
                <a:gd name="T3" fmla="*/ 22 h 329"/>
                <a:gd name="T4" fmla="*/ 248 w 306"/>
                <a:gd name="T5" fmla="*/ 0 h 329"/>
                <a:gd name="T6" fmla="*/ 56 w 306"/>
                <a:gd name="T7" fmla="*/ 15 h 329"/>
                <a:gd name="T8" fmla="*/ 34 w 306"/>
                <a:gd name="T9" fmla="*/ 22 h 329"/>
                <a:gd name="T10" fmla="*/ 26 w 306"/>
                <a:gd name="T11" fmla="*/ 0 h 329"/>
                <a:gd name="T12" fmla="*/ 0 w 306"/>
                <a:gd name="T13" fmla="*/ 329 h 329"/>
                <a:gd name="T14" fmla="*/ 25 w 306"/>
                <a:gd name="T15" fmla="*/ 314 h 329"/>
                <a:gd name="T16" fmla="*/ 48 w 306"/>
                <a:gd name="T17" fmla="*/ 306 h 329"/>
                <a:gd name="T18" fmla="*/ 55 w 306"/>
                <a:gd name="T19" fmla="*/ 329 h 329"/>
                <a:gd name="T20" fmla="*/ 249 w 306"/>
                <a:gd name="T21" fmla="*/ 314 h 329"/>
                <a:gd name="T22" fmla="*/ 271 w 306"/>
                <a:gd name="T23" fmla="*/ 306 h 329"/>
                <a:gd name="T24" fmla="*/ 279 w 306"/>
                <a:gd name="T25" fmla="*/ 329 h 329"/>
                <a:gd name="T26" fmla="*/ 306 w 306"/>
                <a:gd name="T27" fmla="*/ 0 h 329"/>
                <a:gd name="T28" fmla="*/ 56 w 306"/>
                <a:gd name="T29" fmla="*/ 250 h 329"/>
                <a:gd name="T30" fmla="*/ 34 w 306"/>
                <a:gd name="T31" fmla="*/ 258 h 329"/>
                <a:gd name="T32" fmla="*/ 26 w 306"/>
                <a:gd name="T33" fmla="*/ 236 h 329"/>
                <a:gd name="T34" fmla="*/ 49 w 306"/>
                <a:gd name="T35" fmla="*/ 228 h 329"/>
                <a:gd name="T36" fmla="*/ 56 w 306"/>
                <a:gd name="T37" fmla="*/ 250 h 329"/>
                <a:gd name="T38" fmla="*/ 49 w 306"/>
                <a:gd name="T39" fmla="*/ 179 h 329"/>
                <a:gd name="T40" fmla="*/ 26 w 306"/>
                <a:gd name="T41" fmla="*/ 172 h 329"/>
                <a:gd name="T42" fmla="*/ 34 w 306"/>
                <a:gd name="T43" fmla="*/ 150 h 329"/>
                <a:gd name="T44" fmla="*/ 56 w 306"/>
                <a:gd name="T45" fmla="*/ 157 h 329"/>
                <a:gd name="T46" fmla="*/ 56 w 306"/>
                <a:gd name="T47" fmla="*/ 93 h 329"/>
                <a:gd name="T48" fmla="*/ 34 w 306"/>
                <a:gd name="T49" fmla="*/ 101 h 329"/>
                <a:gd name="T50" fmla="*/ 26 w 306"/>
                <a:gd name="T51" fmla="*/ 79 h 329"/>
                <a:gd name="T52" fmla="*/ 49 w 306"/>
                <a:gd name="T53" fmla="*/ 71 h 329"/>
                <a:gd name="T54" fmla="*/ 56 w 306"/>
                <a:gd name="T55" fmla="*/ 93 h 329"/>
                <a:gd name="T56" fmla="*/ 83 w 306"/>
                <a:gd name="T57" fmla="*/ 295 h 329"/>
                <a:gd name="T58" fmla="*/ 222 w 306"/>
                <a:gd name="T59" fmla="*/ 183 h 329"/>
                <a:gd name="T60" fmla="*/ 222 w 306"/>
                <a:gd name="T61" fmla="*/ 146 h 329"/>
                <a:gd name="T62" fmla="*/ 83 w 306"/>
                <a:gd name="T63" fmla="*/ 34 h 329"/>
                <a:gd name="T64" fmla="*/ 222 w 306"/>
                <a:gd name="T65" fmla="*/ 146 h 329"/>
                <a:gd name="T66" fmla="*/ 270 w 306"/>
                <a:gd name="T67" fmla="*/ 258 h 329"/>
                <a:gd name="T68" fmla="*/ 248 w 306"/>
                <a:gd name="T69" fmla="*/ 250 h 329"/>
                <a:gd name="T70" fmla="*/ 256 w 306"/>
                <a:gd name="T71" fmla="*/ 228 h 329"/>
                <a:gd name="T72" fmla="*/ 278 w 306"/>
                <a:gd name="T73" fmla="*/ 236 h 329"/>
                <a:gd name="T74" fmla="*/ 278 w 306"/>
                <a:gd name="T75" fmla="*/ 172 h 329"/>
                <a:gd name="T76" fmla="*/ 256 w 306"/>
                <a:gd name="T77" fmla="*/ 179 h 329"/>
                <a:gd name="T78" fmla="*/ 248 w 306"/>
                <a:gd name="T79" fmla="*/ 157 h 329"/>
                <a:gd name="T80" fmla="*/ 270 w 306"/>
                <a:gd name="T81" fmla="*/ 150 h 329"/>
                <a:gd name="T82" fmla="*/ 278 w 306"/>
                <a:gd name="T83" fmla="*/ 172 h 329"/>
                <a:gd name="T84" fmla="*/ 270 w 306"/>
                <a:gd name="T85" fmla="*/ 101 h 329"/>
                <a:gd name="T86" fmla="*/ 248 w 306"/>
                <a:gd name="T87" fmla="*/ 93 h 329"/>
                <a:gd name="T88" fmla="*/ 256 w 306"/>
                <a:gd name="T89" fmla="*/ 71 h 329"/>
                <a:gd name="T90" fmla="*/ 278 w 306"/>
                <a:gd name="T91" fmla="*/ 79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06" h="329">
                  <a:moveTo>
                    <a:pt x="278" y="0"/>
                  </a:moveTo>
                  <a:cubicBezTo>
                    <a:pt x="278" y="15"/>
                    <a:pt x="278" y="15"/>
                    <a:pt x="278" y="15"/>
                  </a:cubicBezTo>
                  <a:cubicBezTo>
                    <a:pt x="278" y="19"/>
                    <a:pt x="275" y="22"/>
                    <a:pt x="270" y="22"/>
                  </a:cubicBezTo>
                  <a:cubicBezTo>
                    <a:pt x="256" y="22"/>
                    <a:pt x="256" y="22"/>
                    <a:pt x="256" y="22"/>
                  </a:cubicBezTo>
                  <a:cubicBezTo>
                    <a:pt x="252" y="22"/>
                    <a:pt x="248" y="19"/>
                    <a:pt x="248" y="15"/>
                  </a:cubicBezTo>
                  <a:cubicBezTo>
                    <a:pt x="248" y="0"/>
                    <a:pt x="248" y="0"/>
                    <a:pt x="248" y="0"/>
                  </a:cubicBezTo>
                  <a:cubicBezTo>
                    <a:pt x="56" y="0"/>
                    <a:pt x="56" y="0"/>
                    <a:pt x="56" y="0"/>
                  </a:cubicBezTo>
                  <a:cubicBezTo>
                    <a:pt x="56" y="15"/>
                    <a:pt x="56" y="15"/>
                    <a:pt x="56" y="15"/>
                  </a:cubicBezTo>
                  <a:cubicBezTo>
                    <a:pt x="56" y="19"/>
                    <a:pt x="53" y="22"/>
                    <a:pt x="49" y="22"/>
                  </a:cubicBezTo>
                  <a:cubicBezTo>
                    <a:pt x="34" y="22"/>
                    <a:pt x="34" y="22"/>
                    <a:pt x="34" y="22"/>
                  </a:cubicBezTo>
                  <a:cubicBezTo>
                    <a:pt x="30" y="22"/>
                    <a:pt x="26" y="19"/>
                    <a:pt x="26" y="15"/>
                  </a:cubicBezTo>
                  <a:cubicBezTo>
                    <a:pt x="26" y="0"/>
                    <a:pt x="26" y="0"/>
                    <a:pt x="26" y="0"/>
                  </a:cubicBezTo>
                  <a:cubicBezTo>
                    <a:pt x="0" y="0"/>
                    <a:pt x="0" y="0"/>
                    <a:pt x="0" y="0"/>
                  </a:cubicBezTo>
                  <a:cubicBezTo>
                    <a:pt x="0" y="329"/>
                    <a:pt x="0" y="329"/>
                    <a:pt x="0" y="329"/>
                  </a:cubicBezTo>
                  <a:cubicBezTo>
                    <a:pt x="25" y="329"/>
                    <a:pt x="25" y="329"/>
                    <a:pt x="25" y="329"/>
                  </a:cubicBezTo>
                  <a:cubicBezTo>
                    <a:pt x="25" y="314"/>
                    <a:pt x="25" y="314"/>
                    <a:pt x="25" y="314"/>
                  </a:cubicBezTo>
                  <a:cubicBezTo>
                    <a:pt x="25" y="310"/>
                    <a:pt x="29" y="306"/>
                    <a:pt x="33" y="306"/>
                  </a:cubicBezTo>
                  <a:cubicBezTo>
                    <a:pt x="48" y="306"/>
                    <a:pt x="48" y="306"/>
                    <a:pt x="48" y="306"/>
                  </a:cubicBezTo>
                  <a:cubicBezTo>
                    <a:pt x="52" y="306"/>
                    <a:pt x="55" y="310"/>
                    <a:pt x="55" y="314"/>
                  </a:cubicBezTo>
                  <a:cubicBezTo>
                    <a:pt x="55" y="329"/>
                    <a:pt x="55" y="329"/>
                    <a:pt x="55" y="329"/>
                  </a:cubicBezTo>
                  <a:cubicBezTo>
                    <a:pt x="249" y="329"/>
                    <a:pt x="249" y="329"/>
                    <a:pt x="249" y="329"/>
                  </a:cubicBezTo>
                  <a:cubicBezTo>
                    <a:pt x="249" y="314"/>
                    <a:pt x="249" y="314"/>
                    <a:pt x="249" y="314"/>
                  </a:cubicBezTo>
                  <a:cubicBezTo>
                    <a:pt x="249" y="310"/>
                    <a:pt x="253" y="306"/>
                    <a:pt x="257" y="306"/>
                  </a:cubicBezTo>
                  <a:cubicBezTo>
                    <a:pt x="271" y="306"/>
                    <a:pt x="271" y="306"/>
                    <a:pt x="271" y="306"/>
                  </a:cubicBezTo>
                  <a:cubicBezTo>
                    <a:pt x="276" y="306"/>
                    <a:pt x="279" y="310"/>
                    <a:pt x="279" y="314"/>
                  </a:cubicBezTo>
                  <a:cubicBezTo>
                    <a:pt x="279" y="329"/>
                    <a:pt x="279" y="329"/>
                    <a:pt x="279" y="329"/>
                  </a:cubicBezTo>
                  <a:cubicBezTo>
                    <a:pt x="306" y="329"/>
                    <a:pt x="306" y="329"/>
                    <a:pt x="306" y="329"/>
                  </a:cubicBezTo>
                  <a:cubicBezTo>
                    <a:pt x="306" y="0"/>
                    <a:pt x="306" y="0"/>
                    <a:pt x="306" y="0"/>
                  </a:cubicBezTo>
                  <a:lnTo>
                    <a:pt x="278" y="0"/>
                  </a:lnTo>
                  <a:close/>
                  <a:moveTo>
                    <a:pt x="56" y="250"/>
                  </a:moveTo>
                  <a:cubicBezTo>
                    <a:pt x="56" y="254"/>
                    <a:pt x="53" y="258"/>
                    <a:pt x="49" y="258"/>
                  </a:cubicBezTo>
                  <a:cubicBezTo>
                    <a:pt x="34" y="258"/>
                    <a:pt x="34" y="258"/>
                    <a:pt x="34" y="258"/>
                  </a:cubicBezTo>
                  <a:cubicBezTo>
                    <a:pt x="30" y="258"/>
                    <a:pt x="26" y="254"/>
                    <a:pt x="26" y="250"/>
                  </a:cubicBezTo>
                  <a:cubicBezTo>
                    <a:pt x="26" y="236"/>
                    <a:pt x="26" y="236"/>
                    <a:pt x="26" y="236"/>
                  </a:cubicBezTo>
                  <a:cubicBezTo>
                    <a:pt x="26" y="231"/>
                    <a:pt x="30" y="228"/>
                    <a:pt x="34" y="228"/>
                  </a:cubicBezTo>
                  <a:cubicBezTo>
                    <a:pt x="49" y="228"/>
                    <a:pt x="49" y="228"/>
                    <a:pt x="49" y="228"/>
                  </a:cubicBezTo>
                  <a:cubicBezTo>
                    <a:pt x="53" y="228"/>
                    <a:pt x="56" y="231"/>
                    <a:pt x="56" y="236"/>
                  </a:cubicBezTo>
                  <a:lnTo>
                    <a:pt x="56" y="250"/>
                  </a:lnTo>
                  <a:close/>
                  <a:moveTo>
                    <a:pt x="56" y="172"/>
                  </a:moveTo>
                  <a:cubicBezTo>
                    <a:pt x="56" y="176"/>
                    <a:pt x="53" y="179"/>
                    <a:pt x="49" y="179"/>
                  </a:cubicBezTo>
                  <a:cubicBezTo>
                    <a:pt x="34" y="179"/>
                    <a:pt x="34" y="179"/>
                    <a:pt x="34" y="179"/>
                  </a:cubicBezTo>
                  <a:cubicBezTo>
                    <a:pt x="30" y="179"/>
                    <a:pt x="26" y="176"/>
                    <a:pt x="26" y="172"/>
                  </a:cubicBezTo>
                  <a:cubicBezTo>
                    <a:pt x="26" y="157"/>
                    <a:pt x="26" y="157"/>
                    <a:pt x="26" y="157"/>
                  </a:cubicBezTo>
                  <a:cubicBezTo>
                    <a:pt x="26" y="153"/>
                    <a:pt x="30" y="150"/>
                    <a:pt x="34" y="150"/>
                  </a:cubicBezTo>
                  <a:cubicBezTo>
                    <a:pt x="49" y="150"/>
                    <a:pt x="49" y="150"/>
                    <a:pt x="49" y="150"/>
                  </a:cubicBezTo>
                  <a:cubicBezTo>
                    <a:pt x="53" y="150"/>
                    <a:pt x="56" y="153"/>
                    <a:pt x="56" y="157"/>
                  </a:cubicBezTo>
                  <a:lnTo>
                    <a:pt x="56" y="172"/>
                  </a:lnTo>
                  <a:close/>
                  <a:moveTo>
                    <a:pt x="56" y="93"/>
                  </a:moveTo>
                  <a:cubicBezTo>
                    <a:pt x="56" y="97"/>
                    <a:pt x="53" y="101"/>
                    <a:pt x="49" y="101"/>
                  </a:cubicBezTo>
                  <a:cubicBezTo>
                    <a:pt x="34" y="101"/>
                    <a:pt x="34" y="101"/>
                    <a:pt x="34" y="101"/>
                  </a:cubicBezTo>
                  <a:cubicBezTo>
                    <a:pt x="30" y="101"/>
                    <a:pt x="26" y="97"/>
                    <a:pt x="26" y="93"/>
                  </a:cubicBezTo>
                  <a:cubicBezTo>
                    <a:pt x="26" y="79"/>
                    <a:pt x="26" y="79"/>
                    <a:pt x="26" y="79"/>
                  </a:cubicBezTo>
                  <a:cubicBezTo>
                    <a:pt x="26" y="74"/>
                    <a:pt x="30" y="71"/>
                    <a:pt x="34" y="71"/>
                  </a:cubicBezTo>
                  <a:cubicBezTo>
                    <a:pt x="49" y="71"/>
                    <a:pt x="49" y="71"/>
                    <a:pt x="49" y="71"/>
                  </a:cubicBezTo>
                  <a:cubicBezTo>
                    <a:pt x="53" y="71"/>
                    <a:pt x="56" y="74"/>
                    <a:pt x="56" y="79"/>
                  </a:cubicBezTo>
                  <a:lnTo>
                    <a:pt x="56" y="93"/>
                  </a:lnTo>
                  <a:close/>
                  <a:moveTo>
                    <a:pt x="222" y="295"/>
                  </a:moveTo>
                  <a:cubicBezTo>
                    <a:pt x="83" y="295"/>
                    <a:pt x="83" y="295"/>
                    <a:pt x="83" y="295"/>
                  </a:cubicBezTo>
                  <a:cubicBezTo>
                    <a:pt x="83" y="183"/>
                    <a:pt x="83" y="183"/>
                    <a:pt x="83" y="183"/>
                  </a:cubicBezTo>
                  <a:cubicBezTo>
                    <a:pt x="222" y="183"/>
                    <a:pt x="222" y="183"/>
                    <a:pt x="222" y="183"/>
                  </a:cubicBezTo>
                  <a:lnTo>
                    <a:pt x="222" y="295"/>
                  </a:lnTo>
                  <a:close/>
                  <a:moveTo>
                    <a:pt x="222" y="146"/>
                  </a:moveTo>
                  <a:cubicBezTo>
                    <a:pt x="83" y="146"/>
                    <a:pt x="83" y="146"/>
                    <a:pt x="83" y="146"/>
                  </a:cubicBezTo>
                  <a:cubicBezTo>
                    <a:pt x="83" y="34"/>
                    <a:pt x="83" y="34"/>
                    <a:pt x="83" y="34"/>
                  </a:cubicBezTo>
                  <a:cubicBezTo>
                    <a:pt x="222" y="34"/>
                    <a:pt x="222" y="34"/>
                    <a:pt x="222" y="34"/>
                  </a:cubicBezTo>
                  <a:lnTo>
                    <a:pt x="222" y="146"/>
                  </a:lnTo>
                  <a:close/>
                  <a:moveTo>
                    <a:pt x="278" y="250"/>
                  </a:moveTo>
                  <a:cubicBezTo>
                    <a:pt x="278" y="254"/>
                    <a:pt x="275" y="258"/>
                    <a:pt x="270" y="258"/>
                  </a:cubicBezTo>
                  <a:cubicBezTo>
                    <a:pt x="256" y="258"/>
                    <a:pt x="256" y="258"/>
                    <a:pt x="256" y="258"/>
                  </a:cubicBezTo>
                  <a:cubicBezTo>
                    <a:pt x="252" y="258"/>
                    <a:pt x="248" y="254"/>
                    <a:pt x="248" y="250"/>
                  </a:cubicBezTo>
                  <a:cubicBezTo>
                    <a:pt x="248" y="236"/>
                    <a:pt x="248" y="236"/>
                    <a:pt x="248" y="236"/>
                  </a:cubicBezTo>
                  <a:cubicBezTo>
                    <a:pt x="248" y="231"/>
                    <a:pt x="252" y="228"/>
                    <a:pt x="256" y="228"/>
                  </a:cubicBezTo>
                  <a:cubicBezTo>
                    <a:pt x="270" y="228"/>
                    <a:pt x="270" y="228"/>
                    <a:pt x="270" y="228"/>
                  </a:cubicBezTo>
                  <a:cubicBezTo>
                    <a:pt x="275" y="228"/>
                    <a:pt x="278" y="231"/>
                    <a:pt x="278" y="236"/>
                  </a:cubicBezTo>
                  <a:lnTo>
                    <a:pt x="278" y="250"/>
                  </a:lnTo>
                  <a:close/>
                  <a:moveTo>
                    <a:pt x="278" y="172"/>
                  </a:moveTo>
                  <a:cubicBezTo>
                    <a:pt x="278" y="176"/>
                    <a:pt x="275" y="179"/>
                    <a:pt x="270" y="179"/>
                  </a:cubicBezTo>
                  <a:cubicBezTo>
                    <a:pt x="256" y="179"/>
                    <a:pt x="256" y="179"/>
                    <a:pt x="256" y="179"/>
                  </a:cubicBezTo>
                  <a:cubicBezTo>
                    <a:pt x="252" y="179"/>
                    <a:pt x="248" y="176"/>
                    <a:pt x="248" y="172"/>
                  </a:cubicBezTo>
                  <a:cubicBezTo>
                    <a:pt x="248" y="157"/>
                    <a:pt x="248" y="157"/>
                    <a:pt x="248" y="157"/>
                  </a:cubicBezTo>
                  <a:cubicBezTo>
                    <a:pt x="248" y="153"/>
                    <a:pt x="252" y="150"/>
                    <a:pt x="256" y="150"/>
                  </a:cubicBezTo>
                  <a:cubicBezTo>
                    <a:pt x="270" y="150"/>
                    <a:pt x="270" y="150"/>
                    <a:pt x="270" y="150"/>
                  </a:cubicBezTo>
                  <a:cubicBezTo>
                    <a:pt x="275" y="150"/>
                    <a:pt x="278" y="153"/>
                    <a:pt x="278" y="157"/>
                  </a:cubicBezTo>
                  <a:lnTo>
                    <a:pt x="278" y="172"/>
                  </a:lnTo>
                  <a:close/>
                  <a:moveTo>
                    <a:pt x="278" y="93"/>
                  </a:moveTo>
                  <a:cubicBezTo>
                    <a:pt x="278" y="97"/>
                    <a:pt x="275" y="101"/>
                    <a:pt x="270" y="101"/>
                  </a:cubicBezTo>
                  <a:cubicBezTo>
                    <a:pt x="256" y="101"/>
                    <a:pt x="256" y="101"/>
                    <a:pt x="256" y="101"/>
                  </a:cubicBezTo>
                  <a:cubicBezTo>
                    <a:pt x="252" y="101"/>
                    <a:pt x="248" y="97"/>
                    <a:pt x="248" y="93"/>
                  </a:cubicBezTo>
                  <a:cubicBezTo>
                    <a:pt x="248" y="79"/>
                    <a:pt x="248" y="79"/>
                    <a:pt x="248" y="79"/>
                  </a:cubicBezTo>
                  <a:cubicBezTo>
                    <a:pt x="248" y="74"/>
                    <a:pt x="252" y="71"/>
                    <a:pt x="256" y="71"/>
                  </a:cubicBezTo>
                  <a:cubicBezTo>
                    <a:pt x="270" y="71"/>
                    <a:pt x="270" y="71"/>
                    <a:pt x="270" y="71"/>
                  </a:cubicBezTo>
                  <a:cubicBezTo>
                    <a:pt x="275" y="71"/>
                    <a:pt x="278" y="74"/>
                    <a:pt x="278" y="79"/>
                  </a:cubicBezTo>
                  <a:lnTo>
                    <a:pt x="278" y="93"/>
                  </a:lnTo>
                  <a:close/>
                </a:path>
              </a:pathLst>
            </a:custGeom>
            <a:solidFill>
              <a:schemeClr val="bg1"/>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l" defTabSz="74074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22" normalizeH="0" baseline="0" noProof="0" dirty="0">
                <a:ln>
                  <a:noFill/>
                </a:ln>
                <a:solidFill>
                  <a:schemeClr val="tx1">
                    <a:lumMod val="50000"/>
                  </a:schemeClr>
                </a:solidFill>
                <a:effectLst/>
                <a:uLnTx/>
                <a:uFillTx/>
                <a:latin typeface="Segoe Light" pitchFamily="34" charset="0"/>
                <a:ea typeface="+mn-ea"/>
                <a:cs typeface="+mn-cs"/>
              </a:endParaRPr>
            </a:p>
          </p:txBody>
        </p:sp>
      </p:grpSp>
      <p:sp>
        <p:nvSpPr>
          <p:cNvPr id="356" name="Freeform 127"/>
          <p:cNvSpPr/>
          <p:nvPr/>
        </p:nvSpPr>
        <p:spPr bwMode="auto">
          <a:xfrm>
            <a:off x="10982403" y="3960916"/>
            <a:ext cx="123490" cy="226776"/>
          </a:xfrm>
          <a:custGeom>
            <a:avLst/>
            <a:gdLst>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41426"/>
              <a:gd name="connsiteY0" fmla="*/ 0 h 4914900"/>
              <a:gd name="connsiteX1" fmla="*/ 1676400 w 2641426"/>
              <a:gd name="connsiteY1" fmla="*/ 0 h 4914900"/>
              <a:gd name="connsiteX2" fmla="*/ 1676400 w 2641426"/>
              <a:gd name="connsiteY2" fmla="*/ 523875 h 4914900"/>
              <a:gd name="connsiteX3" fmla="*/ 2466975 w 2641426"/>
              <a:gd name="connsiteY3" fmla="*/ 647700 h 4914900"/>
              <a:gd name="connsiteX4" fmla="*/ 2466975 w 2641426"/>
              <a:gd name="connsiteY4" fmla="*/ 1628775 h 4914900"/>
              <a:gd name="connsiteX5" fmla="*/ 1276350 w 2641426"/>
              <a:gd name="connsiteY5" fmla="*/ 1400175 h 4914900"/>
              <a:gd name="connsiteX6" fmla="*/ 1238250 w 2641426"/>
              <a:gd name="connsiteY6" fmla="*/ 1800225 h 4914900"/>
              <a:gd name="connsiteX7" fmla="*/ 2638425 w 2641426"/>
              <a:gd name="connsiteY7" fmla="*/ 3276600 h 4914900"/>
              <a:gd name="connsiteX8" fmla="*/ 1685925 w 2641426"/>
              <a:gd name="connsiteY8" fmla="*/ 4305300 h 4914900"/>
              <a:gd name="connsiteX9" fmla="*/ 1685925 w 2641426"/>
              <a:gd name="connsiteY9" fmla="*/ 4914900 h 4914900"/>
              <a:gd name="connsiteX10" fmla="*/ 1038225 w 2641426"/>
              <a:gd name="connsiteY10" fmla="*/ 4914900 h 4914900"/>
              <a:gd name="connsiteX11" fmla="*/ 1038225 w 2641426"/>
              <a:gd name="connsiteY11" fmla="*/ 4381500 h 4914900"/>
              <a:gd name="connsiteX12" fmla="*/ 19050 w 2641426"/>
              <a:gd name="connsiteY12" fmla="*/ 4152900 h 4914900"/>
              <a:gd name="connsiteX13" fmla="*/ 19050 w 2641426"/>
              <a:gd name="connsiteY13" fmla="*/ 3133725 h 4914900"/>
              <a:gd name="connsiteX14" fmla="*/ 1181100 w 2641426"/>
              <a:gd name="connsiteY14" fmla="*/ 3533775 h 4914900"/>
              <a:gd name="connsiteX15" fmla="*/ 1333500 w 2641426"/>
              <a:gd name="connsiteY15" fmla="*/ 3086100 h 4914900"/>
              <a:gd name="connsiteX16" fmla="*/ 0 w 2641426"/>
              <a:gd name="connsiteY16" fmla="*/ 1447800 h 4914900"/>
              <a:gd name="connsiteX17" fmla="*/ 1038225 w 2641426"/>
              <a:gd name="connsiteY17" fmla="*/ 561975 h 4914900"/>
              <a:gd name="connsiteX18" fmla="*/ 1028700 w 2641426"/>
              <a:gd name="connsiteY18" fmla="*/ 0 h 4914900"/>
              <a:gd name="connsiteX0" fmla="*/ 1028700 w 2640867"/>
              <a:gd name="connsiteY0" fmla="*/ 0 h 4914900"/>
              <a:gd name="connsiteX1" fmla="*/ 1676400 w 2640867"/>
              <a:gd name="connsiteY1" fmla="*/ 0 h 4914900"/>
              <a:gd name="connsiteX2" fmla="*/ 1676400 w 2640867"/>
              <a:gd name="connsiteY2" fmla="*/ 523875 h 4914900"/>
              <a:gd name="connsiteX3" fmla="*/ 2466975 w 2640867"/>
              <a:gd name="connsiteY3" fmla="*/ 647700 h 4914900"/>
              <a:gd name="connsiteX4" fmla="*/ 2466975 w 2640867"/>
              <a:gd name="connsiteY4" fmla="*/ 1628775 h 4914900"/>
              <a:gd name="connsiteX5" fmla="*/ 1276350 w 2640867"/>
              <a:gd name="connsiteY5" fmla="*/ 1400175 h 4914900"/>
              <a:gd name="connsiteX6" fmla="*/ 1238250 w 2640867"/>
              <a:gd name="connsiteY6" fmla="*/ 1800225 h 4914900"/>
              <a:gd name="connsiteX7" fmla="*/ 2638425 w 2640867"/>
              <a:gd name="connsiteY7" fmla="*/ 3276600 h 4914900"/>
              <a:gd name="connsiteX8" fmla="*/ 1685925 w 2640867"/>
              <a:gd name="connsiteY8" fmla="*/ 4305300 h 4914900"/>
              <a:gd name="connsiteX9" fmla="*/ 1685925 w 2640867"/>
              <a:gd name="connsiteY9" fmla="*/ 4914900 h 4914900"/>
              <a:gd name="connsiteX10" fmla="*/ 1038225 w 2640867"/>
              <a:gd name="connsiteY10" fmla="*/ 4914900 h 4914900"/>
              <a:gd name="connsiteX11" fmla="*/ 1038225 w 2640867"/>
              <a:gd name="connsiteY11" fmla="*/ 4381500 h 4914900"/>
              <a:gd name="connsiteX12" fmla="*/ 19050 w 2640867"/>
              <a:gd name="connsiteY12" fmla="*/ 4152900 h 4914900"/>
              <a:gd name="connsiteX13" fmla="*/ 19050 w 2640867"/>
              <a:gd name="connsiteY13" fmla="*/ 3133725 h 4914900"/>
              <a:gd name="connsiteX14" fmla="*/ 1181100 w 2640867"/>
              <a:gd name="connsiteY14" fmla="*/ 3533775 h 4914900"/>
              <a:gd name="connsiteX15" fmla="*/ 1333500 w 2640867"/>
              <a:gd name="connsiteY15" fmla="*/ 3086100 h 4914900"/>
              <a:gd name="connsiteX16" fmla="*/ 0 w 2640867"/>
              <a:gd name="connsiteY16" fmla="*/ 1447800 h 4914900"/>
              <a:gd name="connsiteX17" fmla="*/ 1038225 w 2640867"/>
              <a:gd name="connsiteY17" fmla="*/ 561975 h 4914900"/>
              <a:gd name="connsiteX18" fmla="*/ 1028700 w 2640867"/>
              <a:gd name="connsiteY18" fmla="*/ 0 h 4914900"/>
              <a:gd name="connsiteX0" fmla="*/ 1028700 w 2646293"/>
              <a:gd name="connsiteY0" fmla="*/ 0 h 4914900"/>
              <a:gd name="connsiteX1" fmla="*/ 1676400 w 2646293"/>
              <a:gd name="connsiteY1" fmla="*/ 0 h 4914900"/>
              <a:gd name="connsiteX2" fmla="*/ 1676400 w 2646293"/>
              <a:gd name="connsiteY2" fmla="*/ 523875 h 4914900"/>
              <a:gd name="connsiteX3" fmla="*/ 2466975 w 2646293"/>
              <a:gd name="connsiteY3" fmla="*/ 647700 h 4914900"/>
              <a:gd name="connsiteX4" fmla="*/ 2466975 w 2646293"/>
              <a:gd name="connsiteY4" fmla="*/ 1628775 h 4914900"/>
              <a:gd name="connsiteX5" fmla="*/ 1276350 w 2646293"/>
              <a:gd name="connsiteY5" fmla="*/ 1400175 h 4914900"/>
              <a:gd name="connsiteX6" fmla="*/ 1238250 w 2646293"/>
              <a:gd name="connsiteY6" fmla="*/ 1800225 h 4914900"/>
              <a:gd name="connsiteX7" fmla="*/ 2638425 w 2646293"/>
              <a:gd name="connsiteY7" fmla="*/ 3276600 h 4914900"/>
              <a:gd name="connsiteX8" fmla="*/ 1685925 w 2646293"/>
              <a:gd name="connsiteY8" fmla="*/ 4305300 h 4914900"/>
              <a:gd name="connsiteX9" fmla="*/ 1685925 w 2646293"/>
              <a:gd name="connsiteY9" fmla="*/ 4914900 h 4914900"/>
              <a:gd name="connsiteX10" fmla="*/ 1038225 w 2646293"/>
              <a:gd name="connsiteY10" fmla="*/ 4914900 h 4914900"/>
              <a:gd name="connsiteX11" fmla="*/ 1038225 w 2646293"/>
              <a:gd name="connsiteY11" fmla="*/ 4381500 h 4914900"/>
              <a:gd name="connsiteX12" fmla="*/ 19050 w 2646293"/>
              <a:gd name="connsiteY12" fmla="*/ 4152900 h 4914900"/>
              <a:gd name="connsiteX13" fmla="*/ 19050 w 2646293"/>
              <a:gd name="connsiteY13" fmla="*/ 3133725 h 4914900"/>
              <a:gd name="connsiteX14" fmla="*/ 1181100 w 2646293"/>
              <a:gd name="connsiteY14" fmla="*/ 3533775 h 4914900"/>
              <a:gd name="connsiteX15" fmla="*/ 1333500 w 2646293"/>
              <a:gd name="connsiteY15" fmla="*/ 3086100 h 4914900"/>
              <a:gd name="connsiteX16" fmla="*/ 0 w 2646293"/>
              <a:gd name="connsiteY16" fmla="*/ 1447800 h 4914900"/>
              <a:gd name="connsiteX17" fmla="*/ 1038225 w 2646293"/>
              <a:gd name="connsiteY17" fmla="*/ 561975 h 4914900"/>
              <a:gd name="connsiteX18" fmla="*/ 1028700 w 2646293"/>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64796 w 2682440"/>
              <a:gd name="connsiteY0" fmla="*/ 0 h 4914900"/>
              <a:gd name="connsiteX1" fmla="*/ 1712496 w 2682440"/>
              <a:gd name="connsiteY1" fmla="*/ 0 h 4914900"/>
              <a:gd name="connsiteX2" fmla="*/ 1712496 w 2682440"/>
              <a:gd name="connsiteY2" fmla="*/ 523875 h 4914900"/>
              <a:gd name="connsiteX3" fmla="*/ 2503071 w 2682440"/>
              <a:gd name="connsiteY3" fmla="*/ 647700 h 4914900"/>
              <a:gd name="connsiteX4" fmla="*/ 2503071 w 2682440"/>
              <a:gd name="connsiteY4" fmla="*/ 1628775 h 4914900"/>
              <a:gd name="connsiteX5" fmla="*/ 1312446 w 2682440"/>
              <a:gd name="connsiteY5" fmla="*/ 1400175 h 4914900"/>
              <a:gd name="connsiteX6" fmla="*/ 1274346 w 2682440"/>
              <a:gd name="connsiteY6" fmla="*/ 1800225 h 4914900"/>
              <a:gd name="connsiteX7" fmla="*/ 2674521 w 2682440"/>
              <a:gd name="connsiteY7" fmla="*/ 3276600 h 4914900"/>
              <a:gd name="connsiteX8" fmla="*/ 1722021 w 2682440"/>
              <a:gd name="connsiteY8" fmla="*/ 4305300 h 4914900"/>
              <a:gd name="connsiteX9" fmla="*/ 1722021 w 2682440"/>
              <a:gd name="connsiteY9" fmla="*/ 4914900 h 4914900"/>
              <a:gd name="connsiteX10" fmla="*/ 1074321 w 2682440"/>
              <a:gd name="connsiteY10" fmla="*/ 4914900 h 4914900"/>
              <a:gd name="connsiteX11" fmla="*/ 1074321 w 2682440"/>
              <a:gd name="connsiteY11" fmla="*/ 4381500 h 4914900"/>
              <a:gd name="connsiteX12" fmla="*/ 55146 w 2682440"/>
              <a:gd name="connsiteY12" fmla="*/ 4152900 h 4914900"/>
              <a:gd name="connsiteX13" fmla="*/ 55146 w 2682440"/>
              <a:gd name="connsiteY13" fmla="*/ 3133725 h 4914900"/>
              <a:gd name="connsiteX14" fmla="*/ 1217196 w 2682440"/>
              <a:gd name="connsiteY14" fmla="*/ 3533775 h 4914900"/>
              <a:gd name="connsiteX15" fmla="*/ 1369596 w 2682440"/>
              <a:gd name="connsiteY15" fmla="*/ 3086100 h 4914900"/>
              <a:gd name="connsiteX16" fmla="*/ 36096 w 2682440"/>
              <a:gd name="connsiteY16" fmla="*/ 1447800 h 4914900"/>
              <a:gd name="connsiteX17" fmla="*/ 1074321 w 2682440"/>
              <a:gd name="connsiteY17" fmla="*/ 561975 h 4914900"/>
              <a:gd name="connsiteX18" fmla="*/ 1064796 w 2682440"/>
              <a:gd name="connsiteY18" fmla="*/ 0 h 4914900"/>
              <a:gd name="connsiteX0" fmla="*/ 1065400 w 2683044"/>
              <a:gd name="connsiteY0" fmla="*/ 0 h 4914900"/>
              <a:gd name="connsiteX1" fmla="*/ 1713100 w 2683044"/>
              <a:gd name="connsiteY1" fmla="*/ 0 h 4914900"/>
              <a:gd name="connsiteX2" fmla="*/ 1713100 w 2683044"/>
              <a:gd name="connsiteY2" fmla="*/ 523875 h 4914900"/>
              <a:gd name="connsiteX3" fmla="*/ 2503675 w 2683044"/>
              <a:gd name="connsiteY3" fmla="*/ 647700 h 4914900"/>
              <a:gd name="connsiteX4" fmla="*/ 2503675 w 2683044"/>
              <a:gd name="connsiteY4" fmla="*/ 1628775 h 4914900"/>
              <a:gd name="connsiteX5" fmla="*/ 1313050 w 2683044"/>
              <a:gd name="connsiteY5" fmla="*/ 1400175 h 4914900"/>
              <a:gd name="connsiteX6" fmla="*/ 1274950 w 2683044"/>
              <a:gd name="connsiteY6" fmla="*/ 1800225 h 4914900"/>
              <a:gd name="connsiteX7" fmla="*/ 2675125 w 2683044"/>
              <a:gd name="connsiteY7" fmla="*/ 3276600 h 4914900"/>
              <a:gd name="connsiteX8" fmla="*/ 1722625 w 2683044"/>
              <a:gd name="connsiteY8" fmla="*/ 4305300 h 4914900"/>
              <a:gd name="connsiteX9" fmla="*/ 1722625 w 2683044"/>
              <a:gd name="connsiteY9" fmla="*/ 4914900 h 4914900"/>
              <a:gd name="connsiteX10" fmla="*/ 1074925 w 2683044"/>
              <a:gd name="connsiteY10" fmla="*/ 4914900 h 4914900"/>
              <a:gd name="connsiteX11" fmla="*/ 1074925 w 2683044"/>
              <a:gd name="connsiteY11" fmla="*/ 4381500 h 4914900"/>
              <a:gd name="connsiteX12" fmla="*/ 55750 w 2683044"/>
              <a:gd name="connsiteY12" fmla="*/ 4152900 h 4914900"/>
              <a:gd name="connsiteX13" fmla="*/ 55750 w 2683044"/>
              <a:gd name="connsiteY13" fmla="*/ 3133725 h 4914900"/>
              <a:gd name="connsiteX14" fmla="*/ 1217800 w 2683044"/>
              <a:gd name="connsiteY14" fmla="*/ 3533775 h 4914900"/>
              <a:gd name="connsiteX15" fmla="*/ 1370200 w 2683044"/>
              <a:gd name="connsiteY15" fmla="*/ 3086100 h 4914900"/>
              <a:gd name="connsiteX16" fmla="*/ 36700 w 2683044"/>
              <a:gd name="connsiteY16" fmla="*/ 1447800 h 4914900"/>
              <a:gd name="connsiteX17" fmla="*/ 1074925 w 2683044"/>
              <a:gd name="connsiteY17" fmla="*/ 561975 h 4914900"/>
              <a:gd name="connsiteX18" fmla="*/ 1065400 w 2683044"/>
              <a:gd name="connsiteY18" fmla="*/ 0 h 4914900"/>
              <a:gd name="connsiteX0" fmla="*/ 1061280 w 2678924"/>
              <a:gd name="connsiteY0" fmla="*/ 0 h 4914900"/>
              <a:gd name="connsiteX1" fmla="*/ 1708980 w 2678924"/>
              <a:gd name="connsiteY1" fmla="*/ 0 h 4914900"/>
              <a:gd name="connsiteX2" fmla="*/ 1708980 w 2678924"/>
              <a:gd name="connsiteY2" fmla="*/ 523875 h 4914900"/>
              <a:gd name="connsiteX3" fmla="*/ 2499555 w 2678924"/>
              <a:gd name="connsiteY3" fmla="*/ 647700 h 4914900"/>
              <a:gd name="connsiteX4" fmla="*/ 2499555 w 2678924"/>
              <a:gd name="connsiteY4" fmla="*/ 1628775 h 4914900"/>
              <a:gd name="connsiteX5" fmla="*/ 1308930 w 2678924"/>
              <a:gd name="connsiteY5" fmla="*/ 1400175 h 4914900"/>
              <a:gd name="connsiteX6" fmla="*/ 1270830 w 2678924"/>
              <a:gd name="connsiteY6" fmla="*/ 1800225 h 4914900"/>
              <a:gd name="connsiteX7" fmla="*/ 2671005 w 2678924"/>
              <a:gd name="connsiteY7" fmla="*/ 3276600 h 4914900"/>
              <a:gd name="connsiteX8" fmla="*/ 1718505 w 2678924"/>
              <a:gd name="connsiteY8" fmla="*/ 4305300 h 4914900"/>
              <a:gd name="connsiteX9" fmla="*/ 1718505 w 2678924"/>
              <a:gd name="connsiteY9" fmla="*/ 4914900 h 4914900"/>
              <a:gd name="connsiteX10" fmla="*/ 1070805 w 2678924"/>
              <a:gd name="connsiteY10" fmla="*/ 4914900 h 4914900"/>
              <a:gd name="connsiteX11" fmla="*/ 1070805 w 2678924"/>
              <a:gd name="connsiteY11" fmla="*/ 4381500 h 4914900"/>
              <a:gd name="connsiteX12" fmla="*/ 51630 w 2678924"/>
              <a:gd name="connsiteY12" fmla="*/ 4152900 h 4914900"/>
              <a:gd name="connsiteX13" fmla="*/ 51630 w 2678924"/>
              <a:gd name="connsiteY13" fmla="*/ 3133725 h 4914900"/>
              <a:gd name="connsiteX14" fmla="*/ 1213680 w 2678924"/>
              <a:gd name="connsiteY14" fmla="*/ 3533775 h 4914900"/>
              <a:gd name="connsiteX15" fmla="*/ 1366080 w 2678924"/>
              <a:gd name="connsiteY15" fmla="*/ 3086100 h 4914900"/>
              <a:gd name="connsiteX16" fmla="*/ 32580 w 2678924"/>
              <a:gd name="connsiteY16" fmla="*/ 1447800 h 4914900"/>
              <a:gd name="connsiteX17" fmla="*/ 1070805 w 2678924"/>
              <a:gd name="connsiteY17" fmla="*/ 561975 h 4914900"/>
              <a:gd name="connsiteX18" fmla="*/ 1061280 w 2678924"/>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676383" h="4914900">
                <a:moveTo>
                  <a:pt x="1058739" y="0"/>
                </a:moveTo>
                <a:lnTo>
                  <a:pt x="1706439" y="0"/>
                </a:lnTo>
                <a:lnTo>
                  <a:pt x="1706439" y="523875"/>
                </a:lnTo>
                <a:cubicBezTo>
                  <a:pt x="2008064" y="531813"/>
                  <a:pt x="2233489" y="573087"/>
                  <a:pt x="2497014" y="647700"/>
                </a:cubicBezTo>
                <a:lnTo>
                  <a:pt x="2497014" y="1628775"/>
                </a:lnTo>
                <a:cubicBezTo>
                  <a:pt x="2047752" y="1390650"/>
                  <a:pt x="1488951" y="1281112"/>
                  <a:pt x="1306389" y="1400175"/>
                </a:cubicBezTo>
                <a:cubicBezTo>
                  <a:pt x="1127001" y="1471613"/>
                  <a:pt x="1142876" y="1714500"/>
                  <a:pt x="1268289" y="1800225"/>
                </a:cubicBezTo>
                <a:cubicBezTo>
                  <a:pt x="1425452" y="2020888"/>
                  <a:pt x="2792289" y="2236787"/>
                  <a:pt x="2668464" y="3276600"/>
                </a:cubicBezTo>
                <a:cubicBezTo>
                  <a:pt x="2608139" y="4000500"/>
                  <a:pt x="1966789" y="4233862"/>
                  <a:pt x="1715964" y="4305300"/>
                </a:cubicBezTo>
                <a:lnTo>
                  <a:pt x="1715964" y="4914900"/>
                </a:lnTo>
                <a:lnTo>
                  <a:pt x="1068264" y="4914900"/>
                </a:lnTo>
                <a:lnTo>
                  <a:pt x="1068264" y="4381500"/>
                </a:lnTo>
                <a:cubicBezTo>
                  <a:pt x="685676" y="4371975"/>
                  <a:pt x="222127" y="4267200"/>
                  <a:pt x="49089" y="4152900"/>
                </a:cubicBezTo>
                <a:lnTo>
                  <a:pt x="49089" y="3133725"/>
                </a:lnTo>
                <a:cubicBezTo>
                  <a:pt x="403102" y="3438525"/>
                  <a:pt x="923802" y="3562350"/>
                  <a:pt x="1211139" y="3533775"/>
                </a:cubicBezTo>
                <a:cubicBezTo>
                  <a:pt x="1490539" y="3503613"/>
                  <a:pt x="1498476" y="3201988"/>
                  <a:pt x="1363539" y="3086100"/>
                </a:cubicBezTo>
                <a:cubicBezTo>
                  <a:pt x="1176215" y="2820987"/>
                  <a:pt x="-220786" y="2727324"/>
                  <a:pt x="30039" y="1447800"/>
                </a:cubicBezTo>
                <a:cubicBezTo>
                  <a:pt x="142751" y="795338"/>
                  <a:pt x="798389" y="585787"/>
                  <a:pt x="1068264" y="561975"/>
                </a:cubicBezTo>
                <a:lnTo>
                  <a:pt x="1058739" y="0"/>
                </a:lnTo>
                <a:close/>
              </a:path>
            </a:pathLst>
          </a:custGeom>
          <a:solidFill>
            <a:schemeClr val="accent6"/>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45720" rIns="45720" bIns="91440"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ctr" defTabSz="91409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50" normalizeH="0" baseline="0" noProof="0" dirty="0" err="1">
              <a:ln>
                <a:noFill/>
              </a:ln>
              <a:solidFill>
                <a:schemeClr val="accent1"/>
              </a:solidFill>
              <a:effectLst/>
              <a:uLnTx/>
              <a:uFillTx/>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2356602743"/>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osts breakdown by stage</a:t>
            </a:r>
          </a:p>
        </p:txBody>
      </p:sp>
      <p:sp>
        <p:nvSpPr>
          <p:cNvPr id="10" name="Rectangle 9"/>
          <p:cNvSpPr/>
          <p:nvPr/>
        </p:nvSpPr>
        <p:spPr bwMode="auto">
          <a:xfrm>
            <a:off x="576106" y="1454745"/>
            <a:ext cx="3474720" cy="822960"/>
          </a:xfrm>
          <a:prstGeom prst="rect">
            <a:avLst/>
          </a:prstGeom>
          <a:solidFill>
            <a:schemeClr val="tx2"/>
          </a:solidFill>
          <a:ln w="31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vert="horz" wrap="square" lIns="179259" tIns="45713" rIns="0" bIns="45713" numCol="1" rtlCol="0" anchor="ctr" anchorCtr="0" compatLnSpc="1">
            <a:prstTxWarp prst="textNoShape">
              <a:avLst/>
            </a:prstTxWarp>
          </a:bodyPr>
          <a:lstStyle/>
          <a:p>
            <a:pPr marL="0" marR="0" lvl="0" indent="0" algn="ctr" defTabSz="913908" eaLnBrk="1" fontAlgn="base" latinLnBrk="0" hangingPunct="1">
              <a:lnSpc>
                <a:spcPct val="100000"/>
              </a:lnSpc>
              <a:spcBef>
                <a:spcPct val="0"/>
              </a:spcBef>
              <a:spcAft>
                <a:spcPct val="0"/>
              </a:spcAft>
              <a:buClrTx/>
              <a:buSzTx/>
              <a:buFontTx/>
              <a:buNone/>
              <a:tabLst/>
              <a:defRPr/>
            </a:pPr>
            <a:r>
              <a:rPr kumimoji="0" lang="en-US" sz="3200" b="0" i="0" u="none" strike="noStrike" kern="0" cap="none" spc="0" normalizeH="0" baseline="0" noProof="0" dirty="0">
                <a:ln>
                  <a:noFill/>
                </a:ln>
                <a:gradFill>
                  <a:gsLst>
                    <a:gs pos="0">
                      <a:srgbClr val="FFFFFF"/>
                    </a:gs>
                    <a:gs pos="100000">
                      <a:srgbClr val="FFFFFF"/>
                    </a:gs>
                  </a:gsLst>
                  <a:lin ang="5400000" scaled="0"/>
                </a:gradFill>
                <a:effectLst/>
                <a:uLnTx/>
                <a:uFillTx/>
              </a:rPr>
              <a:t>Ingestion</a:t>
            </a:r>
          </a:p>
        </p:txBody>
      </p:sp>
      <p:sp>
        <p:nvSpPr>
          <p:cNvPr id="11" name="Rectangle 10"/>
          <p:cNvSpPr/>
          <p:nvPr/>
        </p:nvSpPr>
        <p:spPr bwMode="auto">
          <a:xfrm>
            <a:off x="576106" y="2633857"/>
            <a:ext cx="3474720" cy="822960"/>
          </a:xfrm>
          <a:prstGeom prst="rect">
            <a:avLst/>
          </a:prstGeom>
          <a:solidFill>
            <a:schemeClr val="tx2"/>
          </a:solidFill>
          <a:ln w="31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vert="horz" wrap="square" lIns="179259" tIns="45713" rIns="0" bIns="45713" numCol="1" rtlCol="0" anchor="ctr" anchorCtr="0" compatLnSpc="1">
            <a:prstTxWarp prst="textNoShape">
              <a:avLst/>
            </a:prstTxWarp>
          </a:bodyPr>
          <a:lstStyle/>
          <a:p>
            <a:pPr marL="0" marR="0" lvl="0" indent="0" algn="ctr" defTabSz="913908" eaLnBrk="1" fontAlgn="base" latinLnBrk="0" hangingPunct="1">
              <a:lnSpc>
                <a:spcPct val="100000"/>
              </a:lnSpc>
              <a:spcBef>
                <a:spcPct val="0"/>
              </a:spcBef>
              <a:spcAft>
                <a:spcPct val="0"/>
              </a:spcAft>
              <a:buClrTx/>
              <a:buSzTx/>
              <a:buFontTx/>
              <a:buNone/>
              <a:tabLst/>
              <a:defRPr/>
            </a:pPr>
            <a:r>
              <a:rPr kumimoji="0" lang="en-US" sz="3200" b="0" i="0" u="none" strike="noStrike" kern="0" cap="none" spc="0" normalizeH="0" baseline="0" noProof="0" dirty="0">
                <a:ln>
                  <a:noFill/>
                </a:ln>
                <a:gradFill>
                  <a:gsLst>
                    <a:gs pos="0">
                      <a:srgbClr val="FFFFFF"/>
                    </a:gs>
                    <a:gs pos="100000">
                      <a:srgbClr val="FFFFFF"/>
                    </a:gs>
                  </a:gsLst>
                  <a:lin ang="5400000" scaled="0"/>
                </a:gradFill>
                <a:effectLst/>
                <a:uLnTx/>
                <a:uFillTx/>
              </a:rPr>
              <a:t>Storage</a:t>
            </a:r>
          </a:p>
        </p:txBody>
      </p:sp>
      <p:sp>
        <p:nvSpPr>
          <p:cNvPr id="12" name="Rectangle 11"/>
          <p:cNvSpPr/>
          <p:nvPr/>
        </p:nvSpPr>
        <p:spPr bwMode="auto">
          <a:xfrm>
            <a:off x="576106" y="3812969"/>
            <a:ext cx="3474720" cy="822960"/>
          </a:xfrm>
          <a:prstGeom prst="rect">
            <a:avLst/>
          </a:prstGeom>
          <a:solidFill>
            <a:schemeClr val="tx2"/>
          </a:solidFill>
          <a:ln w="31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vert="horz" wrap="square" lIns="179259" tIns="45713" rIns="0" bIns="45713" numCol="1" rtlCol="0" anchor="ctr" anchorCtr="0" compatLnSpc="1">
            <a:prstTxWarp prst="textNoShape">
              <a:avLst/>
            </a:prstTxWarp>
          </a:bodyPr>
          <a:lstStyle/>
          <a:p>
            <a:pPr marL="0" marR="0" lvl="0" indent="0" algn="ctr" defTabSz="913908" eaLnBrk="1" fontAlgn="base" latinLnBrk="0" hangingPunct="1">
              <a:lnSpc>
                <a:spcPct val="100000"/>
              </a:lnSpc>
              <a:spcBef>
                <a:spcPct val="0"/>
              </a:spcBef>
              <a:spcAft>
                <a:spcPct val="0"/>
              </a:spcAft>
              <a:buClrTx/>
              <a:buSzTx/>
              <a:buFontTx/>
              <a:buNone/>
              <a:tabLst/>
              <a:defRPr/>
            </a:pPr>
            <a:r>
              <a:rPr kumimoji="0" lang="en-US" sz="3200" b="0" i="0" u="none" strike="noStrike" kern="0" cap="none" spc="0" normalizeH="0" baseline="0" noProof="0" dirty="0">
                <a:ln>
                  <a:noFill/>
                </a:ln>
                <a:gradFill>
                  <a:gsLst>
                    <a:gs pos="0">
                      <a:srgbClr val="FFFFFF"/>
                    </a:gs>
                    <a:gs pos="100000">
                      <a:srgbClr val="FFFFFF"/>
                    </a:gs>
                  </a:gsLst>
                  <a:lin ang="5400000" scaled="0"/>
                </a:gradFill>
                <a:effectLst/>
                <a:uLnTx/>
                <a:uFillTx/>
              </a:rPr>
              <a:t>Processing</a:t>
            </a:r>
          </a:p>
        </p:txBody>
      </p:sp>
      <p:sp>
        <p:nvSpPr>
          <p:cNvPr id="13" name="Rectangle 12"/>
          <p:cNvSpPr/>
          <p:nvPr/>
        </p:nvSpPr>
        <p:spPr bwMode="auto">
          <a:xfrm>
            <a:off x="576106" y="4992082"/>
            <a:ext cx="3474720" cy="822960"/>
          </a:xfrm>
          <a:prstGeom prst="rect">
            <a:avLst/>
          </a:prstGeom>
          <a:solidFill>
            <a:schemeClr val="tx2"/>
          </a:solidFill>
          <a:ln w="31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vert="horz" wrap="square" lIns="179259" tIns="45713" rIns="0" bIns="45713" numCol="1" rtlCol="0" anchor="ctr" anchorCtr="0" compatLnSpc="1">
            <a:prstTxWarp prst="textNoShape">
              <a:avLst/>
            </a:prstTxWarp>
          </a:bodyPr>
          <a:lstStyle/>
          <a:p>
            <a:pPr marL="0" marR="0" lvl="0" indent="0" algn="ctr" defTabSz="913908" eaLnBrk="1" fontAlgn="base" latinLnBrk="0" hangingPunct="1">
              <a:lnSpc>
                <a:spcPct val="100000"/>
              </a:lnSpc>
              <a:spcBef>
                <a:spcPct val="0"/>
              </a:spcBef>
              <a:spcAft>
                <a:spcPct val="0"/>
              </a:spcAft>
              <a:buClrTx/>
              <a:buSzTx/>
              <a:buFontTx/>
              <a:buNone/>
              <a:tabLst/>
              <a:defRPr/>
            </a:pPr>
            <a:r>
              <a:rPr kumimoji="0" lang="en-US" sz="3200" b="0" i="0" u="none" strike="noStrike" kern="0" cap="none" spc="0" normalizeH="0" baseline="0" noProof="0" dirty="0">
                <a:ln>
                  <a:noFill/>
                </a:ln>
                <a:gradFill>
                  <a:gsLst>
                    <a:gs pos="0">
                      <a:srgbClr val="FFFFFF"/>
                    </a:gs>
                    <a:gs pos="100000">
                      <a:srgbClr val="FFFFFF"/>
                    </a:gs>
                  </a:gsLst>
                  <a:lin ang="5400000" scaled="0"/>
                </a:gradFill>
                <a:effectLst/>
                <a:uLnTx/>
                <a:uFillTx/>
              </a:rPr>
              <a:t>Egress</a:t>
            </a:r>
          </a:p>
        </p:txBody>
      </p:sp>
      <p:sp>
        <p:nvSpPr>
          <p:cNvPr id="18" name="Rectangle 17"/>
          <p:cNvSpPr/>
          <p:nvPr/>
        </p:nvSpPr>
        <p:spPr bwMode="auto">
          <a:xfrm>
            <a:off x="4231869" y="1454745"/>
            <a:ext cx="3474720" cy="822960"/>
          </a:xfrm>
          <a:prstGeom prst="rect">
            <a:avLst/>
          </a:prstGeom>
          <a:solidFill>
            <a:schemeClr val="accent1"/>
          </a:solidFill>
          <a:ln w="31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vert="horz" wrap="square" lIns="179259" tIns="45713" rIns="0" bIns="45713" numCol="1" rtlCol="0" anchor="ctr" anchorCtr="0" compatLnSpc="1">
            <a:prstTxWarp prst="textNoShape">
              <a:avLst/>
            </a:prstTxWarp>
          </a:bodyPr>
          <a:lstStyle/>
          <a:p>
            <a:pPr marL="0" marR="0" lvl="0" indent="0" algn="ctr" defTabSz="913908" eaLnBrk="1" fontAlgn="base" latinLnBrk="0" hangingPunct="1">
              <a:lnSpc>
                <a:spcPct val="100000"/>
              </a:lnSpc>
              <a:spcBef>
                <a:spcPct val="0"/>
              </a:spcBef>
              <a:spcAft>
                <a:spcPct val="0"/>
              </a:spcAft>
              <a:buClrTx/>
              <a:buSzTx/>
              <a:buFontTx/>
              <a:buNone/>
              <a:tabLst/>
              <a:defRPr/>
            </a:pPr>
            <a:r>
              <a:rPr kumimoji="0" lang="en-US" sz="1800" b="0" i="0" u="none" strike="noStrike" kern="0" cap="none" spc="0" normalizeH="0" baseline="0" noProof="0" dirty="0">
                <a:ln>
                  <a:noFill/>
                </a:ln>
                <a:gradFill>
                  <a:gsLst>
                    <a:gs pos="0">
                      <a:srgbClr val="FFFFFF"/>
                    </a:gs>
                    <a:gs pos="100000">
                      <a:srgbClr val="FFFFFF"/>
                    </a:gs>
                  </a:gsLst>
                  <a:lin ang="5400000" scaled="0"/>
                </a:gradFill>
                <a:effectLst/>
                <a:uLnTx/>
                <a:uFillTx/>
              </a:rPr>
              <a:t>Number of write transactions</a:t>
            </a:r>
          </a:p>
        </p:txBody>
      </p:sp>
      <p:sp>
        <p:nvSpPr>
          <p:cNvPr id="19" name="Rectangle 18"/>
          <p:cNvSpPr/>
          <p:nvPr/>
        </p:nvSpPr>
        <p:spPr bwMode="auto">
          <a:xfrm>
            <a:off x="4231869" y="2633857"/>
            <a:ext cx="3474720" cy="822960"/>
          </a:xfrm>
          <a:prstGeom prst="rect">
            <a:avLst/>
          </a:prstGeom>
          <a:solidFill>
            <a:schemeClr val="accent1"/>
          </a:solidFill>
          <a:ln w="31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vert="horz" wrap="square" lIns="179259" tIns="45713" rIns="0" bIns="45713" numCol="1" rtlCol="0" anchor="ctr" anchorCtr="0" compatLnSpc="1">
            <a:prstTxWarp prst="textNoShape">
              <a:avLst/>
            </a:prstTxWarp>
          </a:bodyPr>
          <a:lstStyle/>
          <a:p>
            <a:pPr marL="0" marR="0" lvl="0" indent="0" algn="ctr" defTabSz="913908" eaLnBrk="1" fontAlgn="base" latinLnBrk="0" hangingPunct="1">
              <a:lnSpc>
                <a:spcPct val="100000"/>
              </a:lnSpc>
              <a:spcBef>
                <a:spcPct val="0"/>
              </a:spcBef>
              <a:spcAft>
                <a:spcPct val="0"/>
              </a:spcAft>
              <a:buClrTx/>
              <a:buSzTx/>
              <a:buFontTx/>
              <a:buNone/>
              <a:tabLst/>
              <a:defRPr/>
            </a:pPr>
            <a:r>
              <a:rPr kumimoji="0" lang="en-US" sz="1800" b="0" i="0" u="none" strike="noStrike" kern="0" cap="none" spc="0" normalizeH="0" baseline="0" noProof="0" dirty="0">
                <a:ln>
                  <a:noFill/>
                </a:ln>
                <a:gradFill>
                  <a:gsLst>
                    <a:gs pos="0">
                      <a:srgbClr val="FFFFFF"/>
                    </a:gs>
                    <a:gs pos="100000">
                      <a:srgbClr val="FFFFFF"/>
                    </a:gs>
                  </a:gsLst>
                  <a:lin ang="5400000" scaled="0"/>
                </a:gradFill>
                <a:effectLst/>
                <a:uLnTx/>
                <a:uFillTx/>
              </a:rPr>
              <a:t>Data stored per month</a:t>
            </a:r>
          </a:p>
        </p:txBody>
      </p:sp>
      <p:sp>
        <p:nvSpPr>
          <p:cNvPr id="20" name="Rectangle 19"/>
          <p:cNvSpPr/>
          <p:nvPr/>
        </p:nvSpPr>
        <p:spPr bwMode="auto">
          <a:xfrm>
            <a:off x="4231869" y="3812969"/>
            <a:ext cx="3474720" cy="822960"/>
          </a:xfrm>
          <a:prstGeom prst="rect">
            <a:avLst/>
          </a:prstGeom>
          <a:solidFill>
            <a:schemeClr val="accent1"/>
          </a:solidFill>
          <a:ln w="31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vert="horz" wrap="square" lIns="179259" tIns="45713" rIns="0" bIns="45713" numCol="1" rtlCol="0" anchor="ctr" anchorCtr="0" compatLnSpc="1">
            <a:prstTxWarp prst="textNoShape">
              <a:avLst/>
            </a:prstTxWarp>
          </a:bodyPr>
          <a:lstStyle/>
          <a:p>
            <a:pPr marL="0" marR="0" lvl="0" indent="0" algn="ctr" defTabSz="913908" eaLnBrk="1" fontAlgn="base" latinLnBrk="0" hangingPunct="1">
              <a:lnSpc>
                <a:spcPct val="100000"/>
              </a:lnSpc>
              <a:spcBef>
                <a:spcPct val="0"/>
              </a:spcBef>
              <a:spcAft>
                <a:spcPct val="0"/>
              </a:spcAft>
              <a:buClrTx/>
              <a:buSzTx/>
              <a:buFontTx/>
              <a:buNone/>
              <a:tabLst/>
              <a:defRPr/>
            </a:pPr>
            <a:r>
              <a:rPr kumimoji="0" lang="en-US" sz="1800" b="0" i="0" u="none" strike="noStrike" kern="0" cap="none" spc="0" normalizeH="0" baseline="0" noProof="0" dirty="0">
                <a:ln>
                  <a:noFill/>
                </a:ln>
                <a:gradFill>
                  <a:gsLst>
                    <a:gs pos="0">
                      <a:srgbClr val="FFFFFF"/>
                    </a:gs>
                    <a:gs pos="100000">
                      <a:srgbClr val="FFFFFF"/>
                    </a:gs>
                  </a:gsLst>
                  <a:lin ang="5400000" scaled="0"/>
                </a:gradFill>
                <a:effectLst/>
                <a:uLnTx/>
                <a:uFillTx/>
              </a:rPr>
              <a:t>Number of read transactions</a:t>
            </a:r>
          </a:p>
          <a:p>
            <a:pPr marL="0" marR="0" lvl="0" indent="0" algn="ctr" defTabSz="913908" eaLnBrk="1" fontAlgn="base" latinLnBrk="0" hangingPunct="1">
              <a:lnSpc>
                <a:spcPct val="100000"/>
              </a:lnSpc>
              <a:spcBef>
                <a:spcPct val="0"/>
              </a:spcBef>
              <a:spcAft>
                <a:spcPct val="0"/>
              </a:spcAft>
              <a:buClrTx/>
              <a:buSzTx/>
              <a:buFontTx/>
              <a:buNone/>
              <a:tabLst/>
              <a:defRPr/>
            </a:pPr>
            <a:r>
              <a:rPr kumimoji="0" lang="en-US" sz="1800" b="0" i="0" u="none" strike="noStrike" kern="0" cap="none" spc="0" normalizeH="0" baseline="0" noProof="0" dirty="0">
                <a:ln>
                  <a:noFill/>
                </a:ln>
                <a:gradFill>
                  <a:gsLst>
                    <a:gs pos="0">
                      <a:srgbClr val="FFFFFF"/>
                    </a:gs>
                    <a:gs pos="100000">
                      <a:srgbClr val="FFFFFF"/>
                    </a:gs>
                  </a:gsLst>
                  <a:lin ang="5400000" scaled="0"/>
                </a:gradFill>
                <a:effectLst/>
                <a:uLnTx/>
                <a:uFillTx/>
              </a:rPr>
              <a:t>Number of write transactions</a:t>
            </a:r>
          </a:p>
        </p:txBody>
      </p:sp>
      <p:sp>
        <p:nvSpPr>
          <p:cNvPr id="21" name="Rectangle 20"/>
          <p:cNvSpPr/>
          <p:nvPr/>
        </p:nvSpPr>
        <p:spPr bwMode="auto">
          <a:xfrm>
            <a:off x="4231869" y="4992082"/>
            <a:ext cx="3474720" cy="822960"/>
          </a:xfrm>
          <a:prstGeom prst="rect">
            <a:avLst/>
          </a:prstGeom>
          <a:solidFill>
            <a:schemeClr val="accent1"/>
          </a:solidFill>
          <a:ln w="31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vert="horz" wrap="square" lIns="179259" tIns="45713" rIns="0" bIns="45713" numCol="1" rtlCol="0" anchor="ctr" anchorCtr="0" compatLnSpc="1">
            <a:prstTxWarp prst="textNoShape">
              <a:avLst/>
            </a:prstTxWarp>
          </a:bodyPr>
          <a:lstStyle/>
          <a:p>
            <a:pPr marL="0" marR="0" lvl="0" indent="0" algn="ctr" defTabSz="913908" eaLnBrk="1" fontAlgn="base" latinLnBrk="0" hangingPunct="1">
              <a:lnSpc>
                <a:spcPct val="100000"/>
              </a:lnSpc>
              <a:spcBef>
                <a:spcPct val="0"/>
              </a:spcBef>
              <a:spcAft>
                <a:spcPct val="0"/>
              </a:spcAft>
              <a:buClrTx/>
              <a:buSzTx/>
              <a:buFontTx/>
              <a:buNone/>
              <a:tabLst/>
              <a:defRPr/>
            </a:pPr>
            <a:r>
              <a:rPr kumimoji="0" lang="en-US" sz="1800" b="0" i="0" u="none" strike="noStrike" kern="0" cap="none" spc="0" normalizeH="0" baseline="0" noProof="0" dirty="0">
                <a:ln>
                  <a:noFill/>
                </a:ln>
                <a:gradFill>
                  <a:gsLst>
                    <a:gs pos="0">
                      <a:srgbClr val="FFFFFF"/>
                    </a:gs>
                    <a:gs pos="100000">
                      <a:srgbClr val="FFFFFF"/>
                    </a:gs>
                  </a:gsLst>
                  <a:lin ang="5400000" scaled="0"/>
                </a:gradFill>
                <a:effectLst/>
                <a:uLnTx/>
                <a:uFillTx/>
              </a:rPr>
              <a:t>Number of read transactions</a:t>
            </a:r>
          </a:p>
        </p:txBody>
      </p:sp>
      <p:sp>
        <p:nvSpPr>
          <p:cNvPr id="22" name="Rectangle 21"/>
          <p:cNvSpPr/>
          <p:nvPr/>
        </p:nvSpPr>
        <p:spPr>
          <a:xfrm>
            <a:off x="8272251" y="3316508"/>
            <a:ext cx="3519155" cy="1815882"/>
          </a:xfrm>
          <a:prstGeom prst="rect">
            <a:avLst/>
          </a:prstGeom>
        </p:spPr>
        <p:txBody>
          <a:bodyPr wrap="square">
            <a:spAutoFit/>
          </a:bodyPr>
          <a:lstStyle/>
          <a:p>
            <a:pPr marL="0" marR="0" lvl="0" indent="0" defTabSz="896386" eaLnBrk="1" fontAlgn="auto" latinLnBrk="0" hangingPunct="1">
              <a:lnSpc>
                <a:spcPct val="100000"/>
              </a:lnSpc>
              <a:spcBef>
                <a:spcPts val="0"/>
              </a:spcBef>
              <a:spcAft>
                <a:spcPts val="0"/>
              </a:spcAft>
              <a:buClrTx/>
              <a:buSzTx/>
              <a:buFontTx/>
              <a:buNone/>
              <a:tabLst/>
              <a:defRPr/>
            </a:pPr>
            <a:r>
              <a:rPr kumimoji="0" lang="en-US" sz="2800" b="0" i="0" u="none" strike="noStrike" kern="0" cap="none" spc="0" normalizeH="0" baseline="0" noProof="0" dirty="0">
                <a:ln>
                  <a:noFill/>
                </a:ln>
                <a:solidFill>
                  <a:sysClr val="windowText" lastClr="000000"/>
                </a:solidFill>
                <a:effectLst/>
                <a:uLnTx/>
                <a:uFillTx/>
                <a:latin typeface="+mj-lt"/>
              </a:rPr>
              <a:t>Get all the advantages of ADL Store with</a:t>
            </a:r>
            <a:br>
              <a:rPr kumimoji="0" lang="en-US" sz="2800" b="0" i="0" u="none" strike="noStrike" kern="0" cap="none" spc="0" normalizeH="0" baseline="0" noProof="0" dirty="0">
                <a:ln>
                  <a:noFill/>
                </a:ln>
                <a:solidFill>
                  <a:sysClr val="windowText" lastClr="000000"/>
                </a:solidFill>
                <a:effectLst/>
                <a:uLnTx/>
                <a:uFillTx/>
                <a:latin typeface="+mj-lt"/>
              </a:rPr>
            </a:br>
            <a:r>
              <a:rPr kumimoji="0" lang="en-US" sz="2800" b="0" i="0" u="none" strike="noStrike" kern="0" cap="none" spc="0" normalizeH="0" baseline="0" noProof="0" dirty="0">
                <a:ln>
                  <a:noFill/>
                </a:ln>
                <a:solidFill>
                  <a:sysClr val="windowText" lastClr="000000"/>
                </a:solidFill>
                <a:effectLst/>
                <a:uLnTx/>
                <a:uFillTx/>
                <a:latin typeface="+mj-lt"/>
              </a:rPr>
              <a:t>cost concepts</a:t>
            </a:r>
            <a:br>
              <a:rPr kumimoji="0" lang="en-US" sz="2800" b="0" i="0" u="none" strike="noStrike" kern="0" cap="none" spc="0" normalizeH="0" baseline="0" noProof="0" dirty="0">
                <a:ln>
                  <a:noFill/>
                </a:ln>
                <a:solidFill>
                  <a:sysClr val="windowText" lastClr="000000"/>
                </a:solidFill>
                <a:effectLst/>
                <a:uLnTx/>
                <a:uFillTx/>
                <a:latin typeface="+mj-lt"/>
              </a:rPr>
            </a:br>
            <a:r>
              <a:rPr kumimoji="0" lang="en-US" sz="2800" b="0" i="0" u="none" strike="noStrike" kern="0" cap="none" spc="0" normalizeH="0" baseline="0" noProof="0" dirty="0">
                <a:ln>
                  <a:noFill/>
                </a:ln>
                <a:solidFill>
                  <a:sysClr val="windowText" lastClr="000000"/>
                </a:solidFill>
                <a:effectLst/>
                <a:uLnTx/>
                <a:uFillTx/>
                <a:latin typeface="+mj-lt"/>
              </a:rPr>
              <a:t>you are familiar with</a:t>
            </a:r>
          </a:p>
        </p:txBody>
      </p:sp>
    </p:spTree>
    <p:extLst>
      <p:ext uri="{BB962C8B-B14F-4D97-AF65-F5344CB8AC3E}">
        <p14:creationId xmlns:p14="http://schemas.microsoft.com/office/powerpoint/2010/main" val="354029818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91" name="Group 290"/>
          <p:cNvGrpSpPr/>
          <p:nvPr/>
        </p:nvGrpSpPr>
        <p:grpSpPr>
          <a:xfrm>
            <a:off x="879068" y="4314161"/>
            <a:ext cx="9570085" cy="1506736"/>
            <a:chOff x="879068" y="4314161"/>
            <a:chExt cx="9570085" cy="1506736"/>
          </a:xfrm>
        </p:grpSpPr>
        <p:sp>
          <p:nvSpPr>
            <p:cNvPr id="35" name="Rectangle 34"/>
            <p:cNvSpPr/>
            <p:nvPr/>
          </p:nvSpPr>
          <p:spPr bwMode="auto">
            <a:xfrm>
              <a:off x="4128788" y="4907058"/>
              <a:ext cx="1538113" cy="369332"/>
            </a:xfrm>
            <a:prstGeom prst="rect">
              <a:avLst/>
            </a:prstGeom>
            <a:solidFill>
              <a:srgbClr val="7FBA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2000" dirty="0">
                  <a:solidFill>
                    <a:schemeClr val="bg1"/>
                  </a:solidFill>
                  <a:ea typeface="Segoe UI" pitchFamily="34" charset="0"/>
                  <a:cs typeface="Segoe UI" pitchFamily="34" charset="0"/>
                </a:rPr>
                <a:t>ETL pipeline</a:t>
              </a:r>
            </a:p>
          </p:txBody>
        </p:sp>
        <p:cxnSp>
          <p:nvCxnSpPr>
            <p:cNvPr id="38" name="Straight Arrow Connector 37"/>
            <p:cNvCxnSpPr/>
            <p:nvPr/>
          </p:nvCxnSpPr>
          <p:spPr>
            <a:xfrm flipV="1">
              <a:off x="1950001" y="5096692"/>
              <a:ext cx="2178787" cy="0"/>
            </a:xfrm>
            <a:prstGeom prst="straightConnector1">
              <a:avLst/>
            </a:prstGeom>
            <a:ln w="28575">
              <a:solidFill>
                <a:schemeClr val="bg1">
                  <a:lumMod val="50000"/>
                </a:schemeClr>
              </a:solidFill>
              <a:miter lim="800000"/>
              <a:headEnd type="none"/>
              <a:tailEnd type="triangle" w="med" len="sm"/>
            </a:ln>
          </p:spPr>
          <p:style>
            <a:lnRef idx="1">
              <a:schemeClr val="accent1"/>
            </a:lnRef>
            <a:fillRef idx="0">
              <a:schemeClr val="accent1"/>
            </a:fillRef>
            <a:effectRef idx="0">
              <a:schemeClr val="accent1"/>
            </a:effectRef>
            <a:fontRef idx="minor">
              <a:schemeClr val="tx1"/>
            </a:fontRef>
          </p:style>
        </p:cxnSp>
        <p:cxnSp>
          <p:nvCxnSpPr>
            <p:cNvPr id="39" name="Straight Arrow Connector 38"/>
            <p:cNvCxnSpPr>
              <a:stCxn id="35" idx="3"/>
            </p:cNvCxnSpPr>
            <p:nvPr/>
          </p:nvCxnSpPr>
          <p:spPr>
            <a:xfrm flipV="1">
              <a:off x="5666901" y="5085058"/>
              <a:ext cx="1597616" cy="0"/>
            </a:xfrm>
            <a:prstGeom prst="straightConnector1">
              <a:avLst/>
            </a:prstGeom>
            <a:ln w="28575">
              <a:solidFill>
                <a:schemeClr val="bg1">
                  <a:lumMod val="50000"/>
                </a:schemeClr>
              </a:solidFill>
              <a:miter lim="800000"/>
              <a:headEnd type="none"/>
              <a:tailEnd type="triangle" w="med" len="sm"/>
            </a:ln>
          </p:spPr>
          <p:style>
            <a:lnRef idx="1">
              <a:schemeClr val="accent1"/>
            </a:lnRef>
            <a:fillRef idx="0">
              <a:schemeClr val="accent1"/>
            </a:fillRef>
            <a:effectRef idx="0">
              <a:schemeClr val="accent1"/>
            </a:effectRef>
            <a:fontRef idx="minor">
              <a:schemeClr val="tx1"/>
            </a:fontRef>
          </p:style>
        </p:cxnSp>
        <p:cxnSp>
          <p:nvCxnSpPr>
            <p:cNvPr id="40" name="Straight Arrow Connector 39"/>
            <p:cNvCxnSpPr/>
            <p:nvPr/>
          </p:nvCxnSpPr>
          <p:spPr>
            <a:xfrm>
              <a:off x="7916096" y="5091724"/>
              <a:ext cx="1424922" cy="0"/>
            </a:xfrm>
            <a:prstGeom prst="straightConnector1">
              <a:avLst/>
            </a:prstGeom>
            <a:ln w="28575">
              <a:solidFill>
                <a:schemeClr val="bg1">
                  <a:lumMod val="50000"/>
                </a:schemeClr>
              </a:solidFill>
              <a:miter lim="800000"/>
              <a:headEnd type="none"/>
              <a:tailEnd type="triangle" w="med" len="sm"/>
            </a:ln>
          </p:spPr>
          <p:style>
            <a:lnRef idx="1">
              <a:schemeClr val="accent1"/>
            </a:lnRef>
            <a:fillRef idx="0">
              <a:schemeClr val="accent1"/>
            </a:fillRef>
            <a:effectRef idx="0">
              <a:schemeClr val="accent1"/>
            </a:effectRef>
            <a:fontRef idx="minor">
              <a:schemeClr val="tx1"/>
            </a:fontRef>
          </p:style>
        </p:cxnSp>
        <p:sp>
          <p:nvSpPr>
            <p:cNvPr id="94" name="TextBox 93"/>
            <p:cNvSpPr txBox="1"/>
            <p:nvPr/>
          </p:nvSpPr>
          <p:spPr>
            <a:xfrm>
              <a:off x="2946348" y="4314161"/>
              <a:ext cx="3902992" cy="332399"/>
            </a:xfrm>
            <a:prstGeom prst="rect">
              <a:avLst/>
            </a:prstGeom>
            <a:noFill/>
          </p:spPr>
          <p:txBody>
            <a:bodyPr wrap="square" lIns="0" tIns="0" rIns="0" bIns="0" rtlCol="0" anchor="ctr">
              <a:noAutofit/>
            </a:bodyPr>
            <a:lstStyle/>
            <a:p>
              <a:pPr algn="ctr"/>
              <a:r>
                <a:rPr lang="en-US" sz="2400" dirty="0">
                  <a:solidFill>
                    <a:schemeClr val="tx2"/>
                  </a:solidFill>
                  <a:latin typeface="+mj-lt"/>
                </a:rPr>
                <a:t>Dedicated ETL tools (e.g. SSIS)</a:t>
              </a:r>
            </a:p>
          </p:txBody>
        </p:sp>
        <p:cxnSp>
          <p:nvCxnSpPr>
            <p:cNvPr id="96" name="Straight Arrow Connector 95"/>
            <p:cNvCxnSpPr>
              <a:endCxn id="35" idx="0"/>
            </p:cNvCxnSpPr>
            <p:nvPr/>
          </p:nvCxnSpPr>
          <p:spPr>
            <a:xfrm>
              <a:off x="4897844" y="4635552"/>
              <a:ext cx="1" cy="271506"/>
            </a:xfrm>
            <a:prstGeom prst="straightConnector1">
              <a:avLst/>
            </a:prstGeom>
            <a:ln w="28575">
              <a:solidFill>
                <a:schemeClr val="bg1">
                  <a:lumMod val="50000"/>
                </a:schemeClr>
              </a:solidFill>
              <a:miter lim="800000"/>
              <a:headEnd type="none"/>
              <a:tailEnd type="triangle" w="med" len="sm"/>
            </a:ln>
          </p:spPr>
          <p:style>
            <a:lnRef idx="1">
              <a:schemeClr val="accent1"/>
            </a:lnRef>
            <a:fillRef idx="0">
              <a:schemeClr val="accent1"/>
            </a:fillRef>
            <a:effectRef idx="0">
              <a:schemeClr val="accent1"/>
            </a:effectRef>
            <a:fontRef idx="minor">
              <a:schemeClr val="tx1"/>
            </a:fontRef>
          </p:style>
        </p:cxnSp>
        <p:sp>
          <p:nvSpPr>
            <p:cNvPr id="103" name="TextBox 102"/>
            <p:cNvSpPr txBox="1"/>
            <p:nvPr/>
          </p:nvSpPr>
          <p:spPr>
            <a:xfrm>
              <a:off x="6992069" y="5557404"/>
              <a:ext cx="1304844" cy="215444"/>
            </a:xfrm>
            <a:prstGeom prst="rect">
              <a:avLst/>
            </a:prstGeom>
            <a:noFill/>
          </p:spPr>
          <p:txBody>
            <a:bodyPr wrap="none" lIns="0" tIns="0" rIns="0" bIns="0" rtlCol="0" anchor="ctr">
              <a:spAutoFit/>
            </a:bodyPr>
            <a:lstStyle/>
            <a:p>
              <a:pPr algn="ctr"/>
              <a:r>
                <a:rPr lang="en-US" sz="1400" dirty="0">
                  <a:solidFill>
                    <a:schemeClr val="tx2"/>
                  </a:solidFill>
                  <a:latin typeface="Segoe UI Semibold" panose="020B0702040204020203" pitchFamily="34" charset="0"/>
                  <a:cs typeface="Segoe UI Semibold" panose="020B0702040204020203" pitchFamily="34" charset="0"/>
                </a:rPr>
                <a:t>Defined schema</a:t>
              </a:r>
            </a:p>
          </p:txBody>
        </p:sp>
        <p:sp>
          <p:nvSpPr>
            <p:cNvPr id="108" name="TextBox 107"/>
            <p:cNvSpPr txBox="1"/>
            <p:nvPr/>
          </p:nvSpPr>
          <p:spPr>
            <a:xfrm>
              <a:off x="8265237" y="4864118"/>
              <a:ext cx="621965" cy="215444"/>
            </a:xfrm>
            <a:prstGeom prst="rect">
              <a:avLst/>
            </a:prstGeom>
            <a:noFill/>
          </p:spPr>
          <p:txBody>
            <a:bodyPr wrap="none" lIns="0" tIns="0" rIns="0" bIns="0" rtlCol="0" anchor="ctr">
              <a:spAutoFit/>
            </a:bodyPr>
            <a:lstStyle/>
            <a:p>
              <a:pPr algn="ctr"/>
              <a:r>
                <a:rPr lang="en-US" sz="1400" dirty="0">
                  <a:solidFill>
                    <a:schemeClr val="tx2"/>
                  </a:solidFill>
                  <a:latin typeface="Segoe UI Semibold" panose="020B0702040204020203" pitchFamily="34" charset="0"/>
                  <a:cs typeface="Segoe UI Semibold" panose="020B0702040204020203" pitchFamily="34" charset="0"/>
                </a:rPr>
                <a:t>Queries</a:t>
              </a:r>
            </a:p>
          </p:txBody>
        </p:sp>
        <p:sp>
          <p:nvSpPr>
            <p:cNvPr id="150" name="TextBox 149"/>
            <p:cNvSpPr txBox="1"/>
            <p:nvPr/>
          </p:nvSpPr>
          <p:spPr>
            <a:xfrm>
              <a:off x="9531953" y="5468625"/>
              <a:ext cx="572336" cy="215444"/>
            </a:xfrm>
            <a:prstGeom prst="rect">
              <a:avLst/>
            </a:prstGeom>
            <a:noFill/>
          </p:spPr>
          <p:txBody>
            <a:bodyPr wrap="none" lIns="0" tIns="0" rIns="0" bIns="0" rtlCol="0">
              <a:spAutoFit/>
            </a:bodyPr>
            <a:lstStyle/>
            <a:p>
              <a:pPr algn="ctr"/>
              <a:r>
                <a:rPr lang="en-US" sz="1400" dirty="0">
                  <a:solidFill>
                    <a:schemeClr val="tx2"/>
                  </a:solidFill>
                  <a:latin typeface="Segoe UI Semibold" panose="020B0702040204020203" pitchFamily="34" charset="0"/>
                  <a:cs typeface="Segoe UI Semibold" panose="020B0702040204020203" pitchFamily="34" charset="0"/>
                </a:rPr>
                <a:t>Results</a:t>
              </a:r>
            </a:p>
          </p:txBody>
        </p:sp>
        <p:grpSp>
          <p:nvGrpSpPr>
            <p:cNvPr id="21" name="Group 20"/>
            <p:cNvGrpSpPr/>
            <p:nvPr/>
          </p:nvGrpSpPr>
          <p:grpSpPr>
            <a:xfrm>
              <a:off x="9187091" y="4752793"/>
              <a:ext cx="1262062" cy="677863"/>
              <a:chOff x="9187091" y="4637021"/>
              <a:chExt cx="1262062" cy="677863"/>
            </a:xfrm>
          </p:grpSpPr>
          <p:sp>
            <p:nvSpPr>
              <p:cNvPr id="151" name="Freeform 121"/>
              <p:cNvSpPr>
                <a:spLocks/>
              </p:cNvSpPr>
              <p:nvPr/>
            </p:nvSpPr>
            <p:spPr bwMode="auto">
              <a:xfrm>
                <a:off x="9349016" y="4637021"/>
                <a:ext cx="941387" cy="604838"/>
              </a:xfrm>
              <a:custGeom>
                <a:avLst/>
                <a:gdLst>
                  <a:gd name="T0" fmla="*/ 624 w 646"/>
                  <a:gd name="T1" fmla="*/ 0 h 415"/>
                  <a:gd name="T2" fmla="*/ 21 w 646"/>
                  <a:gd name="T3" fmla="*/ 0 h 415"/>
                  <a:gd name="T4" fmla="*/ 0 w 646"/>
                  <a:gd name="T5" fmla="*/ 22 h 415"/>
                  <a:gd name="T6" fmla="*/ 0 w 646"/>
                  <a:gd name="T7" fmla="*/ 393 h 415"/>
                  <a:gd name="T8" fmla="*/ 21 w 646"/>
                  <a:gd name="T9" fmla="*/ 415 h 415"/>
                  <a:gd name="T10" fmla="*/ 624 w 646"/>
                  <a:gd name="T11" fmla="*/ 415 h 415"/>
                  <a:gd name="T12" fmla="*/ 646 w 646"/>
                  <a:gd name="T13" fmla="*/ 393 h 415"/>
                  <a:gd name="T14" fmla="*/ 646 w 646"/>
                  <a:gd name="T15" fmla="*/ 22 h 415"/>
                  <a:gd name="T16" fmla="*/ 624 w 646"/>
                  <a:gd name="T17" fmla="*/ 0 h 4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46" h="415">
                    <a:moveTo>
                      <a:pt x="624" y="0"/>
                    </a:moveTo>
                    <a:cubicBezTo>
                      <a:pt x="21" y="0"/>
                      <a:pt x="21" y="0"/>
                      <a:pt x="21" y="0"/>
                    </a:cubicBezTo>
                    <a:cubicBezTo>
                      <a:pt x="11" y="0"/>
                      <a:pt x="0" y="9"/>
                      <a:pt x="0" y="22"/>
                    </a:cubicBezTo>
                    <a:cubicBezTo>
                      <a:pt x="0" y="393"/>
                      <a:pt x="0" y="393"/>
                      <a:pt x="0" y="393"/>
                    </a:cubicBezTo>
                    <a:cubicBezTo>
                      <a:pt x="0" y="406"/>
                      <a:pt x="11" y="415"/>
                      <a:pt x="21" y="415"/>
                    </a:cubicBezTo>
                    <a:cubicBezTo>
                      <a:pt x="624" y="415"/>
                      <a:pt x="624" y="415"/>
                      <a:pt x="624" y="415"/>
                    </a:cubicBezTo>
                    <a:cubicBezTo>
                      <a:pt x="637" y="415"/>
                      <a:pt x="646" y="406"/>
                      <a:pt x="646" y="393"/>
                    </a:cubicBezTo>
                    <a:cubicBezTo>
                      <a:pt x="646" y="22"/>
                      <a:pt x="646" y="22"/>
                      <a:pt x="646" y="22"/>
                    </a:cubicBezTo>
                    <a:cubicBezTo>
                      <a:pt x="646" y="9"/>
                      <a:pt x="637" y="0"/>
                      <a:pt x="624" y="0"/>
                    </a:cubicBezTo>
                  </a:path>
                </a:pathLst>
              </a:custGeom>
              <a:solidFill>
                <a:srgbClr val="002050"/>
              </a:solidFill>
              <a:ln>
                <a:noFill/>
              </a:ln>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sp>
            <p:nvSpPr>
              <p:cNvPr id="152" name="Freeform 122"/>
              <p:cNvSpPr>
                <a:spLocks/>
              </p:cNvSpPr>
              <p:nvPr/>
            </p:nvSpPr>
            <p:spPr bwMode="auto">
              <a:xfrm>
                <a:off x="9388704" y="4671946"/>
                <a:ext cx="862012" cy="531813"/>
              </a:xfrm>
              <a:custGeom>
                <a:avLst/>
                <a:gdLst>
                  <a:gd name="T0" fmla="*/ 590 w 590"/>
                  <a:gd name="T1" fmla="*/ 365 h 365"/>
                  <a:gd name="T2" fmla="*/ 0 w 590"/>
                  <a:gd name="T3" fmla="*/ 365 h 365"/>
                  <a:gd name="T4" fmla="*/ 0 w 590"/>
                  <a:gd name="T5" fmla="*/ 0 h 365"/>
                  <a:gd name="T6" fmla="*/ 590 w 590"/>
                  <a:gd name="T7" fmla="*/ 0 h 365"/>
                  <a:gd name="T8" fmla="*/ 590 w 590"/>
                  <a:gd name="T9" fmla="*/ 365 h 365"/>
                </a:gdLst>
                <a:ahLst/>
                <a:cxnLst>
                  <a:cxn ang="0">
                    <a:pos x="T0" y="T1"/>
                  </a:cxn>
                  <a:cxn ang="0">
                    <a:pos x="T2" y="T3"/>
                  </a:cxn>
                  <a:cxn ang="0">
                    <a:pos x="T4" y="T5"/>
                  </a:cxn>
                  <a:cxn ang="0">
                    <a:pos x="T6" y="T7"/>
                  </a:cxn>
                  <a:cxn ang="0">
                    <a:pos x="T8" y="T9"/>
                  </a:cxn>
                </a:cxnLst>
                <a:rect l="0" t="0" r="r" b="b"/>
                <a:pathLst>
                  <a:path w="590" h="365">
                    <a:moveTo>
                      <a:pt x="590" y="365"/>
                    </a:moveTo>
                    <a:cubicBezTo>
                      <a:pt x="0" y="365"/>
                      <a:pt x="0" y="365"/>
                      <a:pt x="0" y="365"/>
                    </a:cubicBezTo>
                    <a:cubicBezTo>
                      <a:pt x="0" y="0"/>
                      <a:pt x="0" y="0"/>
                      <a:pt x="0" y="0"/>
                    </a:cubicBezTo>
                    <a:cubicBezTo>
                      <a:pt x="590" y="0"/>
                      <a:pt x="590" y="0"/>
                      <a:pt x="590" y="0"/>
                    </a:cubicBezTo>
                    <a:cubicBezTo>
                      <a:pt x="590" y="365"/>
                      <a:pt x="590" y="365"/>
                      <a:pt x="590" y="365"/>
                    </a:cubicBezTo>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sp>
            <p:nvSpPr>
              <p:cNvPr id="153" name="Freeform 123"/>
              <p:cNvSpPr>
                <a:spLocks/>
              </p:cNvSpPr>
              <p:nvPr/>
            </p:nvSpPr>
            <p:spPr bwMode="auto">
              <a:xfrm>
                <a:off x="9187091" y="5264084"/>
                <a:ext cx="1262062" cy="50800"/>
              </a:xfrm>
              <a:custGeom>
                <a:avLst/>
                <a:gdLst>
                  <a:gd name="T0" fmla="*/ 492 w 864"/>
                  <a:gd name="T1" fmla="*/ 0 h 35"/>
                  <a:gd name="T2" fmla="*/ 492 w 864"/>
                  <a:gd name="T3" fmla="*/ 4 h 35"/>
                  <a:gd name="T4" fmla="*/ 484 w 864"/>
                  <a:gd name="T5" fmla="*/ 11 h 35"/>
                  <a:gd name="T6" fmla="*/ 382 w 864"/>
                  <a:gd name="T7" fmla="*/ 11 h 35"/>
                  <a:gd name="T8" fmla="*/ 373 w 864"/>
                  <a:gd name="T9" fmla="*/ 4 h 35"/>
                  <a:gd name="T10" fmla="*/ 373 w 864"/>
                  <a:gd name="T11" fmla="*/ 0 h 35"/>
                  <a:gd name="T12" fmla="*/ 0 w 864"/>
                  <a:gd name="T13" fmla="*/ 0 h 35"/>
                  <a:gd name="T14" fmla="*/ 0 w 864"/>
                  <a:gd name="T15" fmla="*/ 22 h 35"/>
                  <a:gd name="T16" fmla="*/ 28 w 864"/>
                  <a:gd name="T17" fmla="*/ 35 h 35"/>
                  <a:gd name="T18" fmla="*/ 836 w 864"/>
                  <a:gd name="T19" fmla="*/ 35 h 35"/>
                  <a:gd name="T20" fmla="*/ 864 w 864"/>
                  <a:gd name="T21" fmla="*/ 22 h 35"/>
                  <a:gd name="T22" fmla="*/ 864 w 864"/>
                  <a:gd name="T23" fmla="*/ 0 h 35"/>
                  <a:gd name="T24" fmla="*/ 492 w 864"/>
                  <a:gd name="T25"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64" h="35">
                    <a:moveTo>
                      <a:pt x="492" y="0"/>
                    </a:moveTo>
                    <a:cubicBezTo>
                      <a:pt x="492" y="4"/>
                      <a:pt x="492" y="4"/>
                      <a:pt x="492" y="4"/>
                    </a:cubicBezTo>
                    <a:cubicBezTo>
                      <a:pt x="492" y="9"/>
                      <a:pt x="488" y="11"/>
                      <a:pt x="484" y="11"/>
                    </a:cubicBezTo>
                    <a:cubicBezTo>
                      <a:pt x="382" y="11"/>
                      <a:pt x="382" y="11"/>
                      <a:pt x="382" y="11"/>
                    </a:cubicBezTo>
                    <a:cubicBezTo>
                      <a:pt x="378" y="11"/>
                      <a:pt x="373" y="9"/>
                      <a:pt x="373" y="4"/>
                    </a:cubicBezTo>
                    <a:cubicBezTo>
                      <a:pt x="373" y="0"/>
                      <a:pt x="373" y="0"/>
                      <a:pt x="373" y="0"/>
                    </a:cubicBezTo>
                    <a:cubicBezTo>
                      <a:pt x="0" y="0"/>
                      <a:pt x="0" y="0"/>
                      <a:pt x="0" y="0"/>
                    </a:cubicBezTo>
                    <a:cubicBezTo>
                      <a:pt x="0" y="22"/>
                      <a:pt x="0" y="22"/>
                      <a:pt x="0" y="22"/>
                    </a:cubicBezTo>
                    <a:cubicBezTo>
                      <a:pt x="0" y="22"/>
                      <a:pt x="19" y="35"/>
                      <a:pt x="28" y="35"/>
                    </a:cubicBezTo>
                    <a:cubicBezTo>
                      <a:pt x="836" y="35"/>
                      <a:pt x="836" y="35"/>
                      <a:pt x="836" y="35"/>
                    </a:cubicBezTo>
                    <a:cubicBezTo>
                      <a:pt x="844" y="35"/>
                      <a:pt x="864" y="22"/>
                      <a:pt x="864" y="22"/>
                    </a:cubicBezTo>
                    <a:cubicBezTo>
                      <a:pt x="864" y="0"/>
                      <a:pt x="864" y="0"/>
                      <a:pt x="864" y="0"/>
                    </a:cubicBezTo>
                    <a:lnTo>
                      <a:pt x="492" y="0"/>
                    </a:lnTo>
                    <a:close/>
                  </a:path>
                </a:pathLst>
              </a:custGeom>
              <a:solidFill>
                <a:srgbClr val="002050"/>
              </a:solidFill>
              <a:ln>
                <a:noFill/>
              </a:ln>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sp>
            <p:nvSpPr>
              <p:cNvPr id="154" name="Rectangle 124"/>
              <p:cNvSpPr>
                <a:spLocks noChangeArrowheads="1"/>
              </p:cNvSpPr>
              <p:nvPr/>
            </p:nvSpPr>
            <p:spPr bwMode="auto">
              <a:xfrm>
                <a:off x="9388704" y="4671946"/>
                <a:ext cx="862012" cy="5318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sp>
            <p:nvSpPr>
              <p:cNvPr id="155" name="Rectangle 125"/>
              <p:cNvSpPr>
                <a:spLocks noChangeArrowheads="1"/>
              </p:cNvSpPr>
              <p:nvPr/>
            </p:nvSpPr>
            <p:spPr bwMode="auto">
              <a:xfrm>
                <a:off x="9388704" y="4671946"/>
                <a:ext cx="862012" cy="531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grpSp>
            <p:nvGrpSpPr>
              <p:cNvPr id="20" name="Group 19"/>
              <p:cNvGrpSpPr/>
              <p:nvPr/>
            </p:nvGrpSpPr>
            <p:grpSpPr>
              <a:xfrm>
                <a:off x="9526245" y="4747496"/>
                <a:ext cx="586931" cy="380713"/>
                <a:chOff x="6833102" y="3915976"/>
                <a:chExt cx="398304" cy="258360"/>
              </a:xfrm>
            </p:grpSpPr>
            <p:sp>
              <p:nvSpPr>
                <p:cNvPr id="209" name="Rectangle 208"/>
                <p:cNvSpPr>
                  <a:spLocks noChangeArrowheads="1"/>
                </p:cNvSpPr>
                <p:nvPr/>
              </p:nvSpPr>
              <p:spPr bwMode="auto">
                <a:xfrm>
                  <a:off x="7172199" y="3915976"/>
                  <a:ext cx="59207" cy="258360"/>
                </a:xfrm>
                <a:prstGeom prst="rect">
                  <a:avLst/>
                </a:prstGeom>
                <a:solidFill>
                  <a:srgbClr val="008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10" name="Rectangle 209"/>
                <p:cNvSpPr>
                  <a:spLocks noChangeArrowheads="1"/>
                </p:cNvSpPr>
                <p:nvPr/>
              </p:nvSpPr>
              <p:spPr bwMode="auto">
                <a:xfrm>
                  <a:off x="7088772" y="4107054"/>
                  <a:ext cx="59207" cy="67282"/>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11" name="Rectangle 210"/>
                <p:cNvSpPr>
                  <a:spLocks noChangeArrowheads="1"/>
                </p:cNvSpPr>
                <p:nvPr/>
              </p:nvSpPr>
              <p:spPr bwMode="auto">
                <a:xfrm>
                  <a:off x="7005342" y="3996714"/>
                  <a:ext cx="61899" cy="177622"/>
                </a:xfrm>
                <a:prstGeom prst="rect">
                  <a:avLst/>
                </a:prstGeom>
                <a:solidFill>
                  <a:srgbClr val="BBD90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12" name="Rectangle 211"/>
                <p:cNvSpPr>
                  <a:spLocks noChangeArrowheads="1"/>
                </p:cNvSpPr>
                <p:nvPr/>
              </p:nvSpPr>
              <p:spPr bwMode="auto">
                <a:xfrm>
                  <a:off x="6919222" y="3950961"/>
                  <a:ext cx="56517" cy="223374"/>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13" name="Rectangle 212"/>
                <p:cNvSpPr>
                  <a:spLocks noChangeArrowheads="1"/>
                </p:cNvSpPr>
                <p:nvPr/>
              </p:nvSpPr>
              <p:spPr bwMode="auto">
                <a:xfrm>
                  <a:off x="6833102" y="4034391"/>
                  <a:ext cx="59207" cy="139945"/>
                </a:xfrm>
                <a:prstGeom prst="rect">
                  <a:avLst/>
                </a:prstGeom>
                <a:solidFill>
                  <a:srgbClr val="BBD90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grpSp>
          <p:nvGrpSpPr>
            <p:cNvPr id="24" name="Group 23"/>
            <p:cNvGrpSpPr/>
            <p:nvPr/>
          </p:nvGrpSpPr>
          <p:grpSpPr>
            <a:xfrm>
              <a:off x="879068" y="4362552"/>
              <a:ext cx="1070933" cy="1458345"/>
              <a:chOff x="879068" y="4467684"/>
              <a:chExt cx="1070933" cy="1458345"/>
            </a:xfrm>
          </p:grpSpPr>
          <p:grpSp>
            <p:nvGrpSpPr>
              <p:cNvPr id="19" name="Group 18"/>
              <p:cNvGrpSpPr/>
              <p:nvPr/>
            </p:nvGrpSpPr>
            <p:grpSpPr>
              <a:xfrm>
                <a:off x="879068" y="4467684"/>
                <a:ext cx="1070933" cy="685800"/>
                <a:chOff x="879068" y="5604818"/>
                <a:chExt cx="1070933" cy="685800"/>
              </a:xfrm>
            </p:grpSpPr>
            <p:sp>
              <p:nvSpPr>
                <p:cNvPr id="143" name="Rectangle 142"/>
                <p:cNvSpPr/>
                <p:nvPr>
                  <p:custDataLst>
                    <p:tags r:id="rId2"/>
                  </p:custDataLst>
                </p:nvPr>
              </p:nvSpPr>
              <p:spPr bwMode="auto">
                <a:xfrm>
                  <a:off x="879068" y="5604818"/>
                  <a:ext cx="1070933" cy="685800"/>
                </a:xfrm>
                <a:prstGeom prst="rect">
                  <a:avLst/>
                </a:prstGeom>
                <a:solidFill>
                  <a:schemeClr val="bg1">
                    <a:lumMod val="95000"/>
                  </a:schemeClr>
                </a:solidFill>
                <a:ln w="3175">
                  <a:solidFill>
                    <a:schemeClr val="bg1">
                      <a:lumMod val="75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80" tIns="45720" rIns="68580" bIns="27432" numCol="1" spcCol="0" rtlCol="0" fromWordArt="0" anchor="b" anchorCtr="0" forceAA="0" compatLnSpc="1">
                  <a:prstTxWarp prst="textNoShape">
                    <a:avLst/>
                  </a:prstTxWarp>
                  <a:noAutofit/>
                </a:bodyPr>
                <a:lstStyle/>
                <a:p>
                  <a:pPr algn="ctr" defTabSz="932472"/>
                  <a:r>
                    <a:rPr lang="en-US" sz="1000" dirty="0">
                      <a:solidFill>
                        <a:schemeClr val="accent1"/>
                      </a:solidFill>
                    </a:rPr>
                    <a:t>Relational</a:t>
                  </a:r>
                </a:p>
              </p:txBody>
            </p:sp>
            <p:sp>
              <p:nvSpPr>
                <p:cNvPr id="144" name="Donut 18"/>
                <p:cNvSpPr/>
                <p:nvPr/>
              </p:nvSpPr>
              <p:spPr>
                <a:xfrm rot="20250901">
                  <a:off x="1177048" y="5680746"/>
                  <a:ext cx="474972" cy="391893"/>
                </a:xfrm>
                <a:custGeom>
                  <a:avLst/>
                  <a:gdLst/>
                  <a:ahLst/>
                  <a:cxnLst/>
                  <a:rect l="l" t="t" r="r" b="b"/>
                  <a:pathLst>
                    <a:path w="1871663" h="1544284">
                      <a:moveTo>
                        <a:pt x="544841" y="1200434"/>
                      </a:moveTo>
                      <a:cubicBezTo>
                        <a:pt x="543042" y="1206654"/>
                        <a:pt x="542601" y="1212993"/>
                        <a:pt x="543107" y="1219347"/>
                      </a:cubicBezTo>
                      <a:close/>
                      <a:moveTo>
                        <a:pt x="275352" y="900100"/>
                      </a:moveTo>
                      <a:lnTo>
                        <a:pt x="261597" y="901547"/>
                      </a:lnTo>
                      <a:cubicBezTo>
                        <a:pt x="266283" y="902015"/>
                        <a:pt x="270885" y="901513"/>
                        <a:pt x="275352" y="900100"/>
                      </a:cubicBezTo>
                      <a:close/>
                      <a:moveTo>
                        <a:pt x="1460612" y="1146325"/>
                      </a:moveTo>
                      <a:cubicBezTo>
                        <a:pt x="1462787" y="1148843"/>
                        <a:pt x="1465229" y="1151093"/>
                        <a:pt x="1468262" y="1152682"/>
                      </a:cubicBezTo>
                      <a:close/>
                      <a:moveTo>
                        <a:pt x="517145" y="294317"/>
                      </a:moveTo>
                      <a:cubicBezTo>
                        <a:pt x="517303" y="296695"/>
                        <a:pt x="518089" y="298856"/>
                        <a:pt x="519165" y="300906"/>
                      </a:cubicBezTo>
                      <a:close/>
                      <a:moveTo>
                        <a:pt x="1670936" y="734747"/>
                      </a:moveTo>
                      <a:cubicBezTo>
                        <a:pt x="1667510" y="733888"/>
                        <a:pt x="1664036" y="733381"/>
                        <a:pt x="1660460" y="733786"/>
                      </a:cubicBezTo>
                      <a:close/>
                      <a:moveTo>
                        <a:pt x="942463" y="179722"/>
                      </a:moveTo>
                      <a:lnTo>
                        <a:pt x="942506" y="180134"/>
                      </a:lnTo>
                      <a:cubicBezTo>
                        <a:pt x="942525" y="179990"/>
                        <a:pt x="942500" y="179855"/>
                        <a:pt x="942463" y="179722"/>
                      </a:cubicBezTo>
                      <a:close/>
                      <a:moveTo>
                        <a:pt x="1564371" y="435391"/>
                      </a:moveTo>
                      <a:cubicBezTo>
                        <a:pt x="1564370" y="435395"/>
                        <a:pt x="1564369" y="435398"/>
                        <a:pt x="1564368" y="435401"/>
                      </a:cubicBezTo>
                      <a:lnTo>
                        <a:pt x="1564365" y="435407"/>
                      </a:lnTo>
                      <a:cubicBezTo>
                        <a:pt x="1564367" y="435405"/>
                        <a:pt x="1564368" y="435403"/>
                        <a:pt x="1564368" y="435401"/>
                      </a:cubicBezTo>
                      <a:close/>
                      <a:moveTo>
                        <a:pt x="1185541" y="268540"/>
                      </a:moveTo>
                      <a:cubicBezTo>
                        <a:pt x="1114425" y="246221"/>
                        <a:pt x="1036961" y="234960"/>
                        <a:pt x="956104" y="234960"/>
                      </a:cubicBezTo>
                      <a:lnTo>
                        <a:pt x="945214" y="235811"/>
                      </a:lnTo>
                      <a:cubicBezTo>
                        <a:pt x="944675" y="259402"/>
                        <a:pt x="939319" y="283081"/>
                        <a:pt x="929802" y="306075"/>
                      </a:cubicBezTo>
                      <a:cubicBezTo>
                        <a:pt x="883047" y="419035"/>
                        <a:pt x="753573" y="472705"/>
                        <a:pt x="640612" y="425950"/>
                      </a:cubicBezTo>
                      <a:cubicBezTo>
                        <a:pt x="600538" y="409363"/>
                        <a:pt x="567925" y="382365"/>
                        <a:pt x="545071" y="349062"/>
                      </a:cubicBezTo>
                      <a:cubicBezTo>
                        <a:pt x="545072" y="349063"/>
                        <a:pt x="545072" y="349064"/>
                        <a:pt x="545072" y="349064"/>
                      </a:cubicBezTo>
                      <a:cubicBezTo>
                        <a:pt x="485701" y="382929"/>
                        <a:pt x="435647" y="426353"/>
                        <a:pt x="397284" y="476398"/>
                      </a:cubicBezTo>
                      <a:cubicBezTo>
                        <a:pt x="476893" y="541622"/>
                        <a:pt x="507560" y="653613"/>
                        <a:pt x="466115" y="753745"/>
                      </a:cubicBezTo>
                      <a:cubicBezTo>
                        <a:pt x="438914" y="819461"/>
                        <a:pt x="386130" y="866839"/>
                        <a:pt x="323795" y="888325"/>
                      </a:cubicBezTo>
                      <a:cubicBezTo>
                        <a:pt x="323803" y="888325"/>
                        <a:pt x="323809" y="888322"/>
                        <a:pt x="323815" y="888320"/>
                      </a:cubicBezTo>
                      <a:cubicBezTo>
                        <a:pt x="360376" y="995422"/>
                        <a:pt x="442737" y="1087363"/>
                        <a:pt x="553687" y="1151157"/>
                      </a:cubicBezTo>
                      <a:cubicBezTo>
                        <a:pt x="555838" y="1137455"/>
                        <a:pt x="560305" y="1124202"/>
                        <a:pt x="565725" y="1111107"/>
                      </a:cubicBezTo>
                      <a:cubicBezTo>
                        <a:pt x="631895" y="951239"/>
                        <a:pt x="815137" y="875282"/>
                        <a:pt x="975006" y="941452"/>
                      </a:cubicBezTo>
                      <a:cubicBezTo>
                        <a:pt x="1095448" y="991304"/>
                        <a:pt x="1168263" y="1107604"/>
                        <a:pt x="1168398" y="1230296"/>
                      </a:cubicBezTo>
                      <a:cubicBezTo>
                        <a:pt x="1267673" y="1206553"/>
                        <a:pt x="1355859" y="1162942"/>
                        <a:pt x="1427062" y="1106198"/>
                      </a:cubicBezTo>
                      <a:cubicBezTo>
                        <a:pt x="1384456" y="1041457"/>
                        <a:pt x="1373677" y="957433"/>
                        <a:pt x="1405552" y="880423"/>
                      </a:cubicBezTo>
                      <a:cubicBezTo>
                        <a:pt x="1442194" y="791895"/>
                        <a:pt x="1525264" y="736646"/>
                        <a:pt x="1614928" y="732108"/>
                      </a:cubicBezTo>
                      <a:cubicBezTo>
                        <a:pt x="1613318" y="644779"/>
                        <a:pt x="1581876" y="562987"/>
                        <a:pt x="1526926" y="493543"/>
                      </a:cubicBezTo>
                      <a:lnTo>
                        <a:pt x="1526931" y="493536"/>
                      </a:lnTo>
                      <a:cubicBezTo>
                        <a:pt x="1470532" y="558140"/>
                        <a:pt x="1377141" y="582359"/>
                        <a:pt x="1293429" y="547710"/>
                      </a:cubicBezTo>
                      <a:cubicBezTo>
                        <a:pt x="1187599" y="503906"/>
                        <a:pt x="1137316" y="382602"/>
                        <a:pt x="1181120" y="276772"/>
                      </a:cubicBezTo>
                      <a:close/>
                      <a:moveTo>
                        <a:pt x="1221415" y="215198"/>
                      </a:moveTo>
                      <a:cubicBezTo>
                        <a:pt x="1220583" y="215820"/>
                        <a:pt x="1219878" y="216565"/>
                        <a:pt x="1219447" y="217566"/>
                      </a:cubicBezTo>
                      <a:close/>
                      <a:moveTo>
                        <a:pt x="1452058" y="164462"/>
                      </a:moveTo>
                      <a:cubicBezTo>
                        <a:pt x="1540327" y="200997"/>
                        <a:pt x="1589954" y="291445"/>
                        <a:pt x="1577690" y="381749"/>
                      </a:cubicBezTo>
                      <a:cubicBezTo>
                        <a:pt x="1577691" y="381748"/>
                        <a:pt x="1577691" y="381747"/>
                        <a:pt x="1577691" y="381746"/>
                      </a:cubicBezTo>
                      <a:cubicBezTo>
                        <a:pt x="1672266" y="483314"/>
                        <a:pt x="1727215" y="610152"/>
                        <a:pt x="1727215" y="747355"/>
                      </a:cubicBezTo>
                      <a:lnTo>
                        <a:pt x="1726932" y="751888"/>
                      </a:lnTo>
                      <a:cubicBezTo>
                        <a:pt x="1847235" y="804348"/>
                        <a:pt x="1903640" y="943811"/>
                        <a:pt x="1853189" y="1065702"/>
                      </a:cubicBezTo>
                      <a:cubicBezTo>
                        <a:pt x="1802026" y="1189313"/>
                        <a:pt x="1660343" y="1248044"/>
                        <a:pt x="1536731" y="1196880"/>
                      </a:cubicBezTo>
                      <a:lnTo>
                        <a:pt x="1507818" y="1181350"/>
                      </a:lnTo>
                      <a:cubicBezTo>
                        <a:pt x="1507818" y="1181350"/>
                        <a:pt x="1507819" y="1181351"/>
                        <a:pt x="1507819" y="1181351"/>
                      </a:cubicBezTo>
                      <a:cubicBezTo>
                        <a:pt x="1410579" y="1262953"/>
                        <a:pt x="1285739" y="1322514"/>
                        <a:pt x="1145194" y="1348960"/>
                      </a:cubicBezTo>
                      <a:lnTo>
                        <a:pt x="1145235" y="1348825"/>
                      </a:lnTo>
                      <a:cubicBezTo>
                        <a:pt x="1145165" y="1349510"/>
                        <a:pt x="1144914" y="1350121"/>
                        <a:pt x="1144661" y="1350732"/>
                      </a:cubicBezTo>
                      <a:cubicBezTo>
                        <a:pt x="1078491" y="1510600"/>
                        <a:pt x="895250" y="1586557"/>
                        <a:pt x="735381" y="1520387"/>
                      </a:cubicBezTo>
                      <a:cubicBezTo>
                        <a:pt x="628649" y="1476210"/>
                        <a:pt x="559318" y="1379852"/>
                        <a:pt x="546018" y="1272927"/>
                      </a:cubicBezTo>
                      <a:cubicBezTo>
                        <a:pt x="546017" y="1272929"/>
                        <a:pt x="546018" y="1272932"/>
                        <a:pt x="546018" y="1272934"/>
                      </a:cubicBezTo>
                      <a:cubicBezTo>
                        <a:pt x="380574" y="1190518"/>
                        <a:pt x="257944" y="1057677"/>
                        <a:pt x="211243" y="900385"/>
                      </a:cubicBezTo>
                      <a:lnTo>
                        <a:pt x="211253" y="900385"/>
                      </a:lnTo>
                      <a:cubicBezTo>
                        <a:pt x="190468" y="898691"/>
                        <a:pt x="169822" y="893269"/>
                        <a:pt x="149657" y="884922"/>
                      </a:cubicBezTo>
                      <a:cubicBezTo>
                        <a:pt x="26045" y="833759"/>
                        <a:pt x="-32686" y="692076"/>
                        <a:pt x="18478" y="568465"/>
                      </a:cubicBezTo>
                      <a:cubicBezTo>
                        <a:pt x="64692" y="456811"/>
                        <a:pt x="184761" y="398093"/>
                        <a:pt x="298454" y="426323"/>
                      </a:cubicBezTo>
                      <a:cubicBezTo>
                        <a:pt x="350193" y="353180"/>
                        <a:pt x="421361" y="291040"/>
                        <a:pt x="506025" y="243624"/>
                      </a:cubicBezTo>
                      <a:lnTo>
                        <a:pt x="506026" y="243626"/>
                      </a:lnTo>
                      <a:cubicBezTo>
                        <a:pt x="501390" y="208461"/>
                        <a:pt x="506228" y="171816"/>
                        <a:pt x="520737" y="136760"/>
                      </a:cubicBezTo>
                      <a:cubicBezTo>
                        <a:pt x="567492" y="23800"/>
                        <a:pt x="696966" y="-29869"/>
                        <a:pt x="809927" y="16885"/>
                      </a:cubicBezTo>
                      <a:cubicBezTo>
                        <a:pt x="862855" y="38793"/>
                        <a:pt x="902766" y="78861"/>
                        <a:pt x="924737" y="127208"/>
                      </a:cubicBezTo>
                      <a:cubicBezTo>
                        <a:pt x="924737" y="127208"/>
                        <a:pt x="924737" y="127208"/>
                        <a:pt x="924737" y="127208"/>
                      </a:cubicBezTo>
                      <a:cubicBezTo>
                        <a:pt x="935097" y="124825"/>
                        <a:pt x="945576" y="124655"/>
                        <a:pt x="956104" y="124655"/>
                      </a:cubicBezTo>
                      <a:cubicBezTo>
                        <a:pt x="1062572" y="124655"/>
                        <a:pt x="1164001" y="142079"/>
                        <a:pt x="1256255" y="173590"/>
                      </a:cubicBezTo>
                      <a:lnTo>
                        <a:pt x="1270314" y="179752"/>
                      </a:lnTo>
                      <a:cubicBezTo>
                        <a:pt x="1322540" y="145450"/>
                        <a:pt x="1389962" y="138760"/>
                        <a:pt x="1452058" y="164462"/>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grpSp>
          <p:sp>
            <p:nvSpPr>
              <p:cNvPr id="281" name="Rectangle 280"/>
              <p:cNvSpPr/>
              <p:nvPr>
                <p:custDataLst>
                  <p:tags r:id="rId1"/>
                </p:custDataLst>
              </p:nvPr>
            </p:nvSpPr>
            <p:spPr bwMode="auto">
              <a:xfrm>
                <a:off x="879068" y="5240229"/>
                <a:ext cx="1070933" cy="685800"/>
              </a:xfrm>
              <a:prstGeom prst="rect">
                <a:avLst/>
              </a:prstGeom>
              <a:solidFill>
                <a:schemeClr val="bg1">
                  <a:lumMod val="95000"/>
                </a:schemeClr>
              </a:solidFill>
              <a:ln w="3175">
                <a:solidFill>
                  <a:schemeClr val="bg1">
                    <a:lumMod val="75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80" tIns="45720" rIns="68580" bIns="27432" numCol="1" spcCol="0" rtlCol="0" fromWordArt="0" anchor="b" anchorCtr="0" forceAA="0" compatLnSpc="1">
                <a:prstTxWarp prst="textNoShape">
                  <a:avLst/>
                </a:prstTxWarp>
                <a:noAutofit/>
              </a:bodyPr>
              <a:lstStyle/>
              <a:p>
                <a:pPr algn="ctr" defTabSz="932472"/>
                <a:r>
                  <a:rPr lang="en-US" sz="1000" dirty="0">
                    <a:solidFill>
                      <a:schemeClr val="accent1"/>
                    </a:solidFill>
                  </a:rPr>
                  <a:t>LOB Applications</a:t>
                </a:r>
              </a:p>
            </p:txBody>
          </p:sp>
          <p:sp>
            <p:nvSpPr>
              <p:cNvPr id="282" name="Round Diagonal Corner Rectangle 53"/>
              <p:cNvSpPr/>
              <p:nvPr/>
            </p:nvSpPr>
            <p:spPr bwMode="auto">
              <a:xfrm>
                <a:off x="1288718" y="5303054"/>
                <a:ext cx="251633" cy="286423"/>
              </a:xfrm>
              <a:custGeom>
                <a:avLst/>
                <a:gdLst/>
                <a:ahLst/>
                <a:cxnLst/>
                <a:rect l="l" t="t" r="r" b="b"/>
                <a:pathLst>
                  <a:path w="3235820" h="3683194">
                    <a:moveTo>
                      <a:pt x="595560" y="650095"/>
                    </a:moveTo>
                    <a:lnTo>
                      <a:pt x="1886300" y="650095"/>
                    </a:lnTo>
                    <a:lnTo>
                      <a:pt x="1886300" y="1018395"/>
                    </a:lnTo>
                    <a:lnTo>
                      <a:pt x="595560" y="1018395"/>
                    </a:lnTo>
                    <a:close/>
                    <a:moveTo>
                      <a:pt x="2054321" y="226077"/>
                    </a:moveTo>
                    <a:lnTo>
                      <a:pt x="520579" y="233218"/>
                    </a:lnTo>
                    <a:cubicBezTo>
                      <a:pt x="362905" y="233218"/>
                      <a:pt x="242283" y="270202"/>
                      <a:pt x="235081" y="524949"/>
                    </a:cubicBezTo>
                    <a:lnTo>
                      <a:pt x="235081" y="3449976"/>
                    </a:lnTo>
                    <a:lnTo>
                      <a:pt x="2715242" y="3449976"/>
                    </a:lnTo>
                    <a:cubicBezTo>
                      <a:pt x="2937738" y="3478785"/>
                      <a:pt x="3000739" y="3319364"/>
                      <a:pt x="3000739" y="3158245"/>
                    </a:cubicBezTo>
                    <a:lnTo>
                      <a:pt x="3000739" y="1068756"/>
                    </a:lnTo>
                    <a:lnTo>
                      <a:pt x="2242421" y="1068756"/>
                    </a:lnTo>
                    <a:cubicBezTo>
                      <a:pt x="2138537" y="1068756"/>
                      <a:pt x="2054321" y="984540"/>
                      <a:pt x="2054321" y="880655"/>
                    </a:cubicBezTo>
                    <a:close/>
                    <a:moveTo>
                      <a:pt x="334033" y="0"/>
                    </a:moveTo>
                    <a:lnTo>
                      <a:pt x="2218267" y="0"/>
                    </a:lnTo>
                    <a:lnTo>
                      <a:pt x="3235820" y="939280"/>
                    </a:lnTo>
                    <a:lnTo>
                      <a:pt x="3235820" y="3349162"/>
                    </a:lnTo>
                    <a:cubicBezTo>
                      <a:pt x="3235820" y="3533642"/>
                      <a:pt x="3086268" y="3683194"/>
                      <a:pt x="2901788" y="3683194"/>
                    </a:cubicBezTo>
                    <a:lnTo>
                      <a:pt x="0" y="3683194"/>
                    </a:lnTo>
                    <a:lnTo>
                      <a:pt x="0" y="334033"/>
                    </a:lnTo>
                    <a:cubicBezTo>
                      <a:pt x="0" y="149553"/>
                      <a:pt x="149553" y="0"/>
                      <a:pt x="334033" y="0"/>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nvGrpSpPr>
            <p:cNvPr id="283" name="Group 282"/>
            <p:cNvGrpSpPr>
              <a:grpSpLocks noChangeAspect="1"/>
            </p:cNvGrpSpPr>
            <p:nvPr/>
          </p:nvGrpSpPr>
          <p:grpSpPr>
            <a:xfrm>
              <a:off x="7271302" y="4673060"/>
              <a:ext cx="644794" cy="837329"/>
              <a:chOff x="377825" y="1184276"/>
              <a:chExt cx="1020763" cy="1325563"/>
            </a:xfrm>
            <a:solidFill>
              <a:schemeClr val="accent1"/>
            </a:solidFill>
          </p:grpSpPr>
          <p:sp>
            <p:nvSpPr>
              <p:cNvPr id="284" name="Oval 122"/>
              <p:cNvSpPr>
                <a:spLocks noChangeArrowheads="1"/>
              </p:cNvSpPr>
              <p:nvPr/>
            </p:nvSpPr>
            <p:spPr bwMode="auto">
              <a:xfrm>
                <a:off x="395288" y="1184276"/>
                <a:ext cx="985838"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285"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grpSp>
      </p:grpSp>
      <p:sp>
        <p:nvSpPr>
          <p:cNvPr id="2" name="Title 1"/>
          <p:cNvSpPr>
            <a:spLocks noGrp="1"/>
          </p:cNvSpPr>
          <p:nvPr>
            <p:ph type="title"/>
          </p:nvPr>
        </p:nvSpPr>
        <p:spPr/>
        <p:txBody>
          <a:bodyPr/>
          <a:lstStyle/>
          <a:p>
            <a:r>
              <a:rPr lang="en-US" dirty="0"/>
              <a:t>Traditional business analytics process</a:t>
            </a:r>
          </a:p>
        </p:txBody>
      </p:sp>
      <p:grpSp>
        <p:nvGrpSpPr>
          <p:cNvPr id="9" name="Group 8"/>
          <p:cNvGrpSpPr/>
          <p:nvPr/>
        </p:nvGrpSpPr>
        <p:grpSpPr>
          <a:xfrm>
            <a:off x="8830946" y="1264857"/>
            <a:ext cx="2926079" cy="2926078"/>
            <a:chOff x="5362071" y="1172650"/>
            <a:chExt cx="2926079" cy="2926078"/>
          </a:xfrm>
        </p:grpSpPr>
        <p:sp>
          <p:nvSpPr>
            <p:cNvPr id="90" name="Block Arc 89"/>
            <p:cNvSpPr/>
            <p:nvPr/>
          </p:nvSpPr>
          <p:spPr bwMode="auto">
            <a:xfrm rot="20944188">
              <a:off x="5362071" y="1172650"/>
              <a:ext cx="2926079" cy="2926078"/>
            </a:xfrm>
            <a:prstGeom prst="blockArc">
              <a:avLst>
                <a:gd name="adj1" fmla="val 19073288"/>
                <a:gd name="adj2" fmla="val 1708824"/>
                <a:gd name="adj3" fmla="val 18480"/>
              </a:avLst>
            </a:prstGeom>
            <a:solidFill>
              <a:schemeClr val="accent1"/>
            </a:soli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099" eaLnBrk="1" fontAlgn="base" latinLnBrk="0" hangingPunct="1">
                <a:spcBef>
                  <a:spcPct val="0"/>
                </a:spcBef>
                <a:spcAft>
                  <a:spcPct val="0"/>
                </a:spcAft>
                <a:buClrTx/>
                <a:buSzTx/>
                <a:buFontTx/>
                <a:buNone/>
                <a:tabLst/>
                <a:defRPr/>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89" name="Block Arc 32"/>
            <p:cNvSpPr/>
            <p:nvPr/>
          </p:nvSpPr>
          <p:spPr bwMode="auto">
            <a:xfrm rot="20943300">
              <a:off x="7336019" y="1888721"/>
              <a:ext cx="372793" cy="1059698"/>
            </a:xfrm>
            <a:custGeom>
              <a:avLst/>
              <a:gdLst/>
              <a:ahLst/>
              <a:cxnLst/>
              <a:rect l="l" t="t" r="r" b="b"/>
              <a:pathLst>
                <a:path w="511332" h="1453507">
                  <a:moveTo>
                    <a:pt x="0" y="170835"/>
                  </a:moveTo>
                  <a:lnTo>
                    <a:pt x="154655" y="139657"/>
                  </a:lnTo>
                  <a:lnTo>
                    <a:pt x="188611" y="0"/>
                  </a:lnTo>
                  <a:cubicBezTo>
                    <a:pt x="531911" y="379928"/>
                    <a:pt x="607985" y="928949"/>
                    <a:pt x="384728" y="1385725"/>
                  </a:cubicBezTo>
                  <a:lnTo>
                    <a:pt x="475475" y="1435021"/>
                  </a:lnTo>
                  <a:lnTo>
                    <a:pt x="208187" y="1453507"/>
                  </a:lnTo>
                  <a:lnTo>
                    <a:pt x="78212" y="1219218"/>
                  </a:lnTo>
                  <a:lnTo>
                    <a:pt x="159218" y="1263222"/>
                  </a:lnTo>
                  <a:cubicBezTo>
                    <a:pt x="332687" y="902393"/>
                    <a:pt x="270721" y="470594"/>
                    <a:pt x="0" y="170835"/>
                  </a:cubicBezTo>
                  <a:close/>
                </a:path>
              </a:pathLst>
            </a:custGeom>
            <a:solidFill>
              <a:srgbClr val="7FBA00"/>
            </a:solidFill>
            <a:ln w="9525" cap="flat" cmpd="sng" algn="ctr">
              <a:noFill/>
              <a:prstDash val="solid"/>
              <a:headEnd type="none" w="med" len="med"/>
              <a:tailEnd type="none" w="med" len="med"/>
            </a:ln>
            <a:effectLst/>
            <a:scene3d>
              <a:camera prst="orthographicFront"/>
              <a:lightRig rig="glow" dir="t"/>
            </a:scene3d>
            <a:sp3d/>
          </p:spPr>
          <p:txBody>
            <a:bodyPr vert="horz" wrap="square" lIns="87782" tIns="43891" rIns="87782" bIns="4389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77570" eaLnBrk="1" fontAlgn="base" latinLnBrk="0" hangingPunct="1">
                <a:spcBef>
                  <a:spcPct val="0"/>
                </a:spcBef>
                <a:spcAft>
                  <a:spcPct val="0"/>
                </a:spcAft>
                <a:buClrTx/>
                <a:buSzTx/>
                <a:buFontTx/>
                <a:buNone/>
                <a:tabLst/>
                <a:defRPr/>
              </a:pPr>
              <a:endParaRPr kumimoji="0" lang="en-US" sz="2400" b="0" i="0" u="none" strike="noStrike" kern="0" cap="none" spc="0" normalizeH="0" baseline="0" noProof="0" dirty="0">
                <a:ln>
                  <a:noFill/>
                </a:ln>
                <a:solidFill>
                  <a:srgbClr val="FFFFFF"/>
                </a:solidFill>
                <a:effectLst/>
                <a:uLnTx/>
                <a:uFillTx/>
              </a:endParaRPr>
            </a:p>
          </p:txBody>
        </p:sp>
        <p:sp>
          <p:nvSpPr>
            <p:cNvPr id="73" name="Rectangle 72"/>
            <p:cNvSpPr/>
            <p:nvPr/>
          </p:nvSpPr>
          <p:spPr>
            <a:xfrm rot="4247000">
              <a:off x="5754906" y="1656933"/>
              <a:ext cx="2120354" cy="2066631"/>
            </a:xfrm>
            <a:prstGeom prst="rect">
              <a:avLst/>
            </a:prstGeom>
            <a:noFill/>
          </p:spPr>
          <p:txBody>
            <a:bodyPr spcFirstLastPara="1" wrap="none" lIns="97519" tIns="48759" rIns="97519" bIns="48759" numCol="1">
              <a:prstTxWarp prst="textArchUp">
                <a:avLst>
                  <a:gd name="adj" fmla="val 10204252"/>
                </a:avLst>
              </a:prstTxWarp>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lvl="0" algn="ctr" defTabSz="914400">
                <a:defRPr/>
              </a:pPr>
              <a:r>
                <a:rPr lang="en-US" sz="1100" b="1" kern="0" dirty="0">
                  <a:gradFill>
                    <a:gsLst>
                      <a:gs pos="0">
                        <a:srgbClr val="FFFFFF"/>
                      </a:gs>
                      <a:gs pos="100000">
                        <a:srgbClr val="FFFFFF"/>
                      </a:gs>
                    </a:gsLst>
                    <a:lin ang="5400000" scaled="0"/>
                  </a:gradFill>
                </a:rPr>
                <a:t>Identify </a:t>
              </a:r>
              <a:br>
                <a:rPr lang="en-US" sz="1100" b="1" kern="0" dirty="0">
                  <a:gradFill>
                    <a:gsLst>
                      <a:gs pos="0">
                        <a:srgbClr val="FFFFFF"/>
                      </a:gs>
                      <a:gs pos="100000">
                        <a:srgbClr val="FFFFFF"/>
                      </a:gs>
                    </a:gsLst>
                    <a:lin ang="5400000" scaled="0"/>
                  </a:gradFill>
                </a:rPr>
              </a:br>
              <a:r>
                <a:rPr lang="en-US" sz="1100" b="1" kern="0" dirty="0">
                  <a:gradFill>
                    <a:gsLst>
                      <a:gs pos="0">
                        <a:srgbClr val="FFFFFF"/>
                      </a:gs>
                      <a:gs pos="100000">
                        <a:srgbClr val="FFFFFF"/>
                      </a:gs>
                    </a:gsLst>
                    <a:lin ang="5400000" scaled="0"/>
                  </a:gradFill>
                </a:rPr>
                <a:t>data schema</a:t>
              </a:r>
              <a:br>
                <a:rPr lang="en-US" sz="1100" b="1" kern="0" dirty="0">
                  <a:gradFill>
                    <a:gsLst>
                      <a:gs pos="0">
                        <a:srgbClr val="FFFFFF"/>
                      </a:gs>
                      <a:gs pos="100000">
                        <a:srgbClr val="FFFFFF"/>
                      </a:gs>
                    </a:gsLst>
                    <a:lin ang="5400000" scaled="0"/>
                  </a:gradFill>
                </a:rPr>
              </a:br>
              <a:r>
                <a:rPr lang="en-US" sz="1100" b="1" kern="0" dirty="0">
                  <a:gradFill>
                    <a:gsLst>
                      <a:gs pos="0">
                        <a:srgbClr val="FFFFFF"/>
                      </a:gs>
                      <a:gs pos="100000">
                        <a:srgbClr val="FFFFFF"/>
                      </a:gs>
                    </a:gsLst>
                    <a:lin ang="5400000" scaled="0"/>
                  </a:gradFill>
                </a:rPr>
                <a:t>and queries</a:t>
              </a:r>
            </a:p>
          </p:txBody>
        </p:sp>
      </p:grpSp>
      <p:grpSp>
        <p:nvGrpSpPr>
          <p:cNvPr id="10" name="Group 9"/>
          <p:cNvGrpSpPr/>
          <p:nvPr/>
        </p:nvGrpSpPr>
        <p:grpSpPr>
          <a:xfrm>
            <a:off x="8830945" y="1264858"/>
            <a:ext cx="2926079" cy="2926078"/>
            <a:chOff x="5362070" y="1172651"/>
            <a:chExt cx="2926079" cy="2926078"/>
          </a:xfrm>
        </p:grpSpPr>
        <p:sp>
          <p:nvSpPr>
            <p:cNvPr id="91" name="Block Arc 90"/>
            <p:cNvSpPr/>
            <p:nvPr/>
          </p:nvSpPr>
          <p:spPr bwMode="auto">
            <a:xfrm rot="3673455">
              <a:off x="5362071" y="1172650"/>
              <a:ext cx="2926078" cy="2926079"/>
            </a:xfrm>
            <a:prstGeom prst="blockArc">
              <a:avLst>
                <a:gd name="adj1" fmla="val 19073288"/>
                <a:gd name="adj2" fmla="val 1708824"/>
                <a:gd name="adj3" fmla="val 18480"/>
              </a:avLst>
            </a:prstGeom>
            <a:solidFill>
              <a:schemeClr val="accent1"/>
            </a:soli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099" eaLnBrk="1" fontAlgn="base" latinLnBrk="0" hangingPunct="1">
                <a:spcBef>
                  <a:spcPct val="0"/>
                </a:spcBef>
                <a:spcAft>
                  <a:spcPct val="0"/>
                </a:spcAft>
                <a:buClrTx/>
                <a:buSzTx/>
                <a:buFontTx/>
                <a:buNone/>
                <a:tabLst/>
                <a:defRPr/>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85" name="Block Arc 32"/>
            <p:cNvSpPr/>
            <p:nvPr/>
          </p:nvSpPr>
          <p:spPr bwMode="auto">
            <a:xfrm rot="3684843">
              <a:off x="7057358" y="2700843"/>
              <a:ext cx="372793" cy="1059698"/>
            </a:xfrm>
            <a:custGeom>
              <a:avLst/>
              <a:gdLst/>
              <a:ahLst/>
              <a:cxnLst/>
              <a:rect l="l" t="t" r="r" b="b"/>
              <a:pathLst>
                <a:path w="511332" h="1453507">
                  <a:moveTo>
                    <a:pt x="0" y="170835"/>
                  </a:moveTo>
                  <a:lnTo>
                    <a:pt x="154655" y="139657"/>
                  </a:lnTo>
                  <a:lnTo>
                    <a:pt x="188611" y="0"/>
                  </a:lnTo>
                  <a:cubicBezTo>
                    <a:pt x="531911" y="379928"/>
                    <a:pt x="607985" y="928949"/>
                    <a:pt x="384728" y="1385725"/>
                  </a:cubicBezTo>
                  <a:lnTo>
                    <a:pt x="475475" y="1435021"/>
                  </a:lnTo>
                  <a:lnTo>
                    <a:pt x="208187" y="1453507"/>
                  </a:lnTo>
                  <a:lnTo>
                    <a:pt x="78212" y="1219218"/>
                  </a:lnTo>
                  <a:lnTo>
                    <a:pt x="159218" y="1263222"/>
                  </a:lnTo>
                  <a:cubicBezTo>
                    <a:pt x="332687" y="902393"/>
                    <a:pt x="270721" y="470594"/>
                    <a:pt x="0" y="170835"/>
                  </a:cubicBezTo>
                  <a:close/>
                </a:path>
              </a:pathLst>
            </a:custGeom>
            <a:solidFill>
              <a:srgbClr val="7FBA00"/>
            </a:solidFill>
            <a:ln w="9525" cap="flat" cmpd="sng" algn="ctr">
              <a:noFill/>
              <a:prstDash val="solid"/>
              <a:headEnd type="none" w="med" len="med"/>
              <a:tailEnd type="none" w="med" len="med"/>
            </a:ln>
            <a:effectLst/>
            <a:scene3d>
              <a:camera prst="orthographicFront"/>
              <a:lightRig rig="glow" dir="t"/>
            </a:scene3d>
            <a:sp3d/>
          </p:spPr>
          <p:txBody>
            <a:bodyPr vert="horz" wrap="square" lIns="87782" tIns="43891" rIns="87782" bIns="4389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77570" eaLnBrk="1" fontAlgn="base" latinLnBrk="0" hangingPunct="1">
                <a:spcBef>
                  <a:spcPct val="0"/>
                </a:spcBef>
                <a:spcAft>
                  <a:spcPct val="0"/>
                </a:spcAft>
                <a:buClrTx/>
                <a:buSzTx/>
                <a:buFontTx/>
                <a:buNone/>
                <a:tabLst/>
                <a:defRPr/>
              </a:pPr>
              <a:endParaRPr kumimoji="0" lang="en-US" sz="2400" b="0" i="0" u="none" strike="noStrike" kern="0" cap="none" spc="0" normalizeH="0" baseline="0" noProof="0" dirty="0">
                <a:ln>
                  <a:noFill/>
                </a:ln>
                <a:solidFill>
                  <a:srgbClr val="FFFFFF"/>
                </a:solidFill>
                <a:effectLst/>
                <a:uLnTx/>
                <a:uFillTx/>
              </a:endParaRPr>
            </a:p>
          </p:txBody>
        </p:sp>
        <p:sp>
          <p:nvSpPr>
            <p:cNvPr id="79" name="Rectangle 78"/>
            <p:cNvSpPr/>
            <p:nvPr/>
          </p:nvSpPr>
          <p:spPr>
            <a:xfrm rot="19351157">
              <a:off x="5729496" y="1621330"/>
              <a:ext cx="2262520" cy="2133296"/>
            </a:xfrm>
            <a:prstGeom prst="rect">
              <a:avLst/>
            </a:prstGeom>
            <a:noFill/>
          </p:spPr>
          <p:txBody>
            <a:bodyPr spcFirstLastPara="1" wrap="none" lIns="97519" tIns="48759" rIns="97519" bIns="48759" numCol="1">
              <a:prstTxWarp prst="textArchDown">
                <a:avLst/>
              </a:prstTxWarp>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lvl="0" algn="ctr" defTabSz="914400">
                <a:defRPr/>
              </a:pPr>
              <a:r>
                <a:rPr lang="en-US" sz="1100" b="1" kern="0" dirty="0">
                  <a:gradFill>
                    <a:gsLst>
                      <a:gs pos="0">
                        <a:srgbClr val="FFFFFF"/>
                      </a:gs>
                      <a:gs pos="86000">
                        <a:srgbClr val="FFFFFF"/>
                      </a:gs>
                    </a:gsLst>
                    <a:lin ang="5400000" scaled="0"/>
                  </a:gradFill>
                </a:rPr>
                <a:t>Identify </a:t>
              </a:r>
              <a:br>
                <a:rPr lang="en-US" sz="1100" b="1" kern="0" dirty="0">
                  <a:gradFill>
                    <a:gsLst>
                      <a:gs pos="0">
                        <a:srgbClr val="FFFFFF"/>
                      </a:gs>
                      <a:gs pos="86000">
                        <a:srgbClr val="FFFFFF"/>
                      </a:gs>
                    </a:gsLst>
                    <a:lin ang="5400000" scaled="0"/>
                  </a:gradFill>
                </a:rPr>
              </a:br>
              <a:r>
                <a:rPr lang="en-US" sz="1100" b="1" kern="0" dirty="0">
                  <a:gradFill>
                    <a:gsLst>
                      <a:gs pos="0">
                        <a:srgbClr val="FFFFFF"/>
                      </a:gs>
                      <a:gs pos="86000">
                        <a:srgbClr val="FFFFFF"/>
                      </a:gs>
                    </a:gsLst>
                    <a:lin ang="5400000" scaled="0"/>
                  </a:gradFill>
                </a:rPr>
                <a:t>data sources</a:t>
              </a:r>
            </a:p>
          </p:txBody>
        </p:sp>
      </p:grpSp>
      <p:grpSp>
        <p:nvGrpSpPr>
          <p:cNvPr id="17" name="Group 16"/>
          <p:cNvGrpSpPr/>
          <p:nvPr/>
        </p:nvGrpSpPr>
        <p:grpSpPr>
          <a:xfrm>
            <a:off x="8830946" y="1264857"/>
            <a:ext cx="2926079" cy="2926078"/>
            <a:chOff x="5362071" y="1172650"/>
            <a:chExt cx="2926079" cy="2926078"/>
          </a:xfrm>
        </p:grpSpPr>
        <p:sp>
          <p:nvSpPr>
            <p:cNvPr id="93" name="Block Arc 92"/>
            <p:cNvSpPr/>
            <p:nvPr/>
          </p:nvSpPr>
          <p:spPr bwMode="auto">
            <a:xfrm rot="12332130">
              <a:off x="5362071" y="1172650"/>
              <a:ext cx="2926079" cy="2926078"/>
            </a:xfrm>
            <a:prstGeom prst="blockArc">
              <a:avLst>
                <a:gd name="adj1" fmla="val 19073288"/>
                <a:gd name="adj2" fmla="val 1708824"/>
                <a:gd name="adj3" fmla="val 18480"/>
              </a:avLst>
            </a:prstGeom>
            <a:solidFill>
              <a:schemeClr val="accent1"/>
            </a:soli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099" eaLnBrk="1" fontAlgn="base" latinLnBrk="0" hangingPunct="1">
                <a:spcBef>
                  <a:spcPct val="0"/>
                </a:spcBef>
                <a:spcAft>
                  <a:spcPct val="0"/>
                </a:spcAft>
                <a:buClrTx/>
                <a:buSzTx/>
                <a:buFontTx/>
                <a:buNone/>
                <a:tabLst/>
                <a:defRPr/>
              </a:pPr>
              <a:endParaRPr kumimoji="0" lang="en-US" sz="2000" b="0" i="0" u="none" strike="noStrike" kern="0" cap="none" spc="0" normalizeH="0" baseline="0" noProof="0" dirty="0">
                <a:ln>
                  <a:noFill/>
                </a:ln>
                <a:solidFill>
                  <a:schemeClr val="bg1"/>
                </a:solidFill>
                <a:effectLst/>
                <a:uLnTx/>
                <a:uFillTx/>
                <a:latin typeface="Segoe UI"/>
                <a:ea typeface="+mn-ea"/>
                <a:cs typeface="+mn-cs"/>
              </a:endParaRPr>
            </a:p>
          </p:txBody>
        </p:sp>
        <p:sp>
          <p:nvSpPr>
            <p:cNvPr id="87" name="Block Arc 32"/>
            <p:cNvSpPr/>
            <p:nvPr/>
          </p:nvSpPr>
          <p:spPr bwMode="auto">
            <a:xfrm rot="12350672">
              <a:off x="5952048" y="1861100"/>
              <a:ext cx="372793" cy="1059698"/>
            </a:xfrm>
            <a:custGeom>
              <a:avLst/>
              <a:gdLst/>
              <a:ahLst/>
              <a:cxnLst/>
              <a:rect l="l" t="t" r="r" b="b"/>
              <a:pathLst>
                <a:path w="511332" h="1453507">
                  <a:moveTo>
                    <a:pt x="0" y="170835"/>
                  </a:moveTo>
                  <a:lnTo>
                    <a:pt x="154655" y="139657"/>
                  </a:lnTo>
                  <a:lnTo>
                    <a:pt x="188611" y="0"/>
                  </a:lnTo>
                  <a:cubicBezTo>
                    <a:pt x="531911" y="379928"/>
                    <a:pt x="607985" y="928949"/>
                    <a:pt x="384728" y="1385725"/>
                  </a:cubicBezTo>
                  <a:lnTo>
                    <a:pt x="475475" y="1435021"/>
                  </a:lnTo>
                  <a:lnTo>
                    <a:pt x="208187" y="1453507"/>
                  </a:lnTo>
                  <a:lnTo>
                    <a:pt x="78212" y="1219218"/>
                  </a:lnTo>
                  <a:lnTo>
                    <a:pt x="159218" y="1263222"/>
                  </a:lnTo>
                  <a:cubicBezTo>
                    <a:pt x="332687" y="902393"/>
                    <a:pt x="270721" y="470594"/>
                    <a:pt x="0" y="170835"/>
                  </a:cubicBezTo>
                  <a:close/>
                </a:path>
              </a:pathLst>
            </a:custGeom>
            <a:solidFill>
              <a:srgbClr val="7FBA00"/>
            </a:solidFill>
            <a:ln w="9525" cap="flat" cmpd="sng" algn="ctr">
              <a:noFill/>
              <a:prstDash val="solid"/>
              <a:headEnd type="none" w="med" len="med"/>
              <a:tailEnd type="none" w="med" len="med"/>
            </a:ln>
            <a:effectLst/>
            <a:scene3d>
              <a:camera prst="orthographicFront"/>
              <a:lightRig rig="glow" dir="t"/>
            </a:scene3d>
            <a:sp3d/>
          </p:spPr>
          <p:txBody>
            <a:bodyPr vert="horz" wrap="square" lIns="87782" tIns="43891" rIns="87782" bIns="4389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77570" eaLnBrk="1" fontAlgn="base" latinLnBrk="0" hangingPunct="1">
                <a:spcBef>
                  <a:spcPct val="0"/>
                </a:spcBef>
                <a:spcAft>
                  <a:spcPct val="0"/>
                </a:spcAft>
                <a:buClrTx/>
                <a:buSzTx/>
                <a:buFontTx/>
                <a:buNone/>
                <a:tabLst/>
                <a:defRPr/>
              </a:pPr>
              <a:endParaRPr kumimoji="0" lang="en-US" sz="2400" b="0" i="0" u="none" strike="noStrike" kern="0" cap="none" spc="0" normalizeH="0" baseline="0" noProof="0" dirty="0">
                <a:ln>
                  <a:noFill/>
                </a:ln>
                <a:solidFill>
                  <a:schemeClr val="bg1"/>
                </a:solidFill>
                <a:effectLst/>
                <a:uLnTx/>
                <a:uFillTx/>
              </a:endParaRPr>
            </a:p>
          </p:txBody>
        </p:sp>
        <p:sp>
          <p:nvSpPr>
            <p:cNvPr id="83" name="Rectangle 82"/>
            <p:cNvSpPr/>
            <p:nvPr/>
          </p:nvSpPr>
          <p:spPr>
            <a:xfrm rot="17428600">
              <a:off x="5659039" y="1633301"/>
              <a:ext cx="2147006" cy="1979430"/>
            </a:xfrm>
            <a:prstGeom prst="rect">
              <a:avLst/>
            </a:prstGeom>
            <a:noFill/>
          </p:spPr>
          <p:txBody>
            <a:bodyPr spcFirstLastPara="1" wrap="none" lIns="97519" tIns="48759" rIns="97519" bIns="48759" numCol="1">
              <a:prstTxWarp prst="textArchUp">
                <a:avLst>
                  <a:gd name="adj" fmla="val 10204252"/>
                </a:avLst>
              </a:prstTxWarp>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lvl="0" algn="ctr" defTabSz="914400">
                <a:defRPr/>
              </a:pPr>
              <a:r>
                <a:rPr lang="en-US" sz="1100" b="1" kern="0" dirty="0">
                  <a:solidFill>
                    <a:schemeClr val="bg1"/>
                  </a:solidFill>
                </a:rPr>
                <a:t>Create reports</a:t>
              </a:r>
              <a:br>
                <a:rPr lang="en-US" sz="1100" b="1" kern="0" dirty="0">
                  <a:solidFill>
                    <a:schemeClr val="bg1"/>
                  </a:solidFill>
                </a:rPr>
              </a:br>
              <a:r>
                <a:rPr lang="en-US" sz="1100" b="1" kern="0" dirty="0">
                  <a:solidFill>
                    <a:schemeClr val="bg1"/>
                  </a:solidFill>
                </a:rPr>
                <a:t>Do analytics</a:t>
              </a:r>
            </a:p>
          </p:txBody>
        </p:sp>
      </p:grpSp>
      <p:grpSp>
        <p:nvGrpSpPr>
          <p:cNvPr id="16" name="Group 15"/>
          <p:cNvGrpSpPr/>
          <p:nvPr/>
        </p:nvGrpSpPr>
        <p:grpSpPr>
          <a:xfrm>
            <a:off x="8830946" y="1264858"/>
            <a:ext cx="2926079" cy="2926078"/>
            <a:chOff x="5362071" y="1172651"/>
            <a:chExt cx="2926079" cy="2926078"/>
          </a:xfrm>
        </p:grpSpPr>
        <p:sp>
          <p:nvSpPr>
            <p:cNvPr id="92" name="Block Arc 91"/>
            <p:cNvSpPr/>
            <p:nvPr/>
          </p:nvSpPr>
          <p:spPr bwMode="auto">
            <a:xfrm rot="8002982">
              <a:off x="5362072" y="1172650"/>
              <a:ext cx="2926078" cy="2926079"/>
            </a:xfrm>
            <a:prstGeom prst="blockArc">
              <a:avLst>
                <a:gd name="adj1" fmla="val 19073288"/>
                <a:gd name="adj2" fmla="val 1708824"/>
                <a:gd name="adj3" fmla="val 18480"/>
              </a:avLst>
            </a:prstGeom>
            <a:solidFill>
              <a:schemeClr val="accent1"/>
            </a:soli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099" eaLnBrk="1" fontAlgn="base" latinLnBrk="0" hangingPunct="1">
                <a:spcBef>
                  <a:spcPct val="0"/>
                </a:spcBef>
                <a:spcAft>
                  <a:spcPct val="0"/>
                </a:spcAft>
                <a:buClrTx/>
                <a:buSzTx/>
                <a:buFontTx/>
                <a:buNone/>
                <a:tabLst/>
                <a:defRPr/>
              </a:pPr>
              <a:endParaRPr kumimoji="0" lang="en-US" sz="2000" b="0" i="0" u="none" strike="noStrike" kern="0" cap="none" spc="0" normalizeH="0" baseline="0" noProof="0" dirty="0">
                <a:ln>
                  <a:noFill/>
                </a:ln>
                <a:solidFill>
                  <a:schemeClr val="bg1"/>
                </a:solidFill>
                <a:effectLst/>
                <a:uLnTx/>
                <a:uFillTx/>
                <a:latin typeface="Segoe UI"/>
                <a:ea typeface="+mn-ea"/>
                <a:cs typeface="+mn-cs"/>
              </a:endParaRPr>
            </a:p>
          </p:txBody>
        </p:sp>
        <p:sp>
          <p:nvSpPr>
            <p:cNvPr id="86" name="Block Arc 32"/>
            <p:cNvSpPr/>
            <p:nvPr/>
          </p:nvSpPr>
          <p:spPr bwMode="auto">
            <a:xfrm rot="8009585">
              <a:off x="6198420" y="2685554"/>
              <a:ext cx="372793" cy="1059698"/>
            </a:xfrm>
            <a:custGeom>
              <a:avLst/>
              <a:gdLst/>
              <a:ahLst/>
              <a:cxnLst/>
              <a:rect l="l" t="t" r="r" b="b"/>
              <a:pathLst>
                <a:path w="511332" h="1453507">
                  <a:moveTo>
                    <a:pt x="0" y="170835"/>
                  </a:moveTo>
                  <a:lnTo>
                    <a:pt x="154655" y="139657"/>
                  </a:lnTo>
                  <a:lnTo>
                    <a:pt x="188611" y="0"/>
                  </a:lnTo>
                  <a:cubicBezTo>
                    <a:pt x="531911" y="379928"/>
                    <a:pt x="607985" y="928949"/>
                    <a:pt x="384728" y="1385725"/>
                  </a:cubicBezTo>
                  <a:lnTo>
                    <a:pt x="475475" y="1435021"/>
                  </a:lnTo>
                  <a:lnTo>
                    <a:pt x="208187" y="1453507"/>
                  </a:lnTo>
                  <a:lnTo>
                    <a:pt x="78212" y="1219218"/>
                  </a:lnTo>
                  <a:lnTo>
                    <a:pt x="159218" y="1263222"/>
                  </a:lnTo>
                  <a:cubicBezTo>
                    <a:pt x="332687" y="902393"/>
                    <a:pt x="270721" y="470594"/>
                    <a:pt x="0" y="170835"/>
                  </a:cubicBezTo>
                  <a:close/>
                </a:path>
              </a:pathLst>
            </a:custGeom>
            <a:solidFill>
              <a:srgbClr val="7FBA00"/>
            </a:solidFill>
            <a:ln w="9525" cap="flat" cmpd="sng" algn="ctr">
              <a:noFill/>
              <a:prstDash val="solid"/>
              <a:headEnd type="none" w="med" len="med"/>
              <a:tailEnd type="none" w="med" len="med"/>
            </a:ln>
            <a:effectLst/>
            <a:scene3d>
              <a:camera prst="orthographicFront"/>
              <a:lightRig rig="glow" dir="t"/>
            </a:scene3d>
            <a:sp3d/>
          </p:spPr>
          <p:txBody>
            <a:bodyPr vert="horz" wrap="square" lIns="87782" tIns="43891" rIns="87782" bIns="4389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77570" eaLnBrk="1" fontAlgn="base" latinLnBrk="0" hangingPunct="1">
                <a:spcBef>
                  <a:spcPct val="0"/>
                </a:spcBef>
                <a:spcAft>
                  <a:spcPct val="0"/>
                </a:spcAft>
                <a:buClrTx/>
                <a:buSzTx/>
                <a:buFontTx/>
                <a:buNone/>
                <a:tabLst/>
                <a:defRPr/>
              </a:pPr>
              <a:endParaRPr kumimoji="0" lang="en-US" sz="2400" b="0" i="0" u="none" strike="noStrike" kern="0" cap="none" spc="0" normalizeH="0" baseline="0" noProof="0" dirty="0">
                <a:ln>
                  <a:noFill/>
                </a:ln>
                <a:solidFill>
                  <a:schemeClr val="bg1"/>
                </a:solidFill>
                <a:effectLst/>
                <a:uLnTx/>
                <a:uFillTx/>
              </a:endParaRPr>
            </a:p>
          </p:txBody>
        </p:sp>
        <p:sp>
          <p:nvSpPr>
            <p:cNvPr id="84" name="Rectangle 83"/>
            <p:cNvSpPr/>
            <p:nvPr/>
          </p:nvSpPr>
          <p:spPr>
            <a:xfrm rot="2101838">
              <a:off x="5621656" y="1616578"/>
              <a:ext cx="2262520" cy="2133296"/>
            </a:xfrm>
            <a:prstGeom prst="rect">
              <a:avLst/>
            </a:prstGeom>
            <a:noFill/>
          </p:spPr>
          <p:txBody>
            <a:bodyPr spcFirstLastPara="1" wrap="none" lIns="97519" tIns="48759" rIns="97519" bIns="48759" numCol="1">
              <a:prstTxWarp prst="textArchDown">
                <a:avLst/>
              </a:prstTxWarp>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lvl="0" algn="ctr" defTabSz="914400">
                <a:defRPr/>
              </a:pPr>
              <a:r>
                <a:rPr lang="en-US" sz="1100" b="1" kern="0" dirty="0">
                  <a:solidFill>
                    <a:schemeClr val="bg1"/>
                  </a:solidFill>
                </a:rPr>
                <a:t>Create ETL </a:t>
              </a:r>
              <a:br>
                <a:rPr lang="en-US" sz="1100" b="1" kern="0" dirty="0">
                  <a:solidFill>
                    <a:schemeClr val="bg1"/>
                  </a:solidFill>
                </a:rPr>
              </a:br>
              <a:r>
                <a:rPr lang="en-US" sz="1100" b="1" kern="0" dirty="0">
                  <a:solidFill>
                    <a:schemeClr val="bg1"/>
                  </a:solidFill>
                </a:rPr>
                <a:t>pipeline </a:t>
              </a:r>
            </a:p>
          </p:txBody>
        </p:sp>
      </p:grpSp>
      <p:grpSp>
        <p:nvGrpSpPr>
          <p:cNvPr id="8" name="Group 7"/>
          <p:cNvGrpSpPr/>
          <p:nvPr/>
        </p:nvGrpSpPr>
        <p:grpSpPr>
          <a:xfrm>
            <a:off x="8830945" y="1264858"/>
            <a:ext cx="2926079" cy="2926078"/>
            <a:chOff x="5362070" y="1172651"/>
            <a:chExt cx="2926079" cy="2926078"/>
          </a:xfrm>
        </p:grpSpPr>
        <p:sp>
          <p:nvSpPr>
            <p:cNvPr id="95" name="Block Arc 94"/>
            <p:cNvSpPr/>
            <p:nvPr/>
          </p:nvSpPr>
          <p:spPr bwMode="auto">
            <a:xfrm rot="16573667">
              <a:off x="5362071" y="1172650"/>
              <a:ext cx="2926078" cy="2926079"/>
            </a:xfrm>
            <a:prstGeom prst="blockArc">
              <a:avLst>
                <a:gd name="adj1" fmla="val 19174529"/>
                <a:gd name="adj2" fmla="val 1738992"/>
                <a:gd name="adj3" fmla="val 18359"/>
              </a:avLst>
            </a:prstGeom>
            <a:solidFill>
              <a:schemeClr val="accent1"/>
            </a:soli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099" eaLnBrk="1" fontAlgn="base" latinLnBrk="0" hangingPunct="1">
                <a:spcBef>
                  <a:spcPct val="0"/>
                </a:spcBef>
                <a:spcAft>
                  <a:spcPct val="0"/>
                </a:spcAft>
                <a:buClrTx/>
                <a:buSzTx/>
                <a:buFontTx/>
                <a:buNone/>
                <a:tabLst/>
                <a:defRPr/>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88" name="Block Arc 32"/>
            <p:cNvSpPr/>
            <p:nvPr/>
          </p:nvSpPr>
          <p:spPr bwMode="auto">
            <a:xfrm rot="16624349">
              <a:off x="6657616" y="1376805"/>
              <a:ext cx="362840" cy="1047066"/>
            </a:xfrm>
            <a:custGeom>
              <a:avLst/>
              <a:gdLst/>
              <a:ahLst/>
              <a:cxnLst/>
              <a:rect l="l" t="t" r="r" b="b"/>
              <a:pathLst>
                <a:path w="497679" h="1436180">
                  <a:moveTo>
                    <a:pt x="485475" y="646717"/>
                  </a:moveTo>
                  <a:cubicBezTo>
                    <a:pt x="519499" y="888561"/>
                    <a:pt x="482703" y="1140010"/>
                    <a:pt x="371075" y="1368398"/>
                  </a:cubicBezTo>
                  <a:lnTo>
                    <a:pt x="461822" y="1417694"/>
                  </a:lnTo>
                  <a:lnTo>
                    <a:pt x="194534" y="1436180"/>
                  </a:lnTo>
                  <a:lnTo>
                    <a:pt x="64559" y="1201891"/>
                  </a:lnTo>
                  <a:lnTo>
                    <a:pt x="145565" y="1245895"/>
                  </a:lnTo>
                  <a:cubicBezTo>
                    <a:pt x="315843" y="891703"/>
                    <a:pt x="259268" y="469128"/>
                    <a:pt x="0" y="171110"/>
                  </a:cubicBezTo>
                  <a:lnTo>
                    <a:pt x="150635" y="140254"/>
                  </a:lnTo>
                  <a:lnTo>
                    <a:pt x="188385" y="0"/>
                  </a:lnTo>
                  <a:cubicBezTo>
                    <a:pt x="352534" y="185898"/>
                    <a:pt x="452422" y="411775"/>
                    <a:pt x="485475" y="646717"/>
                  </a:cubicBezTo>
                  <a:close/>
                </a:path>
              </a:pathLst>
            </a:custGeom>
            <a:solidFill>
              <a:srgbClr val="7FBA00"/>
            </a:solidFill>
            <a:ln w="9525" cap="flat" cmpd="sng" algn="ctr">
              <a:noFill/>
              <a:prstDash val="solid"/>
              <a:headEnd type="none" w="med" len="med"/>
              <a:tailEnd type="none" w="med" len="med"/>
            </a:ln>
            <a:effectLst/>
            <a:scene3d>
              <a:camera prst="orthographicFront"/>
              <a:lightRig rig="glow" dir="t"/>
            </a:scene3d>
            <a:sp3d/>
          </p:spPr>
          <p:txBody>
            <a:bodyPr vert="horz" wrap="square" lIns="87782" tIns="43891" rIns="87782" bIns="4389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77570" eaLnBrk="1" fontAlgn="base" latinLnBrk="0" hangingPunct="1">
                <a:spcBef>
                  <a:spcPct val="0"/>
                </a:spcBef>
                <a:spcAft>
                  <a:spcPct val="0"/>
                </a:spcAft>
                <a:buClrTx/>
                <a:buSzTx/>
                <a:buFontTx/>
                <a:buNone/>
                <a:tabLst/>
                <a:defRPr/>
              </a:pPr>
              <a:endParaRPr kumimoji="0" lang="en-US" sz="2400" b="0" i="0" u="none" strike="noStrike" kern="0" cap="none" spc="0" normalizeH="0" baseline="0" noProof="0" dirty="0">
                <a:ln>
                  <a:noFill/>
                </a:ln>
                <a:solidFill>
                  <a:srgbClr val="FFFFFF"/>
                </a:solidFill>
                <a:effectLst/>
                <a:uLnTx/>
                <a:uFillTx/>
              </a:endParaRPr>
            </a:p>
          </p:txBody>
        </p:sp>
        <p:sp>
          <p:nvSpPr>
            <p:cNvPr id="97" name="Rectangle 96"/>
            <p:cNvSpPr/>
            <p:nvPr/>
          </p:nvSpPr>
          <p:spPr>
            <a:xfrm>
              <a:off x="5792706" y="1536832"/>
              <a:ext cx="2120354" cy="2066631"/>
            </a:xfrm>
            <a:prstGeom prst="rect">
              <a:avLst/>
            </a:prstGeom>
            <a:noFill/>
          </p:spPr>
          <p:txBody>
            <a:bodyPr spcFirstLastPara="1" wrap="none" lIns="97519" tIns="48759" rIns="97519" bIns="48759" numCol="1">
              <a:prstTxWarp prst="textArchUp">
                <a:avLst>
                  <a:gd name="adj" fmla="val 10204252"/>
                </a:avLst>
              </a:prstTxWarp>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lvl="0" algn="ctr" defTabSz="914400">
                <a:defRPr/>
              </a:pPr>
              <a:r>
                <a:rPr lang="en-US" sz="1100" b="1" kern="0" dirty="0">
                  <a:gradFill>
                    <a:gsLst>
                      <a:gs pos="0">
                        <a:srgbClr val="FFFFFF"/>
                      </a:gs>
                      <a:gs pos="100000">
                        <a:srgbClr val="FFFFFF"/>
                      </a:gs>
                    </a:gsLst>
                    <a:lin ang="5400000" scaled="0"/>
                  </a:gradFill>
                </a:rPr>
                <a:t>New </a:t>
              </a:r>
            </a:p>
            <a:p>
              <a:pPr lvl="0" algn="ctr" defTabSz="914400">
                <a:defRPr/>
              </a:pPr>
              <a:r>
                <a:rPr lang="en-US" sz="1100" b="1" kern="0" dirty="0">
                  <a:gradFill>
                    <a:gsLst>
                      <a:gs pos="0">
                        <a:srgbClr val="FFFFFF"/>
                      </a:gs>
                      <a:gs pos="100000">
                        <a:srgbClr val="FFFFFF"/>
                      </a:gs>
                    </a:gsLst>
                    <a:lin ang="5400000" scaled="0"/>
                  </a:gradFill>
                </a:rPr>
                <a:t>requirements</a:t>
              </a:r>
            </a:p>
          </p:txBody>
        </p:sp>
      </p:grpSp>
      <p:sp>
        <p:nvSpPr>
          <p:cNvPr id="141" name="Rectangle 140"/>
          <p:cNvSpPr/>
          <p:nvPr/>
        </p:nvSpPr>
        <p:spPr>
          <a:xfrm>
            <a:off x="394981" y="1284489"/>
            <a:ext cx="7981768" cy="2872581"/>
          </a:xfrm>
          <a:prstGeom prst="rect">
            <a:avLst/>
          </a:prstGeom>
        </p:spPr>
        <p:txBody>
          <a:bodyPr wrap="square" lIns="0" tIns="0" rIns="0" bIns="0">
            <a:spAutoFit/>
          </a:bodyPr>
          <a:lstStyle/>
          <a:p>
            <a:pPr marL="400050" lvl="1" indent="-347663" defTabSz="931954" fontAlgn="base">
              <a:spcBef>
                <a:spcPts val="200"/>
              </a:spcBef>
              <a:spcAft>
                <a:spcPts val="600"/>
              </a:spcAft>
              <a:buClr>
                <a:schemeClr val="accent2"/>
              </a:buClr>
              <a:buFont typeface="+mj-lt"/>
              <a:buAutoNum type="arabicPeriod"/>
              <a:tabLst>
                <a:tab pos="658368" algn="l"/>
              </a:tabLst>
            </a:pPr>
            <a:r>
              <a:rPr lang="en-IN" sz="2000" dirty="0">
                <a:solidFill>
                  <a:schemeClr val="tx2"/>
                </a:solidFill>
                <a:ea typeface="Segoe UI" pitchFamily="34" charset="0"/>
                <a:cs typeface="Segoe UI" pitchFamily="34" charset="0"/>
              </a:rPr>
              <a:t>Start with end-user requirements to identify desired reports</a:t>
            </a:r>
            <a:br>
              <a:rPr lang="en-IN" sz="2000" dirty="0">
                <a:solidFill>
                  <a:schemeClr val="tx2"/>
                </a:solidFill>
                <a:ea typeface="Segoe UI" pitchFamily="34" charset="0"/>
                <a:cs typeface="Segoe UI" pitchFamily="34" charset="0"/>
              </a:rPr>
            </a:br>
            <a:r>
              <a:rPr lang="en-IN" sz="2000" dirty="0">
                <a:solidFill>
                  <a:schemeClr val="tx2"/>
                </a:solidFill>
                <a:ea typeface="Segoe UI" pitchFamily="34" charset="0"/>
                <a:cs typeface="Segoe UI" pitchFamily="34" charset="0"/>
              </a:rPr>
              <a:t>and analysis</a:t>
            </a:r>
          </a:p>
          <a:p>
            <a:pPr marL="400050" lvl="1" indent="-347663" defTabSz="931954" fontAlgn="base">
              <a:spcBef>
                <a:spcPts val="200"/>
              </a:spcBef>
              <a:spcAft>
                <a:spcPts val="600"/>
              </a:spcAft>
              <a:buClr>
                <a:schemeClr val="accent2"/>
              </a:buClr>
              <a:buFont typeface="+mj-lt"/>
              <a:buAutoNum type="arabicPeriod"/>
              <a:tabLst>
                <a:tab pos="658368" algn="l"/>
              </a:tabLst>
            </a:pPr>
            <a:r>
              <a:rPr lang="en-IN" sz="2000" dirty="0">
                <a:solidFill>
                  <a:schemeClr val="tx2"/>
                </a:solidFill>
                <a:ea typeface="Segoe UI" pitchFamily="34" charset="0"/>
                <a:cs typeface="Segoe UI" pitchFamily="34" charset="0"/>
              </a:rPr>
              <a:t>Define corresponding database schema and queries</a:t>
            </a:r>
          </a:p>
          <a:p>
            <a:pPr marL="400050" lvl="1" indent="-347663" defTabSz="931954" fontAlgn="base">
              <a:spcBef>
                <a:spcPts val="200"/>
              </a:spcBef>
              <a:spcAft>
                <a:spcPts val="600"/>
              </a:spcAft>
              <a:buClr>
                <a:schemeClr val="accent2"/>
              </a:buClr>
              <a:buFont typeface="+mj-lt"/>
              <a:buAutoNum type="arabicPeriod"/>
              <a:tabLst>
                <a:tab pos="658368" algn="l"/>
              </a:tabLst>
            </a:pPr>
            <a:r>
              <a:rPr lang="en-IN" sz="2000" dirty="0">
                <a:solidFill>
                  <a:schemeClr val="tx2"/>
                </a:solidFill>
                <a:ea typeface="Segoe UI" pitchFamily="34" charset="0"/>
                <a:cs typeface="Segoe UI" pitchFamily="34" charset="0"/>
              </a:rPr>
              <a:t>Identify the required data sources</a:t>
            </a:r>
          </a:p>
          <a:p>
            <a:pPr marL="400050" lvl="1" indent="-347663" defTabSz="931954" fontAlgn="base">
              <a:spcBef>
                <a:spcPts val="200"/>
              </a:spcBef>
              <a:spcAft>
                <a:spcPts val="600"/>
              </a:spcAft>
              <a:buClr>
                <a:schemeClr val="accent2"/>
              </a:buClr>
              <a:buFont typeface="+mj-lt"/>
              <a:buAutoNum type="arabicPeriod"/>
              <a:tabLst>
                <a:tab pos="658368" algn="l"/>
              </a:tabLst>
            </a:pPr>
            <a:r>
              <a:rPr lang="en-IN" sz="2000" dirty="0">
                <a:solidFill>
                  <a:schemeClr val="tx2"/>
                </a:solidFill>
                <a:ea typeface="Segoe UI" pitchFamily="34" charset="0"/>
                <a:cs typeface="Segoe UI" pitchFamily="34" charset="0"/>
              </a:rPr>
              <a:t>Create a Extract-Transform-Load (ETL) pipeline to extract</a:t>
            </a:r>
            <a:br>
              <a:rPr lang="en-IN" sz="2000" dirty="0">
                <a:solidFill>
                  <a:schemeClr val="tx2"/>
                </a:solidFill>
                <a:ea typeface="Segoe UI" pitchFamily="34" charset="0"/>
                <a:cs typeface="Segoe UI" pitchFamily="34" charset="0"/>
              </a:rPr>
            </a:br>
            <a:r>
              <a:rPr lang="en-IN" sz="2000" dirty="0">
                <a:solidFill>
                  <a:schemeClr val="tx2"/>
                </a:solidFill>
                <a:ea typeface="Segoe UI" pitchFamily="34" charset="0"/>
                <a:cs typeface="Segoe UI" pitchFamily="34" charset="0"/>
              </a:rPr>
              <a:t>required data (curation) and transform it to target schema (‘</a:t>
            </a:r>
            <a:r>
              <a:rPr lang="en-IN" sz="2000" i="1" dirty="0">
                <a:solidFill>
                  <a:schemeClr val="tx2"/>
                </a:solidFill>
                <a:ea typeface="Segoe UI" pitchFamily="34" charset="0"/>
                <a:cs typeface="Segoe UI" pitchFamily="34" charset="0"/>
              </a:rPr>
              <a:t>schema-on-write’</a:t>
            </a:r>
            <a:r>
              <a:rPr lang="en-IN" sz="2000" dirty="0">
                <a:solidFill>
                  <a:schemeClr val="tx2"/>
                </a:solidFill>
                <a:ea typeface="Segoe UI" pitchFamily="34" charset="0"/>
                <a:cs typeface="Segoe UI" pitchFamily="34" charset="0"/>
              </a:rPr>
              <a:t>)</a:t>
            </a:r>
          </a:p>
          <a:p>
            <a:pPr marL="400050" lvl="1" indent="-347663" defTabSz="931954" fontAlgn="base">
              <a:spcBef>
                <a:spcPts val="200"/>
              </a:spcBef>
              <a:spcAft>
                <a:spcPts val="600"/>
              </a:spcAft>
              <a:buClr>
                <a:schemeClr val="accent2"/>
              </a:buClr>
              <a:buFont typeface="+mj-lt"/>
              <a:buAutoNum type="arabicPeriod"/>
              <a:tabLst>
                <a:tab pos="658368" algn="l"/>
              </a:tabLst>
            </a:pPr>
            <a:r>
              <a:rPr lang="en-IN" sz="2000" dirty="0">
                <a:solidFill>
                  <a:schemeClr val="tx2"/>
                </a:solidFill>
                <a:ea typeface="Segoe UI" pitchFamily="34" charset="0"/>
                <a:cs typeface="Segoe UI" pitchFamily="34" charset="0"/>
              </a:rPr>
              <a:t>Create reports. </a:t>
            </a:r>
            <a:r>
              <a:rPr lang="en-IN" sz="2000" dirty="0" err="1">
                <a:solidFill>
                  <a:schemeClr val="tx2"/>
                </a:solidFill>
                <a:ea typeface="Segoe UI" pitchFamily="34" charset="0"/>
                <a:cs typeface="Segoe UI" pitchFamily="34" charset="0"/>
              </a:rPr>
              <a:t>Analyze</a:t>
            </a:r>
            <a:r>
              <a:rPr lang="en-IN" sz="2000" dirty="0">
                <a:solidFill>
                  <a:schemeClr val="tx2"/>
                </a:solidFill>
                <a:ea typeface="Segoe UI" pitchFamily="34" charset="0"/>
                <a:cs typeface="Segoe UI" pitchFamily="34" charset="0"/>
              </a:rPr>
              <a:t> data</a:t>
            </a:r>
          </a:p>
        </p:txBody>
      </p:sp>
      <p:sp>
        <p:nvSpPr>
          <p:cNvPr id="78" name="TextBox 77"/>
          <p:cNvSpPr txBox="1"/>
          <p:nvPr/>
        </p:nvSpPr>
        <p:spPr>
          <a:xfrm>
            <a:off x="434975" y="5912112"/>
            <a:ext cx="11322050" cy="461665"/>
          </a:xfrm>
          <a:prstGeom prst="rect">
            <a:avLst/>
          </a:prstGeom>
          <a:solidFill>
            <a:srgbClr val="002050"/>
          </a:solidFill>
          <a:ln w="3175">
            <a:noFill/>
            <a:miter lim="800000"/>
          </a:ln>
        </p:spPr>
        <p:txBody>
          <a:bodyPr wrap="square" lIns="914400" tIns="45720" rIns="914400" bIns="45720" rtlCol="0" anchor="ctr">
            <a:spAutoFit/>
          </a:bodyPr>
          <a:lstStyle/>
          <a:p>
            <a:pPr algn="ctr"/>
            <a:r>
              <a:rPr lang="en-US" sz="2400" dirty="0">
                <a:solidFill>
                  <a:schemeClr val="bg1"/>
                </a:solidFill>
                <a:latin typeface="+mj-lt"/>
              </a:rPr>
              <a:t>All data not immediately required is discarded or archived</a:t>
            </a:r>
          </a:p>
        </p:txBody>
      </p:sp>
      <p:sp>
        <p:nvSpPr>
          <p:cNvPr id="3" name="Slide Number Placeholder 2"/>
          <p:cNvSpPr>
            <a:spLocks noGrp="1"/>
          </p:cNvSpPr>
          <p:nvPr>
            <p:ph type="sldNum" sz="quarter" idx="4"/>
          </p:nvPr>
        </p:nvSpPr>
        <p:spPr/>
        <p:txBody>
          <a:bodyPr/>
          <a:lstStyle/>
          <a:p>
            <a:pPr>
              <a:defRPr/>
            </a:pPr>
            <a:fld id="{75FAD755-3BD0-2447-A9DF-109DAABEFD99}" type="slidenum">
              <a:rPr lang="en-US" smtClean="0"/>
              <a:pPr>
                <a:defRPr/>
              </a:pPr>
              <a:t>5</a:t>
            </a:fld>
            <a:endParaRPr lang="en-US" dirty="0"/>
          </a:p>
        </p:txBody>
      </p:sp>
    </p:spTree>
    <p:extLst>
      <p:ext uri="{BB962C8B-B14F-4D97-AF65-F5344CB8AC3E}">
        <p14:creationId xmlns:p14="http://schemas.microsoft.com/office/powerpoint/2010/main" val="1995399638"/>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afterEffect">
                                  <p:stCondLst>
                                    <p:cond delay="0"/>
                                  </p:stCondLst>
                                  <p:childTnLst>
                                    <p:set>
                                      <p:cBhvr>
                                        <p:cTn id="6" dur="1" fill="hold">
                                          <p:stCondLst>
                                            <p:cond delay="0"/>
                                          </p:stCondLst>
                                        </p:cTn>
                                        <p:tgtEl>
                                          <p:spTgt spid="141">
                                            <p:txEl>
                                              <p:pRg st="0" end="0"/>
                                            </p:txEl>
                                          </p:spTgt>
                                        </p:tgtEl>
                                        <p:attrNameLst>
                                          <p:attrName>style.visibility</p:attrName>
                                        </p:attrNameLst>
                                      </p:cBhvr>
                                      <p:to>
                                        <p:strVal val="visible"/>
                                      </p:to>
                                    </p:set>
                                    <p:animEffect transition="in" filter="wipe(left)">
                                      <p:cBhvr>
                                        <p:cTn id="7" dur="750"/>
                                        <p:tgtEl>
                                          <p:spTgt spid="141">
                                            <p:txEl>
                                              <p:pRg st="0" end="0"/>
                                            </p:txEl>
                                          </p:spTgt>
                                        </p:tgtEl>
                                      </p:cBhvr>
                                    </p:animEffect>
                                  </p:childTnLst>
                                </p:cTn>
                              </p:par>
                            </p:childTnLst>
                          </p:cTn>
                        </p:par>
                        <p:par>
                          <p:cTn id="8" fill="hold">
                            <p:stCondLst>
                              <p:cond delay="750"/>
                            </p:stCondLst>
                            <p:childTnLst>
                              <p:par>
                                <p:cTn id="9" presetID="22" presetClass="entr" presetSubtype="8" fill="hold" nodeType="afterEffect">
                                  <p:stCondLst>
                                    <p:cond delay="0"/>
                                  </p:stCondLst>
                                  <p:childTnLst>
                                    <p:set>
                                      <p:cBhvr>
                                        <p:cTn id="10" dur="1" fill="hold">
                                          <p:stCondLst>
                                            <p:cond delay="0"/>
                                          </p:stCondLst>
                                        </p:cTn>
                                        <p:tgtEl>
                                          <p:spTgt spid="141">
                                            <p:txEl>
                                              <p:pRg st="1" end="1"/>
                                            </p:txEl>
                                          </p:spTgt>
                                        </p:tgtEl>
                                        <p:attrNameLst>
                                          <p:attrName>style.visibility</p:attrName>
                                        </p:attrNameLst>
                                      </p:cBhvr>
                                      <p:to>
                                        <p:strVal val="visible"/>
                                      </p:to>
                                    </p:set>
                                    <p:animEffect transition="in" filter="wipe(left)">
                                      <p:cBhvr>
                                        <p:cTn id="11" dur="750"/>
                                        <p:tgtEl>
                                          <p:spTgt spid="141">
                                            <p:txEl>
                                              <p:pRg st="1" end="1"/>
                                            </p:txEl>
                                          </p:spTgt>
                                        </p:tgtEl>
                                      </p:cBhvr>
                                    </p:animEffect>
                                  </p:childTnLst>
                                </p:cTn>
                              </p:par>
                            </p:childTnLst>
                          </p:cTn>
                        </p:par>
                        <p:par>
                          <p:cTn id="12" fill="hold">
                            <p:stCondLst>
                              <p:cond delay="1500"/>
                            </p:stCondLst>
                            <p:childTnLst>
                              <p:par>
                                <p:cTn id="13" presetID="22" presetClass="entr" presetSubtype="8" fill="hold" nodeType="afterEffect">
                                  <p:stCondLst>
                                    <p:cond delay="0"/>
                                  </p:stCondLst>
                                  <p:childTnLst>
                                    <p:set>
                                      <p:cBhvr>
                                        <p:cTn id="14" dur="1" fill="hold">
                                          <p:stCondLst>
                                            <p:cond delay="0"/>
                                          </p:stCondLst>
                                        </p:cTn>
                                        <p:tgtEl>
                                          <p:spTgt spid="141">
                                            <p:txEl>
                                              <p:pRg st="2" end="2"/>
                                            </p:txEl>
                                          </p:spTgt>
                                        </p:tgtEl>
                                        <p:attrNameLst>
                                          <p:attrName>style.visibility</p:attrName>
                                        </p:attrNameLst>
                                      </p:cBhvr>
                                      <p:to>
                                        <p:strVal val="visible"/>
                                      </p:to>
                                    </p:set>
                                    <p:animEffect transition="in" filter="wipe(left)">
                                      <p:cBhvr>
                                        <p:cTn id="15" dur="500"/>
                                        <p:tgtEl>
                                          <p:spTgt spid="141">
                                            <p:txEl>
                                              <p:pRg st="2" end="2"/>
                                            </p:txEl>
                                          </p:spTgt>
                                        </p:tgtEl>
                                      </p:cBhvr>
                                    </p:animEffect>
                                  </p:childTnLst>
                                </p:cTn>
                              </p:par>
                            </p:childTnLst>
                          </p:cTn>
                        </p:par>
                        <p:par>
                          <p:cTn id="16" fill="hold">
                            <p:stCondLst>
                              <p:cond delay="2000"/>
                            </p:stCondLst>
                            <p:childTnLst>
                              <p:par>
                                <p:cTn id="17" presetID="22" presetClass="entr" presetSubtype="8" fill="hold" nodeType="afterEffect">
                                  <p:stCondLst>
                                    <p:cond delay="0"/>
                                  </p:stCondLst>
                                  <p:childTnLst>
                                    <p:set>
                                      <p:cBhvr>
                                        <p:cTn id="18" dur="1" fill="hold">
                                          <p:stCondLst>
                                            <p:cond delay="0"/>
                                          </p:stCondLst>
                                        </p:cTn>
                                        <p:tgtEl>
                                          <p:spTgt spid="141">
                                            <p:txEl>
                                              <p:pRg st="3" end="3"/>
                                            </p:txEl>
                                          </p:spTgt>
                                        </p:tgtEl>
                                        <p:attrNameLst>
                                          <p:attrName>style.visibility</p:attrName>
                                        </p:attrNameLst>
                                      </p:cBhvr>
                                      <p:to>
                                        <p:strVal val="visible"/>
                                      </p:to>
                                    </p:set>
                                    <p:animEffect transition="in" filter="wipe(left)">
                                      <p:cBhvr>
                                        <p:cTn id="19" dur="1000"/>
                                        <p:tgtEl>
                                          <p:spTgt spid="141">
                                            <p:txEl>
                                              <p:pRg st="3" end="3"/>
                                            </p:txEl>
                                          </p:spTgt>
                                        </p:tgtEl>
                                      </p:cBhvr>
                                    </p:animEffect>
                                  </p:childTnLst>
                                </p:cTn>
                              </p:par>
                            </p:childTnLst>
                          </p:cTn>
                        </p:par>
                        <p:par>
                          <p:cTn id="20" fill="hold">
                            <p:stCondLst>
                              <p:cond delay="3000"/>
                            </p:stCondLst>
                            <p:childTnLst>
                              <p:par>
                                <p:cTn id="21" presetID="22" presetClass="entr" presetSubtype="8" fill="hold" nodeType="afterEffect">
                                  <p:stCondLst>
                                    <p:cond delay="0"/>
                                  </p:stCondLst>
                                  <p:childTnLst>
                                    <p:set>
                                      <p:cBhvr>
                                        <p:cTn id="22" dur="1" fill="hold">
                                          <p:stCondLst>
                                            <p:cond delay="0"/>
                                          </p:stCondLst>
                                        </p:cTn>
                                        <p:tgtEl>
                                          <p:spTgt spid="141">
                                            <p:txEl>
                                              <p:pRg st="4" end="4"/>
                                            </p:txEl>
                                          </p:spTgt>
                                        </p:tgtEl>
                                        <p:attrNameLst>
                                          <p:attrName>style.visibility</p:attrName>
                                        </p:attrNameLst>
                                      </p:cBhvr>
                                      <p:to>
                                        <p:strVal val="visible"/>
                                      </p:to>
                                    </p:set>
                                    <p:animEffect transition="in" filter="wipe(left)">
                                      <p:cBhvr>
                                        <p:cTn id="23" dur="500"/>
                                        <p:tgtEl>
                                          <p:spTgt spid="141">
                                            <p:txEl>
                                              <p:pRg st="4" end="4"/>
                                            </p:txEl>
                                          </p:spTgt>
                                        </p:tgtEl>
                                      </p:cBhvr>
                                    </p:animEffect>
                                  </p:childTnLst>
                                </p:cTn>
                              </p:par>
                            </p:childTnLst>
                          </p:cTn>
                        </p:par>
                        <p:par>
                          <p:cTn id="24" fill="hold">
                            <p:stCondLst>
                              <p:cond delay="3500"/>
                            </p:stCondLst>
                            <p:childTnLst>
                              <p:par>
                                <p:cTn id="25" presetID="22" presetClass="entr" presetSubtype="8" fill="hold" nodeType="afterEffect">
                                  <p:stCondLst>
                                    <p:cond delay="0"/>
                                  </p:stCondLst>
                                  <p:childTnLst>
                                    <p:set>
                                      <p:cBhvr>
                                        <p:cTn id="26" dur="1" fill="hold">
                                          <p:stCondLst>
                                            <p:cond delay="0"/>
                                          </p:stCondLst>
                                        </p:cTn>
                                        <p:tgtEl>
                                          <p:spTgt spid="8"/>
                                        </p:tgtEl>
                                        <p:attrNameLst>
                                          <p:attrName>style.visibility</p:attrName>
                                        </p:attrNameLst>
                                      </p:cBhvr>
                                      <p:to>
                                        <p:strVal val="visible"/>
                                      </p:to>
                                    </p:set>
                                    <p:animEffect transition="in" filter="wipe(left)">
                                      <p:cBhvr>
                                        <p:cTn id="27" dur="500"/>
                                        <p:tgtEl>
                                          <p:spTgt spid="8"/>
                                        </p:tgtEl>
                                      </p:cBhvr>
                                    </p:animEffect>
                                  </p:childTnLst>
                                </p:cTn>
                              </p:par>
                              <p:par>
                                <p:cTn id="28" presetID="21" presetClass="entr" presetSubtype="1" fill="hold" nodeType="withEffect">
                                  <p:stCondLst>
                                    <p:cond delay="250"/>
                                  </p:stCondLst>
                                  <p:childTnLst>
                                    <p:set>
                                      <p:cBhvr>
                                        <p:cTn id="29" dur="1" fill="hold">
                                          <p:stCondLst>
                                            <p:cond delay="0"/>
                                          </p:stCondLst>
                                        </p:cTn>
                                        <p:tgtEl>
                                          <p:spTgt spid="9"/>
                                        </p:tgtEl>
                                        <p:attrNameLst>
                                          <p:attrName>style.visibility</p:attrName>
                                        </p:attrNameLst>
                                      </p:cBhvr>
                                      <p:to>
                                        <p:strVal val="visible"/>
                                      </p:to>
                                    </p:set>
                                    <p:animEffect transition="in" filter="wheel(1)">
                                      <p:cBhvr>
                                        <p:cTn id="30" dur="2000"/>
                                        <p:tgtEl>
                                          <p:spTgt spid="9"/>
                                        </p:tgtEl>
                                      </p:cBhvr>
                                    </p:animEffect>
                                  </p:childTnLst>
                                </p:cTn>
                              </p:par>
                              <p:par>
                                <p:cTn id="31" presetID="21" presetClass="entr" presetSubtype="1" fill="hold" nodeType="withEffect">
                                  <p:stCondLst>
                                    <p:cond delay="300"/>
                                  </p:stCondLst>
                                  <p:childTnLst>
                                    <p:set>
                                      <p:cBhvr>
                                        <p:cTn id="32" dur="1" fill="hold">
                                          <p:stCondLst>
                                            <p:cond delay="0"/>
                                          </p:stCondLst>
                                        </p:cTn>
                                        <p:tgtEl>
                                          <p:spTgt spid="10"/>
                                        </p:tgtEl>
                                        <p:attrNameLst>
                                          <p:attrName>style.visibility</p:attrName>
                                        </p:attrNameLst>
                                      </p:cBhvr>
                                      <p:to>
                                        <p:strVal val="visible"/>
                                      </p:to>
                                    </p:set>
                                    <p:animEffect transition="in" filter="wheel(1)">
                                      <p:cBhvr>
                                        <p:cTn id="33" dur="2000"/>
                                        <p:tgtEl>
                                          <p:spTgt spid="10"/>
                                        </p:tgtEl>
                                      </p:cBhvr>
                                    </p:animEffect>
                                  </p:childTnLst>
                                </p:cTn>
                              </p:par>
                              <p:par>
                                <p:cTn id="34" presetID="21" presetClass="entr" presetSubtype="1" fill="hold" nodeType="withEffect">
                                  <p:stCondLst>
                                    <p:cond delay="300"/>
                                  </p:stCondLst>
                                  <p:childTnLst>
                                    <p:set>
                                      <p:cBhvr>
                                        <p:cTn id="35" dur="1" fill="hold">
                                          <p:stCondLst>
                                            <p:cond delay="0"/>
                                          </p:stCondLst>
                                        </p:cTn>
                                        <p:tgtEl>
                                          <p:spTgt spid="16"/>
                                        </p:tgtEl>
                                        <p:attrNameLst>
                                          <p:attrName>style.visibility</p:attrName>
                                        </p:attrNameLst>
                                      </p:cBhvr>
                                      <p:to>
                                        <p:strVal val="visible"/>
                                      </p:to>
                                    </p:set>
                                    <p:animEffect transition="in" filter="wheel(1)">
                                      <p:cBhvr>
                                        <p:cTn id="36" dur="2000"/>
                                        <p:tgtEl>
                                          <p:spTgt spid="16"/>
                                        </p:tgtEl>
                                      </p:cBhvr>
                                    </p:animEffect>
                                  </p:childTnLst>
                                </p:cTn>
                              </p:par>
                              <p:par>
                                <p:cTn id="37" presetID="21" presetClass="entr" presetSubtype="1" fill="hold" nodeType="withEffect">
                                  <p:stCondLst>
                                    <p:cond delay="300"/>
                                  </p:stCondLst>
                                  <p:childTnLst>
                                    <p:set>
                                      <p:cBhvr>
                                        <p:cTn id="38" dur="1" fill="hold">
                                          <p:stCondLst>
                                            <p:cond delay="0"/>
                                          </p:stCondLst>
                                        </p:cTn>
                                        <p:tgtEl>
                                          <p:spTgt spid="17"/>
                                        </p:tgtEl>
                                        <p:attrNameLst>
                                          <p:attrName>style.visibility</p:attrName>
                                        </p:attrNameLst>
                                      </p:cBhvr>
                                      <p:to>
                                        <p:strVal val="visible"/>
                                      </p:to>
                                    </p:set>
                                    <p:animEffect transition="in" filter="wheel(1)">
                                      <p:cBhvr>
                                        <p:cTn id="39" dur="2000"/>
                                        <p:tgtEl>
                                          <p:spTgt spid="17"/>
                                        </p:tgtEl>
                                      </p:cBhvr>
                                    </p:animEffect>
                                  </p:childTnLst>
                                </p:cTn>
                              </p:par>
                            </p:childTnLst>
                          </p:cTn>
                        </p:par>
                        <p:par>
                          <p:cTn id="40" fill="hold">
                            <p:stCondLst>
                              <p:cond delay="5800"/>
                            </p:stCondLst>
                            <p:childTnLst>
                              <p:par>
                                <p:cTn id="41" presetID="22" presetClass="entr" presetSubtype="8" fill="hold" nodeType="afterEffect">
                                  <p:stCondLst>
                                    <p:cond delay="0"/>
                                  </p:stCondLst>
                                  <p:childTnLst>
                                    <p:set>
                                      <p:cBhvr>
                                        <p:cTn id="42" dur="1" fill="hold">
                                          <p:stCondLst>
                                            <p:cond delay="0"/>
                                          </p:stCondLst>
                                        </p:cTn>
                                        <p:tgtEl>
                                          <p:spTgt spid="291"/>
                                        </p:tgtEl>
                                        <p:attrNameLst>
                                          <p:attrName>style.visibility</p:attrName>
                                        </p:attrNameLst>
                                      </p:cBhvr>
                                      <p:to>
                                        <p:strVal val="visible"/>
                                      </p:to>
                                    </p:set>
                                    <p:animEffect transition="in" filter="wipe(left)">
                                      <p:cBhvr>
                                        <p:cTn id="43" dur="1250"/>
                                        <p:tgtEl>
                                          <p:spTgt spid="291"/>
                                        </p:tgtEl>
                                      </p:cBhvr>
                                    </p:animEffect>
                                  </p:childTnLst>
                                </p:cTn>
                              </p:par>
                            </p:childTnLst>
                          </p:cTn>
                        </p:par>
                        <p:par>
                          <p:cTn id="44" fill="hold">
                            <p:stCondLst>
                              <p:cond delay="7050"/>
                            </p:stCondLst>
                            <p:childTnLst>
                              <p:par>
                                <p:cTn id="45" presetID="10" presetClass="entr" presetSubtype="0" fill="hold" grpId="0" nodeType="afterEffect">
                                  <p:stCondLst>
                                    <p:cond delay="0"/>
                                  </p:stCondLst>
                                  <p:childTnLst>
                                    <p:set>
                                      <p:cBhvr>
                                        <p:cTn id="46" dur="1" fill="hold">
                                          <p:stCondLst>
                                            <p:cond delay="0"/>
                                          </p:stCondLst>
                                        </p:cTn>
                                        <p:tgtEl>
                                          <p:spTgt spid="78"/>
                                        </p:tgtEl>
                                        <p:attrNameLst>
                                          <p:attrName>style.visibility</p:attrName>
                                        </p:attrNameLst>
                                      </p:cBhvr>
                                      <p:to>
                                        <p:strVal val="visible"/>
                                      </p:to>
                                    </p:set>
                                    <p:animEffect transition="in" filter="fade">
                                      <p:cBhvr>
                                        <p:cTn id="47" dur="750"/>
                                        <p:tgtEl>
                                          <p:spTgt spid="7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8" grpId="0" animBg="1"/>
    </p:bld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bwMode="auto">
          <a:xfrm>
            <a:off x="5610225" y="0"/>
            <a:ext cx="6581775"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a:solidFill>
                <a:schemeClr val="bg1"/>
              </a:solidFill>
              <a:latin typeface="+mj-lt"/>
              <a:ea typeface="Segoe UI" pitchFamily="34" charset="0"/>
              <a:cs typeface="Segoe UI" pitchFamily="34" charset="0"/>
            </a:endParaRPr>
          </a:p>
        </p:txBody>
      </p:sp>
      <p:sp>
        <p:nvSpPr>
          <p:cNvPr id="14" name="Title 1"/>
          <p:cNvSpPr txBox="1">
            <a:spLocks/>
          </p:cNvSpPr>
          <p:nvPr/>
        </p:nvSpPr>
        <p:spPr>
          <a:xfrm>
            <a:off x="6178885" y="489762"/>
            <a:ext cx="5922013" cy="2353192"/>
          </a:xfrm>
          <a:prstGeom prst="rect">
            <a:avLst/>
          </a:prstGeom>
        </p:spPr>
        <p:txBody>
          <a:bodyPr anchor="ctr"/>
          <a:lstStyle>
            <a:lvl1pPr algn="l" defTabSz="913505" rtl="0" eaLnBrk="1" fontAlgn="base" hangingPunct="1">
              <a:lnSpc>
                <a:spcPct val="90000"/>
              </a:lnSpc>
              <a:spcBef>
                <a:spcPct val="0"/>
              </a:spcBef>
              <a:spcAft>
                <a:spcPct val="0"/>
              </a:spcAft>
              <a:defRPr lang="en-US" sz="4800" kern="1200" spc="-100" dirty="0">
                <a:ln w="3175">
                  <a:noFill/>
                </a:ln>
                <a:solidFill>
                  <a:schemeClr val="tx2"/>
                </a:solidFill>
                <a:latin typeface="+mj-lt"/>
                <a:ea typeface="ＭＳ Ｐゴシック" charset="0"/>
                <a:cs typeface="Segoe UI" pitchFamily="34" charset="0"/>
              </a:defRPr>
            </a:lvl1pPr>
            <a:lvl2pPr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2pPr>
            <a:lvl3pPr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3pPr>
            <a:lvl4pPr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4pPr>
            <a:lvl5pPr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5pPr>
            <a:lvl6pPr marL="448193"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6pPr>
            <a:lvl7pPr marL="896386"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7pPr>
            <a:lvl8pPr marL="1344579"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8pPr>
            <a:lvl9pPr marL="1792773"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9pPr>
          </a:lstStyle>
          <a:p>
            <a:r>
              <a:rPr lang="en-US" sz="8000" dirty="0">
                <a:solidFill>
                  <a:schemeClr val="accent2"/>
                </a:solidFill>
              </a:rPr>
              <a:t>Get started today!</a:t>
            </a:r>
          </a:p>
        </p:txBody>
      </p:sp>
      <p:sp>
        <p:nvSpPr>
          <p:cNvPr id="15" name="Text Placeholder 6"/>
          <p:cNvSpPr txBox="1">
            <a:spLocks/>
          </p:cNvSpPr>
          <p:nvPr/>
        </p:nvSpPr>
        <p:spPr>
          <a:xfrm>
            <a:off x="6184064" y="4105275"/>
            <a:ext cx="5738698" cy="2181784"/>
          </a:xfrm>
          <a:prstGeom prst="rect">
            <a:avLst/>
          </a:prstGeom>
        </p:spPr>
        <p:txBody>
          <a:bodyPr vert="horz" lIns="0" tIns="0" rIns="91440" bIns="0" rtlCol="0" anchor="t"/>
          <a:lstStyle>
            <a:defPPr>
              <a:defRPr lang="en-US"/>
            </a:defPPr>
            <a:lvl1pPr marL="0" algn="l" defTabSz="914367" rtl="0" eaLnBrk="1" fontAlgn="base" latinLnBrk="0" hangingPunct="1">
              <a:spcBef>
                <a:spcPct val="0"/>
              </a:spcBef>
              <a:spcAft>
                <a:spcPct val="0"/>
              </a:spcAft>
              <a:defRPr lang="en-US" sz="882" kern="1200" dirty="0" smtClean="0">
                <a:solidFill>
                  <a:srgbClr val="000000"/>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defTabSz="895919">
              <a:lnSpc>
                <a:spcPct val="90000"/>
              </a:lnSpc>
              <a:spcAft>
                <a:spcPts val="1175"/>
              </a:spcAft>
              <a:defRPr/>
            </a:pPr>
            <a:r>
              <a:rPr lang="en-US" sz="2800" dirty="0">
                <a:solidFill>
                  <a:schemeClr val="tx2"/>
                </a:solidFill>
              </a:rPr>
              <a:t>For more information visit: http://azure.com/datalake</a:t>
            </a:r>
          </a:p>
        </p:txBody>
      </p:sp>
      <p:grpSp>
        <p:nvGrpSpPr>
          <p:cNvPr id="296" name="Group 295"/>
          <p:cNvGrpSpPr/>
          <p:nvPr/>
        </p:nvGrpSpPr>
        <p:grpSpPr>
          <a:xfrm flipH="1">
            <a:off x="0" y="3037392"/>
            <a:ext cx="5547857" cy="3820609"/>
            <a:chOff x="998538" y="1340643"/>
            <a:chExt cx="3836988" cy="2642395"/>
          </a:xfrm>
        </p:grpSpPr>
        <p:grpSp>
          <p:nvGrpSpPr>
            <p:cNvPr id="20" name="Group 205"/>
            <p:cNvGrpSpPr>
              <a:grpSpLocks/>
            </p:cNvGrpSpPr>
            <p:nvPr/>
          </p:nvGrpSpPr>
          <p:grpSpPr bwMode="auto">
            <a:xfrm>
              <a:off x="998538" y="1862138"/>
              <a:ext cx="3836988" cy="2120900"/>
              <a:chOff x="629" y="1173"/>
              <a:chExt cx="2417" cy="1336"/>
            </a:xfrm>
          </p:grpSpPr>
          <p:sp>
            <p:nvSpPr>
              <p:cNvPr id="96" name="Freeform 5"/>
              <p:cNvSpPr>
                <a:spLocks/>
              </p:cNvSpPr>
              <p:nvPr/>
            </p:nvSpPr>
            <p:spPr bwMode="auto">
              <a:xfrm>
                <a:off x="2996" y="1173"/>
                <a:ext cx="38" cy="26"/>
              </a:xfrm>
              <a:custGeom>
                <a:avLst/>
                <a:gdLst>
                  <a:gd name="T0" fmla="*/ 0 w 24"/>
                  <a:gd name="T1" fmla="*/ 1 h 17"/>
                  <a:gd name="T2" fmla="*/ 0 w 24"/>
                  <a:gd name="T3" fmla="*/ 16 h 17"/>
                  <a:gd name="T4" fmla="*/ 1 w 24"/>
                  <a:gd name="T5" fmla="*/ 17 h 17"/>
                  <a:gd name="T6" fmla="*/ 7 w 24"/>
                  <a:gd name="T7" fmla="*/ 17 h 17"/>
                  <a:gd name="T8" fmla="*/ 8 w 24"/>
                  <a:gd name="T9" fmla="*/ 17 h 17"/>
                  <a:gd name="T10" fmla="*/ 11 w 24"/>
                  <a:gd name="T11" fmla="*/ 17 h 17"/>
                  <a:gd name="T12" fmla="*/ 23 w 24"/>
                  <a:gd name="T13" fmla="*/ 17 h 17"/>
                  <a:gd name="T14" fmla="*/ 24 w 24"/>
                  <a:gd name="T15" fmla="*/ 16 h 17"/>
                  <a:gd name="T16" fmla="*/ 24 w 24"/>
                  <a:gd name="T17" fmla="*/ 1 h 17"/>
                  <a:gd name="T18" fmla="*/ 23 w 24"/>
                  <a:gd name="T19" fmla="*/ 0 h 17"/>
                  <a:gd name="T20" fmla="*/ 1 w 24"/>
                  <a:gd name="T21" fmla="*/ 0 h 17"/>
                  <a:gd name="T22" fmla="*/ 0 w 24"/>
                  <a:gd name="T23" fmla="*/ 1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17">
                    <a:moveTo>
                      <a:pt x="0" y="1"/>
                    </a:moveTo>
                    <a:cubicBezTo>
                      <a:pt x="0" y="16"/>
                      <a:pt x="0" y="16"/>
                      <a:pt x="0" y="16"/>
                    </a:cubicBezTo>
                    <a:cubicBezTo>
                      <a:pt x="0" y="16"/>
                      <a:pt x="0" y="17"/>
                      <a:pt x="1" y="17"/>
                    </a:cubicBezTo>
                    <a:cubicBezTo>
                      <a:pt x="7" y="17"/>
                      <a:pt x="7" y="17"/>
                      <a:pt x="7" y="17"/>
                    </a:cubicBezTo>
                    <a:cubicBezTo>
                      <a:pt x="8" y="17"/>
                      <a:pt x="8" y="17"/>
                      <a:pt x="8" y="17"/>
                    </a:cubicBezTo>
                    <a:cubicBezTo>
                      <a:pt x="11" y="17"/>
                      <a:pt x="11" y="17"/>
                      <a:pt x="11" y="17"/>
                    </a:cubicBezTo>
                    <a:cubicBezTo>
                      <a:pt x="23" y="17"/>
                      <a:pt x="23" y="17"/>
                      <a:pt x="23" y="17"/>
                    </a:cubicBezTo>
                    <a:cubicBezTo>
                      <a:pt x="24" y="17"/>
                      <a:pt x="24" y="16"/>
                      <a:pt x="24" y="16"/>
                    </a:cubicBezTo>
                    <a:cubicBezTo>
                      <a:pt x="24" y="1"/>
                      <a:pt x="24" y="1"/>
                      <a:pt x="24" y="1"/>
                    </a:cubicBezTo>
                    <a:cubicBezTo>
                      <a:pt x="24" y="1"/>
                      <a:pt x="24" y="0"/>
                      <a:pt x="23" y="0"/>
                    </a:cubicBezTo>
                    <a:cubicBezTo>
                      <a:pt x="1" y="0"/>
                      <a:pt x="1" y="0"/>
                      <a:pt x="1" y="0"/>
                    </a:cubicBezTo>
                    <a:cubicBezTo>
                      <a:pt x="0" y="0"/>
                      <a:pt x="0" y="1"/>
                      <a:pt x="0" y="1"/>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7" name="Rectangle 6"/>
              <p:cNvSpPr>
                <a:spLocks noChangeArrowheads="1"/>
              </p:cNvSpPr>
              <p:nvPr/>
            </p:nvSpPr>
            <p:spPr bwMode="auto">
              <a:xfrm>
                <a:off x="2546" y="2016"/>
                <a:ext cx="500" cy="42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8" name="Rectangle 7"/>
              <p:cNvSpPr>
                <a:spLocks noChangeArrowheads="1"/>
              </p:cNvSpPr>
              <p:nvPr/>
            </p:nvSpPr>
            <p:spPr bwMode="auto">
              <a:xfrm>
                <a:off x="2582" y="1926"/>
                <a:ext cx="464" cy="421"/>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9" name="Rectangle 8"/>
              <p:cNvSpPr>
                <a:spLocks noChangeArrowheads="1"/>
              </p:cNvSpPr>
              <p:nvPr/>
            </p:nvSpPr>
            <p:spPr bwMode="auto">
              <a:xfrm>
                <a:off x="2665" y="1867"/>
                <a:ext cx="381" cy="256"/>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0" name="Rectangle 9"/>
              <p:cNvSpPr>
                <a:spLocks noChangeArrowheads="1"/>
              </p:cNvSpPr>
              <p:nvPr/>
            </p:nvSpPr>
            <p:spPr bwMode="auto">
              <a:xfrm>
                <a:off x="2781" y="1586"/>
                <a:ext cx="265" cy="281"/>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1" name="Rectangle 10"/>
              <p:cNvSpPr>
                <a:spLocks noChangeArrowheads="1"/>
              </p:cNvSpPr>
              <p:nvPr/>
            </p:nvSpPr>
            <p:spPr bwMode="auto">
              <a:xfrm>
                <a:off x="2899" y="1372"/>
                <a:ext cx="147" cy="24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2" name="Rectangle 11"/>
              <p:cNvSpPr>
                <a:spLocks noChangeArrowheads="1"/>
              </p:cNvSpPr>
              <p:nvPr/>
            </p:nvSpPr>
            <p:spPr bwMode="auto">
              <a:xfrm>
                <a:off x="2973" y="1225"/>
                <a:ext cx="73" cy="21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3" name="Rectangle 12"/>
              <p:cNvSpPr>
                <a:spLocks noChangeArrowheads="1"/>
              </p:cNvSpPr>
              <p:nvPr/>
            </p:nvSpPr>
            <p:spPr bwMode="auto">
              <a:xfrm>
                <a:off x="2693" y="2178"/>
                <a:ext cx="353" cy="331"/>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4" name="Rectangle 13"/>
              <p:cNvSpPr>
                <a:spLocks noChangeArrowheads="1"/>
              </p:cNvSpPr>
              <p:nvPr/>
            </p:nvSpPr>
            <p:spPr bwMode="auto">
              <a:xfrm>
                <a:off x="2331" y="2016"/>
                <a:ext cx="302" cy="331"/>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5" name="Freeform 14"/>
              <p:cNvSpPr>
                <a:spLocks/>
              </p:cNvSpPr>
              <p:nvPr/>
            </p:nvSpPr>
            <p:spPr bwMode="auto">
              <a:xfrm>
                <a:off x="1708" y="2177"/>
                <a:ext cx="68" cy="207"/>
              </a:xfrm>
              <a:custGeom>
                <a:avLst/>
                <a:gdLst>
                  <a:gd name="T0" fmla="*/ 36 w 44"/>
                  <a:gd name="T1" fmla="*/ 26 h 134"/>
                  <a:gd name="T2" fmla="*/ 36 w 44"/>
                  <a:gd name="T3" fmla="*/ 26 h 134"/>
                  <a:gd name="T4" fmla="*/ 36 w 44"/>
                  <a:gd name="T5" fmla="*/ 26 h 134"/>
                  <a:gd name="T6" fmla="*/ 27 w 44"/>
                  <a:gd name="T7" fmla="*/ 25 h 134"/>
                  <a:gd name="T8" fmla="*/ 26 w 44"/>
                  <a:gd name="T9" fmla="*/ 24 h 134"/>
                  <a:gd name="T10" fmla="*/ 26 w 44"/>
                  <a:gd name="T11" fmla="*/ 21 h 134"/>
                  <a:gd name="T12" fmla="*/ 29 w 44"/>
                  <a:gd name="T13" fmla="*/ 15 h 134"/>
                  <a:gd name="T14" fmla="*/ 30 w 44"/>
                  <a:gd name="T15" fmla="*/ 14 h 134"/>
                  <a:gd name="T16" fmla="*/ 30 w 44"/>
                  <a:gd name="T17" fmla="*/ 11 h 134"/>
                  <a:gd name="T18" fmla="*/ 30 w 44"/>
                  <a:gd name="T19" fmla="*/ 10 h 134"/>
                  <a:gd name="T20" fmla="*/ 26 w 44"/>
                  <a:gd name="T21" fmla="*/ 2 h 134"/>
                  <a:gd name="T22" fmla="*/ 24 w 44"/>
                  <a:gd name="T23" fmla="*/ 2 h 134"/>
                  <a:gd name="T24" fmla="*/ 16 w 44"/>
                  <a:gd name="T25" fmla="*/ 1 h 134"/>
                  <a:gd name="T26" fmla="*/ 13 w 44"/>
                  <a:gd name="T27" fmla="*/ 10 h 134"/>
                  <a:gd name="T28" fmla="*/ 13 w 44"/>
                  <a:gd name="T29" fmla="*/ 11 h 134"/>
                  <a:gd name="T30" fmla="*/ 13 w 44"/>
                  <a:gd name="T31" fmla="*/ 14 h 134"/>
                  <a:gd name="T32" fmla="*/ 14 w 44"/>
                  <a:gd name="T33" fmla="*/ 15 h 134"/>
                  <a:gd name="T34" fmla="*/ 17 w 44"/>
                  <a:gd name="T35" fmla="*/ 21 h 134"/>
                  <a:gd name="T36" fmla="*/ 17 w 44"/>
                  <a:gd name="T37" fmla="*/ 24 h 134"/>
                  <a:gd name="T38" fmla="*/ 16 w 44"/>
                  <a:gd name="T39" fmla="*/ 25 h 134"/>
                  <a:gd name="T40" fmla="*/ 8 w 44"/>
                  <a:gd name="T41" fmla="*/ 26 h 134"/>
                  <a:gd name="T42" fmla="*/ 8 w 44"/>
                  <a:gd name="T43" fmla="*/ 27 h 134"/>
                  <a:gd name="T44" fmla="*/ 0 w 44"/>
                  <a:gd name="T45" fmla="*/ 74 h 134"/>
                  <a:gd name="T46" fmla="*/ 1 w 44"/>
                  <a:gd name="T47" fmla="*/ 74 h 134"/>
                  <a:gd name="T48" fmla="*/ 1 w 44"/>
                  <a:gd name="T49" fmla="*/ 78 h 134"/>
                  <a:gd name="T50" fmla="*/ 4 w 44"/>
                  <a:gd name="T51" fmla="*/ 80 h 134"/>
                  <a:gd name="T52" fmla="*/ 6 w 44"/>
                  <a:gd name="T53" fmla="*/ 78 h 134"/>
                  <a:gd name="T54" fmla="*/ 8 w 44"/>
                  <a:gd name="T55" fmla="*/ 134 h 134"/>
                  <a:gd name="T56" fmla="*/ 19 w 44"/>
                  <a:gd name="T57" fmla="*/ 134 h 134"/>
                  <a:gd name="T58" fmla="*/ 27 w 44"/>
                  <a:gd name="T59" fmla="*/ 134 h 134"/>
                  <a:gd name="T60" fmla="*/ 35 w 44"/>
                  <a:gd name="T61" fmla="*/ 134 h 134"/>
                  <a:gd name="T62" fmla="*/ 37 w 44"/>
                  <a:gd name="T63" fmla="*/ 78 h 134"/>
                  <a:gd name="T64" fmla="*/ 40 w 44"/>
                  <a:gd name="T65" fmla="*/ 80 h 134"/>
                  <a:gd name="T66" fmla="*/ 43 w 44"/>
                  <a:gd name="T67" fmla="*/ 78 h 134"/>
                  <a:gd name="T68" fmla="*/ 43 w 44"/>
                  <a:gd name="T69" fmla="*/ 74 h 134"/>
                  <a:gd name="T70" fmla="*/ 44 w 44"/>
                  <a:gd name="T71" fmla="*/ 74 h 134"/>
                  <a:gd name="T72" fmla="*/ 36 w 44"/>
                  <a:gd name="T73" fmla="*/ 26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4" h="134">
                    <a:moveTo>
                      <a:pt x="36" y="26"/>
                    </a:moveTo>
                    <a:cubicBezTo>
                      <a:pt x="36" y="26"/>
                      <a:pt x="36" y="26"/>
                      <a:pt x="36" y="26"/>
                    </a:cubicBezTo>
                    <a:cubicBezTo>
                      <a:pt x="36" y="26"/>
                      <a:pt x="36" y="26"/>
                      <a:pt x="36" y="26"/>
                    </a:cubicBezTo>
                    <a:cubicBezTo>
                      <a:pt x="27" y="25"/>
                      <a:pt x="27" y="25"/>
                      <a:pt x="27" y="25"/>
                    </a:cubicBezTo>
                    <a:cubicBezTo>
                      <a:pt x="26" y="24"/>
                      <a:pt x="26" y="24"/>
                      <a:pt x="26" y="24"/>
                    </a:cubicBezTo>
                    <a:cubicBezTo>
                      <a:pt x="26" y="21"/>
                      <a:pt x="26" y="21"/>
                      <a:pt x="26" y="21"/>
                    </a:cubicBezTo>
                    <a:cubicBezTo>
                      <a:pt x="27" y="19"/>
                      <a:pt x="29" y="15"/>
                      <a:pt x="29" y="15"/>
                    </a:cubicBezTo>
                    <a:cubicBezTo>
                      <a:pt x="30" y="15"/>
                      <a:pt x="30" y="15"/>
                      <a:pt x="30" y="14"/>
                    </a:cubicBezTo>
                    <a:cubicBezTo>
                      <a:pt x="30" y="11"/>
                      <a:pt x="30" y="11"/>
                      <a:pt x="30" y="11"/>
                    </a:cubicBezTo>
                    <a:cubicBezTo>
                      <a:pt x="30" y="11"/>
                      <a:pt x="30" y="11"/>
                      <a:pt x="30" y="10"/>
                    </a:cubicBezTo>
                    <a:cubicBezTo>
                      <a:pt x="30" y="7"/>
                      <a:pt x="30" y="3"/>
                      <a:pt x="26" y="2"/>
                    </a:cubicBezTo>
                    <a:cubicBezTo>
                      <a:pt x="26" y="2"/>
                      <a:pt x="25" y="2"/>
                      <a:pt x="24" y="2"/>
                    </a:cubicBezTo>
                    <a:cubicBezTo>
                      <a:pt x="22" y="0"/>
                      <a:pt x="19" y="0"/>
                      <a:pt x="16" y="1"/>
                    </a:cubicBezTo>
                    <a:cubicBezTo>
                      <a:pt x="13" y="3"/>
                      <a:pt x="13" y="6"/>
                      <a:pt x="13" y="10"/>
                    </a:cubicBezTo>
                    <a:cubicBezTo>
                      <a:pt x="13" y="10"/>
                      <a:pt x="13" y="11"/>
                      <a:pt x="13" y="11"/>
                    </a:cubicBezTo>
                    <a:cubicBezTo>
                      <a:pt x="13" y="14"/>
                      <a:pt x="13" y="14"/>
                      <a:pt x="13" y="14"/>
                    </a:cubicBezTo>
                    <a:cubicBezTo>
                      <a:pt x="13" y="15"/>
                      <a:pt x="13" y="15"/>
                      <a:pt x="14" y="15"/>
                    </a:cubicBezTo>
                    <a:cubicBezTo>
                      <a:pt x="14" y="15"/>
                      <a:pt x="16" y="20"/>
                      <a:pt x="17" y="21"/>
                    </a:cubicBezTo>
                    <a:cubicBezTo>
                      <a:pt x="17" y="24"/>
                      <a:pt x="17" y="24"/>
                      <a:pt x="17" y="24"/>
                    </a:cubicBezTo>
                    <a:cubicBezTo>
                      <a:pt x="16" y="25"/>
                      <a:pt x="16" y="25"/>
                      <a:pt x="16" y="25"/>
                    </a:cubicBezTo>
                    <a:cubicBezTo>
                      <a:pt x="8" y="26"/>
                      <a:pt x="8" y="26"/>
                      <a:pt x="8" y="26"/>
                    </a:cubicBezTo>
                    <a:cubicBezTo>
                      <a:pt x="8" y="27"/>
                      <a:pt x="8" y="27"/>
                      <a:pt x="8" y="27"/>
                    </a:cubicBezTo>
                    <a:cubicBezTo>
                      <a:pt x="1" y="42"/>
                      <a:pt x="1" y="57"/>
                      <a:pt x="0" y="74"/>
                    </a:cubicBezTo>
                    <a:cubicBezTo>
                      <a:pt x="1" y="74"/>
                      <a:pt x="1" y="74"/>
                      <a:pt x="1" y="74"/>
                    </a:cubicBezTo>
                    <a:cubicBezTo>
                      <a:pt x="1" y="78"/>
                      <a:pt x="1" y="78"/>
                      <a:pt x="1" y="78"/>
                    </a:cubicBezTo>
                    <a:cubicBezTo>
                      <a:pt x="1" y="79"/>
                      <a:pt x="2" y="80"/>
                      <a:pt x="4" y="80"/>
                    </a:cubicBezTo>
                    <a:cubicBezTo>
                      <a:pt x="5" y="80"/>
                      <a:pt x="6" y="79"/>
                      <a:pt x="6" y="78"/>
                    </a:cubicBezTo>
                    <a:cubicBezTo>
                      <a:pt x="8" y="134"/>
                      <a:pt x="8" y="134"/>
                      <a:pt x="8" y="134"/>
                    </a:cubicBezTo>
                    <a:cubicBezTo>
                      <a:pt x="19" y="134"/>
                      <a:pt x="19" y="134"/>
                      <a:pt x="19" y="134"/>
                    </a:cubicBezTo>
                    <a:cubicBezTo>
                      <a:pt x="27" y="134"/>
                      <a:pt x="27" y="134"/>
                      <a:pt x="27" y="134"/>
                    </a:cubicBezTo>
                    <a:cubicBezTo>
                      <a:pt x="35" y="134"/>
                      <a:pt x="35" y="134"/>
                      <a:pt x="35" y="134"/>
                    </a:cubicBezTo>
                    <a:cubicBezTo>
                      <a:pt x="37" y="78"/>
                      <a:pt x="37" y="78"/>
                      <a:pt x="37" y="78"/>
                    </a:cubicBezTo>
                    <a:cubicBezTo>
                      <a:pt x="37" y="79"/>
                      <a:pt x="38" y="80"/>
                      <a:pt x="40" y="80"/>
                    </a:cubicBezTo>
                    <a:cubicBezTo>
                      <a:pt x="41" y="80"/>
                      <a:pt x="43" y="79"/>
                      <a:pt x="43" y="78"/>
                    </a:cubicBezTo>
                    <a:cubicBezTo>
                      <a:pt x="43" y="74"/>
                      <a:pt x="43" y="74"/>
                      <a:pt x="43" y="74"/>
                    </a:cubicBezTo>
                    <a:cubicBezTo>
                      <a:pt x="44" y="74"/>
                      <a:pt x="44" y="74"/>
                      <a:pt x="44" y="74"/>
                    </a:cubicBezTo>
                    <a:cubicBezTo>
                      <a:pt x="42" y="57"/>
                      <a:pt x="43" y="42"/>
                      <a:pt x="36" y="26"/>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6" name="Freeform 15"/>
              <p:cNvSpPr>
                <a:spLocks/>
              </p:cNvSpPr>
              <p:nvPr/>
            </p:nvSpPr>
            <p:spPr bwMode="auto">
              <a:xfrm>
                <a:off x="1758" y="2157"/>
                <a:ext cx="68" cy="207"/>
              </a:xfrm>
              <a:custGeom>
                <a:avLst/>
                <a:gdLst>
                  <a:gd name="T0" fmla="*/ 36 w 44"/>
                  <a:gd name="T1" fmla="*/ 26 h 134"/>
                  <a:gd name="T2" fmla="*/ 36 w 44"/>
                  <a:gd name="T3" fmla="*/ 26 h 134"/>
                  <a:gd name="T4" fmla="*/ 36 w 44"/>
                  <a:gd name="T5" fmla="*/ 26 h 134"/>
                  <a:gd name="T6" fmla="*/ 27 w 44"/>
                  <a:gd name="T7" fmla="*/ 24 h 134"/>
                  <a:gd name="T8" fmla="*/ 26 w 44"/>
                  <a:gd name="T9" fmla="*/ 23 h 134"/>
                  <a:gd name="T10" fmla="*/ 26 w 44"/>
                  <a:gd name="T11" fmla="*/ 20 h 134"/>
                  <a:gd name="T12" fmla="*/ 29 w 44"/>
                  <a:gd name="T13" fmla="*/ 15 h 134"/>
                  <a:gd name="T14" fmla="*/ 30 w 44"/>
                  <a:gd name="T15" fmla="*/ 13 h 134"/>
                  <a:gd name="T16" fmla="*/ 30 w 44"/>
                  <a:gd name="T17" fmla="*/ 11 h 134"/>
                  <a:gd name="T18" fmla="*/ 30 w 44"/>
                  <a:gd name="T19" fmla="*/ 10 h 134"/>
                  <a:gd name="T20" fmla="*/ 27 w 44"/>
                  <a:gd name="T21" fmla="*/ 1 h 134"/>
                  <a:gd name="T22" fmla="*/ 24 w 44"/>
                  <a:gd name="T23" fmla="*/ 1 h 134"/>
                  <a:gd name="T24" fmla="*/ 16 w 44"/>
                  <a:gd name="T25" fmla="*/ 1 h 134"/>
                  <a:gd name="T26" fmla="*/ 13 w 44"/>
                  <a:gd name="T27" fmla="*/ 10 h 134"/>
                  <a:gd name="T28" fmla="*/ 13 w 44"/>
                  <a:gd name="T29" fmla="*/ 11 h 134"/>
                  <a:gd name="T30" fmla="*/ 13 w 44"/>
                  <a:gd name="T31" fmla="*/ 13 h 134"/>
                  <a:gd name="T32" fmla="*/ 14 w 44"/>
                  <a:gd name="T33" fmla="*/ 15 h 134"/>
                  <a:gd name="T34" fmla="*/ 17 w 44"/>
                  <a:gd name="T35" fmla="*/ 21 h 134"/>
                  <a:gd name="T36" fmla="*/ 17 w 44"/>
                  <a:gd name="T37" fmla="*/ 23 h 134"/>
                  <a:gd name="T38" fmla="*/ 16 w 44"/>
                  <a:gd name="T39" fmla="*/ 24 h 134"/>
                  <a:gd name="T40" fmla="*/ 8 w 44"/>
                  <a:gd name="T41" fmla="*/ 26 h 134"/>
                  <a:gd name="T42" fmla="*/ 8 w 44"/>
                  <a:gd name="T43" fmla="*/ 26 h 134"/>
                  <a:gd name="T44" fmla="*/ 0 w 44"/>
                  <a:gd name="T45" fmla="*/ 74 h 134"/>
                  <a:gd name="T46" fmla="*/ 1 w 44"/>
                  <a:gd name="T47" fmla="*/ 74 h 134"/>
                  <a:gd name="T48" fmla="*/ 1 w 44"/>
                  <a:gd name="T49" fmla="*/ 77 h 134"/>
                  <a:gd name="T50" fmla="*/ 4 w 44"/>
                  <a:gd name="T51" fmla="*/ 80 h 134"/>
                  <a:gd name="T52" fmla="*/ 6 w 44"/>
                  <a:gd name="T53" fmla="*/ 77 h 134"/>
                  <a:gd name="T54" fmla="*/ 8 w 44"/>
                  <a:gd name="T55" fmla="*/ 134 h 134"/>
                  <a:gd name="T56" fmla="*/ 19 w 44"/>
                  <a:gd name="T57" fmla="*/ 134 h 134"/>
                  <a:gd name="T58" fmla="*/ 27 w 44"/>
                  <a:gd name="T59" fmla="*/ 134 h 134"/>
                  <a:gd name="T60" fmla="*/ 35 w 44"/>
                  <a:gd name="T61" fmla="*/ 134 h 134"/>
                  <a:gd name="T62" fmla="*/ 37 w 44"/>
                  <a:gd name="T63" fmla="*/ 77 h 134"/>
                  <a:gd name="T64" fmla="*/ 40 w 44"/>
                  <a:gd name="T65" fmla="*/ 80 h 134"/>
                  <a:gd name="T66" fmla="*/ 43 w 44"/>
                  <a:gd name="T67" fmla="*/ 77 h 134"/>
                  <a:gd name="T68" fmla="*/ 43 w 44"/>
                  <a:gd name="T69" fmla="*/ 74 h 134"/>
                  <a:gd name="T70" fmla="*/ 44 w 44"/>
                  <a:gd name="T71" fmla="*/ 74 h 134"/>
                  <a:gd name="T72" fmla="*/ 36 w 44"/>
                  <a:gd name="T73" fmla="*/ 26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4" h="134">
                    <a:moveTo>
                      <a:pt x="36" y="26"/>
                    </a:moveTo>
                    <a:cubicBezTo>
                      <a:pt x="36" y="26"/>
                      <a:pt x="36" y="26"/>
                      <a:pt x="36" y="26"/>
                    </a:cubicBezTo>
                    <a:cubicBezTo>
                      <a:pt x="36" y="26"/>
                      <a:pt x="36" y="26"/>
                      <a:pt x="36" y="26"/>
                    </a:cubicBezTo>
                    <a:cubicBezTo>
                      <a:pt x="27" y="24"/>
                      <a:pt x="27" y="24"/>
                      <a:pt x="27" y="24"/>
                    </a:cubicBezTo>
                    <a:cubicBezTo>
                      <a:pt x="26" y="23"/>
                      <a:pt x="26" y="23"/>
                      <a:pt x="26" y="23"/>
                    </a:cubicBezTo>
                    <a:cubicBezTo>
                      <a:pt x="26" y="20"/>
                      <a:pt x="26" y="20"/>
                      <a:pt x="26" y="20"/>
                    </a:cubicBezTo>
                    <a:cubicBezTo>
                      <a:pt x="28" y="19"/>
                      <a:pt x="29" y="15"/>
                      <a:pt x="29" y="15"/>
                    </a:cubicBezTo>
                    <a:cubicBezTo>
                      <a:pt x="30" y="15"/>
                      <a:pt x="30" y="14"/>
                      <a:pt x="30" y="13"/>
                    </a:cubicBezTo>
                    <a:cubicBezTo>
                      <a:pt x="30" y="11"/>
                      <a:pt x="30" y="11"/>
                      <a:pt x="30" y="11"/>
                    </a:cubicBezTo>
                    <a:cubicBezTo>
                      <a:pt x="30" y="10"/>
                      <a:pt x="30" y="10"/>
                      <a:pt x="30" y="10"/>
                    </a:cubicBezTo>
                    <a:cubicBezTo>
                      <a:pt x="31" y="6"/>
                      <a:pt x="30" y="2"/>
                      <a:pt x="27" y="1"/>
                    </a:cubicBezTo>
                    <a:cubicBezTo>
                      <a:pt x="26" y="1"/>
                      <a:pt x="25" y="1"/>
                      <a:pt x="24" y="1"/>
                    </a:cubicBezTo>
                    <a:cubicBezTo>
                      <a:pt x="22" y="0"/>
                      <a:pt x="19" y="0"/>
                      <a:pt x="16" y="1"/>
                    </a:cubicBezTo>
                    <a:cubicBezTo>
                      <a:pt x="13" y="2"/>
                      <a:pt x="13" y="6"/>
                      <a:pt x="13" y="10"/>
                    </a:cubicBezTo>
                    <a:cubicBezTo>
                      <a:pt x="13" y="10"/>
                      <a:pt x="13" y="10"/>
                      <a:pt x="13" y="11"/>
                    </a:cubicBezTo>
                    <a:cubicBezTo>
                      <a:pt x="13" y="13"/>
                      <a:pt x="13" y="13"/>
                      <a:pt x="13" y="13"/>
                    </a:cubicBezTo>
                    <a:cubicBezTo>
                      <a:pt x="13" y="14"/>
                      <a:pt x="14" y="15"/>
                      <a:pt x="14" y="15"/>
                    </a:cubicBezTo>
                    <a:cubicBezTo>
                      <a:pt x="14" y="15"/>
                      <a:pt x="16" y="19"/>
                      <a:pt x="17" y="21"/>
                    </a:cubicBezTo>
                    <a:cubicBezTo>
                      <a:pt x="17" y="23"/>
                      <a:pt x="17" y="23"/>
                      <a:pt x="17" y="23"/>
                    </a:cubicBezTo>
                    <a:cubicBezTo>
                      <a:pt x="16" y="24"/>
                      <a:pt x="16" y="24"/>
                      <a:pt x="16" y="24"/>
                    </a:cubicBezTo>
                    <a:cubicBezTo>
                      <a:pt x="8" y="26"/>
                      <a:pt x="8" y="26"/>
                      <a:pt x="8" y="26"/>
                    </a:cubicBezTo>
                    <a:cubicBezTo>
                      <a:pt x="8" y="26"/>
                      <a:pt x="8" y="26"/>
                      <a:pt x="8" y="26"/>
                    </a:cubicBezTo>
                    <a:cubicBezTo>
                      <a:pt x="1" y="42"/>
                      <a:pt x="1" y="57"/>
                      <a:pt x="0" y="74"/>
                    </a:cubicBezTo>
                    <a:cubicBezTo>
                      <a:pt x="1" y="74"/>
                      <a:pt x="1" y="74"/>
                      <a:pt x="1" y="74"/>
                    </a:cubicBezTo>
                    <a:cubicBezTo>
                      <a:pt x="1" y="77"/>
                      <a:pt x="1" y="77"/>
                      <a:pt x="1" y="77"/>
                    </a:cubicBezTo>
                    <a:cubicBezTo>
                      <a:pt x="1" y="79"/>
                      <a:pt x="2" y="80"/>
                      <a:pt x="4" y="80"/>
                    </a:cubicBezTo>
                    <a:cubicBezTo>
                      <a:pt x="5" y="80"/>
                      <a:pt x="6" y="79"/>
                      <a:pt x="6" y="77"/>
                    </a:cubicBezTo>
                    <a:cubicBezTo>
                      <a:pt x="8" y="134"/>
                      <a:pt x="8" y="134"/>
                      <a:pt x="8" y="134"/>
                    </a:cubicBezTo>
                    <a:cubicBezTo>
                      <a:pt x="19" y="134"/>
                      <a:pt x="19" y="134"/>
                      <a:pt x="19" y="134"/>
                    </a:cubicBezTo>
                    <a:cubicBezTo>
                      <a:pt x="27" y="134"/>
                      <a:pt x="27" y="134"/>
                      <a:pt x="27" y="134"/>
                    </a:cubicBezTo>
                    <a:cubicBezTo>
                      <a:pt x="35" y="134"/>
                      <a:pt x="35" y="134"/>
                      <a:pt x="35" y="134"/>
                    </a:cubicBezTo>
                    <a:cubicBezTo>
                      <a:pt x="37" y="77"/>
                      <a:pt x="37" y="77"/>
                      <a:pt x="37" y="77"/>
                    </a:cubicBezTo>
                    <a:cubicBezTo>
                      <a:pt x="37" y="79"/>
                      <a:pt x="38" y="80"/>
                      <a:pt x="40" y="80"/>
                    </a:cubicBezTo>
                    <a:cubicBezTo>
                      <a:pt x="41" y="80"/>
                      <a:pt x="43" y="79"/>
                      <a:pt x="43" y="77"/>
                    </a:cubicBezTo>
                    <a:cubicBezTo>
                      <a:pt x="43" y="74"/>
                      <a:pt x="43" y="74"/>
                      <a:pt x="43" y="74"/>
                    </a:cubicBezTo>
                    <a:cubicBezTo>
                      <a:pt x="44" y="74"/>
                      <a:pt x="44" y="74"/>
                      <a:pt x="44" y="74"/>
                    </a:cubicBezTo>
                    <a:cubicBezTo>
                      <a:pt x="42" y="57"/>
                      <a:pt x="43" y="41"/>
                      <a:pt x="36" y="26"/>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7" name="Freeform 16"/>
              <p:cNvSpPr>
                <a:spLocks/>
              </p:cNvSpPr>
              <p:nvPr/>
            </p:nvSpPr>
            <p:spPr bwMode="auto">
              <a:xfrm>
                <a:off x="1807" y="2157"/>
                <a:ext cx="68" cy="207"/>
              </a:xfrm>
              <a:custGeom>
                <a:avLst/>
                <a:gdLst>
                  <a:gd name="T0" fmla="*/ 36 w 44"/>
                  <a:gd name="T1" fmla="*/ 26 h 134"/>
                  <a:gd name="T2" fmla="*/ 36 w 44"/>
                  <a:gd name="T3" fmla="*/ 26 h 134"/>
                  <a:gd name="T4" fmla="*/ 36 w 44"/>
                  <a:gd name="T5" fmla="*/ 26 h 134"/>
                  <a:gd name="T6" fmla="*/ 27 w 44"/>
                  <a:gd name="T7" fmla="*/ 24 h 134"/>
                  <a:gd name="T8" fmla="*/ 26 w 44"/>
                  <a:gd name="T9" fmla="*/ 23 h 134"/>
                  <a:gd name="T10" fmla="*/ 26 w 44"/>
                  <a:gd name="T11" fmla="*/ 20 h 134"/>
                  <a:gd name="T12" fmla="*/ 29 w 44"/>
                  <a:gd name="T13" fmla="*/ 15 h 134"/>
                  <a:gd name="T14" fmla="*/ 30 w 44"/>
                  <a:gd name="T15" fmla="*/ 13 h 134"/>
                  <a:gd name="T16" fmla="*/ 30 w 44"/>
                  <a:gd name="T17" fmla="*/ 11 h 134"/>
                  <a:gd name="T18" fmla="*/ 30 w 44"/>
                  <a:gd name="T19" fmla="*/ 10 h 134"/>
                  <a:gd name="T20" fmla="*/ 27 w 44"/>
                  <a:gd name="T21" fmla="*/ 1 h 134"/>
                  <a:gd name="T22" fmla="*/ 24 w 44"/>
                  <a:gd name="T23" fmla="*/ 1 h 134"/>
                  <a:gd name="T24" fmla="*/ 16 w 44"/>
                  <a:gd name="T25" fmla="*/ 1 h 134"/>
                  <a:gd name="T26" fmla="*/ 13 w 44"/>
                  <a:gd name="T27" fmla="*/ 10 h 134"/>
                  <a:gd name="T28" fmla="*/ 13 w 44"/>
                  <a:gd name="T29" fmla="*/ 11 h 134"/>
                  <a:gd name="T30" fmla="*/ 13 w 44"/>
                  <a:gd name="T31" fmla="*/ 13 h 134"/>
                  <a:gd name="T32" fmla="*/ 14 w 44"/>
                  <a:gd name="T33" fmla="*/ 15 h 134"/>
                  <a:gd name="T34" fmla="*/ 17 w 44"/>
                  <a:gd name="T35" fmla="*/ 21 h 134"/>
                  <a:gd name="T36" fmla="*/ 17 w 44"/>
                  <a:gd name="T37" fmla="*/ 23 h 134"/>
                  <a:gd name="T38" fmla="*/ 16 w 44"/>
                  <a:gd name="T39" fmla="*/ 24 h 134"/>
                  <a:gd name="T40" fmla="*/ 8 w 44"/>
                  <a:gd name="T41" fmla="*/ 26 h 134"/>
                  <a:gd name="T42" fmla="*/ 8 w 44"/>
                  <a:gd name="T43" fmla="*/ 26 h 134"/>
                  <a:gd name="T44" fmla="*/ 0 w 44"/>
                  <a:gd name="T45" fmla="*/ 74 h 134"/>
                  <a:gd name="T46" fmla="*/ 1 w 44"/>
                  <a:gd name="T47" fmla="*/ 74 h 134"/>
                  <a:gd name="T48" fmla="*/ 1 w 44"/>
                  <a:gd name="T49" fmla="*/ 77 h 134"/>
                  <a:gd name="T50" fmla="*/ 4 w 44"/>
                  <a:gd name="T51" fmla="*/ 80 h 134"/>
                  <a:gd name="T52" fmla="*/ 6 w 44"/>
                  <a:gd name="T53" fmla="*/ 77 h 134"/>
                  <a:gd name="T54" fmla="*/ 8 w 44"/>
                  <a:gd name="T55" fmla="*/ 134 h 134"/>
                  <a:gd name="T56" fmla="*/ 19 w 44"/>
                  <a:gd name="T57" fmla="*/ 134 h 134"/>
                  <a:gd name="T58" fmla="*/ 27 w 44"/>
                  <a:gd name="T59" fmla="*/ 134 h 134"/>
                  <a:gd name="T60" fmla="*/ 35 w 44"/>
                  <a:gd name="T61" fmla="*/ 134 h 134"/>
                  <a:gd name="T62" fmla="*/ 37 w 44"/>
                  <a:gd name="T63" fmla="*/ 77 h 134"/>
                  <a:gd name="T64" fmla="*/ 40 w 44"/>
                  <a:gd name="T65" fmla="*/ 80 h 134"/>
                  <a:gd name="T66" fmla="*/ 43 w 44"/>
                  <a:gd name="T67" fmla="*/ 77 h 134"/>
                  <a:gd name="T68" fmla="*/ 43 w 44"/>
                  <a:gd name="T69" fmla="*/ 74 h 134"/>
                  <a:gd name="T70" fmla="*/ 44 w 44"/>
                  <a:gd name="T71" fmla="*/ 74 h 134"/>
                  <a:gd name="T72" fmla="*/ 36 w 44"/>
                  <a:gd name="T73" fmla="*/ 26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4" h="134">
                    <a:moveTo>
                      <a:pt x="36" y="26"/>
                    </a:moveTo>
                    <a:cubicBezTo>
                      <a:pt x="36" y="26"/>
                      <a:pt x="36" y="26"/>
                      <a:pt x="36" y="26"/>
                    </a:cubicBezTo>
                    <a:cubicBezTo>
                      <a:pt x="36" y="26"/>
                      <a:pt x="36" y="26"/>
                      <a:pt x="36" y="26"/>
                    </a:cubicBezTo>
                    <a:cubicBezTo>
                      <a:pt x="27" y="24"/>
                      <a:pt x="27" y="24"/>
                      <a:pt x="27" y="24"/>
                    </a:cubicBezTo>
                    <a:cubicBezTo>
                      <a:pt x="26" y="23"/>
                      <a:pt x="26" y="23"/>
                      <a:pt x="26" y="23"/>
                    </a:cubicBezTo>
                    <a:cubicBezTo>
                      <a:pt x="26" y="20"/>
                      <a:pt x="26" y="20"/>
                      <a:pt x="26" y="20"/>
                    </a:cubicBezTo>
                    <a:cubicBezTo>
                      <a:pt x="28" y="19"/>
                      <a:pt x="29" y="15"/>
                      <a:pt x="29" y="15"/>
                    </a:cubicBezTo>
                    <a:cubicBezTo>
                      <a:pt x="30" y="15"/>
                      <a:pt x="30" y="14"/>
                      <a:pt x="30" y="13"/>
                    </a:cubicBezTo>
                    <a:cubicBezTo>
                      <a:pt x="30" y="11"/>
                      <a:pt x="30" y="11"/>
                      <a:pt x="30" y="11"/>
                    </a:cubicBezTo>
                    <a:cubicBezTo>
                      <a:pt x="30" y="10"/>
                      <a:pt x="30" y="10"/>
                      <a:pt x="30" y="10"/>
                    </a:cubicBezTo>
                    <a:cubicBezTo>
                      <a:pt x="31" y="6"/>
                      <a:pt x="30" y="2"/>
                      <a:pt x="27" y="1"/>
                    </a:cubicBezTo>
                    <a:cubicBezTo>
                      <a:pt x="26" y="1"/>
                      <a:pt x="25" y="1"/>
                      <a:pt x="24" y="1"/>
                    </a:cubicBezTo>
                    <a:cubicBezTo>
                      <a:pt x="22" y="0"/>
                      <a:pt x="19" y="0"/>
                      <a:pt x="16" y="1"/>
                    </a:cubicBezTo>
                    <a:cubicBezTo>
                      <a:pt x="13" y="2"/>
                      <a:pt x="13" y="6"/>
                      <a:pt x="13" y="10"/>
                    </a:cubicBezTo>
                    <a:cubicBezTo>
                      <a:pt x="13" y="10"/>
                      <a:pt x="13" y="10"/>
                      <a:pt x="13" y="11"/>
                    </a:cubicBezTo>
                    <a:cubicBezTo>
                      <a:pt x="13" y="13"/>
                      <a:pt x="13" y="13"/>
                      <a:pt x="13" y="13"/>
                    </a:cubicBezTo>
                    <a:cubicBezTo>
                      <a:pt x="13" y="14"/>
                      <a:pt x="14" y="15"/>
                      <a:pt x="14" y="15"/>
                    </a:cubicBezTo>
                    <a:cubicBezTo>
                      <a:pt x="14" y="15"/>
                      <a:pt x="16" y="19"/>
                      <a:pt x="17" y="21"/>
                    </a:cubicBezTo>
                    <a:cubicBezTo>
                      <a:pt x="17" y="23"/>
                      <a:pt x="17" y="23"/>
                      <a:pt x="17" y="23"/>
                    </a:cubicBezTo>
                    <a:cubicBezTo>
                      <a:pt x="16" y="24"/>
                      <a:pt x="16" y="24"/>
                      <a:pt x="16" y="24"/>
                    </a:cubicBezTo>
                    <a:cubicBezTo>
                      <a:pt x="8" y="26"/>
                      <a:pt x="8" y="26"/>
                      <a:pt x="8" y="26"/>
                    </a:cubicBezTo>
                    <a:cubicBezTo>
                      <a:pt x="8" y="26"/>
                      <a:pt x="8" y="26"/>
                      <a:pt x="8" y="26"/>
                    </a:cubicBezTo>
                    <a:cubicBezTo>
                      <a:pt x="1" y="42"/>
                      <a:pt x="2" y="57"/>
                      <a:pt x="0" y="74"/>
                    </a:cubicBezTo>
                    <a:cubicBezTo>
                      <a:pt x="1" y="74"/>
                      <a:pt x="1" y="74"/>
                      <a:pt x="1" y="74"/>
                    </a:cubicBezTo>
                    <a:cubicBezTo>
                      <a:pt x="1" y="77"/>
                      <a:pt x="1" y="77"/>
                      <a:pt x="1" y="77"/>
                    </a:cubicBezTo>
                    <a:cubicBezTo>
                      <a:pt x="1" y="79"/>
                      <a:pt x="2" y="80"/>
                      <a:pt x="4" y="80"/>
                    </a:cubicBezTo>
                    <a:cubicBezTo>
                      <a:pt x="5" y="80"/>
                      <a:pt x="6" y="79"/>
                      <a:pt x="6" y="77"/>
                    </a:cubicBezTo>
                    <a:cubicBezTo>
                      <a:pt x="8" y="134"/>
                      <a:pt x="8" y="134"/>
                      <a:pt x="8" y="134"/>
                    </a:cubicBezTo>
                    <a:cubicBezTo>
                      <a:pt x="19" y="134"/>
                      <a:pt x="19" y="134"/>
                      <a:pt x="19" y="134"/>
                    </a:cubicBezTo>
                    <a:cubicBezTo>
                      <a:pt x="27" y="134"/>
                      <a:pt x="27" y="134"/>
                      <a:pt x="27" y="134"/>
                    </a:cubicBezTo>
                    <a:cubicBezTo>
                      <a:pt x="35" y="134"/>
                      <a:pt x="35" y="134"/>
                      <a:pt x="35" y="134"/>
                    </a:cubicBezTo>
                    <a:cubicBezTo>
                      <a:pt x="37" y="77"/>
                      <a:pt x="37" y="77"/>
                      <a:pt x="37" y="77"/>
                    </a:cubicBezTo>
                    <a:cubicBezTo>
                      <a:pt x="37" y="79"/>
                      <a:pt x="38" y="80"/>
                      <a:pt x="40" y="80"/>
                    </a:cubicBezTo>
                    <a:cubicBezTo>
                      <a:pt x="41" y="80"/>
                      <a:pt x="43" y="79"/>
                      <a:pt x="43" y="77"/>
                    </a:cubicBezTo>
                    <a:cubicBezTo>
                      <a:pt x="43" y="74"/>
                      <a:pt x="43" y="74"/>
                      <a:pt x="43" y="74"/>
                    </a:cubicBezTo>
                    <a:cubicBezTo>
                      <a:pt x="44" y="74"/>
                      <a:pt x="44" y="74"/>
                      <a:pt x="44" y="74"/>
                    </a:cubicBezTo>
                    <a:cubicBezTo>
                      <a:pt x="42" y="57"/>
                      <a:pt x="43" y="41"/>
                      <a:pt x="36" y="26"/>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8" name="Freeform 17"/>
              <p:cNvSpPr>
                <a:spLocks/>
              </p:cNvSpPr>
              <p:nvPr/>
            </p:nvSpPr>
            <p:spPr bwMode="auto">
              <a:xfrm>
                <a:off x="1933" y="1985"/>
                <a:ext cx="94" cy="288"/>
              </a:xfrm>
              <a:custGeom>
                <a:avLst/>
                <a:gdLst>
                  <a:gd name="T0" fmla="*/ 50 w 61"/>
                  <a:gd name="T1" fmla="*/ 37 h 186"/>
                  <a:gd name="T2" fmla="*/ 50 w 61"/>
                  <a:gd name="T3" fmla="*/ 37 h 186"/>
                  <a:gd name="T4" fmla="*/ 50 w 61"/>
                  <a:gd name="T5" fmla="*/ 37 h 186"/>
                  <a:gd name="T6" fmla="*/ 38 w 61"/>
                  <a:gd name="T7" fmla="*/ 34 h 186"/>
                  <a:gd name="T8" fmla="*/ 36 w 61"/>
                  <a:gd name="T9" fmla="*/ 33 h 186"/>
                  <a:gd name="T10" fmla="*/ 36 w 61"/>
                  <a:gd name="T11" fmla="*/ 29 h 186"/>
                  <a:gd name="T12" fmla="*/ 40 w 61"/>
                  <a:gd name="T13" fmla="*/ 21 h 186"/>
                  <a:gd name="T14" fmla="*/ 42 w 61"/>
                  <a:gd name="T15" fmla="*/ 19 h 186"/>
                  <a:gd name="T16" fmla="*/ 42 w 61"/>
                  <a:gd name="T17" fmla="*/ 16 h 186"/>
                  <a:gd name="T18" fmla="*/ 42 w 61"/>
                  <a:gd name="T19" fmla="*/ 15 h 186"/>
                  <a:gd name="T20" fmla="*/ 37 w 61"/>
                  <a:gd name="T21" fmla="*/ 3 h 186"/>
                  <a:gd name="T22" fmla="*/ 34 w 61"/>
                  <a:gd name="T23" fmla="*/ 2 h 186"/>
                  <a:gd name="T24" fmla="*/ 23 w 61"/>
                  <a:gd name="T25" fmla="*/ 2 h 186"/>
                  <a:gd name="T26" fmla="*/ 19 w 61"/>
                  <a:gd name="T27" fmla="*/ 14 h 186"/>
                  <a:gd name="T28" fmla="*/ 18 w 61"/>
                  <a:gd name="T29" fmla="*/ 16 h 186"/>
                  <a:gd name="T30" fmla="*/ 18 w 61"/>
                  <a:gd name="T31" fmla="*/ 19 h 186"/>
                  <a:gd name="T32" fmla="*/ 20 w 61"/>
                  <a:gd name="T33" fmla="*/ 21 h 186"/>
                  <a:gd name="T34" fmla="*/ 24 w 61"/>
                  <a:gd name="T35" fmla="*/ 29 h 186"/>
                  <a:gd name="T36" fmla="*/ 24 w 61"/>
                  <a:gd name="T37" fmla="*/ 33 h 186"/>
                  <a:gd name="T38" fmla="*/ 23 w 61"/>
                  <a:gd name="T39" fmla="*/ 34 h 186"/>
                  <a:gd name="T40" fmla="*/ 11 w 61"/>
                  <a:gd name="T41" fmla="*/ 37 h 186"/>
                  <a:gd name="T42" fmla="*/ 11 w 61"/>
                  <a:gd name="T43" fmla="*/ 37 h 186"/>
                  <a:gd name="T44" fmla="*/ 0 w 61"/>
                  <a:gd name="T45" fmla="*/ 103 h 186"/>
                  <a:gd name="T46" fmla="*/ 2 w 61"/>
                  <a:gd name="T47" fmla="*/ 103 h 186"/>
                  <a:gd name="T48" fmla="*/ 2 w 61"/>
                  <a:gd name="T49" fmla="*/ 108 h 186"/>
                  <a:gd name="T50" fmla="*/ 5 w 61"/>
                  <a:gd name="T51" fmla="*/ 112 h 186"/>
                  <a:gd name="T52" fmla="*/ 9 w 61"/>
                  <a:gd name="T53" fmla="*/ 108 h 186"/>
                  <a:gd name="T54" fmla="*/ 11 w 61"/>
                  <a:gd name="T55" fmla="*/ 186 h 186"/>
                  <a:gd name="T56" fmla="*/ 27 w 61"/>
                  <a:gd name="T57" fmla="*/ 186 h 186"/>
                  <a:gd name="T58" fmla="*/ 38 w 61"/>
                  <a:gd name="T59" fmla="*/ 186 h 186"/>
                  <a:gd name="T60" fmla="*/ 49 w 61"/>
                  <a:gd name="T61" fmla="*/ 186 h 186"/>
                  <a:gd name="T62" fmla="*/ 52 w 61"/>
                  <a:gd name="T63" fmla="*/ 108 h 186"/>
                  <a:gd name="T64" fmla="*/ 56 w 61"/>
                  <a:gd name="T65" fmla="*/ 112 h 186"/>
                  <a:gd name="T66" fmla="*/ 60 w 61"/>
                  <a:gd name="T67" fmla="*/ 108 h 186"/>
                  <a:gd name="T68" fmla="*/ 60 w 61"/>
                  <a:gd name="T69" fmla="*/ 103 h 186"/>
                  <a:gd name="T70" fmla="*/ 61 w 61"/>
                  <a:gd name="T71" fmla="*/ 103 h 186"/>
                  <a:gd name="T72" fmla="*/ 50 w 61"/>
                  <a:gd name="T73" fmla="*/ 37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1" h="186">
                    <a:moveTo>
                      <a:pt x="50" y="37"/>
                    </a:moveTo>
                    <a:cubicBezTo>
                      <a:pt x="50" y="37"/>
                      <a:pt x="50" y="37"/>
                      <a:pt x="50" y="37"/>
                    </a:cubicBezTo>
                    <a:cubicBezTo>
                      <a:pt x="50" y="37"/>
                      <a:pt x="50" y="37"/>
                      <a:pt x="50" y="37"/>
                    </a:cubicBezTo>
                    <a:cubicBezTo>
                      <a:pt x="38" y="34"/>
                      <a:pt x="38" y="34"/>
                      <a:pt x="38" y="34"/>
                    </a:cubicBezTo>
                    <a:cubicBezTo>
                      <a:pt x="36" y="33"/>
                      <a:pt x="36" y="33"/>
                      <a:pt x="36" y="33"/>
                    </a:cubicBezTo>
                    <a:cubicBezTo>
                      <a:pt x="36" y="29"/>
                      <a:pt x="36" y="29"/>
                      <a:pt x="36" y="29"/>
                    </a:cubicBezTo>
                    <a:cubicBezTo>
                      <a:pt x="39" y="27"/>
                      <a:pt x="40" y="21"/>
                      <a:pt x="40" y="21"/>
                    </a:cubicBezTo>
                    <a:cubicBezTo>
                      <a:pt x="41" y="21"/>
                      <a:pt x="42" y="20"/>
                      <a:pt x="42" y="19"/>
                    </a:cubicBezTo>
                    <a:cubicBezTo>
                      <a:pt x="42" y="16"/>
                      <a:pt x="42" y="16"/>
                      <a:pt x="42" y="16"/>
                    </a:cubicBezTo>
                    <a:cubicBezTo>
                      <a:pt x="42" y="15"/>
                      <a:pt x="42" y="15"/>
                      <a:pt x="42" y="15"/>
                    </a:cubicBezTo>
                    <a:cubicBezTo>
                      <a:pt x="43" y="9"/>
                      <a:pt x="42" y="4"/>
                      <a:pt x="37" y="3"/>
                    </a:cubicBezTo>
                    <a:cubicBezTo>
                      <a:pt x="36" y="2"/>
                      <a:pt x="35" y="2"/>
                      <a:pt x="34" y="2"/>
                    </a:cubicBezTo>
                    <a:cubicBezTo>
                      <a:pt x="31" y="0"/>
                      <a:pt x="26" y="0"/>
                      <a:pt x="23" y="2"/>
                    </a:cubicBezTo>
                    <a:cubicBezTo>
                      <a:pt x="19" y="4"/>
                      <a:pt x="18" y="9"/>
                      <a:pt x="19" y="14"/>
                    </a:cubicBezTo>
                    <a:cubicBezTo>
                      <a:pt x="19" y="15"/>
                      <a:pt x="18" y="15"/>
                      <a:pt x="18" y="16"/>
                    </a:cubicBezTo>
                    <a:cubicBezTo>
                      <a:pt x="18" y="19"/>
                      <a:pt x="18" y="19"/>
                      <a:pt x="18" y="19"/>
                    </a:cubicBezTo>
                    <a:cubicBezTo>
                      <a:pt x="18" y="20"/>
                      <a:pt x="19" y="21"/>
                      <a:pt x="20" y="21"/>
                    </a:cubicBezTo>
                    <a:cubicBezTo>
                      <a:pt x="20" y="21"/>
                      <a:pt x="22" y="27"/>
                      <a:pt x="24" y="29"/>
                    </a:cubicBezTo>
                    <a:cubicBezTo>
                      <a:pt x="24" y="33"/>
                      <a:pt x="24" y="33"/>
                      <a:pt x="24" y="33"/>
                    </a:cubicBezTo>
                    <a:cubicBezTo>
                      <a:pt x="23" y="34"/>
                      <a:pt x="23" y="34"/>
                      <a:pt x="23" y="34"/>
                    </a:cubicBezTo>
                    <a:cubicBezTo>
                      <a:pt x="11" y="37"/>
                      <a:pt x="11" y="37"/>
                      <a:pt x="11" y="37"/>
                    </a:cubicBezTo>
                    <a:cubicBezTo>
                      <a:pt x="11" y="37"/>
                      <a:pt x="11" y="37"/>
                      <a:pt x="11" y="37"/>
                    </a:cubicBezTo>
                    <a:cubicBezTo>
                      <a:pt x="1" y="59"/>
                      <a:pt x="2" y="80"/>
                      <a:pt x="0" y="103"/>
                    </a:cubicBezTo>
                    <a:cubicBezTo>
                      <a:pt x="2" y="103"/>
                      <a:pt x="2" y="103"/>
                      <a:pt x="2" y="103"/>
                    </a:cubicBezTo>
                    <a:cubicBezTo>
                      <a:pt x="2" y="108"/>
                      <a:pt x="2" y="108"/>
                      <a:pt x="2" y="108"/>
                    </a:cubicBezTo>
                    <a:cubicBezTo>
                      <a:pt x="2" y="110"/>
                      <a:pt x="3" y="112"/>
                      <a:pt x="5" y="112"/>
                    </a:cubicBezTo>
                    <a:cubicBezTo>
                      <a:pt x="8" y="112"/>
                      <a:pt x="9" y="110"/>
                      <a:pt x="9" y="108"/>
                    </a:cubicBezTo>
                    <a:cubicBezTo>
                      <a:pt x="11" y="186"/>
                      <a:pt x="11" y="186"/>
                      <a:pt x="11" y="186"/>
                    </a:cubicBezTo>
                    <a:cubicBezTo>
                      <a:pt x="27" y="186"/>
                      <a:pt x="27" y="186"/>
                      <a:pt x="27" y="186"/>
                    </a:cubicBezTo>
                    <a:cubicBezTo>
                      <a:pt x="38" y="186"/>
                      <a:pt x="38" y="186"/>
                      <a:pt x="38" y="186"/>
                    </a:cubicBezTo>
                    <a:cubicBezTo>
                      <a:pt x="49" y="186"/>
                      <a:pt x="49" y="186"/>
                      <a:pt x="49" y="186"/>
                    </a:cubicBezTo>
                    <a:cubicBezTo>
                      <a:pt x="52" y="108"/>
                      <a:pt x="52" y="108"/>
                      <a:pt x="52" y="108"/>
                    </a:cubicBezTo>
                    <a:cubicBezTo>
                      <a:pt x="52" y="110"/>
                      <a:pt x="54" y="112"/>
                      <a:pt x="56" y="112"/>
                    </a:cubicBezTo>
                    <a:cubicBezTo>
                      <a:pt x="58" y="112"/>
                      <a:pt x="60" y="110"/>
                      <a:pt x="60" y="108"/>
                    </a:cubicBezTo>
                    <a:cubicBezTo>
                      <a:pt x="60" y="103"/>
                      <a:pt x="60" y="103"/>
                      <a:pt x="60" y="103"/>
                    </a:cubicBezTo>
                    <a:cubicBezTo>
                      <a:pt x="61" y="103"/>
                      <a:pt x="61" y="103"/>
                      <a:pt x="61" y="103"/>
                    </a:cubicBezTo>
                    <a:cubicBezTo>
                      <a:pt x="59" y="80"/>
                      <a:pt x="60" y="58"/>
                      <a:pt x="50" y="37"/>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9" name="Freeform 18"/>
              <p:cNvSpPr>
                <a:spLocks/>
              </p:cNvSpPr>
              <p:nvPr/>
            </p:nvSpPr>
            <p:spPr bwMode="auto">
              <a:xfrm>
                <a:off x="1999" y="1909"/>
                <a:ext cx="116" cy="359"/>
              </a:xfrm>
              <a:custGeom>
                <a:avLst/>
                <a:gdLst>
                  <a:gd name="T0" fmla="*/ 61 w 75"/>
                  <a:gd name="T1" fmla="*/ 46 h 232"/>
                  <a:gd name="T2" fmla="*/ 61 w 75"/>
                  <a:gd name="T3" fmla="*/ 46 h 232"/>
                  <a:gd name="T4" fmla="*/ 61 w 75"/>
                  <a:gd name="T5" fmla="*/ 46 h 232"/>
                  <a:gd name="T6" fmla="*/ 47 w 75"/>
                  <a:gd name="T7" fmla="*/ 43 h 232"/>
                  <a:gd name="T8" fmla="*/ 45 w 75"/>
                  <a:gd name="T9" fmla="*/ 41 h 232"/>
                  <a:gd name="T10" fmla="*/ 45 w 75"/>
                  <a:gd name="T11" fmla="*/ 36 h 232"/>
                  <a:gd name="T12" fmla="*/ 50 w 75"/>
                  <a:gd name="T13" fmla="*/ 26 h 232"/>
                  <a:gd name="T14" fmla="*/ 52 w 75"/>
                  <a:gd name="T15" fmla="*/ 24 h 232"/>
                  <a:gd name="T16" fmla="*/ 52 w 75"/>
                  <a:gd name="T17" fmla="*/ 20 h 232"/>
                  <a:gd name="T18" fmla="*/ 51 w 75"/>
                  <a:gd name="T19" fmla="*/ 18 h 232"/>
                  <a:gd name="T20" fmla="*/ 46 w 75"/>
                  <a:gd name="T21" fmla="*/ 3 h 232"/>
                  <a:gd name="T22" fmla="*/ 42 w 75"/>
                  <a:gd name="T23" fmla="*/ 3 h 232"/>
                  <a:gd name="T24" fmla="*/ 28 w 75"/>
                  <a:gd name="T25" fmla="*/ 3 h 232"/>
                  <a:gd name="T26" fmla="*/ 23 w 75"/>
                  <a:gd name="T27" fmla="*/ 18 h 232"/>
                  <a:gd name="T28" fmla="*/ 22 w 75"/>
                  <a:gd name="T29" fmla="*/ 20 h 232"/>
                  <a:gd name="T30" fmla="*/ 22 w 75"/>
                  <a:gd name="T31" fmla="*/ 24 h 232"/>
                  <a:gd name="T32" fmla="*/ 24 w 75"/>
                  <a:gd name="T33" fmla="*/ 26 h 232"/>
                  <a:gd name="T34" fmla="*/ 30 w 75"/>
                  <a:gd name="T35" fmla="*/ 37 h 232"/>
                  <a:gd name="T36" fmla="*/ 30 w 75"/>
                  <a:gd name="T37" fmla="*/ 41 h 232"/>
                  <a:gd name="T38" fmla="*/ 28 w 75"/>
                  <a:gd name="T39" fmla="*/ 43 h 232"/>
                  <a:gd name="T40" fmla="*/ 13 w 75"/>
                  <a:gd name="T41" fmla="*/ 46 h 232"/>
                  <a:gd name="T42" fmla="*/ 13 w 75"/>
                  <a:gd name="T43" fmla="*/ 46 h 232"/>
                  <a:gd name="T44" fmla="*/ 0 w 75"/>
                  <a:gd name="T45" fmla="*/ 129 h 232"/>
                  <a:gd name="T46" fmla="*/ 1 w 75"/>
                  <a:gd name="T47" fmla="*/ 129 h 232"/>
                  <a:gd name="T48" fmla="*/ 1 w 75"/>
                  <a:gd name="T49" fmla="*/ 134 h 232"/>
                  <a:gd name="T50" fmla="*/ 6 w 75"/>
                  <a:gd name="T51" fmla="*/ 139 h 232"/>
                  <a:gd name="T52" fmla="*/ 11 w 75"/>
                  <a:gd name="T53" fmla="*/ 134 h 232"/>
                  <a:gd name="T54" fmla="*/ 14 w 75"/>
                  <a:gd name="T55" fmla="*/ 232 h 232"/>
                  <a:gd name="T56" fmla="*/ 33 w 75"/>
                  <a:gd name="T57" fmla="*/ 232 h 232"/>
                  <a:gd name="T58" fmla="*/ 46 w 75"/>
                  <a:gd name="T59" fmla="*/ 232 h 232"/>
                  <a:gd name="T60" fmla="*/ 60 w 75"/>
                  <a:gd name="T61" fmla="*/ 232 h 232"/>
                  <a:gd name="T62" fmla="*/ 64 w 75"/>
                  <a:gd name="T63" fmla="*/ 134 h 232"/>
                  <a:gd name="T64" fmla="*/ 69 w 75"/>
                  <a:gd name="T65" fmla="*/ 139 h 232"/>
                  <a:gd name="T66" fmla="*/ 74 w 75"/>
                  <a:gd name="T67" fmla="*/ 134 h 232"/>
                  <a:gd name="T68" fmla="*/ 74 w 75"/>
                  <a:gd name="T69" fmla="*/ 129 h 232"/>
                  <a:gd name="T70" fmla="*/ 75 w 75"/>
                  <a:gd name="T71" fmla="*/ 129 h 232"/>
                  <a:gd name="T72" fmla="*/ 61 w 75"/>
                  <a:gd name="T73" fmla="*/ 46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5" h="232">
                    <a:moveTo>
                      <a:pt x="61" y="46"/>
                    </a:moveTo>
                    <a:cubicBezTo>
                      <a:pt x="61" y="46"/>
                      <a:pt x="61" y="46"/>
                      <a:pt x="61" y="46"/>
                    </a:cubicBezTo>
                    <a:cubicBezTo>
                      <a:pt x="61" y="46"/>
                      <a:pt x="61" y="46"/>
                      <a:pt x="61" y="46"/>
                    </a:cubicBezTo>
                    <a:cubicBezTo>
                      <a:pt x="47" y="43"/>
                      <a:pt x="47" y="43"/>
                      <a:pt x="47" y="43"/>
                    </a:cubicBezTo>
                    <a:cubicBezTo>
                      <a:pt x="45" y="41"/>
                      <a:pt x="45" y="41"/>
                      <a:pt x="45" y="41"/>
                    </a:cubicBezTo>
                    <a:cubicBezTo>
                      <a:pt x="45" y="36"/>
                      <a:pt x="45" y="36"/>
                      <a:pt x="45" y="36"/>
                    </a:cubicBezTo>
                    <a:cubicBezTo>
                      <a:pt x="47" y="33"/>
                      <a:pt x="50" y="26"/>
                      <a:pt x="50" y="26"/>
                    </a:cubicBezTo>
                    <a:cubicBezTo>
                      <a:pt x="51" y="26"/>
                      <a:pt x="52" y="25"/>
                      <a:pt x="52" y="24"/>
                    </a:cubicBezTo>
                    <a:cubicBezTo>
                      <a:pt x="52" y="20"/>
                      <a:pt x="52" y="20"/>
                      <a:pt x="52" y="20"/>
                    </a:cubicBezTo>
                    <a:cubicBezTo>
                      <a:pt x="52" y="19"/>
                      <a:pt x="52" y="19"/>
                      <a:pt x="51" y="18"/>
                    </a:cubicBezTo>
                    <a:cubicBezTo>
                      <a:pt x="53" y="12"/>
                      <a:pt x="51" y="5"/>
                      <a:pt x="46" y="3"/>
                    </a:cubicBezTo>
                    <a:cubicBezTo>
                      <a:pt x="44" y="3"/>
                      <a:pt x="43" y="3"/>
                      <a:pt x="42" y="3"/>
                    </a:cubicBezTo>
                    <a:cubicBezTo>
                      <a:pt x="38" y="0"/>
                      <a:pt x="32" y="1"/>
                      <a:pt x="28" y="3"/>
                    </a:cubicBezTo>
                    <a:cubicBezTo>
                      <a:pt x="23" y="5"/>
                      <a:pt x="22" y="11"/>
                      <a:pt x="23" y="18"/>
                    </a:cubicBezTo>
                    <a:cubicBezTo>
                      <a:pt x="23" y="18"/>
                      <a:pt x="22" y="19"/>
                      <a:pt x="22" y="20"/>
                    </a:cubicBezTo>
                    <a:cubicBezTo>
                      <a:pt x="22" y="24"/>
                      <a:pt x="22" y="24"/>
                      <a:pt x="22" y="24"/>
                    </a:cubicBezTo>
                    <a:cubicBezTo>
                      <a:pt x="22" y="25"/>
                      <a:pt x="23" y="26"/>
                      <a:pt x="24" y="26"/>
                    </a:cubicBezTo>
                    <a:cubicBezTo>
                      <a:pt x="24" y="26"/>
                      <a:pt x="27" y="34"/>
                      <a:pt x="30" y="37"/>
                    </a:cubicBezTo>
                    <a:cubicBezTo>
                      <a:pt x="30" y="41"/>
                      <a:pt x="30" y="41"/>
                      <a:pt x="30" y="41"/>
                    </a:cubicBezTo>
                    <a:cubicBezTo>
                      <a:pt x="28" y="43"/>
                      <a:pt x="28" y="43"/>
                      <a:pt x="28" y="43"/>
                    </a:cubicBezTo>
                    <a:cubicBezTo>
                      <a:pt x="13" y="46"/>
                      <a:pt x="13" y="46"/>
                      <a:pt x="13" y="46"/>
                    </a:cubicBezTo>
                    <a:cubicBezTo>
                      <a:pt x="13" y="46"/>
                      <a:pt x="13" y="46"/>
                      <a:pt x="13" y="46"/>
                    </a:cubicBezTo>
                    <a:cubicBezTo>
                      <a:pt x="1" y="73"/>
                      <a:pt x="2" y="100"/>
                      <a:pt x="0" y="129"/>
                    </a:cubicBezTo>
                    <a:cubicBezTo>
                      <a:pt x="1" y="129"/>
                      <a:pt x="1" y="129"/>
                      <a:pt x="1" y="129"/>
                    </a:cubicBezTo>
                    <a:cubicBezTo>
                      <a:pt x="1" y="134"/>
                      <a:pt x="1" y="134"/>
                      <a:pt x="1" y="134"/>
                    </a:cubicBezTo>
                    <a:cubicBezTo>
                      <a:pt x="1" y="137"/>
                      <a:pt x="3" y="139"/>
                      <a:pt x="6" y="139"/>
                    </a:cubicBezTo>
                    <a:cubicBezTo>
                      <a:pt x="9" y="139"/>
                      <a:pt x="11" y="137"/>
                      <a:pt x="11" y="134"/>
                    </a:cubicBezTo>
                    <a:cubicBezTo>
                      <a:pt x="14" y="232"/>
                      <a:pt x="14" y="232"/>
                      <a:pt x="14" y="232"/>
                    </a:cubicBezTo>
                    <a:cubicBezTo>
                      <a:pt x="33" y="232"/>
                      <a:pt x="33" y="232"/>
                      <a:pt x="33" y="232"/>
                    </a:cubicBezTo>
                    <a:cubicBezTo>
                      <a:pt x="46" y="232"/>
                      <a:pt x="46" y="232"/>
                      <a:pt x="46" y="232"/>
                    </a:cubicBezTo>
                    <a:cubicBezTo>
                      <a:pt x="60" y="232"/>
                      <a:pt x="60" y="232"/>
                      <a:pt x="60" y="232"/>
                    </a:cubicBezTo>
                    <a:cubicBezTo>
                      <a:pt x="64" y="134"/>
                      <a:pt x="64" y="134"/>
                      <a:pt x="64" y="134"/>
                    </a:cubicBezTo>
                    <a:cubicBezTo>
                      <a:pt x="64" y="137"/>
                      <a:pt x="66" y="139"/>
                      <a:pt x="69" y="139"/>
                    </a:cubicBezTo>
                    <a:cubicBezTo>
                      <a:pt x="71" y="139"/>
                      <a:pt x="74" y="137"/>
                      <a:pt x="74" y="134"/>
                    </a:cubicBezTo>
                    <a:cubicBezTo>
                      <a:pt x="74" y="129"/>
                      <a:pt x="74" y="129"/>
                      <a:pt x="74" y="129"/>
                    </a:cubicBezTo>
                    <a:cubicBezTo>
                      <a:pt x="75" y="129"/>
                      <a:pt x="75" y="129"/>
                      <a:pt x="75" y="129"/>
                    </a:cubicBezTo>
                    <a:cubicBezTo>
                      <a:pt x="73" y="99"/>
                      <a:pt x="74" y="72"/>
                      <a:pt x="61" y="46"/>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0" name="Freeform 19"/>
              <p:cNvSpPr>
                <a:spLocks/>
              </p:cNvSpPr>
              <p:nvPr/>
            </p:nvSpPr>
            <p:spPr bwMode="auto">
              <a:xfrm>
                <a:off x="2056" y="1839"/>
                <a:ext cx="133" cy="406"/>
              </a:xfrm>
              <a:custGeom>
                <a:avLst/>
                <a:gdLst>
                  <a:gd name="T0" fmla="*/ 71 w 86"/>
                  <a:gd name="T1" fmla="*/ 51 h 262"/>
                  <a:gd name="T2" fmla="*/ 71 w 86"/>
                  <a:gd name="T3" fmla="*/ 51 h 262"/>
                  <a:gd name="T4" fmla="*/ 71 w 86"/>
                  <a:gd name="T5" fmla="*/ 51 h 262"/>
                  <a:gd name="T6" fmla="*/ 54 w 86"/>
                  <a:gd name="T7" fmla="*/ 48 h 262"/>
                  <a:gd name="T8" fmla="*/ 52 w 86"/>
                  <a:gd name="T9" fmla="*/ 46 h 262"/>
                  <a:gd name="T10" fmla="*/ 52 w 86"/>
                  <a:gd name="T11" fmla="*/ 40 h 262"/>
                  <a:gd name="T12" fmla="*/ 57 w 86"/>
                  <a:gd name="T13" fmla="*/ 29 h 262"/>
                  <a:gd name="T14" fmla="*/ 60 w 86"/>
                  <a:gd name="T15" fmla="*/ 27 h 262"/>
                  <a:gd name="T16" fmla="*/ 60 w 86"/>
                  <a:gd name="T17" fmla="*/ 21 h 262"/>
                  <a:gd name="T18" fmla="*/ 59 w 86"/>
                  <a:gd name="T19" fmla="*/ 20 h 262"/>
                  <a:gd name="T20" fmla="*/ 53 w 86"/>
                  <a:gd name="T21" fmla="*/ 3 h 262"/>
                  <a:gd name="T22" fmla="*/ 49 w 86"/>
                  <a:gd name="T23" fmla="*/ 3 h 262"/>
                  <a:gd name="T24" fmla="*/ 33 w 86"/>
                  <a:gd name="T25" fmla="*/ 2 h 262"/>
                  <a:gd name="T26" fmla="*/ 27 w 86"/>
                  <a:gd name="T27" fmla="*/ 20 h 262"/>
                  <a:gd name="T28" fmla="*/ 26 w 86"/>
                  <a:gd name="T29" fmla="*/ 21 h 262"/>
                  <a:gd name="T30" fmla="*/ 26 w 86"/>
                  <a:gd name="T31" fmla="*/ 27 h 262"/>
                  <a:gd name="T32" fmla="*/ 29 w 86"/>
                  <a:gd name="T33" fmla="*/ 29 h 262"/>
                  <a:gd name="T34" fmla="*/ 35 w 86"/>
                  <a:gd name="T35" fmla="*/ 41 h 262"/>
                  <a:gd name="T36" fmla="*/ 35 w 86"/>
                  <a:gd name="T37" fmla="*/ 46 h 262"/>
                  <a:gd name="T38" fmla="*/ 33 w 86"/>
                  <a:gd name="T39" fmla="*/ 48 h 262"/>
                  <a:gd name="T40" fmla="*/ 16 w 86"/>
                  <a:gd name="T41" fmla="*/ 51 h 262"/>
                  <a:gd name="T42" fmla="*/ 16 w 86"/>
                  <a:gd name="T43" fmla="*/ 52 h 262"/>
                  <a:gd name="T44" fmla="*/ 0 w 86"/>
                  <a:gd name="T45" fmla="*/ 145 h 262"/>
                  <a:gd name="T46" fmla="*/ 2 w 86"/>
                  <a:gd name="T47" fmla="*/ 145 h 262"/>
                  <a:gd name="T48" fmla="*/ 2 w 86"/>
                  <a:gd name="T49" fmla="*/ 152 h 262"/>
                  <a:gd name="T50" fmla="*/ 8 w 86"/>
                  <a:gd name="T51" fmla="*/ 157 h 262"/>
                  <a:gd name="T52" fmla="*/ 13 w 86"/>
                  <a:gd name="T53" fmla="*/ 152 h 262"/>
                  <a:gd name="T54" fmla="*/ 16 w 86"/>
                  <a:gd name="T55" fmla="*/ 262 h 262"/>
                  <a:gd name="T56" fmla="*/ 39 w 86"/>
                  <a:gd name="T57" fmla="*/ 262 h 262"/>
                  <a:gd name="T58" fmla="*/ 54 w 86"/>
                  <a:gd name="T59" fmla="*/ 262 h 262"/>
                  <a:gd name="T60" fmla="*/ 69 w 86"/>
                  <a:gd name="T61" fmla="*/ 262 h 262"/>
                  <a:gd name="T62" fmla="*/ 73 w 86"/>
                  <a:gd name="T63" fmla="*/ 152 h 262"/>
                  <a:gd name="T64" fmla="*/ 79 w 86"/>
                  <a:gd name="T65" fmla="*/ 157 h 262"/>
                  <a:gd name="T66" fmla="*/ 84 w 86"/>
                  <a:gd name="T67" fmla="*/ 152 h 262"/>
                  <a:gd name="T68" fmla="*/ 84 w 86"/>
                  <a:gd name="T69" fmla="*/ 145 h 262"/>
                  <a:gd name="T70" fmla="*/ 86 w 86"/>
                  <a:gd name="T71" fmla="*/ 145 h 262"/>
                  <a:gd name="T72" fmla="*/ 71 w 86"/>
                  <a:gd name="T73" fmla="*/ 51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86" h="262">
                    <a:moveTo>
                      <a:pt x="71" y="51"/>
                    </a:moveTo>
                    <a:cubicBezTo>
                      <a:pt x="71" y="51"/>
                      <a:pt x="71" y="51"/>
                      <a:pt x="71" y="51"/>
                    </a:cubicBezTo>
                    <a:cubicBezTo>
                      <a:pt x="71" y="51"/>
                      <a:pt x="71" y="51"/>
                      <a:pt x="71" y="51"/>
                    </a:cubicBezTo>
                    <a:cubicBezTo>
                      <a:pt x="54" y="48"/>
                      <a:pt x="54" y="48"/>
                      <a:pt x="54" y="48"/>
                    </a:cubicBezTo>
                    <a:cubicBezTo>
                      <a:pt x="52" y="46"/>
                      <a:pt x="52" y="46"/>
                      <a:pt x="52" y="46"/>
                    </a:cubicBezTo>
                    <a:cubicBezTo>
                      <a:pt x="52" y="40"/>
                      <a:pt x="52" y="40"/>
                      <a:pt x="52" y="40"/>
                    </a:cubicBezTo>
                    <a:cubicBezTo>
                      <a:pt x="55" y="37"/>
                      <a:pt x="57" y="29"/>
                      <a:pt x="57" y="29"/>
                    </a:cubicBezTo>
                    <a:cubicBezTo>
                      <a:pt x="59" y="29"/>
                      <a:pt x="60" y="28"/>
                      <a:pt x="60" y="27"/>
                    </a:cubicBezTo>
                    <a:cubicBezTo>
                      <a:pt x="60" y="21"/>
                      <a:pt x="60" y="21"/>
                      <a:pt x="60" y="21"/>
                    </a:cubicBezTo>
                    <a:cubicBezTo>
                      <a:pt x="60" y="21"/>
                      <a:pt x="59" y="20"/>
                      <a:pt x="59" y="20"/>
                    </a:cubicBezTo>
                    <a:cubicBezTo>
                      <a:pt x="60" y="12"/>
                      <a:pt x="59" y="5"/>
                      <a:pt x="53" y="3"/>
                    </a:cubicBezTo>
                    <a:cubicBezTo>
                      <a:pt x="51" y="3"/>
                      <a:pt x="50" y="3"/>
                      <a:pt x="49" y="3"/>
                    </a:cubicBezTo>
                    <a:cubicBezTo>
                      <a:pt x="44" y="0"/>
                      <a:pt x="37" y="0"/>
                      <a:pt x="33" y="2"/>
                    </a:cubicBezTo>
                    <a:cubicBezTo>
                      <a:pt x="27" y="5"/>
                      <a:pt x="26" y="12"/>
                      <a:pt x="27" y="20"/>
                    </a:cubicBezTo>
                    <a:cubicBezTo>
                      <a:pt x="26" y="20"/>
                      <a:pt x="26" y="21"/>
                      <a:pt x="26" y="21"/>
                    </a:cubicBezTo>
                    <a:cubicBezTo>
                      <a:pt x="26" y="27"/>
                      <a:pt x="26" y="27"/>
                      <a:pt x="26" y="27"/>
                    </a:cubicBezTo>
                    <a:cubicBezTo>
                      <a:pt x="26" y="28"/>
                      <a:pt x="27" y="29"/>
                      <a:pt x="29" y="29"/>
                    </a:cubicBezTo>
                    <a:cubicBezTo>
                      <a:pt x="29" y="29"/>
                      <a:pt x="31" y="38"/>
                      <a:pt x="35" y="41"/>
                    </a:cubicBezTo>
                    <a:cubicBezTo>
                      <a:pt x="35" y="46"/>
                      <a:pt x="35" y="46"/>
                      <a:pt x="35" y="46"/>
                    </a:cubicBezTo>
                    <a:cubicBezTo>
                      <a:pt x="33" y="48"/>
                      <a:pt x="33" y="48"/>
                      <a:pt x="33" y="48"/>
                    </a:cubicBezTo>
                    <a:cubicBezTo>
                      <a:pt x="16" y="51"/>
                      <a:pt x="16" y="51"/>
                      <a:pt x="16" y="51"/>
                    </a:cubicBezTo>
                    <a:cubicBezTo>
                      <a:pt x="16" y="52"/>
                      <a:pt x="16" y="52"/>
                      <a:pt x="16" y="52"/>
                    </a:cubicBezTo>
                    <a:cubicBezTo>
                      <a:pt x="2" y="82"/>
                      <a:pt x="4" y="112"/>
                      <a:pt x="0" y="145"/>
                    </a:cubicBezTo>
                    <a:cubicBezTo>
                      <a:pt x="2" y="145"/>
                      <a:pt x="2" y="145"/>
                      <a:pt x="2" y="145"/>
                    </a:cubicBezTo>
                    <a:cubicBezTo>
                      <a:pt x="2" y="152"/>
                      <a:pt x="2" y="152"/>
                      <a:pt x="2" y="152"/>
                    </a:cubicBezTo>
                    <a:cubicBezTo>
                      <a:pt x="2" y="155"/>
                      <a:pt x="5" y="157"/>
                      <a:pt x="8" y="157"/>
                    </a:cubicBezTo>
                    <a:cubicBezTo>
                      <a:pt x="11" y="157"/>
                      <a:pt x="13" y="155"/>
                      <a:pt x="13" y="152"/>
                    </a:cubicBezTo>
                    <a:cubicBezTo>
                      <a:pt x="16" y="262"/>
                      <a:pt x="16" y="262"/>
                      <a:pt x="16" y="262"/>
                    </a:cubicBezTo>
                    <a:cubicBezTo>
                      <a:pt x="39" y="262"/>
                      <a:pt x="39" y="262"/>
                      <a:pt x="39" y="262"/>
                    </a:cubicBezTo>
                    <a:cubicBezTo>
                      <a:pt x="54" y="262"/>
                      <a:pt x="54" y="262"/>
                      <a:pt x="54" y="262"/>
                    </a:cubicBezTo>
                    <a:cubicBezTo>
                      <a:pt x="69" y="262"/>
                      <a:pt x="69" y="262"/>
                      <a:pt x="69" y="262"/>
                    </a:cubicBezTo>
                    <a:cubicBezTo>
                      <a:pt x="73" y="152"/>
                      <a:pt x="73" y="152"/>
                      <a:pt x="73" y="152"/>
                    </a:cubicBezTo>
                    <a:cubicBezTo>
                      <a:pt x="73" y="155"/>
                      <a:pt x="76" y="157"/>
                      <a:pt x="79" y="157"/>
                    </a:cubicBezTo>
                    <a:cubicBezTo>
                      <a:pt x="82" y="157"/>
                      <a:pt x="84" y="155"/>
                      <a:pt x="84" y="152"/>
                    </a:cubicBezTo>
                    <a:cubicBezTo>
                      <a:pt x="84" y="145"/>
                      <a:pt x="84" y="145"/>
                      <a:pt x="84" y="145"/>
                    </a:cubicBezTo>
                    <a:cubicBezTo>
                      <a:pt x="86" y="145"/>
                      <a:pt x="86" y="145"/>
                      <a:pt x="86" y="145"/>
                    </a:cubicBezTo>
                    <a:cubicBezTo>
                      <a:pt x="83" y="112"/>
                      <a:pt x="85" y="81"/>
                      <a:pt x="71" y="51"/>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1" name="Freeform 20"/>
              <p:cNvSpPr>
                <a:spLocks/>
              </p:cNvSpPr>
              <p:nvPr/>
            </p:nvSpPr>
            <p:spPr bwMode="auto">
              <a:xfrm>
                <a:off x="1866" y="2087"/>
                <a:ext cx="77" cy="234"/>
              </a:xfrm>
              <a:custGeom>
                <a:avLst/>
                <a:gdLst>
                  <a:gd name="T0" fmla="*/ 41 w 50"/>
                  <a:gd name="T1" fmla="*/ 29 h 151"/>
                  <a:gd name="T2" fmla="*/ 41 w 50"/>
                  <a:gd name="T3" fmla="*/ 29 h 151"/>
                  <a:gd name="T4" fmla="*/ 41 w 50"/>
                  <a:gd name="T5" fmla="*/ 29 h 151"/>
                  <a:gd name="T6" fmla="*/ 35 w 50"/>
                  <a:gd name="T7" fmla="*/ 28 h 151"/>
                  <a:gd name="T8" fmla="*/ 36 w 50"/>
                  <a:gd name="T9" fmla="*/ 12 h 151"/>
                  <a:gd name="T10" fmla="*/ 31 w 50"/>
                  <a:gd name="T11" fmla="*/ 4 h 151"/>
                  <a:gd name="T12" fmla="*/ 24 w 50"/>
                  <a:gd name="T13" fmla="*/ 0 h 151"/>
                  <a:gd name="T14" fmla="*/ 15 w 50"/>
                  <a:gd name="T15" fmla="*/ 11 h 151"/>
                  <a:gd name="T16" fmla="*/ 16 w 50"/>
                  <a:gd name="T17" fmla="*/ 28 h 151"/>
                  <a:gd name="T18" fmla="*/ 9 w 50"/>
                  <a:gd name="T19" fmla="*/ 29 h 151"/>
                  <a:gd name="T20" fmla="*/ 9 w 50"/>
                  <a:gd name="T21" fmla="*/ 29 h 151"/>
                  <a:gd name="T22" fmla="*/ 0 w 50"/>
                  <a:gd name="T23" fmla="*/ 83 h 151"/>
                  <a:gd name="T24" fmla="*/ 1 w 50"/>
                  <a:gd name="T25" fmla="*/ 83 h 151"/>
                  <a:gd name="T26" fmla="*/ 1 w 50"/>
                  <a:gd name="T27" fmla="*/ 87 h 151"/>
                  <a:gd name="T28" fmla="*/ 4 w 50"/>
                  <a:gd name="T29" fmla="*/ 90 h 151"/>
                  <a:gd name="T30" fmla="*/ 7 w 50"/>
                  <a:gd name="T31" fmla="*/ 87 h 151"/>
                  <a:gd name="T32" fmla="*/ 9 w 50"/>
                  <a:gd name="T33" fmla="*/ 151 h 151"/>
                  <a:gd name="T34" fmla="*/ 22 w 50"/>
                  <a:gd name="T35" fmla="*/ 151 h 151"/>
                  <a:gd name="T36" fmla="*/ 31 w 50"/>
                  <a:gd name="T37" fmla="*/ 151 h 151"/>
                  <a:gd name="T38" fmla="*/ 40 w 50"/>
                  <a:gd name="T39" fmla="*/ 151 h 151"/>
                  <a:gd name="T40" fmla="*/ 42 w 50"/>
                  <a:gd name="T41" fmla="*/ 87 h 151"/>
                  <a:gd name="T42" fmla="*/ 45 w 50"/>
                  <a:gd name="T43" fmla="*/ 90 h 151"/>
                  <a:gd name="T44" fmla="*/ 49 w 50"/>
                  <a:gd name="T45" fmla="*/ 87 h 151"/>
                  <a:gd name="T46" fmla="*/ 49 w 50"/>
                  <a:gd name="T47" fmla="*/ 83 h 151"/>
                  <a:gd name="T48" fmla="*/ 50 w 50"/>
                  <a:gd name="T49" fmla="*/ 83 h 151"/>
                  <a:gd name="T50" fmla="*/ 41 w 50"/>
                  <a:gd name="T51" fmla="*/ 29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51">
                    <a:moveTo>
                      <a:pt x="41" y="29"/>
                    </a:moveTo>
                    <a:cubicBezTo>
                      <a:pt x="41" y="29"/>
                      <a:pt x="41" y="29"/>
                      <a:pt x="41" y="29"/>
                    </a:cubicBezTo>
                    <a:cubicBezTo>
                      <a:pt x="41" y="29"/>
                      <a:pt x="41" y="29"/>
                      <a:pt x="41" y="29"/>
                    </a:cubicBezTo>
                    <a:cubicBezTo>
                      <a:pt x="35" y="28"/>
                      <a:pt x="35" y="28"/>
                      <a:pt x="35" y="28"/>
                    </a:cubicBezTo>
                    <a:cubicBezTo>
                      <a:pt x="36" y="22"/>
                      <a:pt x="36" y="13"/>
                      <a:pt x="36" y="12"/>
                    </a:cubicBezTo>
                    <a:cubicBezTo>
                      <a:pt x="36" y="8"/>
                      <a:pt x="34" y="5"/>
                      <a:pt x="31" y="4"/>
                    </a:cubicBezTo>
                    <a:cubicBezTo>
                      <a:pt x="29" y="1"/>
                      <a:pt x="27" y="0"/>
                      <a:pt x="24" y="0"/>
                    </a:cubicBezTo>
                    <a:cubicBezTo>
                      <a:pt x="19" y="0"/>
                      <a:pt x="15" y="5"/>
                      <a:pt x="15" y="11"/>
                    </a:cubicBezTo>
                    <a:cubicBezTo>
                      <a:pt x="15" y="11"/>
                      <a:pt x="15" y="21"/>
                      <a:pt x="16" y="28"/>
                    </a:cubicBezTo>
                    <a:cubicBezTo>
                      <a:pt x="9" y="29"/>
                      <a:pt x="9" y="29"/>
                      <a:pt x="9" y="29"/>
                    </a:cubicBezTo>
                    <a:cubicBezTo>
                      <a:pt x="9" y="29"/>
                      <a:pt x="9" y="29"/>
                      <a:pt x="9" y="29"/>
                    </a:cubicBezTo>
                    <a:cubicBezTo>
                      <a:pt x="1" y="47"/>
                      <a:pt x="2" y="64"/>
                      <a:pt x="0" y="83"/>
                    </a:cubicBezTo>
                    <a:cubicBezTo>
                      <a:pt x="1" y="83"/>
                      <a:pt x="1" y="83"/>
                      <a:pt x="1" y="83"/>
                    </a:cubicBezTo>
                    <a:cubicBezTo>
                      <a:pt x="1" y="87"/>
                      <a:pt x="1" y="87"/>
                      <a:pt x="1" y="87"/>
                    </a:cubicBezTo>
                    <a:cubicBezTo>
                      <a:pt x="1" y="89"/>
                      <a:pt x="3" y="90"/>
                      <a:pt x="4" y="90"/>
                    </a:cubicBezTo>
                    <a:cubicBezTo>
                      <a:pt x="6" y="90"/>
                      <a:pt x="7" y="89"/>
                      <a:pt x="7" y="87"/>
                    </a:cubicBezTo>
                    <a:cubicBezTo>
                      <a:pt x="9" y="151"/>
                      <a:pt x="9" y="151"/>
                      <a:pt x="9" y="151"/>
                    </a:cubicBezTo>
                    <a:cubicBezTo>
                      <a:pt x="22" y="151"/>
                      <a:pt x="22" y="151"/>
                      <a:pt x="22" y="151"/>
                    </a:cubicBezTo>
                    <a:cubicBezTo>
                      <a:pt x="31" y="151"/>
                      <a:pt x="31" y="151"/>
                      <a:pt x="31" y="151"/>
                    </a:cubicBezTo>
                    <a:cubicBezTo>
                      <a:pt x="40" y="151"/>
                      <a:pt x="40" y="151"/>
                      <a:pt x="40" y="151"/>
                    </a:cubicBezTo>
                    <a:cubicBezTo>
                      <a:pt x="42" y="87"/>
                      <a:pt x="42" y="87"/>
                      <a:pt x="42" y="87"/>
                    </a:cubicBezTo>
                    <a:cubicBezTo>
                      <a:pt x="42" y="89"/>
                      <a:pt x="44" y="90"/>
                      <a:pt x="45" y="90"/>
                    </a:cubicBezTo>
                    <a:cubicBezTo>
                      <a:pt x="47" y="90"/>
                      <a:pt x="49" y="89"/>
                      <a:pt x="49" y="87"/>
                    </a:cubicBezTo>
                    <a:cubicBezTo>
                      <a:pt x="49" y="83"/>
                      <a:pt x="49" y="83"/>
                      <a:pt x="49" y="83"/>
                    </a:cubicBezTo>
                    <a:cubicBezTo>
                      <a:pt x="50" y="83"/>
                      <a:pt x="50" y="83"/>
                      <a:pt x="50" y="83"/>
                    </a:cubicBezTo>
                    <a:cubicBezTo>
                      <a:pt x="48" y="64"/>
                      <a:pt x="49" y="47"/>
                      <a:pt x="41" y="29"/>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2" name="Freeform 21"/>
              <p:cNvSpPr>
                <a:spLocks noEditPoints="1"/>
              </p:cNvSpPr>
              <p:nvPr/>
            </p:nvSpPr>
            <p:spPr bwMode="auto">
              <a:xfrm>
                <a:off x="629" y="2307"/>
                <a:ext cx="543" cy="202"/>
              </a:xfrm>
              <a:custGeom>
                <a:avLst/>
                <a:gdLst>
                  <a:gd name="T0" fmla="*/ 343 w 351"/>
                  <a:gd name="T1" fmla="*/ 84 h 131"/>
                  <a:gd name="T2" fmla="*/ 340 w 351"/>
                  <a:gd name="T3" fmla="*/ 48 h 131"/>
                  <a:gd name="T4" fmla="*/ 333 w 351"/>
                  <a:gd name="T5" fmla="*/ 46 h 131"/>
                  <a:gd name="T6" fmla="*/ 336 w 351"/>
                  <a:gd name="T7" fmla="*/ 38 h 131"/>
                  <a:gd name="T8" fmla="*/ 327 w 351"/>
                  <a:gd name="T9" fmla="*/ 32 h 131"/>
                  <a:gd name="T10" fmla="*/ 326 w 351"/>
                  <a:gd name="T11" fmla="*/ 41 h 131"/>
                  <a:gd name="T12" fmla="*/ 321 w 351"/>
                  <a:gd name="T13" fmla="*/ 48 h 131"/>
                  <a:gd name="T14" fmla="*/ 313 w 351"/>
                  <a:gd name="T15" fmla="*/ 55 h 131"/>
                  <a:gd name="T16" fmla="*/ 316 w 351"/>
                  <a:gd name="T17" fmla="*/ 47 h 131"/>
                  <a:gd name="T18" fmla="*/ 307 w 351"/>
                  <a:gd name="T19" fmla="*/ 40 h 131"/>
                  <a:gd name="T20" fmla="*/ 298 w 351"/>
                  <a:gd name="T21" fmla="*/ 38 h 131"/>
                  <a:gd name="T22" fmla="*/ 297 w 351"/>
                  <a:gd name="T23" fmla="*/ 47 h 131"/>
                  <a:gd name="T24" fmla="*/ 295 w 351"/>
                  <a:gd name="T25" fmla="*/ 54 h 131"/>
                  <a:gd name="T26" fmla="*/ 286 w 351"/>
                  <a:gd name="T27" fmla="*/ 42 h 131"/>
                  <a:gd name="T28" fmla="*/ 288 w 351"/>
                  <a:gd name="T29" fmla="*/ 35 h 131"/>
                  <a:gd name="T30" fmla="*/ 284 w 351"/>
                  <a:gd name="T31" fmla="*/ 27 h 131"/>
                  <a:gd name="T32" fmla="*/ 276 w 351"/>
                  <a:gd name="T33" fmla="*/ 32 h 131"/>
                  <a:gd name="T34" fmla="*/ 269 w 351"/>
                  <a:gd name="T35" fmla="*/ 30 h 131"/>
                  <a:gd name="T36" fmla="*/ 272 w 351"/>
                  <a:gd name="T37" fmla="*/ 22 h 131"/>
                  <a:gd name="T38" fmla="*/ 263 w 351"/>
                  <a:gd name="T39" fmla="*/ 15 h 131"/>
                  <a:gd name="T40" fmla="*/ 262 w 351"/>
                  <a:gd name="T41" fmla="*/ 24 h 131"/>
                  <a:gd name="T42" fmla="*/ 259 w 351"/>
                  <a:gd name="T43" fmla="*/ 31 h 131"/>
                  <a:gd name="T44" fmla="*/ 251 w 351"/>
                  <a:gd name="T45" fmla="*/ 21 h 131"/>
                  <a:gd name="T46" fmla="*/ 253 w 351"/>
                  <a:gd name="T47" fmla="*/ 14 h 131"/>
                  <a:gd name="T48" fmla="*/ 249 w 351"/>
                  <a:gd name="T49" fmla="*/ 7 h 131"/>
                  <a:gd name="T50" fmla="*/ 242 w 351"/>
                  <a:gd name="T51" fmla="*/ 14 h 131"/>
                  <a:gd name="T52" fmla="*/ 244 w 351"/>
                  <a:gd name="T53" fmla="*/ 21 h 131"/>
                  <a:gd name="T54" fmla="*/ 236 w 351"/>
                  <a:gd name="T55" fmla="*/ 17 h 131"/>
                  <a:gd name="T56" fmla="*/ 234 w 351"/>
                  <a:gd name="T57" fmla="*/ 8 h 131"/>
                  <a:gd name="T58" fmla="*/ 222 w 351"/>
                  <a:gd name="T59" fmla="*/ 16 h 131"/>
                  <a:gd name="T60" fmla="*/ 215 w 351"/>
                  <a:gd name="T61" fmla="*/ 18 h 131"/>
                  <a:gd name="T62" fmla="*/ 210 w 351"/>
                  <a:gd name="T63" fmla="*/ 16 h 131"/>
                  <a:gd name="T64" fmla="*/ 212 w 351"/>
                  <a:gd name="T65" fmla="*/ 9 h 131"/>
                  <a:gd name="T66" fmla="*/ 204 w 351"/>
                  <a:gd name="T67" fmla="*/ 4 h 131"/>
                  <a:gd name="T68" fmla="*/ 203 w 351"/>
                  <a:gd name="T69" fmla="*/ 11 h 131"/>
                  <a:gd name="T70" fmla="*/ 200 w 351"/>
                  <a:gd name="T71" fmla="*/ 18 h 131"/>
                  <a:gd name="T72" fmla="*/ 194 w 351"/>
                  <a:gd name="T73" fmla="*/ 22 h 131"/>
                  <a:gd name="T74" fmla="*/ 190 w 351"/>
                  <a:gd name="T75" fmla="*/ 21 h 131"/>
                  <a:gd name="T76" fmla="*/ 191 w 351"/>
                  <a:gd name="T77" fmla="*/ 15 h 131"/>
                  <a:gd name="T78" fmla="*/ 188 w 351"/>
                  <a:gd name="T79" fmla="*/ 9 h 131"/>
                  <a:gd name="T80" fmla="*/ 182 w 351"/>
                  <a:gd name="T81" fmla="*/ 15 h 131"/>
                  <a:gd name="T82" fmla="*/ 184 w 351"/>
                  <a:gd name="T83" fmla="*/ 21 h 131"/>
                  <a:gd name="T84" fmla="*/ 176 w 351"/>
                  <a:gd name="T85" fmla="*/ 47 h 131"/>
                  <a:gd name="T86" fmla="*/ 179 w 351"/>
                  <a:gd name="T87" fmla="*/ 58 h 131"/>
                  <a:gd name="T88" fmla="*/ 338 w 351"/>
                  <a:gd name="T89" fmla="*/ 119 h 131"/>
                  <a:gd name="T90" fmla="*/ 320 w 351"/>
                  <a:gd name="T91" fmla="*/ 105 h 131"/>
                  <a:gd name="T92" fmla="*/ 308 w 351"/>
                  <a:gd name="T93" fmla="*/ 53 h 131"/>
                  <a:gd name="T94" fmla="*/ 305 w 351"/>
                  <a:gd name="T95" fmla="*/ 51 h 131"/>
                  <a:gd name="T96" fmla="*/ 278 w 351"/>
                  <a:gd name="T97" fmla="*/ 38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51" h="131">
                    <a:moveTo>
                      <a:pt x="338" y="119"/>
                    </a:moveTo>
                    <a:cubicBezTo>
                      <a:pt x="339" y="119"/>
                      <a:pt x="339" y="119"/>
                      <a:pt x="339" y="119"/>
                    </a:cubicBezTo>
                    <a:cubicBezTo>
                      <a:pt x="341" y="82"/>
                      <a:pt x="341" y="82"/>
                      <a:pt x="341" y="82"/>
                    </a:cubicBezTo>
                    <a:cubicBezTo>
                      <a:pt x="341" y="83"/>
                      <a:pt x="342" y="84"/>
                      <a:pt x="343" y="84"/>
                    </a:cubicBezTo>
                    <a:cubicBezTo>
                      <a:pt x="344" y="84"/>
                      <a:pt x="344" y="83"/>
                      <a:pt x="344" y="82"/>
                    </a:cubicBezTo>
                    <a:cubicBezTo>
                      <a:pt x="344" y="80"/>
                      <a:pt x="344" y="80"/>
                      <a:pt x="344" y="80"/>
                    </a:cubicBezTo>
                    <a:cubicBezTo>
                      <a:pt x="345" y="80"/>
                      <a:pt x="345" y="80"/>
                      <a:pt x="345" y="80"/>
                    </a:cubicBezTo>
                    <a:cubicBezTo>
                      <a:pt x="344" y="69"/>
                      <a:pt x="345" y="58"/>
                      <a:pt x="340" y="48"/>
                    </a:cubicBezTo>
                    <a:cubicBezTo>
                      <a:pt x="340" y="48"/>
                      <a:pt x="340" y="48"/>
                      <a:pt x="340" y="48"/>
                    </a:cubicBezTo>
                    <a:cubicBezTo>
                      <a:pt x="340" y="48"/>
                      <a:pt x="340" y="48"/>
                      <a:pt x="340" y="48"/>
                    </a:cubicBezTo>
                    <a:cubicBezTo>
                      <a:pt x="334" y="47"/>
                      <a:pt x="334" y="47"/>
                      <a:pt x="334" y="47"/>
                    </a:cubicBezTo>
                    <a:cubicBezTo>
                      <a:pt x="333" y="46"/>
                      <a:pt x="333" y="46"/>
                      <a:pt x="333" y="46"/>
                    </a:cubicBezTo>
                    <a:cubicBezTo>
                      <a:pt x="333" y="45"/>
                      <a:pt x="333" y="45"/>
                      <a:pt x="333" y="45"/>
                    </a:cubicBezTo>
                    <a:cubicBezTo>
                      <a:pt x="334" y="43"/>
                      <a:pt x="335" y="41"/>
                      <a:pt x="335" y="41"/>
                    </a:cubicBezTo>
                    <a:cubicBezTo>
                      <a:pt x="336" y="41"/>
                      <a:pt x="336" y="40"/>
                      <a:pt x="336" y="40"/>
                    </a:cubicBezTo>
                    <a:cubicBezTo>
                      <a:pt x="336" y="38"/>
                      <a:pt x="336" y="38"/>
                      <a:pt x="336" y="38"/>
                    </a:cubicBezTo>
                    <a:cubicBezTo>
                      <a:pt x="336" y="38"/>
                      <a:pt x="336" y="38"/>
                      <a:pt x="336" y="38"/>
                    </a:cubicBezTo>
                    <a:cubicBezTo>
                      <a:pt x="336" y="35"/>
                      <a:pt x="336" y="33"/>
                      <a:pt x="334" y="32"/>
                    </a:cubicBezTo>
                    <a:cubicBezTo>
                      <a:pt x="333" y="32"/>
                      <a:pt x="333" y="32"/>
                      <a:pt x="332" y="32"/>
                    </a:cubicBezTo>
                    <a:cubicBezTo>
                      <a:pt x="331" y="31"/>
                      <a:pt x="329" y="31"/>
                      <a:pt x="327" y="32"/>
                    </a:cubicBezTo>
                    <a:cubicBezTo>
                      <a:pt x="325" y="33"/>
                      <a:pt x="325" y="35"/>
                      <a:pt x="325" y="37"/>
                    </a:cubicBezTo>
                    <a:cubicBezTo>
                      <a:pt x="325" y="38"/>
                      <a:pt x="325" y="38"/>
                      <a:pt x="325" y="38"/>
                    </a:cubicBezTo>
                    <a:cubicBezTo>
                      <a:pt x="325" y="40"/>
                      <a:pt x="325" y="40"/>
                      <a:pt x="325" y="40"/>
                    </a:cubicBezTo>
                    <a:cubicBezTo>
                      <a:pt x="325" y="40"/>
                      <a:pt x="325" y="41"/>
                      <a:pt x="326" y="41"/>
                    </a:cubicBezTo>
                    <a:cubicBezTo>
                      <a:pt x="326" y="41"/>
                      <a:pt x="327" y="44"/>
                      <a:pt x="328" y="45"/>
                    </a:cubicBezTo>
                    <a:cubicBezTo>
                      <a:pt x="328" y="46"/>
                      <a:pt x="328" y="46"/>
                      <a:pt x="328" y="46"/>
                    </a:cubicBezTo>
                    <a:cubicBezTo>
                      <a:pt x="327" y="47"/>
                      <a:pt x="327" y="47"/>
                      <a:pt x="327" y="47"/>
                    </a:cubicBezTo>
                    <a:cubicBezTo>
                      <a:pt x="321" y="48"/>
                      <a:pt x="321" y="48"/>
                      <a:pt x="321" y="48"/>
                    </a:cubicBezTo>
                    <a:cubicBezTo>
                      <a:pt x="321" y="48"/>
                      <a:pt x="321" y="48"/>
                      <a:pt x="321" y="48"/>
                    </a:cubicBezTo>
                    <a:cubicBezTo>
                      <a:pt x="320" y="51"/>
                      <a:pt x="319" y="54"/>
                      <a:pt x="319" y="56"/>
                    </a:cubicBezTo>
                    <a:cubicBezTo>
                      <a:pt x="314" y="55"/>
                      <a:pt x="314" y="55"/>
                      <a:pt x="314" y="55"/>
                    </a:cubicBezTo>
                    <a:cubicBezTo>
                      <a:pt x="313" y="55"/>
                      <a:pt x="313" y="55"/>
                      <a:pt x="313" y="55"/>
                    </a:cubicBezTo>
                    <a:cubicBezTo>
                      <a:pt x="313" y="53"/>
                      <a:pt x="313" y="53"/>
                      <a:pt x="313" y="53"/>
                    </a:cubicBezTo>
                    <a:cubicBezTo>
                      <a:pt x="314" y="52"/>
                      <a:pt x="315" y="49"/>
                      <a:pt x="315" y="49"/>
                    </a:cubicBezTo>
                    <a:cubicBezTo>
                      <a:pt x="316" y="49"/>
                      <a:pt x="316" y="49"/>
                      <a:pt x="316" y="48"/>
                    </a:cubicBezTo>
                    <a:cubicBezTo>
                      <a:pt x="316" y="47"/>
                      <a:pt x="316" y="47"/>
                      <a:pt x="316" y="47"/>
                    </a:cubicBezTo>
                    <a:cubicBezTo>
                      <a:pt x="316" y="46"/>
                      <a:pt x="316" y="46"/>
                      <a:pt x="316" y="46"/>
                    </a:cubicBezTo>
                    <a:cubicBezTo>
                      <a:pt x="316" y="44"/>
                      <a:pt x="316" y="41"/>
                      <a:pt x="314" y="41"/>
                    </a:cubicBezTo>
                    <a:cubicBezTo>
                      <a:pt x="313" y="40"/>
                      <a:pt x="313" y="40"/>
                      <a:pt x="312" y="40"/>
                    </a:cubicBezTo>
                    <a:cubicBezTo>
                      <a:pt x="311" y="39"/>
                      <a:pt x="309" y="39"/>
                      <a:pt x="307" y="40"/>
                    </a:cubicBezTo>
                    <a:cubicBezTo>
                      <a:pt x="307" y="40"/>
                      <a:pt x="307" y="40"/>
                      <a:pt x="307" y="40"/>
                    </a:cubicBezTo>
                    <a:cubicBezTo>
                      <a:pt x="306" y="40"/>
                      <a:pt x="306" y="39"/>
                      <a:pt x="305" y="39"/>
                    </a:cubicBezTo>
                    <a:cubicBezTo>
                      <a:pt x="305" y="39"/>
                      <a:pt x="304" y="38"/>
                      <a:pt x="304" y="39"/>
                    </a:cubicBezTo>
                    <a:cubicBezTo>
                      <a:pt x="302" y="38"/>
                      <a:pt x="300" y="38"/>
                      <a:pt x="298" y="38"/>
                    </a:cubicBezTo>
                    <a:cubicBezTo>
                      <a:pt x="296" y="39"/>
                      <a:pt x="296" y="42"/>
                      <a:pt x="297" y="44"/>
                    </a:cubicBezTo>
                    <a:cubicBezTo>
                      <a:pt x="296" y="44"/>
                      <a:pt x="296" y="44"/>
                      <a:pt x="296" y="45"/>
                    </a:cubicBezTo>
                    <a:cubicBezTo>
                      <a:pt x="296" y="46"/>
                      <a:pt x="296" y="46"/>
                      <a:pt x="296" y="46"/>
                    </a:cubicBezTo>
                    <a:cubicBezTo>
                      <a:pt x="296" y="47"/>
                      <a:pt x="297" y="47"/>
                      <a:pt x="297" y="47"/>
                    </a:cubicBezTo>
                    <a:cubicBezTo>
                      <a:pt x="297" y="47"/>
                      <a:pt x="298" y="50"/>
                      <a:pt x="299" y="51"/>
                    </a:cubicBezTo>
                    <a:cubicBezTo>
                      <a:pt x="299" y="53"/>
                      <a:pt x="299" y="53"/>
                      <a:pt x="299" y="53"/>
                    </a:cubicBezTo>
                    <a:cubicBezTo>
                      <a:pt x="298" y="54"/>
                      <a:pt x="298" y="54"/>
                      <a:pt x="298" y="54"/>
                    </a:cubicBezTo>
                    <a:cubicBezTo>
                      <a:pt x="295" y="54"/>
                      <a:pt x="295" y="54"/>
                      <a:pt x="295" y="54"/>
                    </a:cubicBezTo>
                    <a:cubicBezTo>
                      <a:pt x="294" y="50"/>
                      <a:pt x="293" y="47"/>
                      <a:pt x="291" y="43"/>
                    </a:cubicBezTo>
                    <a:cubicBezTo>
                      <a:pt x="291" y="43"/>
                      <a:pt x="291" y="43"/>
                      <a:pt x="291" y="43"/>
                    </a:cubicBezTo>
                    <a:cubicBezTo>
                      <a:pt x="291" y="43"/>
                      <a:pt x="291" y="43"/>
                      <a:pt x="291" y="43"/>
                    </a:cubicBezTo>
                    <a:cubicBezTo>
                      <a:pt x="286" y="42"/>
                      <a:pt x="286" y="42"/>
                      <a:pt x="286" y="42"/>
                    </a:cubicBezTo>
                    <a:cubicBezTo>
                      <a:pt x="285" y="41"/>
                      <a:pt x="285" y="41"/>
                      <a:pt x="285" y="41"/>
                    </a:cubicBezTo>
                    <a:cubicBezTo>
                      <a:pt x="285" y="40"/>
                      <a:pt x="285" y="40"/>
                      <a:pt x="285" y="40"/>
                    </a:cubicBezTo>
                    <a:cubicBezTo>
                      <a:pt x="286" y="38"/>
                      <a:pt x="287" y="36"/>
                      <a:pt x="287" y="36"/>
                    </a:cubicBezTo>
                    <a:cubicBezTo>
                      <a:pt x="287" y="36"/>
                      <a:pt x="288" y="35"/>
                      <a:pt x="288" y="35"/>
                    </a:cubicBezTo>
                    <a:cubicBezTo>
                      <a:pt x="288" y="33"/>
                      <a:pt x="288" y="33"/>
                      <a:pt x="288" y="33"/>
                    </a:cubicBezTo>
                    <a:cubicBezTo>
                      <a:pt x="288" y="33"/>
                      <a:pt x="287" y="33"/>
                      <a:pt x="287" y="33"/>
                    </a:cubicBezTo>
                    <a:cubicBezTo>
                      <a:pt x="288" y="30"/>
                      <a:pt x="287" y="28"/>
                      <a:pt x="285" y="27"/>
                    </a:cubicBezTo>
                    <a:cubicBezTo>
                      <a:pt x="285" y="27"/>
                      <a:pt x="284" y="27"/>
                      <a:pt x="284" y="27"/>
                    </a:cubicBezTo>
                    <a:cubicBezTo>
                      <a:pt x="282" y="26"/>
                      <a:pt x="280" y="26"/>
                      <a:pt x="278" y="27"/>
                    </a:cubicBezTo>
                    <a:cubicBezTo>
                      <a:pt x="277" y="28"/>
                      <a:pt x="276" y="30"/>
                      <a:pt x="277" y="33"/>
                    </a:cubicBezTo>
                    <a:cubicBezTo>
                      <a:pt x="277" y="33"/>
                      <a:pt x="276" y="33"/>
                      <a:pt x="276" y="33"/>
                    </a:cubicBezTo>
                    <a:cubicBezTo>
                      <a:pt x="276" y="33"/>
                      <a:pt x="276" y="32"/>
                      <a:pt x="276" y="32"/>
                    </a:cubicBezTo>
                    <a:cubicBezTo>
                      <a:pt x="276" y="32"/>
                      <a:pt x="276" y="32"/>
                      <a:pt x="276" y="32"/>
                    </a:cubicBezTo>
                    <a:cubicBezTo>
                      <a:pt x="276" y="32"/>
                      <a:pt x="276" y="32"/>
                      <a:pt x="276" y="32"/>
                    </a:cubicBezTo>
                    <a:cubicBezTo>
                      <a:pt x="270" y="31"/>
                      <a:pt x="270" y="31"/>
                      <a:pt x="270" y="31"/>
                    </a:cubicBezTo>
                    <a:cubicBezTo>
                      <a:pt x="269" y="30"/>
                      <a:pt x="269" y="30"/>
                      <a:pt x="269" y="30"/>
                    </a:cubicBezTo>
                    <a:cubicBezTo>
                      <a:pt x="269" y="28"/>
                      <a:pt x="269" y="28"/>
                      <a:pt x="269" y="28"/>
                    </a:cubicBezTo>
                    <a:cubicBezTo>
                      <a:pt x="270" y="27"/>
                      <a:pt x="271" y="24"/>
                      <a:pt x="271" y="24"/>
                    </a:cubicBezTo>
                    <a:cubicBezTo>
                      <a:pt x="272" y="24"/>
                      <a:pt x="272" y="24"/>
                      <a:pt x="272" y="23"/>
                    </a:cubicBezTo>
                    <a:cubicBezTo>
                      <a:pt x="272" y="22"/>
                      <a:pt x="272" y="22"/>
                      <a:pt x="272" y="22"/>
                    </a:cubicBezTo>
                    <a:cubicBezTo>
                      <a:pt x="272" y="22"/>
                      <a:pt x="272" y="21"/>
                      <a:pt x="272" y="21"/>
                    </a:cubicBezTo>
                    <a:cubicBezTo>
                      <a:pt x="272" y="19"/>
                      <a:pt x="272" y="16"/>
                      <a:pt x="270" y="16"/>
                    </a:cubicBezTo>
                    <a:cubicBezTo>
                      <a:pt x="269" y="16"/>
                      <a:pt x="269" y="15"/>
                      <a:pt x="268" y="16"/>
                    </a:cubicBezTo>
                    <a:cubicBezTo>
                      <a:pt x="267" y="15"/>
                      <a:pt x="265" y="15"/>
                      <a:pt x="263" y="15"/>
                    </a:cubicBezTo>
                    <a:cubicBezTo>
                      <a:pt x="261" y="16"/>
                      <a:pt x="261" y="19"/>
                      <a:pt x="261" y="21"/>
                    </a:cubicBezTo>
                    <a:cubicBezTo>
                      <a:pt x="261" y="21"/>
                      <a:pt x="261" y="21"/>
                      <a:pt x="261" y="22"/>
                    </a:cubicBezTo>
                    <a:cubicBezTo>
                      <a:pt x="261" y="23"/>
                      <a:pt x="261" y="23"/>
                      <a:pt x="261" y="23"/>
                    </a:cubicBezTo>
                    <a:cubicBezTo>
                      <a:pt x="261" y="24"/>
                      <a:pt x="261" y="24"/>
                      <a:pt x="262" y="24"/>
                    </a:cubicBezTo>
                    <a:cubicBezTo>
                      <a:pt x="262" y="24"/>
                      <a:pt x="263" y="27"/>
                      <a:pt x="264" y="28"/>
                    </a:cubicBezTo>
                    <a:cubicBezTo>
                      <a:pt x="264" y="30"/>
                      <a:pt x="264" y="30"/>
                      <a:pt x="264" y="30"/>
                    </a:cubicBezTo>
                    <a:cubicBezTo>
                      <a:pt x="263" y="31"/>
                      <a:pt x="263" y="31"/>
                      <a:pt x="263" y="31"/>
                    </a:cubicBezTo>
                    <a:cubicBezTo>
                      <a:pt x="259" y="31"/>
                      <a:pt x="259" y="31"/>
                      <a:pt x="259" y="31"/>
                    </a:cubicBezTo>
                    <a:cubicBezTo>
                      <a:pt x="258" y="28"/>
                      <a:pt x="257" y="25"/>
                      <a:pt x="256" y="22"/>
                    </a:cubicBezTo>
                    <a:cubicBezTo>
                      <a:pt x="256" y="22"/>
                      <a:pt x="256" y="22"/>
                      <a:pt x="256" y="22"/>
                    </a:cubicBezTo>
                    <a:cubicBezTo>
                      <a:pt x="256" y="22"/>
                      <a:pt x="256" y="22"/>
                      <a:pt x="256" y="22"/>
                    </a:cubicBezTo>
                    <a:cubicBezTo>
                      <a:pt x="251" y="21"/>
                      <a:pt x="251" y="21"/>
                      <a:pt x="251" y="21"/>
                    </a:cubicBezTo>
                    <a:cubicBezTo>
                      <a:pt x="250" y="20"/>
                      <a:pt x="250" y="20"/>
                      <a:pt x="250" y="20"/>
                    </a:cubicBezTo>
                    <a:cubicBezTo>
                      <a:pt x="250" y="19"/>
                      <a:pt x="250" y="19"/>
                      <a:pt x="250" y="19"/>
                    </a:cubicBezTo>
                    <a:cubicBezTo>
                      <a:pt x="251" y="18"/>
                      <a:pt x="252" y="15"/>
                      <a:pt x="252" y="15"/>
                    </a:cubicBezTo>
                    <a:cubicBezTo>
                      <a:pt x="252" y="15"/>
                      <a:pt x="253" y="15"/>
                      <a:pt x="253" y="14"/>
                    </a:cubicBezTo>
                    <a:cubicBezTo>
                      <a:pt x="253" y="13"/>
                      <a:pt x="253" y="13"/>
                      <a:pt x="253" y="13"/>
                    </a:cubicBezTo>
                    <a:cubicBezTo>
                      <a:pt x="253" y="13"/>
                      <a:pt x="253" y="13"/>
                      <a:pt x="252" y="12"/>
                    </a:cubicBezTo>
                    <a:cubicBezTo>
                      <a:pt x="253" y="10"/>
                      <a:pt x="252" y="8"/>
                      <a:pt x="250" y="7"/>
                    </a:cubicBezTo>
                    <a:cubicBezTo>
                      <a:pt x="250" y="7"/>
                      <a:pt x="250" y="7"/>
                      <a:pt x="249" y="7"/>
                    </a:cubicBezTo>
                    <a:cubicBezTo>
                      <a:pt x="248" y="6"/>
                      <a:pt x="246" y="6"/>
                      <a:pt x="244" y="7"/>
                    </a:cubicBezTo>
                    <a:cubicBezTo>
                      <a:pt x="243" y="8"/>
                      <a:pt x="242" y="10"/>
                      <a:pt x="243" y="12"/>
                    </a:cubicBezTo>
                    <a:cubicBezTo>
                      <a:pt x="242" y="12"/>
                      <a:pt x="242" y="13"/>
                      <a:pt x="242" y="13"/>
                    </a:cubicBezTo>
                    <a:cubicBezTo>
                      <a:pt x="242" y="14"/>
                      <a:pt x="242" y="14"/>
                      <a:pt x="242" y="14"/>
                    </a:cubicBezTo>
                    <a:cubicBezTo>
                      <a:pt x="242" y="15"/>
                      <a:pt x="243" y="15"/>
                      <a:pt x="243" y="15"/>
                    </a:cubicBezTo>
                    <a:cubicBezTo>
                      <a:pt x="243" y="15"/>
                      <a:pt x="244" y="18"/>
                      <a:pt x="245" y="19"/>
                    </a:cubicBezTo>
                    <a:cubicBezTo>
                      <a:pt x="245" y="20"/>
                      <a:pt x="245" y="20"/>
                      <a:pt x="245" y="20"/>
                    </a:cubicBezTo>
                    <a:cubicBezTo>
                      <a:pt x="244" y="21"/>
                      <a:pt x="244" y="21"/>
                      <a:pt x="244" y="21"/>
                    </a:cubicBezTo>
                    <a:cubicBezTo>
                      <a:pt x="239" y="22"/>
                      <a:pt x="239" y="22"/>
                      <a:pt x="239" y="22"/>
                    </a:cubicBezTo>
                    <a:cubicBezTo>
                      <a:pt x="239" y="22"/>
                      <a:pt x="239" y="22"/>
                      <a:pt x="239" y="22"/>
                    </a:cubicBezTo>
                    <a:cubicBezTo>
                      <a:pt x="239" y="23"/>
                      <a:pt x="239" y="23"/>
                      <a:pt x="239" y="23"/>
                    </a:cubicBezTo>
                    <a:cubicBezTo>
                      <a:pt x="238" y="21"/>
                      <a:pt x="237" y="19"/>
                      <a:pt x="236" y="17"/>
                    </a:cubicBezTo>
                    <a:cubicBezTo>
                      <a:pt x="236" y="17"/>
                      <a:pt x="236" y="17"/>
                      <a:pt x="236" y="17"/>
                    </a:cubicBezTo>
                    <a:cubicBezTo>
                      <a:pt x="236" y="17"/>
                      <a:pt x="236" y="17"/>
                      <a:pt x="236" y="17"/>
                    </a:cubicBezTo>
                    <a:cubicBezTo>
                      <a:pt x="233" y="16"/>
                      <a:pt x="233" y="16"/>
                      <a:pt x="233" y="16"/>
                    </a:cubicBezTo>
                    <a:cubicBezTo>
                      <a:pt x="234" y="13"/>
                      <a:pt x="234" y="8"/>
                      <a:pt x="234" y="8"/>
                    </a:cubicBezTo>
                    <a:cubicBezTo>
                      <a:pt x="234" y="5"/>
                      <a:pt x="232" y="3"/>
                      <a:pt x="231" y="3"/>
                    </a:cubicBezTo>
                    <a:cubicBezTo>
                      <a:pt x="230" y="1"/>
                      <a:pt x="229" y="0"/>
                      <a:pt x="227" y="0"/>
                    </a:cubicBezTo>
                    <a:cubicBezTo>
                      <a:pt x="224" y="0"/>
                      <a:pt x="222" y="3"/>
                      <a:pt x="222" y="7"/>
                    </a:cubicBezTo>
                    <a:cubicBezTo>
                      <a:pt x="222" y="7"/>
                      <a:pt x="222" y="12"/>
                      <a:pt x="222" y="16"/>
                    </a:cubicBezTo>
                    <a:cubicBezTo>
                      <a:pt x="218" y="17"/>
                      <a:pt x="218" y="17"/>
                      <a:pt x="218" y="17"/>
                    </a:cubicBezTo>
                    <a:cubicBezTo>
                      <a:pt x="218" y="17"/>
                      <a:pt x="218" y="17"/>
                      <a:pt x="218" y="17"/>
                    </a:cubicBezTo>
                    <a:cubicBezTo>
                      <a:pt x="218" y="19"/>
                      <a:pt x="217" y="20"/>
                      <a:pt x="217" y="22"/>
                    </a:cubicBezTo>
                    <a:cubicBezTo>
                      <a:pt x="216" y="20"/>
                      <a:pt x="216" y="19"/>
                      <a:pt x="215" y="18"/>
                    </a:cubicBezTo>
                    <a:cubicBezTo>
                      <a:pt x="215" y="18"/>
                      <a:pt x="215" y="18"/>
                      <a:pt x="215" y="18"/>
                    </a:cubicBezTo>
                    <a:cubicBezTo>
                      <a:pt x="215" y="18"/>
                      <a:pt x="215" y="18"/>
                      <a:pt x="215" y="18"/>
                    </a:cubicBezTo>
                    <a:cubicBezTo>
                      <a:pt x="210" y="17"/>
                      <a:pt x="210" y="17"/>
                      <a:pt x="210" y="17"/>
                    </a:cubicBezTo>
                    <a:cubicBezTo>
                      <a:pt x="210" y="16"/>
                      <a:pt x="210" y="16"/>
                      <a:pt x="210" y="16"/>
                    </a:cubicBezTo>
                    <a:cubicBezTo>
                      <a:pt x="210" y="15"/>
                      <a:pt x="210" y="15"/>
                      <a:pt x="210" y="15"/>
                    </a:cubicBezTo>
                    <a:cubicBezTo>
                      <a:pt x="211" y="14"/>
                      <a:pt x="211" y="11"/>
                      <a:pt x="211" y="11"/>
                    </a:cubicBezTo>
                    <a:cubicBezTo>
                      <a:pt x="212" y="11"/>
                      <a:pt x="212" y="11"/>
                      <a:pt x="212" y="11"/>
                    </a:cubicBezTo>
                    <a:cubicBezTo>
                      <a:pt x="212" y="9"/>
                      <a:pt x="212" y="9"/>
                      <a:pt x="212" y="9"/>
                    </a:cubicBezTo>
                    <a:cubicBezTo>
                      <a:pt x="212" y="9"/>
                      <a:pt x="212" y="9"/>
                      <a:pt x="212" y="9"/>
                    </a:cubicBezTo>
                    <a:cubicBezTo>
                      <a:pt x="212" y="7"/>
                      <a:pt x="212" y="5"/>
                      <a:pt x="210" y="4"/>
                    </a:cubicBezTo>
                    <a:cubicBezTo>
                      <a:pt x="210" y="4"/>
                      <a:pt x="209" y="4"/>
                      <a:pt x="209" y="4"/>
                    </a:cubicBezTo>
                    <a:cubicBezTo>
                      <a:pt x="208" y="3"/>
                      <a:pt x="206" y="3"/>
                      <a:pt x="204" y="4"/>
                    </a:cubicBezTo>
                    <a:cubicBezTo>
                      <a:pt x="203" y="4"/>
                      <a:pt x="203" y="7"/>
                      <a:pt x="203" y="9"/>
                    </a:cubicBezTo>
                    <a:cubicBezTo>
                      <a:pt x="203" y="9"/>
                      <a:pt x="203" y="9"/>
                      <a:pt x="203" y="9"/>
                    </a:cubicBezTo>
                    <a:cubicBezTo>
                      <a:pt x="203" y="11"/>
                      <a:pt x="203" y="11"/>
                      <a:pt x="203" y="11"/>
                    </a:cubicBezTo>
                    <a:cubicBezTo>
                      <a:pt x="203" y="11"/>
                      <a:pt x="203" y="11"/>
                      <a:pt x="203" y="11"/>
                    </a:cubicBezTo>
                    <a:cubicBezTo>
                      <a:pt x="203" y="11"/>
                      <a:pt x="204" y="14"/>
                      <a:pt x="205" y="15"/>
                    </a:cubicBezTo>
                    <a:cubicBezTo>
                      <a:pt x="205" y="16"/>
                      <a:pt x="205" y="16"/>
                      <a:pt x="205" y="16"/>
                    </a:cubicBezTo>
                    <a:cubicBezTo>
                      <a:pt x="204" y="17"/>
                      <a:pt x="204" y="17"/>
                      <a:pt x="204" y="17"/>
                    </a:cubicBezTo>
                    <a:cubicBezTo>
                      <a:pt x="200" y="18"/>
                      <a:pt x="200" y="18"/>
                      <a:pt x="200" y="18"/>
                    </a:cubicBezTo>
                    <a:cubicBezTo>
                      <a:pt x="200" y="18"/>
                      <a:pt x="200" y="18"/>
                      <a:pt x="200" y="18"/>
                    </a:cubicBezTo>
                    <a:cubicBezTo>
                      <a:pt x="199" y="19"/>
                      <a:pt x="199" y="20"/>
                      <a:pt x="199" y="21"/>
                    </a:cubicBezTo>
                    <a:cubicBezTo>
                      <a:pt x="198" y="21"/>
                      <a:pt x="198" y="20"/>
                      <a:pt x="198" y="20"/>
                    </a:cubicBezTo>
                    <a:cubicBezTo>
                      <a:pt x="197" y="20"/>
                      <a:pt x="195" y="21"/>
                      <a:pt x="194" y="22"/>
                    </a:cubicBezTo>
                    <a:cubicBezTo>
                      <a:pt x="194" y="22"/>
                      <a:pt x="194" y="22"/>
                      <a:pt x="194" y="22"/>
                    </a:cubicBezTo>
                    <a:cubicBezTo>
                      <a:pt x="194" y="22"/>
                      <a:pt x="194" y="22"/>
                      <a:pt x="194" y="22"/>
                    </a:cubicBezTo>
                    <a:cubicBezTo>
                      <a:pt x="194" y="22"/>
                      <a:pt x="194" y="22"/>
                      <a:pt x="194" y="22"/>
                    </a:cubicBezTo>
                    <a:cubicBezTo>
                      <a:pt x="190" y="21"/>
                      <a:pt x="190" y="21"/>
                      <a:pt x="190" y="21"/>
                    </a:cubicBezTo>
                    <a:cubicBezTo>
                      <a:pt x="189" y="20"/>
                      <a:pt x="189" y="20"/>
                      <a:pt x="189" y="20"/>
                    </a:cubicBezTo>
                    <a:cubicBezTo>
                      <a:pt x="189" y="19"/>
                      <a:pt x="189" y="19"/>
                      <a:pt x="189" y="19"/>
                    </a:cubicBezTo>
                    <a:cubicBezTo>
                      <a:pt x="190" y="18"/>
                      <a:pt x="191" y="16"/>
                      <a:pt x="191" y="16"/>
                    </a:cubicBezTo>
                    <a:cubicBezTo>
                      <a:pt x="191" y="16"/>
                      <a:pt x="191" y="16"/>
                      <a:pt x="191" y="15"/>
                    </a:cubicBezTo>
                    <a:cubicBezTo>
                      <a:pt x="191" y="14"/>
                      <a:pt x="191" y="14"/>
                      <a:pt x="191" y="14"/>
                    </a:cubicBezTo>
                    <a:cubicBezTo>
                      <a:pt x="191" y="14"/>
                      <a:pt x="191" y="13"/>
                      <a:pt x="191" y="13"/>
                    </a:cubicBezTo>
                    <a:cubicBezTo>
                      <a:pt x="191" y="11"/>
                      <a:pt x="191" y="9"/>
                      <a:pt x="189" y="9"/>
                    </a:cubicBezTo>
                    <a:cubicBezTo>
                      <a:pt x="189" y="9"/>
                      <a:pt x="189" y="9"/>
                      <a:pt x="188" y="9"/>
                    </a:cubicBezTo>
                    <a:cubicBezTo>
                      <a:pt x="187" y="8"/>
                      <a:pt x="185" y="8"/>
                      <a:pt x="184" y="9"/>
                    </a:cubicBezTo>
                    <a:cubicBezTo>
                      <a:pt x="183" y="9"/>
                      <a:pt x="182" y="11"/>
                      <a:pt x="183" y="13"/>
                    </a:cubicBezTo>
                    <a:cubicBezTo>
                      <a:pt x="182" y="13"/>
                      <a:pt x="182" y="14"/>
                      <a:pt x="182" y="14"/>
                    </a:cubicBezTo>
                    <a:cubicBezTo>
                      <a:pt x="182" y="15"/>
                      <a:pt x="182" y="15"/>
                      <a:pt x="182" y="15"/>
                    </a:cubicBezTo>
                    <a:cubicBezTo>
                      <a:pt x="182" y="16"/>
                      <a:pt x="183" y="16"/>
                      <a:pt x="183" y="16"/>
                    </a:cubicBezTo>
                    <a:cubicBezTo>
                      <a:pt x="183" y="16"/>
                      <a:pt x="184" y="18"/>
                      <a:pt x="185" y="19"/>
                    </a:cubicBezTo>
                    <a:cubicBezTo>
                      <a:pt x="185" y="20"/>
                      <a:pt x="185" y="20"/>
                      <a:pt x="185" y="20"/>
                    </a:cubicBezTo>
                    <a:cubicBezTo>
                      <a:pt x="184" y="21"/>
                      <a:pt x="184" y="21"/>
                      <a:pt x="184" y="21"/>
                    </a:cubicBezTo>
                    <a:cubicBezTo>
                      <a:pt x="180" y="22"/>
                      <a:pt x="180" y="22"/>
                      <a:pt x="180" y="22"/>
                    </a:cubicBezTo>
                    <a:cubicBezTo>
                      <a:pt x="180" y="22"/>
                      <a:pt x="180" y="22"/>
                      <a:pt x="180" y="22"/>
                    </a:cubicBezTo>
                    <a:cubicBezTo>
                      <a:pt x="176" y="30"/>
                      <a:pt x="176" y="38"/>
                      <a:pt x="175" y="47"/>
                    </a:cubicBezTo>
                    <a:cubicBezTo>
                      <a:pt x="176" y="47"/>
                      <a:pt x="176" y="47"/>
                      <a:pt x="176" y="47"/>
                    </a:cubicBezTo>
                    <a:cubicBezTo>
                      <a:pt x="176" y="48"/>
                      <a:pt x="176" y="48"/>
                      <a:pt x="176" y="48"/>
                    </a:cubicBezTo>
                    <a:cubicBezTo>
                      <a:pt x="176" y="49"/>
                      <a:pt x="177" y="50"/>
                      <a:pt x="177" y="50"/>
                    </a:cubicBezTo>
                    <a:cubicBezTo>
                      <a:pt x="178" y="50"/>
                      <a:pt x="179" y="49"/>
                      <a:pt x="179" y="48"/>
                    </a:cubicBezTo>
                    <a:cubicBezTo>
                      <a:pt x="179" y="58"/>
                      <a:pt x="179" y="58"/>
                      <a:pt x="179" y="58"/>
                    </a:cubicBezTo>
                    <a:cubicBezTo>
                      <a:pt x="114" y="57"/>
                      <a:pt x="49" y="82"/>
                      <a:pt x="0" y="131"/>
                    </a:cubicBezTo>
                    <a:cubicBezTo>
                      <a:pt x="124" y="131"/>
                      <a:pt x="124" y="131"/>
                      <a:pt x="124" y="131"/>
                    </a:cubicBezTo>
                    <a:cubicBezTo>
                      <a:pt x="351" y="131"/>
                      <a:pt x="351" y="131"/>
                      <a:pt x="351" y="131"/>
                    </a:cubicBezTo>
                    <a:cubicBezTo>
                      <a:pt x="347" y="127"/>
                      <a:pt x="343" y="123"/>
                      <a:pt x="338" y="119"/>
                    </a:cubicBezTo>
                    <a:close/>
                    <a:moveTo>
                      <a:pt x="321" y="90"/>
                    </a:moveTo>
                    <a:cubicBezTo>
                      <a:pt x="321" y="90"/>
                      <a:pt x="321" y="90"/>
                      <a:pt x="321" y="91"/>
                    </a:cubicBezTo>
                    <a:cubicBezTo>
                      <a:pt x="321" y="106"/>
                      <a:pt x="321" y="106"/>
                      <a:pt x="321" y="106"/>
                    </a:cubicBezTo>
                    <a:cubicBezTo>
                      <a:pt x="321" y="105"/>
                      <a:pt x="320" y="105"/>
                      <a:pt x="320" y="105"/>
                    </a:cubicBezTo>
                    <a:lnTo>
                      <a:pt x="321" y="90"/>
                    </a:lnTo>
                    <a:close/>
                    <a:moveTo>
                      <a:pt x="305" y="51"/>
                    </a:moveTo>
                    <a:cubicBezTo>
                      <a:pt x="305" y="51"/>
                      <a:pt x="305" y="50"/>
                      <a:pt x="306" y="49"/>
                    </a:cubicBezTo>
                    <a:cubicBezTo>
                      <a:pt x="306" y="50"/>
                      <a:pt x="307" y="52"/>
                      <a:pt x="308" y="53"/>
                    </a:cubicBezTo>
                    <a:cubicBezTo>
                      <a:pt x="308" y="54"/>
                      <a:pt x="308" y="54"/>
                      <a:pt x="308" y="54"/>
                    </a:cubicBezTo>
                    <a:cubicBezTo>
                      <a:pt x="305" y="54"/>
                      <a:pt x="305" y="54"/>
                      <a:pt x="305" y="54"/>
                    </a:cubicBezTo>
                    <a:cubicBezTo>
                      <a:pt x="305" y="53"/>
                      <a:pt x="305" y="53"/>
                      <a:pt x="305" y="53"/>
                    </a:cubicBezTo>
                    <a:lnTo>
                      <a:pt x="305" y="51"/>
                    </a:lnTo>
                    <a:close/>
                    <a:moveTo>
                      <a:pt x="279" y="40"/>
                    </a:moveTo>
                    <a:cubicBezTo>
                      <a:pt x="279" y="41"/>
                      <a:pt x="279" y="41"/>
                      <a:pt x="279" y="41"/>
                    </a:cubicBezTo>
                    <a:cubicBezTo>
                      <a:pt x="279" y="42"/>
                      <a:pt x="279" y="42"/>
                      <a:pt x="279" y="42"/>
                    </a:cubicBezTo>
                    <a:cubicBezTo>
                      <a:pt x="279" y="40"/>
                      <a:pt x="278" y="39"/>
                      <a:pt x="278" y="38"/>
                    </a:cubicBezTo>
                    <a:cubicBezTo>
                      <a:pt x="278" y="39"/>
                      <a:pt x="279" y="39"/>
                      <a:pt x="279" y="40"/>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3" name="Freeform 22"/>
              <p:cNvSpPr>
                <a:spLocks noEditPoints="1"/>
              </p:cNvSpPr>
              <p:nvPr/>
            </p:nvSpPr>
            <p:spPr bwMode="auto">
              <a:xfrm>
                <a:off x="1042" y="2075"/>
                <a:ext cx="1013" cy="434"/>
              </a:xfrm>
              <a:custGeom>
                <a:avLst/>
                <a:gdLst>
                  <a:gd name="T0" fmla="*/ 430 w 655"/>
                  <a:gd name="T1" fmla="*/ 139 h 281"/>
                  <a:gd name="T2" fmla="*/ 423 w 655"/>
                  <a:gd name="T3" fmla="*/ 87 h 281"/>
                  <a:gd name="T4" fmla="*/ 413 w 655"/>
                  <a:gd name="T5" fmla="*/ 82 h 281"/>
                  <a:gd name="T6" fmla="*/ 417 w 655"/>
                  <a:gd name="T7" fmla="*/ 71 h 281"/>
                  <a:gd name="T8" fmla="*/ 401 w 655"/>
                  <a:gd name="T9" fmla="*/ 71 h 281"/>
                  <a:gd name="T10" fmla="*/ 404 w 655"/>
                  <a:gd name="T11" fmla="*/ 82 h 281"/>
                  <a:gd name="T12" fmla="*/ 388 w 655"/>
                  <a:gd name="T13" fmla="*/ 61 h 281"/>
                  <a:gd name="T14" fmla="*/ 376 w 655"/>
                  <a:gd name="T15" fmla="*/ 58 h 281"/>
                  <a:gd name="T16" fmla="*/ 381 w 655"/>
                  <a:gd name="T17" fmla="*/ 43 h 281"/>
                  <a:gd name="T18" fmla="*/ 365 w 655"/>
                  <a:gd name="T19" fmla="*/ 31 h 281"/>
                  <a:gd name="T20" fmla="*/ 361 w 655"/>
                  <a:gd name="T21" fmla="*/ 39 h 281"/>
                  <a:gd name="T22" fmla="*/ 344 w 655"/>
                  <a:gd name="T23" fmla="*/ 10 h 281"/>
                  <a:gd name="T24" fmla="*/ 329 w 655"/>
                  <a:gd name="T25" fmla="*/ 40 h 281"/>
                  <a:gd name="T26" fmla="*/ 317 w 655"/>
                  <a:gd name="T27" fmla="*/ 33 h 281"/>
                  <a:gd name="T28" fmla="*/ 309 w 655"/>
                  <a:gd name="T29" fmla="*/ 19 h 281"/>
                  <a:gd name="T30" fmla="*/ 306 w 655"/>
                  <a:gd name="T31" fmla="*/ 2 h 281"/>
                  <a:gd name="T32" fmla="*/ 289 w 655"/>
                  <a:gd name="T33" fmla="*/ 14 h 281"/>
                  <a:gd name="T34" fmla="*/ 294 w 655"/>
                  <a:gd name="T35" fmla="*/ 30 h 281"/>
                  <a:gd name="T36" fmla="*/ 280 w 655"/>
                  <a:gd name="T37" fmla="*/ 38 h 281"/>
                  <a:gd name="T38" fmla="*/ 266 w 655"/>
                  <a:gd name="T39" fmla="*/ 10 h 281"/>
                  <a:gd name="T40" fmla="*/ 251 w 655"/>
                  <a:gd name="T41" fmla="*/ 40 h 281"/>
                  <a:gd name="T42" fmla="*/ 240 w 655"/>
                  <a:gd name="T43" fmla="*/ 55 h 281"/>
                  <a:gd name="T44" fmla="*/ 244 w 655"/>
                  <a:gd name="T45" fmla="*/ 42 h 281"/>
                  <a:gd name="T46" fmla="*/ 225 w 655"/>
                  <a:gd name="T47" fmla="*/ 42 h 281"/>
                  <a:gd name="T48" fmla="*/ 229 w 655"/>
                  <a:gd name="T49" fmla="*/ 55 h 281"/>
                  <a:gd name="T50" fmla="*/ 218 w 655"/>
                  <a:gd name="T51" fmla="*/ 62 h 281"/>
                  <a:gd name="T52" fmla="*/ 213 w 655"/>
                  <a:gd name="T53" fmla="*/ 126 h 281"/>
                  <a:gd name="T54" fmla="*/ 192 w 655"/>
                  <a:gd name="T55" fmla="*/ 155 h 281"/>
                  <a:gd name="T56" fmla="*/ 198 w 655"/>
                  <a:gd name="T57" fmla="*/ 152 h 281"/>
                  <a:gd name="T58" fmla="*/ 186 w 655"/>
                  <a:gd name="T59" fmla="*/ 107 h 281"/>
                  <a:gd name="T60" fmla="*/ 170 w 655"/>
                  <a:gd name="T61" fmla="*/ 92 h 281"/>
                  <a:gd name="T62" fmla="*/ 158 w 655"/>
                  <a:gd name="T63" fmla="*/ 152 h 281"/>
                  <a:gd name="T64" fmla="*/ 164 w 655"/>
                  <a:gd name="T65" fmla="*/ 155 h 281"/>
                  <a:gd name="T66" fmla="*/ 154 w 655"/>
                  <a:gd name="T67" fmla="*/ 178 h 281"/>
                  <a:gd name="T68" fmla="*/ 151 w 655"/>
                  <a:gd name="T69" fmla="*/ 135 h 281"/>
                  <a:gd name="T70" fmla="*/ 143 w 655"/>
                  <a:gd name="T71" fmla="*/ 132 h 281"/>
                  <a:gd name="T72" fmla="*/ 147 w 655"/>
                  <a:gd name="T73" fmla="*/ 122 h 281"/>
                  <a:gd name="T74" fmla="*/ 135 w 655"/>
                  <a:gd name="T75" fmla="*/ 114 h 281"/>
                  <a:gd name="T76" fmla="*/ 134 w 655"/>
                  <a:gd name="T77" fmla="*/ 125 h 281"/>
                  <a:gd name="T78" fmla="*/ 128 w 655"/>
                  <a:gd name="T79" fmla="*/ 135 h 281"/>
                  <a:gd name="T80" fmla="*/ 117 w 655"/>
                  <a:gd name="T81" fmla="*/ 147 h 281"/>
                  <a:gd name="T82" fmla="*/ 120 w 655"/>
                  <a:gd name="T83" fmla="*/ 137 h 281"/>
                  <a:gd name="T84" fmla="*/ 109 w 655"/>
                  <a:gd name="T85" fmla="*/ 129 h 281"/>
                  <a:gd name="T86" fmla="*/ 107 w 655"/>
                  <a:gd name="T87" fmla="*/ 140 h 281"/>
                  <a:gd name="T88" fmla="*/ 102 w 655"/>
                  <a:gd name="T89" fmla="*/ 149 h 281"/>
                  <a:gd name="T90" fmla="*/ 93 w 655"/>
                  <a:gd name="T91" fmla="*/ 166 h 281"/>
                  <a:gd name="T92" fmla="*/ 97 w 655"/>
                  <a:gd name="T93" fmla="*/ 156 h 281"/>
                  <a:gd name="T94" fmla="*/ 86 w 655"/>
                  <a:gd name="T95" fmla="*/ 148 h 281"/>
                  <a:gd name="T96" fmla="*/ 84 w 655"/>
                  <a:gd name="T97" fmla="*/ 159 h 281"/>
                  <a:gd name="T98" fmla="*/ 79 w 655"/>
                  <a:gd name="T99" fmla="*/ 168 h 281"/>
                  <a:gd name="T100" fmla="*/ 74 w 655"/>
                  <a:gd name="T101" fmla="*/ 208 h 281"/>
                  <a:gd name="T102" fmla="*/ 0 w 655"/>
                  <a:gd name="T103" fmla="*/ 281 h 281"/>
                  <a:gd name="T104" fmla="*/ 389 w 655"/>
                  <a:gd name="T105" fmla="*/ 141 h 281"/>
                  <a:gd name="T106" fmla="*/ 389 w 655"/>
                  <a:gd name="T107" fmla="*/ 149 h 281"/>
                  <a:gd name="T108" fmla="*/ 125 w 655"/>
                  <a:gd name="T109" fmla="*/ 191 h 281"/>
                  <a:gd name="T110" fmla="*/ 323 w 655"/>
                  <a:gd name="T111" fmla="*/ 102 h 281"/>
                  <a:gd name="T112" fmla="*/ 318 w 655"/>
                  <a:gd name="T113" fmla="*/ 145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55" h="281">
                    <a:moveTo>
                      <a:pt x="424" y="155"/>
                    </a:moveTo>
                    <a:cubicBezTo>
                      <a:pt x="424" y="139"/>
                      <a:pt x="424" y="139"/>
                      <a:pt x="424" y="139"/>
                    </a:cubicBezTo>
                    <a:cubicBezTo>
                      <a:pt x="424" y="140"/>
                      <a:pt x="425" y="141"/>
                      <a:pt x="427" y="141"/>
                    </a:cubicBezTo>
                    <a:cubicBezTo>
                      <a:pt x="429" y="141"/>
                      <a:pt x="430" y="140"/>
                      <a:pt x="430" y="139"/>
                    </a:cubicBezTo>
                    <a:cubicBezTo>
                      <a:pt x="430" y="135"/>
                      <a:pt x="430" y="135"/>
                      <a:pt x="430" y="135"/>
                    </a:cubicBezTo>
                    <a:cubicBezTo>
                      <a:pt x="431" y="135"/>
                      <a:pt x="431" y="135"/>
                      <a:pt x="431" y="135"/>
                    </a:cubicBezTo>
                    <a:cubicBezTo>
                      <a:pt x="429" y="118"/>
                      <a:pt x="430" y="103"/>
                      <a:pt x="423" y="87"/>
                    </a:cubicBezTo>
                    <a:cubicBezTo>
                      <a:pt x="423" y="87"/>
                      <a:pt x="423" y="87"/>
                      <a:pt x="423" y="87"/>
                    </a:cubicBezTo>
                    <a:cubicBezTo>
                      <a:pt x="423" y="87"/>
                      <a:pt x="423" y="87"/>
                      <a:pt x="423" y="87"/>
                    </a:cubicBezTo>
                    <a:cubicBezTo>
                      <a:pt x="414" y="86"/>
                      <a:pt x="414" y="86"/>
                      <a:pt x="414" y="86"/>
                    </a:cubicBezTo>
                    <a:cubicBezTo>
                      <a:pt x="413" y="85"/>
                      <a:pt x="413" y="85"/>
                      <a:pt x="413" y="85"/>
                    </a:cubicBezTo>
                    <a:cubicBezTo>
                      <a:pt x="413" y="82"/>
                      <a:pt x="413" y="82"/>
                      <a:pt x="413" y="82"/>
                    </a:cubicBezTo>
                    <a:cubicBezTo>
                      <a:pt x="415" y="80"/>
                      <a:pt x="416" y="76"/>
                      <a:pt x="416" y="76"/>
                    </a:cubicBezTo>
                    <a:cubicBezTo>
                      <a:pt x="417" y="76"/>
                      <a:pt x="417" y="76"/>
                      <a:pt x="417" y="75"/>
                    </a:cubicBezTo>
                    <a:cubicBezTo>
                      <a:pt x="417" y="72"/>
                      <a:pt x="417" y="72"/>
                      <a:pt x="417" y="72"/>
                    </a:cubicBezTo>
                    <a:cubicBezTo>
                      <a:pt x="417" y="72"/>
                      <a:pt x="417" y="72"/>
                      <a:pt x="417" y="71"/>
                    </a:cubicBezTo>
                    <a:cubicBezTo>
                      <a:pt x="418" y="68"/>
                      <a:pt x="417" y="64"/>
                      <a:pt x="414" y="63"/>
                    </a:cubicBezTo>
                    <a:cubicBezTo>
                      <a:pt x="413" y="63"/>
                      <a:pt x="412" y="63"/>
                      <a:pt x="412" y="63"/>
                    </a:cubicBezTo>
                    <a:cubicBezTo>
                      <a:pt x="409" y="61"/>
                      <a:pt x="406" y="61"/>
                      <a:pt x="403" y="62"/>
                    </a:cubicBezTo>
                    <a:cubicBezTo>
                      <a:pt x="400" y="64"/>
                      <a:pt x="400" y="67"/>
                      <a:pt x="401" y="71"/>
                    </a:cubicBezTo>
                    <a:cubicBezTo>
                      <a:pt x="400" y="71"/>
                      <a:pt x="400" y="72"/>
                      <a:pt x="400" y="72"/>
                    </a:cubicBezTo>
                    <a:cubicBezTo>
                      <a:pt x="400" y="75"/>
                      <a:pt x="400" y="75"/>
                      <a:pt x="400" y="75"/>
                    </a:cubicBezTo>
                    <a:cubicBezTo>
                      <a:pt x="400" y="76"/>
                      <a:pt x="401" y="76"/>
                      <a:pt x="401" y="76"/>
                    </a:cubicBezTo>
                    <a:cubicBezTo>
                      <a:pt x="401" y="76"/>
                      <a:pt x="403" y="81"/>
                      <a:pt x="404" y="82"/>
                    </a:cubicBezTo>
                    <a:cubicBezTo>
                      <a:pt x="404" y="85"/>
                      <a:pt x="404" y="85"/>
                      <a:pt x="404" y="85"/>
                    </a:cubicBezTo>
                    <a:cubicBezTo>
                      <a:pt x="403" y="86"/>
                      <a:pt x="403" y="86"/>
                      <a:pt x="403" y="86"/>
                    </a:cubicBezTo>
                    <a:cubicBezTo>
                      <a:pt x="395" y="87"/>
                      <a:pt x="395" y="87"/>
                      <a:pt x="395" y="87"/>
                    </a:cubicBezTo>
                    <a:cubicBezTo>
                      <a:pt x="394" y="78"/>
                      <a:pt x="392" y="70"/>
                      <a:pt x="388" y="61"/>
                    </a:cubicBezTo>
                    <a:cubicBezTo>
                      <a:pt x="388" y="61"/>
                      <a:pt x="388" y="61"/>
                      <a:pt x="388" y="61"/>
                    </a:cubicBezTo>
                    <a:cubicBezTo>
                      <a:pt x="388" y="61"/>
                      <a:pt x="388" y="61"/>
                      <a:pt x="388" y="61"/>
                    </a:cubicBezTo>
                    <a:cubicBezTo>
                      <a:pt x="378" y="59"/>
                      <a:pt x="378" y="59"/>
                      <a:pt x="378" y="59"/>
                    </a:cubicBezTo>
                    <a:cubicBezTo>
                      <a:pt x="376" y="58"/>
                      <a:pt x="376" y="58"/>
                      <a:pt x="376" y="58"/>
                    </a:cubicBezTo>
                    <a:cubicBezTo>
                      <a:pt x="376" y="55"/>
                      <a:pt x="376" y="55"/>
                      <a:pt x="376" y="55"/>
                    </a:cubicBezTo>
                    <a:cubicBezTo>
                      <a:pt x="378" y="53"/>
                      <a:pt x="380" y="48"/>
                      <a:pt x="380" y="48"/>
                    </a:cubicBezTo>
                    <a:cubicBezTo>
                      <a:pt x="381" y="48"/>
                      <a:pt x="381" y="47"/>
                      <a:pt x="381" y="46"/>
                    </a:cubicBezTo>
                    <a:cubicBezTo>
                      <a:pt x="381" y="43"/>
                      <a:pt x="381" y="43"/>
                      <a:pt x="381" y="43"/>
                    </a:cubicBezTo>
                    <a:cubicBezTo>
                      <a:pt x="381" y="43"/>
                      <a:pt x="381" y="42"/>
                      <a:pt x="381" y="42"/>
                    </a:cubicBezTo>
                    <a:cubicBezTo>
                      <a:pt x="382" y="37"/>
                      <a:pt x="381" y="33"/>
                      <a:pt x="377" y="32"/>
                    </a:cubicBezTo>
                    <a:cubicBezTo>
                      <a:pt x="376" y="32"/>
                      <a:pt x="375" y="31"/>
                      <a:pt x="375" y="32"/>
                    </a:cubicBezTo>
                    <a:cubicBezTo>
                      <a:pt x="372" y="30"/>
                      <a:pt x="368" y="30"/>
                      <a:pt x="365" y="31"/>
                    </a:cubicBezTo>
                    <a:cubicBezTo>
                      <a:pt x="362" y="33"/>
                      <a:pt x="361" y="36"/>
                      <a:pt x="361" y="40"/>
                    </a:cubicBezTo>
                    <a:cubicBezTo>
                      <a:pt x="361" y="40"/>
                      <a:pt x="361" y="39"/>
                      <a:pt x="361" y="39"/>
                    </a:cubicBezTo>
                    <a:cubicBezTo>
                      <a:pt x="361" y="39"/>
                      <a:pt x="361" y="39"/>
                      <a:pt x="361" y="39"/>
                    </a:cubicBezTo>
                    <a:cubicBezTo>
                      <a:pt x="361" y="39"/>
                      <a:pt x="361" y="39"/>
                      <a:pt x="361" y="39"/>
                    </a:cubicBezTo>
                    <a:cubicBezTo>
                      <a:pt x="356" y="38"/>
                      <a:pt x="356" y="38"/>
                      <a:pt x="356" y="38"/>
                    </a:cubicBezTo>
                    <a:cubicBezTo>
                      <a:pt x="356" y="32"/>
                      <a:pt x="356" y="23"/>
                      <a:pt x="356" y="22"/>
                    </a:cubicBezTo>
                    <a:cubicBezTo>
                      <a:pt x="356" y="18"/>
                      <a:pt x="354" y="15"/>
                      <a:pt x="351" y="14"/>
                    </a:cubicBezTo>
                    <a:cubicBezTo>
                      <a:pt x="349" y="11"/>
                      <a:pt x="347" y="10"/>
                      <a:pt x="344" y="10"/>
                    </a:cubicBezTo>
                    <a:cubicBezTo>
                      <a:pt x="339" y="10"/>
                      <a:pt x="335" y="15"/>
                      <a:pt x="335" y="21"/>
                    </a:cubicBezTo>
                    <a:cubicBezTo>
                      <a:pt x="335" y="22"/>
                      <a:pt x="336" y="31"/>
                      <a:pt x="336" y="38"/>
                    </a:cubicBezTo>
                    <a:cubicBezTo>
                      <a:pt x="329" y="39"/>
                      <a:pt x="329" y="39"/>
                      <a:pt x="329" y="39"/>
                    </a:cubicBezTo>
                    <a:cubicBezTo>
                      <a:pt x="329" y="40"/>
                      <a:pt x="329" y="40"/>
                      <a:pt x="329" y="40"/>
                    </a:cubicBezTo>
                    <a:cubicBezTo>
                      <a:pt x="327" y="45"/>
                      <a:pt x="325" y="50"/>
                      <a:pt x="324" y="55"/>
                    </a:cubicBezTo>
                    <a:cubicBezTo>
                      <a:pt x="323" y="48"/>
                      <a:pt x="321" y="40"/>
                      <a:pt x="318" y="33"/>
                    </a:cubicBezTo>
                    <a:cubicBezTo>
                      <a:pt x="318" y="33"/>
                      <a:pt x="317" y="33"/>
                      <a:pt x="317" y="33"/>
                    </a:cubicBezTo>
                    <a:cubicBezTo>
                      <a:pt x="317" y="33"/>
                      <a:pt x="317" y="33"/>
                      <a:pt x="317" y="33"/>
                    </a:cubicBezTo>
                    <a:cubicBezTo>
                      <a:pt x="307" y="31"/>
                      <a:pt x="307" y="31"/>
                      <a:pt x="307" y="31"/>
                    </a:cubicBezTo>
                    <a:cubicBezTo>
                      <a:pt x="305" y="30"/>
                      <a:pt x="305" y="30"/>
                      <a:pt x="305" y="30"/>
                    </a:cubicBezTo>
                    <a:cubicBezTo>
                      <a:pt x="305" y="26"/>
                      <a:pt x="305" y="26"/>
                      <a:pt x="305" y="26"/>
                    </a:cubicBezTo>
                    <a:cubicBezTo>
                      <a:pt x="307" y="24"/>
                      <a:pt x="309" y="19"/>
                      <a:pt x="309" y="19"/>
                    </a:cubicBezTo>
                    <a:cubicBezTo>
                      <a:pt x="310" y="19"/>
                      <a:pt x="310" y="18"/>
                      <a:pt x="310" y="17"/>
                    </a:cubicBezTo>
                    <a:cubicBezTo>
                      <a:pt x="310" y="14"/>
                      <a:pt x="310" y="14"/>
                      <a:pt x="310" y="14"/>
                    </a:cubicBezTo>
                    <a:cubicBezTo>
                      <a:pt x="310" y="13"/>
                      <a:pt x="310" y="13"/>
                      <a:pt x="310" y="13"/>
                    </a:cubicBezTo>
                    <a:cubicBezTo>
                      <a:pt x="311" y="8"/>
                      <a:pt x="310" y="3"/>
                      <a:pt x="306" y="2"/>
                    </a:cubicBezTo>
                    <a:cubicBezTo>
                      <a:pt x="305" y="2"/>
                      <a:pt x="304" y="2"/>
                      <a:pt x="303" y="2"/>
                    </a:cubicBezTo>
                    <a:cubicBezTo>
                      <a:pt x="300" y="0"/>
                      <a:pt x="296" y="0"/>
                      <a:pt x="293" y="1"/>
                    </a:cubicBezTo>
                    <a:cubicBezTo>
                      <a:pt x="289" y="3"/>
                      <a:pt x="288" y="8"/>
                      <a:pt x="289" y="13"/>
                    </a:cubicBezTo>
                    <a:cubicBezTo>
                      <a:pt x="289" y="13"/>
                      <a:pt x="289" y="13"/>
                      <a:pt x="289" y="14"/>
                    </a:cubicBezTo>
                    <a:cubicBezTo>
                      <a:pt x="289" y="17"/>
                      <a:pt x="289" y="17"/>
                      <a:pt x="289" y="17"/>
                    </a:cubicBezTo>
                    <a:cubicBezTo>
                      <a:pt x="289" y="18"/>
                      <a:pt x="289" y="19"/>
                      <a:pt x="290" y="19"/>
                    </a:cubicBezTo>
                    <a:cubicBezTo>
                      <a:pt x="290" y="19"/>
                      <a:pt x="292" y="25"/>
                      <a:pt x="294" y="27"/>
                    </a:cubicBezTo>
                    <a:cubicBezTo>
                      <a:pt x="294" y="30"/>
                      <a:pt x="294" y="30"/>
                      <a:pt x="294" y="30"/>
                    </a:cubicBezTo>
                    <a:cubicBezTo>
                      <a:pt x="293" y="31"/>
                      <a:pt x="293" y="31"/>
                      <a:pt x="293" y="31"/>
                    </a:cubicBezTo>
                    <a:cubicBezTo>
                      <a:pt x="282" y="33"/>
                      <a:pt x="282" y="33"/>
                      <a:pt x="282" y="33"/>
                    </a:cubicBezTo>
                    <a:cubicBezTo>
                      <a:pt x="282" y="34"/>
                      <a:pt x="282" y="34"/>
                      <a:pt x="282" y="34"/>
                    </a:cubicBezTo>
                    <a:cubicBezTo>
                      <a:pt x="281" y="35"/>
                      <a:pt x="280" y="37"/>
                      <a:pt x="280" y="38"/>
                    </a:cubicBezTo>
                    <a:cubicBezTo>
                      <a:pt x="278" y="38"/>
                      <a:pt x="278" y="38"/>
                      <a:pt x="278" y="38"/>
                    </a:cubicBezTo>
                    <a:cubicBezTo>
                      <a:pt x="278" y="32"/>
                      <a:pt x="278" y="23"/>
                      <a:pt x="278" y="22"/>
                    </a:cubicBezTo>
                    <a:cubicBezTo>
                      <a:pt x="278" y="18"/>
                      <a:pt x="276" y="15"/>
                      <a:pt x="273" y="14"/>
                    </a:cubicBezTo>
                    <a:cubicBezTo>
                      <a:pt x="272" y="11"/>
                      <a:pt x="269" y="10"/>
                      <a:pt x="266" y="10"/>
                    </a:cubicBezTo>
                    <a:cubicBezTo>
                      <a:pt x="262" y="10"/>
                      <a:pt x="258" y="15"/>
                      <a:pt x="258" y="21"/>
                    </a:cubicBezTo>
                    <a:cubicBezTo>
                      <a:pt x="258" y="22"/>
                      <a:pt x="258" y="31"/>
                      <a:pt x="258" y="38"/>
                    </a:cubicBezTo>
                    <a:cubicBezTo>
                      <a:pt x="251" y="39"/>
                      <a:pt x="251" y="39"/>
                      <a:pt x="251" y="39"/>
                    </a:cubicBezTo>
                    <a:cubicBezTo>
                      <a:pt x="251" y="40"/>
                      <a:pt x="251" y="40"/>
                      <a:pt x="251" y="40"/>
                    </a:cubicBezTo>
                    <a:cubicBezTo>
                      <a:pt x="248" y="46"/>
                      <a:pt x="246" y="53"/>
                      <a:pt x="245" y="60"/>
                    </a:cubicBezTo>
                    <a:cubicBezTo>
                      <a:pt x="241" y="59"/>
                      <a:pt x="241" y="59"/>
                      <a:pt x="241" y="59"/>
                    </a:cubicBezTo>
                    <a:cubicBezTo>
                      <a:pt x="240" y="58"/>
                      <a:pt x="240" y="58"/>
                      <a:pt x="240" y="58"/>
                    </a:cubicBezTo>
                    <a:cubicBezTo>
                      <a:pt x="240" y="55"/>
                      <a:pt x="240" y="55"/>
                      <a:pt x="240" y="55"/>
                    </a:cubicBezTo>
                    <a:cubicBezTo>
                      <a:pt x="242" y="53"/>
                      <a:pt x="243" y="48"/>
                      <a:pt x="243" y="48"/>
                    </a:cubicBezTo>
                    <a:cubicBezTo>
                      <a:pt x="244" y="48"/>
                      <a:pt x="245" y="47"/>
                      <a:pt x="245" y="46"/>
                    </a:cubicBezTo>
                    <a:cubicBezTo>
                      <a:pt x="245" y="43"/>
                      <a:pt x="245" y="43"/>
                      <a:pt x="245" y="43"/>
                    </a:cubicBezTo>
                    <a:cubicBezTo>
                      <a:pt x="245" y="43"/>
                      <a:pt x="245" y="42"/>
                      <a:pt x="244" y="42"/>
                    </a:cubicBezTo>
                    <a:cubicBezTo>
                      <a:pt x="245" y="37"/>
                      <a:pt x="244" y="33"/>
                      <a:pt x="240" y="32"/>
                    </a:cubicBezTo>
                    <a:cubicBezTo>
                      <a:pt x="240" y="32"/>
                      <a:pt x="239" y="31"/>
                      <a:pt x="238" y="32"/>
                    </a:cubicBezTo>
                    <a:cubicBezTo>
                      <a:pt x="235" y="30"/>
                      <a:pt x="231" y="30"/>
                      <a:pt x="228" y="31"/>
                    </a:cubicBezTo>
                    <a:cubicBezTo>
                      <a:pt x="225" y="33"/>
                      <a:pt x="224" y="37"/>
                      <a:pt x="225" y="42"/>
                    </a:cubicBezTo>
                    <a:cubicBezTo>
                      <a:pt x="224" y="42"/>
                      <a:pt x="224" y="43"/>
                      <a:pt x="224" y="43"/>
                    </a:cubicBezTo>
                    <a:cubicBezTo>
                      <a:pt x="224" y="46"/>
                      <a:pt x="224" y="46"/>
                      <a:pt x="224" y="46"/>
                    </a:cubicBezTo>
                    <a:cubicBezTo>
                      <a:pt x="224" y="47"/>
                      <a:pt x="225" y="48"/>
                      <a:pt x="226" y="48"/>
                    </a:cubicBezTo>
                    <a:cubicBezTo>
                      <a:pt x="226" y="48"/>
                      <a:pt x="228" y="53"/>
                      <a:pt x="229" y="55"/>
                    </a:cubicBezTo>
                    <a:cubicBezTo>
                      <a:pt x="229" y="58"/>
                      <a:pt x="229" y="58"/>
                      <a:pt x="229" y="58"/>
                    </a:cubicBezTo>
                    <a:cubicBezTo>
                      <a:pt x="228" y="59"/>
                      <a:pt x="228" y="59"/>
                      <a:pt x="228" y="59"/>
                    </a:cubicBezTo>
                    <a:cubicBezTo>
                      <a:pt x="218" y="61"/>
                      <a:pt x="218" y="61"/>
                      <a:pt x="218" y="61"/>
                    </a:cubicBezTo>
                    <a:cubicBezTo>
                      <a:pt x="218" y="62"/>
                      <a:pt x="218" y="62"/>
                      <a:pt x="218" y="62"/>
                    </a:cubicBezTo>
                    <a:cubicBezTo>
                      <a:pt x="210" y="80"/>
                      <a:pt x="210" y="99"/>
                      <a:pt x="209" y="119"/>
                    </a:cubicBezTo>
                    <a:cubicBezTo>
                      <a:pt x="210" y="119"/>
                      <a:pt x="210" y="119"/>
                      <a:pt x="210" y="119"/>
                    </a:cubicBezTo>
                    <a:cubicBezTo>
                      <a:pt x="210" y="123"/>
                      <a:pt x="210" y="123"/>
                      <a:pt x="210" y="123"/>
                    </a:cubicBezTo>
                    <a:cubicBezTo>
                      <a:pt x="210" y="125"/>
                      <a:pt x="211" y="126"/>
                      <a:pt x="213" y="126"/>
                    </a:cubicBezTo>
                    <a:cubicBezTo>
                      <a:pt x="215" y="126"/>
                      <a:pt x="216" y="125"/>
                      <a:pt x="216" y="123"/>
                    </a:cubicBezTo>
                    <a:cubicBezTo>
                      <a:pt x="217" y="158"/>
                      <a:pt x="217" y="158"/>
                      <a:pt x="217" y="158"/>
                    </a:cubicBezTo>
                    <a:cubicBezTo>
                      <a:pt x="209" y="161"/>
                      <a:pt x="200" y="163"/>
                      <a:pt x="192" y="166"/>
                    </a:cubicBezTo>
                    <a:cubicBezTo>
                      <a:pt x="192" y="155"/>
                      <a:pt x="192" y="155"/>
                      <a:pt x="192" y="155"/>
                    </a:cubicBezTo>
                    <a:cubicBezTo>
                      <a:pt x="192" y="156"/>
                      <a:pt x="193" y="157"/>
                      <a:pt x="195" y="157"/>
                    </a:cubicBezTo>
                    <a:cubicBezTo>
                      <a:pt x="196" y="157"/>
                      <a:pt x="197" y="156"/>
                      <a:pt x="197" y="155"/>
                    </a:cubicBezTo>
                    <a:cubicBezTo>
                      <a:pt x="197" y="152"/>
                      <a:pt x="197" y="152"/>
                      <a:pt x="197" y="152"/>
                    </a:cubicBezTo>
                    <a:cubicBezTo>
                      <a:pt x="198" y="152"/>
                      <a:pt x="198" y="152"/>
                      <a:pt x="198" y="152"/>
                    </a:cubicBezTo>
                    <a:cubicBezTo>
                      <a:pt x="197" y="136"/>
                      <a:pt x="197" y="122"/>
                      <a:pt x="191" y="107"/>
                    </a:cubicBezTo>
                    <a:cubicBezTo>
                      <a:pt x="191" y="107"/>
                      <a:pt x="191" y="107"/>
                      <a:pt x="191" y="107"/>
                    </a:cubicBezTo>
                    <a:cubicBezTo>
                      <a:pt x="191" y="107"/>
                      <a:pt x="191" y="107"/>
                      <a:pt x="191" y="107"/>
                    </a:cubicBezTo>
                    <a:cubicBezTo>
                      <a:pt x="186" y="107"/>
                      <a:pt x="186" y="107"/>
                      <a:pt x="186" y="107"/>
                    </a:cubicBezTo>
                    <a:cubicBezTo>
                      <a:pt x="187" y="101"/>
                      <a:pt x="187" y="94"/>
                      <a:pt x="187" y="94"/>
                    </a:cubicBezTo>
                    <a:cubicBezTo>
                      <a:pt x="187" y="91"/>
                      <a:pt x="185" y="88"/>
                      <a:pt x="183" y="87"/>
                    </a:cubicBezTo>
                    <a:cubicBezTo>
                      <a:pt x="181" y="85"/>
                      <a:pt x="179" y="83"/>
                      <a:pt x="177" y="83"/>
                    </a:cubicBezTo>
                    <a:cubicBezTo>
                      <a:pt x="173" y="83"/>
                      <a:pt x="170" y="87"/>
                      <a:pt x="170" y="92"/>
                    </a:cubicBezTo>
                    <a:cubicBezTo>
                      <a:pt x="170" y="93"/>
                      <a:pt x="170" y="101"/>
                      <a:pt x="170" y="106"/>
                    </a:cubicBezTo>
                    <a:cubicBezTo>
                      <a:pt x="165" y="107"/>
                      <a:pt x="165" y="107"/>
                      <a:pt x="165" y="107"/>
                    </a:cubicBezTo>
                    <a:cubicBezTo>
                      <a:pt x="165" y="108"/>
                      <a:pt x="165" y="108"/>
                      <a:pt x="165" y="108"/>
                    </a:cubicBezTo>
                    <a:cubicBezTo>
                      <a:pt x="158" y="122"/>
                      <a:pt x="159" y="136"/>
                      <a:pt x="158" y="152"/>
                    </a:cubicBezTo>
                    <a:cubicBezTo>
                      <a:pt x="159" y="152"/>
                      <a:pt x="159" y="152"/>
                      <a:pt x="159" y="152"/>
                    </a:cubicBezTo>
                    <a:cubicBezTo>
                      <a:pt x="159" y="155"/>
                      <a:pt x="159" y="155"/>
                      <a:pt x="159" y="155"/>
                    </a:cubicBezTo>
                    <a:cubicBezTo>
                      <a:pt x="159" y="156"/>
                      <a:pt x="160" y="157"/>
                      <a:pt x="161" y="157"/>
                    </a:cubicBezTo>
                    <a:cubicBezTo>
                      <a:pt x="163" y="157"/>
                      <a:pt x="164" y="156"/>
                      <a:pt x="164" y="155"/>
                    </a:cubicBezTo>
                    <a:cubicBezTo>
                      <a:pt x="164" y="175"/>
                      <a:pt x="164" y="175"/>
                      <a:pt x="164" y="175"/>
                    </a:cubicBezTo>
                    <a:cubicBezTo>
                      <a:pt x="160" y="176"/>
                      <a:pt x="156" y="178"/>
                      <a:pt x="152" y="180"/>
                    </a:cubicBezTo>
                    <a:cubicBezTo>
                      <a:pt x="152" y="176"/>
                      <a:pt x="152" y="176"/>
                      <a:pt x="152" y="176"/>
                    </a:cubicBezTo>
                    <a:cubicBezTo>
                      <a:pt x="152" y="177"/>
                      <a:pt x="153" y="178"/>
                      <a:pt x="154" y="178"/>
                    </a:cubicBezTo>
                    <a:cubicBezTo>
                      <a:pt x="156" y="178"/>
                      <a:pt x="157" y="177"/>
                      <a:pt x="157" y="176"/>
                    </a:cubicBezTo>
                    <a:cubicBezTo>
                      <a:pt x="157" y="173"/>
                      <a:pt x="157" y="173"/>
                      <a:pt x="157" y="173"/>
                    </a:cubicBezTo>
                    <a:cubicBezTo>
                      <a:pt x="158" y="173"/>
                      <a:pt x="158" y="173"/>
                      <a:pt x="158" y="173"/>
                    </a:cubicBezTo>
                    <a:cubicBezTo>
                      <a:pt x="156" y="160"/>
                      <a:pt x="157" y="147"/>
                      <a:pt x="151" y="135"/>
                    </a:cubicBezTo>
                    <a:cubicBezTo>
                      <a:pt x="151" y="135"/>
                      <a:pt x="151" y="135"/>
                      <a:pt x="151" y="135"/>
                    </a:cubicBezTo>
                    <a:cubicBezTo>
                      <a:pt x="151" y="135"/>
                      <a:pt x="151" y="135"/>
                      <a:pt x="151" y="135"/>
                    </a:cubicBezTo>
                    <a:cubicBezTo>
                      <a:pt x="144" y="133"/>
                      <a:pt x="144" y="133"/>
                      <a:pt x="144" y="133"/>
                    </a:cubicBezTo>
                    <a:cubicBezTo>
                      <a:pt x="143" y="132"/>
                      <a:pt x="143" y="132"/>
                      <a:pt x="143" y="132"/>
                    </a:cubicBezTo>
                    <a:cubicBezTo>
                      <a:pt x="143" y="130"/>
                      <a:pt x="143" y="130"/>
                      <a:pt x="143" y="130"/>
                    </a:cubicBezTo>
                    <a:cubicBezTo>
                      <a:pt x="144" y="129"/>
                      <a:pt x="146" y="125"/>
                      <a:pt x="146" y="125"/>
                    </a:cubicBezTo>
                    <a:cubicBezTo>
                      <a:pt x="146" y="125"/>
                      <a:pt x="147" y="125"/>
                      <a:pt x="147" y="124"/>
                    </a:cubicBezTo>
                    <a:cubicBezTo>
                      <a:pt x="147" y="122"/>
                      <a:pt x="147" y="122"/>
                      <a:pt x="147" y="122"/>
                    </a:cubicBezTo>
                    <a:cubicBezTo>
                      <a:pt x="147" y="122"/>
                      <a:pt x="146" y="122"/>
                      <a:pt x="146" y="122"/>
                    </a:cubicBezTo>
                    <a:cubicBezTo>
                      <a:pt x="147" y="119"/>
                      <a:pt x="146" y="116"/>
                      <a:pt x="144" y="115"/>
                    </a:cubicBezTo>
                    <a:cubicBezTo>
                      <a:pt x="143" y="115"/>
                      <a:pt x="143" y="115"/>
                      <a:pt x="142" y="115"/>
                    </a:cubicBezTo>
                    <a:cubicBezTo>
                      <a:pt x="140" y="113"/>
                      <a:pt x="137" y="113"/>
                      <a:pt x="135" y="114"/>
                    </a:cubicBezTo>
                    <a:cubicBezTo>
                      <a:pt x="133" y="115"/>
                      <a:pt x="133" y="118"/>
                      <a:pt x="133" y="121"/>
                    </a:cubicBezTo>
                    <a:cubicBezTo>
                      <a:pt x="133" y="122"/>
                      <a:pt x="133" y="122"/>
                      <a:pt x="133" y="122"/>
                    </a:cubicBezTo>
                    <a:cubicBezTo>
                      <a:pt x="133" y="124"/>
                      <a:pt x="133" y="124"/>
                      <a:pt x="133" y="124"/>
                    </a:cubicBezTo>
                    <a:cubicBezTo>
                      <a:pt x="133" y="125"/>
                      <a:pt x="133" y="125"/>
                      <a:pt x="134" y="125"/>
                    </a:cubicBezTo>
                    <a:cubicBezTo>
                      <a:pt x="134" y="125"/>
                      <a:pt x="135" y="129"/>
                      <a:pt x="136" y="130"/>
                    </a:cubicBezTo>
                    <a:cubicBezTo>
                      <a:pt x="136" y="132"/>
                      <a:pt x="136" y="132"/>
                      <a:pt x="136" y="132"/>
                    </a:cubicBezTo>
                    <a:cubicBezTo>
                      <a:pt x="135" y="133"/>
                      <a:pt x="135" y="133"/>
                      <a:pt x="135" y="133"/>
                    </a:cubicBezTo>
                    <a:cubicBezTo>
                      <a:pt x="128" y="135"/>
                      <a:pt x="128" y="135"/>
                      <a:pt x="128" y="135"/>
                    </a:cubicBezTo>
                    <a:cubicBezTo>
                      <a:pt x="128" y="135"/>
                      <a:pt x="128" y="135"/>
                      <a:pt x="128" y="135"/>
                    </a:cubicBezTo>
                    <a:cubicBezTo>
                      <a:pt x="126" y="140"/>
                      <a:pt x="125" y="144"/>
                      <a:pt x="124" y="149"/>
                    </a:cubicBezTo>
                    <a:cubicBezTo>
                      <a:pt x="117" y="148"/>
                      <a:pt x="117" y="148"/>
                      <a:pt x="117" y="148"/>
                    </a:cubicBezTo>
                    <a:cubicBezTo>
                      <a:pt x="117" y="147"/>
                      <a:pt x="117" y="147"/>
                      <a:pt x="117" y="147"/>
                    </a:cubicBezTo>
                    <a:cubicBezTo>
                      <a:pt x="117" y="145"/>
                      <a:pt x="117" y="145"/>
                      <a:pt x="117" y="145"/>
                    </a:cubicBezTo>
                    <a:cubicBezTo>
                      <a:pt x="118" y="143"/>
                      <a:pt x="119" y="140"/>
                      <a:pt x="119" y="140"/>
                    </a:cubicBezTo>
                    <a:cubicBezTo>
                      <a:pt x="119" y="140"/>
                      <a:pt x="120" y="140"/>
                      <a:pt x="120" y="139"/>
                    </a:cubicBezTo>
                    <a:cubicBezTo>
                      <a:pt x="120" y="137"/>
                      <a:pt x="120" y="137"/>
                      <a:pt x="120" y="137"/>
                    </a:cubicBezTo>
                    <a:cubicBezTo>
                      <a:pt x="120" y="137"/>
                      <a:pt x="120" y="136"/>
                      <a:pt x="120" y="136"/>
                    </a:cubicBezTo>
                    <a:cubicBezTo>
                      <a:pt x="120" y="133"/>
                      <a:pt x="120" y="130"/>
                      <a:pt x="117" y="129"/>
                    </a:cubicBezTo>
                    <a:cubicBezTo>
                      <a:pt x="116" y="129"/>
                      <a:pt x="116" y="129"/>
                      <a:pt x="115" y="129"/>
                    </a:cubicBezTo>
                    <a:cubicBezTo>
                      <a:pt x="113" y="128"/>
                      <a:pt x="111" y="128"/>
                      <a:pt x="109" y="129"/>
                    </a:cubicBezTo>
                    <a:cubicBezTo>
                      <a:pt x="106" y="130"/>
                      <a:pt x="106" y="133"/>
                      <a:pt x="106" y="136"/>
                    </a:cubicBezTo>
                    <a:cubicBezTo>
                      <a:pt x="106" y="136"/>
                      <a:pt x="106" y="137"/>
                      <a:pt x="106" y="137"/>
                    </a:cubicBezTo>
                    <a:cubicBezTo>
                      <a:pt x="106" y="139"/>
                      <a:pt x="106" y="139"/>
                      <a:pt x="106" y="139"/>
                    </a:cubicBezTo>
                    <a:cubicBezTo>
                      <a:pt x="106" y="140"/>
                      <a:pt x="106" y="140"/>
                      <a:pt x="107" y="140"/>
                    </a:cubicBezTo>
                    <a:cubicBezTo>
                      <a:pt x="107" y="140"/>
                      <a:pt x="108" y="144"/>
                      <a:pt x="109" y="145"/>
                    </a:cubicBezTo>
                    <a:cubicBezTo>
                      <a:pt x="109" y="147"/>
                      <a:pt x="109" y="147"/>
                      <a:pt x="109" y="147"/>
                    </a:cubicBezTo>
                    <a:cubicBezTo>
                      <a:pt x="109" y="148"/>
                      <a:pt x="109" y="148"/>
                      <a:pt x="109" y="148"/>
                    </a:cubicBezTo>
                    <a:cubicBezTo>
                      <a:pt x="102" y="149"/>
                      <a:pt x="102" y="149"/>
                      <a:pt x="102" y="149"/>
                    </a:cubicBezTo>
                    <a:cubicBezTo>
                      <a:pt x="102" y="150"/>
                      <a:pt x="102" y="150"/>
                      <a:pt x="102" y="150"/>
                    </a:cubicBezTo>
                    <a:cubicBezTo>
                      <a:pt x="99" y="155"/>
                      <a:pt x="98" y="161"/>
                      <a:pt x="97" y="167"/>
                    </a:cubicBezTo>
                    <a:cubicBezTo>
                      <a:pt x="94" y="167"/>
                      <a:pt x="94" y="167"/>
                      <a:pt x="94" y="167"/>
                    </a:cubicBezTo>
                    <a:cubicBezTo>
                      <a:pt x="93" y="166"/>
                      <a:pt x="93" y="166"/>
                      <a:pt x="93" y="166"/>
                    </a:cubicBezTo>
                    <a:cubicBezTo>
                      <a:pt x="93" y="164"/>
                      <a:pt x="93" y="164"/>
                      <a:pt x="93" y="164"/>
                    </a:cubicBezTo>
                    <a:cubicBezTo>
                      <a:pt x="94" y="162"/>
                      <a:pt x="96" y="159"/>
                      <a:pt x="96" y="159"/>
                    </a:cubicBezTo>
                    <a:cubicBezTo>
                      <a:pt x="96" y="159"/>
                      <a:pt x="97" y="159"/>
                      <a:pt x="97" y="158"/>
                    </a:cubicBezTo>
                    <a:cubicBezTo>
                      <a:pt x="97" y="156"/>
                      <a:pt x="97" y="156"/>
                      <a:pt x="97" y="156"/>
                    </a:cubicBezTo>
                    <a:cubicBezTo>
                      <a:pt x="97" y="156"/>
                      <a:pt x="96" y="156"/>
                      <a:pt x="96" y="156"/>
                    </a:cubicBezTo>
                    <a:cubicBezTo>
                      <a:pt x="97" y="153"/>
                      <a:pt x="96" y="150"/>
                      <a:pt x="94" y="149"/>
                    </a:cubicBezTo>
                    <a:cubicBezTo>
                      <a:pt x="93" y="149"/>
                      <a:pt x="93" y="149"/>
                      <a:pt x="92" y="149"/>
                    </a:cubicBezTo>
                    <a:cubicBezTo>
                      <a:pt x="90" y="148"/>
                      <a:pt x="88" y="148"/>
                      <a:pt x="86" y="148"/>
                    </a:cubicBezTo>
                    <a:cubicBezTo>
                      <a:pt x="83" y="150"/>
                      <a:pt x="83" y="152"/>
                      <a:pt x="83" y="155"/>
                    </a:cubicBezTo>
                    <a:cubicBezTo>
                      <a:pt x="83" y="156"/>
                      <a:pt x="83" y="156"/>
                      <a:pt x="83" y="156"/>
                    </a:cubicBezTo>
                    <a:cubicBezTo>
                      <a:pt x="83" y="158"/>
                      <a:pt x="83" y="158"/>
                      <a:pt x="83" y="158"/>
                    </a:cubicBezTo>
                    <a:cubicBezTo>
                      <a:pt x="83" y="159"/>
                      <a:pt x="84" y="159"/>
                      <a:pt x="84" y="159"/>
                    </a:cubicBezTo>
                    <a:cubicBezTo>
                      <a:pt x="84" y="159"/>
                      <a:pt x="85" y="163"/>
                      <a:pt x="87" y="164"/>
                    </a:cubicBezTo>
                    <a:cubicBezTo>
                      <a:pt x="87" y="166"/>
                      <a:pt x="87" y="166"/>
                      <a:pt x="87" y="166"/>
                    </a:cubicBezTo>
                    <a:cubicBezTo>
                      <a:pt x="86" y="167"/>
                      <a:pt x="86" y="167"/>
                      <a:pt x="86" y="167"/>
                    </a:cubicBezTo>
                    <a:cubicBezTo>
                      <a:pt x="79" y="168"/>
                      <a:pt x="79" y="168"/>
                      <a:pt x="79" y="168"/>
                    </a:cubicBezTo>
                    <a:cubicBezTo>
                      <a:pt x="79" y="168"/>
                      <a:pt x="79" y="168"/>
                      <a:pt x="79" y="168"/>
                    </a:cubicBezTo>
                    <a:cubicBezTo>
                      <a:pt x="73" y="180"/>
                      <a:pt x="74" y="192"/>
                      <a:pt x="73" y="206"/>
                    </a:cubicBezTo>
                    <a:cubicBezTo>
                      <a:pt x="74" y="206"/>
                      <a:pt x="74" y="206"/>
                      <a:pt x="74" y="206"/>
                    </a:cubicBezTo>
                    <a:cubicBezTo>
                      <a:pt x="74" y="208"/>
                      <a:pt x="74" y="208"/>
                      <a:pt x="74" y="208"/>
                    </a:cubicBezTo>
                    <a:cubicBezTo>
                      <a:pt x="74" y="209"/>
                      <a:pt x="75" y="210"/>
                      <a:pt x="76" y="210"/>
                    </a:cubicBezTo>
                    <a:cubicBezTo>
                      <a:pt x="77" y="210"/>
                      <a:pt x="78" y="209"/>
                      <a:pt x="78" y="208"/>
                    </a:cubicBezTo>
                    <a:cubicBezTo>
                      <a:pt x="78" y="218"/>
                      <a:pt x="78" y="218"/>
                      <a:pt x="78" y="218"/>
                    </a:cubicBezTo>
                    <a:cubicBezTo>
                      <a:pt x="50" y="236"/>
                      <a:pt x="24" y="257"/>
                      <a:pt x="0" y="281"/>
                    </a:cubicBezTo>
                    <a:cubicBezTo>
                      <a:pt x="232" y="281"/>
                      <a:pt x="232" y="281"/>
                      <a:pt x="232" y="281"/>
                    </a:cubicBezTo>
                    <a:cubicBezTo>
                      <a:pt x="655" y="281"/>
                      <a:pt x="655" y="281"/>
                      <a:pt x="655" y="281"/>
                    </a:cubicBezTo>
                    <a:cubicBezTo>
                      <a:pt x="589" y="215"/>
                      <a:pt x="508" y="173"/>
                      <a:pt x="424" y="155"/>
                    </a:cubicBezTo>
                    <a:close/>
                    <a:moveTo>
                      <a:pt x="389" y="141"/>
                    </a:moveTo>
                    <a:cubicBezTo>
                      <a:pt x="390" y="141"/>
                      <a:pt x="390" y="141"/>
                      <a:pt x="391" y="141"/>
                    </a:cubicBezTo>
                    <a:cubicBezTo>
                      <a:pt x="392" y="141"/>
                      <a:pt x="394" y="140"/>
                      <a:pt x="394" y="139"/>
                    </a:cubicBezTo>
                    <a:cubicBezTo>
                      <a:pt x="394" y="150"/>
                      <a:pt x="394" y="150"/>
                      <a:pt x="394" y="150"/>
                    </a:cubicBezTo>
                    <a:cubicBezTo>
                      <a:pt x="392" y="150"/>
                      <a:pt x="390" y="150"/>
                      <a:pt x="389" y="149"/>
                    </a:cubicBezTo>
                    <a:lnTo>
                      <a:pt x="389" y="141"/>
                    </a:lnTo>
                    <a:close/>
                    <a:moveTo>
                      <a:pt x="126" y="191"/>
                    </a:moveTo>
                    <a:cubicBezTo>
                      <a:pt x="126" y="191"/>
                      <a:pt x="126" y="191"/>
                      <a:pt x="126" y="191"/>
                    </a:cubicBezTo>
                    <a:cubicBezTo>
                      <a:pt x="126" y="191"/>
                      <a:pt x="126" y="191"/>
                      <a:pt x="125" y="191"/>
                    </a:cubicBezTo>
                    <a:lnTo>
                      <a:pt x="126" y="191"/>
                    </a:lnTo>
                    <a:close/>
                    <a:moveTo>
                      <a:pt x="318" y="145"/>
                    </a:moveTo>
                    <a:cubicBezTo>
                      <a:pt x="319" y="99"/>
                      <a:pt x="319" y="99"/>
                      <a:pt x="319" y="99"/>
                    </a:cubicBezTo>
                    <a:cubicBezTo>
                      <a:pt x="319" y="101"/>
                      <a:pt x="321" y="102"/>
                      <a:pt x="323" y="102"/>
                    </a:cubicBezTo>
                    <a:cubicBezTo>
                      <a:pt x="324" y="102"/>
                      <a:pt x="326" y="101"/>
                      <a:pt x="326" y="100"/>
                    </a:cubicBezTo>
                    <a:cubicBezTo>
                      <a:pt x="327" y="99"/>
                      <a:pt x="328" y="98"/>
                      <a:pt x="328" y="97"/>
                    </a:cubicBezTo>
                    <a:cubicBezTo>
                      <a:pt x="329" y="145"/>
                      <a:pt x="329" y="145"/>
                      <a:pt x="329" y="145"/>
                    </a:cubicBezTo>
                    <a:cubicBezTo>
                      <a:pt x="325" y="145"/>
                      <a:pt x="321" y="145"/>
                      <a:pt x="318" y="145"/>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4" name="Rectangle 23"/>
              <p:cNvSpPr>
                <a:spLocks noChangeArrowheads="1"/>
              </p:cNvSpPr>
              <p:nvPr/>
            </p:nvSpPr>
            <p:spPr bwMode="auto">
              <a:xfrm>
                <a:off x="2185" y="1838"/>
                <a:ext cx="29" cy="9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5" name="Freeform 24"/>
              <p:cNvSpPr>
                <a:spLocks/>
              </p:cNvSpPr>
              <p:nvPr/>
            </p:nvSpPr>
            <p:spPr bwMode="auto">
              <a:xfrm>
                <a:off x="2158" y="2198"/>
                <a:ext cx="39" cy="19"/>
              </a:xfrm>
              <a:custGeom>
                <a:avLst/>
                <a:gdLst>
                  <a:gd name="T0" fmla="*/ 13 w 25"/>
                  <a:gd name="T1" fmla="*/ 0 h 12"/>
                  <a:gd name="T2" fmla="*/ 0 w 25"/>
                  <a:gd name="T3" fmla="*/ 12 h 12"/>
                  <a:gd name="T4" fmla="*/ 25 w 25"/>
                  <a:gd name="T5" fmla="*/ 12 h 12"/>
                  <a:gd name="T6" fmla="*/ 13 w 25"/>
                  <a:gd name="T7" fmla="*/ 0 h 12"/>
                </a:gdLst>
                <a:ahLst/>
                <a:cxnLst>
                  <a:cxn ang="0">
                    <a:pos x="T0" y="T1"/>
                  </a:cxn>
                  <a:cxn ang="0">
                    <a:pos x="T2" y="T3"/>
                  </a:cxn>
                  <a:cxn ang="0">
                    <a:pos x="T4" y="T5"/>
                  </a:cxn>
                  <a:cxn ang="0">
                    <a:pos x="T6" y="T7"/>
                  </a:cxn>
                </a:cxnLst>
                <a:rect l="0" t="0" r="r" b="b"/>
                <a:pathLst>
                  <a:path w="25" h="12">
                    <a:moveTo>
                      <a:pt x="13" y="0"/>
                    </a:moveTo>
                    <a:cubicBezTo>
                      <a:pt x="6" y="0"/>
                      <a:pt x="0" y="5"/>
                      <a:pt x="0" y="12"/>
                    </a:cubicBezTo>
                    <a:cubicBezTo>
                      <a:pt x="25" y="12"/>
                      <a:pt x="25" y="12"/>
                      <a:pt x="25" y="12"/>
                    </a:cubicBezTo>
                    <a:cubicBezTo>
                      <a:pt x="25" y="5"/>
                      <a:pt x="19" y="0"/>
                      <a:pt x="13" y="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6" name="Freeform 25"/>
              <p:cNvSpPr>
                <a:spLocks/>
              </p:cNvSpPr>
              <p:nvPr/>
            </p:nvSpPr>
            <p:spPr bwMode="auto">
              <a:xfrm>
                <a:off x="2200" y="2198"/>
                <a:ext cx="39" cy="19"/>
              </a:xfrm>
              <a:custGeom>
                <a:avLst/>
                <a:gdLst>
                  <a:gd name="T0" fmla="*/ 13 w 25"/>
                  <a:gd name="T1" fmla="*/ 0 h 12"/>
                  <a:gd name="T2" fmla="*/ 0 w 25"/>
                  <a:gd name="T3" fmla="*/ 12 h 12"/>
                  <a:gd name="T4" fmla="*/ 25 w 25"/>
                  <a:gd name="T5" fmla="*/ 12 h 12"/>
                  <a:gd name="T6" fmla="*/ 13 w 25"/>
                  <a:gd name="T7" fmla="*/ 0 h 12"/>
                </a:gdLst>
                <a:ahLst/>
                <a:cxnLst>
                  <a:cxn ang="0">
                    <a:pos x="T0" y="T1"/>
                  </a:cxn>
                  <a:cxn ang="0">
                    <a:pos x="T2" y="T3"/>
                  </a:cxn>
                  <a:cxn ang="0">
                    <a:pos x="T4" y="T5"/>
                  </a:cxn>
                  <a:cxn ang="0">
                    <a:pos x="T6" y="T7"/>
                  </a:cxn>
                </a:cxnLst>
                <a:rect l="0" t="0" r="r" b="b"/>
                <a:pathLst>
                  <a:path w="25" h="12">
                    <a:moveTo>
                      <a:pt x="13" y="0"/>
                    </a:moveTo>
                    <a:cubicBezTo>
                      <a:pt x="6" y="0"/>
                      <a:pt x="0" y="5"/>
                      <a:pt x="0" y="12"/>
                    </a:cubicBezTo>
                    <a:cubicBezTo>
                      <a:pt x="25" y="12"/>
                      <a:pt x="25" y="12"/>
                      <a:pt x="25" y="12"/>
                    </a:cubicBezTo>
                    <a:cubicBezTo>
                      <a:pt x="25" y="5"/>
                      <a:pt x="19" y="0"/>
                      <a:pt x="13" y="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7" name="Freeform 26"/>
              <p:cNvSpPr>
                <a:spLocks/>
              </p:cNvSpPr>
              <p:nvPr/>
            </p:nvSpPr>
            <p:spPr bwMode="auto">
              <a:xfrm>
                <a:off x="2172" y="1761"/>
                <a:ext cx="59" cy="71"/>
              </a:xfrm>
              <a:custGeom>
                <a:avLst/>
                <a:gdLst>
                  <a:gd name="T0" fmla="*/ 34 w 38"/>
                  <a:gd name="T1" fmla="*/ 26 h 46"/>
                  <a:gd name="T2" fmla="*/ 13 w 38"/>
                  <a:gd name="T3" fmla="*/ 43 h 46"/>
                  <a:gd name="T4" fmla="*/ 4 w 38"/>
                  <a:gd name="T5" fmla="*/ 18 h 46"/>
                  <a:gd name="T6" fmla="*/ 26 w 38"/>
                  <a:gd name="T7" fmla="*/ 3 h 46"/>
                  <a:gd name="T8" fmla="*/ 34 w 38"/>
                  <a:gd name="T9" fmla="*/ 26 h 46"/>
                </a:gdLst>
                <a:ahLst/>
                <a:cxnLst>
                  <a:cxn ang="0">
                    <a:pos x="T0" y="T1"/>
                  </a:cxn>
                  <a:cxn ang="0">
                    <a:pos x="T2" y="T3"/>
                  </a:cxn>
                  <a:cxn ang="0">
                    <a:pos x="T4" y="T5"/>
                  </a:cxn>
                  <a:cxn ang="0">
                    <a:pos x="T6" y="T7"/>
                  </a:cxn>
                  <a:cxn ang="0">
                    <a:pos x="T8" y="T9"/>
                  </a:cxn>
                </a:cxnLst>
                <a:rect l="0" t="0" r="r" b="b"/>
                <a:pathLst>
                  <a:path w="38" h="46">
                    <a:moveTo>
                      <a:pt x="34" y="26"/>
                    </a:moveTo>
                    <a:cubicBezTo>
                      <a:pt x="30" y="37"/>
                      <a:pt x="22" y="46"/>
                      <a:pt x="13" y="43"/>
                    </a:cubicBezTo>
                    <a:cubicBezTo>
                      <a:pt x="4" y="40"/>
                      <a:pt x="0" y="29"/>
                      <a:pt x="4" y="18"/>
                    </a:cubicBezTo>
                    <a:cubicBezTo>
                      <a:pt x="7" y="7"/>
                      <a:pt x="18" y="0"/>
                      <a:pt x="26" y="3"/>
                    </a:cubicBezTo>
                    <a:cubicBezTo>
                      <a:pt x="35" y="6"/>
                      <a:pt x="38" y="15"/>
                      <a:pt x="34" y="26"/>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8" name="Freeform 27"/>
              <p:cNvSpPr>
                <a:spLocks/>
              </p:cNvSpPr>
              <p:nvPr/>
            </p:nvSpPr>
            <p:spPr bwMode="auto">
              <a:xfrm>
                <a:off x="2164" y="1753"/>
                <a:ext cx="58" cy="66"/>
              </a:xfrm>
              <a:custGeom>
                <a:avLst/>
                <a:gdLst>
                  <a:gd name="T0" fmla="*/ 32 w 37"/>
                  <a:gd name="T1" fmla="*/ 14 h 43"/>
                  <a:gd name="T2" fmla="*/ 29 w 37"/>
                  <a:gd name="T3" fmla="*/ 39 h 43"/>
                  <a:gd name="T4" fmla="*/ 6 w 37"/>
                  <a:gd name="T5" fmla="*/ 29 h 43"/>
                  <a:gd name="T6" fmla="*/ 9 w 37"/>
                  <a:gd name="T7" fmla="*/ 5 h 43"/>
                  <a:gd name="T8" fmla="*/ 32 w 37"/>
                  <a:gd name="T9" fmla="*/ 14 h 43"/>
                </a:gdLst>
                <a:ahLst/>
                <a:cxnLst>
                  <a:cxn ang="0">
                    <a:pos x="T0" y="T1"/>
                  </a:cxn>
                  <a:cxn ang="0">
                    <a:pos x="T2" y="T3"/>
                  </a:cxn>
                  <a:cxn ang="0">
                    <a:pos x="T4" y="T5"/>
                  </a:cxn>
                  <a:cxn ang="0">
                    <a:pos x="T6" y="T7"/>
                  </a:cxn>
                  <a:cxn ang="0">
                    <a:pos x="T8" y="T9"/>
                  </a:cxn>
                </a:cxnLst>
                <a:rect l="0" t="0" r="r" b="b"/>
                <a:pathLst>
                  <a:path w="37" h="43">
                    <a:moveTo>
                      <a:pt x="32" y="14"/>
                    </a:moveTo>
                    <a:cubicBezTo>
                      <a:pt x="37" y="23"/>
                      <a:pt x="36" y="34"/>
                      <a:pt x="29" y="39"/>
                    </a:cubicBezTo>
                    <a:cubicBezTo>
                      <a:pt x="21" y="43"/>
                      <a:pt x="11" y="39"/>
                      <a:pt x="6" y="29"/>
                    </a:cubicBezTo>
                    <a:cubicBezTo>
                      <a:pt x="0" y="20"/>
                      <a:pt x="2" y="9"/>
                      <a:pt x="9" y="5"/>
                    </a:cubicBezTo>
                    <a:cubicBezTo>
                      <a:pt x="16" y="0"/>
                      <a:pt x="26" y="5"/>
                      <a:pt x="32" y="14"/>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9" name="Freeform 28"/>
              <p:cNvSpPr>
                <a:spLocks/>
              </p:cNvSpPr>
              <p:nvPr/>
            </p:nvSpPr>
            <p:spPr bwMode="auto">
              <a:xfrm>
                <a:off x="2185" y="1815"/>
                <a:ext cx="29" cy="31"/>
              </a:xfrm>
              <a:custGeom>
                <a:avLst/>
                <a:gdLst>
                  <a:gd name="T0" fmla="*/ 29 w 29"/>
                  <a:gd name="T1" fmla="*/ 23 h 31"/>
                  <a:gd name="T2" fmla="*/ 14 w 29"/>
                  <a:gd name="T3" fmla="*/ 31 h 31"/>
                  <a:gd name="T4" fmla="*/ 0 w 29"/>
                  <a:gd name="T5" fmla="*/ 23 h 31"/>
                  <a:gd name="T6" fmla="*/ 0 w 29"/>
                  <a:gd name="T7" fmla="*/ 0 h 31"/>
                  <a:gd name="T8" fmla="*/ 29 w 29"/>
                  <a:gd name="T9" fmla="*/ 0 h 31"/>
                  <a:gd name="T10" fmla="*/ 29 w 29"/>
                  <a:gd name="T11" fmla="*/ 23 h 31"/>
                </a:gdLst>
                <a:ahLst/>
                <a:cxnLst>
                  <a:cxn ang="0">
                    <a:pos x="T0" y="T1"/>
                  </a:cxn>
                  <a:cxn ang="0">
                    <a:pos x="T2" y="T3"/>
                  </a:cxn>
                  <a:cxn ang="0">
                    <a:pos x="T4" y="T5"/>
                  </a:cxn>
                  <a:cxn ang="0">
                    <a:pos x="T6" y="T7"/>
                  </a:cxn>
                  <a:cxn ang="0">
                    <a:pos x="T8" y="T9"/>
                  </a:cxn>
                  <a:cxn ang="0">
                    <a:pos x="T10" y="T11"/>
                  </a:cxn>
                </a:cxnLst>
                <a:rect l="0" t="0" r="r" b="b"/>
                <a:pathLst>
                  <a:path w="29" h="31">
                    <a:moveTo>
                      <a:pt x="29" y="23"/>
                    </a:moveTo>
                    <a:lnTo>
                      <a:pt x="14" y="31"/>
                    </a:lnTo>
                    <a:lnTo>
                      <a:pt x="0" y="23"/>
                    </a:lnTo>
                    <a:lnTo>
                      <a:pt x="0" y="0"/>
                    </a:lnTo>
                    <a:lnTo>
                      <a:pt x="29" y="0"/>
                    </a:lnTo>
                    <a:lnTo>
                      <a:pt x="29" y="23"/>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0" name="Freeform 29"/>
              <p:cNvSpPr>
                <a:spLocks/>
              </p:cNvSpPr>
              <p:nvPr/>
            </p:nvSpPr>
            <p:spPr bwMode="auto">
              <a:xfrm>
                <a:off x="2191" y="1846"/>
                <a:ext cx="17" cy="117"/>
              </a:xfrm>
              <a:custGeom>
                <a:avLst/>
                <a:gdLst>
                  <a:gd name="T0" fmla="*/ 12 w 17"/>
                  <a:gd name="T1" fmla="*/ 9 h 117"/>
                  <a:gd name="T2" fmla="*/ 17 w 17"/>
                  <a:gd name="T3" fmla="*/ 6 h 117"/>
                  <a:gd name="T4" fmla="*/ 8 w 17"/>
                  <a:gd name="T5" fmla="*/ 0 h 117"/>
                  <a:gd name="T6" fmla="*/ 0 w 17"/>
                  <a:gd name="T7" fmla="*/ 6 h 117"/>
                  <a:gd name="T8" fmla="*/ 3 w 17"/>
                  <a:gd name="T9" fmla="*/ 9 h 117"/>
                  <a:gd name="T10" fmla="*/ 3 w 17"/>
                  <a:gd name="T11" fmla="*/ 108 h 117"/>
                  <a:gd name="T12" fmla="*/ 8 w 17"/>
                  <a:gd name="T13" fmla="*/ 117 h 117"/>
                  <a:gd name="T14" fmla="*/ 12 w 17"/>
                  <a:gd name="T15" fmla="*/ 108 h 117"/>
                  <a:gd name="T16" fmla="*/ 12 w 17"/>
                  <a:gd name="T17" fmla="*/ 9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117">
                    <a:moveTo>
                      <a:pt x="12" y="9"/>
                    </a:moveTo>
                    <a:lnTo>
                      <a:pt x="17" y="6"/>
                    </a:lnTo>
                    <a:lnTo>
                      <a:pt x="8" y="0"/>
                    </a:lnTo>
                    <a:lnTo>
                      <a:pt x="0" y="6"/>
                    </a:lnTo>
                    <a:lnTo>
                      <a:pt x="3" y="9"/>
                    </a:lnTo>
                    <a:lnTo>
                      <a:pt x="3" y="108"/>
                    </a:lnTo>
                    <a:lnTo>
                      <a:pt x="8" y="117"/>
                    </a:lnTo>
                    <a:lnTo>
                      <a:pt x="12" y="108"/>
                    </a:lnTo>
                    <a:lnTo>
                      <a:pt x="12" y="9"/>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1" name="Freeform 30"/>
              <p:cNvSpPr>
                <a:spLocks/>
              </p:cNvSpPr>
              <p:nvPr/>
            </p:nvSpPr>
            <p:spPr bwMode="auto">
              <a:xfrm>
                <a:off x="2113" y="1847"/>
                <a:ext cx="64" cy="166"/>
              </a:xfrm>
              <a:custGeom>
                <a:avLst/>
                <a:gdLst>
                  <a:gd name="T0" fmla="*/ 41 w 41"/>
                  <a:gd name="T1" fmla="*/ 4 h 107"/>
                  <a:gd name="T2" fmla="*/ 25 w 41"/>
                  <a:gd name="T3" fmla="*/ 0 h 107"/>
                  <a:gd name="T4" fmla="*/ 0 w 41"/>
                  <a:gd name="T5" fmla="*/ 107 h 107"/>
                  <a:gd name="T6" fmla="*/ 16 w 41"/>
                  <a:gd name="T7" fmla="*/ 107 h 107"/>
                  <a:gd name="T8" fmla="*/ 41 w 41"/>
                  <a:gd name="T9" fmla="*/ 4 h 107"/>
                </a:gdLst>
                <a:ahLst/>
                <a:cxnLst>
                  <a:cxn ang="0">
                    <a:pos x="T0" y="T1"/>
                  </a:cxn>
                  <a:cxn ang="0">
                    <a:pos x="T2" y="T3"/>
                  </a:cxn>
                  <a:cxn ang="0">
                    <a:pos x="T4" y="T5"/>
                  </a:cxn>
                  <a:cxn ang="0">
                    <a:pos x="T6" y="T7"/>
                  </a:cxn>
                  <a:cxn ang="0">
                    <a:pos x="T8" y="T9"/>
                  </a:cxn>
                </a:cxnLst>
                <a:rect l="0" t="0" r="r" b="b"/>
                <a:pathLst>
                  <a:path w="41" h="107">
                    <a:moveTo>
                      <a:pt x="41" y="4"/>
                    </a:moveTo>
                    <a:cubicBezTo>
                      <a:pt x="36" y="3"/>
                      <a:pt x="30" y="2"/>
                      <a:pt x="25" y="0"/>
                    </a:cubicBezTo>
                    <a:cubicBezTo>
                      <a:pt x="9" y="34"/>
                      <a:pt x="3" y="69"/>
                      <a:pt x="0" y="107"/>
                    </a:cubicBezTo>
                    <a:cubicBezTo>
                      <a:pt x="16" y="107"/>
                      <a:pt x="16" y="107"/>
                      <a:pt x="16" y="107"/>
                    </a:cubicBezTo>
                    <a:cubicBezTo>
                      <a:pt x="20" y="71"/>
                      <a:pt x="26" y="38"/>
                      <a:pt x="41" y="4"/>
                    </a:cubicBez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2" name="Freeform 31"/>
              <p:cNvSpPr>
                <a:spLocks/>
              </p:cNvSpPr>
              <p:nvPr/>
            </p:nvSpPr>
            <p:spPr bwMode="auto">
              <a:xfrm>
                <a:off x="2222" y="1847"/>
                <a:ext cx="63" cy="166"/>
              </a:xfrm>
              <a:custGeom>
                <a:avLst/>
                <a:gdLst>
                  <a:gd name="T0" fmla="*/ 0 w 41"/>
                  <a:gd name="T1" fmla="*/ 4 h 107"/>
                  <a:gd name="T2" fmla="*/ 16 w 41"/>
                  <a:gd name="T3" fmla="*/ 0 h 107"/>
                  <a:gd name="T4" fmla="*/ 41 w 41"/>
                  <a:gd name="T5" fmla="*/ 107 h 107"/>
                  <a:gd name="T6" fmla="*/ 25 w 41"/>
                  <a:gd name="T7" fmla="*/ 107 h 107"/>
                  <a:gd name="T8" fmla="*/ 0 w 41"/>
                  <a:gd name="T9" fmla="*/ 4 h 107"/>
                </a:gdLst>
                <a:ahLst/>
                <a:cxnLst>
                  <a:cxn ang="0">
                    <a:pos x="T0" y="T1"/>
                  </a:cxn>
                  <a:cxn ang="0">
                    <a:pos x="T2" y="T3"/>
                  </a:cxn>
                  <a:cxn ang="0">
                    <a:pos x="T4" y="T5"/>
                  </a:cxn>
                  <a:cxn ang="0">
                    <a:pos x="T6" y="T7"/>
                  </a:cxn>
                  <a:cxn ang="0">
                    <a:pos x="T8" y="T9"/>
                  </a:cxn>
                </a:cxnLst>
                <a:rect l="0" t="0" r="r" b="b"/>
                <a:pathLst>
                  <a:path w="41" h="107">
                    <a:moveTo>
                      <a:pt x="0" y="4"/>
                    </a:moveTo>
                    <a:cubicBezTo>
                      <a:pt x="5" y="3"/>
                      <a:pt x="11" y="2"/>
                      <a:pt x="16" y="0"/>
                    </a:cubicBezTo>
                    <a:cubicBezTo>
                      <a:pt x="32" y="34"/>
                      <a:pt x="38" y="69"/>
                      <a:pt x="41" y="107"/>
                    </a:cubicBezTo>
                    <a:cubicBezTo>
                      <a:pt x="25" y="107"/>
                      <a:pt x="25" y="107"/>
                      <a:pt x="25" y="107"/>
                    </a:cubicBezTo>
                    <a:cubicBezTo>
                      <a:pt x="21" y="71"/>
                      <a:pt x="15" y="38"/>
                      <a:pt x="0" y="4"/>
                    </a:cubicBez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3" name="Freeform 32"/>
              <p:cNvSpPr>
                <a:spLocks/>
              </p:cNvSpPr>
              <p:nvPr/>
            </p:nvSpPr>
            <p:spPr bwMode="auto">
              <a:xfrm>
                <a:off x="2160" y="2028"/>
                <a:ext cx="39" cy="173"/>
              </a:xfrm>
              <a:custGeom>
                <a:avLst/>
                <a:gdLst>
                  <a:gd name="T0" fmla="*/ 31 w 39"/>
                  <a:gd name="T1" fmla="*/ 173 h 173"/>
                  <a:gd name="T2" fmla="*/ 4 w 39"/>
                  <a:gd name="T3" fmla="*/ 173 h 173"/>
                  <a:gd name="T4" fmla="*/ 0 w 39"/>
                  <a:gd name="T5" fmla="*/ 0 h 173"/>
                  <a:gd name="T6" fmla="*/ 39 w 39"/>
                  <a:gd name="T7" fmla="*/ 0 h 173"/>
                  <a:gd name="T8" fmla="*/ 31 w 39"/>
                  <a:gd name="T9" fmla="*/ 173 h 173"/>
                </a:gdLst>
                <a:ahLst/>
                <a:cxnLst>
                  <a:cxn ang="0">
                    <a:pos x="T0" y="T1"/>
                  </a:cxn>
                  <a:cxn ang="0">
                    <a:pos x="T2" y="T3"/>
                  </a:cxn>
                  <a:cxn ang="0">
                    <a:pos x="T4" y="T5"/>
                  </a:cxn>
                  <a:cxn ang="0">
                    <a:pos x="T6" y="T7"/>
                  </a:cxn>
                  <a:cxn ang="0">
                    <a:pos x="T8" y="T9"/>
                  </a:cxn>
                </a:cxnLst>
                <a:rect l="0" t="0" r="r" b="b"/>
                <a:pathLst>
                  <a:path w="39" h="173">
                    <a:moveTo>
                      <a:pt x="31" y="173"/>
                    </a:moveTo>
                    <a:lnTo>
                      <a:pt x="4" y="173"/>
                    </a:lnTo>
                    <a:lnTo>
                      <a:pt x="0" y="0"/>
                    </a:lnTo>
                    <a:lnTo>
                      <a:pt x="39" y="0"/>
                    </a:lnTo>
                    <a:lnTo>
                      <a:pt x="31" y="173"/>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4" name="Freeform 33"/>
              <p:cNvSpPr>
                <a:spLocks/>
              </p:cNvSpPr>
              <p:nvPr/>
            </p:nvSpPr>
            <p:spPr bwMode="auto">
              <a:xfrm>
                <a:off x="2200" y="2028"/>
                <a:ext cx="37" cy="173"/>
              </a:xfrm>
              <a:custGeom>
                <a:avLst/>
                <a:gdLst>
                  <a:gd name="T0" fmla="*/ 33 w 37"/>
                  <a:gd name="T1" fmla="*/ 173 h 173"/>
                  <a:gd name="T2" fmla="*/ 6 w 37"/>
                  <a:gd name="T3" fmla="*/ 173 h 173"/>
                  <a:gd name="T4" fmla="*/ 0 w 37"/>
                  <a:gd name="T5" fmla="*/ 0 h 173"/>
                  <a:gd name="T6" fmla="*/ 37 w 37"/>
                  <a:gd name="T7" fmla="*/ 0 h 173"/>
                  <a:gd name="T8" fmla="*/ 33 w 37"/>
                  <a:gd name="T9" fmla="*/ 173 h 173"/>
                </a:gdLst>
                <a:ahLst/>
                <a:cxnLst>
                  <a:cxn ang="0">
                    <a:pos x="T0" y="T1"/>
                  </a:cxn>
                  <a:cxn ang="0">
                    <a:pos x="T2" y="T3"/>
                  </a:cxn>
                  <a:cxn ang="0">
                    <a:pos x="T4" y="T5"/>
                  </a:cxn>
                  <a:cxn ang="0">
                    <a:pos x="T6" y="T7"/>
                  </a:cxn>
                  <a:cxn ang="0">
                    <a:pos x="T8" y="T9"/>
                  </a:cxn>
                </a:cxnLst>
                <a:rect l="0" t="0" r="r" b="b"/>
                <a:pathLst>
                  <a:path w="37" h="173">
                    <a:moveTo>
                      <a:pt x="33" y="173"/>
                    </a:moveTo>
                    <a:lnTo>
                      <a:pt x="6" y="173"/>
                    </a:lnTo>
                    <a:lnTo>
                      <a:pt x="0" y="0"/>
                    </a:lnTo>
                    <a:lnTo>
                      <a:pt x="37" y="0"/>
                    </a:lnTo>
                    <a:lnTo>
                      <a:pt x="33" y="173"/>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5" name="Freeform 34"/>
              <p:cNvSpPr>
                <a:spLocks/>
              </p:cNvSpPr>
              <p:nvPr/>
            </p:nvSpPr>
            <p:spPr bwMode="auto">
              <a:xfrm>
                <a:off x="2117" y="2013"/>
                <a:ext cx="18" cy="20"/>
              </a:xfrm>
              <a:custGeom>
                <a:avLst/>
                <a:gdLst>
                  <a:gd name="T0" fmla="*/ 0 w 12"/>
                  <a:gd name="T1" fmla="*/ 0 h 13"/>
                  <a:gd name="T2" fmla="*/ 0 w 12"/>
                  <a:gd name="T3" fmla="*/ 7 h 13"/>
                  <a:gd name="T4" fmla="*/ 6 w 12"/>
                  <a:gd name="T5" fmla="*/ 13 h 13"/>
                  <a:gd name="T6" fmla="*/ 12 w 12"/>
                  <a:gd name="T7" fmla="*/ 7 h 13"/>
                  <a:gd name="T8" fmla="*/ 12 w 12"/>
                  <a:gd name="T9" fmla="*/ 0 h 13"/>
                  <a:gd name="T10" fmla="*/ 0 w 12"/>
                  <a:gd name="T11" fmla="*/ 0 h 13"/>
                </a:gdLst>
                <a:ahLst/>
                <a:cxnLst>
                  <a:cxn ang="0">
                    <a:pos x="T0" y="T1"/>
                  </a:cxn>
                  <a:cxn ang="0">
                    <a:pos x="T2" y="T3"/>
                  </a:cxn>
                  <a:cxn ang="0">
                    <a:pos x="T4" y="T5"/>
                  </a:cxn>
                  <a:cxn ang="0">
                    <a:pos x="T6" y="T7"/>
                  </a:cxn>
                  <a:cxn ang="0">
                    <a:pos x="T8" y="T9"/>
                  </a:cxn>
                  <a:cxn ang="0">
                    <a:pos x="T10" y="T11"/>
                  </a:cxn>
                </a:cxnLst>
                <a:rect l="0" t="0" r="r" b="b"/>
                <a:pathLst>
                  <a:path w="12" h="13">
                    <a:moveTo>
                      <a:pt x="0" y="0"/>
                    </a:moveTo>
                    <a:cubicBezTo>
                      <a:pt x="0" y="7"/>
                      <a:pt x="0" y="7"/>
                      <a:pt x="0" y="7"/>
                    </a:cubicBezTo>
                    <a:cubicBezTo>
                      <a:pt x="0" y="11"/>
                      <a:pt x="3" y="13"/>
                      <a:pt x="6" y="13"/>
                    </a:cubicBezTo>
                    <a:cubicBezTo>
                      <a:pt x="10" y="13"/>
                      <a:pt x="12" y="11"/>
                      <a:pt x="12" y="7"/>
                    </a:cubicBezTo>
                    <a:cubicBezTo>
                      <a:pt x="12" y="0"/>
                      <a:pt x="12" y="0"/>
                      <a:pt x="12" y="0"/>
                    </a:cubicBezTo>
                    <a:lnTo>
                      <a:pt x="0" y="0"/>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6" name="Freeform 35"/>
              <p:cNvSpPr>
                <a:spLocks/>
              </p:cNvSpPr>
              <p:nvPr/>
            </p:nvSpPr>
            <p:spPr bwMode="auto">
              <a:xfrm>
                <a:off x="2263" y="2013"/>
                <a:ext cx="19" cy="20"/>
              </a:xfrm>
              <a:custGeom>
                <a:avLst/>
                <a:gdLst>
                  <a:gd name="T0" fmla="*/ 0 w 12"/>
                  <a:gd name="T1" fmla="*/ 0 h 13"/>
                  <a:gd name="T2" fmla="*/ 0 w 12"/>
                  <a:gd name="T3" fmla="*/ 7 h 13"/>
                  <a:gd name="T4" fmla="*/ 6 w 12"/>
                  <a:gd name="T5" fmla="*/ 13 h 13"/>
                  <a:gd name="T6" fmla="*/ 12 w 12"/>
                  <a:gd name="T7" fmla="*/ 7 h 13"/>
                  <a:gd name="T8" fmla="*/ 12 w 12"/>
                  <a:gd name="T9" fmla="*/ 0 h 13"/>
                  <a:gd name="T10" fmla="*/ 0 w 12"/>
                  <a:gd name="T11" fmla="*/ 0 h 13"/>
                </a:gdLst>
                <a:ahLst/>
                <a:cxnLst>
                  <a:cxn ang="0">
                    <a:pos x="T0" y="T1"/>
                  </a:cxn>
                  <a:cxn ang="0">
                    <a:pos x="T2" y="T3"/>
                  </a:cxn>
                  <a:cxn ang="0">
                    <a:pos x="T4" y="T5"/>
                  </a:cxn>
                  <a:cxn ang="0">
                    <a:pos x="T6" y="T7"/>
                  </a:cxn>
                  <a:cxn ang="0">
                    <a:pos x="T8" y="T9"/>
                  </a:cxn>
                  <a:cxn ang="0">
                    <a:pos x="T10" y="T11"/>
                  </a:cxn>
                </a:cxnLst>
                <a:rect l="0" t="0" r="r" b="b"/>
                <a:pathLst>
                  <a:path w="12" h="13">
                    <a:moveTo>
                      <a:pt x="0" y="0"/>
                    </a:moveTo>
                    <a:cubicBezTo>
                      <a:pt x="0" y="7"/>
                      <a:pt x="0" y="7"/>
                      <a:pt x="0" y="7"/>
                    </a:cubicBezTo>
                    <a:cubicBezTo>
                      <a:pt x="0" y="11"/>
                      <a:pt x="2" y="13"/>
                      <a:pt x="6" y="13"/>
                    </a:cubicBezTo>
                    <a:cubicBezTo>
                      <a:pt x="9" y="13"/>
                      <a:pt x="12" y="11"/>
                      <a:pt x="12" y="7"/>
                    </a:cubicBezTo>
                    <a:cubicBezTo>
                      <a:pt x="12" y="0"/>
                      <a:pt x="12" y="0"/>
                      <a:pt x="12" y="0"/>
                    </a:cubicBezTo>
                    <a:lnTo>
                      <a:pt x="0" y="0"/>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7" name="Freeform 36"/>
              <p:cNvSpPr>
                <a:spLocks/>
              </p:cNvSpPr>
              <p:nvPr/>
            </p:nvSpPr>
            <p:spPr bwMode="auto">
              <a:xfrm>
                <a:off x="2151" y="1838"/>
                <a:ext cx="95" cy="190"/>
              </a:xfrm>
              <a:custGeom>
                <a:avLst/>
                <a:gdLst>
                  <a:gd name="T0" fmla="*/ 63 w 95"/>
                  <a:gd name="T1" fmla="*/ 0 h 190"/>
                  <a:gd name="T2" fmla="*/ 48 w 95"/>
                  <a:gd name="T3" fmla="*/ 119 h 190"/>
                  <a:gd name="T4" fmla="*/ 34 w 95"/>
                  <a:gd name="T5" fmla="*/ 0 h 190"/>
                  <a:gd name="T6" fmla="*/ 0 w 95"/>
                  <a:gd name="T7" fmla="*/ 9 h 190"/>
                  <a:gd name="T8" fmla="*/ 1 w 95"/>
                  <a:gd name="T9" fmla="*/ 190 h 190"/>
                  <a:gd name="T10" fmla="*/ 94 w 95"/>
                  <a:gd name="T11" fmla="*/ 190 h 190"/>
                  <a:gd name="T12" fmla="*/ 95 w 95"/>
                  <a:gd name="T13" fmla="*/ 9 h 190"/>
                  <a:gd name="T14" fmla="*/ 63 w 95"/>
                  <a:gd name="T15" fmla="*/ 0 h 19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5" h="190">
                    <a:moveTo>
                      <a:pt x="63" y="0"/>
                    </a:moveTo>
                    <a:lnTo>
                      <a:pt x="48" y="119"/>
                    </a:lnTo>
                    <a:lnTo>
                      <a:pt x="34" y="0"/>
                    </a:lnTo>
                    <a:lnTo>
                      <a:pt x="0" y="9"/>
                    </a:lnTo>
                    <a:lnTo>
                      <a:pt x="1" y="190"/>
                    </a:lnTo>
                    <a:lnTo>
                      <a:pt x="94" y="190"/>
                    </a:lnTo>
                    <a:lnTo>
                      <a:pt x="95" y="9"/>
                    </a:lnTo>
                    <a:lnTo>
                      <a:pt x="63" y="0"/>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8" name="Freeform 37"/>
              <p:cNvSpPr>
                <a:spLocks/>
              </p:cNvSpPr>
              <p:nvPr/>
            </p:nvSpPr>
            <p:spPr bwMode="auto">
              <a:xfrm>
                <a:off x="2223" y="1784"/>
                <a:ext cx="0" cy="1"/>
              </a:xfrm>
              <a:custGeom>
                <a:avLst/>
                <a:gdLst>
                  <a:gd name="T0" fmla="*/ 1 h 1"/>
                  <a:gd name="T1" fmla="*/ 0 h 1"/>
                  <a:gd name="T2" fmla="*/ 1 h 1"/>
                </a:gdLst>
                <a:ahLst/>
                <a:cxnLst>
                  <a:cxn ang="0">
                    <a:pos x="0" y="T0"/>
                  </a:cxn>
                  <a:cxn ang="0">
                    <a:pos x="0" y="T1"/>
                  </a:cxn>
                  <a:cxn ang="0">
                    <a:pos x="0" y="T2"/>
                  </a:cxn>
                </a:cxnLst>
                <a:rect l="0" t="0" r="r" b="b"/>
                <a:pathLst>
                  <a:path h="1">
                    <a:moveTo>
                      <a:pt x="0" y="1"/>
                    </a:moveTo>
                    <a:cubicBezTo>
                      <a:pt x="0" y="0"/>
                      <a:pt x="0" y="0"/>
                      <a:pt x="0" y="0"/>
                    </a:cubicBezTo>
                    <a:cubicBezTo>
                      <a:pt x="0" y="0"/>
                      <a:pt x="0" y="0"/>
                      <a:pt x="0" y="1"/>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9" name="Freeform 38"/>
              <p:cNvSpPr>
                <a:spLocks/>
              </p:cNvSpPr>
              <p:nvPr/>
            </p:nvSpPr>
            <p:spPr bwMode="auto">
              <a:xfrm>
                <a:off x="2223" y="1784"/>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0" name="Freeform 39"/>
              <p:cNvSpPr>
                <a:spLocks/>
              </p:cNvSpPr>
              <p:nvPr/>
            </p:nvSpPr>
            <p:spPr bwMode="auto">
              <a:xfrm>
                <a:off x="2222" y="1781"/>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1" name="Freeform 40"/>
              <p:cNvSpPr>
                <a:spLocks/>
              </p:cNvSpPr>
              <p:nvPr/>
            </p:nvSpPr>
            <p:spPr bwMode="auto">
              <a:xfrm>
                <a:off x="2222" y="1782"/>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2" name="Freeform 41"/>
              <p:cNvSpPr>
                <a:spLocks/>
              </p:cNvSpPr>
              <p:nvPr/>
            </p:nvSpPr>
            <p:spPr bwMode="auto">
              <a:xfrm>
                <a:off x="2175" y="1781"/>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3" name="Freeform 42"/>
              <p:cNvSpPr>
                <a:spLocks/>
              </p:cNvSpPr>
              <p:nvPr/>
            </p:nvSpPr>
            <p:spPr bwMode="auto">
              <a:xfrm>
                <a:off x="2223" y="1785"/>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4" name="Freeform 43"/>
              <p:cNvSpPr>
                <a:spLocks/>
              </p:cNvSpPr>
              <p:nvPr/>
            </p:nvSpPr>
            <p:spPr bwMode="auto">
              <a:xfrm>
                <a:off x="2223" y="1787"/>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5" name="Rectangle 44"/>
              <p:cNvSpPr>
                <a:spLocks noChangeArrowheads="1"/>
              </p:cNvSpPr>
              <p:nvPr/>
            </p:nvSpPr>
            <p:spPr bwMode="auto">
              <a:xfrm>
                <a:off x="2222" y="1781"/>
                <a:ext cx="1" cy="1"/>
              </a:xfrm>
              <a:prstGeom prst="rect">
                <a:avLst/>
              </a:prstGeom>
              <a:solidFill>
                <a:srgbClr val="FFD60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6" name="Freeform 45"/>
              <p:cNvSpPr>
                <a:spLocks/>
              </p:cNvSpPr>
              <p:nvPr/>
            </p:nvSpPr>
            <p:spPr bwMode="auto">
              <a:xfrm>
                <a:off x="2174" y="1785"/>
                <a:ext cx="0" cy="2"/>
              </a:xfrm>
              <a:custGeom>
                <a:avLst/>
                <a:gdLst>
                  <a:gd name="T0" fmla="*/ 0 h 1"/>
                  <a:gd name="T1" fmla="*/ 1 h 1"/>
                  <a:gd name="T2" fmla="*/ 0 h 1"/>
                </a:gdLst>
                <a:ahLst/>
                <a:cxnLst>
                  <a:cxn ang="0">
                    <a:pos x="0" y="T0"/>
                  </a:cxn>
                  <a:cxn ang="0">
                    <a:pos x="0" y="T1"/>
                  </a:cxn>
                  <a:cxn ang="0">
                    <a:pos x="0" y="T2"/>
                  </a:cxn>
                </a:cxnLst>
                <a:rect l="0" t="0" r="r" b="b"/>
                <a:pathLst>
                  <a:path h="1">
                    <a:moveTo>
                      <a:pt x="0" y="0"/>
                    </a:moveTo>
                    <a:cubicBezTo>
                      <a:pt x="0" y="0"/>
                      <a:pt x="0" y="0"/>
                      <a:pt x="0" y="1"/>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7" name="Freeform 46"/>
              <p:cNvSpPr>
                <a:spLocks/>
              </p:cNvSpPr>
              <p:nvPr/>
            </p:nvSpPr>
            <p:spPr bwMode="auto">
              <a:xfrm>
                <a:off x="2174" y="1784"/>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8" name="Freeform 47"/>
              <p:cNvSpPr>
                <a:spLocks/>
              </p:cNvSpPr>
              <p:nvPr/>
            </p:nvSpPr>
            <p:spPr bwMode="auto">
              <a:xfrm>
                <a:off x="2174" y="1782"/>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9" name="Freeform 48"/>
              <p:cNvSpPr>
                <a:spLocks/>
              </p:cNvSpPr>
              <p:nvPr/>
            </p:nvSpPr>
            <p:spPr bwMode="auto">
              <a:xfrm>
                <a:off x="2174" y="1785"/>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0" name="Freeform 49"/>
              <p:cNvSpPr>
                <a:spLocks/>
              </p:cNvSpPr>
              <p:nvPr/>
            </p:nvSpPr>
            <p:spPr bwMode="auto">
              <a:xfrm>
                <a:off x="2169" y="1779"/>
                <a:ext cx="59" cy="53"/>
              </a:xfrm>
              <a:custGeom>
                <a:avLst/>
                <a:gdLst>
                  <a:gd name="T0" fmla="*/ 36 w 38"/>
                  <a:gd name="T1" fmla="*/ 8 h 34"/>
                  <a:gd name="T2" fmla="*/ 35 w 38"/>
                  <a:gd name="T3" fmla="*/ 8 h 34"/>
                  <a:gd name="T4" fmla="*/ 35 w 38"/>
                  <a:gd name="T5" fmla="*/ 5 h 34"/>
                  <a:gd name="T6" fmla="*/ 35 w 38"/>
                  <a:gd name="T7" fmla="*/ 5 h 34"/>
                  <a:gd name="T8" fmla="*/ 35 w 38"/>
                  <a:gd name="T9" fmla="*/ 4 h 34"/>
                  <a:gd name="T10" fmla="*/ 35 w 38"/>
                  <a:gd name="T11" fmla="*/ 4 h 34"/>
                  <a:gd name="T12" fmla="*/ 35 w 38"/>
                  <a:gd name="T13" fmla="*/ 4 h 34"/>
                  <a:gd name="T14" fmla="*/ 35 w 38"/>
                  <a:gd name="T15" fmla="*/ 3 h 34"/>
                  <a:gd name="T16" fmla="*/ 35 w 38"/>
                  <a:gd name="T17" fmla="*/ 3 h 34"/>
                  <a:gd name="T18" fmla="*/ 35 w 38"/>
                  <a:gd name="T19" fmla="*/ 3 h 34"/>
                  <a:gd name="T20" fmla="*/ 34 w 38"/>
                  <a:gd name="T21" fmla="*/ 2 h 34"/>
                  <a:gd name="T22" fmla="*/ 34 w 38"/>
                  <a:gd name="T23" fmla="*/ 2 h 34"/>
                  <a:gd name="T24" fmla="*/ 34 w 38"/>
                  <a:gd name="T25" fmla="*/ 1 h 34"/>
                  <a:gd name="T26" fmla="*/ 34 w 38"/>
                  <a:gd name="T27" fmla="*/ 1 h 34"/>
                  <a:gd name="T28" fmla="*/ 34 w 38"/>
                  <a:gd name="T29" fmla="*/ 1 h 34"/>
                  <a:gd name="T30" fmla="*/ 34 w 38"/>
                  <a:gd name="T31" fmla="*/ 1 h 34"/>
                  <a:gd name="T32" fmla="*/ 31 w 38"/>
                  <a:gd name="T33" fmla="*/ 1 h 34"/>
                  <a:gd name="T34" fmla="*/ 25 w 38"/>
                  <a:gd name="T35" fmla="*/ 0 h 34"/>
                  <a:gd name="T36" fmla="*/ 15 w 38"/>
                  <a:gd name="T37" fmla="*/ 1 h 34"/>
                  <a:gd name="T38" fmla="*/ 5 w 38"/>
                  <a:gd name="T39" fmla="*/ 0 h 34"/>
                  <a:gd name="T40" fmla="*/ 4 w 38"/>
                  <a:gd name="T41" fmla="*/ 1 h 34"/>
                  <a:gd name="T42" fmla="*/ 4 w 38"/>
                  <a:gd name="T43" fmla="*/ 1 h 34"/>
                  <a:gd name="T44" fmla="*/ 3 w 38"/>
                  <a:gd name="T45" fmla="*/ 2 h 34"/>
                  <a:gd name="T46" fmla="*/ 3 w 38"/>
                  <a:gd name="T47" fmla="*/ 2 h 34"/>
                  <a:gd name="T48" fmla="*/ 3 w 38"/>
                  <a:gd name="T49" fmla="*/ 3 h 34"/>
                  <a:gd name="T50" fmla="*/ 3 w 38"/>
                  <a:gd name="T51" fmla="*/ 3 h 34"/>
                  <a:gd name="T52" fmla="*/ 3 w 38"/>
                  <a:gd name="T53" fmla="*/ 4 h 34"/>
                  <a:gd name="T54" fmla="*/ 3 w 38"/>
                  <a:gd name="T55" fmla="*/ 4 h 34"/>
                  <a:gd name="T56" fmla="*/ 3 w 38"/>
                  <a:gd name="T57" fmla="*/ 4 h 34"/>
                  <a:gd name="T58" fmla="*/ 3 w 38"/>
                  <a:gd name="T59" fmla="*/ 5 h 34"/>
                  <a:gd name="T60" fmla="*/ 3 w 38"/>
                  <a:gd name="T61" fmla="*/ 5 h 34"/>
                  <a:gd name="T62" fmla="*/ 3 w 38"/>
                  <a:gd name="T63" fmla="*/ 8 h 34"/>
                  <a:gd name="T64" fmla="*/ 2 w 38"/>
                  <a:gd name="T65" fmla="*/ 8 h 34"/>
                  <a:gd name="T66" fmla="*/ 0 w 38"/>
                  <a:gd name="T67" fmla="*/ 10 h 34"/>
                  <a:gd name="T68" fmla="*/ 0 w 38"/>
                  <a:gd name="T69" fmla="*/ 16 h 34"/>
                  <a:gd name="T70" fmla="*/ 3 w 38"/>
                  <a:gd name="T71" fmla="*/ 19 h 34"/>
                  <a:gd name="T72" fmla="*/ 12 w 38"/>
                  <a:gd name="T73" fmla="*/ 34 h 34"/>
                  <a:gd name="T74" fmla="*/ 26 w 38"/>
                  <a:gd name="T75" fmla="*/ 34 h 34"/>
                  <a:gd name="T76" fmla="*/ 35 w 38"/>
                  <a:gd name="T77" fmla="*/ 19 h 34"/>
                  <a:gd name="T78" fmla="*/ 38 w 38"/>
                  <a:gd name="T79" fmla="*/ 16 h 34"/>
                  <a:gd name="T80" fmla="*/ 38 w 38"/>
                  <a:gd name="T81" fmla="*/ 10 h 34"/>
                  <a:gd name="T82" fmla="*/ 36 w 38"/>
                  <a:gd name="T83" fmla="*/ 8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8" h="34">
                    <a:moveTo>
                      <a:pt x="36" y="8"/>
                    </a:moveTo>
                    <a:cubicBezTo>
                      <a:pt x="36" y="8"/>
                      <a:pt x="36" y="8"/>
                      <a:pt x="35" y="8"/>
                    </a:cubicBezTo>
                    <a:cubicBezTo>
                      <a:pt x="35" y="5"/>
                      <a:pt x="35" y="5"/>
                      <a:pt x="35" y="5"/>
                    </a:cubicBezTo>
                    <a:cubicBezTo>
                      <a:pt x="35" y="5"/>
                      <a:pt x="35" y="5"/>
                      <a:pt x="35" y="5"/>
                    </a:cubicBezTo>
                    <a:cubicBezTo>
                      <a:pt x="35" y="5"/>
                      <a:pt x="35" y="4"/>
                      <a:pt x="35" y="4"/>
                    </a:cubicBezTo>
                    <a:cubicBezTo>
                      <a:pt x="35" y="4"/>
                      <a:pt x="35" y="4"/>
                      <a:pt x="35" y="4"/>
                    </a:cubicBezTo>
                    <a:cubicBezTo>
                      <a:pt x="35" y="4"/>
                      <a:pt x="35" y="4"/>
                      <a:pt x="35" y="4"/>
                    </a:cubicBezTo>
                    <a:cubicBezTo>
                      <a:pt x="35" y="3"/>
                      <a:pt x="35" y="3"/>
                      <a:pt x="35" y="3"/>
                    </a:cubicBezTo>
                    <a:cubicBezTo>
                      <a:pt x="35" y="3"/>
                      <a:pt x="35" y="3"/>
                      <a:pt x="35" y="3"/>
                    </a:cubicBezTo>
                    <a:cubicBezTo>
                      <a:pt x="35" y="3"/>
                      <a:pt x="35" y="3"/>
                      <a:pt x="35" y="3"/>
                    </a:cubicBezTo>
                    <a:cubicBezTo>
                      <a:pt x="35" y="2"/>
                      <a:pt x="35" y="2"/>
                      <a:pt x="34" y="2"/>
                    </a:cubicBezTo>
                    <a:cubicBezTo>
                      <a:pt x="34" y="2"/>
                      <a:pt x="34" y="2"/>
                      <a:pt x="34" y="2"/>
                    </a:cubicBezTo>
                    <a:cubicBezTo>
                      <a:pt x="34" y="2"/>
                      <a:pt x="34" y="1"/>
                      <a:pt x="34" y="1"/>
                    </a:cubicBezTo>
                    <a:cubicBezTo>
                      <a:pt x="34" y="1"/>
                      <a:pt x="34" y="1"/>
                      <a:pt x="34" y="1"/>
                    </a:cubicBezTo>
                    <a:cubicBezTo>
                      <a:pt x="34" y="1"/>
                      <a:pt x="34" y="1"/>
                      <a:pt x="34" y="1"/>
                    </a:cubicBezTo>
                    <a:cubicBezTo>
                      <a:pt x="34" y="1"/>
                      <a:pt x="34" y="1"/>
                      <a:pt x="34" y="1"/>
                    </a:cubicBezTo>
                    <a:cubicBezTo>
                      <a:pt x="33" y="1"/>
                      <a:pt x="32" y="1"/>
                      <a:pt x="31" y="1"/>
                    </a:cubicBezTo>
                    <a:cubicBezTo>
                      <a:pt x="28" y="1"/>
                      <a:pt x="27" y="1"/>
                      <a:pt x="25" y="0"/>
                    </a:cubicBezTo>
                    <a:cubicBezTo>
                      <a:pt x="23" y="1"/>
                      <a:pt x="19" y="1"/>
                      <a:pt x="15" y="1"/>
                    </a:cubicBezTo>
                    <a:cubicBezTo>
                      <a:pt x="11" y="1"/>
                      <a:pt x="8" y="1"/>
                      <a:pt x="5" y="0"/>
                    </a:cubicBezTo>
                    <a:cubicBezTo>
                      <a:pt x="5" y="0"/>
                      <a:pt x="4" y="1"/>
                      <a:pt x="4" y="1"/>
                    </a:cubicBezTo>
                    <a:cubicBezTo>
                      <a:pt x="4" y="1"/>
                      <a:pt x="4" y="1"/>
                      <a:pt x="4" y="1"/>
                    </a:cubicBezTo>
                    <a:cubicBezTo>
                      <a:pt x="4" y="2"/>
                      <a:pt x="3" y="2"/>
                      <a:pt x="3" y="2"/>
                    </a:cubicBezTo>
                    <a:cubicBezTo>
                      <a:pt x="3" y="2"/>
                      <a:pt x="3" y="2"/>
                      <a:pt x="3" y="2"/>
                    </a:cubicBezTo>
                    <a:cubicBezTo>
                      <a:pt x="3" y="2"/>
                      <a:pt x="3" y="3"/>
                      <a:pt x="3" y="3"/>
                    </a:cubicBezTo>
                    <a:cubicBezTo>
                      <a:pt x="3" y="3"/>
                      <a:pt x="3" y="3"/>
                      <a:pt x="3" y="3"/>
                    </a:cubicBezTo>
                    <a:cubicBezTo>
                      <a:pt x="3" y="3"/>
                      <a:pt x="3" y="3"/>
                      <a:pt x="3" y="4"/>
                    </a:cubicBezTo>
                    <a:cubicBezTo>
                      <a:pt x="3" y="4"/>
                      <a:pt x="3" y="4"/>
                      <a:pt x="3" y="4"/>
                    </a:cubicBezTo>
                    <a:cubicBezTo>
                      <a:pt x="3" y="4"/>
                      <a:pt x="3" y="4"/>
                      <a:pt x="3" y="4"/>
                    </a:cubicBezTo>
                    <a:cubicBezTo>
                      <a:pt x="3" y="4"/>
                      <a:pt x="3" y="4"/>
                      <a:pt x="3" y="5"/>
                    </a:cubicBezTo>
                    <a:cubicBezTo>
                      <a:pt x="3" y="5"/>
                      <a:pt x="3" y="5"/>
                      <a:pt x="3" y="5"/>
                    </a:cubicBezTo>
                    <a:cubicBezTo>
                      <a:pt x="3" y="8"/>
                      <a:pt x="3" y="8"/>
                      <a:pt x="3" y="8"/>
                    </a:cubicBezTo>
                    <a:cubicBezTo>
                      <a:pt x="2" y="8"/>
                      <a:pt x="2" y="8"/>
                      <a:pt x="2" y="8"/>
                    </a:cubicBezTo>
                    <a:cubicBezTo>
                      <a:pt x="1" y="8"/>
                      <a:pt x="0" y="9"/>
                      <a:pt x="0" y="10"/>
                    </a:cubicBezTo>
                    <a:cubicBezTo>
                      <a:pt x="0" y="16"/>
                      <a:pt x="0" y="16"/>
                      <a:pt x="0" y="16"/>
                    </a:cubicBezTo>
                    <a:cubicBezTo>
                      <a:pt x="0" y="18"/>
                      <a:pt x="1" y="19"/>
                      <a:pt x="3" y="19"/>
                    </a:cubicBezTo>
                    <a:cubicBezTo>
                      <a:pt x="3" y="19"/>
                      <a:pt x="7" y="34"/>
                      <a:pt x="12" y="34"/>
                    </a:cubicBezTo>
                    <a:cubicBezTo>
                      <a:pt x="26" y="34"/>
                      <a:pt x="26" y="34"/>
                      <a:pt x="26" y="34"/>
                    </a:cubicBezTo>
                    <a:cubicBezTo>
                      <a:pt x="31" y="34"/>
                      <a:pt x="35" y="19"/>
                      <a:pt x="35" y="19"/>
                    </a:cubicBezTo>
                    <a:cubicBezTo>
                      <a:pt x="37" y="19"/>
                      <a:pt x="38" y="18"/>
                      <a:pt x="38" y="16"/>
                    </a:cubicBezTo>
                    <a:cubicBezTo>
                      <a:pt x="38" y="10"/>
                      <a:pt x="38" y="10"/>
                      <a:pt x="38" y="10"/>
                    </a:cubicBezTo>
                    <a:cubicBezTo>
                      <a:pt x="38" y="9"/>
                      <a:pt x="37" y="8"/>
                      <a:pt x="36" y="8"/>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1" name="Freeform 50"/>
              <p:cNvSpPr>
                <a:spLocks noEditPoints="1"/>
              </p:cNvSpPr>
              <p:nvPr/>
            </p:nvSpPr>
            <p:spPr bwMode="auto">
              <a:xfrm>
                <a:off x="2174" y="1788"/>
                <a:ext cx="51" cy="17"/>
              </a:xfrm>
              <a:custGeom>
                <a:avLst/>
                <a:gdLst>
                  <a:gd name="T0" fmla="*/ 32 w 33"/>
                  <a:gd name="T1" fmla="*/ 1 h 11"/>
                  <a:gd name="T2" fmla="*/ 24 w 33"/>
                  <a:gd name="T3" fmla="*/ 1 h 11"/>
                  <a:gd name="T4" fmla="*/ 16 w 33"/>
                  <a:gd name="T5" fmla="*/ 3 h 11"/>
                  <a:gd name="T6" fmla="*/ 9 w 33"/>
                  <a:gd name="T7" fmla="*/ 1 h 11"/>
                  <a:gd name="T8" fmla="*/ 0 w 33"/>
                  <a:gd name="T9" fmla="*/ 1 h 11"/>
                  <a:gd name="T10" fmla="*/ 0 w 33"/>
                  <a:gd name="T11" fmla="*/ 2 h 11"/>
                  <a:gd name="T12" fmla="*/ 1 w 33"/>
                  <a:gd name="T13" fmla="*/ 4 h 11"/>
                  <a:gd name="T14" fmla="*/ 2 w 33"/>
                  <a:gd name="T15" fmla="*/ 6 h 11"/>
                  <a:gd name="T16" fmla="*/ 10 w 33"/>
                  <a:gd name="T17" fmla="*/ 10 h 11"/>
                  <a:gd name="T18" fmla="*/ 15 w 33"/>
                  <a:gd name="T19" fmla="*/ 5 h 11"/>
                  <a:gd name="T20" fmla="*/ 16 w 33"/>
                  <a:gd name="T21" fmla="*/ 4 h 11"/>
                  <a:gd name="T22" fmla="*/ 18 w 33"/>
                  <a:gd name="T23" fmla="*/ 5 h 11"/>
                  <a:gd name="T24" fmla="*/ 23 w 33"/>
                  <a:gd name="T25" fmla="*/ 10 h 11"/>
                  <a:gd name="T26" fmla="*/ 31 w 33"/>
                  <a:gd name="T27" fmla="*/ 6 h 11"/>
                  <a:gd name="T28" fmla="*/ 32 w 33"/>
                  <a:gd name="T29" fmla="*/ 4 h 11"/>
                  <a:gd name="T30" fmla="*/ 32 w 33"/>
                  <a:gd name="T31" fmla="*/ 2 h 11"/>
                  <a:gd name="T32" fmla="*/ 32 w 33"/>
                  <a:gd name="T33" fmla="*/ 1 h 11"/>
                  <a:gd name="T34" fmla="*/ 12 w 33"/>
                  <a:gd name="T35" fmla="*/ 8 h 11"/>
                  <a:gd name="T36" fmla="*/ 7 w 33"/>
                  <a:gd name="T37" fmla="*/ 10 h 11"/>
                  <a:gd name="T38" fmla="*/ 3 w 33"/>
                  <a:gd name="T39" fmla="*/ 4 h 11"/>
                  <a:gd name="T40" fmla="*/ 9 w 33"/>
                  <a:gd name="T41" fmla="*/ 2 h 11"/>
                  <a:gd name="T42" fmla="*/ 13 w 33"/>
                  <a:gd name="T43" fmla="*/ 3 h 11"/>
                  <a:gd name="T44" fmla="*/ 12 w 33"/>
                  <a:gd name="T45" fmla="*/ 8 h 11"/>
                  <a:gd name="T46" fmla="*/ 26 w 33"/>
                  <a:gd name="T47" fmla="*/ 10 h 11"/>
                  <a:gd name="T48" fmla="*/ 20 w 33"/>
                  <a:gd name="T49" fmla="*/ 8 h 11"/>
                  <a:gd name="T50" fmla="*/ 20 w 33"/>
                  <a:gd name="T51" fmla="*/ 3 h 11"/>
                  <a:gd name="T52" fmla="*/ 24 w 33"/>
                  <a:gd name="T53" fmla="*/ 2 h 11"/>
                  <a:gd name="T54" fmla="*/ 30 w 33"/>
                  <a:gd name="T55" fmla="*/ 4 h 11"/>
                  <a:gd name="T56" fmla="*/ 26 w 33"/>
                  <a:gd name="T57" fmla="*/ 1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3" h="11">
                    <a:moveTo>
                      <a:pt x="32" y="1"/>
                    </a:moveTo>
                    <a:cubicBezTo>
                      <a:pt x="32" y="1"/>
                      <a:pt x="28" y="0"/>
                      <a:pt x="24" y="1"/>
                    </a:cubicBezTo>
                    <a:cubicBezTo>
                      <a:pt x="21" y="1"/>
                      <a:pt x="18" y="3"/>
                      <a:pt x="16" y="3"/>
                    </a:cubicBezTo>
                    <a:cubicBezTo>
                      <a:pt x="15" y="3"/>
                      <a:pt x="12" y="1"/>
                      <a:pt x="9" y="1"/>
                    </a:cubicBezTo>
                    <a:cubicBezTo>
                      <a:pt x="5" y="0"/>
                      <a:pt x="0" y="1"/>
                      <a:pt x="0" y="1"/>
                    </a:cubicBezTo>
                    <a:cubicBezTo>
                      <a:pt x="0" y="1"/>
                      <a:pt x="0" y="2"/>
                      <a:pt x="0" y="2"/>
                    </a:cubicBezTo>
                    <a:cubicBezTo>
                      <a:pt x="0" y="3"/>
                      <a:pt x="0" y="3"/>
                      <a:pt x="1" y="4"/>
                    </a:cubicBezTo>
                    <a:cubicBezTo>
                      <a:pt x="2" y="4"/>
                      <a:pt x="2" y="6"/>
                      <a:pt x="2" y="6"/>
                    </a:cubicBezTo>
                    <a:cubicBezTo>
                      <a:pt x="3" y="10"/>
                      <a:pt x="6" y="11"/>
                      <a:pt x="10" y="10"/>
                    </a:cubicBezTo>
                    <a:cubicBezTo>
                      <a:pt x="14" y="10"/>
                      <a:pt x="15" y="5"/>
                      <a:pt x="15" y="5"/>
                    </a:cubicBezTo>
                    <a:cubicBezTo>
                      <a:pt x="16" y="4"/>
                      <a:pt x="16" y="4"/>
                      <a:pt x="16" y="4"/>
                    </a:cubicBezTo>
                    <a:cubicBezTo>
                      <a:pt x="16" y="4"/>
                      <a:pt x="17" y="4"/>
                      <a:pt x="18" y="5"/>
                    </a:cubicBezTo>
                    <a:cubicBezTo>
                      <a:pt x="18" y="5"/>
                      <a:pt x="19" y="10"/>
                      <a:pt x="23" y="10"/>
                    </a:cubicBezTo>
                    <a:cubicBezTo>
                      <a:pt x="27" y="11"/>
                      <a:pt x="30" y="10"/>
                      <a:pt x="31" y="6"/>
                    </a:cubicBezTo>
                    <a:cubicBezTo>
                      <a:pt x="31" y="6"/>
                      <a:pt x="31" y="4"/>
                      <a:pt x="32" y="4"/>
                    </a:cubicBezTo>
                    <a:cubicBezTo>
                      <a:pt x="32" y="3"/>
                      <a:pt x="32" y="3"/>
                      <a:pt x="32" y="2"/>
                    </a:cubicBezTo>
                    <a:cubicBezTo>
                      <a:pt x="33" y="2"/>
                      <a:pt x="33" y="1"/>
                      <a:pt x="32" y="1"/>
                    </a:cubicBezTo>
                    <a:close/>
                    <a:moveTo>
                      <a:pt x="12" y="8"/>
                    </a:moveTo>
                    <a:cubicBezTo>
                      <a:pt x="11" y="10"/>
                      <a:pt x="9" y="10"/>
                      <a:pt x="7" y="10"/>
                    </a:cubicBezTo>
                    <a:cubicBezTo>
                      <a:pt x="4" y="9"/>
                      <a:pt x="3" y="7"/>
                      <a:pt x="3" y="4"/>
                    </a:cubicBezTo>
                    <a:cubicBezTo>
                      <a:pt x="3" y="1"/>
                      <a:pt x="9" y="2"/>
                      <a:pt x="9" y="2"/>
                    </a:cubicBezTo>
                    <a:cubicBezTo>
                      <a:pt x="11" y="2"/>
                      <a:pt x="11" y="2"/>
                      <a:pt x="13" y="3"/>
                    </a:cubicBezTo>
                    <a:cubicBezTo>
                      <a:pt x="15" y="3"/>
                      <a:pt x="14" y="7"/>
                      <a:pt x="12" y="8"/>
                    </a:cubicBezTo>
                    <a:close/>
                    <a:moveTo>
                      <a:pt x="26" y="10"/>
                    </a:moveTo>
                    <a:cubicBezTo>
                      <a:pt x="24" y="10"/>
                      <a:pt x="22" y="10"/>
                      <a:pt x="20" y="8"/>
                    </a:cubicBezTo>
                    <a:cubicBezTo>
                      <a:pt x="19" y="7"/>
                      <a:pt x="18" y="3"/>
                      <a:pt x="20" y="3"/>
                    </a:cubicBezTo>
                    <a:cubicBezTo>
                      <a:pt x="22" y="2"/>
                      <a:pt x="22" y="2"/>
                      <a:pt x="24" y="2"/>
                    </a:cubicBezTo>
                    <a:cubicBezTo>
                      <a:pt x="24" y="2"/>
                      <a:pt x="30" y="1"/>
                      <a:pt x="30" y="4"/>
                    </a:cubicBezTo>
                    <a:cubicBezTo>
                      <a:pt x="30" y="7"/>
                      <a:pt x="29" y="9"/>
                      <a:pt x="26" y="1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2" name="Oval 51"/>
              <p:cNvSpPr>
                <a:spLocks noChangeArrowheads="1"/>
              </p:cNvSpPr>
              <p:nvPr/>
            </p:nvSpPr>
            <p:spPr bwMode="auto">
              <a:xfrm>
                <a:off x="2175" y="1792"/>
                <a:ext cx="2" cy="1"/>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3" name="Oval 52"/>
              <p:cNvSpPr>
                <a:spLocks noChangeArrowheads="1"/>
              </p:cNvSpPr>
              <p:nvPr/>
            </p:nvSpPr>
            <p:spPr bwMode="auto">
              <a:xfrm>
                <a:off x="2222" y="1792"/>
                <a:ext cx="1" cy="1"/>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4" name="Freeform 53"/>
              <p:cNvSpPr>
                <a:spLocks/>
              </p:cNvSpPr>
              <p:nvPr/>
            </p:nvSpPr>
            <p:spPr bwMode="auto">
              <a:xfrm>
                <a:off x="2294" y="1781"/>
                <a:ext cx="42" cy="45"/>
              </a:xfrm>
              <a:custGeom>
                <a:avLst/>
                <a:gdLst>
                  <a:gd name="T0" fmla="*/ 0 w 42"/>
                  <a:gd name="T1" fmla="*/ 4 h 45"/>
                  <a:gd name="T2" fmla="*/ 3 w 42"/>
                  <a:gd name="T3" fmla="*/ 0 h 45"/>
                  <a:gd name="T4" fmla="*/ 37 w 42"/>
                  <a:gd name="T5" fmla="*/ 0 h 45"/>
                  <a:gd name="T6" fmla="*/ 42 w 42"/>
                  <a:gd name="T7" fmla="*/ 4 h 45"/>
                  <a:gd name="T8" fmla="*/ 31 w 42"/>
                  <a:gd name="T9" fmla="*/ 41 h 45"/>
                  <a:gd name="T10" fmla="*/ 16 w 42"/>
                  <a:gd name="T11" fmla="*/ 45 h 45"/>
                  <a:gd name="T12" fmla="*/ 2 w 42"/>
                  <a:gd name="T13" fmla="*/ 28 h 45"/>
                  <a:gd name="T14" fmla="*/ 0 w 42"/>
                  <a:gd name="T15" fmla="*/ 4 h 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2" h="45">
                    <a:moveTo>
                      <a:pt x="0" y="4"/>
                    </a:moveTo>
                    <a:lnTo>
                      <a:pt x="3" y="0"/>
                    </a:lnTo>
                    <a:lnTo>
                      <a:pt x="37" y="0"/>
                    </a:lnTo>
                    <a:lnTo>
                      <a:pt x="42" y="4"/>
                    </a:lnTo>
                    <a:lnTo>
                      <a:pt x="31" y="41"/>
                    </a:lnTo>
                    <a:lnTo>
                      <a:pt x="16" y="45"/>
                    </a:lnTo>
                    <a:lnTo>
                      <a:pt x="2" y="28"/>
                    </a:lnTo>
                    <a:lnTo>
                      <a:pt x="0" y="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5" name="Freeform 54"/>
              <p:cNvSpPr>
                <a:spLocks/>
              </p:cNvSpPr>
              <p:nvPr/>
            </p:nvSpPr>
            <p:spPr bwMode="auto">
              <a:xfrm>
                <a:off x="2270" y="2205"/>
                <a:ext cx="41" cy="21"/>
              </a:xfrm>
              <a:custGeom>
                <a:avLst/>
                <a:gdLst>
                  <a:gd name="T0" fmla="*/ 14 w 27"/>
                  <a:gd name="T1" fmla="*/ 0 h 14"/>
                  <a:gd name="T2" fmla="*/ 0 w 27"/>
                  <a:gd name="T3" fmla="*/ 14 h 14"/>
                  <a:gd name="T4" fmla="*/ 27 w 27"/>
                  <a:gd name="T5" fmla="*/ 14 h 14"/>
                  <a:gd name="T6" fmla="*/ 14 w 27"/>
                  <a:gd name="T7" fmla="*/ 0 h 14"/>
                </a:gdLst>
                <a:ahLst/>
                <a:cxnLst>
                  <a:cxn ang="0">
                    <a:pos x="T0" y="T1"/>
                  </a:cxn>
                  <a:cxn ang="0">
                    <a:pos x="T2" y="T3"/>
                  </a:cxn>
                  <a:cxn ang="0">
                    <a:pos x="T4" y="T5"/>
                  </a:cxn>
                  <a:cxn ang="0">
                    <a:pos x="T6" y="T7"/>
                  </a:cxn>
                </a:cxnLst>
                <a:rect l="0" t="0" r="r" b="b"/>
                <a:pathLst>
                  <a:path w="27" h="14">
                    <a:moveTo>
                      <a:pt x="14" y="0"/>
                    </a:moveTo>
                    <a:cubicBezTo>
                      <a:pt x="6" y="0"/>
                      <a:pt x="0" y="6"/>
                      <a:pt x="0" y="14"/>
                    </a:cubicBezTo>
                    <a:cubicBezTo>
                      <a:pt x="27" y="14"/>
                      <a:pt x="27" y="14"/>
                      <a:pt x="27" y="14"/>
                    </a:cubicBezTo>
                    <a:cubicBezTo>
                      <a:pt x="27" y="6"/>
                      <a:pt x="21" y="0"/>
                      <a:pt x="14" y="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6" name="Freeform 55"/>
              <p:cNvSpPr>
                <a:spLocks/>
              </p:cNvSpPr>
              <p:nvPr/>
            </p:nvSpPr>
            <p:spPr bwMode="auto">
              <a:xfrm>
                <a:off x="2265" y="1979"/>
                <a:ext cx="53" cy="230"/>
              </a:xfrm>
              <a:custGeom>
                <a:avLst/>
                <a:gdLst>
                  <a:gd name="T0" fmla="*/ 40 w 53"/>
                  <a:gd name="T1" fmla="*/ 230 h 230"/>
                  <a:gd name="T2" fmla="*/ 9 w 53"/>
                  <a:gd name="T3" fmla="*/ 230 h 230"/>
                  <a:gd name="T4" fmla="*/ 0 w 53"/>
                  <a:gd name="T5" fmla="*/ 0 h 230"/>
                  <a:gd name="T6" fmla="*/ 53 w 53"/>
                  <a:gd name="T7" fmla="*/ 0 h 230"/>
                  <a:gd name="T8" fmla="*/ 40 w 53"/>
                  <a:gd name="T9" fmla="*/ 230 h 230"/>
                </a:gdLst>
                <a:ahLst/>
                <a:cxnLst>
                  <a:cxn ang="0">
                    <a:pos x="T0" y="T1"/>
                  </a:cxn>
                  <a:cxn ang="0">
                    <a:pos x="T2" y="T3"/>
                  </a:cxn>
                  <a:cxn ang="0">
                    <a:pos x="T4" y="T5"/>
                  </a:cxn>
                  <a:cxn ang="0">
                    <a:pos x="T6" y="T7"/>
                  </a:cxn>
                  <a:cxn ang="0">
                    <a:pos x="T8" y="T9"/>
                  </a:cxn>
                </a:cxnLst>
                <a:rect l="0" t="0" r="r" b="b"/>
                <a:pathLst>
                  <a:path w="53" h="230">
                    <a:moveTo>
                      <a:pt x="40" y="230"/>
                    </a:moveTo>
                    <a:lnTo>
                      <a:pt x="9" y="230"/>
                    </a:lnTo>
                    <a:lnTo>
                      <a:pt x="0" y="0"/>
                    </a:lnTo>
                    <a:lnTo>
                      <a:pt x="53" y="0"/>
                    </a:lnTo>
                    <a:lnTo>
                      <a:pt x="40" y="23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7" name="Freeform 56"/>
              <p:cNvSpPr>
                <a:spLocks/>
              </p:cNvSpPr>
              <p:nvPr/>
            </p:nvSpPr>
            <p:spPr bwMode="auto">
              <a:xfrm>
                <a:off x="2311" y="1979"/>
                <a:ext cx="53" cy="230"/>
              </a:xfrm>
              <a:custGeom>
                <a:avLst/>
                <a:gdLst>
                  <a:gd name="T0" fmla="*/ 44 w 53"/>
                  <a:gd name="T1" fmla="*/ 230 h 230"/>
                  <a:gd name="T2" fmla="*/ 13 w 53"/>
                  <a:gd name="T3" fmla="*/ 230 h 230"/>
                  <a:gd name="T4" fmla="*/ 0 w 53"/>
                  <a:gd name="T5" fmla="*/ 0 h 230"/>
                  <a:gd name="T6" fmla="*/ 53 w 53"/>
                  <a:gd name="T7" fmla="*/ 0 h 230"/>
                  <a:gd name="T8" fmla="*/ 44 w 53"/>
                  <a:gd name="T9" fmla="*/ 230 h 230"/>
                </a:gdLst>
                <a:ahLst/>
                <a:cxnLst>
                  <a:cxn ang="0">
                    <a:pos x="T0" y="T1"/>
                  </a:cxn>
                  <a:cxn ang="0">
                    <a:pos x="T2" y="T3"/>
                  </a:cxn>
                  <a:cxn ang="0">
                    <a:pos x="T4" y="T5"/>
                  </a:cxn>
                  <a:cxn ang="0">
                    <a:pos x="T6" y="T7"/>
                  </a:cxn>
                  <a:cxn ang="0">
                    <a:pos x="T8" y="T9"/>
                  </a:cxn>
                </a:cxnLst>
                <a:rect l="0" t="0" r="r" b="b"/>
                <a:pathLst>
                  <a:path w="53" h="230">
                    <a:moveTo>
                      <a:pt x="44" y="230"/>
                    </a:moveTo>
                    <a:lnTo>
                      <a:pt x="13" y="230"/>
                    </a:lnTo>
                    <a:lnTo>
                      <a:pt x="0" y="0"/>
                    </a:lnTo>
                    <a:lnTo>
                      <a:pt x="53" y="0"/>
                    </a:lnTo>
                    <a:lnTo>
                      <a:pt x="44" y="23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8" name="Freeform 57"/>
              <p:cNvSpPr>
                <a:spLocks/>
              </p:cNvSpPr>
              <p:nvPr/>
            </p:nvSpPr>
            <p:spPr bwMode="auto">
              <a:xfrm>
                <a:off x="2319" y="2205"/>
                <a:ext cx="42" cy="21"/>
              </a:xfrm>
              <a:custGeom>
                <a:avLst/>
                <a:gdLst>
                  <a:gd name="T0" fmla="*/ 13 w 27"/>
                  <a:gd name="T1" fmla="*/ 0 h 14"/>
                  <a:gd name="T2" fmla="*/ 0 w 27"/>
                  <a:gd name="T3" fmla="*/ 14 h 14"/>
                  <a:gd name="T4" fmla="*/ 27 w 27"/>
                  <a:gd name="T5" fmla="*/ 14 h 14"/>
                  <a:gd name="T6" fmla="*/ 13 w 27"/>
                  <a:gd name="T7" fmla="*/ 0 h 14"/>
                </a:gdLst>
                <a:ahLst/>
                <a:cxnLst>
                  <a:cxn ang="0">
                    <a:pos x="T0" y="T1"/>
                  </a:cxn>
                  <a:cxn ang="0">
                    <a:pos x="T2" y="T3"/>
                  </a:cxn>
                  <a:cxn ang="0">
                    <a:pos x="T4" y="T5"/>
                  </a:cxn>
                  <a:cxn ang="0">
                    <a:pos x="T6" y="T7"/>
                  </a:cxn>
                </a:cxnLst>
                <a:rect l="0" t="0" r="r" b="b"/>
                <a:pathLst>
                  <a:path w="27" h="14">
                    <a:moveTo>
                      <a:pt x="13" y="0"/>
                    </a:moveTo>
                    <a:cubicBezTo>
                      <a:pt x="6" y="0"/>
                      <a:pt x="0" y="6"/>
                      <a:pt x="0" y="14"/>
                    </a:cubicBezTo>
                    <a:cubicBezTo>
                      <a:pt x="27" y="14"/>
                      <a:pt x="27" y="14"/>
                      <a:pt x="27" y="14"/>
                    </a:cubicBezTo>
                    <a:cubicBezTo>
                      <a:pt x="27" y="6"/>
                      <a:pt x="21" y="0"/>
                      <a:pt x="13" y="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9" name="Freeform 58"/>
              <p:cNvSpPr>
                <a:spLocks/>
              </p:cNvSpPr>
              <p:nvPr/>
            </p:nvSpPr>
            <p:spPr bwMode="auto">
              <a:xfrm>
                <a:off x="2290" y="1787"/>
                <a:ext cx="52" cy="139"/>
              </a:xfrm>
              <a:custGeom>
                <a:avLst/>
                <a:gdLst>
                  <a:gd name="T0" fmla="*/ 52 w 52"/>
                  <a:gd name="T1" fmla="*/ 29 h 139"/>
                  <a:gd name="T2" fmla="*/ 26 w 52"/>
                  <a:gd name="T3" fmla="*/ 0 h 139"/>
                  <a:gd name="T4" fmla="*/ 0 w 52"/>
                  <a:gd name="T5" fmla="*/ 26 h 139"/>
                  <a:gd name="T6" fmla="*/ 20 w 52"/>
                  <a:gd name="T7" fmla="*/ 128 h 139"/>
                  <a:gd name="T8" fmla="*/ 24 w 52"/>
                  <a:gd name="T9" fmla="*/ 139 h 139"/>
                  <a:gd name="T10" fmla="*/ 31 w 52"/>
                  <a:gd name="T11" fmla="*/ 128 h 139"/>
                  <a:gd name="T12" fmla="*/ 52 w 52"/>
                  <a:gd name="T13" fmla="*/ 29 h 139"/>
                </a:gdLst>
                <a:ahLst/>
                <a:cxnLst>
                  <a:cxn ang="0">
                    <a:pos x="T0" y="T1"/>
                  </a:cxn>
                  <a:cxn ang="0">
                    <a:pos x="T2" y="T3"/>
                  </a:cxn>
                  <a:cxn ang="0">
                    <a:pos x="T4" y="T5"/>
                  </a:cxn>
                  <a:cxn ang="0">
                    <a:pos x="T6" y="T7"/>
                  </a:cxn>
                  <a:cxn ang="0">
                    <a:pos x="T8" y="T9"/>
                  </a:cxn>
                  <a:cxn ang="0">
                    <a:pos x="T10" y="T11"/>
                  </a:cxn>
                  <a:cxn ang="0">
                    <a:pos x="T12" y="T13"/>
                  </a:cxn>
                </a:cxnLst>
                <a:rect l="0" t="0" r="r" b="b"/>
                <a:pathLst>
                  <a:path w="52" h="139">
                    <a:moveTo>
                      <a:pt x="52" y="29"/>
                    </a:moveTo>
                    <a:lnTo>
                      <a:pt x="26" y="0"/>
                    </a:lnTo>
                    <a:lnTo>
                      <a:pt x="0" y="26"/>
                    </a:lnTo>
                    <a:lnTo>
                      <a:pt x="20" y="128"/>
                    </a:lnTo>
                    <a:lnTo>
                      <a:pt x="24" y="139"/>
                    </a:lnTo>
                    <a:lnTo>
                      <a:pt x="31" y="128"/>
                    </a:lnTo>
                    <a:lnTo>
                      <a:pt x="52" y="29"/>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0" name="Freeform 59"/>
              <p:cNvSpPr>
                <a:spLocks/>
              </p:cNvSpPr>
              <p:nvPr/>
            </p:nvSpPr>
            <p:spPr bwMode="auto">
              <a:xfrm>
                <a:off x="2285" y="1693"/>
                <a:ext cx="65" cy="82"/>
              </a:xfrm>
              <a:custGeom>
                <a:avLst/>
                <a:gdLst>
                  <a:gd name="T0" fmla="*/ 37 w 42"/>
                  <a:gd name="T1" fmla="*/ 32 h 53"/>
                  <a:gd name="T2" fmla="*/ 15 w 42"/>
                  <a:gd name="T3" fmla="*/ 49 h 53"/>
                  <a:gd name="T4" fmla="*/ 4 w 42"/>
                  <a:gd name="T5" fmla="*/ 21 h 53"/>
                  <a:gd name="T6" fmla="*/ 31 w 42"/>
                  <a:gd name="T7" fmla="*/ 3 h 53"/>
                  <a:gd name="T8" fmla="*/ 37 w 42"/>
                  <a:gd name="T9" fmla="*/ 32 h 53"/>
                </a:gdLst>
                <a:ahLst/>
                <a:cxnLst>
                  <a:cxn ang="0">
                    <a:pos x="T0" y="T1"/>
                  </a:cxn>
                  <a:cxn ang="0">
                    <a:pos x="T2" y="T3"/>
                  </a:cxn>
                  <a:cxn ang="0">
                    <a:pos x="T4" y="T5"/>
                  </a:cxn>
                  <a:cxn ang="0">
                    <a:pos x="T6" y="T7"/>
                  </a:cxn>
                  <a:cxn ang="0">
                    <a:pos x="T8" y="T9"/>
                  </a:cxn>
                </a:cxnLst>
                <a:rect l="0" t="0" r="r" b="b"/>
                <a:pathLst>
                  <a:path w="42" h="53">
                    <a:moveTo>
                      <a:pt x="37" y="32"/>
                    </a:moveTo>
                    <a:cubicBezTo>
                      <a:pt x="30" y="53"/>
                      <a:pt x="25" y="53"/>
                      <a:pt x="15" y="49"/>
                    </a:cubicBezTo>
                    <a:cubicBezTo>
                      <a:pt x="5" y="46"/>
                      <a:pt x="0" y="33"/>
                      <a:pt x="4" y="21"/>
                    </a:cubicBezTo>
                    <a:cubicBezTo>
                      <a:pt x="8" y="9"/>
                      <a:pt x="21" y="0"/>
                      <a:pt x="31" y="3"/>
                    </a:cubicBezTo>
                    <a:cubicBezTo>
                      <a:pt x="41" y="6"/>
                      <a:pt x="42" y="20"/>
                      <a:pt x="37" y="32"/>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1" name="Freeform 60"/>
              <p:cNvSpPr>
                <a:spLocks/>
              </p:cNvSpPr>
              <p:nvPr/>
            </p:nvSpPr>
            <p:spPr bwMode="auto">
              <a:xfrm>
                <a:off x="2273" y="1689"/>
                <a:ext cx="72" cy="90"/>
              </a:xfrm>
              <a:custGeom>
                <a:avLst/>
                <a:gdLst>
                  <a:gd name="T0" fmla="*/ 41 w 47"/>
                  <a:gd name="T1" fmla="*/ 11 h 58"/>
                  <a:gd name="T2" fmla="*/ 34 w 47"/>
                  <a:gd name="T3" fmla="*/ 49 h 58"/>
                  <a:gd name="T4" fmla="*/ 14 w 47"/>
                  <a:gd name="T5" fmla="*/ 47 h 58"/>
                  <a:gd name="T6" fmla="*/ 14 w 47"/>
                  <a:gd name="T7" fmla="*/ 4 h 58"/>
                  <a:gd name="T8" fmla="*/ 41 w 47"/>
                  <a:gd name="T9" fmla="*/ 11 h 58"/>
                </a:gdLst>
                <a:ahLst/>
                <a:cxnLst>
                  <a:cxn ang="0">
                    <a:pos x="T0" y="T1"/>
                  </a:cxn>
                  <a:cxn ang="0">
                    <a:pos x="T2" y="T3"/>
                  </a:cxn>
                  <a:cxn ang="0">
                    <a:pos x="T4" y="T5"/>
                  </a:cxn>
                  <a:cxn ang="0">
                    <a:pos x="T6" y="T7"/>
                  </a:cxn>
                  <a:cxn ang="0">
                    <a:pos x="T8" y="T9"/>
                  </a:cxn>
                </a:cxnLst>
                <a:rect l="0" t="0" r="r" b="b"/>
                <a:pathLst>
                  <a:path w="47" h="58">
                    <a:moveTo>
                      <a:pt x="41" y="11"/>
                    </a:moveTo>
                    <a:cubicBezTo>
                      <a:pt x="47" y="22"/>
                      <a:pt x="43" y="44"/>
                      <a:pt x="34" y="49"/>
                    </a:cubicBezTo>
                    <a:cubicBezTo>
                      <a:pt x="26" y="53"/>
                      <a:pt x="20" y="58"/>
                      <a:pt x="14" y="47"/>
                    </a:cubicBezTo>
                    <a:cubicBezTo>
                      <a:pt x="8" y="37"/>
                      <a:pt x="0" y="10"/>
                      <a:pt x="14" y="4"/>
                    </a:cubicBezTo>
                    <a:cubicBezTo>
                      <a:pt x="22" y="0"/>
                      <a:pt x="35" y="1"/>
                      <a:pt x="41" y="11"/>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2" name="Freeform 61"/>
              <p:cNvSpPr>
                <a:spLocks/>
              </p:cNvSpPr>
              <p:nvPr/>
            </p:nvSpPr>
            <p:spPr bwMode="auto">
              <a:xfrm>
                <a:off x="2297" y="1754"/>
                <a:ext cx="34" cy="41"/>
              </a:xfrm>
              <a:custGeom>
                <a:avLst/>
                <a:gdLst>
                  <a:gd name="T0" fmla="*/ 34 w 34"/>
                  <a:gd name="T1" fmla="*/ 27 h 41"/>
                  <a:gd name="T2" fmla="*/ 17 w 34"/>
                  <a:gd name="T3" fmla="*/ 41 h 41"/>
                  <a:gd name="T4" fmla="*/ 0 w 34"/>
                  <a:gd name="T5" fmla="*/ 27 h 41"/>
                  <a:gd name="T6" fmla="*/ 0 w 34"/>
                  <a:gd name="T7" fmla="*/ 0 h 41"/>
                  <a:gd name="T8" fmla="*/ 34 w 34"/>
                  <a:gd name="T9" fmla="*/ 0 h 41"/>
                  <a:gd name="T10" fmla="*/ 34 w 34"/>
                  <a:gd name="T11" fmla="*/ 27 h 41"/>
                </a:gdLst>
                <a:ahLst/>
                <a:cxnLst>
                  <a:cxn ang="0">
                    <a:pos x="T0" y="T1"/>
                  </a:cxn>
                  <a:cxn ang="0">
                    <a:pos x="T2" y="T3"/>
                  </a:cxn>
                  <a:cxn ang="0">
                    <a:pos x="T4" y="T5"/>
                  </a:cxn>
                  <a:cxn ang="0">
                    <a:pos x="T6" y="T7"/>
                  </a:cxn>
                  <a:cxn ang="0">
                    <a:pos x="T8" y="T9"/>
                  </a:cxn>
                  <a:cxn ang="0">
                    <a:pos x="T10" y="T11"/>
                  </a:cxn>
                </a:cxnLst>
                <a:rect l="0" t="0" r="r" b="b"/>
                <a:pathLst>
                  <a:path w="34" h="41">
                    <a:moveTo>
                      <a:pt x="34" y="27"/>
                    </a:moveTo>
                    <a:lnTo>
                      <a:pt x="17" y="41"/>
                    </a:lnTo>
                    <a:lnTo>
                      <a:pt x="0" y="27"/>
                    </a:lnTo>
                    <a:lnTo>
                      <a:pt x="0" y="0"/>
                    </a:lnTo>
                    <a:lnTo>
                      <a:pt x="34" y="0"/>
                    </a:lnTo>
                    <a:lnTo>
                      <a:pt x="34" y="27"/>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3" name="Freeform 62"/>
              <p:cNvSpPr>
                <a:spLocks/>
              </p:cNvSpPr>
              <p:nvPr/>
            </p:nvSpPr>
            <p:spPr bwMode="auto">
              <a:xfrm>
                <a:off x="2219" y="1792"/>
                <a:ext cx="71" cy="185"/>
              </a:xfrm>
              <a:custGeom>
                <a:avLst/>
                <a:gdLst>
                  <a:gd name="T0" fmla="*/ 46 w 46"/>
                  <a:gd name="T1" fmla="*/ 5 h 120"/>
                  <a:gd name="T2" fmla="*/ 28 w 46"/>
                  <a:gd name="T3" fmla="*/ 0 h 120"/>
                  <a:gd name="T4" fmla="*/ 0 w 46"/>
                  <a:gd name="T5" fmla="*/ 120 h 120"/>
                  <a:gd name="T6" fmla="*/ 19 w 46"/>
                  <a:gd name="T7" fmla="*/ 120 h 120"/>
                  <a:gd name="T8" fmla="*/ 46 w 46"/>
                  <a:gd name="T9" fmla="*/ 5 h 120"/>
                </a:gdLst>
                <a:ahLst/>
                <a:cxnLst>
                  <a:cxn ang="0">
                    <a:pos x="T0" y="T1"/>
                  </a:cxn>
                  <a:cxn ang="0">
                    <a:pos x="T2" y="T3"/>
                  </a:cxn>
                  <a:cxn ang="0">
                    <a:pos x="T4" y="T5"/>
                  </a:cxn>
                  <a:cxn ang="0">
                    <a:pos x="T6" y="T7"/>
                  </a:cxn>
                  <a:cxn ang="0">
                    <a:pos x="T8" y="T9"/>
                  </a:cxn>
                </a:cxnLst>
                <a:rect l="0" t="0" r="r" b="b"/>
                <a:pathLst>
                  <a:path w="46" h="120">
                    <a:moveTo>
                      <a:pt x="46" y="5"/>
                    </a:moveTo>
                    <a:cubicBezTo>
                      <a:pt x="40" y="3"/>
                      <a:pt x="34" y="2"/>
                      <a:pt x="28" y="0"/>
                    </a:cubicBezTo>
                    <a:cubicBezTo>
                      <a:pt x="10" y="39"/>
                      <a:pt x="4" y="78"/>
                      <a:pt x="0" y="120"/>
                    </a:cubicBezTo>
                    <a:cubicBezTo>
                      <a:pt x="19" y="120"/>
                      <a:pt x="19" y="120"/>
                      <a:pt x="19" y="120"/>
                    </a:cubicBezTo>
                    <a:cubicBezTo>
                      <a:pt x="23" y="79"/>
                      <a:pt x="29" y="42"/>
                      <a:pt x="46" y="5"/>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4" name="Freeform 63"/>
              <p:cNvSpPr>
                <a:spLocks/>
              </p:cNvSpPr>
              <p:nvPr/>
            </p:nvSpPr>
            <p:spPr bwMode="auto">
              <a:xfrm>
                <a:off x="2341" y="1792"/>
                <a:ext cx="71" cy="185"/>
              </a:xfrm>
              <a:custGeom>
                <a:avLst/>
                <a:gdLst>
                  <a:gd name="T0" fmla="*/ 0 w 46"/>
                  <a:gd name="T1" fmla="*/ 5 h 120"/>
                  <a:gd name="T2" fmla="*/ 18 w 46"/>
                  <a:gd name="T3" fmla="*/ 0 h 120"/>
                  <a:gd name="T4" fmla="*/ 46 w 46"/>
                  <a:gd name="T5" fmla="*/ 120 h 120"/>
                  <a:gd name="T6" fmla="*/ 27 w 46"/>
                  <a:gd name="T7" fmla="*/ 120 h 120"/>
                  <a:gd name="T8" fmla="*/ 0 w 46"/>
                  <a:gd name="T9" fmla="*/ 5 h 120"/>
                </a:gdLst>
                <a:ahLst/>
                <a:cxnLst>
                  <a:cxn ang="0">
                    <a:pos x="T0" y="T1"/>
                  </a:cxn>
                  <a:cxn ang="0">
                    <a:pos x="T2" y="T3"/>
                  </a:cxn>
                  <a:cxn ang="0">
                    <a:pos x="T4" y="T5"/>
                  </a:cxn>
                  <a:cxn ang="0">
                    <a:pos x="T6" y="T7"/>
                  </a:cxn>
                  <a:cxn ang="0">
                    <a:pos x="T8" y="T9"/>
                  </a:cxn>
                </a:cxnLst>
                <a:rect l="0" t="0" r="r" b="b"/>
                <a:pathLst>
                  <a:path w="46" h="120">
                    <a:moveTo>
                      <a:pt x="0" y="5"/>
                    </a:moveTo>
                    <a:cubicBezTo>
                      <a:pt x="6" y="3"/>
                      <a:pt x="12" y="2"/>
                      <a:pt x="18" y="0"/>
                    </a:cubicBezTo>
                    <a:cubicBezTo>
                      <a:pt x="36" y="39"/>
                      <a:pt x="42" y="78"/>
                      <a:pt x="46" y="120"/>
                    </a:cubicBezTo>
                    <a:cubicBezTo>
                      <a:pt x="27" y="120"/>
                      <a:pt x="27" y="120"/>
                      <a:pt x="27" y="120"/>
                    </a:cubicBezTo>
                    <a:cubicBezTo>
                      <a:pt x="23" y="79"/>
                      <a:pt x="17" y="42"/>
                      <a:pt x="0" y="5"/>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5" name="Freeform 64"/>
              <p:cNvSpPr>
                <a:spLocks/>
              </p:cNvSpPr>
              <p:nvPr/>
            </p:nvSpPr>
            <p:spPr bwMode="auto">
              <a:xfrm>
                <a:off x="2222" y="1977"/>
                <a:ext cx="21" cy="23"/>
              </a:xfrm>
              <a:custGeom>
                <a:avLst/>
                <a:gdLst>
                  <a:gd name="T0" fmla="*/ 0 w 14"/>
                  <a:gd name="T1" fmla="*/ 0 h 15"/>
                  <a:gd name="T2" fmla="*/ 0 w 14"/>
                  <a:gd name="T3" fmla="*/ 8 h 15"/>
                  <a:gd name="T4" fmla="*/ 7 w 14"/>
                  <a:gd name="T5" fmla="*/ 15 h 15"/>
                  <a:gd name="T6" fmla="*/ 14 w 14"/>
                  <a:gd name="T7" fmla="*/ 8 h 15"/>
                  <a:gd name="T8" fmla="*/ 14 w 14"/>
                  <a:gd name="T9" fmla="*/ 0 h 15"/>
                  <a:gd name="T10" fmla="*/ 0 w 14"/>
                  <a:gd name="T11" fmla="*/ 0 h 15"/>
                </a:gdLst>
                <a:ahLst/>
                <a:cxnLst>
                  <a:cxn ang="0">
                    <a:pos x="T0" y="T1"/>
                  </a:cxn>
                  <a:cxn ang="0">
                    <a:pos x="T2" y="T3"/>
                  </a:cxn>
                  <a:cxn ang="0">
                    <a:pos x="T4" y="T5"/>
                  </a:cxn>
                  <a:cxn ang="0">
                    <a:pos x="T6" y="T7"/>
                  </a:cxn>
                  <a:cxn ang="0">
                    <a:pos x="T8" y="T9"/>
                  </a:cxn>
                  <a:cxn ang="0">
                    <a:pos x="T10" y="T11"/>
                  </a:cxn>
                </a:cxnLst>
                <a:rect l="0" t="0" r="r" b="b"/>
                <a:pathLst>
                  <a:path w="14" h="15">
                    <a:moveTo>
                      <a:pt x="0" y="0"/>
                    </a:moveTo>
                    <a:cubicBezTo>
                      <a:pt x="0" y="8"/>
                      <a:pt x="0" y="8"/>
                      <a:pt x="0" y="8"/>
                    </a:cubicBezTo>
                    <a:cubicBezTo>
                      <a:pt x="0" y="12"/>
                      <a:pt x="3" y="15"/>
                      <a:pt x="7" y="15"/>
                    </a:cubicBezTo>
                    <a:cubicBezTo>
                      <a:pt x="11" y="15"/>
                      <a:pt x="14" y="12"/>
                      <a:pt x="14" y="8"/>
                    </a:cubicBezTo>
                    <a:cubicBezTo>
                      <a:pt x="14" y="0"/>
                      <a:pt x="14" y="0"/>
                      <a:pt x="14" y="0"/>
                    </a:cubicBezTo>
                    <a:lnTo>
                      <a:pt x="0" y="0"/>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6" name="Freeform 65"/>
              <p:cNvSpPr>
                <a:spLocks/>
              </p:cNvSpPr>
              <p:nvPr/>
            </p:nvSpPr>
            <p:spPr bwMode="auto">
              <a:xfrm>
                <a:off x="2387" y="1977"/>
                <a:ext cx="22" cy="23"/>
              </a:xfrm>
              <a:custGeom>
                <a:avLst/>
                <a:gdLst>
                  <a:gd name="T0" fmla="*/ 0 w 14"/>
                  <a:gd name="T1" fmla="*/ 0 h 15"/>
                  <a:gd name="T2" fmla="*/ 0 w 14"/>
                  <a:gd name="T3" fmla="*/ 8 h 15"/>
                  <a:gd name="T4" fmla="*/ 7 w 14"/>
                  <a:gd name="T5" fmla="*/ 15 h 15"/>
                  <a:gd name="T6" fmla="*/ 14 w 14"/>
                  <a:gd name="T7" fmla="*/ 8 h 15"/>
                  <a:gd name="T8" fmla="*/ 14 w 14"/>
                  <a:gd name="T9" fmla="*/ 0 h 15"/>
                  <a:gd name="T10" fmla="*/ 0 w 14"/>
                  <a:gd name="T11" fmla="*/ 0 h 15"/>
                </a:gdLst>
                <a:ahLst/>
                <a:cxnLst>
                  <a:cxn ang="0">
                    <a:pos x="T0" y="T1"/>
                  </a:cxn>
                  <a:cxn ang="0">
                    <a:pos x="T2" y="T3"/>
                  </a:cxn>
                  <a:cxn ang="0">
                    <a:pos x="T4" y="T5"/>
                  </a:cxn>
                  <a:cxn ang="0">
                    <a:pos x="T6" y="T7"/>
                  </a:cxn>
                  <a:cxn ang="0">
                    <a:pos x="T8" y="T9"/>
                  </a:cxn>
                  <a:cxn ang="0">
                    <a:pos x="T10" y="T11"/>
                  </a:cxn>
                </a:cxnLst>
                <a:rect l="0" t="0" r="r" b="b"/>
                <a:pathLst>
                  <a:path w="14" h="15">
                    <a:moveTo>
                      <a:pt x="0" y="0"/>
                    </a:moveTo>
                    <a:cubicBezTo>
                      <a:pt x="0" y="8"/>
                      <a:pt x="0" y="8"/>
                      <a:pt x="0" y="8"/>
                    </a:cubicBezTo>
                    <a:cubicBezTo>
                      <a:pt x="0" y="12"/>
                      <a:pt x="3" y="15"/>
                      <a:pt x="7" y="15"/>
                    </a:cubicBezTo>
                    <a:cubicBezTo>
                      <a:pt x="11" y="15"/>
                      <a:pt x="14" y="12"/>
                      <a:pt x="14" y="8"/>
                    </a:cubicBezTo>
                    <a:cubicBezTo>
                      <a:pt x="14" y="0"/>
                      <a:pt x="14" y="0"/>
                      <a:pt x="14" y="0"/>
                    </a:cubicBezTo>
                    <a:lnTo>
                      <a:pt x="0" y="0"/>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7" name="Freeform 66"/>
              <p:cNvSpPr>
                <a:spLocks/>
              </p:cNvSpPr>
              <p:nvPr/>
            </p:nvSpPr>
            <p:spPr bwMode="auto">
              <a:xfrm>
                <a:off x="2260" y="1785"/>
                <a:ext cx="109" cy="189"/>
              </a:xfrm>
              <a:custGeom>
                <a:avLst/>
                <a:gdLst>
                  <a:gd name="T0" fmla="*/ 76 w 109"/>
                  <a:gd name="T1" fmla="*/ 0 h 189"/>
                  <a:gd name="T2" fmla="*/ 54 w 109"/>
                  <a:gd name="T3" fmla="*/ 36 h 189"/>
                  <a:gd name="T4" fmla="*/ 34 w 109"/>
                  <a:gd name="T5" fmla="*/ 0 h 189"/>
                  <a:gd name="T6" fmla="*/ 0 w 109"/>
                  <a:gd name="T7" fmla="*/ 7 h 189"/>
                  <a:gd name="T8" fmla="*/ 3 w 109"/>
                  <a:gd name="T9" fmla="*/ 189 h 189"/>
                  <a:gd name="T10" fmla="*/ 107 w 109"/>
                  <a:gd name="T11" fmla="*/ 189 h 189"/>
                  <a:gd name="T12" fmla="*/ 109 w 109"/>
                  <a:gd name="T13" fmla="*/ 7 h 189"/>
                  <a:gd name="T14" fmla="*/ 76 w 109"/>
                  <a:gd name="T15" fmla="*/ 0 h 18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9" h="189">
                    <a:moveTo>
                      <a:pt x="76" y="0"/>
                    </a:moveTo>
                    <a:lnTo>
                      <a:pt x="54" y="36"/>
                    </a:lnTo>
                    <a:lnTo>
                      <a:pt x="34" y="0"/>
                    </a:lnTo>
                    <a:lnTo>
                      <a:pt x="0" y="7"/>
                    </a:lnTo>
                    <a:lnTo>
                      <a:pt x="3" y="189"/>
                    </a:lnTo>
                    <a:lnTo>
                      <a:pt x="107" y="189"/>
                    </a:lnTo>
                    <a:lnTo>
                      <a:pt x="109" y="7"/>
                    </a:lnTo>
                    <a:lnTo>
                      <a:pt x="76" y="0"/>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8" name="Freeform 67"/>
              <p:cNvSpPr>
                <a:spLocks/>
              </p:cNvSpPr>
              <p:nvPr/>
            </p:nvSpPr>
            <p:spPr bwMode="auto">
              <a:xfrm>
                <a:off x="2342" y="1720"/>
                <a:ext cx="0" cy="2"/>
              </a:xfrm>
              <a:custGeom>
                <a:avLst/>
                <a:gdLst>
                  <a:gd name="T0" fmla="*/ 1 h 1"/>
                  <a:gd name="T1" fmla="*/ 0 h 1"/>
                  <a:gd name="T2" fmla="*/ 1 h 1"/>
                </a:gdLst>
                <a:ahLst/>
                <a:cxnLst>
                  <a:cxn ang="0">
                    <a:pos x="0" y="T0"/>
                  </a:cxn>
                  <a:cxn ang="0">
                    <a:pos x="0" y="T1"/>
                  </a:cxn>
                  <a:cxn ang="0">
                    <a:pos x="0" y="T2"/>
                  </a:cxn>
                </a:cxnLst>
                <a:rect l="0" t="0" r="r" b="b"/>
                <a:pathLst>
                  <a:path h="1">
                    <a:moveTo>
                      <a:pt x="0" y="1"/>
                    </a:moveTo>
                    <a:cubicBezTo>
                      <a:pt x="0" y="0"/>
                      <a:pt x="0" y="0"/>
                      <a:pt x="0" y="0"/>
                    </a:cubicBezTo>
                    <a:cubicBezTo>
                      <a:pt x="0" y="0"/>
                      <a:pt x="0" y="0"/>
                      <a:pt x="0" y="1"/>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9" name="Freeform 68"/>
              <p:cNvSpPr>
                <a:spLocks/>
              </p:cNvSpPr>
              <p:nvPr/>
            </p:nvSpPr>
            <p:spPr bwMode="auto">
              <a:xfrm>
                <a:off x="2342" y="1720"/>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0" name="Freeform 69"/>
              <p:cNvSpPr>
                <a:spLocks/>
              </p:cNvSpPr>
              <p:nvPr/>
            </p:nvSpPr>
            <p:spPr bwMode="auto">
              <a:xfrm>
                <a:off x="2341" y="1717"/>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1" name="Freeform 70"/>
              <p:cNvSpPr>
                <a:spLocks/>
              </p:cNvSpPr>
              <p:nvPr/>
            </p:nvSpPr>
            <p:spPr bwMode="auto">
              <a:xfrm>
                <a:off x="2341" y="1717"/>
                <a:ext cx="0" cy="2"/>
              </a:xfrm>
              <a:custGeom>
                <a:avLst/>
                <a:gdLst>
                  <a:gd name="T0" fmla="*/ 1 h 1"/>
                  <a:gd name="T1" fmla="*/ 0 h 1"/>
                  <a:gd name="T2" fmla="*/ 1 h 1"/>
                </a:gdLst>
                <a:ahLst/>
                <a:cxnLst>
                  <a:cxn ang="0">
                    <a:pos x="0" y="T0"/>
                  </a:cxn>
                  <a:cxn ang="0">
                    <a:pos x="0" y="T1"/>
                  </a:cxn>
                  <a:cxn ang="0">
                    <a:pos x="0" y="T2"/>
                  </a:cxn>
                </a:cxnLst>
                <a:rect l="0" t="0" r="r" b="b"/>
                <a:pathLst>
                  <a:path h="1">
                    <a:moveTo>
                      <a:pt x="0" y="1"/>
                    </a:moveTo>
                    <a:cubicBezTo>
                      <a:pt x="0" y="1"/>
                      <a:pt x="0" y="1"/>
                      <a:pt x="0" y="0"/>
                    </a:cubicBezTo>
                    <a:cubicBezTo>
                      <a:pt x="0" y="1"/>
                      <a:pt x="0" y="1"/>
                      <a:pt x="0" y="1"/>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2" name="Freeform 71"/>
              <p:cNvSpPr>
                <a:spLocks/>
              </p:cNvSpPr>
              <p:nvPr/>
            </p:nvSpPr>
            <p:spPr bwMode="auto">
              <a:xfrm>
                <a:off x="2288" y="1717"/>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3" name="Freeform 72"/>
              <p:cNvSpPr>
                <a:spLocks/>
              </p:cNvSpPr>
              <p:nvPr/>
            </p:nvSpPr>
            <p:spPr bwMode="auto">
              <a:xfrm>
                <a:off x="2342" y="1722"/>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4" name="Freeform 73"/>
              <p:cNvSpPr>
                <a:spLocks/>
              </p:cNvSpPr>
              <p:nvPr/>
            </p:nvSpPr>
            <p:spPr bwMode="auto">
              <a:xfrm>
                <a:off x="2342" y="1723"/>
                <a:ext cx="0" cy="2"/>
              </a:xfrm>
              <a:custGeom>
                <a:avLst/>
                <a:gdLst>
                  <a:gd name="T0" fmla="*/ 1 h 1"/>
                  <a:gd name="T1" fmla="*/ 0 h 1"/>
                  <a:gd name="T2" fmla="*/ 1 h 1"/>
                </a:gdLst>
                <a:ahLst/>
                <a:cxnLst>
                  <a:cxn ang="0">
                    <a:pos x="0" y="T0"/>
                  </a:cxn>
                  <a:cxn ang="0">
                    <a:pos x="0" y="T1"/>
                  </a:cxn>
                  <a:cxn ang="0">
                    <a:pos x="0" y="T2"/>
                  </a:cxn>
                </a:cxnLst>
                <a:rect l="0" t="0" r="r" b="b"/>
                <a:pathLst>
                  <a:path h="1">
                    <a:moveTo>
                      <a:pt x="0" y="1"/>
                    </a:moveTo>
                    <a:cubicBezTo>
                      <a:pt x="0" y="0"/>
                      <a:pt x="0" y="0"/>
                      <a:pt x="0" y="0"/>
                    </a:cubicBezTo>
                    <a:cubicBezTo>
                      <a:pt x="0" y="0"/>
                      <a:pt x="0" y="0"/>
                      <a:pt x="0" y="1"/>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5" name="Rectangle 74"/>
              <p:cNvSpPr>
                <a:spLocks noChangeArrowheads="1"/>
              </p:cNvSpPr>
              <p:nvPr/>
            </p:nvSpPr>
            <p:spPr bwMode="auto">
              <a:xfrm>
                <a:off x="2341" y="1716"/>
                <a:ext cx="1" cy="1"/>
              </a:xfrm>
              <a:prstGeom prst="rect">
                <a:avLst/>
              </a:prstGeom>
              <a:solidFill>
                <a:srgbClr val="FFD60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6" name="Freeform 75"/>
              <p:cNvSpPr>
                <a:spLocks/>
              </p:cNvSpPr>
              <p:nvPr/>
            </p:nvSpPr>
            <p:spPr bwMode="auto">
              <a:xfrm>
                <a:off x="2287" y="1722"/>
                <a:ext cx="0" cy="1"/>
              </a:xfrm>
              <a:custGeom>
                <a:avLst/>
                <a:gdLst>
                  <a:gd name="T0" fmla="*/ 0 h 1"/>
                  <a:gd name="T1" fmla="*/ 1 h 1"/>
                  <a:gd name="T2" fmla="*/ 0 h 1"/>
                </a:gdLst>
                <a:ahLst/>
                <a:cxnLst>
                  <a:cxn ang="0">
                    <a:pos x="0" y="T0"/>
                  </a:cxn>
                  <a:cxn ang="0">
                    <a:pos x="0" y="T1"/>
                  </a:cxn>
                  <a:cxn ang="0">
                    <a:pos x="0" y="T2"/>
                  </a:cxn>
                </a:cxnLst>
                <a:rect l="0" t="0" r="r" b="b"/>
                <a:pathLst>
                  <a:path h="1">
                    <a:moveTo>
                      <a:pt x="0" y="0"/>
                    </a:moveTo>
                    <a:cubicBezTo>
                      <a:pt x="0" y="0"/>
                      <a:pt x="0" y="1"/>
                      <a:pt x="0" y="1"/>
                    </a:cubicBezTo>
                    <a:cubicBezTo>
                      <a:pt x="0" y="1"/>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7" name="Freeform 76"/>
              <p:cNvSpPr>
                <a:spLocks/>
              </p:cNvSpPr>
              <p:nvPr/>
            </p:nvSpPr>
            <p:spPr bwMode="auto">
              <a:xfrm>
                <a:off x="2287" y="1720"/>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8" name="Freeform 77"/>
              <p:cNvSpPr>
                <a:spLocks/>
              </p:cNvSpPr>
              <p:nvPr/>
            </p:nvSpPr>
            <p:spPr bwMode="auto">
              <a:xfrm>
                <a:off x="2287" y="1719"/>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9" name="Freeform 78"/>
              <p:cNvSpPr>
                <a:spLocks/>
              </p:cNvSpPr>
              <p:nvPr/>
            </p:nvSpPr>
            <p:spPr bwMode="auto">
              <a:xfrm>
                <a:off x="2287" y="1720"/>
                <a:ext cx="0" cy="2"/>
              </a:xfrm>
              <a:custGeom>
                <a:avLst/>
                <a:gdLst>
                  <a:gd name="T0" fmla="*/ 0 h 1"/>
                  <a:gd name="T1" fmla="*/ 1 h 1"/>
                  <a:gd name="T2" fmla="*/ 0 h 1"/>
                </a:gdLst>
                <a:ahLst/>
                <a:cxnLst>
                  <a:cxn ang="0">
                    <a:pos x="0" y="T0"/>
                  </a:cxn>
                  <a:cxn ang="0">
                    <a:pos x="0" y="T1"/>
                  </a:cxn>
                  <a:cxn ang="0">
                    <a:pos x="0" y="T2"/>
                  </a:cxn>
                </a:cxnLst>
                <a:rect l="0" t="0" r="r" b="b"/>
                <a:pathLst>
                  <a:path h="1">
                    <a:moveTo>
                      <a:pt x="0" y="0"/>
                    </a:moveTo>
                    <a:cubicBezTo>
                      <a:pt x="0" y="1"/>
                      <a:pt x="0" y="1"/>
                      <a:pt x="0" y="1"/>
                    </a:cubicBezTo>
                    <a:cubicBezTo>
                      <a:pt x="0" y="1"/>
                      <a:pt x="0" y="1"/>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0" name="Freeform 79"/>
              <p:cNvSpPr>
                <a:spLocks/>
              </p:cNvSpPr>
              <p:nvPr/>
            </p:nvSpPr>
            <p:spPr bwMode="auto">
              <a:xfrm>
                <a:off x="2280" y="1714"/>
                <a:ext cx="67" cy="59"/>
              </a:xfrm>
              <a:custGeom>
                <a:avLst/>
                <a:gdLst>
                  <a:gd name="T0" fmla="*/ 41 w 43"/>
                  <a:gd name="T1" fmla="*/ 9 h 38"/>
                  <a:gd name="T2" fmla="*/ 40 w 43"/>
                  <a:gd name="T3" fmla="*/ 9 h 38"/>
                  <a:gd name="T4" fmla="*/ 40 w 43"/>
                  <a:gd name="T5" fmla="*/ 7 h 38"/>
                  <a:gd name="T6" fmla="*/ 40 w 43"/>
                  <a:gd name="T7" fmla="*/ 6 h 38"/>
                  <a:gd name="T8" fmla="*/ 40 w 43"/>
                  <a:gd name="T9" fmla="*/ 5 h 38"/>
                  <a:gd name="T10" fmla="*/ 40 w 43"/>
                  <a:gd name="T11" fmla="*/ 5 h 38"/>
                  <a:gd name="T12" fmla="*/ 40 w 43"/>
                  <a:gd name="T13" fmla="*/ 5 h 38"/>
                  <a:gd name="T14" fmla="*/ 40 w 43"/>
                  <a:gd name="T15" fmla="*/ 4 h 38"/>
                  <a:gd name="T16" fmla="*/ 40 w 43"/>
                  <a:gd name="T17" fmla="*/ 4 h 38"/>
                  <a:gd name="T18" fmla="*/ 40 w 43"/>
                  <a:gd name="T19" fmla="*/ 4 h 38"/>
                  <a:gd name="T20" fmla="*/ 39 w 43"/>
                  <a:gd name="T21" fmla="*/ 3 h 38"/>
                  <a:gd name="T22" fmla="*/ 39 w 43"/>
                  <a:gd name="T23" fmla="*/ 2 h 38"/>
                  <a:gd name="T24" fmla="*/ 39 w 43"/>
                  <a:gd name="T25" fmla="*/ 2 h 38"/>
                  <a:gd name="T26" fmla="*/ 39 w 43"/>
                  <a:gd name="T27" fmla="*/ 2 h 38"/>
                  <a:gd name="T28" fmla="*/ 39 w 43"/>
                  <a:gd name="T29" fmla="*/ 1 h 38"/>
                  <a:gd name="T30" fmla="*/ 39 w 43"/>
                  <a:gd name="T31" fmla="*/ 1 h 38"/>
                  <a:gd name="T32" fmla="*/ 35 w 43"/>
                  <a:gd name="T33" fmla="*/ 2 h 38"/>
                  <a:gd name="T34" fmla="*/ 29 w 43"/>
                  <a:gd name="T35" fmla="*/ 0 h 38"/>
                  <a:gd name="T36" fmla="*/ 18 w 43"/>
                  <a:gd name="T37" fmla="*/ 2 h 38"/>
                  <a:gd name="T38" fmla="*/ 6 w 43"/>
                  <a:gd name="T39" fmla="*/ 0 h 38"/>
                  <a:gd name="T40" fmla="*/ 5 w 43"/>
                  <a:gd name="T41" fmla="*/ 2 h 38"/>
                  <a:gd name="T42" fmla="*/ 5 w 43"/>
                  <a:gd name="T43" fmla="*/ 2 h 38"/>
                  <a:gd name="T44" fmla="*/ 4 w 43"/>
                  <a:gd name="T45" fmla="*/ 3 h 38"/>
                  <a:gd name="T46" fmla="*/ 4 w 43"/>
                  <a:gd name="T47" fmla="*/ 3 h 38"/>
                  <a:gd name="T48" fmla="*/ 4 w 43"/>
                  <a:gd name="T49" fmla="*/ 4 h 38"/>
                  <a:gd name="T50" fmla="*/ 4 w 43"/>
                  <a:gd name="T51" fmla="*/ 4 h 38"/>
                  <a:gd name="T52" fmla="*/ 4 w 43"/>
                  <a:gd name="T53" fmla="*/ 4 h 38"/>
                  <a:gd name="T54" fmla="*/ 4 w 43"/>
                  <a:gd name="T55" fmla="*/ 5 h 38"/>
                  <a:gd name="T56" fmla="*/ 4 w 43"/>
                  <a:gd name="T57" fmla="*/ 5 h 38"/>
                  <a:gd name="T58" fmla="*/ 4 w 43"/>
                  <a:gd name="T59" fmla="*/ 6 h 38"/>
                  <a:gd name="T60" fmla="*/ 4 w 43"/>
                  <a:gd name="T61" fmla="*/ 7 h 38"/>
                  <a:gd name="T62" fmla="*/ 4 w 43"/>
                  <a:gd name="T63" fmla="*/ 9 h 38"/>
                  <a:gd name="T64" fmla="*/ 3 w 43"/>
                  <a:gd name="T65" fmla="*/ 9 h 38"/>
                  <a:gd name="T66" fmla="*/ 0 w 43"/>
                  <a:gd name="T67" fmla="*/ 12 h 38"/>
                  <a:gd name="T68" fmla="*/ 0 w 43"/>
                  <a:gd name="T69" fmla="*/ 19 h 38"/>
                  <a:gd name="T70" fmla="*/ 4 w 43"/>
                  <a:gd name="T71" fmla="*/ 22 h 38"/>
                  <a:gd name="T72" fmla="*/ 14 w 43"/>
                  <a:gd name="T73" fmla="*/ 38 h 38"/>
                  <a:gd name="T74" fmla="*/ 30 w 43"/>
                  <a:gd name="T75" fmla="*/ 38 h 38"/>
                  <a:gd name="T76" fmla="*/ 40 w 43"/>
                  <a:gd name="T77" fmla="*/ 22 h 38"/>
                  <a:gd name="T78" fmla="*/ 43 w 43"/>
                  <a:gd name="T79" fmla="*/ 19 h 38"/>
                  <a:gd name="T80" fmla="*/ 43 w 43"/>
                  <a:gd name="T81" fmla="*/ 12 h 38"/>
                  <a:gd name="T82" fmla="*/ 41 w 43"/>
                  <a:gd name="T83" fmla="*/ 9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3" h="38">
                    <a:moveTo>
                      <a:pt x="41" y="9"/>
                    </a:moveTo>
                    <a:cubicBezTo>
                      <a:pt x="41" y="9"/>
                      <a:pt x="41" y="9"/>
                      <a:pt x="40" y="9"/>
                    </a:cubicBezTo>
                    <a:cubicBezTo>
                      <a:pt x="40" y="7"/>
                      <a:pt x="40" y="7"/>
                      <a:pt x="40" y="7"/>
                    </a:cubicBezTo>
                    <a:cubicBezTo>
                      <a:pt x="40" y="6"/>
                      <a:pt x="40" y="6"/>
                      <a:pt x="40" y="6"/>
                    </a:cubicBezTo>
                    <a:cubicBezTo>
                      <a:pt x="40" y="6"/>
                      <a:pt x="40" y="5"/>
                      <a:pt x="40" y="5"/>
                    </a:cubicBezTo>
                    <a:cubicBezTo>
                      <a:pt x="40" y="5"/>
                      <a:pt x="40" y="5"/>
                      <a:pt x="40" y="5"/>
                    </a:cubicBezTo>
                    <a:cubicBezTo>
                      <a:pt x="40" y="5"/>
                      <a:pt x="40" y="5"/>
                      <a:pt x="40" y="5"/>
                    </a:cubicBezTo>
                    <a:cubicBezTo>
                      <a:pt x="40" y="4"/>
                      <a:pt x="40" y="4"/>
                      <a:pt x="40" y="4"/>
                    </a:cubicBezTo>
                    <a:cubicBezTo>
                      <a:pt x="40" y="4"/>
                      <a:pt x="40" y="4"/>
                      <a:pt x="40" y="4"/>
                    </a:cubicBezTo>
                    <a:cubicBezTo>
                      <a:pt x="40" y="4"/>
                      <a:pt x="40" y="4"/>
                      <a:pt x="40" y="4"/>
                    </a:cubicBezTo>
                    <a:cubicBezTo>
                      <a:pt x="40" y="3"/>
                      <a:pt x="39" y="3"/>
                      <a:pt x="39" y="3"/>
                    </a:cubicBezTo>
                    <a:cubicBezTo>
                      <a:pt x="39" y="3"/>
                      <a:pt x="39" y="3"/>
                      <a:pt x="39" y="2"/>
                    </a:cubicBezTo>
                    <a:cubicBezTo>
                      <a:pt x="39" y="2"/>
                      <a:pt x="39" y="2"/>
                      <a:pt x="39" y="2"/>
                    </a:cubicBezTo>
                    <a:cubicBezTo>
                      <a:pt x="39" y="2"/>
                      <a:pt x="39" y="2"/>
                      <a:pt x="39" y="2"/>
                    </a:cubicBezTo>
                    <a:cubicBezTo>
                      <a:pt x="39" y="2"/>
                      <a:pt x="39" y="2"/>
                      <a:pt x="39" y="1"/>
                    </a:cubicBezTo>
                    <a:cubicBezTo>
                      <a:pt x="39" y="1"/>
                      <a:pt x="39" y="1"/>
                      <a:pt x="39" y="1"/>
                    </a:cubicBezTo>
                    <a:cubicBezTo>
                      <a:pt x="38" y="2"/>
                      <a:pt x="36" y="2"/>
                      <a:pt x="35" y="2"/>
                    </a:cubicBezTo>
                    <a:cubicBezTo>
                      <a:pt x="33" y="2"/>
                      <a:pt x="30" y="1"/>
                      <a:pt x="29" y="0"/>
                    </a:cubicBezTo>
                    <a:cubicBezTo>
                      <a:pt x="26" y="1"/>
                      <a:pt x="22" y="2"/>
                      <a:pt x="18" y="2"/>
                    </a:cubicBezTo>
                    <a:cubicBezTo>
                      <a:pt x="13" y="2"/>
                      <a:pt x="9" y="1"/>
                      <a:pt x="6" y="0"/>
                    </a:cubicBezTo>
                    <a:cubicBezTo>
                      <a:pt x="6" y="1"/>
                      <a:pt x="5" y="1"/>
                      <a:pt x="5" y="2"/>
                    </a:cubicBezTo>
                    <a:cubicBezTo>
                      <a:pt x="5" y="2"/>
                      <a:pt x="5" y="2"/>
                      <a:pt x="5" y="2"/>
                    </a:cubicBezTo>
                    <a:cubicBezTo>
                      <a:pt x="5" y="2"/>
                      <a:pt x="5" y="3"/>
                      <a:pt x="4" y="3"/>
                    </a:cubicBezTo>
                    <a:cubicBezTo>
                      <a:pt x="4" y="3"/>
                      <a:pt x="4" y="3"/>
                      <a:pt x="4" y="3"/>
                    </a:cubicBezTo>
                    <a:cubicBezTo>
                      <a:pt x="4" y="3"/>
                      <a:pt x="4" y="3"/>
                      <a:pt x="4" y="4"/>
                    </a:cubicBezTo>
                    <a:cubicBezTo>
                      <a:pt x="4" y="4"/>
                      <a:pt x="4" y="4"/>
                      <a:pt x="4" y="4"/>
                    </a:cubicBezTo>
                    <a:cubicBezTo>
                      <a:pt x="4" y="4"/>
                      <a:pt x="4" y="4"/>
                      <a:pt x="4" y="4"/>
                    </a:cubicBezTo>
                    <a:cubicBezTo>
                      <a:pt x="4" y="5"/>
                      <a:pt x="4" y="5"/>
                      <a:pt x="4" y="5"/>
                    </a:cubicBezTo>
                    <a:cubicBezTo>
                      <a:pt x="4" y="5"/>
                      <a:pt x="4" y="5"/>
                      <a:pt x="4" y="5"/>
                    </a:cubicBezTo>
                    <a:cubicBezTo>
                      <a:pt x="4" y="5"/>
                      <a:pt x="4" y="6"/>
                      <a:pt x="4" y="6"/>
                    </a:cubicBezTo>
                    <a:cubicBezTo>
                      <a:pt x="4" y="6"/>
                      <a:pt x="4" y="6"/>
                      <a:pt x="4" y="7"/>
                    </a:cubicBezTo>
                    <a:cubicBezTo>
                      <a:pt x="4" y="9"/>
                      <a:pt x="4" y="9"/>
                      <a:pt x="4" y="9"/>
                    </a:cubicBezTo>
                    <a:cubicBezTo>
                      <a:pt x="3" y="9"/>
                      <a:pt x="3" y="9"/>
                      <a:pt x="3" y="9"/>
                    </a:cubicBezTo>
                    <a:cubicBezTo>
                      <a:pt x="2" y="9"/>
                      <a:pt x="0" y="11"/>
                      <a:pt x="0" y="12"/>
                    </a:cubicBezTo>
                    <a:cubicBezTo>
                      <a:pt x="0" y="19"/>
                      <a:pt x="0" y="19"/>
                      <a:pt x="0" y="19"/>
                    </a:cubicBezTo>
                    <a:cubicBezTo>
                      <a:pt x="0" y="21"/>
                      <a:pt x="2" y="22"/>
                      <a:pt x="4" y="22"/>
                    </a:cubicBezTo>
                    <a:cubicBezTo>
                      <a:pt x="4" y="22"/>
                      <a:pt x="9" y="38"/>
                      <a:pt x="14" y="38"/>
                    </a:cubicBezTo>
                    <a:cubicBezTo>
                      <a:pt x="30" y="38"/>
                      <a:pt x="30" y="38"/>
                      <a:pt x="30" y="38"/>
                    </a:cubicBezTo>
                    <a:cubicBezTo>
                      <a:pt x="35" y="38"/>
                      <a:pt x="40" y="22"/>
                      <a:pt x="40" y="22"/>
                    </a:cubicBezTo>
                    <a:cubicBezTo>
                      <a:pt x="42" y="22"/>
                      <a:pt x="43" y="21"/>
                      <a:pt x="43" y="19"/>
                    </a:cubicBezTo>
                    <a:cubicBezTo>
                      <a:pt x="43" y="12"/>
                      <a:pt x="43" y="12"/>
                      <a:pt x="43" y="12"/>
                    </a:cubicBezTo>
                    <a:cubicBezTo>
                      <a:pt x="43" y="11"/>
                      <a:pt x="43" y="10"/>
                      <a:pt x="41" y="9"/>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1" name="Rectangle 80"/>
              <p:cNvSpPr>
                <a:spLocks noChangeArrowheads="1"/>
              </p:cNvSpPr>
              <p:nvPr/>
            </p:nvSpPr>
            <p:spPr bwMode="auto">
              <a:xfrm>
                <a:off x="2263" y="1974"/>
                <a:ext cx="104" cy="6"/>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2" name="Rectangle 81"/>
              <p:cNvSpPr>
                <a:spLocks noChangeArrowheads="1"/>
              </p:cNvSpPr>
              <p:nvPr/>
            </p:nvSpPr>
            <p:spPr bwMode="auto">
              <a:xfrm>
                <a:off x="2305" y="1974"/>
                <a:ext cx="19" cy="6"/>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3" name="Oval 82"/>
              <p:cNvSpPr>
                <a:spLocks noChangeArrowheads="1"/>
              </p:cNvSpPr>
              <p:nvPr/>
            </p:nvSpPr>
            <p:spPr bwMode="auto">
              <a:xfrm>
                <a:off x="2313" y="1801"/>
                <a:ext cx="3" cy="3"/>
              </a:xfrm>
              <a:prstGeom prst="ellipse">
                <a:avLst/>
              </a:pr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4" name="Oval 83"/>
              <p:cNvSpPr>
                <a:spLocks noChangeArrowheads="1"/>
              </p:cNvSpPr>
              <p:nvPr/>
            </p:nvSpPr>
            <p:spPr bwMode="auto">
              <a:xfrm>
                <a:off x="2313" y="1812"/>
                <a:ext cx="3" cy="4"/>
              </a:xfrm>
              <a:prstGeom prst="ellipse">
                <a:avLst/>
              </a:pr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5" name="Freeform 84"/>
              <p:cNvSpPr>
                <a:spLocks/>
              </p:cNvSpPr>
              <p:nvPr/>
            </p:nvSpPr>
            <p:spPr bwMode="auto">
              <a:xfrm>
                <a:off x="2336" y="2189"/>
                <a:ext cx="28" cy="14"/>
              </a:xfrm>
              <a:custGeom>
                <a:avLst/>
                <a:gdLst>
                  <a:gd name="T0" fmla="*/ 9 w 18"/>
                  <a:gd name="T1" fmla="*/ 0 h 9"/>
                  <a:gd name="T2" fmla="*/ 0 w 18"/>
                  <a:gd name="T3" fmla="*/ 9 h 9"/>
                  <a:gd name="T4" fmla="*/ 18 w 18"/>
                  <a:gd name="T5" fmla="*/ 9 h 9"/>
                  <a:gd name="T6" fmla="*/ 9 w 18"/>
                  <a:gd name="T7" fmla="*/ 0 h 9"/>
                </a:gdLst>
                <a:ahLst/>
                <a:cxnLst>
                  <a:cxn ang="0">
                    <a:pos x="T0" y="T1"/>
                  </a:cxn>
                  <a:cxn ang="0">
                    <a:pos x="T2" y="T3"/>
                  </a:cxn>
                  <a:cxn ang="0">
                    <a:pos x="T4" y="T5"/>
                  </a:cxn>
                  <a:cxn ang="0">
                    <a:pos x="T6" y="T7"/>
                  </a:cxn>
                </a:cxnLst>
                <a:rect l="0" t="0" r="r" b="b"/>
                <a:pathLst>
                  <a:path w="18" h="9">
                    <a:moveTo>
                      <a:pt x="9" y="0"/>
                    </a:moveTo>
                    <a:cubicBezTo>
                      <a:pt x="4" y="0"/>
                      <a:pt x="0" y="4"/>
                      <a:pt x="0" y="9"/>
                    </a:cubicBezTo>
                    <a:cubicBezTo>
                      <a:pt x="18" y="9"/>
                      <a:pt x="18" y="9"/>
                      <a:pt x="18" y="9"/>
                    </a:cubicBezTo>
                    <a:cubicBezTo>
                      <a:pt x="18" y="4"/>
                      <a:pt x="14" y="0"/>
                      <a:pt x="9" y="0"/>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6" name="Freeform 85"/>
              <p:cNvSpPr>
                <a:spLocks/>
              </p:cNvSpPr>
              <p:nvPr/>
            </p:nvSpPr>
            <p:spPr bwMode="auto">
              <a:xfrm>
                <a:off x="2370" y="2189"/>
                <a:ext cx="28" cy="14"/>
              </a:xfrm>
              <a:custGeom>
                <a:avLst/>
                <a:gdLst>
                  <a:gd name="T0" fmla="*/ 9 w 18"/>
                  <a:gd name="T1" fmla="*/ 0 h 9"/>
                  <a:gd name="T2" fmla="*/ 18 w 18"/>
                  <a:gd name="T3" fmla="*/ 9 h 9"/>
                  <a:gd name="T4" fmla="*/ 0 w 18"/>
                  <a:gd name="T5" fmla="*/ 9 h 9"/>
                  <a:gd name="T6" fmla="*/ 9 w 18"/>
                  <a:gd name="T7" fmla="*/ 0 h 9"/>
                </a:gdLst>
                <a:ahLst/>
                <a:cxnLst>
                  <a:cxn ang="0">
                    <a:pos x="T0" y="T1"/>
                  </a:cxn>
                  <a:cxn ang="0">
                    <a:pos x="T2" y="T3"/>
                  </a:cxn>
                  <a:cxn ang="0">
                    <a:pos x="T4" y="T5"/>
                  </a:cxn>
                  <a:cxn ang="0">
                    <a:pos x="T6" y="T7"/>
                  </a:cxn>
                </a:cxnLst>
                <a:rect l="0" t="0" r="r" b="b"/>
                <a:pathLst>
                  <a:path w="18" h="9">
                    <a:moveTo>
                      <a:pt x="9" y="0"/>
                    </a:moveTo>
                    <a:cubicBezTo>
                      <a:pt x="14" y="0"/>
                      <a:pt x="18" y="4"/>
                      <a:pt x="18" y="9"/>
                    </a:cubicBezTo>
                    <a:cubicBezTo>
                      <a:pt x="0" y="9"/>
                      <a:pt x="0" y="9"/>
                      <a:pt x="0" y="9"/>
                    </a:cubicBezTo>
                    <a:cubicBezTo>
                      <a:pt x="0" y="4"/>
                      <a:pt x="4" y="0"/>
                      <a:pt x="9" y="0"/>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7" name="Freeform 86"/>
              <p:cNvSpPr>
                <a:spLocks/>
              </p:cNvSpPr>
              <p:nvPr/>
            </p:nvSpPr>
            <p:spPr bwMode="auto">
              <a:xfrm>
                <a:off x="2398" y="2198"/>
                <a:ext cx="46" cy="24"/>
              </a:xfrm>
              <a:custGeom>
                <a:avLst/>
                <a:gdLst>
                  <a:gd name="T0" fmla="*/ 15 w 30"/>
                  <a:gd name="T1" fmla="*/ 0 h 15"/>
                  <a:gd name="T2" fmla="*/ 0 w 30"/>
                  <a:gd name="T3" fmla="*/ 15 h 15"/>
                  <a:gd name="T4" fmla="*/ 30 w 30"/>
                  <a:gd name="T5" fmla="*/ 15 h 15"/>
                  <a:gd name="T6" fmla="*/ 15 w 30"/>
                  <a:gd name="T7" fmla="*/ 0 h 15"/>
                </a:gdLst>
                <a:ahLst/>
                <a:cxnLst>
                  <a:cxn ang="0">
                    <a:pos x="T0" y="T1"/>
                  </a:cxn>
                  <a:cxn ang="0">
                    <a:pos x="T2" y="T3"/>
                  </a:cxn>
                  <a:cxn ang="0">
                    <a:pos x="T4" y="T5"/>
                  </a:cxn>
                  <a:cxn ang="0">
                    <a:pos x="T6" y="T7"/>
                  </a:cxn>
                </a:cxnLst>
                <a:rect l="0" t="0" r="r" b="b"/>
                <a:pathLst>
                  <a:path w="30" h="15">
                    <a:moveTo>
                      <a:pt x="15" y="0"/>
                    </a:moveTo>
                    <a:cubicBezTo>
                      <a:pt x="7" y="0"/>
                      <a:pt x="0" y="7"/>
                      <a:pt x="0" y="15"/>
                    </a:cubicBezTo>
                    <a:cubicBezTo>
                      <a:pt x="30" y="15"/>
                      <a:pt x="30" y="15"/>
                      <a:pt x="30" y="15"/>
                    </a:cubicBezTo>
                    <a:cubicBezTo>
                      <a:pt x="30" y="7"/>
                      <a:pt x="23" y="0"/>
                      <a:pt x="15" y="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8" name="Freeform 87"/>
              <p:cNvSpPr>
                <a:spLocks/>
              </p:cNvSpPr>
              <p:nvPr/>
            </p:nvSpPr>
            <p:spPr bwMode="auto">
              <a:xfrm>
                <a:off x="2449" y="2198"/>
                <a:ext cx="45" cy="24"/>
              </a:xfrm>
              <a:custGeom>
                <a:avLst/>
                <a:gdLst>
                  <a:gd name="T0" fmla="*/ 15 w 29"/>
                  <a:gd name="T1" fmla="*/ 0 h 15"/>
                  <a:gd name="T2" fmla="*/ 0 w 29"/>
                  <a:gd name="T3" fmla="*/ 15 h 15"/>
                  <a:gd name="T4" fmla="*/ 29 w 29"/>
                  <a:gd name="T5" fmla="*/ 15 h 15"/>
                  <a:gd name="T6" fmla="*/ 15 w 29"/>
                  <a:gd name="T7" fmla="*/ 0 h 15"/>
                </a:gdLst>
                <a:ahLst/>
                <a:cxnLst>
                  <a:cxn ang="0">
                    <a:pos x="T0" y="T1"/>
                  </a:cxn>
                  <a:cxn ang="0">
                    <a:pos x="T2" y="T3"/>
                  </a:cxn>
                  <a:cxn ang="0">
                    <a:pos x="T4" y="T5"/>
                  </a:cxn>
                  <a:cxn ang="0">
                    <a:pos x="T6" y="T7"/>
                  </a:cxn>
                </a:cxnLst>
                <a:rect l="0" t="0" r="r" b="b"/>
                <a:pathLst>
                  <a:path w="29" h="15">
                    <a:moveTo>
                      <a:pt x="15" y="0"/>
                    </a:moveTo>
                    <a:cubicBezTo>
                      <a:pt x="7" y="0"/>
                      <a:pt x="0" y="7"/>
                      <a:pt x="0" y="15"/>
                    </a:cubicBezTo>
                    <a:cubicBezTo>
                      <a:pt x="29" y="15"/>
                      <a:pt x="29" y="15"/>
                      <a:pt x="29" y="15"/>
                    </a:cubicBezTo>
                    <a:cubicBezTo>
                      <a:pt x="29" y="7"/>
                      <a:pt x="23" y="0"/>
                      <a:pt x="15" y="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9" name="Rectangle 88"/>
              <p:cNvSpPr>
                <a:spLocks noChangeArrowheads="1"/>
              </p:cNvSpPr>
              <p:nvPr/>
            </p:nvSpPr>
            <p:spPr bwMode="auto">
              <a:xfrm>
                <a:off x="2435" y="1748"/>
                <a:ext cx="37" cy="11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0" name="Freeform 89"/>
              <p:cNvSpPr>
                <a:spLocks/>
              </p:cNvSpPr>
              <p:nvPr/>
            </p:nvSpPr>
            <p:spPr bwMode="auto">
              <a:xfrm>
                <a:off x="2421" y="1651"/>
                <a:ext cx="73" cy="88"/>
              </a:xfrm>
              <a:custGeom>
                <a:avLst/>
                <a:gdLst>
                  <a:gd name="T0" fmla="*/ 42 w 47"/>
                  <a:gd name="T1" fmla="*/ 32 h 57"/>
                  <a:gd name="T2" fmla="*/ 16 w 47"/>
                  <a:gd name="T3" fmla="*/ 53 h 57"/>
                  <a:gd name="T4" fmla="*/ 4 w 47"/>
                  <a:gd name="T5" fmla="*/ 22 h 57"/>
                  <a:gd name="T6" fmla="*/ 33 w 47"/>
                  <a:gd name="T7" fmla="*/ 3 h 57"/>
                  <a:gd name="T8" fmla="*/ 42 w 47"/>
                  <a:gd name="T9" fmla="*/ 32 h 57"/>
                </a:gdLst>
                <a:ahLst/>
                <a:cxnLst>
                  <a:cxn ang="0">
                    <a:pos x="T0" y="T1"/>
                  </a:cxn>
                  <a:cxn ang="0">
                    <a:pos x="T2" y="T3"/>
                  </a:cxn>
                  <a:cxn ang="0">
                    <a:pos x="T4" y="T5"/>
                  </a:cxn>
                  <a:cxn ang="0">
                    <a:pos x="T6" y="T7"/>
                  </a:cxn>
                  <a:cxn ang="0">
                    <a:pos x="T8" y="T9"/>
                  </a:cxn>
                </a:cxnLst>
                <a:rect l="0" t="0" r="r" b="b"/>
                <a:pathLst>
                  <a:path w="47" h="57">
                    <a:moveTo>
                      <a:pt x="42" y="32"/>
                    </a:moveTo>
                    <a:cubicBezTo>
                      <a:pt x="38" y="46"/>
                      <a:pt x="28" y="57"/>
                      <a:pt x="16" y="53"/>
                    </a:cubicBezTo>
                    <a:cubicBezTo>
                      <a:pt x="5" y="50"/>
                      <a:pt x="0" y="35"/>
                      <a:pt x="4" y="22"/>
                    </a:cubicBezTo>
                    <a:cubicBezTo>
                      <a:pt x="9" y="8"/>
                      <a:pt x="22" y="0"/>
                      <a:pt x="33" y="3"/>
                    </a:cubicBezTo>
                    <a:cubicBezTo>
                      <a:pt x="44" y="7"/>
                      <a:pt x="47" y="18"/>
                      <a:pt x="42" y="32"/>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1" name="Freeform 90"/>
              <p:cNvSpPr>
                <a:spLocks/>
              </p:cNvSpPr>
              <p:nvPr/>
            </p:nvSpPr>
            <p:spPr bwMode="auto">
              <a:xfrm>
                <a:off x="2410" y="1641"/>
                <a:ext cx="73" cy="82"/>
              </a:xfrm>
              <a:custGeom>
                <a:avLst/>
                <a:gdLst>
                  <a:gd name="T0" fmla="*/ 41 w 47"/>
                  <a:gd name="T1" fmla="*/ 16 h 53"/>
                  <a:gd name="T2" fmla="*/ 36 w 47"/>
                  <a:gd name="T3" fmla="*/ 48 h 53"/>
                  <a:gd name="T4" fmla="*/ 7 w 47"/>
                  <a:gd name="T5" fmla="*/ 36 h 53"/>
                  <a:gd name="T6" fmla="*/ 11 w 47"/>
                  <a:gd name="T7" fmla="*/ 5 h 53"/>
                  <a:gd name="T8" fmla="*/ 41 w 47"/>
                  <a:gd name="T9" fmla="*/ 16 h 53"/>
                </a:gdLst>
                <a:ahLst/>
                <a:cxnLst>
                  <a:cxn ang="0">
                    <a:pos x="T0" y="T1"/>
                  </a:cxn>
                  <a:cxn ang="0">
                    <a:pos x="T2" y="T3"/>
                  </a:cxn>
                  <a:cxn ang="0">
                    <a:pos x="T4" y="T5"/>
                  </a:cxn>
                  <a:cxn ang="0">
                    <a:pos x="T6" y="T7"/>
                  </a:cxn>
                  <a:cxn ang="0">
                    <a:pos x="T8" y="T9"/>
                  </a:cxn>
                </a:cxnLst>
                <a:rect l="0" t="0" r="r" b="b"/>
                <a:pathLst>
                  <a:path w="47" h="53">
                    <a:moveTo>
                      <a:pt x="41" y="16"/>
                    </a:moveTo>
                    <a:cubicBezTo>
                      <a:pt x="47" y="28"/>
                      <a:pt x="46" y="42"/>
                      <a:pt x="36" y="48"/>
                    </a:cubicBezTo>
                    <a:cubicBezTo>
                      <a:pt x="27" y="53"/>
                      <a:pt x="14" y="48"/>
                      <a:pt x="7" y="36"/>
                    </a:cubicBezTo>
                    <a:cubicBezTo>
                      <a:pt x="0" y="24"/>
                      <a:pt x="2" y="10"/>
                      <a:pt x="11" y="5"/>
                    </a:cubicBezTo>
                    <a:cubicBezTo>
                      <a:pt x="20" y="0"/>
                      <a:pt x="34" y="5"/>
                      <a:pt x="41" y="16"/>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2" name="Freeform 91"/>
              <p:cNvSpPr>
                <a:spLocks/>
              </p:cNvSpPr>
              <p:nvPr/>
            </p:nvSpPr>
            <p:spPr bwMode="auto">
              <a:xfrm>
                <a:off x="2435" y="1717"/>
                <a:ext cx="37" cy="41"/>
              </a:xfrm>
              <a:custGeom>
                <a:avLst/>
                <a:gdLst>
                  <a:gd name="T0" fmla="*/ 37 w 37"/>
                  <a:gd name="T1" fmla="*/ 31 h 41"/>
                  <a:gd name="T2" fmla="*/ 19 w 37"/>
                  <a:gd name="T3" fmla="*/ 41 h 41"/>
                  <a:gd name="T4" fmla="*/ 0 w 37"/>
                  <a:gd name="T5" fmla="*/ 31 h 41"/>
                  <a:gd name="T6" fmla="*/ 0 w 37"/>
                  <a:gd name="T7" fmla="*/ 0 h 41"/>
                  <a:gd name="T8" fmla="*/ 37 w 37"/>
                  <a:gd name="T9" fmla="*/ 0 h 41"/>
                  <a:gd name="T10" fmla="*/ 37 w 37"/>
                  <a:gd name="T11" fmla="*/ 31 h 41"/>
                </a:gdLst>
                <a:ahLst/>
                <a:cxnLst>
                  <a:cxn ang="0">
                    <a:pos x="T0" y="T1"/>
                  </a:cxn>
                  <a:cxn ang="0">
                    <a:pos x="T2" y="T3"/>
                  </a:cxn>
                  <a:cxn ang="0">
                    <a:pos x="T4" y="T5"/>
                  </a:cxn>
                  <a:cxn ang="0">
                    <a:pos x="T6" y="T7"/>
                  </a:cxn>
                  <a:cxn ang="0">
                    <a:pos x="T8" y="T9"/>
                  </a:cxn>
                  <a:cxn ang="0">
                    <a:pos x="T10" y="T11"/>
                  </a:cxn>
                </a:cxnLst>
                <a:rect l="0" t="0" r="r" b="b"/>
                <a:pathLst>
                  <a:path w="37" h="41">
                    <a:moveTo>
                      <a:pt x="37" y="31"/>
                    </a:moveTo>
                    <a:lnTo>
                      <a:pt x="19" y="41"/>
                    </a:lnTo>
                    <a:lnTo>
                      <a:pt x="0" y="31"/>
                    </a:lnTo>
                    <a:lnTo>
                      <a:pt x="0" y="0"/>
                    </a:lnTo>
                    <a:lnTo>
                      <a:pt x="37" y="0"/>
                    </a:lnTo>
                    <a:lnTo>
                      <a:pt x="37" y="31"/>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3" name="Freeform 92"/>
              <p:cNvSpPr>
                <a:spLocks/>
              </p:cNvSpPr>
              <p:nvPr/>
            </p:nvSpPr>
            <p:spPr bwMode="auto">
              <a:xfrm>
                <a:off x="2443" y="1758"/>
                <a:ext cx="21" cy="148"/>
              </a:xfrm>
              <a:custGeom>
                <a:avLst/>
                <a:gdLst>
                  <a:gd name="T0" fmla="*/ 17 w 21"/>
                  <a:gd name="T1" fmla="*/ 10 h 148"/>
                  <a:gd name="T2" fmla="*/ 21 w 21"/>
                  <a:gd name="T3" fmla="*/ 7 h 148"/>
                  <a:gd name="T4" fmla="*/ 11 w 21"/>
                  <a:gd name="T5" fmla="*/ 0 h 148"/>
                  <a:gd name="T6" fmla="*/ 0 w 21"/>
                  <a:gd name="T7" fmla="*/ 7 h 148"/>
                  <a:gd name="T8" fmla="*/ 6 w 21"/>
                  <a:gd name="T9" fmla="*/ 10 h 148"/>
                  <a:gd name="T10" fmla="*/ 4 w 21"/>
                  <a:gd name="T11" fmla="*/ 137 h 148"/>
                  <a:gd name="T12" fmla="*/ 11 w 21"/>
                  <a:gd name="T13" fmla="*/ 148 h 148"/>
                  <a:gd name="T14" fmla="*/ 17 w 21"/>
                  <a:gd name="T15" fmla="*/ 137 h 148"/>
                  <a:gd name="T16" fmla="*/ 17 w 21"/>
                  <a:gd name="T17" fmla="*/ 10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 h="148">
                    <a:moveTo>
                      <a:pt x="17" y="10"/>
                    </a:moveTo>
                    <a:lnTo>
                      <a:pt x="21" y="7"/>
                    </a:lnTo>
                    <a:lnTo>
                      <a:pt x="11" y="0"/>
                    </a:lnTo>
                    <a:lnTo>
                      <a:pt x="0" y="7"/>
                    </a:lnTo>
                    <a:lnTo>
                      <a:pt x="6" y="10"/>
                    </a:lnTo>
                    <a:lnTo>
                      <a:pt x="4" y="137"/>
                    </a:lnTo>
                    <a:lnTo>
                      <a:pt x="11" y="148"/>
                    </a:lnTo>
                    <a:lnTo>
                      <a:pt x="17" y="137"/>
                    </a:lnTo>
                    <a:lnTo>
                      <a:pt x="17" y="1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4" name="Freeform 93"/>
              <p:cNvSpPr>
                <a:spLocks/>
              </p:cNvSpPr>
              <p:nvPr/>
            </p:nvSpPr>
            <p:spPr bwMode="auto">
              <a:xfrm>
                <a:off x="2345" y="1759"/>
                <a:ext cx="81" cy="209"/>
              </a:xfrm>
              <a:custGeom>
                <a:avLst/>
                <a:gdLst>
                  <a:gd name="T0" fmla="*/ 52 w 52"/>
                  <a:gd name="T1" fmla="*/ 6 h 135"/>
                  <a:gd name="T2" fmla="*/ 32 w 52"/>
                  <a:gd name="T3" fmla="*/ 0 h 135"/>
                  <a:gd name="T4" fmla="*/ 0 w 52"/>
                  <a:gd name="T5" fmla="*/ 135 h 135"/>
                  <a:gd name="T6" fmla="*/ 21 w 52"/>
                  <a:gd name="T7" fmla="*/ 135 h 135"/>
                  <a:gd name="T8" fmla="*/ 52 w 52"/>
                  <a:gd name="T9" fmla="*/ 6 h 135"/>
                </a:gdLst>
                <a:ahLst/>
                <a:cxnLst>
                  <a:cxn ang="0">
                    <a:pos x="T0" y="T1"/>
                  </a:cxn>
                  <a:cxn ang="0">
                    <a:pos x="T2" y="T3"/>
                  </a:cxn>
                  <a:cxn ang="0">
                    <a:pos x="T4" y="T5"/>
                  </a:cxn>
                  <a:cxn ang="0">
                    <a:pos x="T6" y="T7"/>
                  </a:cxn>
                  <a:cxn ang="0">
                    <a:pos x="T8" y="T9"/>
                  </a:cxn>
                </a:cxnLst>
                <a:rect l="0" t="0" r="r" b="b"/>
                <a:pathLst>
                  <a:path w="52" h="135">
                    <a:moveTo>
                      <a:pt x="52" y="6"/>
                    </a:moveTo>
                    <a:cubicBezTo>
                      <a:pt x="45" y="4"/>
                      <a:pt x="38" y="2"/>
                      <a:pt x="32" y="0"/>
                    </a:cubicBezTo>
                    <a:cubicBezTo>
                      <a:pt x="11" y="44"/>
                      <a:pt x="5" y="87"/>
                      <a:pt x="0" y="135"/>
                    </a:cubicBezTo>
                    <a:cubicBezTo>
                      <a:pt x="21" y="135"/>
                      <a:pt x="21" y="135"/>
                      <a:pt x="21" y="135"/>
                    </a:cubicBezTo>
                    <a:cubicBezTo>
                      <a:pt x="26" y="89"/>
                      <a:pt x="33" y="47"/>
                      <a:pt x="52" y="6"/>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5" name="Freeform 94"/>
              <p:cNvSpPr>
                <a:spLocks/>
              </p:cNvSpPr>
              <p:nvPr/>
            </p:nvSpPr>
            <p:spPr bwMode="auto">
              <a:xfrm>
                <a:off x="2483" y="1759"/>
                <a:ext cx="80" cy="209"/>
              </a:xfrm>
              <a:custGeom>
                <a:avLst/>
                <a:gdLst>
                  <a:gd name="T0" fmla="*/ 0 w 52"/>
                  <a:gd name="T1" fmla="*/ 6 h 135"/>
                  <a:gd name="T2" fmla="*/ 21 w 52"/>
                  <a:gd name="T3" fmla="*/ 0 h 135"/>
                  <a:gd name="T4" fmla="*/ 52 w 52"/>
                  <a:gd name="T5" fmla="*/ 135 h 135"/>
                  <a:gd name="T6" fmla="*/ 31 w 52"/>
                  <a:gd name="T7" fmla="*/ 135 h 135"/>
                  <a:gd name="T8" fmla="*/ 0 w 52"/>
                  <a:gd name="T9" fmla="*/ 6 h 135"/>
                </a:gdLst>
                <a:ahLst/>
                <a:cxnLst>
                  <a:cxn ang="0">
                    <a:pos x="T0" y="T1"/>
                  </a:cxn>
                  <a:cxn ang="0">
                    <a:pos x="T2" y="T3"/>
                  </a:cxn>
                  <a:cxn ang="0">
                    <a:pos x="T4" y="T5"/>
                  </a:cxn>
                  <a:cxn ang="0">
                    <a:pos x="T6" y="T7"/>
                  </a:cxn>
                  <a:cxn ang="0">
                    <a:pos x="T8" y="T9"/>
                  </a:cxn>
                </a:cxnLst>
                <a:rect l="0" t="0" r="r" b="b"/>
                <a:pathLst>
                  <a:path w="52" h="135">
                    <a:moveTo>
                      <a:pt x="0" y="6"/>
                    </a:moveTo>
                    <a:cubicBezTo>
                      <a:pt x="7" y="4"/>
                      <a:pt x="14" y="2"/>
                      <a:pt x="21" y="0"/>
                    </a:cubicBezTo>
                    <a:cubicBezTo>
                      <a:pt x="41" y="44"/>
                      <a:pt x="48" y="87"/>
                      <a:pt x="52" y="135"/>
                    </a:cubicBezTo>
                    <a:cubicBezTo>
                      <a:pt x="31" y="135"/>
                      <a:pt x="31" y="135"/>
                      <a:pt x="31" y="135"/>
                    </a:cubicBezTo>
                    <a:cubicBezTo>
                      <a:pt x="26" y="89"/>
                      <a:pt x="19" y="47"/>
                      <a:pt x="0" y="6"/>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6" name="Freeform 95"/>
              <p:cNvSpPr>
                <a:spLocks/>
              </p:cNvSpPr>
              <p:nvPr/>
            </p:nvSpPr>
            <p:spPr bwMode="auto">
              <a:xfrm>
                <a:off x="2404" y="1986"/>
                <a:ext cx="48" cy="220"/>
              </a:xfrm>
              <a:custGeom>
                <a:avLst/>
                <a:gdLst>
                  <a:gd name="T0" fmla="*/ 40 w 48"/>
                  <a:gd name="T1" fmla="*/ 220 h 220"/>
                  <a:gd name="T2" fmla="*/ 6 w 48"/>
                  <a:gd name="T3" fmla="*/ 220 h 220"/>
                  <a:gd name="T4" fmla="*/ 0 w 48"/>
                  <a:gd name="T5" fmla="*/ 0 h 220"/>
                  <a:gd name="T6" fmla="*/ 48 w 48"/>
                  <a:gd name="T7" fmla="*/ 0 h 220"/>
                  <a:gd name="T8" fmla="*/ 40 w 48"/>
                  <a:gd name="T9" fmla="*/ 220 h 220"/>
                </a:gdLst>
                <a:ahLst/>
                <a:cxnLst>
                  <a:cxn ang="0">
                    <a:pos x="T0" y="T1"/>
                  </a:cxn>
                  <a:cxn ang="0">
                    <a:pos x="T2" y="T3"/>
                  </a:cxn>
                  <a:cxn ang="0">
                    <a:pos x="T4" y="T5"/>
                  </a:cxn>
                  <a:cxn ang="0">
                    <a:pos x="T6" y="T7"/>
                  </a:cxn>
                  <a:cxn ang="0">
                    <a:pos x="T8" y="T9"/>
                  </a:cxn>
                </a:cxnLst>
                <a:rect l="0" t="0" r="r" b="b"/>
                <a:pathLst>
                  <a:path w="48" h="220">
                    <a:moveTo>
                      <a:pt x="40" y="220"/>
                    </a:moveTo>
                    <a:lnTo>
                      <a:pt x="6" y="220"/>
                    </a:lnTo>
                    <a:lnTo>
                      <a:pt x="0" y="0"/>
                    </a:lnTo>
                    <a:lnTo>
                      <a:pt x="48" y="0"/>
                    </a:lnTo>
                    <a:lnTo>
                      <a:pt x="40" y="2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7" name="Freeform 96"/>
              <p:cNvSpPr>
                <a:spLocks/>
              </p:cNvSpPr>
              <p:nvPr/>
            </p:nvSpPr>
            <p:spPr bwMode="auto">
              <a:xfrm>
                <a:off x="2455" y="1986"/>
                <a:ext cx="48" cy="220"/>
              </a:xfrm>
              <a:custGeom>
                <a:avLst/>
                <a:gdLst>
                  <a:gd name="T0" fmla="*/ 42 w 48"/>
                  <a:gd name="T1" fmla="*/ 220 h 220"/>
                  <a:gd name="T2" fmla="*/ 8 w 48"/>
                  <a:gd name="T3" fmla="*/ 220 h 220"/>
                  <a:gd name="T4" fmla="*/ 0 w 48"/>
                  <a:gd name="T5" fmla="*/ 0 h 220"/>
                  <a:gd name="T6" fmla="*/ 48 w 48"/>
                  <a:gd name="T7" fmla="*/ 0 h 220"/>
                  <a:gd name="T8" fmla="*/ 42 w 48"/>
                  <a:gd name="T9" fmla="*/ 220 h 220"/>
                </a:gdLst>
                <a:ahLst/>
                <a:cxnLst>
                  <a:cxn ang="0">
                    <a:pos x="T0" y="T1"/>
                  </a:cxn>
                  <a:cxn ang="0">
                    <a:pos x="T2" y="T3"/>
                  </a:cxn>
                  <a:cxn ang="0">
                    <a:pos x="T4" y="T5"/>
                  </a:cxn>
                  <a:cxn ang="0">
                    <a:pos x="T6" y="T7"/>
                  </a:cxn>
                  <a:cxn ang="0">
                    <a:pos x="T8" y="T9"/>
                  </a:cxn>
                </a:cxnLst>
                <a:rect l="0" t="0" r="r" b="b"/>
                <a:pathLst>
                  <a:path w="48" h="220">
                    <a:moveTo>
                      <a:pt x="42" y="220"/>
                    </a:moveTo>
                    <a:lnTo>
                      <a:pt x="8" y="220"/>
                    </a:lnTo>
                    <a:lnTo>
                      <a:pt x="0" y="0"/>
                    </a:lnTo>
                    <a:lnTo>
                      <a:pt x="48" y="0"/>
                    </a:lnTo>
                    <a:lnTo>
                      <a:pt x="42" y="2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8" name="Freeform 97"/>
              <p:cNvSpPr>
                <a:spLocks/>
              </p:cNvSpPr>
              <p:nvPr/>
            </p:nvSpPr>
            <p:spPr bwMode="auto">
              <a:xfrm>
                <a:off x="2350" y="1968"/>
                <a:ext cx="25" cy="26"/>
              </a:xfrm>
              <a:custGeom>
                <a:avLst/>
                <a:gdLst>
                  <a:gd name="T0" fmla="*/ 0 w 16"/>
                  <a:gd name="T1" fmla="*/ 0 h 17"/>
                  <a:gd name="T2" fmla="*/ 0 w 16"/>
                  <a:gd name="T3" fmla="*/ 9 h 17"/>
                  <a:gd name="T4" fmla="*/ 8 w 16"/>
                  <a:gd name="T5" fmla="*/ 17 h 17"/>
                  <a:gd name="T6" fmla="*/ 16 w 16"/>
                  <a:gd name="T7" fmla="*/ 9 h 17"/>
                  <a:gd name="T8" fmla="*/ 16 w 16"/>
                  <a:gd name="T9" fmla="*/ 0 h 17"/>
                  <a:gd name="T10" fmla="*/ 0 w 16"/>
                  <a:gd name="T11" fmla="*/ 0 h 17"/>
                </a:gdLst>
                <a:ahLst/>
                <a:cxnLst>
                  <a:cxn ang="0">
                    <a:pos x="T0" y="T1"/>
                  </a:cxn>
                  <a:cxn ang="0">
                    <a:pos x="T2" y="T3"/>
                  </a:cxn>
                  <a:cxn ang="0">
                    <a:pos x="T4" y="T5"/>
                  </a:cxn>
                  <a:cxn ang="0">
                    <a:pos x="T6" y="T7"/>
                  </a:cxn>
                  <a:cxn ang="0">
                    <a:pos x="T8" y="T9"/>
                  </a:cxn>
                  <a:cxn ang="0">
                    <a:pos x="T10" y="T11"/>
                  </a:cxn>
                </a:cxnLst>
                <a:rect l="0" t="0" r="r" b="b"/>
                <a:pathLst>
                  <a:path w="16" h="17">
                    <a:moveTo>
                      <a:pt x="0" y="0"/>
                    </a:moveTo>
                    <a:cubicBezTo>
                      <a:pt x="0" y="9"/>
                      <a:pt x="0" y="9"/>
                      <a:pt x="0" y="9"/>
                    </a:cubicBezTo>
                    <a:cubicBezTo>
                      <a:pt x="0" y="14"/>
                      <a:pt x="3" y="17"/>
                      <a:pt x="8" y="17"/>
                    </a:cubicBezTo>
                    <a:cubicBezTo>
                      <a:pt x="12" y="17"/>
                      <a:pt x="16" y="14"/>
                      <a:pt x="16" y="9"/>
                    </a:cubicBezTo>
                    <a:cubicBezTo>
                      <a:pt x="16" y="0"/>
                      <a:pt x="16" y="0"/>
                      <a:pt x="16" y="0"/>
                    </a:cubicBezTo>
                    <a:lnTo>
                      <a:pt x="0" y="0"/>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9" name="Freeform 98"/>
              <p:cNvSpPr>
                <a:spLocks/>
              </p:cNvSpPr>
              <p:nvPr/>
            </p:nvSpPr>
            <p:spPr bwMode="auto">
              <a:xfrm>
                <a:off x="2534" y="1968"/>
                <a:ext cx="25" cy="26"/>
              </a:xfrm>
              <a:custGeom>
                <a:avLst/>
                <a:gdLst>
                  <a:gd name="T0" fmla="*/ 0 w 16"/>
                  <a:gd name="T1" fmla="*/ 0 h 17"/>
                  <a:gd name="T2" fmla="*/ 0 w 16"/>
                  <a:gd name="T3" fmla="*/ 9 h 17"/>
                  <a:gd name="T4" fmla="*/ 8 w 16"/>
                  <a:gd name="T5" fmla="*/ 17 h 17"/>
                  <a:gd name="T6" fmla="*/ 16 w 16"/>
                  <a:gd name="T7" fmla="*/ 9 h 17"/>
                  <a:gd name="T8" fmla="*/ 16 w 16"/>
                  <a:gd name="T9" fmla="*/ 0 h 17"/>
                  <a:gd name="T10" fmla="*/ 0 w 16"/>
                  <a:gd name="T11" fmla="*/ 0 h 17"/>
                </a:gdLst>
                <a:ahLst/>
                <a:cxnLst>
                  <a:cxn ang="0">
                    <a:pos x="T0" y="T1"/>
                  </a:cxn>
                  <a:cxn ang="0">
                    <a:pos x="T2" y="T3"/>
                  </a:cxn>
                  <a:cxn ang="0">
                    <a:pos x="T4" y="T5"/>
                  </a:cxn>
                  <a:cxn ang="0">
                    <a:pos x="T6" y="T7"/>
                  </a:cxn>
                  <a:cxn ang="0">
                    <a:pos x="T8" y="T9"/>
                  </a:cxn>
                  <a:cxn ang="0">
                    <a:pos x="T10" y="T11"/>
                  </a:cxn>
                </a:cxnLst>
                <a:rect l="0" t="0" r="r" b="b"/>
                <a:pathLst>
                  <a:path w="16" h="17">
                    <a:moveTo>
                      <a:pt x="0" y="0"/>
                    </a:moveTo>
                    <a:cubicBezTo>
                      <a:pt x="0" y="9"/>
                      <a:pt x="0" y="9"/>
                      <a:pt x="0" y="9"/>
                    </a:cubicBezTo>
                    <a:cubicBezTo>
                      <a:pt x="0" y="14"/>
                      <a:pt x="4" y="17"/>
                      <a:pt x="8" y="17"/>
                    </a:cubicBezTo>
                    <a:cubicBezTo>
                      <a:pt x="13" y="17"/>
                      <a:pt x="16" y="14"/>
                      <a:pt x="16" y="9"/>
                    </a:cubicBezTo>
                    <a:cubicBezTo>
                      <a:pt x="16" y="0"/>
                      <a:pt x="16" y="0"/>
                      <a:pt x="16" y="0"/>
                    </a:cubicBezTo>
                    <a:lnTo>
                      <a:pt x="0" y="0"/>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90" name="Freeform 99"/>
              <p:cNvSpPr>
                <a:spLocks/>
              </p:cNvSpPr>
              <p:nvPr/>
            </p:nvSpPr>
            <p:spPr bwMode="auto">
              <a:xfrm>
                <a:off x="2393" y="1748"/>
                <a:ext cx="121" cy="238"/>
              </a:xfrm>
              <a:custGeom>
                <a:avLst/>
                <a:gdLst>
                  <a:gd name="T0" fmla="*/ 79 w 121"/>
                  <a:gd name="T1" fmla="*/ 0 h 238"/>
                  <a:gd name="T2" fmla="*/ 61 w 121"/>
                  <a:gd name="T3" fmla="*/ 149 h 238"/>
                  <a:gd name="T4" fmla="*/ 42 w 121"/>
                  <a:gd name="T5" fmla="*/ 0 h 238"/>
                  <a:gd name="T6" fmla="*/ 0 w 121"/>
                  <a:gd name="T7" fmla="*/ 11 h 238"/>
                  <a:gd name="T8" fmla="*/ 2 w 121"/>
                  <a:gd name="T9" fmla="*/ 238 h 238"/>
                  <a:gd name="T10" fmla="*/ 119 w 121"/>
                  <a:gd name="T11" fmla="*/ 238 h 238"/>
                  <a:gd name="T12" fmla="*/ 121 w 121"/>
                  <a:gd name="T13" fmla="*/ 11 h 238"/>
                  <a:gd name="T14" fmla="*/ 79 w 121"/>
                  <a:gd name="T15" fmla="*/ 0 h 2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1" h="238">
                    <a:moveTo>
                      <a:pt x="79" y="0"/>
                    </a:moveTo>
                    <a:lnTo>
                      <a:pt x="61" y="149"/>
                    </a:lnTo>
                    <a:lnTo>
                      <a:pt x="42" y="0"/>
                    </a:lnTo>
                    <a:lnTo>
                      <a:pt x="0" y="11"/>
                    </a:lnTo>
                    <a:lnTo>
                      <a:pt x="2" y="238"/>
                    </a:lnTo>
                    <a:lnTo>
                      <a:pt x="119" y="238"/>
                    </a:lnTo>
                    <a:lnTo>
                      <a:pt x="121" y="11"/>
                    </a:lnTo>
                    <a:lnTo>
                      <a:pt x="7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91" name="Freeform 100"/>
              <p:cNvSpPr>
                <a:spLocks/>
              </p:cNvSpPr>
              <p:nvPr/>
            </p:nvSpPr>
            <p:spPr bwMode="auto">
              <a:xfrm>
                <a:off x="2485" y="1679"/>
                <a:ext cx="0" cy="1"/>
              </a:xfrm>
              <a:custGeom>
                <a:avLst/>
                <a:gdLst>
                  <a:gd name="T0" fmla="*/ 1 h 1"/>
                  <a:gd name="T1" fmla="*/ 0 h 1"/>
                  <a:gd name="T2" fmla="*/ 1 h 1"/>
                </a:gdLst>
                <a:ahLst/>
                <a:cxnLst>
                  <a:cxn ang="0">
                    <a:pos x="0" y="T0"/>
                  </a:cxn>
                  <a:cxn ang="0">
                    <a:pos x="0" y="T1"/>
                  </a:cxn>
                  <a:cxn ang="0">
                    <a:pos x="0" y="T2"/>
                  </a:cxn>
                </a:cxnLst>
                <a:rect l="0" t="0" r="r" b="b"/>
                <a:pathLst>
                  <a:path h="1">
                    <a:moveTo>
                      <a:pt x="0" y="1"/>
                    </a:moveTo>
                    <a:cubicBezTo>
                      <a:pt x="0" y="1"/>
                      <a:pt x="0" y="1"/>
                      <a:pt x="0" y="0"/>
                    </a:cubicBezTo>
                    <a:cubicBezTo>
                      <a:pt x="0" y="1"/>
                      <a:pt x="0" y="1"/>
                      <a:pt x="0" y="1"/>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92" name="Freeform 101"/>
              <p:cNvSpPr>
                <a:spLocks/>
              </p:cNvSpPr>
              <p:nvPr/>
            </p:nvSpPr>
            <p:spPr bwMode="auto">
              <a:xfrm>
                <a:off x="2485" y="1679"/>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93" name="Freeform 102"/>
              <p:cNvSpPr>
                <a:spLocks/>
              </p:cNvSpPr>
              <p:nvPr/>
            </p:nvSpPr>
            <p:spPr bwMode="auto">
              <a:xfrm>
                <a:off x="2483" y="1676"/>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94" name="Freeform 103"/>
              <p:cNvSpPr>
                <a:spLocks/>
              </p:cNvSpPr>
              <p:nvPr/>
            </p:nvSpPr>
            <p:spPr bwMode="auto">
              <a:xfrm>
                <a:off x="2483" y="1677"/>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95" name="Freeform 104"/>
              <p:cNvSpPr>
                <a:spLocks/>
              </p:cNvSpPr>
              <p:nvPr/>
            </p:nvSpPr>
            <p:spPr bwMode="auto">
              <a:xfrm>
                <a:off x="2424" y="1676"/>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96" name="Freeform 105"/>
              <p:cNvSpPr>
                <a:spLocks/>
              </p:cNvSpPr>
              <p:nvPr/>
            </p:nvSpPr>
            <p:spPr bwMode="auto">
              <a:xfrm>
                <a:off x="2485" y="1680"/>
                <a:ext cx="0" cy="2"/>
              </a:xfrm>
              <a:custGeom>
                <a:avLst/>
                <a:gdLst>
                  <a:gd name="T0" fmla="*/ 1 h 1"/>
                  <a:gd name="T1" fmla="*/ 0 h 1"/>
                  <a:gd name="T2" fmla="*/ 1 h 1"/>
                </a:gdLst>
                <a:ahLst/>
                <a:cxnLst>
                  <a:cxn ang="0">
                    <a:pos x="0" y="T0"/>
                  </a:cxn>
                  <a:cxn ang="0">
                    <a:pos x="0" y="T1"/>
                  </a:cxn>
                  <a:cxn ang="0">
                    <a:pos x="0" y="T2"/>
                  </a:cxn>
                </a:cxnLst>
                <a:rect l="0" t="0" r="r" b="b"/>
                <a:pathLst>
                  <a:path h="1">
                    <a:moveTo>
                      <a:pt x="0" y="1"/>
                    </a:moveTo>
                    <a:cubicBezTo>
                      <a:pt x="0" y="1"/>
                      <a:pt x="0" y="1"/>
                      <a:pt x="0" y="0"/>
                    </a:cubicBezTo>
                    <a:cubicBezTo>
                      <a:pt x="0" y="1"/>
                      <a:pt x="0" y="1"/>
                      <a:pt x="0" y="1"/>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97" name="Freeform 106"/>
              <p:cNvSpPr>
                <a:spLocks/>
              </p:cNvSpPr>
              <p:nvPr/>
            </p:nvSpPr>
            <p:spPr bwMode="auto">
              <a:xfrm>
                <a:off x="2485" y="1682"/>
                <a:ext cx="0" cy="1"/>
              </a:xfrm>
              <a:custGeom>
                <a:avLst/>
                <a:gdLst>
                  <a:gd name="T0" fmla="*/ 1 h 1"/>
                  <a:gd name="T1" fmla="*/ 0 h 1"/>
                  <a:gd name="T2" fmla="*/ 1 h 1"/>
                </a:gdLst>
                <a:ahLst/>
                <a:cxnLst>
                  <a:cxn ang="0">
                    <a:pos x="0" y="T0"/>
                  </a:cxn>
                  <a:cxn ang="0">
                    <a:pos x="0" y="T1"/>
                  </a:cxn>
                  <a:cxn ang="0">
                    <a:pos x="0" y="T2"/>
                  </a:cxn>
                </a:cxnLst>
                <a:rect l="0" t="0" r="r" b="b"/>
                <a:pathLst>
                  <a:path h="1">
                    <a:moveTo>
                      <a:pt x="0" y="1"/>
                    </a:moveTo>
                    <a:cubicBezTo>
                      <a:pt x="0" y="1"/>
                      <a:pt x="0" y="1"/>
                      <a:pt x="0" y="0"/>
                    </a:cubicBezTo>
                    <a:cubicBezTo>
                      <a:pt x="0" y="1"/>
                      <a:pt x="0" y="1"/>
                      <a:pt x="0" y="1"/>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98" name="Rectangle 107"/>
              <p:cNvSpPr>
                <a:spLocks noChangeArrowheads="1"/>
              </p:cNvSpPr>
              <p:nvPr/>
            </p:nvSpPr>
            <p:spPr bwMode="auto">
              <a:xfrm>
                <a:off x="2483" y="1674"/>
                <a:ext cx="1" cy="1"/>
              </a:xfrm>
              <a:prstGeom prst="rect">
                <a:avLst/>
              </a:prstGeom>
              <a:solidFill>
                <a:srgbClr val="FFD60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99" name="Freeform 108"/>
              <p:cNvSpPr>
                <a:spLocks/>
              </p:cNvSpPr>
              <p:nvPr/>
            </p:nvSpPr>
            <p:spPr bwMode="auto">
              <a:xfrm>
                <a:off x="2421" y="1682"/>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00" name="Freeform 109"/>
              <p:cNvSpPr>
                <a:spLocks/>
              </p:cNvSpPr>
              <p:nvPr/>
            </p:nvSpPr>
            <p:spPr bwMode="auto">
              <a:xfrm>
                <a:off x="2423" y="1679"/>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01" name="Freeform 110"/>
              <p:cNvSpPr>
                <a:spLocks/>
              </p:cNvSpPr>
              <p:nvPr/>
            </p:nvSpPr>
            <p:spPr bwMode="auto">
              <a:xfrm>
                <a:off x="2423" y="1677"/>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02" name="Freeform 111"/>
              <p:cNvSpPr>
                <a:spLocks/>
              </p:cNvSpPr>
              <p:nvPr/>
            </p:nvSpPr>
            <p:spPr bwMode="auto">
              <a:xfrm>
                <a:off x="2421" y="1680"/>
                <a:ext cx="2" cy="0"/>
              </a:xfrm>
              <a:custGeom>
                <a:avLst/>
                <a:gdLst>
                  <a:gd name="T0" fmla="*/ 1 w 1"/>
                  <a:gd name="T1" fmla="*/ 0 w 1"/>
                  <a:gd name="T2" fmla="*/ 1 w 1"/>
                </a:gdLst>
                <a:ahLst/>
                <a:cxnLst>
                  <a:cxn ang="0">
                    <a:pos x="T0" y="0"/>
                  </a:cxn>
                  <a:cxn ang="0">
                    <a:pos x="T1" y="0"/>
                  </a:cxn>
                  <a:cxn ang="0">
                    <a:pos x="T2" y="0"/>
                  </a:cxn>
                </a:cxnLst>
                <a:rect l="0" t="0" r="r" b="b"/>
                <a:pathLst>
                  <a:path w="1">
                    <a:moveTo>
                      <a:pt x="1" y="0"/>
                    </a:moveTo>
                    <a:cubicBezTo>
                      <a:pt x="1" y="0"/>
                      <a:pt x="0" y="0"/>
                      <a:pt x="0" y="0"/>
                    </a:cubicBezTo>
                    <a:cubicBezTo>
                      <a:pt x="0" y="0"/>
                      <a:pt x="1" y="0"/>
                      <a:pt x="1"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03" name="Freeform 112"/>
              <p:cNvSpPr>
                <a:spLocks/>
              </p:cNvSpPr>
              <p:nvPr/>
            </p:nvSpPr>
            <p:spPr bwMode="auto">
              <a:xfrm>
                <a:off x="2417" y="1672"/>
                <a:ext cx="74" cy="67"/>
              </a:xfrm>
              <a:custGeom>
                <a:avLst/>
                <a:gdLst>
                  <a:gd name="T0" fmla="*/ 46 w 48"/>
                  <a:gd name="T1" fmla="*/ 10 h 43"/>
                  <a:gd name="T2" fmla="*/ 44 w 48"/>
                  <a:gd name="T3" fmla="*/ 10 h 43"/>
                  <a:gd name="T4" fmla="*/ 44 w 48"/>
                  <a:gd name="T5" fmla="*/ 7 h 43"/>
                  <a:gd name="T6" fmla="*/ 44 w 48"/>
                  <a:gd name="T7" fmla="*/ 6 h 43"/>
                  <a:gd name="T8" fmla="*/ 44 w 48"/>
                  <a:gd name="T9" fmla="*/ 6 h 43"/>
                  <a:gd name="T10" fmla="*/ 44 w 48"/>
                  <a:gd name="T11" fmla="*/ 5 h 43"/>
                  <a:gd name="T12" fmla="*/ 44 w 48"/>
                  <a:gd name="T13" fmla="*/ 5 h 43"/>
                  <a:gd name="T14" fmla="*/ 44 w 48"/>
                  <a:gd name="T15" fmla="*/ 4 h 43"/>
                  <a:gd name="T16" fmla="*/ 44 w 48"/>
                  <a:gd name="T17" fmla="*/ 4 h 43"/>
                  <a:gd name="T18" fmla="*/ 44 w 48"/>
                  <a:gd name="T19" fmla="*/ 4 h 43"/>
                  <a:gd name="T20" fmla="*/ 43 w 48"/>
                  <a:gd name="T21" fmla="*/ 3 h 43"/>
                  <a:gd name="T22" fmla="*/ 43 w 48"/>
                  <a:gd name="T23" fmla="*/ 3 h 43"/>
                  <a:gd name="T24" fmla="*/ 43 w 48"/>
                  <a:gd name="T25" fmla="*/ 2 h 43"/>
                  <a:gd name="T26" fmla="*/ 43 w 48"/>
                  <a:gd name="T27" fmla="*/ 2 h 43"/>
                  <a:gd name="T28" fmla="*/ 43 w 48"/>
                  <a:gd name="T29" fmla="*/ 1 h 43"/>
                  <a:gd name="T30" fmla="*/ 43 w 48"/>
                  <a:gd name="T31" fmla="*/ 1 h 43"/>
                  <a:gd name="T32" fmla="*/ 39 w 48"/>
                  <a:gd name="T33" fmla="*/ 2 h 43"/>
                  <a:gd name="T34" fmla="*/ 32 w 48"/>
                  <a:gd name="T35" fmla="*/ 0 h 43"/>
                  <a:gd name="T36" fmla="*/ 19 w 48"/>
                  <a:gd name="T37" fmla="*/ 2 h 43"/>
                  <a:gd name="T38" fmla="*/ 6 w 48"/>
                  <a:gd name="T39" fmla="*/ 0 h 43"/>
                  <a:gd name="T40" fmla="*/ 5 w 48"/>
                  <a:gd name="T41" fmla="*/ 2 h 43"/>
                  <a:gd name="T42" fmla="*/ 5 w 48"/>
                  <a:gd name="T43" fmla="*/ 2 h 43"/>
                  <a:gd name="T44" fmla="*/ 4 w 48"/>
                  <a:gd name="T45" fmla="*/ 3 h 43"/>
                  <a:gd name="T46" fmla="*/ 4 w 48"/>
                  <a:gd name="T47" fmla="*/ 3 h 43"/>
                  <a:gd name="T48" fmla="*/ 4 w 48"/>
                  <a:gd name="T49" fmla="*/ 4 h 43"/>
                  <a:gd name="T50" fmla="*/ 4 w 48"/>
                  <a:gd name="T51" fmla="*/ 4 h 43"/>
                  <a:gd name="T52" fmla="*/ 4 w 48"/>
                  <a:gd name="T53" fmla="*/ 5 h 43"/>
                  <a:gd name="T54" fmla="*/ 3 w 48"/>
                  <a:gd name="T55" fmla="*/ 5 h 43"/>
                  <a:gd name="T56" fmla="*/ 3 w 48"/>
                  <a:gd name="T57" fmla="*/ 6 h 43"/>
                  <a:gd name="T58" fmla="*/ 3 w 48"/>
                  <a:gd name="T59" fmla="*/ 6 h 43"/>
                  <a:gd name="T60" fmla="*/ 3 w 48"/>
                  <a:gd name="T61" fmla="*/ 7 h 43"/>
                  <a:gd name="T62" fmla="*/ 3 w 48"/>
                  <a:gd name="T63" fmla="*/ 10 h 43"/>
                  <a:gd name="T64" fmla="*/ 3 w 48"/>
                  <a:gd name="T65" fmla="*/ 10 h 43"/>
                  <a:gd name="T66" fmla="*/ 0 w 48"/>
                  <a:gd name="T67" fmla="*/ 14 h 43"/>
                  <a:gd name="T68" fmla="*/ 0 w 48"/>
                  <a:gd name="T69" fmla="*/ 21 h 43"/>
                  <a:gd name="T70" fmla="*/ 3 w 48"/>
                  <a:gd name="T71" fmla="*/ 25 h 43"/>
                  <a:gd name="T72" fmla="*/ 15 w 48"/>
                  <a:gd name="T73" fmla="*/ 43 h 43"/>
                  <a:gd name="T74" fmla="*/ 33 w 48"/>
                  <a:gd name="T75" fmla="*/ 43 h 43"/>
                  <a:gd name="T76" fmla="*/ 44 w 48"/>
                  <a:gd name="T77" fmla="*/ 25 h 43"/>
                  <a:gd name="T78" fmla="*/ 48 w 48"/>
                  <a:gd name="T79" fmla="*/ 21 h 43"/>
                  <a:gd name="T80" fmla="*/ 48 w 48"/>
                  <a:gd name="T81" fmla="*/ 14 h 43"/>
                  <a:gd name="T82" fmla="*/ 46 w 48"/>
                  <a:gd name="T83" fmla="*/ 1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8" h="43">
                    <a:moveTo>
                      <a:pt x="46" y="10"/>
                    </a:moveTo>
                    <a:cubicBezTo>
                      <a:pt x="45" y="10"/>
                      <a:pt x="45" y="10"/>
                      <a:pt x="44" y="10"/>
                    </a:cubicBezTo>
                    <a:cubicBezTo>
                      <a:pt x="44" y="7"/>
                      <a:pt x="44" y="7"/>
                      <a:pt x="44" y="7"/>
                    </a:cubicBezTo>
                    <a:cubicBezTo>
                      <a:pt x="44" y="7"/>
                      <a:pt x="44" y="7"/>
                      <a:pt x="44" y="6"/>
                    </a:cubicBezTo>
                    <a:cubicBezTo>
                      <a:pt x="44" y="6"/>
                      <a:pt x="44" y="6"/>
                      <a:pt x="44" y="6"/>
                    </a:cubicBezTo>
                    <a:cubicBezTo>
                      <a:pt x="44" y="6"/>
                      <a:pt x="44" y="6"/>
                      <a:pt x="44" y="5"/>
                    </a:cubicBezTo>
                    <a:cubicBezTo>
                      <a:pt x="44" y="5"/>
                      <a:pt x="44" y="5"/>
                      <a:pt x="44" y="5"/>
                    </a:cubicBezTo>
                    <a:cubicBezTo>
                      <a:pt x="44" y="5"/>
                      <a:pt x="44" y="5"/>
                      <a:pt x="44" y="4"/>
                    </a:cubicBezTo>
                    <a:cubicBezTo>
                      <a:pt x="44" y="4"/>
                      <a:pt x="44" y="4"/>
                      <a:pt x="44" y="4"/>
                    </a:cubicBezTo>
                    <a:cubicBezTo>
                      <a:pt x="44" y="4"/>
                      <a:pt x="44" y="4"/>
                      <a:pt x="44" y="4"/>
                    </a:cubicBezTo>
                    <a:cubicBezTo>
                      <a:pt x="44" y="3"/>
                      <a:pt x="44" y="3"/>
                      <a:pt x="43" y="3"/>
                    </a:cubicBezTo>
                    <a:cubicBezTo>
                      <a:pt x="43" y="3"/>
                      <a:pt x="43" y="3"/>
                      <a:pt x="43" y="3"/>
                    </a:cubicBezTo>
                    <a:cubicBezTo>
                      <a:pt x="43" y="2"/>
                      <a:pt x="43" y="2"/>
                      <a:pt x="43" y="2"/>
                    </a:cubicBezTo>
                    <a:cubicBezTo>
                      <a:pt x="43" y="2"/>
                      <a:pt x="43" y="2"/>
                      <a:pt x="43" y="2"/>
                    </a:cubicBezTo>
                    <a:cubicBezTo>
                      <a:pt x="43" y="2"/>
                      <a:pt x="43" y="2"/>
                      <a:pt x="43" y="1"/>
                    </a:cubicBezTo>
                    <a:cubicBezTo>
                      <a:pt x="43" y="1"/>
                      <a:pt x="43" y="1"/>
                      <a:pt x="43" y="1"/>
                    </a:cubicBezTo>
                    <a:cubicBezTo>
                      <a:pt x="41" y="2"/>
                      <a:pt x="40" y="2"/>
                      <a:pt x="39" y="2"/>
                    </a:cubicBezTo>
                    <a:cubicBezTo>
                      <a:pt x="36" y="2"/>
                      <a:pt x="33" y="1"/>
                      <a:pt x="32" y="0"/>
                    </a:cubicBezTo>
                    <a:cubicBezTo>
                      <a:pt x="29" y="1"/>
                      <a:pt x="24" y="2"/>
                      <a:pt x="19" y="2"/>
                    </a:cubicBezTo>
                    <a:cubicBezTo>
                      <a:pt x="14" y="2"/>
                      <a:pt x="9" y="1"/>
                      <a:pt x="6" y="0"/>
                    </a:cubicBezTo>
                    <a:cubicBezTo>
                      <a:pt x="6" y="1"/>
                      <a:pt x="5" y="1"/>
                      <a:pt x="5" y="2"/>
                    </a:cubicBezTo>
                    <a:cubicBezTo>
                      <a:pt x="5" y="2"/>
                      <a:pt x="5" y="2"/>
                      <a:pt x="5" y="2"/>
                    </a:cubicBezTo>
                    <a:cubicBezTo>
                      <a:pt x="4" y="3"/>
                      <a:pt x="4" y="3"/>
                      <a:pt x="4" y="3"/>
                    </a:cubicBezTo>
                    <a:cubicBezTo>
                      <a:pt x="4" y="3"/>
                      <a:pt x="4" y="3"/>
                      <a:pt x="4" y="3"/>
                    </a:cubicBezTo>
                    <a:cubicBezTo>
                      <a:pt x="4" y="3"/>
                      <a:pt x="4" y="4"/>
                      <a:pt x="4" y="4"/>
                    </a:cubicBezTo>
                    <a:cubicBezTo>
                      <a:pt x="4" y="4"/>
                      <a:pt x="4" y="4"/>
                      <a:pt x="4" y="4"/>
                    </a:cubicBezTo>
                    <a:cubicBezTo>
                      <a:pt x="4" y="4"/>
                      <a:pt x="4" y="5"/>
                      <a:pt x="4" y="5"/>
                    </a:cubicBezTo>
                    <a:cubicBezTo>
                      <a:pt x="4" y="5"/>
                      <a:pt x="3" y="5"/>
                      <a:pt x="3" y="5"/>
                    </a:cubicBezTo>
                    <a:cubicBezTo>
                      <a:pt x="3" y="5"/>
                      <a:pt x="3" y="6"/>
                      <a:pt x="3" y="6"/>
                    </a:cubicBezTo>
                    <a:cubicBezTo>
                      <a:pt x="3" y="6"/>
                      <a:pt x="3" y="6"/>
                      <a:pt x="3" y="6"/>
                    </a:cubicBezTo>
                    <a:cubicBezTo>
                      <a:pt x="3" y="6"/>
                      <a:pt x="3" y="7"/>
                      <a:pt x="3" y="7"/>
                    </a:cubicBezTo>
                    <a:cubicBezTo>
                      <a:pt x="3" y="10"/>
                      <a:pt x="3" y="10"/>
                      <a:pt x="3" y="10"/>
                    </a:cubicBezTo>
                    <a:cubicBezTo>
                      <a:pt x="3" y="10"/>
                      <a:pt x="3" y="10"/>
                      <a:pt x="3" y="10"/>
                    </a:cubicBezTo>
                    <a:cubicBezTo>
                      <a:pt x="1" y="10"/>
                      <a:pt x="0" y="12"/>
                      <a:pt x="0" y="14"/>
                    </a:cubicBezTo>
                    <a:cubicBezTo>
                      <a:pt x="0" y="21"/>
                      <a:pt x="0" y="21"/>
                      <a:pt x="0" y="21"/>
                    </a:cubicBezTo>
                    <a:cubicBezTo>
                      <a:pt x="0" y="23"/>
                      <a:pt x="1" y="25"/>
                      <a:pt x="3" y="25"/>
                    </a:cubicBezTo>
                    <a:cubicBezTo>
                      <a:pt x="3" y="25"/>
                      <a:pt x="9" y="43"/>
                      <a:pt x="15" y="43"/>
                    </a:cubicBezTo>
                    <a:cubicBezTo>
                      <a:pt x="33" y="43"/>
                      <a:pt x="33" y="43"/>
                      <a:pt x="33" y="43"/>
                    </a:cubicBezTo>
                    <a:cubicBezTo>
                      <a:pt x="38" y="43"/>
                      <a:pt x="44" y="25"/>
                      <a:pt x="44" y="25"/>
                    </a:cubicBezTo>
                    <a:cubicBezTo>
                      <a:pt x="46" y="25"/>
                      <a:pt x="48" y="23"/>
                      <a:pt x="48" y="21"/>
                    </a:cubicBezTo>
                    <a:cubicBezTo>
                      <a:pt x="48" y="14"/>
                      <a:pt x="48" y="14"/>
                      <a:pt x="48" y="14"/>
                    </a:cubicBezTo>
                    <a:cubicBezTo>
                      <a:pt x="48" y="12"/>
                      <a:pt x="47" y="11"/>
                      <a:pt x="46" y="1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04" name="Freeform 113"/>
              <p:cNvSpPr>
                <a:spLocks/>
              </p:cNvSpPr>
              <p:nvPr/>
            </p:nvSpPr>
            <p:spPr bwMode="auto">
              <a:xfrm>
                <a:off x="1506" y="2059"/>
                <a:ext cx="1540" cy="450"/>
              </a:xfrm>
              <a:custGeom>
                <a:avLst/>
                <a:gdLst>
                  <a:gd name="T0" fmla="*/ 0 w 996"/>
                  <a:gd name="T1" fmla="*/ 291 h 291"/>
                  <a:gd name="T2" fmla="*/ 996 w 996"/>
                  <a:gd name="T3" fmla="*/ 291 h 291"/>
                  <a:gd name="T4" fmla="*/ 996 w 996"/>
                  <a:gd name="T5" fmla="*/ 234 h 291"/>
                  <a:gd name="T6" fmla="*/ 0 w 996"/>
                  <a:gd name="T7" fmla="*/ 291 h 291"/>
                </a:gdLst>
                <a:ahLst/>
                <a:cxnLst>
                  <a:cxn ang="0">
                    <a:pos x="T0" y="T1"/>
                  </a:cxn>
                  <a:cxn ang="0">
                    <a:pos x="T2" y="T3"/>
                  </a:cxn>
                  <a:cxn ang="0">
                    <a:pos x="T4" y="T5"/>
                  </a:cxn>
                  <a:cxn ang="0">
                    <a:pos x="T6" y="T7"/>
                  </a:cxn>
                </a:cxnLst>
                <a:rect l="0" t="0" r="r" b="b"/>
                <a:pathLst>
                  <a:path w="996" h="291">
                    <a:moveTo>
                      <a:pt x="0" y="291"/>
                    </a:moveTo>
                    <a:cubicBezTo>
                      <a:pt x="996" y="291"/>
                      <a:pt x="996" y="291"/>
                      <a:pt x="996" y="291"/>
                    </a:cubicBezTo>
                    <a:cubicBezTo>
                      <a:pt x="996" y="234"/>
                      <a:pt x="996" y="234"/>
                      <a:pt x="996" y="234"/>
                    </a:cubicBezTo>
                    <a:cubicBezTo>
                      <a:pt x="702" y="0"/>
                      <a:pt x="272" y="18"/>
                      <a:pt x="0" y="291"/>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05" name="Freeform 114"/>
              <p:cNvSpPr>
                <a:spLocks/>
              </p:cNvSpPr>
              <p:nvPr/>
            </p:nvSpPr>
            <p:spPr bwMode="auto">
              <a:xfrm>
                <a:off x="2846" y="1716"/>
                <a:ext cx="183" cy="127"/>
              </a:xfrm>
              <a:custGeom>
                <a:avLst/>
                <a:gdLst>
                  <a:gd name="T0" fmla="*/ 115 w 118"/>
                  <a:gd name="T1" fmla="*/ 82 h 82"/>
                  <a:gd name="T2" fmla="*/ 118 w 118"/>
                  <a:gd name="T3" fmla="*/ 79 h 82"/>
                  <a:gd name="T4" fmla="*/ 118 w 118"/>
                  <a:gd name="T5" fmla="*/ 2 h 82"/>
                  <a:gd name="T6" fmla="*/ 115 w 118"/>
                  <a:gd name="T7" fmla="*/ 0 h 82"/>
                  <a:gd name="T8" fmla="*/ 2 w 118"/>
                  <a:gd name="T9" fmla="*/ 0 h 82"/>
                  <a:gd name="T10" fmla="*/ 0 w 118"/>
                  <a:gd name="T11" fmla="*/ 2 h 82"/>
                  <a:gd name="T12" fmla="*/ 0 w 118"/>
                  <a:gd name="T13" fmla="*/ 79 h 82"/>
                  <a:gd name="T14" fmla="*/ 2 w 118"/>
                  <a:gd name="T15" fmla="*/ 82 h 82"/>
                  <a:gd name="T16" fmla="*/ 115 w 118"/>
                  <a:gd name="T17" fmla="*/ 82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8" h="82">
                    <a:moveTo>
                      <a:pt x="115" y="82"/>
                    </a:moveTo>
                    <a:cubicBezTo>
                      <a:pt x="117" y="82"/>
                      <a:pt x="118" y="81"/>
                      <a:pt x="118" y="79"/>
                    </a:cubicBezTo>
                    <a:cubicBezTo>
                      <a:pt x="118" y="2"/>
                      <a:pt x="118" y="2"/>
                      <a:pt x="118" y="2"/>
                    </a:cubicBezTo>
                    <a:cubicBezTo>
                      <a:pt x="118" y="1"/>
                      <a:pt x="117" y="0"/>
                      <a:pt x="115" y="0"/>
                    </a:cubicBezTo>
                    <a:cubicBezTo>
                      <a:pt x="2" y="0"/>
                      <a:pt x="2" y="0"/>
                      <a:pt x="2" y="0"/>
                    </a:cubicBezTo>
                    <a:cubicBezTo>
                      <a:pt x="1" y="0"/>
                      <a:pt x="0" y="1"/>
                      <a:pt x="0" y="2"/>
                    </a:cubicBezTo>
                    <a:cubicBezTo>
                      <a:pt x="0" y="79"/>
                      <a:pt x="0" y="79"/>
                      <a:pt x="0" y="79"/>
                    </a:cubicBezTo>
                    <a:cubicBezTo>
                      <a:pt x="0" y="81"/>
                      <a:pt x="1" y="82"/>
                      <a:pt x="2" y="82"/>
                    </a:cubicBezTo>
                    <a:lnTo>
                      <a:pt x="115" y="82"/>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06" name="Rectangle 115"/>
              <p:cNvSpPr>
                <a:spLocks noChangeArrowheads="1"/>
              </p:cNvSpPr>
              <p:nvPr/>
            </p:nvSpPr>
            <p:spPr bwMode="auto">
              <a:xfrm>
                <a:off x="2853" y="1722"/>
                <a:ext cx="168" cy="9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07" name="Freeform 116"/>
              <p:cNvSpPr>
                <a:spLocks/>
              </p:cNvSpPr>
              <p:nvPr/>
            </p:nvSpPr>
            <p:spPr bwMode="auto">
              <a:xfrm>
                <a:off x="2931" y="1491"/>
                <a:ext cx="68" cy="48"/>
              </a:xfrm>
              <a:custGeom>
                <a:avLst/>
                <a:gdLst>
                  <a:gd name="T0" fmla="*/ 43 w 44"/>
                  <a:gd name="T1" fmla="*/ 31 h 31"/>
                  <a:gd name="T2" fmla="*/ 44 w 44"/>
                  <a:gd name="T3" fmla="*/ 30 h 31"/>
                  <a:gd name="T4" fmla="*/ 44 w 44"/>
                  <a:gd name="T5" fmla="*/ 1 h 31"/>
                  <a:gd name="T6" fmla="*/ 43 w 44"/>
                  <a:gd name="T7" fmla="*/ 0 h 31"/>
                  <a:gd name="T8" fmla="*/ 1 w 44"/>
                  <a:gd name="T9" fmla="*/ 0 h 31"/>
                  <a:gd name="T10" fmla="*/ 0 w 44"/>
                  <a:gd name="T11" fmla="*/ 1 h 31"/>
                  <a:gd name="T12" fmla="*/ 0 w 44"/>
                  <a:gd name="T13" fmla="*/ 30 h 31"/>
                  <a:gd name="T14" fmla="*/ 1 w 44"/>
                  <a:gd name="T15" fmla="*/ 31 h 31"/>
                  <a:gd name="T16" fmla="*/ 43 w 44"/>
                  <a:gd name="T17"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31">
                    <a:moveTo>
                      <a:pt x="43" y="31"/>
                    </a:moveTo>
                    <a:cubicBezTo>
                      <a:pt x="44" y="31"/>
                      <a:pt x="44" y="30"/>
                      <a:pt x="44" y="30"/>
                    </a:cubicBezTo>
                    <a:cubicBezTo>
                      <a:pt x="44" y="1"/>
                      <a:pt x="44" y="1"/>
                      <a:pt x="44" y="1"/>
                    </a:cubicBezTo>
                    <a:cubicBezTo>
                      <a:pt x="44" y="1"/>
                      <a:pt x="44" y="0"/>
                      <a:pt x="43" y="0"/>
                    </a:cubicBezTo>
                    <a:cubicBezTo>
                      <a:pt x="1" y="0"/>
                      <a:pt x="1" y="0"/>
                      <a:pt x="1" y="0"/>
                    </a:cubicBezTo>
                    <a:cubicBezTo>
                      <a:pt x="1" y="0"/>
                      <a:pt x="0" y="1"/>
                      <a:pt x="0" y="1"/>
                    </a:cubicBezTo>
                    <a:cubicBezTo>
                      <a:pt x="0" y="30"/>
                      <a:pt x="0" y="30"/>
                      <a:pt x="0" y="30"/>
                    </a:cubicBezTo>
                    <a:cubicBezTo>
                      <a:pt x="0" y="30"/>
                      <a:pt x="1" y="31"/>
                      <a:pt x="1" y="31"/>
                    </a:cubicBezTo>
                    <a:lnTo>
                      <a:pt x="43" y="31"/>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08" name="Rectangle 117"/>
              <p:cNvSpPr>
                <a:spLocks noChangeArrowheads="1"/>
              </p:cNvSpPr>
              <p:nvPr/>
            </p:nvSpPr>
            <p:spPr bwMode="auto">
              <a:xfrm>
                <a:off x="2935" y="1495"/>
                <a:ext cx="61" cy="34"/>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09" name="Freeform 118"/>
              <p:cNvSpPr>
                <a:spLocks/>
              </p:cNvSpPr>
              <p:nvPr/>
            </p:nvSpPr>
            <p:spPr bwMode="auto">
              <a:xfrm>
                <a:off x="2962" y="1309"/>
                <a:ext cx="68" cy="46"/>
              </a:xfrm>
              <a:custGeom>
                <a:avLst/>
                <a:gdLst>
                  <a:gd name="T0" fmla="*/ 43 w 44"/>
                  <a:gd name="T1" fmla="*/ 30 h 30"/>
                  <a:gd name="T2" fmla="*/ 44 w 44"/>
                  <a:gd name="T3" fmla="*/ 30 h 30"/>
                  <a:gd name="T4" fmla="*/ 44 w 44"/>
                  <a:gd name="T5" fmla="*/ 1 h 30"/>
                  <a:gd name="T6" fmla="*/ 43 w 44"/>
                  <a:gd name="T7" fmla="*/ 0 h 30"/>
                  <a:gd name="T8" fmla="*/ 1 w 44"/>
                  <a:gd name="T9" fmla="*/ 0 h 30"/>
                  <a:gd name="T10" fmla="*/ 0 w 44"/>
                  <a:gd name="T11" fmla="*/ 1 h 30"/>
                  <a:gd name="T12" fmla="*/ 0 w 44"/>
                  <a:gd name="T13" fmla="*/ 30 h 30"/>
                  <a:gd name="T14" fmla="*/ 1 w 44"/>
                  <a:gd name="T15" fmla="*/ 30 h 30"/>
                  <a:gd name="T16" fmla="*/ 43 w 44"/>
                  <a:gd name="T17"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30">
                    <a:moveTo>
                      <a:pt x="43" y="30"/>
                    </a:moveTo>
                    <a:cubicBezTo>
                      <a:pt x="44" y="30"/>
                      <a:pt x="44" y="30"/>
                      <a:pt x="44" y="30"/>
                    </a:cubicBezTo>
                    <a:cubicBezTo>
                      <a:pt x="44" y="1"/>
                      <a:pt x="44" y="1"/>
                      <a:pt x="44" y="1"/>
                    </a:cubicBezTo>
                    <a:cubicBezTo>
                      <a:pt x="44" y="1"/>
                      <a:pt x="44" y="0"/>
                      <a:pt x="43" y="0"/>
                    </a:cubicBezTo>
                    <a:cubicBezTo>
                      <a:pt x="1" y="0"/>
                      <a:pt x="1" y="0"/>
                      <a:pt x="1" y="0"/>
                    </a:cubicBezTo>
                    <a:cubicBezTo>
                      <a:pt x="1" y="0"/>
                      <a:pt x="0" y="1"/>
                      <a:pt x="0" y="1"/>
                    </a:cubicBezTo>
                    <a:cubicBezTo>
                      <a:pt x="0" y="30"/>
                      <a:pt x="0" y="30"/>
                      <a:pt x="0" y="30"/>
                    </a:cubicBezTo>
                    <a:cubicBezTo>
                      <a:pt x="0" y="30"/>
                      <a:pt x="1" y="30"/>
                      <a:pt x="1" y="30"/>
                    </a:cubicBezTo>
                    <a:lnTo>
                      <a:pt x="43" y="30"/>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10" name="Rectangle 119"/>
              <p:cNvSpPr>
                <a:spLocks noChangeArrowheads="1"/>
              </p:cNvSpPr>
              <p:nvPr/>
            </p:nvSpPr>
            <p:spPr bwMode="auto">
              <a:xfrm>
                <a:off x="2965" y="1312"/>
                <a:ext cx="62" cy="34"/>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11" name="Freeform 120"/>
              <p:cNvSpPr>
                <a:spLocks/>
              </p:cNvSpPr>
              <p:nvPr/>
            </p:nvSpPr>
            <p:spPr bwMode="auto">
              <a:xfrm>
                <a:off x="2911" y="1512"/>
                <a:ext cx="109" cy="74"/>
              </a:xfrm>
              <a:custGeom>
                <a:avLst/>
                <a:gdLst>
                  <a:gd name="T0" fmla="*/ 69 w 70"/>
                  <a:gd name="T1" fmla="*/ 48 h 48"/>
                  <a:gd name="T2" fmla="*/ 70 w 70"/>
                  <a:gd name="T3" fmla="*/ 47 h 48"/>
                  <a:gd name="T4" fmla="*/ 70 w 70"/>
                  <a:gd name="T5" fmla="*/ 1 h 48"/>
                  <a:gd name="T6" fmla="*/ 69 w 70"/>
                  <a:gd name="T7" fmla="*/ 0 h 48"/>
                  <a:gd name="T8" fmla="*/ 2 w 70"/>
                  <a:gd name="T9" fmla="*/ 0 h 48"/>
                  <a:gd name="T10" fmla="*/ 0 w 70"/>
                  <a:gd name="T11" fmla="*/ 1 h 48"/>
                  <a:gd name="T12" fmla="*/ 0 w 70"/>
                  <a:gd name="T13" fmla="*/ 47 h 48"/>
                  <a:gd name="T14" fmla="*/ 2 w 70"/>
                  <a:gd name="T15" fmla="*/ 48 h 48"/>
                  <a:gd name="T16" fmla="*/ 69 w 70"/>
                  <a:gd name="T17"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0" h="48">
                    <a:moveTo>
                      <a:pt x="69" y="48"/>
                    </a:moveTo>
                    <a:cubicBezTo>
                      <a:pt x="70" y="48"/>
                      <a:pt x="70" y="48"/>
                      <a:pt x="70" y="47"/>
                    </a:cubicBezTo>
                    <a:cubicBezTo>
                      <a:pt x="70" y="1"/>
                      <a:pt x="70" y="1"/>
                      <a:pt x="70" y="1"/>
                    </a:cubicBezTo>
                    <a:cubicBezTo>
                      <a:pt x="70" y="1"/>
                      <a:pt x="70" y="0"/>
                      <a:pt x="69" y="0"/>
                    </a:cubicBezTo>
                    <a:cubicBezTo>
                      <a:pt x="2" y="0"/>
                      <a:pt x="2" y="0"/>
                      <a:pt x="2" y="0"/>
                    </a:cubicBezTo>
                    <a:cubicBezTo>
                      <a:pt x="1" y="0"/>
                      <a:pt x="0" y="1"/>
                      <a:pt x="0" y="1"/>
                    </a:cubicBezTo>
                    <a:cubicBezTo>
                      <a:pt x="0" y="47"/>
                      <a:pt x="0" y="47"/>
                      <a:pt x="0" y="47"/>
                    </a:cubicBezTo>
                    <a:cubicBezTo>
                      <a:pt x="0" y="48"/>
                      <a:pt x="1" y="48"/>
                      <a:pt x="2" y="48"/>
                    </a:cubicBezTo>
                    <a:lnTo>
                      <a:pt x="69" y="48"/>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12" name="Rectangle 121"/>
              <p:cNvSpPr>
                <a:spLocks noChangeArrowheads="1"/>
              </p:cNvSpPr>
              <p:nvPr/>
            </p:nvSpPr>
            <p:spPr bwMode="auto">
              <a:xfrm>
                <a:off x="2916" y="1516"/>
                <a:ext cx="101" cy="54"/>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13" name="Freeform 122"/>
              <p:cNvSpPr>
                <a:spLocks/>
              </p:cNvSpPr>
              <p:nvPr/>
            </p:nvSpPr>
            <p:spPr bwMode="auto">
              <a:xfrm>
                <a:off x="2797" y="2000"/>
                <a:ext cx="216" cy="150"/>
              </a:xfrm>
              <a:custGeom>
                <a:avLst/>
                <a:gdLst>
                  <a:gd name="T0" fmla="*/ 137 w 140"/>
                  <a:gd name="T1" fmla="*/ 97 h 97"/>
                  <a:gd name="T2" fmla="*/ 140 w 140"/>
                  <a:gd name="T3" fmla="*/ 94 h 97"/>
                  <a:gd name="T4" fmla="*/ 140 w 140"/>
                  <a:gd name="T5" fmla="*/ 2 h 97"/>
                  <a:gd name="T6" fmla="*/ 137 w 140"/>
                  <a:gd name="T7" fmla="*/ 0 h 97"/>
                  <a:gd name="T8" fmla="*/ 2 w 140"/>
                  <a:gd name="T9" fmla="*/ 0 h 97"/>
                  <a:gd name="T10" fmla="*/ 0 w 140"/>
                  <a:gd name="T11" fmla="*/ 2 h 97"/>
                  <a:gd name="T12" fmla="*/ 0 w 140"/>
                  <a:gd name="T13" fmla="*/ 94 h 97"/>
                  <a:gd name="T14" fmla="*/ 2 w 140"/>
                  <a:gd name="T15" fmla="*/ 97 h 97"/>
                  <a:gd name="T16" fmla="*/ 137 w 140"/>
                  <a:gd name="T17" fmla="*/ 97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0" h="97">
                    <a:moveTo>
                      <a:pt x="137" y="97"/>
                    </a:moveTo>
                    <a:cubicBezTo>
                      <a:pt x="139" y="97"/>
                      <a:pt x="140" y="96"/>
                      <a:pt x="140" y="94"/>
                    </a:cubicBezTo>
                    <a:cubicBezTo>
                      <a:pt x="140" y="2"/>
                      <a:pt x="140" y="2"/>
                      <a:pt x="140" y="2"/>
                    </a:cubicBezTo>
                    <a:cubicBezTo>
                      <a:pt x="140" y="1"/>
                      <a:pt x="139" y="0"/>
                      <a:pt x="137" y="0"/>
                    </a:cubicBezTo>
                    <a:cubicBezTo>
                      <a:pt x="2" y="0"/>
                      <a:pt x="2" y="0"/>
                      <a:pt x="2" y="0"/>
                    </a:cubicBezTo>
                    <a:cubicBezTo>
                      <a:pt x="1" y="0"/>
                      <a:pt x="0" y="1"/>
                      <a:pt x="0" y="2"/>
                    </a:cubicBezTo>
                    <a:cubicBezTo>
                      <a:pt x="0" y="94"/>
                      <a:pt x="0" y="94"/>
                      <a:pt x="0" y="94"/>
                    </a:cubicBezTo>
                    <a:cubicBezTo>
                      <a:pt x="0" y="96"/>
                      <a:pt x="1" y="97"/>
                      <a:pt x="2" y="97"/>
                    </a:cubicBezTo>
                    <a:lnTo>
                      <a:pt x="137" y="9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14" name="Rectangle 123"/>
              <p:cNvSpPr>
                <a:spLocks noChangeArrowheads="1"/>
              </p:cNvSpPr>
              <p:nvPr/>
            </p:nvSpPr>
            <p:spPr bwMode="auto">
              <a:xfrm>
                <a:off x="2805" y="2008"/>
                <a:ext cx="201" cy="110"/>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15" name="Freeform 124"/>
              <p:cNvSpPr>
                <a:spLocks/>
              </p:cNvSpPr>
              <p:nvPr/>
            </p:nvSpPr>
            <p:spPr bwMode="auto">
              <a:xfrm>
                <a:off x="2744" y="1976"/>
                <a:ext cx="217" cy="151"/>
              </a:xfrm>
              <a:custGeom>
                <a:avLst/>
                <a:gdLst>
                  <a:gd name="T0" fmla="*/ 138 w 140"/>
                  <a:gd name="T1" fmla="*/ 98 h 98"/>
                  <a:gd name="T2" fmla="*/ 140 w 140"/>
                  <a:gd name="T3" fmla="*/ 95 h 98"/>
                  <a:gd name="T4" fmla="*/ 140 w 140"/>
                  <a:gd name="T5" fmla="*/ 3 h 98"/>
                  <a:gd name="T6" fmla="*/ 138 w 140"/>
                  <a:gd name="T7" fmla="*/ 0 h 98"/>
                  <a:gd name="T8" fmla="*/ 3 w 140"/>
                  <a:gd name="T9" fmla="*/ 0 h 98"/>
                  <a:gd name="T10" fmla="*/ 0 w 140"/>
                  <a:gd name="T11" fmla="*/ 3 h 98"/>
                  <a:gd name="T12" fmla="*/ 0 w 140"/>
                  <a:gd name="T13" fmla="*/ 95 h 98"/>
                  <a:gd name="T14" fmla="*/ 3 w 140"/>
                  <a:gd name="T15" fmla="*/ 98 h 98"/>
                  <a:gd name="T16" fmla="*/ 138 w 140"/>
                  <a:gd name="T17" fmla="*/ 98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0" h="98">
                    <a:moveTo>
                      <a:pt x="138" y="98"/>
                    </a:moveTo>
                    <a:cubicBezTo>
                      <a:pt x="139" y="98"/>
                      <a:pt x="140" y="96"/>
                      <a:pt x="140" y="95"/>
                    </a:cubicBezTo>
                    <a:cubicBezTo>
                      <a:pt x="140" y="3"/>
                      <a:pt x="140" y="3"/>
                      <a:pt x="140" y="3"/>
                    </a:cubicBezTo>
                    <a:cubicBezTo>
                      <a:pt x="140" y="1"/>
                      <a:pt x="139" y="0"/>
                      <a:pt x="138" y="0"/>
                    </a:cubicBezTo>
                    <a:cubicBezTo>
                      <a:pt x="3" y="0"/>
                      <a:pt x="3" y="0"/>
                      <a:pt x="3" y="0"/>
                    </a:cubicBezTo>
                    <a:cubicBezTo>
                      <a:pt x="1" y="0"/>
                      <a:pt x="0" y="1"/>
                      <a:pt x="0" y="3"/>
                    </a:cubicBezTo>
                    <a:cubicBezTo>
                      <a:pt x="0" y="95"/>
                      <a:pt x="0" y="95"/>
                      <a:pt x="0" y="95"/>
                    </a:cubicBezTo>
                    <a:cubicBezTo>
                      <a:pt x="0" y="96"/>
                      <a:pt x="1" y="98"/>
                      <a:pt x="3" y="98"/>
                    </a:cubicBezTo>
                    <a:lnTo>
                      <a:pt x="138" y="98"/>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16" name="Rectangle 125"/>
              <p:cNvSpPr>
                <a:spLocks noChangeArrowheads="1"/>
              </p:cNvSpPr>
              <p:nvPr/>
            </p:nvSpPr>
            <p:spPr bwMode="auto">
              <a:xfrm>
                <a:off x="2754" y="1985"/>
                <a:ext cx="199" cy="110"/>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17" name="Freeform 126"/>
              <p:cNvSpPr>
                <a:spLocks/>
              </p:cNvSpPr>
              <p:nvPr/>
            </p:nvSpPr>
            <p:spPr bwMode="auto">
              <a:xfrm>
                <a:off x="2798" y="1542"/>
                <a:ext cx="39" cy="56"/>
              </a:xfrm>
              <a:custGeom>
                <a:avLst/>
                <a:gdLst>
                  <a:gd name="T0" fmla="*/ 23 w 25"/>
                  <a:gd name="T1" fmla="*/ 0 h 36"/>
                  <a:gd name="T2" fmla="*/ 2 w 25"/>
                  <a:gd name="T3" fmla="*/ 0 h 36"/>
                  <a:gd name="T4" fmla="*/ 0 w 25"/>
                  <a:gd name="T5" fmla="*/ 2 h 36"/>
                  <a:gd name="T6" fmla="*/ 0 w 25"/>
                  <a:gd name="T7" fmla="*/ 11 h 36"/>
                  <a:gd name="T8" fmla="*/ 0 w 25"/>
                  <a:gd name="T9" fmla="*/ 11 h 36"/>
                  <a:gd name="T10" fmla="*/ 0 w 25"/>
                  <a:gd name="T11" fmla="*/ 17 h 36"/>
                  <a:gd name="T12" fmla="*/ 0 w 25"/>
                  <a:gd name="T13" fmla="*/ 34 h 36"/>
                  <a:gd name="T14" fmla="*/ 2 w 25"/>
                  <a:gd name="T15" fmla="*/ 36 h 36"/>
                  <a:gd name="T16" fmla="*/ 23 w 25"/>
                  <a:gd name="T17" fmla="*/ 36 h 36"/>
                  <a:gd name="T18" fmla="*/ 25 w 25"/>
                  <a:gd name="T19" fmla="*/ 34 h 36"/>
                  <a:gd name="T20" fmla="*/ 25 w 25"/>
                  <a:gd name="T21" fmla="*/ 2 h 36"/>
                  <a:gd name="T22" fmla="*/ 23 w 25"/>
                  <a:gd name="T23"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5" h="36">
                    <a:moveTo>
                      <a:pt x="23" y="0"/>
                    </a:moveTo>
                    <a:cubicBezTo>
                      <a:pt x="2" y="0"/>
                      <a:pt x="2" y="0"/>
                      <a:pt x="2" y="0"/>
                    </a:cubicBezTo>
                    <a:cubicBezTo>
                      <a:pt x="1" y="0"/>
                      <a:pt x="0" y="1"/>
                      <a:pt x="0" y="2"/>
                    </a:cubicBezTo>
                    <a:cubicBezTo>
                      <a:pt x="0" y="11"/>
                      <a:pt x="0" y="11"/>
                      <a:pt x="0" y="11"/>
                    </a:cubicBezTo>
                    <a:cubicBezTo>
                      <a:pt x="0" y="11"/>
                      <a:pt x="0" y="11"/>
                      <a:pt x="0" y="11"/>
                    </a:cubicBezTo>
                    <a:cubicBezTo>
                      <a:pt x="0" y="17"/>
                      <a:pt x="0" y="17"/>
                      <a:pt x="0" y="17"/>
                    </a:cubicBezTo>
                    <a:cubicBezTo>
                      <a:pt x="0" y="34"/>
                      <a:pt x="0" y="34"/>
                      <a:pt x="0" y="34"/>
                    </a:cubicBezTo>
                    <a:cubicBezTo>
                      <a:pt x="0" y="35"/>
                      <a:pt x="1" y="36"/>
                      <a:pt x="2" y="36"/>
                    </a:cubicBezTo>
                    <a:cubicBezTo>
                      <a:pt x="23" y="36"/>
                      <a:pt x="23" y="36"/>
                      <a:pt x="23" y="36"/>
                    </a:cubicBezTo>
                    <a:cubicBezTo>
                      <a:pt x="24" y="36"/>
                      <a:pt x="25" y="35"/>
                      <a:pt x="25" y="34"/>
                    </a:cubicBezTo>
                    <a:cubicBezTo>
                      <a:pt x="25" y="2"/>
                      <a:pt x="25" y="2"/>
                      <a:pt x="25" y="2"/>
                    </a:cubicBezTo>
                    <a:cubicBezTo>
                      <a:pt x="25" y="1"/>
                      <a:pt x="24" y="0"/>
                      <a:pt x="23" y="0"/>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18" name="Freeform 127"/>
              <p:cNvSpPr>
                <a:spLocks/>
              </p:cNvSpPr>
              <p:nvPr/>
            </p:nvSpPr>
            <p:spPr bwMode="auto">
              <a:xfrm>
                <a:off x="2984" y="1196"/>
                <a:ext cx="25" cy="37"/>
              </a:xfrm>
              <a:custGeom>
                <a:avLst/>
                <a:gdLst>
                  <a:gd name="T0" fmla="*/ 15 w 16"/>
                  <a:gd name="T1" fmla="*/ 0 h 24"/>
                  <a:gd name="T2" fmla="*/ 1 w 16"/>
                  <a:gd name="T3" fmla="*/ 0 h 24"/>
                  <a:gd name="T4" fmla="*/ 0 w 16"/>
                  <a:gd name="T5" fmla="*/ 1 h 24"/>
                  <a:gd name="T6" fmla="*/ 0 w 16"/>
                  <a:gd name="T7" fmla="*/ 7 h 24"/>
                  <a:gd name="T8" fmla="*/ 0 w 16"/>
                  <a:gd name="T9" fmla="*/ 7 h 24"/>
                  <a:gd name="T10" fmla="*/ 0 w 16"/>
                  <a:gd name="T11" fmla="*/ 11 h 24"/>
                  <a:gd name="T12" fmla="*/ 0 w 16"/>
                  <a:gd name="T13" fmla="*/ 23 h 24"/>
                  <a:gd name="T14" fmla="*/ 1 w 16"/>
                  <a:gd name="T15" fmla="*/ 24 h 24"/>
                  <a:gd name="T16" fmla="*/ 15 w 16"/>
                  <a:gd name="T17" fmla="*/ 24 h 24"/>
                  <a:gd name="T18" fmla="*/ 16 w 16"/>
                  <a:gd name="T19" fmla="*/ 23 h 24"/>
                  <a:gd name="T20" fmla="*/ 16 w 16"/>
                  <a:gd name="T21" fmla="*/ 1 h 24"/>
                  <a:gd name="T22" fmla="*/ 15 w 16"/>
                  <a:gd name="T23"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 h="24">
                    <a:moveTo>
                      <a:pt x="15" y="0"/>
                    </a:moveTo>
                    <a:cubicBezTo>
                      <a:pt x="1" y="0"/>
                      <a:pt x="1" y="0"/>
                      <a:pt x="1" y="0"/>
                    </a:cubicBezTo>
                    <a:cubicBezTo>
                      <a:pt x="0" y="0"/>
                      <a:pt x="0" y="0"/>
                      <a:pt x="0" y="1"/>
                    </a:cubicBezTo>
                    <a:cubicBezTo>
                      <a:pt x="0" y="7"/>
                      <a:pt x="0" y="7"/>
                      <a:pt x="0" y="7"/>
                    </a:cubicBezTo>
                    <a:cubicBezTo>
                      <a:pt x="0" y="7"/>
                      <a:pt x="0" y="7"/>
                      <a:pt x="0" y="7"/>
                    </a:cubicBezTo>
                    <a:cubicBezTo>
                      <a:pt x="0" y="11"/>
                      <a:pt x="0" y="11"/>
                      <a:pt x="0" y="11"/>
                    </a:cubicBezTo>
                    <a:cubicBezTo>
                      <a:pt x="0" y="23"/>
                      <a:pt x="0" y="23"/>
                      <a:pt x="0" y="23"/>
                    </a:cubicBezTo>
                    <a:cubicBezTo>
                      <a:pt x="0" y="24"/>
                      <a:pt x="0" y="24"/>
                      <a:pt x="1" y="24"/>
                    </a:cubicBezTo>
                    <a:cubicBezTo>
                      <a:pt x="15" y="24"/>
                      <a:pt x="15" y="24"/>
                      <a:pt x="15" y="24"/>
                    </a:cubicBezTo>
                    <a:cubicBezTo>
                      <a:pt x="16" y="24"/>
                      <a:pt x="16" y="24"/>
                      <a:pt x="16" y="23"/>
                    </a:cubicBezTo>
                    <a:cubicBezTo>
                      <a:pt x="16" y="1"/>
                      <a:pt x="16" y="1"/>
                      <a:pt x="16" y="1"/>
                    </a:cubicBezTo>
                    <a:cubicBezTo>
                      <a:pt x="16" y="0"/>
                      <a:pt x="16" y="0"/>
                      <a:pt x="15" y="0"/>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19" name="Freeform 128"/>
              <p:cNvSpPr>
                <a:spLocks/>
              </p:cNvSpPr>
              <p:nvPr/>
            </p:nvSpPr>
            <p:spPr bwMode="auto">
              <a:xfrm>
                <a:off x="3015" y="1196"/>
                <a:ext cx="26" cy="37"/>
              </a:xfrm>
              <a:custGeom>
                <a:avLst/>
                <a:gdLst>
                  <a:gd name="T0" fmla="*/ 16 w 17"/>
                  <a:gd name="T1" fmla="*/ 0 h 24"/>
                  <a:gd name="T2" fmla="*/ 1 w 17"/>
                  <a:gd name="T3" fmla="*/ 0 h 24"/>
                  <a:gd name="T4" fmla="*/ 0 w 17"/>
                  <a:gd name="T5" fmla="*/ 1 h 24"/>
                  <a:gd name="T6" fmla="*/ 0 w 17"/>
                  <a:gd name="T7" fmla="*/ 7 h 24"/>
                  <a:gd name="T8" fmla="*/ 0 w 17"/>
                  <a:gd name="T9" fmla="*/ 7 h 24"/>
                  <a:gd name="T10" fmla="*/ 0 w 17"/>
                  <a:gd name="T11" fmla="*/ 11 h 24"/>
                  <a:gd name="T12" fmla="*/ 0 w 17"/>
                  <a:gd name="T13" fmla="*/ 23 h 24"/>
                  <a:gd name="T14" fmla="*/ 1 w 17"/>
                  <a:gd name="T15" fmla="*/ 24 h 24"/>
                  <a:gd name="T16" fmla="*/ 16 w 17"/>
                  <a:gd name="T17" fmla="*/ 24 h 24"/>
                  <a:gd name="T18" fmla="*/ 17 w 17"/>
                  <a:gd name="T19" fmla="*/ 23 h 24"/>
                  <a:gd name="T20" fmla="*/ 17 w 17"/>
                  <a:gd name="T21" fmla="*/ 1 h 24"/>
                  <a:gd name="T22" fmla="*/ 16 w 17"/>
                  <a:gd name="T23"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7" h="24">
                    <a:moveTo>
                      <a:pt x="16" y="0"/>
                    </a:moveTo>
                    <a:cubicBezTo>
                      <a:pt x="1" y="0"/>
                      <a:pt x="1" y="0"/>
                      <a:pt x="1" y="0"/>
                    </a:cubicBezTo>
                    <a:cubicBezTo>
                      <a:pt x="0" y="0"/>
                      <a:pt x="0" y="0"/>
                      <a:pt x="0" y="1"/>
                    </a:cubicBezTo>
                    <a:cubicBezTo>
                      <a:pt x="0" y="7"/>
                      <a:pt x="0" y="7"/>
                      <a:pt x="0" y="7"/>
                    </a:cubicBezTo>
                    <a:cubicBezTo>
                      <a:pt x="0" y="7"/>
                      <a:pt x="0" y="7"/>
                      <a:pt x="0" y="7"/>
                    </a:cubicBezTo>
                    <a:cubicBezTo>
                      <a:pt x="0" y="11"/>
                      <a:pt x="0" y="11"/>
                      <a:pt x="0" y="11"/>
                    </a:cubicBezTo>
                    <a:cubicBezTo>
                      <a:pt x="0" y="23"/>
                      <a:pt x="0" y="23"/>
                      <a:pt x="0" y="23"/>
                    </a:cubicBezTo>
                    <a:cubicBezTo>
                      <a:pt x="0" y="24"/>
                      <a:pt x="0" y="24"/>
                      <a:pt x="1" y="24"/>
                    </a:cubicBezTo>
                    <a:cubicBezTo>
                      <a:pt x="16" y="24"/>
                      <a:pt x="16" y="24"/>
                      <a:pt x="16" y="24"/>
                    </a:cubicBezTo>
                    <a:cubicBezTo>
                      <a:pt x="16" y="24"/>
                      <a:pt x="17" y="24"/>
                      <a:pt x="17" y="23"/>
                    </a:cubicBezTo>
                    <a:cubicBezTo>
                      <a:pt x="17" y="1"/>
                      <a:pt x="17" y="1"/>
                      <a:pt x="17" y="1"/>
                    </a:cubicBezTo>
                    <a:cubicBezTo>
                      <a:pt x="17" y="0"/>
                      <a:pt x="16" y="0"/>
                      <a:pt x="16" y="0"/>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20" name="Freeform 129"/>
              <p:cNvSpPr>
                <a:spLocks/>
              </p:cNvSpPr>
              <p:nvPr/>
            </p:nvSpPr>
            <p:spPr bwMode="auto">
              <a:xfrm>
                <a:off x="2850" y="1542"/>
                <a:ext cx="37" cy="56"/>
              </a:xfrm>
              <a:custGeom>
                <a:avLst/>
                <a:gdLst>
                  <a:gd name="T0" fmla="*/ 23 w 24"/>
                  <a:gd name="T1" fmla="*/ 0 h 36"/>
                  <a:gd name="T2" fmla="*/ 1 w 24"/>
                  <a:gd name="T3" fmla="*/ 0 h 36"/>
                  <a:gd name="T4" fmla="*/ 0 w 24"/>
                  <a:gd name="T5" fmla="*/ 2 h 36"/>
                  <a:gd name="T6" fmla="*/ 0 w 24"/>
                  <a:gd name="T7" fmla="*/ 11 h 36"/>
                  <a:gd name="T8" fmla="*/ 0 w 24"/>
                  <a:gd name="T9" fmla="*/ 11 h 36"/>
                  <a:gd name="T10" fmla="*/ 0 w 24"/>
                  <a:gd name="T11" fmla="*/ 17 h 36"/>
                  <a:gd name="T12" fmla="*/ 0 w 24"/>
                  <a:gd name="T13" fmla="*/ 34 h 36"/>
                  <a:gd name="T14" fmla="*/ 1 w 24"/>
                  <a:gd name="T15" fmla="*/ 36 h 36"/>
                  <a:gd name="T16" fmla="*/ 23 w 24"/>
                  <a:gd name="T17" fmla="*/ 36 h 36"/>
                  <a:gd name="T18" fmla="*/ 24 w 24"/>
                  <a:gd name="T19" fmla="*/ 34 h 36"/>
                  <a:gd name="T20" fmla="*/ 24 w 24"/>
                  <a:gd name="T21" fmla="*/ 2 h 36"/>
                  <a:gd name="T22" fmla="*/ 23 w 24"/>
                  <a:gd name="T23"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6">
                    <a:moveTo>
                      <a:pt x="23" y="0"/>
                    </a:moveTo>
                    <a:cubicBezTo>
                      <a:pt x="1" y="0"/>
                      <a:pt x="1" y="0"/>
                      <a:pt x="1" y="0"/>
                    </a:cubicBezTo>
                    <a:cubicBezTo>
                      <a:pt x="0" y="0"/>
                      <a:pt x="0" y="1"/>
                      <a:pt x="0" y="2"/>
                    </a:cubicBezTo>
                    <a:cubicBezTo>
                      <a:pt x="0" y="11"/>
                      <a:pt x="0" y="11"/>
                      <a:pt x="0" y="11"/>
                    </a:cubicBezTo>
                    <a:cubicBezTo>
                      <a:pt x="0" y="11"/>
                      <a:pt x="0" y="11"/>
                      <a:pt x="0" y="11"/>
                    </a:cubicBezTo>
                    <a:cubicBezTo>
                      <a:pt x="0" y="17"/>
                      <a:pt x="0" y="17"/>
                      <a:pt x="0" y="17"/>
                    </a:cubicBezTo>
                    <a:cubicBezTo>
                      <a:pt x="0" y="34"/>
                      <a:pt x="0" y="34"/>
                      <a:pt x="0" y="34"/>
                    </a:cubicBezTo>
                    <a:cubicBezTo>
                      <a:pt x="0" y="35"/>
                      <a:pt x="0" y="36"/>
                      <a:pt x="1" y="36"/>
                    </a:cubicBezTo>
                    <a:cubicBezTo>
                      <a:pt x="23" y="36"/>
                      <a:pt x="23" y="36"/>
                      <a:pt x="23" y="36"/>
                    </a:cubicBezTo>
                    <a:cubicBezTo>
                      <a:pt x="23" y="36"/>
                      <a:pt x="24" y="35"/>
                      <a:pt x="24" y="34"/>
                    </a:cubicBezTo>
                    <a:cubicBezTo>
                      <a:pt x="24" y="2"/>
                      <a:pt x="24" y="2"/>
                      <a:pt x="24" y="2"/>
                    </a:cubicBezTo>
                    <a:cubicBezTo>
                      <a:pt x="24" y="1"/>
                      <a:pt x="23" y="0"/>
                      <a:pt x="23" y="0"/>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21" name="Freeform 130"/>
              <p:cNvSpPr>
                <a:spLocks/>
              </p:cNvSpPr>
              <p:nvPr/>
            </p:nvSpPr>
            <p:spPr bwMode="auto">
              <a:xfrm>
                <a:off x="2870" y="1499"/>
                <a:ext cx="38" cy="54"/>
              </a:xfrm>
              <a:custGeom>
                <a:avLst/>
                <a:gdLst>
                  <a:gd name="T0" fmla="*/ 23 w 25"/>
                  <a:gd name="T1" fmla="*/ 0 h 35"/>
                  <a:gd name="T2" fmla="*/ 2 w 25"/>
                  <a:gd name="T3" fmla="*/ 0 h 35"/>
                  <a:gd name="T4" fmla="*/ 0 w 25"/>
                  <a:gd name="T5" fmla="*/ 1 h 35"/>
                  <a:gd name="T6" fmla="*/ 0 w 25"/>
                  <a:gd name="T7" fmla="*/ 11 h 35"/>
                  <a:gd name="T8" fmla="*/ 0 w 25"/>
                  <a:gd name="T9" fmla="*/ 11 h 35"/>
                  <a:gd name="T10" fmla="*/ 0 w 25"/>
                  <a:gd name="T11" fmla="*/ 16 h 35"/>
                  <a:gd name="T12" fmla="*/ 0 w 25"/>
                  <a:gd name="T13" fmla="*/ 34 h 35"/>
                  <a:gd name="T14" fmla="*/ 2 w 25"/>
                  <a:gd name="T15" fmla="*/ 35 h 35"/>
                  <a:gd name="T16" fmla="*/ 23 w 25"/>
                  <a:gd name="T17" fmla="*/ 35 h 35"/>
                  <a:gd name="T18" fmla="*/ 25 w 25"/>
                  <a:gd name="T19" fmla="*/ 34 h 35"/>
                  <a:gd name="T20" fmla="*/ 25 w 25"/>
                  <a:gd name="T21" fmla="*/ 1 h 35"/>
                  <a:gd name="T22" fmla="*/ 23 w 25"/>
                  <a:gd name="T23"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5" h="35">
                    <a:moveTo>
                      <a:pt x="23" y="0"/>
                    </a:moveTo>
                    <a:cubicBezTo>
                      <a:pt x="2" y="0"/>
                      <a:pt x="2" y="0"/>
                      <a:pt x="2" y="0"/>
                    </a:cubicBezTo>
                    <a:cubicBezTo>
                      <a:pt x="1" y="0"/>
                      <a:pt x="0" y="1"/>
                      <a:pt x="0" y="1"/>
                    </a:cubicBezTo>
                    <a:cubicBezTo>
                      <a:pt x="0" y="11"/>
                      <a:pt x="0" y="11"/>
                      <a:pt x="0" y="11"/>
                    </a:cubicBezTo>
                    <a:cubicBezTo>
                      <a:pt x="0" y="11"/>
                      <a:pt x="0" y="11"/>
                      <a:pt x="0" y="11"/>
                    </a:cubicBezTo>
                    <a:cubicBezTo>
                      <a:pt x="0" y="16"/>
                      <a:pt x="0" y="16"/>
                      <a:pt x="0" y="16"/>
                    </a:cubicBezTo>
                    <a:cubicBezTo>
                      <a:pt x="0" y="34"/>
                      <a:pt x="0" y="34"/>
                      <a:pt x="0" y="34"/>
                    </a:cubicBezTo>
                    <a:cubicBezTo>
                      <a:pt x="0" y="35"/>
                      <a:pt x="1" y="35"/>
                      <a:pt x="2" y="35"/>
                    </a:cubicBezTo>
                    <a:cubicBezTo>
                      <a:pt x="23" y="35"/>
                      <a:pt x="23" y="35"/>
                      <a:pt x="23" y="35"/>
                    </a:cubicBezTo>
                    <a:cubicBezTo>
                      <a:pt x="24" y="35"/>
                      <a:pt x="25" y="35"/>
                      <a:pt x="25" y="34"/>
                    </a:cubicBezTo>
                    <a:cubicBezTo>
                      <a:pt x="25" y="1"/>
                      <a:pt x="25" y="1"/>
                      <a:pt x="25" y="1"/>
                    </a:cubicBezTo>
                    <a:cubicBezTo>
                      <a:pt x="25" y="1"/>
                      <a:pt x="24" y="0"/>
                      <a:pt x="23" y="0"/>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22" name="Freeform 131"/>
              <p:cNvSpPr>
                <a:spLocks/>
              </p:cNvSpPr>
              <p:nvPr/>
            </p:nvSpPr>
            <p:spPr bwMode="auto">
              <a:xfrm>
                <a:off x="2913" y="1332"/>
                <a:ext cx="28" cy="40"/>
              </a:xfrm>
              <a:custGeom>
                <a:avLst/>
                <a:gdLst>
                  <a:gd name="T0" fmla="*/ 17 w 18"/>
                  <a:gd name="T1" fmla="*/ 0 h 26"/>
                  <a:gd name="T2" fmla="*/ 1 w 18"/>
                  <a:gd name="T3" fmla="*/ 0 h 26"/>
                  <a:gd name="T4" fmla="*/ 0 w 18"/>
                  <a:gd name="T5" fmla="*/ 1 h 26"/>
                  <a:gd name="T6" fmla="*/ 0 w 18"/>
                  <a:gd name="T7" fmla="*/ 8 h 26"/>
                  <a:gd name="T8" fmla="*/ 0 w 18"/>
                  <a:gd name="T9" fmla="*/ 9 h 26"/>
                  <a:gd name="T10" fmla="*/ 0 w 18"/>
                  <a:gd name="T11" fmla="*/ 12 h 26"/>
                  <a:gd name="T12" fmla="*/ 0 w 18"/>
                  <a:gd name="T13" fmla="*/ 25 h 26"/>
                  <a:gd name="T14" fmla="*/ 1 w 18"/>
                  <a:gd name="T15" fmla="*/ 26 h 26"/>
                  <a:gd name="T16" fmla="*/ 17 w 18"/>
                  <a:gd name="T17" fmla="*/ 26 h 26"/>
                  <a:gd name="T18" fmla="*/ 18 w 18"/>
                  <a:gd name="T19" fmla="*/ 25 h 26"/>
                  <a:gd name="T20" fmla="*/ 18 w 18"/>
                  <a:gd name="T21" fmla="*/ 1 h 26"/>
                  <a:gd name="T22" fmla="*/ 17 w 18"/>
                  <a:gd name="T2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 h="26">
                    <a:moveTo>
                      <a:pt x="17" y="0"/>
                    </a:moveTo>
                    <a:cubicBezTo>
                      <a:pt x="1" y="0"/>
                      <a:pt x="1" y="0"/>
                      <a:pt x="1" y="0"/>
                    </a:cubicBezTo>
                    <a:cubicBezTo>
                      <a:pt x="0" y="0"/>
                      <a:pt x="0" y="1"/>
                      <a:pt x="0" y="1"/>
                    </a:cubicBezTo>
                    <a:cubicBezTo>
                      <a:pt x="0" y="8"/>
                      <a:pt x="0" y="8"/>
                      <a:pt x="0" y="8"/>
                    </a:cubicBezTo>
                    <a:cubicBezTo>
                      <a:pt x="0" y="9"/>
                      <a:pt x="0" y="9"/>
                      <a:pt x="0" y="9"/>
                    </a:cubicBezTo>
                    <a:cubicBezTo>
                      <a:pt x="0" y="12"/>
                      <a:pt x="0" y="12"/>
                      <a:pt x="0" y="12"/>
                    </a:cubicBezTo>
                    <a:cubicBezTo>
                      <a:pt x="0" y="25"/>
                      <a:pt x="0" y="25"/>
                      <a:pt x="0" y="25"/>
                    </a:cubicBezTo>
                    <a:cubicBezTo>
                      <a:pt x="0" y="26"/>
                      <a:pt x="0" y="26"/>
                      <a:pt x="1" y="26"/>
                    </a:cubicBezTo>
                    <a:cubicBezTo>
                      <a:pt x="17" y="26"/>
                      <a:pt x="17" y="26"/>
                      <a:pt x="17" y="26"/>
                    </a:cubicBezTo>
                    <a:cubicBezTo>
                      <a:pt x="17" y="26"/>
                      <a:pt x="18" y="26"/>
                      <a:pt x="18" y="25"/>
                    </a:cubicBezTo>
                    <a:cubicBezTo>
                      <a:pt x="18" y="1"/>
                      <a:pt x="18" y="1"/>
                      <a:pt x="18" y="1"/>
                    </a:cubicBezTo>
                    <a:cubicBezTo>
                      <a:pt x="18" y="1"/>
                      <a:pt x="17" y="0"/>
                      <a:pt x="17" y="0"/>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23" name="Freeform 132"/>
              <p:cNvSpPr>
                <a:spLocks/>
              </p:cNvSpPr>
              <p:nvPr/>
            </p:nvSpPr>
            <p:spPr bwMode="auto">
              <a:xfrm>
                <a:off x="2948" y="1332"/>
                <a:ext cx="27" cy="40"/>
              </a:xfrm>
              <a:custGeom>
                <a:avLst/>
                <a:gdLst>
                  <a:gd name="T0" fmla="*/ 16 w 17"/>
                  <a:gd name="T1" fmla="*/ 0 h 26"/>
                  <a:gd name="T2" fmla="*/ 1 w 17"/>
                  <a:gd name="T3" fmla="*/ 0 h 26"/>
                  <a:gd name="T4" fmla="*/ 0 w 17"/>
                  <a:gd name="T5" fmla="*/ 1 h 26"/>
                  <a:gd name="T6" fmla="*/ 0 w 17"/>
                  <a:gd name="T7" fmla="*/ 8 h 26"/>
                  <a:gd name="T8" fmla="*/ 0 w 17"/>
                  <a:gd name="T9" fmla="*/ 9 h 26"/>
                  <a:gd name="T10" fmla="*/ 0 w 17"/>
                  <a:gd name="T11" fmla="*/ 12 h 26"/>
                  <a:gd name="T12" fmla="*/ 0 w 17"/>
                  <a:gd name="T13" fmla="*/ 25 h 26"/>
                  <a:gd name="T14" fmla="*/ 1 w 17"/>
                  <a:gd name="T15" fmla="*/ 26 h 26"/>
                  <a:gd name="T16" fmla="*/ 16 w 17"/>
                  <a:gd name="T17" fmla="*/ 26 h 26"/>
                  <a:gd name="T18" fmla="*/ 17 w 17"/>
                  <a:gd name="T19" fmla="*/ 25 h 26"/>
                  <a:gd name="T20" fmla="*/ 17 w 17"/>
                  <a:gd name="T21" fmla="*/ 1 h 26"/>
                  <a:gd name="T22" fmla="*/ 16 w 17"/>
                  <a:gd name="T2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7" h="26">
                    <a:moveTo>
                      <a:pt x="16" y="0"/>
                    </a:moveTo>
                    <a:cubicBezTo>
                      <a:pt x="1" y="0"/>
                      <a:pt x="1" y="0"/>
                      <a:pt x="1" y="0"/>
                    </a:cubicBezTo>
                    <a:cubicBezTo>
                      <a:pt x="0" y="0"/>
                      <a:pt x="0" y="1"/>
                      <a:pt x="0" y="1"/>
                    </a:cubicBezTo>
                    <a:cubicBezTo>
                      <a:pt x="0" y="8"/>
                      <a:pt x="0" y="8"/>
                      <a:pt x="0" y="8"/>
                    </a:cubicBezTo>
                    <a:cubicBezTo>
                      <a:pt x="0" y="9"/>
                      <a:pt x="0" y="9"/>
                      <a:pt x="0" y="9"/>
                    </a:cubicBezTo>
                    <a:cubicBezTo>
                      <a:pt x="0" y="12"/>
                      <a:pt x="0" y="12"/>
                      <a:pt x="0" y="12"/>
                    </a:cubicBezTo>
                    <a:cubicBezTo>
                      <a:pt x="0" y="25"/>
                      <a:pt x="0" y="25"/>
                      <a:pt x="0" y="25"/>
                    </a:cubicBezTo>
                    <a:cubicBezTo>
                      <a:pt x="0" y="26"/>
                      <a:pt x="0" y="26"/>
                      <a:pt x="1" y="26"/>
                    </a:cubicBezTo>
                    <a:cubicBezTo>
                      <a:pt x="16" y="26"/>
                      <a:pt x="16" y="26"/>
                      <a:pt x="16" y="26"/>
                    </a:cubicBezTo>
                    <a:cubicBezTo>
                      <a:pt x="17" y="26"/>
                      <a:pt x="17" y="26"/>
                      <a:pt x="17" y="25"/>
                    </a:cubicBezTo>
                    <a:cubicBezTo>
                      <a:pt x="17" y="1"/>
                      <a:pt x="17" y="1"/>
                      <a:pt x="17" y="1"/>
                    </a:cubicBezTo>
                    <a:cubicBezTo>
                      <a:pt x="17" y="1"/>
                      <a:pt x="17" y="0"/>
                      <a:pt x="16" y="0"/>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24" name="Freeform 133"/>
              <p:cNvSpPr>
                <a:spLocks/>
              </p:cNvSpPr>
              <p:nvPr/>
            </p:nvSpPr>
            <p:spPr bwMode="auto">
              <a:xfrm>
                <a:off x="2870" y="1542"/>
                <a:ext cx="38" cy="56"/>
              </a:xfrm>
              <a:custGeom>
                <a:avLst/>
                <a:gdLst>
                  <a:gd name="T0" fmla="*/ 23 w 25"/>
                  <a:gd name="T1" fmla="*/ 0 h 36"/>
                  <a:gd name="T2" fmla="*/ 2 w 25"/>
                  <a:gd name="T3" fmla="*/ 0 h 36"/>
                  <a:gd name="T4" fmla="*/ 0 w 25"/>
                  <a:gd name="T5" fmla="*/ 2 h 36"/>
                  <a:gd name="T6" fmla="*/ 0 w 25"/>
                  <a:gd name="T7" fmla="*/ 11 h 36"/>
                  <a:gd name="T8" fmla="*/ 0 w 25"/>
                  <a:gd name="T9" fmla="*/ 11 h 36"/>
                  <a:gd name="T10" fmla="*/ 0 w 25"/>
                  <a:gd name="T11" fmla="*/ 17 h 36"/>
                  <a:gd name="T12" fmla="*/ 0 w 25"/>
                  <a:gd name="T13" fmla="*/ 34 h 36"/>
                  <a:gd name="T14" fmla="*/ 2 w 25"/>
                  <a:gd name="T15" fmla="*/ 36 h 36"/>
                  <a:gd name="T16" fmla="*/ 23 w 25"/>
                  <a:gd name="T17" fmla="*/ 36 h 36"/>
                  <a:gd name="T18" fmla="*/ 25 w 25"/>
                  <a:gd name="T19" fmla="*/ 34 h 36"/>
                  <a:gd name="T20" fmla="*/ 25 w 25"/>
                  <a:gd name="T21" fmla="*/ 2 h 36"/>
                  <a:gd name="T22" fmla="*/ 23 w 25"/>
                  <a:gd name="T23"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5" h="36">
                    <a:moveTo>
                      <a:pt x="23" y="0"/>
                    </a:moveTo>
                    <a:cubicBezTo>
                      <a:pt x="2" y="0"/>
                      <a:pt x="2" y="0"/>
                      <a:pt x="2" y="0"/>
                    </a:cubicBezTo>
                    <a:cubicBezTo>
                      <a:pt x="1" y="0"/>
                      <a:pt x="0" y="1"/>
                      <a:pt x="0" y="2"/>
                    </a:cubicBezTo>
                    <a:cubicBezTo>
                      <a:pt x="0" y="11"/>
                      <a:pt x="0" y="11"/>
                      <a:pt x="0" y="11"/>
                    </a:cubicBezTo>
                    <a:cubicBezTo>
                      <a:pt x="0" y="11"/>
                      <a:pt x="0" y="11"/>
                      <a:pt x="0" y="11"/>
                    </a:cubicBezTo>
                    <a:cubicBezTo>
                      <a:pt x="0" y="17"/>
                      <a:pt x="0" y="17"/>
                      <a:pt x="0" y="17"/>
                    </a:cubicBezTo>
                    <a:cubicBezTo>
                      <a:pt x="0" y="34"/>
                      <a:pt x="0" y="34"/>
                      <a:pt x="0" y="34"/>
                    </a:cubicBezTo>
                    <a:cubicBezTo>
                      <a:pt x="0" y="35"/>
                      <a:pt x="1" y="36"/>
                      <a:pt x="2" y="36"/>
                    </a:cubicBezTo>
                    <a:cubicBezTo>
                      <a:pt x="23" y="36"/>
                      <a:pt x="23" y="36"/>
                      <a:pt x="23" y="36"/>
                    </a:cubicBezTo>
                    <a:cubicBezTo>
                      <a:pt x="24" y="36"/>
                      <a:pt x="25" y="35"/>
                      <a:pt x="25" y="34"/>
                    </a:cubicBezTo>
                    <a:cubicBezTo>
                      <a:pt x="25" y="2"/>
                      <a:pt x="25" y="2"/>
                      <a:pt x="25" y="2"/>
                    </a:cubicBezTo>
                    <a:cubicBezTo>
                      <a:pt x="25" y="1"/>
                      <a:pt x="24" y="0"/>
                      <a:pt x="23" y="0"/>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25" name="Freeform 134"/>
              <p:cNvSpPr>
                <a:spLocks/>
              </p:cNvSpPr>
              <p:nvPr/>
            </p:nvSpPr>
            <p:spPr bwMode="auto">
              <a:xfrm>
                <a:off x="2594" y="1891"/>
                <a:ext cx="28" cy="40"/>
              </a:xfrm>
              <a:custGeom>
                <a:avLst/>
                <a:gdLst>
                  <a:gd name="T0" fmla="*/ 17 w 18"/>
                  <a:gd name="T1" fmla="*/ 0 h 26"/>
                  <a:gd name="T2" fmla="*/ 1 w 18"/>
                  <a:gd name="T3" fmla="*/ 0 h 26"/>
                  <a:gd name="T4" fmla="*/ 0 w 18"/>
                  <a:gd name="T5" fmla="*/ 1 h 26"/>
                  <a:gd name="T6" fmla="*/ 0 w 18"/>
                  <a:gd name="T7" fmla="*/ 8 h 26"/>
                  <a:gd name="T8" fmla="*/ 0 w 18"/>
                  <a:gd name="T9" fmla="*/ 8 h 26"/>
                  <a:gd name="T10" fmla="*/ 0 w 18"/>
                  <a:gd name="T11" fmla="*/ 12 h 26"/>
                  <a:gd name="T12" fmla="*/ 0 w 18"/>
                  <a:gd name="T13" fmla="*/ 25 h 26"/>
                  <a:gd name="T14" fmla="*/ 1 w 18"/>
                  <a:gd name="T15" fmla="*/ 26 h 26"/>
                  <a:gd name="T16" fmla="*/ 17 w 18"/>
                  <a:gd name="T17" fmla="*/ 26 h 26"/>
                  <a:gd name="T18" fmla="*/ 18 w 18"/>
                  <a:gd name="T19" fmla="*/ 25 h 26"/>
                  <a:gd name="T20" fmla="*/ 18 w 18"/>
                  <a:gd name="T21" fmla="*/ 1 h 26"/>
                  <a:gd name="T22" fmla="*/ 17 w 18"/>
                  <a:gd name="T2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 h="26">
                    <a:moveTo>
                      <a:pt x="17" y="0"/>
                    </a:moveTo>
                    <a:cubicBezTo>
                      <a:pt x="1" y="0"/>
                      <a:pt x="1" y="0"/>
                      <a:pt x="1" y="0"/>
                    </a:cubicBezTo>
                    <a:cubicBezTo>
                      <a:pt x="0" y="0"/>
                      <a:pt x="0" y="1"/>
                      <a:pt x="0" y="1"/>
                    </a:cubicBezTo>
                    <a:cubicBezTo>
                      <a:pt x="0" y="8"/>
                      <a:pt x="0" y="8"/>
                      <a:pt x="0" y="8"/>
                    </a:cubicBezTo>
                    <a:cubicBezTo>
                      <a:pt x="0" y="8"/>
                      <a:pt x="0" y="8"/>
                      <a:pt x="0" y="8"/>
                    </a:cubicBezTo>
                    <a:cubicBezTo>
                      <a:pt x="0" y="12"/>
                      <a:pt x="0" y="12"/>
                      <a:pt x="0" y="12"/>
                    </a:cubicBezTo>
                    <a:cubicBezTo>
                      <a:pt x="0" y="25"/>
                      <a:pt x="0" y="25"/>
                      <a:pt x="0" y="25"/>
                    </a:cubicBezTo>
                    <a:cubicBezTo>
                      <a:pt x="0" y="25"/>
                      <a:pt x="0" y="26"/>
                      <a:pt x="1" y="26"/>
                    </a:cubicBezTo>
                    <a:cubicBezTo>
                      <a:pt x="17" y="26"/>
                      <a:pt x="17" y="26"/>
                      <a:pt x="17" y="26"/>
                    </a:cubicBezTo>
                    <a:cubicBezTo>
                      <a:pt x="17" y="26"/>
                      <a:pt x="18" y="25"/>
                      <a:pt x="18" y="25"/>
                    </a:cubicBezTo>
                    <a:cubicBezTo>
                      <a:pt x="18" y="1"/>
                      <a:pt x="18" y="1"/>
                      <a:pt x="18" y="1"/>
                    </a:cubicBezTo>
                    <a:cubicBezTo>
                      <a:pt x="18" y="1"/>
                      <a:pt x="17" y="0"/>
                      <a:pt x="17" y="0"/>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26" name="Freeform 135"/>
              <p:cNvSpPr>
                <a:spLocks/>
              </p:cNvSpPr>
              <p:nvPr/>
            </p:nvSpPr>
            <p:spPr bwMode="auto">
              <a:xfrm>
                <a:off x="2630" y="1891"/>
                <a:ext cx="28" cy="40"/>
              </a:xfrm>
              <a:custGeom>
                <a:avLst/>
                <a:gdLst>
                  <a:gd name="T0" fmla="*/ 17 w 18"/>
                  <a:gd name="T1" fmla="*/ 0 h 26"/>
                  <a:gd name="T2" fmla="*/ 1 w 18"/>
                  <a:gd name="T3" fmla="*/ 0 h 26"/>
                  <a:gd name="T4" fmla="*/ 0 w 18"/>
                  <a:gd name="T5" fmla="*/ 1 h 26"/>
                  <a:gd name="T6" fmla="*/ 0 w 18"/>
                  <a:gd name="T7" fmla="*/ 8 h 26"/>
                  <a:gd name="T8" fmla="*/ 0 w 18"/>
                  <a:gd name="T9" fmla="*/ 8 h 26"/>
                  <a:gd name="T10" fmla="*/ 0 w 18"/>
                  <a:gd name="T11" fmla="*/ 12 h 26"/>
                  <a:gd name="T12" fmla="*/ 0 w 18"/>
                  <a:gd name="T13" fmla="*/ 25 h 26"/>
                  <a:gd name="T14" fmla="*/ 1 w 18"/>
                  <a:gd name="T15" fmla="*/ 26 h 26"/>
                  <a:gd name="T16" fmla="*/ 17 w 18"/>
                  <a:gd name="T17" fmla="*/ 26 h 26"/>
                  <a:gd name="T18" fmla="*/ 18 w 18"/>
                  <a:gd name="T19" fmla="*/ 25 h 26"/>
                  <a:gd name="T20" fmla="*/ 18 w 18"/>
                  <a:gd name="T21" fmla="*/ 1 h 26"/>
                  <a:gd name="T22" fmla="*/ 17 w 18"/>
                  <a:gd name="T2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 h="26">
                    <a:moveTo>
                      <a:pt x="17" y="0"/>
                    </a:moveTo>
                    <a:cubicBezTo>
                      <a:pt x="1" y="0"/>
                      <a:pt x="1" y="0"/>
                      <a:pt x="1" y="0"/>
                    </a:cubicBezTo>
                    <a:cubicBezTo>
                      <a:pt x="1" y="0"/>
                      <a:pt x="0" y="1"/>
                      <a:pt x="0" y="1"/>
                    </a:cubicBezTo>
                    <a:cubicBezTo>
                      <a:pt x="0" y="8"/>
                      <a:pt x="0" y="8"/>
                      <a:pt x="0" y="8"/>
                    </a:cubicBezTo>
                    <a:cubicBezTo>
                      <a:pt x="0" y="8"/>
                      <a:pt x="0" y="8"/>
                      <a:pt x="0" y="8"/>
                    </a:cubicBezTo>
                    <a:cubicBezTo>
                      <a:pt x="0" y="12"/>
                      <a:pt x="0" y="12"/>
                      <a:pt x="0" y="12"/>
                    </a:cubicBezTo>
                    <a:cubicBezTo>
                      <a:pt x="0" y="25"/>
                      <a:pt x="0" y="25"/>
                      <a:pt x="0" y="25"/>
                    </a:cubicBezTo>
                    <a:cubicBezTo>
                      <a:pt x="0" y="25"/>
                      <a:pt x="1" y="26"/>
                      <a:pt x="1" y="26"/>
                    </a:cubicBezTo>
                    <a:cubicBezTo>
                      <a:pt x="17" y="26"/>
                      <a:pt x="17" y="26"/>
                      <a:pt x="17" y="26"/>
                    </a:cubicBezTo>
                    <a:cubicBezTo>
                      <a:pt x="18" y="26"/>
                      <a:pt x="18" y="25"/>
                      <a:pt x="18" y="25"/>
                    </a:cubicBezTo>
                    <a:cubicBezTo>
                      <a:pt x="18" y="1"/>
                      <a:pt x="18" y="1"/>
                      <a:pt x="18" y="1"/>
                    </a:cubicBezTo>
                    <a:cubicBezTo>
                      <a:pt x="18" y="1"/>
                      <a:pt x="18" y="0"/>
                      <a:pt x="17" y="0"/>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27" name="Freeform 136"/>
              <p:cNvSpPr>
                <a:spLocks/>
              </p:cNvSpPr>
              <p:nvPr/>
            </p:nvSpPr>
            <p:spPr bwMode="auto">
              <a:xfrm>
                <a:off x="2679" y="1836"/>
                <a:ext cx="27" cy="41"/>
              </a:xfrm>
              <a:custGeom>
                <a:avLst/>
                <a:gdLst>
                  <a:gd name="T0" fmla="*/ 16 w 17"/>
                  <a:gd name="T1" fmla="*/ 0 h 26"/>
                  <a:gd name="T2" fmla="*/ 1 w 17"/>
                  <a:gd name="T3" fmla="*/ 0 h 26"/>
                  <a:gd name="T4" fmla="*/ 0 w 17"/>
                  <a:gd name="T5" fmla="*/ 1 h 26"/>
                  <a:gd name="T6" fmla="*/ 0 w 17"/>
                  <a:gd name="T7" fmla="*/ 8 h 26"/>
                  <a:gd name="T8" fmla="*/ 0 w 17"/>
                  <a:gd name="T9" fmla="*/ 8 h 26"/>
                  <a:gd name="T10" fmla="*/ 0 w 17"/>
                  <a:gd name="T11" fmla="*/ 12 h 26"/>
                  <a:gd name="T12" fmla="*/ 0 w 17"/>
                  <a:gd name="T13" fmla="*/ 25 h 26"/>
                  <a:gd name="T14" fmla="*/ 1 w 17"/>
                  <a:gd name="T15" fmla="*/ 26 h 26"/>
                  <a:gd name="T16" fmla="*/ 16 w 17"/>
                  <a:gd name="T17" fmla="*/ 26 h 26"/>
                  <a:gd name="T18" fmla="*/ 17 w 17"/>
                  <a:gd name="T19" fmla="*/ 25 h 26"/>
                  <a:gd name="T20" fmla="*/ 17 w 17"/>
                  <a:gd name="T21" fmla="*/ 1 h 26"/>
                  <a:gd name="T22" fmla="*/ 16 w 17"/>
                  <a:gd name="T2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7" h="26">
                    <a:moveTo>
                      <a:pt x="16" y="0"/>
                    </a:moveTo>
                    <a:cubicBezTo>
                      <a:pt x="1" y="0"/>
                      <a:pt x="1" y="0"/>
                      <a:pt x="1" y="0"/>
                    </a:cubicBezTo>
                    <a:cubicBezTo>
                      <a:pt x="0" y="0"/>
                      <a:pt x="0" y="1"/>
                      <a:pt x="0" y="1"/>
                    </a:cubicBezTo>
                    <a:cubicBezTo>
                      <a:pt x="0" y="8"/>
                      <a:pt x="0" y="8"/>
                      <a:pt x="0" y="8"/>
                    </a:cubicBezTo>
                    <a:cubicBezTo>
                      <a:pt x="0" y="8"/>
                      <a:pt x="0" y="8"/>
                      <a:pt x="0" y="8"/>
                    </a:cubicBezTo>
                    <a:cubicBezTo>
                      <a:pt x="0" y="12"/>
                      <a:pt x="0" y="12"/>
                      <a:pt x="0" y="12"/>
                    </a:cubicBezTo>
                    <a:cubicBezTo>
                      <a:pt x="0" y="25"/>
                      <a:pt x="0" y="25"/>
                      <a:pt x="0" y="25"/>
                    </a:cubicBezTo>
                    <a:cubicBezTo>
                      <a:pt x="0" y="25"/>
                      <a:pt x="0" y="26"/>
                      <a:pt x="1" y="26"/>
                    </a:cubicBezTo>
                    <a:cubicBezTo>
                      <a:pt x="16" y="26"/>
                      <a:pt x="16" y="26"/>
                      <a:pt x="16" y="26"/>
                    </a:cubicBezTo>
                    <a:cubicBezTo>
                      <a:pt x="17" y="26"/>
                      <a:pt x="17" y="25"/>
                      <a:pt x="17" y="25"/>
                    </a:cubicBezTo>
                    <a:cubicBezTo>
                      <a:pt x="17" y="1"/>
                      <a:pt x="17" y="1"/>
                      <a:pt x="17" y="1"/>
                    </a:cubicBezTo>
                    <a:cubicBezTo>
                      <a:pt x="17" y="1"/>
                      <a:pt x="17" y="0"/>
                      <a:pt x="16" y="0"/>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28" name="Freeform 137"/>
              <p:cNvSpPr>
                <a:spLocks/>
              </p:cNvSpPr>
              <p:nvPr/>
            </p:nvSpPr>
            <p:spPr bwMode="auto">
              <a:xfrm>
                <a:off x="2717" y="1827"/>
                <a:ext cx="26" cy="40"/>
              </a:xfrm>
              <a:custGeom>
                <a:avLst/>
                <a:gdLst>
                  <a:gd name="T0" fmla="*/ 16 w 17"/>
                  <a:gd name="T1" fmla="*/ 0 h 26"/>
                  <a:gd name="T2" fmla="*/ 1 w 17"/>
                  <a:gd name="T3" fmla="*/ 0 h 26"/>
                  <a:gd name="T4" fmla="*/ 0 w 17"/>
                  <a:gd name="T5" fmla="*/ 1 h 26"/>
                  <a:gd name="T6" fmla="*/ 0 w 17"/>
                  <a:gd name="T7" fmla="*/ 8 h 26"/>
                  <a:gd name="T8" fmla="*/ 0 w 17"/>
                  <a:gd name="T9" fmla="*/ 8 h 26"/>
                  <a:gd name="T10" fmla="*/ 0 w 17"/>
                  <a:gd name="T11" fmla="*/ 12 h 26"/>
                  <a:gd name="T12" fmla="*/ 0 w 17"/>
                  <a:gd name="T13" fmla="*/ 25 h 26"/>
                  <a:gd name="T14" fmla="*/ 1 w 17"/>
                  <a:gd name="T15" fmla="*/ 26 h 26"/>
                  <a:gd name="T16" fmla="*/ 16 w 17"/>
                  <a:gd name="T17" fmla="*/ 26 h 26"/>
                  <a:gd name="T18" fmla="*/ 17 w 17"/>
                  <a:gd name="T19" fmla="*/ 25 h 26"/>
                  <a:gd name="T20" fmla="*/ 17 w 17"/>
                  <a:gd name="T21" fmla="*/ 1 h 26"/>
                  <a:gd name="T22" fmla="*/ 16 w 17"/>
                  <a:gd name="T2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7" h="26">
                    <a:moveTo>
                      <a:pt x="16" y="0"/>
                    </a:moveTo>
                    <a:cubicBezTo>
                      <a:pt x="1" y="0"/>
                      <a:pt x="1" y="0"/>
                      <a:pt x="1" y="0"/>
                    </a:cubicBezTo>
                    <a:cubicBezTo>
                      <a:pt x="0" y="0"/>
                      <a:pt x="0" y="1"/>
                      <a:pt x="0" y="1"/>
                    </a:cubicBezTo>
                    <a:cubicBezTo>
                      <a:pt x="0" y="8"/>
                      <a:pt x="0" y="8"/>
                      <a:pt x="0" y="8"/>
                    </a:cubicBezTo>
                    <a:cubicBezTo>
                      <a:pt x="0" y="8"/>
                      <a:pt x="0" y="8"/>
                      <a:pt x="0" y="8"/>
                    </a:cubicBezTo>
                    <a:cubicBezTo>
                      <a:pt x="0" y="12"/>
                      <a:pt x="0" y="12"/>
                      <a:pt x="0" y="12"/>
                    </a:cubicBezTo>
                    <a:cubicBezTo>
                      <a:pt x="0" y="25"/>
                      <a:pt x="0" y="25"/>
                      <a:pt x="0" y="25"/>
                    </a:cubicBezTo>
                    <a:cubicBezTo>
                      <a:pt x="0" y="25"/>
                      <a:pt x="0" y="26"/>
                      <a:pt x="1" y="26"/>
                    </a:cubicBezTo>
                    <a:cubicBezTo>
                      <a:pt x="16" y="26"/>
                      <a:pt x="16" y="26"/>
                      <a:pt x="16" y="26"/>
                    </a:cubicBezTo>
                    <a:cubicBezTo>
                      <a:pt x="17" y="26"/>
                      <a:pt x="17" y="25"/>
                      <a:pt x="17" y="25"/>
                    </a:cubicBezTo>
                    <a:cubicBezTo>
                      <a:pt x="17" y="1"/>
                      <a:pt x="17" y="1"/>
                      <a:pt x="17" y="1"/>
                    </a:cubicBezTo>
                    <a:cubicBezTo>
                      <a:pt x="17" y="1"/>
                      <a:pt x="17" y="0"/>
                      <a:pt x="16" y="0"/>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29" name="Freeform 138"/>
              <p:cNvSpPr>
                <a:spLocks/>
              </p:cNvSpPr>
              <p:nvPr/>
            </p:nvSpPr>
            <p:spPr bwMode="auto">
              <a:xfrm>
                <a:off x="2763" y="1744"/>
                <a:ext cx="83" cy="123"/>
              </a:xfrm>
              <a:custGeom>
                <a:avLst/>
                <a:gdLst>
                  <a:gd name="T0" fmla="*/ 0 w 54"/>
                  <a:gd name="T1" fmla="*/ 37 h 80"/>
                  <a:gd name="T2" fmla="*/ 0 w 54"/>
                  <a:gd name="T3" fmla="*/ 76 h 80"/>
                  <a:gd name="T4" fmla="*/ 3 w 54"/>
                  <a:gd name="T5" fmla="*/ 80 h 80"/>
                  <a:gd name="T6" fmla="*/ 51 w 54"/>
                  <a:gd name="T7" fmla="*/ 80 h 80"/>
                  <a:gd name="T8" fmla="*/ 54 w 54"/>
                  <a:gd name="T9" fmla="*/ 76 h 80"/>
                  <a:gd name="T10" fmla="*/ 54 w 54"/>
                  <a:gd name="T11" fmla="*/ 4 h 80"/>
                  <a:gd name="T12" fmla="*/ 51 w 54"/>
                  <a:gd name="T13" fmla="*/ 0 h 80"/>
                  <a:gd name="T14" fmla="*/ 3 w 54"/>
                  <a:gd name="T15" fmla="*/ 0 h 80"/>
                  <a:gd name="T16" fmla="*/ 0 w 54"/>
                  <a:gd name="T17" fmla="*/ 4 h 80"/>
                  <a:gd name="T18" fmla="*/ 0 w 54"/>
                  <a:gd name="T19" fmla="*/ 25 h 80"/>
                  <a:gd name="T20" fmla="*/ 0 w 54"/>
                  <a:gd name="T21" fmla="*/ 37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4" h="80">
                    <a:moveTo>
                      <a:pt x="0" y="37"/>
                    </a:moveTo>
                    <a:cubicBezTo>
                      <a:pt x="0" y="76"/>
                      <a:pt x="0" y="76"/>
                      <a:pt x="0" y="76"/>
                    </a:cubicBezTo>
                    <a:cubicBezTo>
                      <a:pt x="0" y="78"/>
                      <a:pt x="1" y="80"/>
                      <a:pt x="3" y="80"/>
                    </a:cubicBezTo>
                    <a:cubicBezTo>
                      <a:pt x="51" y="80"/>
                      <a:pt x="51" y="80"/>
                      <a:pt x="51" y="80"/>
                    </a:cubicBezTo>
                    <a:cubicBezTo>
                      <a:pt x="53" y="80"/>
                      <a:pt x="54" y="78"/>
                      <a:pt x="54" y="76"/>
                    </a:cubicBezTo>
                    <a:cubicBezTo>
                      <a:pt x="54" y="4"/>
                      <a:pt x="54" y="4"/>
                      <a:pt x="54" y="4"/>
                    </a:cubicBezTo>
                    <a:cubicBezTo>
                      <a:pt x="54" y="2"/>
                      <a:pt x="53" y="0"/>
                      <a:pt x="51" y="0"/>
                    </a:cubicBezTo>
                    <a:cubicBezTo>
                      <a:pt x="3" y="0"/>
                      <a:pt x="3" y="0"/>
                      <a:pt x="3" y="0"/>
                    </a:cubicBezTo>
                    <a:cubicBezTo>
                      <a:pt x="1" y="0"/>
                      <a:pt x="0" y="2"/>
                      <a:pt x="0" y="4"/>
                    </a:cubicBezTo>
                    <a:cubicBezTo>
                      <a:pt x="0" y="25"/>
                      <a:pt x="0" y="25"/>
                      <a:pt x="0" y="25"/>
                    </a:cubicBezTo>
                    <a:lnTo>
                      <a:pt x="0" y="3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30" name="Rectangle 139"/>
              <p:cNvSpPr>
                <a:spLocks noChangeArrowheads="1"/>
              </p:cNvSpPr>
              <p:nvPr/>
            </p:nvSpPr>
            <p:spPr bwMode="auto">
              <a:xfrm>
                <a:off x="2771" y="1751"/>
                <a:ext cx="68" cy="109"/>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31" name="Rectangle 140"/>
              <p:cNvSpPr>
                <a:spLocks noChangeArrowheads="1"/>
              </p:cNvSpPr>
              <p:nvPr/>
            </p:nvSpPr>
            <p:spPr bwMode="auto">
              <a:xfrm>
                <a:off x="2777" y="1765"/>
                <a:ext cx="35" cy="36"/>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32" name="Rectangle 141"/>
              <p:cNvSpPr>
                <a:spLocks noChangeArrowheads="1"/>
              </p:cNvSpPr>
              <p:nvPr/>
            </p:nvSpPr>
            <p:spPr bwMode="auto">
              <a:xfrm>
                <a:off x="2815" y="1765"/>
                <a:ext cx="17" cy="16"/>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33" name="Rectangle 142"/>
              <p:cNvSpPr>
                <a:spLocks noChangeArrowheads="1"/>
              </p:cNvSpPr>
              <p:nvPr/>
            </p:nvSpPr>
            <p:spPr bwMode="auto">
              <a:xfrm>
                <a:off x="2777" y="1804"/>
                <a:ext cx="15" cy="17"/>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34" name="Rectangle 143"/>
              <p:cNvSpPr>
                <a:spLocks noChangeArrowheads="1"/>
              </p:cNvSpPr>
              <p:nvPr/>
            </p:nvSpPr>
            <p:spPr bwMode="auto">
              <a:xfrm>
                <a:off x="2797" y="1804"/>
                <a:ext cx="15" cy="17"/>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35" name="Rectangle 144"/>
              <p:cNvSpPr>
                <a:spLocks noChangeArrowheads="1"/>
              </p:cNvSpPr>
              <p:nvPr/>
            </p:nvSpPr>
            <p:spPr bwMode="auto">
              <a:xfrm>
                <a:off x="2815" y="1804"/>
                <a:ext cx="17" cy="17"/>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36" name="Rectangle 145"/>
              <p:cNvSpPr>
                <a:spLocks noChangeArrowheads="1"/>
              </p:cNvSpPr>
              <p:nvPr/>
            </p:nvSpPr>
            <p:spPr bwMode="auto">
              <a:xfrm>
                <a:off x="2777" y="1824"/>
                <a:ext cx="15" cy="1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37" name="Rectangle 146"/>
              <p:cNvSpPr>
                <a:spLocks noChangeArrowheads="1"/>
              </p:cNvSpPr>
              <p:nvPr/>
            </p:nvSpPr>
            <p:spPr bwMode="auto">
              <a:xfrm>
                <a:off x="2797" y="1824"/>
                <a:ext cx="15" cy="1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38" name="Rectangle 147"/>
              <p:cNvSpPr>
                <a:spLocks noChangeArrowheads="1"/>
              </p:cNvSpPr>
              <p:nvPr/>
            </p:nvSpPr>
            <p:spPr bwMode="auto">
              <a:xfrm>
                <a:off x="2815" y="1824"/>
                <a:ext cx="17" cy="1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39" name="Rectangle 148"/>
              <p:cNvSpPr>
                <a:spLocks noChangeArrowheads="1"/>
              </p:cNvSpPr>
              <p:nvPr/>
            </p:nvSpPr>
            <p:spPr bwMode="auto">
              <a:xfrm>
                <a:off x="2777" y="1844"/>
                <a:ext cx="55" cy="16"/>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40" name="Rectangle 149"/>
              <p:cNvSpPr>
                <a:spLocks noChangeArrowheads="1"/>
              </p:cNvSpPr>
              <p:nvPr/>
            </p:nvSpPr>
            <p:spPr bwMode="auto">
              <a:xfrm>
                <a:off x="2815" y="1785"/>
                <a:ext cx="17" cy="16"/>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41" name="Freeform 150"/>
              <p:cNvSpPr>
                <a:spLocks/>
              </p:cNvSpPr>
              <p:nvPr/>
            </p:nvSpPr>
            <p:spPr bwMode="auto">
              <a:xfrm>
                <a:off x="2865" y="1813"/>
                <a:ext cx="79" cy="54"/>
              </a:xfrm>
              <a:custGeom>
                <a:avLst/>
                <a:gdLst>
                  <a:gd name="T0" fmla="*/ 23 w 51"/>
                  <a:gd name="T1" fmla="*/ 35 h 35"/>
                  <a:gd name="T2" fmla="*/ 48 w 51"/>
                  <a:gd name="T3" fmla="*/ 35 h 35"/>
                  <a:gd name="T4" fmla="*/ 51 w 51"/>
                  <a:gd name="T5" fmla="*/ 33 h 35"/>
                  <a:gd name="T6" fmla="*/ 51 w 51"/>
                  <a:gd name="T7" fmla="*/ 2 h 35"/>
                  <a:gd name="T8" fmla="*/ 48 w 51"/>
                  <a:gd name="T9" fmla="*/ 0 h 35"/>
                  <a:gd name="T10" fmla="*/ 2 w 51"/>
                  <a:gd name="T11" fmla="*/ 0 h 35"/>
                  <a:gd name="T12" fmla="*/ 0 w 51"/>
                  <a:gd name="T13" fmla="*/ 2 h 35"/>
                  <a:gd name="T14" fmla="*/ 0 w 51"/>
                  <a:gd name="T15" fmla="*/ 33 h 35"/>
                  <a:gd name="T16" fmla="*/ 2 w 51"/>
                  <a:gd name="T17" fmla="*/ 35 h 35"/>
                  <a:gd name="T18" fmla="*/ 16 w 51"/>
                  <a:gd name="T19" fmla="*/ 35 h 35"/>
                  <a:gd name="T20" fmla="*/ 23 w 51"/>
                  <a:gd name="T21" fmla="*/ 3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1" h="35">
                    <a:moveTo>
                      <a:pt x="23" y="35"/>
                    </a:moveTo>
                    <a:cubicBezTo>
                      <a:pt x="48" y="35"/>
                      <a:pt x="48" y="35"/>
                      <a:pt x="48" y="35"/>
                    </a:cubicBezTo>
                    <a:cubicBezTo>
                      <a:pt x="49" y="35"/>
                      <a:pt x="51" y="34"/>
                      <a:pt x="51" y="33"/>
                    </a:cubicBezTo>
                    <a:cubicBezTo>
                      <a:pt x="51" y="2"/>
                      <a:pt x="51" y="2"/>
                      <a:pt x="51" y="2"/>
                    </a:cubicBezTo>
                    <a:cubicBezTo>
                      <a:pt x="51" y="1"/>
                      <a:pt x="49" y="0"/>
                      <a:pt x="48" y="0"/>
                    </a:cubicBezTo>
                    <a:cubicBezTo>
                      <a:pt x="2" y="0"/>
                      <a:pt x="2" y="0"/>
                      <a:pt x="2" y="0"/>
                    </a:cubicBezTo>
                    <a:cubicBezTo>
                      <a:pt x="1" y="0"/>
                      <a:pt x="0" y="1"/>
                      <a:pt x="0" y="2"/>
                    </a:cubicBezTo>
                    <a:cubicBezTo>
                      <a:pt x="0" y="33"/>
                      <a:pt x="0" y="33"/>
                      <a:pt x="0" y="33"/>
                    </a:cubicBezTo>
                    <a:cubicBezTo>
                      <a:pt x="0" y="34"/>
                      <a:pt x="1" y="35"/>
                      <a:pt x="2" y="35"/>
                    </a:cubicBezTo>
                    <a:cubicBezTo>
                      <a:pt x="16" y="35"/>
                      <a:pt x="16" y="35"/>
                      <a:pt x="16" y="35"/>
                    </a:cubicBezTo>
                    <a:lnTo>
                      <a:pt x="23" y="35"/>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42" name="Rectangle 151"/>
              <p:cNvSpPr>
                <a:spLocks noChangeArrowheads="1"/>
              </p:cNvSpPr>
              <p:nvPr/>
            </p:nvSpPr>
            <p:spPr bwMode="auto">
              <a:xfrm>
                <a:off x="2870" y="1819"/>
                <a:ext cx="68" cy="44"/>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43" name="Rectangle 152"/>
              <p:cNvSpPr>
                <a:spLocks noChangeArrowheads="1"/>
              </p:cNvSpPr>
              <p:nvPr/>
            </p:nvSpPr>
            <p:spPr bwMode="auto">
              <a:xfrm>
                <a:off x="2879" y="1835"/>
                <a:ext cx="22" cy="23"/>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44" name="Rectangle 153"/>
              <p:cNvSpPr>
                <a:spLocks noChangeArrowheads="1"/>
              </p:cNvSpPr>
              <p:nvPr/>
            </p:nvSpPr>
            <p:spPr bwMode="auto">
              <a:xfrm>
                <a:off x="2879" y="1822"/>
                <a:ext cx="9" cy="11"/>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45" name="Rectangle 154"/>
              <p:cNvSpPr>
                <a:spLocks noChangeArrowheads="1"/>
              </p:cNvSpPr>
              <p:nvPr/>
            </p:nvSpPr>
            <p:spPr bwMode="auto">
              <a:xfrm>
                <a:off x="2904" y="1847"/>
                <a:ext cx="9" cy="11"/>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46" name="Rectangle 155"/>
              <p:cNvSpPr>
                <a:spLocks noChangeArrowheads="1"/>
              </p:cNvSpPr>
              <p:nvPr/>
            </p:nvSpPr>
            <p:spPr bwMode="auto">
              <a:xfrm>
                <a:off x="2904" y="1835"/>
                <a:ext cx="9" cy="11"/>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47" name="Rectangle 156"/>
              <p:cNvSpPr>
                <a:spLocks noChangeArrowheads="1"/>
              </p:cNvSpPr>
              <p:nvPr/>
            </p:nvSpPr>
            <p:spPr bwMode="auto">
              <a:xfrm>
                <a:off x="2904" y="1822"/>
                <a:ext cx="9" cy="11"/>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48" name="Rectangle 157"/>
              <p:cNvSpPr>
                <a:spLocks noChangeArrowheads="1"/>
              </p:cNvSpPr>
              <p:nvPr/>
            </p:nvSpPr>
            <p:spPr bwMode="auto">
              <a:xfrm>
                <a:off x="2916" y="1847"/>
                <a:ext cx="9" cy="11"/>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49" name="Rectangle 158"/>
              <p:cNvSpPr>
                <a:spLocks noChangeArrowheads="1"/>
              </p:cNvSpPr>
              <p:nvPr/>
            </p:nvSpPr>
            <p:spPr bwMode="auto">
              <a:xfrm>
                <a:off x="2916" y="1835"/>
                <a:ext cx="9" cy="11"/>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50" name="Rectangle 159"/>
              <p:cNvSpPr>
                <a:spLocks noChangeArrowheads="1"/>
              </p:cNvSpPr>
              <p:nvPr/>
            </p:nvSpPr>
            <p:spPr bwMode="auto">
              <a:xfrm>
                <a:off x="2916" y="1822"/>
                <a:ext cx="9" cy="11"/>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51" name="Rectangle 160"/>
              <p:cNvSpPr>
                <a:spLocks noChangeArrowheads="1"/>
              </p:cNvSpPr>
              <p:nvPr/>
            </p:nvSpPr>
            <p:spPr bwMode="auto">
              <a:xfrm>
                <a:off x="2928" y="1822"/>
                <a:ext cx="10" cy="36"/>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52" name="Rectangle 161"/>
              <p:cNvSpPr>
                <a:spLocks noChangeArrowheads="1"/>
              </p:cNvSpPr>
              <p:nvPr/>
            </p:nvSpPr>
            <p:spPr bwMode="auto">
              <a:xfrm>
                <a:off x="2891" y="1822"/>
                <a:ext cx="10" cy="11"/>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53" name="Freeform 162"/>
              <p:cNvSpPr>
                <a:spLocks/>
              </p:cNvSpPr>
              <p:nvPr/>
            </p:nvSpPr>
            <p:spPr bwMode="auto">
              <a:xfrm>
                <a:off x="2958" y="1788"/>
                <a:ext cx="54" cy="79"/>
              </a:xfrm>
              <a:custGeom>
                <a:avLst/>
                <a:gdLst>
                  <a:gd name="T0" fmla="*/ 0 w 35"/>
                  <a:gd name="T1" fmla="*/ 24 h 51"/>
                  <a:gd name="T2" fmla="*/ 0 w 35"/>
                  <a:gd name="T3" fmla="*/ 49 h 51"/>
                  <a:gd name="T4" fmla="*/ 2 w 35"/>
                  <a:gd name="T5" fmla="*/ 51 h 51"/>
                  <a:gd name="T6" fmla="*/ 32 w 35"/>
                  <a:gd name="T7" fmla="*/ 51 h 51"/>
                  <a:gd name="T8" fmla="*/ 35 w 35"/>
                  <a:gd name="T9" fmla="*/ 49 h 51"/>
                  <a:gd name="T10" fmla="*/ 35 w 35"/>
                  <a:gd name="T11" fmla="*/ 3 h 51"/>
                  <a:gd name="T12" fmla="*/ 32 w 35"/>
                  <a:gd name="T13" fmla="*/ 0 h 51"/>
                  <a:gd name="T14" fmla="*/ 2 w 35"/>
                  <a:gd name="T15" fmla="*/ 0 h 51"/>
                  <a:gd name="T16" fmla="*/ 0 w 35"/>
                  <a:gd name="T17" fmla="*/ 3 h 51"/>
                  <a:gd name="T18" fmla="*/ 0 w 35"/>
                  <a:gd name="T19" fmla="*/ 16 h 51"/>
                  <a:gd name="T20" fmla="*/ 0 w 35"/>
                  <a:gd name="T21" fmla="*/ 24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5" h="51">
                    <a:moveTo>
                      <a:pt x="0" y="24"/>
                    </a:moveTo>
                    <a:cubicBezTo>
                      <a:pt x="0" y="49"/>
                      <a:pt x="0" y="49"/>
                      <a:pt x="0" y="49"/>
                    </a:cubicBezTo>
                    <a:cubicBezTo>
                      <a:pt x="0" y="50"/>
                      <a:pt x="1" y="51"/>
                      <a:pt x="2" y="51"/>
                    </a:cubicBezTo>
                    <a:cubicBezTo>
                      <a:pt x="32" y="51"/>
                      <a:pt x="32" y="51"/>
                      <a:pt x="32" y="51"/>
                    </a:cubicBezTo>
                    <a:cubicBezTo>
                      <a:pt x="34" y="51"/>
                      <a:pt x="35" y="50"/>
                      <a:pt x="35" y="49"/>
                    </a:cubicBezTo>
                    <a:cubicBezTo>
                      <a:pt x="35" y="3"/>
                      <a:pt x="35" y="3"/>
                      <a:pt x="35" y="3"/>
                    </a:cubicBezTo>
                    <a:cubicBezTo>
                      <a:pt x="35" y="1"/>
                      <a:pt x="34" y="0"/>
                      <a:pt x="32" y="0"/>
                    </a:cubicBezTo>
                    <a:cubicBezTo>
                      <a:pt x="2" y="0"/>
                      <a:pt x="2" y="0"/>
                      <a:pt x="2" y="0"/>
                    </a:cubicBezTo>
                    <a:cubicBezTo>
                      <a:pt x="1" y="0"/>
                      <a:pt x="0" y="1"/>
                      <a:pt x="0" y="3"/>
                    </a:cubicBezTo>
                    <a:cubicBezTo>
                      <a:pt x="0" y="16"/>
                      <a:pt x="0" y="16"/>
                      <a:pt x="0" y="16"/>
                    </a:cubicBezTo>
                    <a:lnTo>
                      <a:pt x="0" y="24"/>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54" name="Rectangle 163"/>
              <p:cNvSpPr>
                <a:spLocks noChangeArrowheads="1"/>
              </p:cNvSpPr>
              <p:nvPr/>
            </p:nvSpPr>
            <p:spPr bwMode="auto">
              <a:xfrm>
                <a:off x="2962" y="1795"/>
                <a:ext cx="44" cy="6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55" name="Rectangle 164"/>
              <p:cNvSpPr>
                <a:spLocks noChangeArrowheads="1"/>
              </p:cNvSpPr>
              <p:nvPr/>
            </p:nvSpPr>
            <p:spPr bwMode="auto">
              <a:xfrm>
                <a:off x="2967" y="1802"/>
                <a:ext cx="22" cy="24"/>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56" name="Rectangle 165"/>
              <p:cNvSpPr>
                <a:spLocks noChangeArrowheads="1"/>
              </p:cNvSpPr>
              <p:nvPr/>
            </p:nvSpPr>
            <p:spPr bwMode="auto">
              <a:xfrm>
                <a:off x="2992" y="1802"/>
                <a:ext cx="9" cy="11"/>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57" name="Rectangle 166"/>
              <p:cNvSpPr>
                <a:spLocks noChangeArrowheads="1"/>
              </p:cNvSpPr>
              <p:nvPr/>
            </p:nvSpPr>
            <p:spPr bwMode="auto">
              <a:xfrm>
                <a:off x="2967" y="1827"/>
                <a:ext cx="9" cy="11"/>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58" name="Rectangle 167"/>
              <p:cNvSpPr>
                <a:spLocks noChangeArrowheads="1"/>
              </p:cNvSpPr>
              <p:nvPr/>
            </p:nvSpPr>
            <p:spPr bwMode="auto">
              <a:xfrm>
                <a:off x="2979" y="1827"/>
                <a:ext cx="10" cy="11"/>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59" name="Rectangle 168"/>
              <p:cNvSpPr>
                <a:spLocks noChangeArrowheads="1"/>
              </p:cNvSpPr>
              <p:nvPr/>
            </p:nvSpPr>
            <p:spPr bwMode="auto">
              <a:xfrm>
                <a:off x="2992" y="1827"/>
                <a:ext cx="9" cy="11"/>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60" name="Rectangle 169"/>
              <p:cNvSpPr>
                <a:spLocks noChangeArrowheads="1"/>
              </p:cNvSpPr>
              <p:nvPr/>
            </p:nvSpPr>
            <p:spPr bwMode="auto">
              <a:xfrm>
                <a:off x="2967" y="1839"/>
                <a:ext cx="9" cy="11"/>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61" name="Rectangle 170"/>
              <p:cNvSpPr>
                <a:spLocks noChangeArrowheads="1"/>
              </p:cNvSpPr>
              <p:nvPr/>
            </p:nvSpPr>
            <p:spPr bwMode="auto">
              <a:xfrm>
                <a:off x="2979" y="1839"/>
                <a:ext cx="10" cy="11"/>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62" name="Rectangle 171"/>
              <p:cNvSpPr>
                <a:spLocks noChangeArrowheads="1"/>
              </p:cNvSpPr>
              <p:nvPr/>
            </p:nvSpPr>
            <p:spPr bwMode="auto">
              <a:xfrm>
                <a:off x="2992" y="1839"/>
                <a:ext cx="9" cy="11"/>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63" name="Rectangle 172"/>
              <p:cNvSpPr>
                <a:spLocks noChangeArrowheads="1"/>
              </p:cNvSpPr>
              <p:nvPr/>
            </p:nvSpPr>
            <p:spPr bwMode="auto">
              <a:xfrm>
                <a:off x="2967" y="1852"/>
                <a:ext cx="34" cy="11"/>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64" name="Rectangle 173"/>
              <p:cNvSpPr>
                <a:spLocks noChangeArrowheads="1"/>
              </p:cNvSpPr>
              <p:nvPr/>
            </p:nvSpPr>
            <p:spPr bwMode="auto">
              <a:xfrm>
                <a:off x="2992" y="1815"/>
                <a:ext cx="9" cy="11"/>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65" name="Freeform 174"/>
              <p:cNvSpPr>
                <a:spLocks/>
              </p:cNvSpPr>
              <p:nvPr/>
            </p:nvSpPr>
            <p:spPr bwMode="auto">
              <a:xfrm>
                <a:off x="2959" y="1535"/>
                <a:ext cx="36" cy="51"/>
              </a:xfrm>
              <a:custGeom>
                <a:avLst/>
                <a:gdLst>
                  <a:gd name="T0" fmla="*/ 0 w 23"/>
                  <a:gd name="T1" fmla="*/ 15 h 33"/>
                  <a:gd name="T2" fmla="*/ 0 w 23"/>
                  <a:gd name="T3" fmla="*/ 32 h 33"/>
                  <a:gd name="T4" fmla="*/ 1 w 23"/>
                  <a:gd name="T5" fmla="*/ 33 h 33"/>
                  <a:gd name="T6" fmla="*/ 21 w 23"/>
                  <a:gd name="T7" fmla="*/ 33 h 33"/>
                  <a:gd name="T8" fmla="*/ 23 w 23"/>
                  <a:gd name="T9" fmla="*/ 32 h 33"/>
                  <a:gd name="T10" fmla="*/ 23 w 23"/>
                  <a:gd name="T11" fmla="*/ 1 h 33"/>
                  <a:gd name="T12" fmla="*/ 21 w 23"/>
                  <a:gd name="T13" fmla="*/ 0 h 33"/>
                  <a:gd name="T14" fmla="*/ 1 w 23"/>
                  <a:gd name="T15" fmla="*/ 0 h 33"/>
                  <a:gd name="T16" fmla="*/ 0 w 23"/>
                  <a:gd name="T17" fmla="*/ 1 h 33"/>
                  <a:gd name="T18" fmla="*/ 0 w 23"/>
                  <a:gd name="T19" fmla="*/ 10 h 33"/>
                  <a:gd name="T20" fmla="*/ 0 w 23"/>
                  <a:gd name="T21" fmla="*/ 15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 h="33">
                    <a:moveTo>
                      <a:pt x="0" y="15"/>
                    </a:moveTo>
                    <a:cubicBezTo>
                      <a:pt x="0" y="32"/>
                      <a:pt x="0" y="32"/>
                      <a:pt x="0" y="32"/>
                    </a:cubicBezTo>
                    <a:cubicBezTo>
                      <a:pt x="0" y="33"/>
                      <a:pt x="1" y="33"/>
                      <a:pt x="1" y="33"/>
                    </a:cubicBezTo>
                    <a:cubicBezTo>
                      <a:pt x="21" y="33"/>
                      <a:pt x="21" y="33"/>
                      <a:pt x="21" y="33"/>
                    </a:cubicBezTo>
                    <a:cubicBezTo>
                      <a:pt x="22" y="33"/>
                      <a:pt x="23" y="33"/>
                      <a:pt x="23" y="32"/>
                    </a:cubicBezTo>
                    <a:cubicBezTo>
                      <a:pt x="23" y="1"/>
                      <a:pt x="23" y="1"/>
                      <a:pt x="23" y="1"/>
                    </a:cubicBezTo>
                    <a:cubicBezTo>
                      <a:pt x="23" y="0"/>
                      <a:pt x="22" y="0"/>
                      <a:pt x="21" y="0"/>
                    </a:cubicBezTo>
                    <a:cubicBezTo>
                      <a:pt x="1" y="0"/>
                      <a:pt x="1" y="0"/>
                      <a:pt x="1" y="0"/>
                    </a:cubicBezTo>
                    <a:cubicBezTo>
                      <a:pt x="1" y="0"/>
                      <a:pt x="0" y="0"/>
                      <a:pt x="0" y="1"/>
                    </a:cubicBezTo>
                    <a:cubicBezTo>
                      <a:pt x="0" y="10"/>
                      <a:pt x="0" y="10"/>
                      <a:pt x="0" y="10"/>
                    </a:cubicBezTo>
                    <a:lnTo>
                      <a:pt x="0" y="15"/>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66" name="Rectangle 175"/>
              <p:cNvSpPr>
                <a:spLocks noChangeArrowheads="1"/>
              </p:cNvSpPr>
              <p:nvPr/>
            </p:nvSpPr>
            <p:spPr bwMode="auto">
              <a:xfrm>
                <a:off x="2962" y="1538"/>
                <a:ext cx="30" cy="4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67" name="Rectangle 176"/>
              <p:cNvSpPr>
                <a:spLocks noChangeArrowheads="1"/>
              </p:cNvSpPr>
              <p:nvPr/>
            </p:nvSpPr>
            <p:spPr bwMode="auto">
              <a:xfrm>
                <a:off x="2965" y="1544"/>
                <a:ext cx="16" cy="14"/>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68" name="Rectangle 177"/>
              <p:cNvSpPr>
                <a:spLocks noChangeArrowheads="1"/>
              </p:cNvSpPr>
              <p:nvPr/>
            </p:nvSpPr>
            <p:spPr bwMode="auto">
              <a:xfrm>
                <a:off x="2982" y="1544"/>
                <a:ext cx="7" cy="6"/>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69" name="Rectangle 178"/>
              <p:cNvSpPr>
                <a:spLocks noChangeArrowheads="1"/>
              </p:cNvSpPr>
              <p:nvPr/>
            </p:nvSpPr>
            <p:spPr bwMode="auto">
              <a:xfrm>
                <a:off x="2965" y="1560"/>
                <a:ext cx="7" cy="7"/>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70" name="Rectangle 179"/>
              <p:cNvSpPr>
                <a:spLocks noChangeArrowheads="1"/>
              </p:cNvSpPr>
              <p:nvPr/>
            </p:nvSpPr>
            <p:spPr bwMode="auto">
              <a:xfrm>
                <a:off x="2973" y="1560"/>
                <a:ext cx="8" cy="7"/>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71" name="Rectangle 180"/>
              <p:cNvSpPr>
                <a:spLocks noChangeArrowheads="1"/>
              </p:cNvSpPr>
              <p:nvPr/>
            </p:nvSpPr>
            <p:spPr bwMode="auto">
              <a:xfrm>
                <a:off x="2982" y="1560"/>
                <a:ext cx="7" cy="7"/>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72" name="Rectangle 181"/>
              <p:cNvSpPr>
                <a:spLocks noChangeArrowheads="1"/>
              </p:cNvSpPr>
              <p:nvPr/>
            </p:nvSpPr>
            <p:spPr bwMode="auto">
              <a:xfrm>
                <a:off x="2965" y="1569"/>
                <a:ext cx="7" cy="6"/>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73" name="Rectangle 182"/>
              <p:cNvSpPr>
                <a:spLocks noChangeArrowheads="1"/>
              </p:cNvSpPr>
              <p:nvPr/>
            </p:nvSpPr>
            <p:spPr bwMode="auto">
              <a:xfrm>
                <a:off x="2973" y="1569"/>
                <a:ext cx="8" cy="6"/>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74" name="Rectangle 183"/>
              <p:cNvSpPr>
                <a:spLocks noChangeArrowheads="1"/>
              </p:cNvSpPr>
              <p:nvPr/>
            </p:nvSpPr>
            <p:spPr bwMode="auto">
              <a:xfrm>
                <a:off x="2982" y="1569"/>
                <a:ext cx="7" cy="6"/>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75" name="Rectangle 184"/>
              <p:cNvSpPr>
                <a:spLocks noChangeArrowheads="1"/>
              </p:cNvSpPr>
              <p:nvPr/>
            </p:nvSpPr>
            <p:spPr bwMode="auto">
              <a:xfrm>
                <a:off x="2965" y="1577"/>
                <a:ext cx="24" cy="6"/>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76" name="Rectangle 185"/>
              <p:cNvSpPr>
                <a:spLocks noChangeArrowheads="1"/>
              </p:cNvSpPr>
              <p:nvPr/>
            </p:nvSpPr>
            <p:spPr bwMode="auto">
              <a:xfrm>
                <a:off x="2982" y="1552"/>
                <a:ext cx="7" cy="6"/>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77" name="Freeform 186"/>
              <p:cNvSpPr>
                <a:spLocks/>
              </p:cNvSpPr>
              <p:nvPr/>
            </p:nvSpPr>
            <p:spPr bwMode="auto">
              <a:xfrm>
                <a:off x="2865" y="1535"/>
                <a:ext cx="37" cy="51"/>
              </a:xfrm>
              <a:custGeom>
                <a:avLst/>
                <a:gdLst>
                  <a:gd name="T0" fmla="*/ 0 w 24"/>
                  <a:gd name="T1" fmla="*/ 15 h 33"/>
                  <a:gd name="T2" fmla="*/ 0 w 24"/>
                  <a:gd name="T3" fmla="*/ 32 h 33"/>
                  <a:gd name="T4" fmla="*/ 2 w 24"/>
                  <a:gd name="T5" fmla="*/ 33 h 33"/>
                  <a:gd name="T6" fmla="*/ 22 w 24"/>
                  <a:gd name="T7" fmla="*/ 33 h 33"/>
                  <a:gd name="T8" fmla="*/ 24 w 24"/>
                  <a:gd name="T9" fmla="*/ 32 h 33"/>
                  <a:gd name="T10" fmla="*/ 24 w 24"/>
                  <a:gd name="T11" fmla="*/ 1 h 33"/>
                  <a:gd name="T12" fmla="*/ 22 w 24"/>
                  <a:gd name="T13" fmla="*/ 0 h 33"/>
                  <a:gd name="T14" fmla="*/ 2 w 24"/>
                  <a:gd name="T15" fmla="*/ 0 h 33"/>
                  <a:gd name="T16" fmla="*/ 0 w 24"/>
                  <a:gd name="T17" fmla="*/ 1 h 33"/>
                  <a:gd name="T18" fmla="*/ 0 w 24"/>
                  <a:gd name="T19" fmla="*/ 10 h 33"/>
                  <a:gd name="T20" fmla="*/ 0 w 24"/>
                  <a:gd name="T21" fmla="*/ 15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4" h="33">
                    <a:moveTo>
                      <a:pt x="0" y="15"/>
                    </a:moveTo>
                    <a:cubicBezTo>
                      <a:pt x="0" y="32"/>
                      <a:pt x="0" y="32"/>
                      <a:pt x="0" y="32"/>
                    </a:cubicBezTo>
                    <a:cubicBezTo>
                      <a:pt x="0" y="33"/>
                      <a:pt x="1" y="33"/>
                      <a:pt x="2" y="33"/>
                    </a:cubicBezTo>
                    <a:cubicBezTo>
                      <a:pt x="22" y="33"/>
                      <a:pt x="22" y="33"/>
                      <a:pt x="22" y="33"/>
                    </a:cubicBezTo>
                    <a:cubicBezTo>
                      <a:pt x="23" y="33"/>
                      <a:pt x="24" y="33"/>
                      <a:pt x="24" y="32"/>
                    </a:cubicBezTo>
                    <a:cubicBezTo>
                      <a:pt x="24" y="1"/>
                      <a:pt x="24" y="1"/>
                      <a:pt x="24" y="1"/>
                    </a:cubicBezTo>
                    <a:cubicBezTo>
                      <a:pt x="24" y="0"/>
                      <a:pt x="23" y="0"/>
                      <a:pt x="22" y="0"/>
                    </a:cubicBezTo>
                    <a:cubicBezTo>
                      <a:pt x="2" y="0"/>
                      <a:pt x="2" y="0"/>
                      <a:pt x="2" y="0"/>
                    </a:cubicBezTo>
                    <a:cubicBezTo>
                      <a:pt x="1" y="0"/>
                      <a:pt x="0" y="0"/>
                      <a:pt x="0" y="1"/>
                    </a:cubicBezTo>
                    <a:cubicBezTo>
                      <a:pt x="0" y="10"/>
                      <a:pt x="0" y="10"/>
                      <a:pt x="0" y="10"/>
                    </a:cubicBezTo>
                    <a:lnTo>
                      <a:pt x="0" y="15"/>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78" name="Rectangle 187"/>
              <p:cNvSpPr>
                <a:spLocks noChangeArrowheads="1"/>
              </p:cNvSpPr>
              <p:nvPr/>
            </p:nvSpPr>
            <p:spPr bwMode="auto">
              <a:xfrm>
                <a:off x="2870" y="1538"/>
                <a:ext cx="27" cy="4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79" name="Rectangle 188"/>
              <p:cNvSpPr>
                <a:spLocks noChangeArrowheads="1"/>
              </p:cNvSpPr>
              <p:nvPr/>
            </p:nvSpPr>
            <p:spPr bwMode="auto">
              <a:xfrm>
                <a:off x="2871" y="1544"/>
                <a:ext cx="16" cy="14"/>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80" name="Rectangle 189"/>
              <p:cNvSpPr>
                <a:spLocks noChangeArrowheads="1"/>
              </p:cNvSpPr>
              <p:nvPr/>
            </p:nvSpPr>
            <p:spPr bwMode="auto">
              <a:xfrm>
                <a:off x="2888" y="1544"/>
                <a:ext cx="6" cy="6"/>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81" name="Rectangle 190"/>
              <p:cNvSpPr>
                <a:spLocks noChangeArrowheads="1"/>
              </p:cNvSpPr>
              <p:nvPr/>
            </p:nvSpPr>
            <p:spPr bwMode="auto">
              <a:xfrm>
                <a:off x="2871" y="1560"/>
                <a:ext cx="8" cy="7"/>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82" name="Rectangle 191"/>
              <p:cNvSpPr>
                <a:spLocks noChangeArrowheads="1"/>
              </p:cNvSpPr>
              <p:nvPr/>
            </p:nvSpPr>
            <p:spPr bwMode="auto">
              <a:xfrm>
                <a:off x="2880" y="1560"/>
                <a:ext cx="7" cy="7"/>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83" name="Rectangle 192"/>
              <p:cNvSpPr>
                <a:spLocks noChangeArrowheads="1"/>
              </p:cNvSpPr>
              <p:nvPr/>
            </p:nvSpPr>
            <p:spPr bwMode="auto">
              <a:xfrm>
                <a:off x="2888" y="1560"/>
                <a:ext cx="6" cy="7"/>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84" name="Rectangle 193"/>
              <p:cNvSpPr>
                <a:spLocks noChangeArrowheads="1"/>
              </p:cNvSpPr>
              <p:nvPr/>
            </p:nvSpPr>
            <p:spPr bwMode="auto">
              <a:xfrm>
                <a:off x="2871" y="1569"/>
                <a:ext cx="8" cy="6"/>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85" name="Rectangle 194"/>
              <p:cNvSpPr>
                <a:spLocks noChangeArrowheads="1"/>
              </p:cNvSpPr>
              <p:nvPr/>
            </p:nvSpPr>
            <p:spPr bwMode="auto">
              <a:xfrm>
                <a:off x="2880" y="1569"/>
                <a:ext cx="7" cy="6"/>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86" name="Rectangle 195"/>
              <p:cNvSpPr>
                <a:spLocks noChangeArrowheads="1"/>
              </p:cNvSpPr>
              <p:nvPr/>
            </p:nvSpPr>
            <p:spPr bwMode="auto">
              <a:xfrm>
                <a:off x="2888" y="1569"/>
                <a:ext cx="6" cy="6"/>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87" name="Rectangle 196"/>
              <p:cNvSpPr>
                <a:spLocks noChangeArrowheads="1"/>
              </p:cNvSpPr>
              <p:nvPr/>
            </p:nvSpPr>
            <p:spPr bwMode="auto">
              <a:xfrm>
                <a:off x="2871" y="1577"/>
                <a:ext cx="23" cy="6"/>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88" name="Rectangle 197"/>
              <p:cNvSpPr>
                <a:spLocks noChangeArrowheads="1"/>
              </p:cNvSpPr>
              <p:nvPr/>
            </p:nvSpPr>
            <p:spPr bwMode="auto">
              <a:xfrm>
                <a:off x="2888" y="1552"/>
                <a:ext cx="6" cy="6"/>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89" name="Freeform 198"/>
              <p:cNvSpPr>
                <a:spLocks/>
              </p:cNvSpPr>
              <p:nvPr/>
            </p:nvSpPr>
            <p:spPr bwMode="auto">
              <a:xfrm>
                <a:off x="2952" y="1326"/>
                <a:ext cx="35" cy="53"/>
              </a:xfrm>
              <a:custGeom>
                <a:avLst/>
                <a:gdLst>
                  <a:gd name="T0" fmla="*/ 0 w 23"/>
                  <a:gd name="T1" fmla="*/ 16 h 34"/>
                  <a:gd name="T2" fmla="*/ 0 w 23"/>
                  <a:gd name="T3" fmla="*/ 33 h 34"/>
                  <a:gd name="T4" fmla="*/ 1 w 23"/>
                  <a:gd name="T5" fmla="*/ 34 h 34"/>
                  <a:gd name="T6" fmla="*/ 21 w 23"/>
                  <a:gd name="T7" fmla="*/ 34 h 34"/>
                  <a:gd name="T8" fmla="*/ 23 w 23"/>
                  <a:gd name="T9" fmla="*/ 33 h 34"/>
                  <a:gd name="T10" fmla="*/ 23 w 23"/>
                  <a:gd name="T11" fmla="*/ 2 h 34"/>
                  <a:gd name="T12" fmla="*/ 21 w 23"/>
                  <a:gd name="T13" fmla="*/ 0 h 34"/>
                  <a:gd name="T14" fmla="*/ 1 w 23"/>
                  <a:gd name="T15" fmla="*/ 0 h 34"/>
                  <a:gd name="T16" fmla="*/ 0 w 23"/>
                  <a:gd name="T17" fmla="*/ 2 h 34"/>
                  <a:gd name="T18" fmla="*/ 0 w 23"/>
                  <a:gd name="T19" fmla="*/ 11 h 34"/>
                  <a:gd name="T20" fmla="*/ 0 w 23"/>
                  <a:gd name="T21" fmla="*/ 16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 h="34">
                    <a:moveTo>
                      <a:pt x="0" y="16"/>
                    </a:moveTo>
                    <a:cubicBezTo>
                      <a:pt x="0" y="33"/>
                      <a:pt x="0" y="33"/>
                      <a:pt x="0" y="33"/>
                    </a:cubicBezTo>
                    <a:cubicBezTo>
                      <a:pt x="0" y="34"/>
                      <a:pt x="0" y="34"/>
                      <a:pt x="1" y="34"/>
                    </a:cubicBezTo>
                    <a:cubicBezTo>
                      <a:pt x="21" y="34"/>
                      <a:pt x="21" y="34"/>
                      <a:pt x="21" y="34"/>
                    </a:cubicBezTo>
                    <a:cubicBezTo>
                      <a:pt x="22" y="34"/>
                      <a:pt x="23" y="34"/>
                      <a:pt x="23" y="33"/>
                    </a:cubicBezTo>
                    <a:cubicBezTo>
                      <a:pt x="23" y="2"/>
                      <a:pt x="23" y="2"/>
                      <a:pt x="23" y="2"/>
                    </a:cubicBezTo>
                    <a:cubicBezTo>
                      <a:pt x="23" y="1"/>
                      <a:pt x="22" y="0"/>
                      <a:pt x="21" y="0"/>
                    </a:cubicBezTo>
                    <a:cubicBezTo>
                      <a:pt x="1" y="0"/>
                      <a:pt x="1" y="0"/>
                      <a:pt x="1" y="0"/>
                    </a:cubicBezTo>
                    <a:cubicBezTo>
                      <a:pt x="0" y="0"/>
                      <a:pt x="0" y="1"/>
                      <a:pt x="0" y="2"/>
                    </a:cubicBezTo>
                    <a:cubicBezTo>
                      <a:pt x="0" y="11"/>
                      <a:pt x="0" y="11"/>
                      <a:pt x="0" y="11"/>
                    </a:cubicBezTo>
                    <a:lnTo>
                      <a:pt x="0" y="16"/>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90" name="Rectangle 199"/>
              <p:cNvSpPr>
                <a:spLocks noChangeArrowheads="1"/>
              </p:cNvSpPr>
              <p:nvPr/>
            </p:nvSpPr>
            <p:spPr bwMode="auto">
              <a:xfrm>
                <a:off x="2955" y="1331"/>
                <a:ext cx="27" cy="44"/>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91" name="Rectangle 200"/>
              <p:cNvSpPr>
                <a:spLocks noChangeArrowheads="1"/>
              </p:cNvSpPr>
              <p:nvPr/>
            </p:nvSpPr>
            <p:spPr bwMode="auto">
              <a:xfrm>
                <a:off x="2958" y="1335"/>
                <a:ext cx="14" cy="16"/>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92" name="Rectangle 201"/>
              <p:cNvSpPr>
                <a:spLocks noChangeArrowheads="1"/>
              </p:cNvSpPr>
              <p:nvPr/>
            </p:nvSpPr>
            <p:spPr bwMode="auto">
              <a:xfrm>
                <a:off x="2973" y="1335"/>
                <a:ext cx="8" cy="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93" name="Rectangle 202"/>
              <p:cNvSpPr>
                <a:spLocks noChangeArrowheads="1"/>
              </p:cNvSpPr>
              <p:nvPr/>
            </p:nvSpPr>
            <p:spPr bwMode="auto">
              <a:xfrm>
                <a:off x="2958" y="1352"/>
                <a:ext cx="6" cy="6"/>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94" name="Rectangle 203"/>
              <p:cNvSpPr>
                <a:spLocks noChangeArrowheads="1"/>
              </p:cNvSpPr>
              <p:nvPr/>
            </p:nvSpPr>
            <p:spPr bwMode="auto">
              <a:xfrm>
                <a:off x="2965" y="1352"/>
                <a:ext cx="7" cy="6"/>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95" name="Rectangle 204"/>
              <p:cNvSpPr>
                <a:spLocks noChangeArrowheads="1"/>
              </p:cNvSpPr>
              <p:nvPr/>
            </p:nvSpPr>
            <p:spPr bwMode="auto">
              <a:xfrm>
                <a:off x="2973" y="1352"/>
                <a:ext cx="8" cy="6"/>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21" name="Rectangle 206"/>
            <p:cNvSpPr>
              <a:spLocks noChangeArrowheads="1"/>
            </p:cNvSpPr>
            <p:nvPr/>
          </p:nvSpPr>
          <p:spPr bwMode="auto">
            <a:xfrm>
              <a:off x="4695826" y="2159000"/>
              <a:ext cx="9525" cy="1270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2" name="Rectangle 207"/>
            <p:cNvSpPr>
              <a:spLocks noChangeArrowheads="1"/>
            </p:cNvSpPr>
            <p:nvPr/>
          </p:nvSpPr>
          <p:spPr bwMode="auto">
            <a:xfrm>
              <a:off x="4706938" y="2159000"/>
              <a:ext cx="11113" cy="1270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3" name="Rectangle 208"/>
            <p:cNvSpPr>
              <a:spLocks noChangeArrowheads="1"/>
            </p:cNvSpPr>
            <p:nvPr/>
          </p:nvSpPr>
          <p:spPr bwMode="auto">
            <a:xfrm>
              <a:off x="4719638" y="2159000"/>
              <a:ext cx="12700" cy="1270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4" name="Rectangle 209"/>
            <p:cNvSpPr>
              <a:spLocks noChangeArrowheads="1"/>
            </p:cNvSpPr>
            <p:nvPr/>
          </p:nvSpPr>
          <p:spPr bwMode="auto">
            <a:xfrm>
              <a:off x="4695826" y="2173288"/>
              <a:ext cx="36513" cy="952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5" name="Rectangle 210"/>
            <p:cNvSpPr>
              <a:spLocks noChangeArrowheads="1"/>
            </p:cNvSpPr>
            <p:nvPr/>
          </p:nvSpPr>
          <p:spPr bwMode="auto">
            <a:xfrm>
              <a:off x="4719638" y="2133600"/>
              <a:ext cx="12700" cy="11113"/>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6" name="Freeform 211"/>
            <p:cNvSpPr>
              <a:spLocks/>
            </p:cNvSpPr>
            <p:nvPr/>
          </p:nvSpPr>
          <p:spPr bwMode="auto">
            <a:xfrm>
              <a:off x="4606926" y="3294063"/>
              <a:ext cx="112713" cy="163513"/>
            </a:xfrm>
            <a:custGeom>
              <a:avLst/>
              <a:gdLst>
                <a:gd name="T0" fmla="*/ 43 w 46"/>
                <a:gd name="T1" fmla="*/ 0 h 67"/>
                <a:gd name="T2" fmla="*/ 3 w 46"/>
                <a:gd name="T3" fmla="*/ 0 h 67"/>
                <a:gd name="T4" fmla="*/ 0 w 46"/>
                <a:gd name="T5" fmla="*/ 3 h 67"/>
                <a:gd name="T6" fmla="*/ 0 w 46"/>
                <a:gd name="T7" fmla="*/ 21 h 67"/>
                <a:gd name="T8" fmla="*/ 0 w 46"/>
                <a:gd name="T9" fmla="*/ 21 h 67"/>
                <a:gd name="T10" fmla="*/ 0 w 46"/>
                <a:gd name="T11" fmla="*/ 31 h 67"/>
                <a:gd name="T12" fmla="*/ 0 w 46"/>
                <a:gd name="T13" fmla="*/ 64 h 67"/>
                <a:gd name="T14" fmla="*/ 3 w 46"/>
                <a:gd name="T15" fmla="*/ 67 h 67"/>
                <a:gd name="T16" fmla="*/ 43 w 46"/>
                <a:gd name="T17" fmla="*/ 67 h 67"/>
                <a:gd name="T18" fmla="*/ 46 w 46"/>
                <a:gd name="T19" fmla="*/ 64 h 67"/>
                <a:gd name="T20" fmla="*/ 46 w 46"/>
                <a:gd name="T21" fmla="*/ 3 h 67"/>
                <a:gd name="T22" fmla="*/ 43 w 46"/>
                <a:gd name="T23" fmla="*/ 0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6" h="67">
                  <a:moveTo>
                    <a:pt x="43" y="0"/>
                  </a:moveTo>
                  <a:cubicBezTo>
                    <a:pt x="3" y="0"/>
                    <a:pt x="3" y="0"/>
                    <a:pt x="3" y="0"/>
                  </a:cubicBezTo>
                  <a:cubicBezTo>
                    <a:pt x="1" y="0"/>
                    <a:pt x="0" y="2"/>
                    <a:pt x="0" y="3"/>
                  </a:cubicBezTo>
                  <a:cubicBezTo>
                    <a:pt x="0" y="21"/>
                    <a:pt x="0" y="21"/>
                    <a:pt x="0" y="21"/>
                  </a:cubicBezTo>
                  <a:cubicBezTo>
                    <a:pt x="0" y="21"/>
                    <a:pt x="0" y="21"/>
                    <a:pt x="0" y="21"/>
                  </a:cubicBezTo>
                  <a:cubicBezTo>
                    <a:pt x="0" y="31"/>
                    <a:pt x="0" y="31"/>
                    <a:pt x="0" y="31"/>
                  </a:cubicBezTo>
                  <a:cubicBezTo>
                    <a:pt x="0" y="64"/>
                    <a:pt x="0" y="64"/>
                    <a:pt x="0" y="64"/>
                  </a:cubicBezTo>
                  <a:cubicBezTo>
                    <a:pt x="0" y="66"/>
                    <a:pt x="1" y="67"/>
                    <a:pt x="3" y="67"/>
                  </a:cubicBezTo>
                  <a:cubicBezTo>
                    <a:pt x="43" y="67"/>
                    <a:pt x="43" y="67"/>
                    <a:pt x="43" y="67"/>
                  </a:cubicBezTo>
                  <a:cubicBezTo>
                    <a:pt x="44" y="67"/>
                    <a:pt x="46" y="66"/>
                    <a:pt x="46" y="64"/>
                  </a:cubicBezTo>
                  <a:cubicBezTo>
                    <a:pt x="46" y="3"/>
                    <a:pt x="46" y="3"/>
                    <a:pt x="46" y="3"/>
                  </a:cubicBezTo>
                  <a:cubicBezTo>
                    <a:pt x="46" y="2"/>
                    <a:pt x="44" y="0"/>
                    <a:pt x="43" y="0"/>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7" name="Freeform 212"/>
            <p:cNvSpPr>
              <a:spLocks/>
            </p:cNvSpPr>
            <p:nvPr/>
          </p:nvSpPr>
          <p:spPr bwMode="auto">
            <a:xfrm>
              <a:off x="4675188" y="3340100"/>
              <a:ext cx="84138" cy="117475"/>
            </a:xfrm>
            <a:custGeom>
              <a:avLst/>
              <a:gdLst>
                <a:gd name="T0" fmla="*/ 32 w 34"/>
                <a:gd name="T1" fmla="*/ 0 h 48"/>
                <a:gd name="T2" fmla="*/ 3 w 34"/>
                <a:gd name="T3" fmla="*/ 0 h 48"/>
                <a:gd name="T4" fmla="*/ 0 w 34"/>
                <a:gd name="T5" fmla="*/ 2 h 48"/>
                <a:gd name="T6" fmla="*/ 0 w 34"/>
                <a:gd name="T7" fmla="*/ 14 h 48"/>
                <a:gd name="T8" fmla="*/ 0 w 34"/>
                <a:gd name="T9" fmla="*/ 15 h 48"/>
                <a:gd name="T10" fmla="*/ 0 w 34"/>
                <a:gd name="T11" fmla="*/ 22 h 48"/>
                <a:gd name="T12" fmla="*/ 0 w 34"/>
                <a:gd name="T13" fmla="*/ 46 h 48"/>
                <a:gd name="T14" fmla="*/ 3 w 34"/>
                <a:gd name="T15" fmla="*/ 48 h 48"/>
                <a:gd name="T16" fmla="*/ 32 w 34"/>
                <a:gd name="T17" fmla="*/ 48 h 48"/>
                <a:gd name="T18" fmla="*/ 34 w 34"/>
                <a:gd name="T19" fmla="*/ 46 h 48"/>
                <a:gd name="T20" fmla="*/ 34 w 34"/>
                <a:gd name="T21" fmla="*/ 2 h 48"/>
                <a:gd name="T22" fmla="*/ 32 w 34"/>
                <a:gd name="T23"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8">
                  <a:moveTo>
                    <a:pt x="32" y="0"/>
                  </a:moveTo>
                  <a:cubicBezTo>
                    <a:pt x="3" y="0"/>
                    <a:pt x="3" y="0"/>
                    <a:pt x="3" y="0"/>
                  </a:cubicBezTo>
                  <a:cubicBezTo>
                    <a:pt x="1" y="0"/>
                    <a:pt x="0" y="1"/>
                    <a:pt x="0" y="2"/>
                  </a:cubicBezTo>
                  <a:cubicBezTo>
                    <a:pt x="0" y="14"/>
                    <a:pt x="0" y="14"/>
                    <a:pt x="0" y="14"/>
                  </a:cubicBezTo>
                  <a:cubicBezTo>
                    <a:pt x="0" y="15"/>
                    <a:pt x="0" y="15"/>
                    <a:pt x="0" y="15"/>
                  </a:cubicBezTo>
                  <a:cubicBezTo>
                    <a:pt x="0" y="22"/>
                    <a:pt x="0" y="22"/>
                    <a:pt x="0" y="22"/>
                  </a:cubicBezTo>
                  <a:cubicBezTo>
                    <a:pt x="0" y="46"/>
                    <a:pt x="0" y="46"/>
                    <a:pt x="0" y="46"/>
                  </a:cubicBezTo>
                  <a:cubicBezTo>
                    <a:pt x="0" y="47"/>
                    <a:pt x="1" y="48"/>
                    <a:pt x="3" y="48"/>
                  </a:cubicBezTo>
                  <a:cubicBezTo>
                    <a:pt x="32" y="48"/>
                    <a:pt x="32" y="48"/>
                    <a:pt x="32" y="48"/>
                  </a:cubicBezTo>
                  <a:cubicBezTo>
                    <a:pt x="33" y="48"/>
                    <a:pt x="34" y="47"/>
                    <a:pt x="34" y="46"/>
                  </a:cubicBezTo>
                  <a:cubicBezTo>
                    <a:pt x="34" y="2"/>
                    <a:pt x="34" y="2"/>
                    <a:pt x="34" y="2"/>
                  </a:cubicBezTo>
                  <a:cubicBezTo>
                    <a:pt x="34" y="1"/>
                    <a:pt x="33" y="0"/>
                    <a:pt x="32" y="0"/>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8" name="Freeform 213"/>
            <p:cNvSpPr>
              <a:spLocks/>
            </p:cNvSpPr>
            <p:nvPr/>
          </p:nvSpPr>
          <p:spPr bwMode="auto">
            <a:xfrm>
              <a:off x="4737101" y="3363913"/>
              <a:ext cx="63500" cy="93663"/>
            </a:xfrm>
            <a:custGeom>
              <a:avLst/>
              <a:gdLst>
                <a:gd name="T0" fmla="*/ 25 w 26"/>
                <a:gd name="T1" fmla="*/ 0 h 38"/>
                <a:gd name="T2" fmla="*/ 2 w 26"/>
                <a:gd name="T3" fmla="*/ 0 h 38"/>
                <a:gd name="T4" fmla="*/ 0 w 26"/>
                <a:gd name="T5" fmla="*/ 2 h 38"/>
                <a:gd name="T6" fmla="*/ 0 w 26"/>
                <a:gd name="T7" fmla="*/ 12 h 38"/>
                <a:gd name="T8" fmla="*/ 0 w 26"/>
                <a:gd name="T9" fmla="*/ 12 h 38"/>
                <a:gd name="T10" fmla="*/ 0 w 26"/>
                <a:gd name="T11" fmla="*/ 18 h 38"/>
                <a:gd name="T12" fmla="*/ 0 w 26"/>
                <a:gd name="T13" fmla="*/ 37 h 38"/>
                <a:gd name="T14" fmla="*/ 2 w 26"/>
                <a:gd name="T15" fmla="*/ 38 h 38"/>
                <a:gd name="T16" fmla="*/ 25 w 26"/>
                <a:gd name="T17" fmla="*/ 38 h 38"/>
                <a:gd name="T18" fmla="*/ 26 w 26"/>
                <a:gd name="T19" fmla="*/ 37 h 38"/>
                <a:gd name="T20" fmla="*/ 26 w 26"/>
                <a:gd name="T21" fmla="*/ 2 h 38"/>
                <a:gd name="T22" fmla="*/ 25 w 26"/>
                <a:gd name="T23"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38">
                  <a:moveTo>
                    <a:pt x="25" y="0"/>
                  </a:moveTo>
                  <a:cubicBezTo>
                    <a:pt x="2" y="0"/>
                    <a:pt x="2" y="0"/>
                    <a:pt x="2" y="0"/>
                  </a:cubicBezTo>
                  <a:cubicBezTo>
                    <a:pt x="1" y="0"/>
                    <a:pt x="0" y="1"/>
                    <a:pt x="0" y="2"/>
                  </a:cubicBezTo>
                  <a:cubicBezTo>
                    <a:pt x="0" y="12"/>
                    <a:pt x="0" y="12"/>
                    <a:pt x="0" y="12"/>
                  </a:cubicBezTo>
                  <a:cubicBezTo>
                    <a:pt x="0" y="12"/>
                    <a:pt x="0" y="12"/>
                    <a:pt x="0" y="12"/>
                  </a:cubicBezTo>
                  <a:cubicBezTo>
                    <a:pt x="0" y="18"/>
                    <a:pt x="0" y="18"/>
                    <a:pt x="0" y="18"/>
                  </a:cubicBezTo>
                  <a:cubicBezTo>
                    <a:pt x="0" y="37"/>
                    <a:pt x="0" y="37"/>
                    <a:pt x="0" y="37"/>
                  </a:cubicBezTo>
                  <a:cubicBezTo>
                    <a:pt x="0" y="38"/>
                    <a:pt x="1" y="38"/>
                    <a:pt x="2" y="38"/>
                  </a:cubicBezTo>
                  <a:cubicBezTo>
                    <a:pt x="25" y="38"/>
                    <a:pt x="25" y="38"/>
                    <a:pt x="25" y="38"/>
                  </a:cubicBezTo>
                  <a:cubicBezTo>
                    <a:pt x="25" y="38"/>
                    <a:pt x="26" y="38"/>
                    <a:pt x="26" y="37"/>
                  </a:cubicBezTo>
                  <a:cubicBezTo>
                    <a:pt x="26" y="2"/>
                    <a:pt x="26" y="2"/>
                    <a:pt x="26" y="2"/>
                  </a:cubicBezTo>
                  <a:cubicBezTo>
                    <a:pt x="26" y="1"/>
                    <a:pt x="25" y="0"/>
                    <a:pt x="25" y="0"/>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9" name="Freeform 214"/>
            <p:cNvSpPr>
              <a:spLocks/>
            </p:cNvSpPr>
            <p:nvPr/>
          </p:nvSpPr>
          <p:spPr bwMode="auto">
            <a:xfrm>
              <a:off x="4778376" y="3408363"/>
              <a:ext cx="44450" cy="66675"/>
            </a:xfrm>
            <a:custGeom>
              <a:avLst/>
              <a:gdLst>
                <a:gd name="T0" fmla="*/ 17 w 18"/>
                <a:gd name="T1" fmla="*/ 0 h 27"/>
                <a:gd name="T2" fmla="*/ 1 w 18"/>
                <a:gd name="T3" fmla="*/ 0 h 27"/>
                <a:gd name="T4" fmla="*/ 0 w 18"/>
                <a:gd name="T5" fmla="*/ 1 h 27"/>
                <a:gd name="T6" fmla="*/ 0 w 18"/>
                <a:gd name="T7" fmla="*/ 8 h 27"/>
                <a:gd name="T8" fmla="*/ 0 w 18"/>
                <a:gd name="T9" fmla="*/ 9 h 27"/>
                <a:gd name="T10" fmla="*/ 0 w 18"/>
                <a:gd name="T11" fmla="*/ 13 h 27"/>
                <a:gd name="T12" fmla="*/ 0 w 18"/>
                <a:gd name="T13" fmla="*/ 26 h 27"/>
                <a:gd name="T14" fmla="*/ 1 w 18"/>
                <a:gd name="T15" fmla="*/ 27 h 27"/>
                <a:gd name="T16" fmla="*/ 17 w 18"/>
                <a:gd name="T17" fmla="*/ 27 h 27"/>
                <a:gd name="T18" fmla="*/ 18 w 18"/>
                <a:gd name="T19" fmla="*/ 26 h 27"/>
                <a:gd name="T20" fmla="*/ 18 w 18"/>
                <a:gd name="T21" fmla="*/ 1 h 27"/>
                <a:gd name="T22" fmla="*/ 17 w 18"/>
                <a:gd name="T23" fmla="*/ 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 h="27">
                  <a:moveTo>
                    <a:pt x="17" y="0"/>
                  </a:moveTo>
                  <a:cubicBezTo>
                    <a:pt x="1" y="0"/>
                    <a:pt x="1" y="0"/>
                    <a:pt x="1" y="0"/>
                  </a:cubicBezTo>
                  <a:cubicBezTo>
                    <a:pt x="0" y="0"/>
                    <a:pt x="0" y="1"/>
                    <a:pt x="0" y="1"/>
                  </a:cubicBezTo>
                  <a:cubicBezTo>
                    <a:pt x="0" y="8"/>
                    <a:pt x="0" y="8"/>
                    <a:pt x="0" y="8"/>
                  </a:cubicBezTo>
                  <a:cubicBezTo>
                    <a:pt x="0" y="9"/>
                    <a:pt x="0" y="9"/>
                    <a:pt x="0" y="9"/>
                  </a:cubicBezTo>
                  <a:cubicBezTo>
                    <a:pt x="0" y="13"/>
                    <a:pt x="0" y="13"/>
                    <a:pt x="0" y="13"/>
                  </a:cubicBezTo>
                  <a:cubicBezTo>
                    <a:pt x="0" y="26"/>
                    <a:pt x="0" y="26"/>
                    <a:pt x="0" y="26"/>
                  </a:cubicBezTo>
                  <a:cubicBezTo>
                    <a:pt x="0" y="27"/>
                    <a:pt x="0" y="27"/>
                    <a:pt x="1" y="27"/>
                  </a:cubicBezTo>
                  <a:cubicBezTo>
                    <a:pt x="17" y="27"/>
                    <a:pt x="17" y="27"/>
                    <a:pt x="17" y="27"/>
                  </a:cubicBezTo>
                  <a:cubicBezTo>
                    <a:pt x="18" y="27"/>
                    <a:pt x="18" y="27"/>
                    <a:pt x="18" y="26"/>
                  </a:cubicBezTo>
                  <a:cubicBezTo>
                    <a:pt x="18" y="1"/>
                    <a:pt x="18" y="1"/>
                    <a:pt x="18" y="1"/>
                  </a:cubicBezTo>
                  <a:cubicBezTo>
                    <a:pt x="18" y="1"/>
                    <a:pt x="18" y="0"/>
                    <a:pt x="17" y="0"/>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0" name="Freeform 215"/>
            <p:cNvSpPr>
              <a:spLocks/>
            </p:cNvSpPr>
            <p:nvPr/>
          </p:nvSpPr>
          <p:spPr bwMode="auto">
            <a:xfrm>
              <a:off x="4481513" y="3232150"/>
              <a:ext cx="165100" cy="241300"/>
            </a:xfrm>
            <a:custGeom>
              <a:avLst/>
              <a:gdLst>
                <a:gd name="T0" fmla="*/ 0 w 67"/>
                <a:gd name="T1" fmla="*/ 45 h 98"/>
                <a:gd name="T2" fmla="*/ 0 w 67"/>
                <a:gd name="T3" fmla="*/ 93 h 98"/>
                <a:gd name="T4" fmla="*/ 5 w 67"/>
                <a:gd name="T5" fmla="*/ 98 h 98"/>
                <a:gd name="T6" fmla="*/ 62 w 67"/>
                <a:gd name="T7" fmla="*/ 98 h 98"/>
                <a:gd name="T8" fmla="*/ 67 w 67"/>
                <a:gd name="T9" fmla="*/ 93 h 98"/>
                <a:gd name="T10" fmla="*/ 67 w 67"/>
                <a:gd name="T11" fmla="*/ 5 h 98"/>
                <a:gd name="T12" fmla="*/ 62 w 67"/>
                <a:gd name="T13" fmla="*/ 0 h 98"/>
                <a:gd name="T14" fmla="*/ 5 w 67"/>
                <a:gd name="T15" fmla="*/ 0 h 98"/>
                <a:gd name="T16" fmla="*/ 0 w 67"/>
                <a:gd name="T17" fmla="*/ 5 h 98"/>
                <a:gd name="T18" fmla="*/ 0 w 67"/>
                <a:gd name="T19" fmla="*/ 31 h 98"/>
                <a:gd name="T20" fmla="*/ 0 w 67"/>
                <a:gd name="T21" fmla="*/ 45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7" h="98">
                  <a:moveTo>
                    <a:pt x="0" y="45"/>
                  </a:moveTo>
                  <a:cubicBezTo>
                    <a:pt x="0" y="93"/>
                    <a:pt x="0" y="93"/>
                    <a:pt x="0" y="93"/>
                  </a:cubicBezTo>
                  <a:cubicBezTo>
                    <a:pt x="0" y="96"/>
                    <a:pt x="2" y="98"/>
                    <a:pt x="5" y="98"/>
                  </a:cubicBezTo>
                  <a:cubicBezTo>
                    <a:pt x="62" y="98"/>
                    <a:pt x="62" y="98"/>
                    <a:pt x="62" y="98"/>
                  </a:cubicBezTo>
                  <a:cubicBezTo>
                    <a:pt x="65" y="98"/>
                    <a:pt x="67" y="96"/>
                    <a:pt x="67" y="93"/>
                  </a:cubicBezTo>
                  <a:cubicBezTo>
                    <a:pt x="67" y="5"/>
                    <a:pt x="67" y="5"/>
                    <a:pt x="67" y="5"/>
                  </a:cubicBezTo>
                  <a:cubicBezTo>
                    <a:pt x="67" y="2"/>
                    <a:pt x="65" y="0"/>
                    <a:pt x="62" y="0"/>
                  </a:cubicBezTo>
                  <a:cubicBezTo>
                    <a:pt x="5" y="0"/>
                    <a:pt x="5" y="0"/>
                    <a:pt x="5" y="0"/>
                  </a:cubicBezTo>
                  <a:cubicBezTo>
                    <a:pt x="2" y="0"/>
                    <a:pt x="0" y="2"/>
                    <a:pt x="0" y="5"/>
                  </a:cubicBezTo>
                  <a:cubicBezTo>
                    <a:pt x="0" y="31"/>
                    <a:pt x="0" y="31"/>
                    <a:pt x="0" y="31"/>
                  </a:cubicBezTo>
                  <a:lnTo>
                    <a:pt x="0" y="45"/>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 name="Rectangle 216"/>
            <p:cNvSpPr>
              <a:spLocks noChangeArrowheads="1"/>
            </p:cNvSpPr>
            <p:nvPr/>
          </p:nvSpPr>
          <p:spPr bwMode="auto">
            <a:xfrm>
              <a:off x="4498976" y="3249613"/>
              <a:ext cx="130175" cy="20637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2" name="Rectangle 217"/>
            <p:cNvSpPr>
              <a:spLocks noChangeArrowheads="1"/>
            </p:cNvSpPr>
            <p:nvPr/>
          </p:nvSpPr>
          <p:spPr bwMode="auto">
            <a:xfrm>
              <a:off x="4511676" y="3276600"/>
              <a:ext cx="68263" cy="6667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3" name="Rectangle 218"/>
            <p:cNvSpPr>
              <a:spLocks noChangeArrowheads="1"/>
            </p:cNvSpPr>
            <p:nvPr/>
          </p:nvSpPr>
          <p:spPr bwMode="auto">
            <a:xfrm>
              <a:off x="4587876" y="3276600"/>
              <a:ext cx="28575" cy="2857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4" name="Rectangle 219"/>
            <p:cNvSpPr>
              <a:spLocks noChangeArrowheads="1"/>
            </p:cNvSpPr>
            <p:nvPr/>
          </p:nvSpPr>
          <p:spPr bwMode="auto">
            <a:xfrm>
              <a:off x="4511676" y="3349625"/>
              <a:ext cx="28575" cy="3175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5" name="Rectangle 220"/>
            <p:cNvSpPr>
              <a:spLocks noChangeArrowheads="1"/>
            </p:cNvSpPr>
            <p:nvPr/>
          </p:nvSpPr>
          <p:spPr bwMode="auto">
            <a:xfrm>
              <a:off x="4548188" y="3349625"/>
              <a:ext cx="31750" cy="3175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6" name="Rectangle 221"/>
            <p:cNvSpPr>
              <a:spLocks noChangeArrowheads="1"/>
            </p:cNvSpPr>
            <p:nvPr/>
          </p:nvSpPr>
          <p:spPr bwMode="auto">
            <a:xfrm>
              <a:off x="4587876" y="3349625"/>
              <a:ext cx="28575" cy="3175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7" name="Rectangle 222"/>
            <p:cNvSpPr>
              <a:spLocks noChangeArrowheads="1"/>
            </p:cNvSpPr>
            <p:nvPr/>
          </p:nvSpPr>
          <p:spPr bwMode="auto">
            <a:xfrm>
              <a:off x="4511676" y="3389313"/>
              <a:ext cx="28575" cy="30163"/>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8" name="Rectangle 223"/>
            <p:cNvSpPr>
              <a:spLocks noChangeArrowheads="1"/>
            </p:cNvSpPr>
            <p:nvPr/>
          </p:nvSpPr>
          <p:spPr bwMode="auto">
            <a:xfrm>
              <a:off x="4548188" y="3389313"/>
              <a:ext cx="31750" cy="30163"/>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9" name="Rectangle 224"/>
            <p:cNvSpPr>
              <a:spLocks noChangeArrowheads="1"/>
            </p:cNvSpPr>
            <p:nvPr/>
          </p:nvSpPr>
          <p:spPr bwMode="auto">
            <a:xfrm>
              <a:off x="4587876" y="3389313"/>
              <a:ext cx="28575" cy="30163"/>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0" name="Rectangle 225"/>
            <p:cNvSpPr>
              <a:spLocks noChangeArrowheads="1"/>
            </p:cNvSpPr>
            <p:nvPr/>
          </p:nvSpPr>
          <p:spPr bwMode="auto">
            <a:xfrm>
              <a:off x="4511676" y="3425825"/>
              <a:ext cx="104775" cy="3175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1" name="Rectangle 226"/>
            <p:cNvSpPr>
              <a:spLocks noChangeArrowheads="1"/>
            </p:cNvSpPr>
            <p:nvPr/>
          </p:nvSpPr>
          <p:spPr bwMode="auto">
            <a:xfrm>
              <a:off x="4587876" y="3313113"/>
              <a:ext cx="28575" cy="30163"/>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2" name="Freeform 227"/>
            <p:cNvSpPr>
              <a:spLocks/>
            </p:cNvSpPr>
            <p:nvPr/>
          </p:nvSpPr>
          <p:spPr bwMode="auto">
            <a:xfrm>
              <a:off x="4354513" y="3316288"/>
              <a:ext cx="100013" cy="146050"/>
            </a:xfrm>
            <a:custGeom>
              <a:avLst/>
              <a:gdLst>
                <a:gd name="T0" fmla="*/ 0 w 41"/>
                <a:gd name="T1" fmla="*/ 27 h 60"/>
                <a:gd name="T2" fmla="*/ 0 w 41"/>
                <a:gd name="T3" fmla="*/ 57 h 60"/>
                <a:gd name="T4" fmla="*/ 3 w 41"/>
                <a:gd name="T5" fmla="*/ 60 h 60"/>
                <a:gd name="T6" fmla="*/ 39 w 41"/>
                <a:gd name="T7" fmla="*/ 60 h 60"/>
                <a:gd name="T8" fmla="*/ 41 w 41"/>
                <a:gd name="T9" fmla="*/ 57 h 60"/>
                <a:gd name="T10" fmla="*/ 41 w 41"/>
                <a:gd name="T11" fmla="*/ 2 h 60"/>
                <a:gd name="T12" fmla="*/ 39 w 41"/>
                <a:gd name="T13" fmla="*/ 0 h 60"/>
                <a:gd name="T14" fmla="*/ 3 w 41"/>
                <a:gd name="T15" fmla="*/ 0 h 60"/>
                <a:gd name="T16" fmla="*/ 0 w 41"/>
                <a:gd name="T17" fmla="*/ 2 h 60"/>
                <a:gd name="T18" fmla="*/ 0 w 41"/>
                <a:gd name="T19" fmla="*/ 19 h 60"/>
                <a:gd name="T20" fmla="*/ 0 w 41"/>
                <a:gd name="T21" fmla="*/ 27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1" h="60">
                  <a:moveTo>
                    <a:pt x="0" y="27"/>
                  </a:moveTo>
                  <a:cubicBezTo>
                    <a:pt x="0" y="57"/>
                    <a:pt x="0" y="57"/>
                    <a:pt x="0" y="57"/>
                  </a:cubicBezTo>
                  <a:cubicBezTo>
                    <a:pt x="0" y="59"/>
                    <a:pt x="2" y="60"/>
                    <a:pt x="3" y="60"/>
                  </a:cubicBezTo>
                  <a:cubicBezTo>
                    <a:pt x="39" y="60"/>
                    <a:pt x="39" y="60"/>
                    <a:pt x="39" y="60"/>
                  </a:cubicBezTo>
                  <a:cubicBezTo>
                    <a:pt x="40" y="60"/>
                    <a:pt x="41" y="59"/>
                    <a:pt x="41" y="57"/>
                  </a:cubicBezTo>
                  <a:cubicBezTo>
                    <a:pt x="41" y="2"/>
                    <a:pt x="41" y="2"/>
                    <a:pt x="41" y="2"/>
                  </a:cubicBezTo>
                  <a:cubicBezTo>
                    <a:pt x="41" y="1"/>
                    <a:pt x="40" y="0"/>
                    <a:pt x="39" y="0"/>
                  </a:cubicBezTo>
                  <a:cubicBezTo>
                    <a:pt x="3" y="0"/>
                    <a:pt x="3" y="0"/>
                    <a:pt x="3" y="0"/>
                  </a:cubicBezTo>
                  <a:cubicBezTo>
                    <a:pt x="2" y="0"/>
                    <a:pt x="0" y="1"/>
                    <a:pt x="0" y="2"/>
                  </a:cubicBezTo>
                  <a:cubicBezTo>
                    <a:pt x="0" y="19"/>
                    <a:pt x="0" y="19"/>
                    <a:pt x="0" y="19"/>
                  </a:cubicBezTo>
                  <a:lnTo>
                    <a:pt x="0" y="2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3" name="Rectangle 228"/>
            <p:cNvSpPr>
              <a:spLocks noChangeArrowheads="1"/>
            </p:cNvSpPr>
            <p:nvPr/>
          </p:nvSpPr>
          <p:spPr bwMode="auto">
            <a:xfrm>
              <a:off x="4364038" y="3325813"/>
              <a:ext cx="84138" cy="127000"/>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4" name="Rectangle 229"/>
            <p:cNvSpPr>
              <a:spLocks noChangeArrowheads="1"/>
            </p:cNvSpPr>
            <p:nvPr/>
          </p:nvSpPr>
          <p:spPr bwMode="auto">
            <a:xfrm>
              <a:off x="4373563" y="3340100"/>
              <a:ext cx="41275" cy="4127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5" name="Rectangle 230"/>
            <p:cNvSpPr>
              <a:spLocks noChangeArrowheads="1"/>
            </p:cNvSpPr>
            <p:nvPr/>
          </p:nvSpPr>
          <p:spPr bwMode="auto">
            <a:xfrm>
              <a:off x="4421188" y="3340100"/>
              <a:ext cx="15875" cy="1905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6" name="Rectangle 231"/>
            <p:cNvSpPr>
              <a:spLocks noChangeArrowheads="1"/>
            </p:cNvSpPr>
            <p:nvPr/>
          </p:nvSpPr>
          <p:spPr bwMode="auto">
            <a:xfrm>
              <a:off x="4373563" y="3386138"/>
              <a:ext cx="17463" cy="206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7" name="Rectangle 232"/>
            <p:cNvSpPr>
              <a:spLocks noChangeArrowheads="1"/>
            </p:cNvSpPr>
            <p:nvPr/>
          </p:nvSpPr>
          <p:spPr bwMode="auto">
            <a:xfrm>
              <a:off x="4395788" y="3386138"/>
              <a:ext cx="19050" cy="206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8" name="Rectangle 233"/>
            <p:cNvSpPr>
              <a:spLocks noChangeArrowheads="1"/>
            </p:cNvSpPr>
            <p:nvPr/>
          </p:nvSpPr>
          <p:spPr bwMode="auto">
            <a:xfrm>
              <a:off x="4421188" y="3386138"/>
              <a:ext cx="15875" cy="206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9" name="Rectangle 234"/>
            <p:cNvSpPr>
              <a:spLocks noChangeArrowheads="1"/>
            </p:cNvSpPr>
            <p:nvPr/>
          </p:nvSpPr>
          <p:spPr bwMode="auto">
            <a:xfrm>
              <a:off x="4373563" y="3411538"/>
              <a:ext cx="17463" cy="17463"/>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0" name="Rectangle 235"/>
            <p:cNvSpPr>
              <a:spLocks noChangeArrowheads="1"/>
            </p:cNvSpPr>
            <p:nvPr/>
          </p:nvSpPr>
          <p:spPr bwMode="auto">
            <a:xfrm>
              <a:off x="4395788" y="3411538"/>
              <a:ext cx="19050" cy="17463"/>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1" name="Rectangle 236"/>
            <p:cNvSpPr>
              <a:spLocks noChangeArrowheads="1"/>
            </p:cNvSpPr>
            <p:nvPr/>
          </p:nvSpPr>
          <p:spPr bwMode="auto">
            <a:xfrm>
              <a:off x="4421188" y="3411538"/>
              <a:ext cx="15875" cy="17463"/>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2" name="Rectangle 237"/>
            <p:cNvSpPr>
              <a:spLocks noChangeArrowheads="1"/>
            </p:cNvSpPr>
            <p:nvPr/>
          </p:nvSpPr>
          <p:spPr bwMode="auto">
            <a:xfrm>
              <a:off x="4373563" y="3433763"/>
              <a:ext cx="63500" cy="2222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3" name="Rectangle 238"/>
            <p:cNvSpPr>
              <a:spLocks noChangeArrowheads="1"/>
            </p:cNvSpPr>
            <p:nvPr/>
          </p:nvSpPr>
          <p:spPr bwMode="auto">
            <a:xfrm>
              <a:off x="4421188" y="3363913"/>
              <a:ext cx="15875" cy="17463"/>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4" name="Freeform 239"/>
            <p:cNvSpPr>
              <a:spLocks/>
            </p:cNvSpPr>
            <p:nvPr/>
          </p:nvSpPr>
          <p:spPr bwMode="auto">
            <a:xfrm>
              <a:off x="4081463" y="3425825"/>
              <a:ext cx="727075" cy="503238"/>
            </a:xfrm>
            <a:custGeom>
              <a:avLst/>
              <a:gdLst>
                <a:gd name="T0" fmla="*/ 291 w 296"/>
                <a:gd name="T1" fmla="*/ 205 h 205"/>
                <a:gd name="T2" fmla="*/ 296 w 296"/>
                <a:gd name="T3" fmla="*/ 199 h 205"/>
                <a:gd name="T4" fmla="*/ 296 w 296"/>
                <a:gd name="T5" fmla="*/ 6 h 205"/>
                <a:gd name="T6" fmla="*/ 291 w 296"/>
                <a:gd name="T7" fmla="*/ 0 h 205"/>
                <a:gd name="T8" fmla="*/ 6 w 296"/>
                <a:gd name="T9" fmla="*/ 0 h 205"/>
                <a:gd name="T10" fmla="*/ 0 w 296"/>
                <a:gd name="T11" fmla="*/ 6 h 205"/>
                <a:gd name="T12" fmla="*/ 0 w 296"/>
                <a:gd name="T13" fmla="*/ 199 h 205"/>
                <a:gd name="T14" fmla="*/ 6 w 296"/>
                <a:gd name="T15" fmla="*/ 205 h 205"/>
                <a:gd name="T16" fmla="*/ 291 w 296"/>
                <a:gd name="T17" fmla="*/ 205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6" h="205">
                  <a:moveTo>
                    <a:pt x="291" y="205"/>
                  </a:moveTo>
                  <a:cubicBezTo>
                    <a:pt x="294" y="205"/>
                    <a:pt x="296" y="203"/>
                    <a:pt x="296" y="199"/>
                  </a:cubicBezTo>
                  <a:cubicBezTo>
                    <a:pt x="296" y="6"/>
                    <a:pt x="296" y="6"/>
                    <a:pt x="296" y="6"/>
                  </a:cubicBezTo>
                  <a:cubicBezTo>
                    <a:pt x="296" y="2"/>
                    <a:pt x="294" y="0"/>
                    <a:pt x="291" y="0"/>
                  </a:cubicBezTo>
                  <a:cubicBezTo>
                    <a:pt x="6" y="0"/>
                    <a:pt x="6" y="0"/>
                    <a:pt x="6" y="0"/>
                  </a:cubicBezTo>
                  <a:cubicBezTo>
                    <a:pt x="3" y="0"/>
                    <a:pt x="0" y="2"/>
                    <a:pt x="0" y="6"/>
                  </a:cubicBezTo>
                  <a:cubicBezTo>
                    <a:pt x="0" y="199"/>
                    <a:pt x="0" y="199"/>
                    <a:pt x="0" y="199"/>
                  </a:cubicBezTo>
                  <a:cubicBezTo>
                    <a:pt x="0" y="203"/>
                    <a:pt x="3" y="205"/>
                    <a:pt x="6" y="205"/>
                  </a:cubicBezTo>
                  <a:lnTo>
                    <a:pt x="291" y="205"/>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5" name="Rectangle 240"/>
            <p:cNvSpPr>
              <a:spLocks noChangeArrowheads="1"/>
            </p:cNvSpPr>
            <p:nvPr/>
          </p:nvSpPr>
          <p:spPr bwMode="auto">
            <a:xfrm>
              <a:off x="4111626" y="3452813"/>
              <a:ext cx="669925" cy="37147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6" name="Freeform 241"/>
            <p:cNvSpPr>
              <a:spLocks/>
            </p:cNvSpPr>
            <p:nvPr/>
          </p:nvSpPr>
          <p:spPr bwMode="auto">
            <a:xfrm>
              <a:off x="3738563" y="3500438"/>
              <a:ext cx="211138" cy="306388"/>
            </a:xfrm>
            <a:custGeom>
              <a:avLst/>
              <a:gdLst>
                <a:gd name="T0" fmla="*/ 0 w 86"/>
                <a:gd name="T1" fmla="*/ 58 h 125"/>
                <a:gd name="T2" fmla="*/ 0 w 86"/>
                <a:gd name="T3" fmla="*/ 120 h 125"/>
                <a:gd name="T4" fmla="*/ 5 w 86"/>
                <a:gd name="T5" fmla="*/ 125 h 125"/>
                <a:gd name="T6" fmla="*/ 80 w 86"/>
                <a:gd name="T7" fmla="*/ 125 h 125"/>
                <a:gd name="T8" fmla="*/ 86 w 86"/>
                <a:gd name="T9" fmla="*/ 120 h 125"/>
                <a:gd name="T10" fmla="*/ 86 w 86"/>
                <a:gd name="T11" fmla="*/ 5 h 125"/>
                <a:gd name="T12" fmla="*/ 80 w 86"/>
                <a:gd name="T13" fmla="*/ 0 h 125"/>
                <a:gd name="T14" fmla="*/ 5 w 86"/>
                <a:gd name="T15" fmla="*/ 0 h 125"/>
                <a:gd name="T16" fmla="*/ 0 w 86"/>
                <a:gd name="T17" fmla="*/ 5 h 125"/>
                <a:gd name="T18" fmla="*/ 0 w 86"/>
                <a:gd name="T19" fmla="*/ 39 h 125"/>
                <a:gd name="T20" fmla="*/ 0 w 86"/>
                <a:gd name="T21" fmla="*/ 58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25">
                  <a:moveTo>
                    <a:pt x="0" y="58"/>
                  </a:moveTo>
                  <a:cubicBezTo>
                    <a:pt x="0" y="120"/>
                    <a:pt x="0" y="120"/>
                    <a:pt x="0" y="120"/>
                  </a:cubicBezTo>
                  <a:cubicBezTo>
                    <a:pt x="0" y="123"/>
                    <a:pt x="2" y="125"/>
                    <a:pt x="5" y="125"/>
                  </a:cubicBezTo>
                  <a:cubicBezTo>
                    <a:pt x="80" y="125"/>
                    <a:pt x="80" y="125"/>
                    <a:pt x="80" y="125"/>
                  </a:cubicBezTo>
                  <a:cubicBezTo>
                    <a:pt x="83" y="125"/>
                    <a:pt x="86" y="123"/>
                    <a:pt x="86" y="120"/>
                  </a:cubicBezTo>
                  <a:cubicBezTo>
                    <a:pt x="86" y="5"/>
                    <a:pt x="86" y="5"/>
                    <a:pt x="86" y="5"/>
                  </a:cubicBezTo>
                  <a:cubicBezTo>
                    <a:pt x="86" y="2"/>
                    <a:pt x="83" y="0"/>
                    <a:pt x="80" y="0"/>
                  </a:cubicBezTo>
                  <a:cubicBezTo>
                    <a:pt x="5" y="0"/>
                    <a:pt x="5" y="0"/>
                    <a:pt x="5" y="0"/>
                  </a:cubicBezTo>
                  <a:cubicBezTo>
                    <a:pt x="2" y="0"/>
                    <a:pt x="0" y="2"/>
                    <a:pt x="0" y="5"/>
                  </a:cubicBezTo>
                  <a:cubicBezTo>
                    <a:pt x="0" y="39"/>
                    <a:pt x="0" y="39"/>
                    <a:pt x="0" y="39"/>
                  </a:cubicBezTo>
                  <a:lnTo>
                    <a:pt x="0" y="58"/>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7" name="Rectangle 242"/>
            <p:cNvSpPr>
              <a:spLocks noChangeArrowheads="1"/>
            </p:cNvSpPr>
            <p:nvPr/>
          </p:nvSpPr>
          <p:spPr bwMode="auto">
            <a:xfrm>
              <a:off x="3757613" y="3519488"/>
              <a:ext cx="171450" cy="26828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8" name="Rectangle 243"/>
            <p:cNvSpPr>
              <a:spLocks noChangeArrowheads="1"/>
            </p:cNvSpPr>
            <p:nvPr/>
          </p:nvSpPr>
          <p:spPr bwMode="auto">
            <a:xfrm>
              <a:off x="3775076" y="3554413"/>
              <a:ext cx="88900" cy="87313"/>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9" name="Rectangle 244"/>
            <p:cNvSpPr>
              <a:spLocks noChangeArrowheads="1"/>
            </p:cNvSpPr>
            <p:nvPr/>
          </p:nvSpPr>
          <p:spPr bwMode="auto">
            <a:xfrm>
              <a:off x="3873501" y="3554413"/>
              <a:ext cx="38100" cy="3810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0" name="Rectangle 245"/>
            <p:cNvSpPr>
              <a:spLocks noChangeArrowheads="1"/>
            </p:cNvSpPr>
            <p:nvPr/>
          </p:nvSpPr>
          <p:spPr bwMode="auto">
            <a:xfrm>
              <a:off x="3775076" y="3649663"/>
              <a:ext cx="39688" cy="39688"/>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1" name="Rectangle 246"/>
            <p:cNvSpPr>
              <a:spLocks noChangeArrowheads="1"/>
            </p:cNvSpPr>
            <p:nvPr/>
          </p:nvSpPr>
          <p:spPr bwMode="auto">
            <a:xfrm>
              <a:off x="3824288" y="3649663"/>
              <a:ext cx="39688" cy="39688"/>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2" name="Rectangle 247"/>
            <p:cNvSpPr>
              <a:spLocks noChangeArrowheads="1"/>
            </p:cNvSpPr>
            <p:nvPr/>
          </p:nvSpPr>
          <p:spPr bwMode="auto">
            <a:xfrm>
              <a:off x="3873501" y="3649663"/>
              <a:ext cx="38100" cy="39688"/>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3" name="Rectangle 248"/>
            <p:cNvSpPr>
              <a:spLocks noChangeArrowheads="1"/>
            </p:cNvSpPr>
            <p:nvPr/>
          </p:nvSpPr>
          <p:spPr bwMode="auto">
            <a:xfrm>
              <a:off x="3775076" y="3698875"/>
              <a:ext cx="39688" cy="39688"/>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4" name="Rectangle 249"/>
            <p:cNvSpPr>
              <a:spLocks noChangeArrowheads="1"/>
            </p:cNvSpPr>
            <p:nvPr/>
          </p:nvSpPr>
          <p:spPr bwMode="auto">
            <a:xfrm>
              <a:off x="3824288" y="3698875"/>
              <a:ext cx="39688" cy="39688"/>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5" name="Rectangle 250"/>
            <p:cNvSpPr>
              <a:spLocks noChangeArrowheads="1"/>
            </p:cNvSpPr>
            <p:nvPr/>
          </p:nvSpPr>
          <p:spPr bwMode="auto">
            <a:xfrm>
              <a:off x="3873501" y="3698875"/>
              <a:ext cx="38100" cy="39688"/>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6" name="Rectangle 251"/>
            <p:cNvSpPr>
              <a:spLocks noChangeArrowheads="1"/>
            </p:cNvSpPr>
            <p:nvPr/>
          </p:nvSpPr>
          <p:spPr bwMode="auto">
            <a:xfrm>
              <a:off x="3775076" y="3748088"/>
              <a:ext cx="136525" cy="39688"/>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7" name="Rectangle 252"/>
            <p:cNvSpPr>
              <a:spLocks noChangeArrowheads="1"/>
            </p:cNvSpPr>
            <p:nvPr/>
          </p:nvSpPr>
          <p:spPr bwMode="auto">
            <a:xfrm>
              <a:off x="3873501" y="3603625"/>
              <a:ext cx="38100" cy="3810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8" name="Freeform 253"/>
            <p:cNvSpPr>
              <a:spLocks/>
            </p:cNvSpPr>
            <p:nvPr/>
          </p:nvSpPr>
          <p:spPr bwMode="auto">
            <a:xfrm>
              <a:off x="4310063" y="3546475"/>
              <a:ext cx="268288" cy="387350"/>
            </a:xfrm>
            <a:custGeom>
              <a:avLst/>
              <a:gdLst>
                <a:gd name="T0" fmla="*/ 0 w 109"/>
                <a:gd name="T1" fmla="*/ 73 h 158"/>
                <a:gd name="T2" fmla="*/ 0 w 109"/>
                <a:gd name="T3" fmla="*/ 151 h 158"/>
                <a:gd name="T4" fmla="*/ 7 w 109"/>
                <a:gd name="T5" fmla="*/ 158 h 158"/>
                <a:gd name="T6" fmla="*/ 102 w 109"/>
                <a:gd name="T7" fmla="*/ 158 h 158"/>
                <a:gd name="T8" fmla="*/ 109 w 109"/>
                <a:gd name="T9" fmla="*/ 151 h 158"/>
                <a:gd name="T10" fmla="*/ 109 w 109"/>
                <a:gd name="T11" fmla="*/ 7 h 158"/>
                <a:gd name="T12" fmla="*/ 102 w 109"/>
                <a:gd name="T13" fmla="*/ 0 h 158"/>
                <a:gd name="T14" fmla="*/ 7 w 109"/>
                <a:gd name="T15" fmla="*/ 0 h 158"/>
                <a:gd name="T16" fmla="*/ 0 w 109"/>
                <a:gd name="T17" fmla="*/ 7 h 158"/>
                <a:gd name="T18" fmla="*/ 0 w 109"/>
                <a:gd name="T19" fmla="*/ 50 h 158"/>
                <a:gd name="T20" fmla="*/ 0 w 109"/>
                <a:gd name="T21" fmla="*/ 73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9" h="158">
                  <a:moveTo>
                    <a:pt x="0" y="73"/>
                  </a:moveTo>
                  <a:cubicBezTo>
                    <a:pt x="0" y="151"/>
                    <a:pt x="0" y="151"/>
                    <a:pt x="0" y="151"/>
                  </a:cubicBezTo>
                  <a:cubicBezTo>
                    <a:pt x="0" y="155"/>
                    <a:pt x="3" y="158"/>
                    <a:pt x="7" y="158"/>
                  </a:cubicBezTo>
                  <a:cubicBezTo>
                    <a:pt x="102" y="158"/>
                    <a:pt x="102" y="158"/>
                    <a:pt x="102" y="158"/>
                  </a:cubicBezTo>
                  <a:cubicBezTo>
                    <a:pt x="106" y="158"/>
                    <a:pt x="109" y="155"/>
                    <a:pt x="109" y="151"/>
                  </a:cubicBezTo>
                  <a:cubicBezTo>
                    <a:pt x="109" y="7"/>
                    <a:pt x="109" y="7"/>
                    <a:pt x="109" y="7"/>
                  </a:cubicBezTo>
                  <a:cubicBezTo>
                    <a:pt x="109" y="3"/>
                    <a:pt x="106" y="0"/>
                    <a:pt x="102" y="0"/>
                  </a:cubicBezTo>
                  <a:cubicBezTo>
                    <a:pt x="7" y="0"/>
                    <a:pt x="7" y="0"/>
                    <a:pt x="7" y="0"/>
                  </a:cubicBezTo>
                  <a:cubicBezTo>
                    <a:pt x="3" y="0"/>
                    <a:pt x="0" y="3"/>
                    <a:pt x="0" y="7"/>
                  </a:cubicBezTo>
                  <a:cubicBezTo>
                    <a:pt x="0" y="50"/>
                    <a:pt x="0" y="50"/>
                    <a:pt x="0" y="50"/>
                  </a:cubicBezTo>
                  <a:lnTo>
                    <a:pt x="0" y="73"/>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9" name="Rectangle 254"/>
            <p:cNvSpPr>
              <a:spLocks noChangeArrowheads="1"/>
            </p:cNvSpPr>
            <p:nvPr/>
          </p:nvSpPr>
          <p:spPr bwMode="auto">
            <a:xfrm>
              <a:off x="4333876" y="3570288"/>
              <a:ext cx="217488" cy="33972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0" name="Rectangle 255"/>
            <p:cNvSpPr>
              <a:spLocks noChangeArrowheads="1"/>
            </p:cNvSpPr>
            <p:nvPr/>
          </p:nvSpPr>
          <p:spPr bwMode="auto">
            <a:xfrm>
              <a:off x="4356101" y="3614738"/>
              <a:ext cx="112713" cy="111125"/>
            </a:xfrm>
            <a:prstGeom prst="rect">
              <a:avLst/>
            </a:prstGeom>
            <a:solidFill>
              <a:srgbClr val="44235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1" name="Rectangle 256"/>
            <p:cNvSpPr>
              <a:spLocks noChangeArrowheads="1"/>
            </p:cNvSpPr>
            <p:nvPr/>
          </p:nvSpPr>
          <p:spPr bwMode="auto">
            <a:xfrm>
              <a:off x="4479926" y="3614738"/>
              <a:ext cx="50800" cy="49213"/>
            </a:xfrm>
            <a:prstGeom prst="rect">
              <a:avLst/>
            </a:prstGeom>
            <a:solidFill>
              <a:srgbClr val="44235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2" name="Rectangle 257"/>
            <p:cNvSpPr>
              <a:spLocks noChangeArrowheads="1"/>
            </p:cNvSpPr>
            <p:nvPr/>
          </p:nvSpPr>
          <p:spPr bwMode="auto">
            <a:xfrm>
              <a:off x="4356101" y="3738563"/>
              <a:ext cx="52388" cy="49213"/>
            </a:xfrm>
            <a:prstGeom prst="rect">
              <a:avLst/>
            </a:prstGeom>
            <a:solidFill>
              <a:srgbClr val="44235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3" name="Rectangle 258"/>
            <p:cNvSpPr>
              <a:spLocks noChangeArrowheads="1"/>
            </p:cNvSpPr>
            <p:nvPr/>
          </p:nvSpPr>
          <p:spPr bwMode="auto">
            <a:xfrm>
              <a:off x="4418013" y="3738563"/>
              <a:ext cx="50800" cy="49213"/>
            </a:xfrm>
            <a:prstGeom prst="rect">
              <a:avLst/>
            </a:prstGeom>
            <a:solidFill>
              <a:srgbClr val="44235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4" name="Rectangle 259"/>
            <p:cNvSpPr>
              <a:spLocks noChangeArrowheads="1"/>
            </p:cNvSpPr>
            <p:nvPr/>
          </p:nvSpPr>
          <p:spPr bwMode="auto">
            <a:xfrm>
              <a:off x="4479926" y="3738563"/>
              <a:ext cx="50800" cy="49213"/>
            </a:xfrm>
            <a:prstGeom prst="rect">
              <a:avLst/>
            </a:prstGeom>
            <a:solidFill>
              <a:srgbClr val="44235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5" name="Rectangle 260"/>
            <p:cNvSpPr>
              <a:spLocks noChangeArrowheads="1"/>
            </p:cNvSpPr>
            <p:nvPr/>
          </p:nvSpPr>
          <p:spPr bwMode="auto">
            <a:xfrm>
              <a:off x="4356101" y="3798888"/>
              <a:ext cx="52388" cy="49213"/>
            </a:xfrm>
            <a:prstGeom prst="rect">
              <a:avLst/>
            </a:prstGeom>
            <a:solidFill>
              <a:srgbClr val="44235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6" name="Rectangle 261"/>
            <p:cNvSpPr>
              <a:spLocks noChangeArrowheads="1"/>
            </p:cNvSpPr>
            <p:nvPr/>
          </p:nvSpPr>
          <p:spPr bwMode="auto">
            <a:xfrm>
              <a:off x="4418013" y="3798888"/>
              <a:ext cx="50800" cy="49213"/>
            </a:xfrm>
            <a:prstGeom prst="rect">
              <a:avLst/>
            </a:prstGeom>
            <a:solidFill>
              <a:srgbClr val="44235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7" name="Rectangle 262"/>
            <p:cNvSpPr>
              <a:spLocks noChangeArrowheads="1"/>
            </p:cNvSpPr>
            <p:nvPr/>
          </p:nvSpPr>
          <p:spPr bwMode="auto">
            <a:xfrm>
              <a:off x="4479926" y="3798888"/>
              <a:ext cx="50800" cy="49213"/>
            </a:xfrm>
            <a:prstGeom prst="rect">
              <a:avLst/>
            </a:prstGeom>
            <a:solidFill>
              <a:srgbClr val="44235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8" name="Rectangle 263"/>
            <p:cNvSpPr>
              <a:spLocks noChangeArrowheads="1"/>
            </p:cNvSpPr>
            <p:nvPr/>
          </p:nvSpPr>
          <p:spPr bwMode="auto">
            <a:xfrm>
              <a:off x="4356101" y="3860800"/>
              <a:ext cx="174625" cy="49213"/>
            </a:xfrm>
            <a:prstGeom prst="rect">
              <a:avLst/>
            </a:prstGeom>
            <a:solidFill>
              <a:srgbClr val="44235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9" name="Rectangle 264"/>
            <p:cNvSpPr>
              <a:spLocks noChangeArrowheads="1"/>
            </p:cNvSpPr>
            <p:nvPr/>
          </p:nvSpPr>
          <p:spPr bwMode="auto">
            <a:xfrm>
              <a:off x="4479926" y="3676650"/>
              <a:ext cx="50800" cy="49213"/>
            </a:xfrm>
            <a:prstGeom prst="rect">
              <a:avLst/>
            </a:prstGeom>
            <a:solidFill>
              <a:srgbClr val="44235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2" name="Freeform 267"/>
            <p:cNvSpPr>
              <a:spLocks/>
            </p:cNvSpPr>
            <p:nvPr/>
          </p:nvSpPr>
          <p:spPr bwMode="auto">
            <a:xfrm>
              <a:off x="3919538" y="3519488"/>
              <a:ext cx="300038" cy="434975"/>
            </a:xfrm>
            <a:custGeom>
              <a:avLst/>
              <a:gdLst>
                <a:gd name="T0" fmla="*/ 0 w 122"/>
                <a:gd name="T1" fmla="*/ 82 h 177"/>
                <a:gd name="T2" fmla="*/ 0 w 122"/>
                <a:gd name="T3" fmla="*/ 170 h 177"/>
                <a:gd name="T4" fmla="*/ 8 w 122"/>
                <a:gd name="T5" fmla="*/ 177 h 177"/>
                <a:gd name="T6" fmla="*/ 114 w 122"/>
                <a:gd name="T7" fmla="*/ 177 h 177"/>
                <a:gd name="T8" fmla="*/ 122 w 122"/>
                <a:gd name="T9" fmla="*/ 170 h 177"/>
                <a:gd name="T10" fmla="*/ 122 w 122"/>
                <a:gd name="T11" fmla="*/ 8 h 177"/>
                <a:gd name="T12" fmla="*/ 114 w 122"/>
                <a:gd name="T13" fmla="*/ 0 h 177"/>
                <a:gd name="T14" fmla="*/ 8 w 122"/>
                <a:gd name="T15" fmla="*/ 0 h 177"/>
                <a:gd name="T16" fmla="*/ 0 w 122"/>
                <a:gd name="T17" fmla="*/ 8 h 177"/>
                <a:gd name="T18" fmla="*/ 0 w 122"/>
                <a:gd name="T19" fmla="*/ 56 h 177"/>
                <a:gd name="T20" fmla="*/ 0 w 122"/>
                <a:gd name="T21" fmla="*/ 82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2" h="177">
                  <a:moveTo>
                    <a:pt x="0" y="82"/>
                  </a:moveTo>
                  <a:cubicBezTo>
                    <a:pt x="0" y="170"/>
                    <a:pt x="0" y="170"/>
                    <a:pt x="0" y="170"/>
                  </a:cubicBezTo>
                  <a:cubicBezTo>
                    <a:pt x="0" y="174"/>
                    <a:pt x="4" y="177"/>
                    <a:pt x="8" y="177"/>
                  </a:cubicBezTo>
                  <a:cubicBezTo>
                    <a:pt x="114" y="177"/>
                    <a:pt x="114" y="177"/>
                    <a:pt x="114" y="177"/>
                  </a:cubicBezTo>
                  <a:cubicBezTo>
                    <a:pt x="118" y="177"/>
                    <a:pt x="122" y="174"/>
                    <a:pt x="122" y="170"/>
                  </a:cubicBezTo>
                  <a:cubicBezTo>
                    <a:pt x="122" y="8"/>
                    <a:pt x="122" y="8"/>
                    <a:pt x="122" y="8"/>
                  </a:cubicBezTo>
                  <a:cubicBezTo>
                    <a:pt x="122" y="3"/>
                    <a:pt x="118" y="0"/>
                    <a:pt x="114" y="0"/>
                  </a:cubicBezTo>
                  <a:cubicBezTo>
                    <a:pt x="8" y="0"/>
                    <a:pt x="8" y="0"/>
                    <a:pt x="8" y="0"/>
                  </a:cubicBezTo>
                  <a:cubicBezTo>
                    <a:pt x="4" y="0"/>
                    <a:pt x="0" y="3"/>
                    <a:pt x="0" y="8"/>
                  </a:cubicBezTo>
                  <a:cubicBezTo>
                    <a:pt x="0" y="56"/>
                    <a:pt x="0" y="56"/>
                    <a:pt x="0" y="56"/>
                  </a:cubicBezTo>
                  <a:lnTo>
                    <a:pt x="0" y="82"/>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3" name="Rectangle 268"/>
            <p:cNvSpPr>
              <a:spLocks noChangeArrowheads="1"/>
            </p:cNvSpPr>
            <p:nvPr/>
          </p:nvSpPr>
          <p:spPr bwMode="auto">
            <a:xfrm>
              <a:off x="3949701" y="3548063"/>
              <a:ext cx="239713" cy="37941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4" name="Rectangle 269"/>
            <p:cNvSpPr>
              <a:spLocks noChangeArrowheads="1"/>
            </p:cNvSpPr>
            <p:nvPr/>
          </p:nvSpPr>
          <p:spPr bwMode="auto">
            <a:xfrm>
              <a:off x="3973513" y="3595688"/>
              <a:ext cx="122238" cy="125413"/>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5" name="Rectangle 270"/>
            <p:cNvSpPr>
              <a:spLocks noChangeArrowheads="1"/>
            </p:cNvSpPr>
            <p:nvPr/>
          </p:nvSpPr>
          <p:spPr bwMode="auto">
            <a:xfrm>
              <a:off x="4111626" y="3595688"/>
              <a:ext cx="53975" cy="55563"/>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6" name="Rectangle 271"/>
            <p:cNvSpPr>
              <a:spLocks noChangeArrowheads="1"/>
            </p:cNvSpPr>
            <p:nvPr/>
          </p:nvSpPr>
          <p:spPr bwMode="auto">
            <a:xfrm>
              <a:off x="3973513" y="3733800"/>
              <a:ext cx="53975" cy="55563"/>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7" name="Rectangle 272"/>
            <p:cNvSpPr>
              <a:spLocks noChangeArrowheads="1"/>
            </p:cNvSpPr>
            <p:nvPr/>
          </p:nvSpPr>
          <p:spPr bwMode="auto">
            <a:xfrm>
              <a:off x="4041776" y="3733800"/>
              <a:ext cx="53975" cy="55563"/>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8" name="Rectangle 273"/>
            <p:cNvSpPr>
              <a:spLocks noChangeArrowheads="1"/>
            </p:cNvSpPr>
            <p:nvPr/>
          </p:nvSpPr>
          <p:spPr bwMode="auto">
            <a:xfrm>
              <a:off x="4111626" y="3733800"/>
              <a:ext cx="53975" cy="55563"/>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9" name="Rectangle 274"/>
            <p:cNvSpPr>
              <a:spLocks noChangeArrowheads="1"/>
            </p:cNvSpPr>
            <p:nvPr/>
          </p:nvSpPr>
          <p:spPr bwMode="auto">
            <a:xfrm>
              <a:off x="3973513" y="3802063"/>
              <a:ext cx="53975" cy="55563"/>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0" name="Rectangle 275"/>
            <p:cNvSpPr>
              <a:spLocks noChangeArrowheads="1"/>
            </p:cNvSpPr>
            <p:nvPr/>
          </p:nvSpPr>
          <p:spPr bwMode="auto">
            <a:xfrm>
              <a:off x="4041776" y="3802063"/>
              <a:ext cx="53975" cy="55563"/>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1" name="Rectangle 276"/>
            <p:cNvSpPr>
              <a:spLocks noChangeArrowheads="1"/>
            </p:cNvSpPr>
            <p:nvPr/>
          </p:nvSpPr>
          <p:spPr bwMode="auto">
            <a:xfrm>
              <a:off x="4111626" y="3802063"/>
              <a:ext cx="53975" cy="55563"/>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2" name="Rectangle 277"/>
            <p:cNvSpPr>
              <a:spLocks noChangeArrowheads="1"/>
            </p:cNvSpPr>
            <p:nvPr/>
          </p:nvSpPr>
          <p:spPr bwMode="auto">
            <a:xfrm>
              <a:off x="3973513" y="3870325"/>
              <a:ext cx="192088" cy="57150"/>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3" name="Rectangle 278"/>
            <p:cNvSpPr>
              <a:spLocks noChangeArrowheads="1"/>
            </p:cNvSpPr>
            <p:nvPr/>
          </p:nvSpPr>
          <p:spPr bwMode="auto">
            <a:xfrm>
              <a:off x="4111626" y="3663950"/>
              <a:ext cx="53975" cy="57150"/>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4" name="Freeform 279"/>
            <p:cNvSpPr>
              <a:spLocks/>
            </p:cNvSpPr>
            <p:nvPr/>
          </p:nvSpPr>
          <p:spPr bwMode="auto">
            <a:xfrm>
              <a:off x="4239440" y="1340643"/>
              <a:ext cx="485775" cy="319088"/>
            </a:xfrm>
            <a:custGeom>
              <a:avLst/>
              <a:gdLst>
                <a:gd name="T0" fmla="*/ 167 w 198"/>
                <a:gd name="T1" fmla="*/ 57 h 130"/>
                <a:gd name="T2" fmla="*/ 167 w 198"/>
                <a:gd name="T3" fmla="*/ 55 h 130"/>
                <a:gd name="T4" fmla="*/ 112 w 198"/>
                <a:gd name="T5" fmla="*/ 0 h 130"/>
                <a:gd name="T6" fmla="*/ 67 w 198"/>
                <a:gd name="T7" fmla="*/ 25 h 130"/>
                <a:gd name="T8" fmla="*/ 52 w 198"/>
                <a:gd name="T9" fmla="*/ 21 h 130"/>
                <a:gd name="T10" fmla="*/ 34 w 198"/>
                <a:gd name="T11" fmla="*/ 26 h 130"/>
                <a:gd name="T12" fmla="*/ 20 w 198"/>
                <a:gd name="T13" fmla="*/ 51 h 130"/>
                <a:gd name="T14" fmla="*/ 0 w 198"/>
                <a:gd name="T15" fmla="*/ 87 h 130"/>
                <a:gd name="T16" fmla="*/ 39 w 198"/>
                <a:gd name="T17" fmla="*/ 130 h 130"/>
                <a:gd name="T18" fmla="*/ 43 w 198"/>
                <a:gd name="T19" fmla="*/ 130 h 130"/>
                <a:gd name="T20" fmla="*/ 48 w 198"/>
                <a:gd name="T21" fmla="*/ 130 h 130"/>
                <a:gd name="T22" fmla="*/ 137 w 198"/>
                <a:gd name="T23" fmla="*/ 130 h 130"/>
                <a:gd name="T24" fmla="*/ 139 w 198"/>
                <a:gd name="T25" fmla="*/ 130 h 130"/>
                <a:gd name="T26" fmla="*/ 141 w 198"/>
                <a:gd name="T27" fmla="*/ 130 h 130"/>
                <a:gd name="T28" fmla="*/ 147 w 198"/>
                <a:gd name="T29" fmla="*/ 130 h 130"/>
                <a:gd name="T30" fmla="*/ 162 w 198"/>
                <a:gd name="T31" fmla="*/ 130 h 130"/>
                <a:gd name="T32" fmla="*/ 198 w 198"/>
                <a:gd name="T33" fmla="*/ 94 h 130"/>
                <a:gd name="T34" fmla="*/ 167 w 198"/>
                <a:gd name="T35" fmla="*/ 57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98" h="130">
                  <a:moveTo>
                    <a:pt x="167" y="57"/>
                  </a:moveTo>
                  <a:cubicBezTo>
                    <a:pt x="167" y="57"/>
                    <a:pt x="167" y="55"/>
                    <a:pt x="167" y="55"/>
                  </a:cubicBezTo>
                  <a:cubicBezTo>
                    <a:pt x="167" y="25"/>
                    <a:pt x="142" y="0"/>
                    <a:pt x="112" y="0"/>
                  </a:cubicBezTo>
                  <a:cubicBezTo>
                    <a:pt x="93" y="0"/>
                    <a:pt x="76" y="10"/>
                    <a:pt x="67" y="25"/>
                  </a:cubicBezTo>
                  <a:cubicBezTo>
                    <a:pt x="62" y="22"/>
                    <a:pt x="57" y="21"/>
                    <a:pt x="52" y="21"/>
                  </a:cubicBezTo>
                  <a:cubicBezTo>
                    <a:pt x="45" y="21"/>
                    <a:pt x="39" y="22"/>
                    <a:pt x="34" y="26"/>
                  </a:cubicBezTo>
                  <a:cubicBezTo>
                    <a:pt x="26" y="31"/>
                    <a:pt x="20" y="41"/>
                    <a:pt x="20" y="51"/>
                  </a:cubicBezTo>
                  <a:cubicBezTo>
                    <a:pt x="8" y="59"/>
                    <a:pt x="0" y="73"/>
                    <a:pt x="0" y="87"/>
                  </a:cubicBezTo>
                  <a:cubicBezTo>
                    <a:pt x="0" y="110"/>
                    <a:pt x="17" y="128"/>
                    <a:pt x="39" y="130"/>
                  </a:cubicBezTo>
                  <a:cubicBezTo>
                    <a:pt x="40" y="130"/>
                    <a:pt x="42" y="130"/>
                    <a:pt x="43" y="130"/>
                  </a:cubicBezTo>
                  <a:cubicBezTo>
                    <a:pt x="45" y="130"/>
                    <a:pt x="46" y="130"/>
                    <a:pt x="48" y="130"/>
                  </a:cubicBezTo>
                  <a:cubicBezTo>
                    <a:pt x="68" y="130"/>
                    <a:pt x="115" y="130"/>
                    <a:pt x="137" y="130"/>
                  </a:cubicBezTo>
                  <a:cubicBezTo>
                    <a:pt x="137" y="130"/>
                    <a:pt x="138" y="130"/>
                    <a:pt x="139" y="130"/>
                  </a:cubicBezTo>
                  <a:cubicBezTo>
                    <a:pt x="141" y="130"/>
                    <a:pt x="141" y="130"/>
                    <a:pt x="141" y="130"/>
                  </a:cubicBezTo>
                  <a:cubicBezTo>
                    <a:pt x="142" y="130"/>
                    <a:pt x="145" y="130"/>
                    <a:pt x="147" y="130"/>
                  </a:cubicBezTo>
                  <a:cubicBezTo>
                    <a:pt x="162" y="130"/>
                    <a:pt x="162" y="130"/>
                    <a:pt x="162" y="130"/>
                  </a:cubicBezTo>
                  <a:cubicBezTo>
                    <a:pt x="182" y="130"/>
                    <a:pt x="198" y="114"/>
                    <a:pt x="198" y="94"/>
                  </a:cubicBezTo>
                  <a:cubicBezTo>
                    <a:pt x="198" y="75"/>
                    <a:pt x="184" y="60"/>
                    <a:pt x="167" y="57"/>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5" name="Freeform 280"/>
            <p:cNvSpPr>
              <a:spLocks/>
            </p:cNvSpPr>
            <p:nvPr/>
          </p:nvSpPr>
          <p:spPr bwMode="auto">
            <a:xfrm>
              <a:off x="4149726" y="1963737"/>
              <a:ext cx="184150" cy="119063"/>
            </a:xfrm>
            <a:custGeom>
              <a:avLst/>
              <a:gdLst>
                <a:gd name="T0" fmla="*/ 63 w 75"/>
                <a:gd name="T1" fmla="*/ 21 h 49"/>
                <a:gd name="T2" fmla="*/ 63 w 75"/>
                <a:gd name="T3" fmla="*/ 20 h 49"/>
                <a:gd name="T4" fmla="*/ 42 w 75"/>
                <a:gd name="T5" fmla="*/ 0 h 49"/>
                <a:gd name="T6" fmla="*/ 25 w 75"/>
                <a:gd name="T7" fmla="*/ 9 h 49"/>
                <a:gd name="T8" fmla="*/ 19 w 75"/>
                <a:gd name="T9" fmla="*/ 7 h 49"/>
                <a:gd name="T10" fmla="*/ 13 w 75"/>
                <a:gd name="T11" fmla="*/ 9 h 49"/>
                <a:gd name="T12" fmla="*/ 7 w 75"/>
                <a:gd name="T13" fmla="*/ 19 h 49"/>
                <a:gd name="T14" fmla="*/ 0 w 75"/>
                <a:gd name="T15" fmla="*/ 33 h 49"/>
                <a:gd name="T16" fmla="*/ 14 w 75"/>
                <a:gd name="T17" fmla="*/ 49 h 49"/>
                <a:gd name="T18" fmla="*/ 16 w 75"/>
                <a:gd name="T19" fmla="*/ 49 h 49"/>
                <a:gd name="T20" fmla="*/ 18 w 75"/>
                <a:gd name="T21" fmla="*/ 49 h 49"/>
                <a:gd name="T22" fmla="*/ 51 w 75"/>
                <a:gd name="T23" fmla="*/ 49 h 49"/>
                <a:gd name="T24" fmla="*/ 52 w 75"/>
                <a:gd name="T25" fmla="*/ 49 h 49"/>
                <a:gd name="T26" fmla="*/ 53 w 75"/>
                <a:gd name="T27" fmla="*/ 49 h 49"/>
                <a:gd name="T28" fmla="*/ 55 w 75"/>
                <a:gd name="T29" fmla="*/ 49 h 49"/>
                <a:gd name="T30" fmla="*/ 61 w 75"/>
                <a:gd name="T31" fmla="*/ 49 h 49"/>
                <a:gd name="T32" fmla="*/ 75 w 75"/>
                <a:gd name="T33" fmla="*/ 35 h 49"/>
                <a:gd name="T34" fmla="*/ 63 w 75"/>
                <a:gd name="T35" fmla="*/ 21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 h="49">
                  <a:moveTo>
                    <a:pt x="63" y="21"/>
                  </a:moveTo>
                  <a:cubicBezTo>
                    <a:pt x="63" y="21"/>
                    <a:pt x="63" y="21"/>
                    <a:pt x="63" y="20"/>
                  </a:cubicBezTo>
                  <a:cubicBezTo>
                    <a:pt x="63" y="9"/>
                    <a:pt x="54" y="0"/>
                    <a:pt x="42" y="0"/>
                  </a:cubicBezTo>
                  <a:cubicBezTo>
                    <a:pt x="35" y="0"/>
                    <a:pt x="29" y="3"/>
                    <a:pt x="25" y="9"/>
                  </a:cubicBezTo>
                  <a:cubicBezTo>
                    <a:pt x="23" y="8"/>
                    <a:pt x="21" y="7"/>
                    <a:pt x="19" y="7"/>
                  </a:cubicBezTo>
                  <a:cubicBezTo>
                    <a:pt x="17" y="7"/>
                    <a:pt x="15" y="8"/>
                    <a:pt x="13" y="9"/>
                  </a:cubicBezTo>
                  <a:cubicBezTo>
                    <a:pt x="9" y="12"/>
                    <a:pt x="7" y="15"/>
                    <a:pt x="7" y="19"/>
                  </a:cubicBezTo>
                  <a:cubicBezTo>
                    <a:pt x="3" y="22"/>
                    <a:pt x="0" y="27"/>
                    <a:pt x="0" y="33"/>
                  </a:cubicBezTo>
                  <a:cubicBezTo>
                    <a:pt x="0" y="41"/>
                    <a:pt x="6" y="48"/>
                    <a:pt x="14" y="49"/>
                  </a:cubicBezTo>
                  <a:cubicBezTo>
                    <a:pt x="15" y="49"/>
                    <a:pt x="16" y="49"/>
                    <a:pt x="16" y="49"/>
                  </a:cubicBezTo>
                  <a:cubicBezTo>
                    <a:pt x="17" y="49"/>
                    <a:pt x="17" y="49"/>
                    <a:pt x="18" y="49"/>
                  </a:cubicBezTo>
                  <a:cubicBezTo>
                    <a:pt x="25" y="49"/>
                    <a:pt x="43" y="49"/>
                    <a:pt x="51" y="49"/>
                  </a:cubicBezTo>
                  <a:cubicBezTo>
                    <a:pt x="52" y="49"/>
                    <a:pt x="52" y="49"/>
                    <a:pt x="52" y="49"/>
                  </a:cubicBezTo>
                  <a:cubicBezTo>
                    <a:pt x="53" y="49"/>
                    <a:pt x="53" y="49"/>
                    <a:pt x="53" y="49"/>
                  </a:cubicBezTo>
                  <a:cubicBezTo>
                    <a:pt x="53" y="49"/>
                    <a:pt x="55" y="49"/>
                    <a:pt x="55" y="49"/>
                  </a:cubicBezTo>
                  <a:cubicBezTo>
                    <a:pt x="61" y="49"/>
                    <a:pt x="61" y="49"/>
                    <a:pt x="61" y="49"/>
                  </a:cubicBezTo>
                  <a:cubicBezTo>
                    <a:pt x="69" y="49"/>
                    <a:pt x="75" y="43"/>
                    <a:pt x="75" y="35"/>
                  </a:cubicBezTo>
                  <a:cubicBezTo>
                    <a:pt x="75" y="28"/>
                    <a:pt x="69" y="22"/>
                    <a:pt x="63" y="21"/>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2" name="Slide Number Placeholder 1"/>
          <p:cNvSpPr>
            <a:spLocks noGrp="1"/>
          </p:cNvSpPr>
          <p:nvPr>
            <p:ph type="sldNum" sz="quarter" idx="4"/>
          </p:nvPr>
        </p:nvSpPr>
        <p:spPr/>
        <p:txBody>
          <a:bodyPr/>
          <a:lstStyle/>
          <a:p>
            <a:pPr>
              <a:defRPr/>
            </a:pPr>
            <a:fld id="{75FAD755-3BD0-2447-A9DF-109DAABEFD99}" type="slidenum">
              <a:rPr lang="en-US" smtClean="0"/>
              <a:pPr>
                <a:defRPr/>
              </a:pPr>
              <a:t>50</a:t>
            </a:fld>
            <a:endParaRPr lang="en-US" dirty="0"/>
          </a:p>
        </p:txBody>
      </p:sp>
      <p:sp>
        <p:nvSpPr>
          <p:cNvPr id="298" name="Freeform 9"/>
          <p:cNvSpPr>
            <a:spLocks noEditPoints="1"/>
          </p:cNvSpPr>
          <p:nvPr/>
        </p:nvSpPr>
        <p:spPr bwMode="black">
          <a:xfrm>
            <a:off x="5944925" y="4892523"/>
            <a:ext cx="624913" cy="627289"/>
          </a:xfrm>
          <a:custGeom>
            <a:avLst/>
            <a:gdLst>
              <a:gd name="T0" fmla="*/ 88 w 149"/>
              <a:gd name="T1" fmla="*/ 67 h 149"/>
              <a:gd name="T2" fmla="*/ 65 w 149"/>
              <a:gd name="T3" fmla="*/ 46 h 149"/>
              <a:gd name="T4" fmla="*/ 84 w 149"/>
              <a:gd name="T5" fmla="*/ 46 h 149"/>
              <a:gd name="T6" fmla="*/ 115 w 149"/>
              <a:gd name="T7" fmla="*/ 75 h 149"/>
              <a:gd name="T8" fmla="*/ 84 w 149"/>
              <a:gd name="T9" fmla="*/ 104 h 149"/>
              <a:gd name="T10" fmla="*/ 65 w 149"/>
              <a:gd name="T11" fmla="*/ 104 h 149"/>
              <a:gd name="T12" fmla="*/ 88 w 149"/>
              <a:gd name="T13" fmla="*/ 82 h 149"/>
              <a:gd name="T14" fmla="*/ 36 w 149"/>
              <a:gd name="T15" fmla="*/ 82 h 149"/>
              <a:gd name="T16" fmla="*/ 36 w 149"/>
              <a:gd name="T17" fmla="*/ 67 h 149"/>
              <a:gd name="T18" fmla="*/ 88 w 149"/>
              <a:gd name="T19" fmla="*/ 67 h 149"/>
              <a:gd name="T20" fmla="*/ 74 w 149"/>
              <a:gd name="T21" fmla="*/ 9 h 149"/>
              <a:gd name="T22" fmla="*/ 140 w 149"/>
              <a:gd name="T23" fmla="*/ 75 h 149"/>
              <a:gd name="T24" fmla="*/ 74 w 149"/>
              <a:gd name="T25" fmla="*/ 140 h 149"/>
              <a:gd name="T26" fmla="*/ 9 w 149"/>
              <a:gd name="T27" fmla="*/ 75 h 149"/>
              <a:gd name="T28" fmla="*/ 74 w 149"/>
              <a:gd name="T29" fmla="*/ 9 h 149"/>
              <a:gd name="T30" fmla="*/ 74 w 149"/>
              <a:gd name="T31" fmla="*/ 0 h 149"/>
              <a:gd name="T32" fmla="*/ 0 w 149"/>
              <a:gd name="T33" fmla="*/ 75 h 149"/>
              <a:gd name="T34" fmla="*/ 74 w 149"/>
              <a:gd name="T35" fmla="*/ 149 h 149"/>
              <a:gd name="T36" fmla="*/ 149 w 149"/>
              <a:gd name="T37" fmla="*/ 75 h 149"/>
              <a:gd name="T38" fmla="*/ 74 w 149"/>
              <a:gd name="T39" fmla="*/ 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9" h="149">
                <a:moveTo>
                  <a:pt x="88" y="67"/>
                </a:moveTo>
                <a:cubicBezTo>
                  <a:pt x="65" y="46"/>
                  <a:pt x="65" y="46"/>
                  <a:pt x="65" y="46"/>
                </a:cubicBezTo>
                <a:cubicBezTo>
                  <a:pt x="84" y="46"/>
                  <a:pt x="84" y="46"/>
                  <a:pt x="84" y="46"/>
                </a:cubicBezTo>
                <a:cubicBezTo>
                  <a:pt x="115" y="75"/>
                  <a:pt x="115" y="75"/>
                  <a:pt x="115" y="75"/>
                </a:cubicBezTo>
                <a:cubicBezTo>
                  <a:pt x="84" y="104"/>
                  <a:pt x="84" y="104"/>
                  <a:pt x="84" y="104"/>
                </a:cubicBezTo>
                <a:cubicBezTo>
                  <a:pt x="65" y="104"/>
                  <a:pt x="65" y="104"/>
                  <a:pt x="65" y="104"/>
                </a:cubicBezTo>
                <a:cubicBezTo>
                  <a:pt x="88" y="82"/>
                  <a:pt x="88" y="82"/>
                  <a:pt x="88" y="82"/>
                </a:cubicBezTo>
                <a:cubicBezTo>
                  <a:pt x="36" y="82"/>
                  <a:pt x="36" y="82"/>
                  <a:pt x="36" y="82"/>
                </a:cubicBezTo>
                <a:cubicBezTo>
                  <a:pt x="36" y="67"/>
                  <a:pt x="36" y="67"/>
                  <a:pt x="36" y="67"/>
                </a:cubicBezTo>
                <a:lnTo>
                  <a:pt x="88" y="67"/>
                </a:lnTo>
                <a:close/>
                <a:moveTo>
                  <a:pt x="74" y="9"/>
                </a:moveTo>
                <a:cubicBezTo>
                  <a:pt x="110" y="9"/>
                  <a:pt x="140" y="39"/>
                  <a:pt x="140" y="75"/>
                </a:cubicBezTo>
                <a:cubicBezTo>
                  <a:pt x="140" y="111"/>
                  <a:pt x="110" y="140"/>
                  <a:pt x="74" y="140"/>
                </a:cubicBezTo>
                <a:cubicBezTo>
                  <a:pt x="38" y="140"/>
                  <a:pt x="9" y="111"/>
                  <a:pt x="9" y="75"/>
                </a:cubicBezTo>
                <a:cubicBezTo>
                  <a:pt x="9" y="39"/>
                  <a:pt x="38" y="9"/>
                  <a:pt x="74" y="9"/>
                </a:cubicBezTo>
                <a:moveTo>
                  <a:pt x="74" y="0"/>
                </a:moveTo>
                <a:cubicBezTo>
                  <a:pt x="33" y="0"/>
                  <a:pt x="0" y="33"/>
                  <a:pt x="0" y="75"/>
                </a:cubicBezTo>
                <a:cubicBezTo>
                  <a:pt x="0" y="116"/>
                  <a:pt x="33" y="149"/>
                  <a:pt x="74" y="149"/>
                </a:cubicBezTo>
                <a:cubicBezTo>
                  <a:pt x="116" y="149"/>
                  <a:pt x="149" y="116"/>
                  <a:pt x="149" y="75"/>
                </a:cubicBezTo>
                <a:cubicBezTo>
                  <a:pt x="149" y="33"/>
                  <a:pt x="116" y="0"/>
                  <a:pt x="74" y="0"/>
                </a:cubicBezTo>
              </a:path>
            </a:pathLst>
          </a:custGeom>
          <a:solidFill>
            <a:srgbClr val="FF8C00"/>
          </a:solidFill>
          <a:ln>
            <a:noFill/>
          </a:ln>
          <a:extLst/>
        </p:spPr>
        <p:txBody>
          <a:bodyPr vert="horz" wrap="square" lIns="121920" tIns="60960" rIns="121920" bIns="60960" numCol="1" anchor="t" anchorCtr="0" compatLnSpc="1">
            <a:prstTxWarp prst="textNoShape">
              <a:avLst/>
            </a:prstTxWarp>
          </a:bodyPr>
          <a:lstStyle/>
          <a:p>
            <a:pPr defTabSz="1219170"/>
            <a:endParaRPr lang="en-US" sz="2400" dirty="0">
              <a:solidFill>
                <a:srgbClr val="FFFFFF"/>
              </a:solidFill>
              <a:latin typeface="Calibri"/>
            </a:endParaRPr>
          </a:p>
        </p:txBody>
      </p:sp>
      <p:grpSp>
        <p:nvGrpSpPr>
          <p:cNvPr id="10" name="Group 9"/>
          <p:cNvGrpSpPr/>
          <p:nvPr/>
        </p:nvGrpSpPr>
        <p:grpSpPr>
          <a:xfrm>
            <a:off x="9614588" y="1995672"/>
            <a:ext cx="647012" cy="1119537"/>
            <a:chOff x="10696575" y="2087563"/>
            <a:chExt cx="947738" cy="1639888"/>
          </a:xfrm>
        </p:grpSpPr>
        <p:sp>
          <p:nvSpPr>
            <p:cNvPr id="11" name="Oval 5"/>
            <p:cNvSpPr>
              <a:spLocks noChangeArrowheads="1"/>
            </p:cNvSpPr>
            <p:nvPr/>
          </p:nvSpPr>
          <p:spPr bwMode="auto">
            <a:xfrm>
              <a:off x="10842625" y="2203450"/>
              <a:ext cx="336550" cy="333375"/>
            </a:xfrm>
            <a:prstGeom prst="ellipse">
              <a:avLst/>
            </a:prstGeom>
            <a:noFill/>
            <a:ln w="20638" cap="flat">
              <a:solidFill>
                <a:srgbClr val="FF8C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2" name="Oval 6"/>
            <p:cNvSpPr>
              <a:spLocks noChangeArrowheads="1"/>
            </p:cNvSpPr>
            <p:nvPr/>
          </p:nvSpPr>
          <p:spPr bwMode="auto">
            <a:xfrm>
              <a:off x="10728325" y="2087563"/>
              <a:ext cx="568325" cy="568325"/>
            </a:xfrm>
            <a:prstGeom prst="ellipse">
              <a:avLst/>
            </a:prstGeom>
            <a:noFill/>
            <a:ln w="20638" cap="flat">
              <a:solidFill>
                <a:srgbClr val="FF8C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7"/>
            <p:cNvSpPr>
              <a:spLocks/>
            </p:cNvSpPr>
            <p:nvPr/>
          </p:nvSpPr>
          <p:spPr bwMode="auto">
            <a:xfrm>
              <a:off x="10696575" y="2287588"/>
              <a:ext cx="947738" cy="1439863"/>
            </a:xfrm>
            <a:custGeom>
              <a:avLst/>
              <a:gdLst>
                <a:gd name="T0" fmla="*/ 336 w 336"/>
                <a:gd name="T1" fmla="*/ 357 h 512"/>
                <a:gd name="T2" fmla="*/ 336 w 336"/>
                <a:gd name="T3" fmla="*/ 344 h 512"/>
                <a:gd name="T4" fmla="*/ 336 w 336"/>
                <a:gd name="T5" fmla="*/ 344 h 512"/>
                <a:gd name="T6" fmla="*/ 336 w 336"/>
                <a:gd name="T7" fmla="*/ 290 h 512"/>
                <a:gd name="T8" fmla="*/ 336 w 336"/>
                <a:gd name="T9" fmla="*/ 221 h 512"/>
                <a:gd name="T10" fmla="*/ 336 w 336"/>
                <a:gd name="T11" fmla="*/ 220 h 512"/>
                <a:gd name="T12" fmla="*/ 304 w 336"/>
                <a:gd name="T13" fmla="*/ 188 h 512"/>
                <a:gd name="T14" fmla="*/ 271 w 336"/>
                <a:gd name="T15" fmla="*/ 220 h 512"/>
                <a:gd name="T16" fmla="*/ 271 w 336"/>
                <a:gd name="T17" fmla="*/ 204 h 512"/>
                <a:gd name="T18" fmla="*/ 239 w 336"/>
                <a:gd name="T19" fmla="*/ 172 h 512"/>
                <a:gd name="T20" fmla="*/ 207 w 336"/>
                <a:gd name="T21" fmla="*/ 204 h 512"/>
                <a:gd name="T22" fmla="*/ 207 w 336"/>
                <a:gd name="T23" fmla="*/ 187 h 512"/>
                <a:gd name="T24" fmla="*/ 175 w 336"/>
                <a:gd name="T25" fmla="*/ 155 h 512"/>
                <a:gd name="T26" fmla="*/ 143 w 336"/>
                <a:gd name="T27" fmla="*/ 187 h 512"/>
                <a:gd name="T28" fmla="*/ 143 w 336"/>
                <a:gd name="T29" fmla="*/ 32 h 512"/>
                <a:gd name="T30" fmla="*/ 111 w 336"/>
                <a:gd name="T31" fmla="*/ 0 h 512"/>
                <a:gd name="T32" fmla="*/ 79 w 336"/>
                <a:gd name="T33" fmla="*/ 32 h 512"/>
                <a:gd name="T34" fmla="*/ 79 w 336"/>
                <a:gd name="T35" fmla="*/ 221 h 512"/>
                <a:gd name="T36" fmla="*/ 79 w 336"/>
                <a:gd name="T37" fmla="*/ 311 h 512"/>
                <a:gd name="T38" fmla="*/ 65 w 336"/>
                <a:gd name="T39" fmla="*/ 329 h 512"/>
                <a:gd name="T40" fmla="*/ 65 w 336"/>
                <a:gd name="T41" fmla="*/ 250 h 512"/>
                <a:gd name="T42" fmla="*/ 33 w 336"/>
                <a:gd name="T43" fmla="*/ 217 h 512"/>
                <a:gd name="T44" fmla="*/ 0 w 336"/>
                <a:gd name="T45" fmla="*/ 217 h 512"/>
                <a:gd name="T46" fmla="*/ 0 w 336"/>
                <a:gd name="T47" fmla="*/ 250 h 512"/>
                <a:gd name="T48" fmla="*/ 0 w 336"/>
                <a:gd name="T49" fmla="*/ 344 h 512"/>
                <a:gd name="T50" fmla="*/ 0 w 336"/>
                <a:gd name="T51" fmla="*/ 344 h 512"/>
                <a:gd name="T52" fmla="*/ 0 w 336"/>
                <a:gd name="T53" fmla="*/ 344 h 512"/>
                <a:gd name="T54" fmla="*/ 168 w 336"/>
                <a:gd name="T55" fmla="*/ 512 h 512"/>
                <a:gd name="T56" fmla="*/ 335 w 336"/>
                <a:gd name="T57" fmla="*/ 362 h 512"/>
                <a:gd name="T58" fmla="*/ 336 w 336"/>
                <a:gd name="T59" fmla="*/ 362 h 512"/>
                <a:gd name="T60" fmla="*/ 336 w 336"/>
                <a:gd name="T61" fmla="*/ 35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36" h="512">
                  <a:moveTo>
                    <a:pt x="336" y="357"/>
                  </a:moveTo>
                  <a:cubicBezTo>
                    <a:pt x="336" y="353"/>
                    <a:pt x="336" y="348"/>
                    <a:pt x="336" y="344"/>
                  </a:cubicBezTo>
                  <a:cubicBezTo>
                    <a:pt x="336" y="344"/>
                    <a:pt x="336" y="344"/>
                    <a:pt x="336" y="344"/>
                  </a:cubicBezTo>
                  <a:cubicBezTo>
                    <a:pt x="336" y="290"/>
                    <a:pt x="336" y="290"/>
                    <a:pt x="336" y="290"/>
                  </a:cubicBezTo>
                  <a:cubicBezTo>
                    <a:pt x="336" y="221"/>
                    <a:pt x="336" y="221"/>
                    <a:pt x="336" y="221"/>
                  </a:cubicBezTo>
                  <a:cubicBezTo>
                    <a:pt x="336" y="220"/>
                    <a:pt x="336" y="220"/>
                    <a:pt x="336" y="220"/>
                  </a:cubicBezTo>
                  <a:cubicBezTo>
                    <a:pt x="336" y="202"/>
                    <a:pt x="321" y="188"/>
                    <a:pt x="304" y="188"/>
                  </a:cubicBezTo>
                  <a:cubicBezTo>
                    <a:pt x="286" y="188"/>
                    <a:pt x="271" y="202"/>
                    <a:pt x="271" y="220"/>
                  </a:cubicBezTo>
                  <a:cubicBezTo>
                    <a:pt x="271" y="204"/>
                    <a:pt x="271" y="204"/>
                    <a:pt x="271" y="204"/>
                  </a:cubicBezTo>
                  <a:cubicBezTo>
                    <a:pt x="271" y="186"/>
                    <a:pt x="257" y="172"/>
                    <a:pt x="239" y="172"/>
                  </a:cubicBezTo>
                  <a:cubicBezTo>
                    <a:pt x="222" y="172"/>
                    <a:pt x="207" y="186"/>
                    <a:pt x="207" y="204"/>
                  </a:cubicBezTo>
                  <a:cubicBezTo>
                    <a:pt x="207" y="187"/>
                    <a:pt x="207" y="187"/>
                    <a:pt x="207" y="187"/>
                  </a:cubicBezTo>
                  <a:cubicBezTo>
                    <a:pt x="207" y="169"/>
                    <a:pt x="193" y="155"/>
                    <a:pt x="175" y="155"/>
                  </a:cubicBezTo>
                  <a:cubicBezTo>
                    <a:pt x="157" y="155"/>
                    <a:pt x="143" y="169"/>
                    <a:pt x="143" y="187"/>
                  </a:cubicBezTo>
                  <a:cubicBezTo>
                    <a:pt x="143" y="32"/>
                    <a:pt x="143" y="32"/>
                    <a:pt x="143" y="32"/>
                  </a:cubicBezTo>
                  <a:cubicBezTo>
                    <a:pt x="143" y="14"/>
                    <a:pt x="128" y="0"/>
                    <a:pt x="111" y="0"/>
                  </a:cubicBezTo>
                  <a:cubicBezTo>
                    <a:pt x="93" y="0"/>
                    <a:pt x="79" y="14"/>
                    <a:pt x="79" y="32"/>
                  </a:cubicBezTo>
                  <a:cubicBezTo>
                    <a:pt x="79" y="221"/>
                    <a:pt x="79" y="221"/>
                    <a:pt x="79" y="221"/>
                  </a:cubicBezTo>
                  <a:cubicBezTo>
                    <a:pt x="79" y="311"/>
                    <a:pt x="79" y="311"/>
                    <a:pt x="79" y="311"/>
                  </a:cubicBezTo>
                  <a:cubicBezTo>
                    <a:pt x="79" y="318"/>
                    <a:pt x="75" y="329"/>
                    <a:pt x="65" y="329"/>
                  </a:cubicBezTo>
                  <a:cubicBezTo>
                    <a:pt x="65" y="250"/>
                    <a:pt x="65" y="250"/>
                    <a:pt x="65" y="250"/>
                  </a:cubicBezTo>
                  <a:cubicBezTo>
                    <a:pt x="65" y="232"/>
                    <a:pt x="50" y="217"/>
                    <a:pt x="33" y="217"/>
                  </a:cubicBezTo>
                  <a:cubicBezTo>
                    <a:pt x="0" y="217"/>
                    <a:pt x="0" y="217"/>
                    <a:pt x="0" y="217"/>
                  </a:cubicBezTo>
                  <a:cubicBezTo>
                    <a:pt x="0" y="250"/>
                    <a:pt x="0" y="250"/>
                    <a:pt x="0" y="250"/>
                  </a:cubicBezTo>
                  <a:cubicBezTo>
                    <a:pt x="0" y="344"/>
                    <a:pt x="0" y="344"/>
                    <a:pt x="0" y="344"/>
                  </a:cubicBezTo>
                  <a:cubicBezTo>
                    <a:pt x="0" y="344"/>
                    <a:pt x="0" y="344"/>
                    <a:pt x="0" y="344"/>
                  </a:cubicBezTo>
                  <a:cubicBezTo>
                    <a:pt x="0" y="344"/>
                    <a:pt x="0" y="344"/>
                    <a:pt x="0" y="344"/>
                  </a:cubicBezTo>
                  <a:cubicBezTo>
                    <a:pt x="0" y="437"/>
                    <a:pt x="75" y="512"/>
                    <a:pt x="168" y="512"/>
                  </a:cubicBezTo>
                  <a:cubicBezTo>
                    <a:pt x="255" y="512"/>
                    <a:pt x="326" y="447"/>
                    <a:pt x="335" y="362"/>
                  </a:cubicBezTo>
                  <a:cubicBezTo>
                    <a:pt x="336" y="362"/>
                    <a:pt x="336" y="362"/>
                    <a:pt x="336" y="362"/>
                  </a:cubicBezTo>
                  <a:lnTo>
                    <a:pt x="336" y="357"/>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854910538"/>
      </p:ext>
    </p:extLst>
  </p:cSld>
  <p:clrMapOvr>
    <a:masterClrMapping/>
  </p:clrMapOvr>
  <p:transition spd="med">
    <p:fade/>
  </p:transition>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692554590"/>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 name="TextBox 60"/>
          <p:cNvSpPr txBox="1"/>
          <p:nvPr/>
        </p:nvSpPr>
        <p:spPr>
          <a:xfrm>
            <a:off x="3241041" y="4543084"/>
            <a:ext cx="2468880" cy="1097280"/>
          </a:xfrm>
          <a:prstGeom prst="rect">
            <a:avLst/>
          </a:prstGeom>
          <a:solidFill>
            <a:srgbClr val="7FBA00"/>
          </a:solidFill>
        </p:spPr>
        <p:txBody>
          <a:bodyPr wrap="square" lIns="91440" tIns="91440" rIns="91440" bIns="91440" rtlCol="0" anchor="ctr">
            <a:noAutofit/>
          </a:bodyPr>
          <a:lstStyle/>
          <a:p>
            <a:pPr algn="ctr"/>
            <a:r>
              <a:rPr lang="en-US" dirty="0">
                <a:solidFill>
                  <a:schemeClr val="bg1"/>
                </a:solidFill>
                <a:latin typeface="Segoe UI Semibold" panose="020B0702040204020203" pitchFamily="34" charset="0"/>
                <a:cs typeface="Segoe UI Semibold" panose="020B0702040204020203" pitchFamily="34" charset="0"/>
              </a:rPr>
              <a:t>Store indefinitely</a:t>
            </a:r>
          </a:p>
        </p:txBody>
      </p:sp>
      <p:sp>
        <p:nvSpPr>
          <p:cNvPr id="62" name="TextBox 61"/>
          <p:cNvSpPr txBox="1"/>
          <p:nvPr/>
        </p:nvSpPr>
        <p:spPr>
          <a:xfrm>
            <a:off x="6482081" y="4543084"/>
            <a:ext cx="2468880" cy="1097280"/>
          </a:xfrm>
          <a:prstGeom prst="rect">
            <a:avLst/>
          </a:prstGeom>
          <a:solidFill>
            <a:srgbClr val="FF8C00"/>
          </a:solidFill>
        </p:spPr>
        <p:txBody>
          <a:bodyPr wrap="square" lIns="91440" tIns="91440" rIns="91440" bIns="91440" rtlCol="0" anchor="ctr">
            <a:noAutofit/>
          </a:bodyPr>
          <a:lstStyle/>
          <a:p>
            <a:pPr algn="ctr"/>
            <a:r>
              <a:rPr lang="en-US" dirty="0">
                <a:solidFill>
                  <a:schemeClr val="bg1"/>
                </a:solidFill>
                <a:latin typeface="Segoe UI Semibold" panose="020B0702040204020203" pitchFamily="34" charset="0"/>
                <a:cs typeface="Segoe UI Semibold" panose="020B0702040204020203" pitchFamily="34" charset="0"/>
              </a:rPr>
              <a:t>Analyze</a:t>
            </a:r>
          </a:p>
        </p:txBody>
      </p:sp>
      <p:sp>
        <p:nvSpPr>
          <p:cNvPr id="63" name="TextBox 62"/>
          <p:cNvSpPr txBox="1"/>
          <p:nvPr/>
        </p:nvSpPr>
        <p:spPr>
          <a:xfrm>
            <a:off x="9723120" y="4543084"/>
            <a:ext cx="2468880" cy="1097280"/>
          </a:xfrm>
          <a:prstGeom prst="rect">
            <a:avLst/>
          </a:prstGeom>
          <a:solidFill>
            <a:srgbClr val="00BCF2"/>
          </a:solidFill>
        </p:spPr>
        <p:txBody>
          <a:bodyPr wrap="square" lIns="91440" tIns="91440" rIns="91440" bIns="91440" rtlCol="0" anchor="ctr">
            <a:noAutofit/>
          </a:bodyPr>
          <a:lstStyle/>
          <a:p>
            <a:pPr algn="ctr"/>
            <a:r>
              <a:rPr lang="en-US" dirty="0">
                <a:solidFill>
                  <a:schemeClr val="bg1"/>
                </a:solidFill>
                <a:latin typeface="Segoe UI Semibold" panose="020B0702040204020203" pitchFamily="34" charset="0"/>
                <a:cs typeface="Segoe UI Semibold" panose="020B0702040204020203" pitchFamily="34" charset="0"/>
              </a:rPr>
              <a:t>See results</a:t>
            </a:r>
          </a:p>
        </p:txBody>
      </p:sp>
      <p:sp>
        <p:nvSpPr>
          <p:cNvPr id="60" name="TextBox 59"/>
          <p:cNvSpPr txBox="1"/>
          <p:nvPr/>
        </p:nvSpPr>
        <p:spPr>
          <a:xfrm>
            <a:off x="1" y="4543084"/>
            <a:ext cx="2468880" cy="1097280"/>
          </a:xfrm>
          <a:prstGeom prst="rect">
            <a:avLst/>
          </a:prstGeom>
          <a:solidFill>
            <a:srgbClr val="002050"/>
          </a:solidFill>
        </p:spPr>
        <p:txBody>
          <a:bodyPr wrap="square" lIns="91440" tIns="91440" rIns="91440" bIns="91440" rtlCol="0" anchor="ctr">
            <a:noAutofit/>
          </a:bodyPr>
          <a:lstStyle/>
          <a:p>
            <a:pPr algn="ctr"/>
            <a:r>
              <a:rPr lang="en-US" dirty="0">
                <a:solidFill>
                  <a:schemeClr val="bg1"/>
                </a:solidFill>
                <a:latin typeface="Segoe UI Semibold" panose="020B0702040204020203" pitchFamily="34" charset="0"/>
                <a:cs typeface="Segoe UI Semibold" panose="020B0702040204020203" pitchFamily="34" charset="0"/>
              </a:rPr>
              <a:t>Gather data </a:t>
            </a:r>
            <a:br>
              <a:rPr lang="en-US" dirty="0">
                <a:solidFill>
                  <a:schemeClr val="bg1"/>
                </a:solidFill>
                <a:latin typeface="Segoe UI Semibold" panose="020B0702040204020203" pitchFamily="34" charset="0"/>
                <a:cs typeface="Segoe UI Semibold" panose="020B0702040204020203" pitchFamily="34" charset="0"/>
              </a:rPr>
            </a:br>
            <a:r>
              <a:rPr lang="en-US" dirty="0">
                <a:solidFill>
                  <a:schemeClr val="bg1"/>
                </a:solidFill>
                <a:latin typeface="Segoe UI Semibold" panose="020B0702040204020203" pitchFamily="34" charset="0"/>
                <a:cs typeface="Segoe UI Semibold" panose="020B0702040204020203" pitchFamily="34" charset="0"/>
              </a:rPr>
              <a:t>from all sources</a:t>
            </a:r>
          </a:p>
        </p:txBody>
      </p:sp>
      <p:grpSp>
        <p:nvGrpSpPr>
          <p:cNvPr id="6" name="Group 5"/>
          <p:cNvGrpSpPr/>
          <p:nvPr/>
        </p:nvGrpSpPr>
        <p:grpSpPr>
          <a:xfrm>
            <a:off x="7716521" y="4106766"/>
            <a:ext cx="3241039" cy="461376"/>
            <a:chOff x="7722871" y="4333990"/>
            <a:chExt cx="3241039" cy="215444"/>
          </a:xfrm>
        </p:grpSpPr>
        <p:sp>
          <p:nvSpPr>
            <p:cNvPr id="66" name="TextBox 65"/>
            <p:cNvSpPr txBox="1"/>
            <p:nvPr/>
          </p:nvSpPr>
          <p:spPr>
            <a:xfrm>
              <a:off x="9078317" y="4333990"/>
              <a:ext cx="530145" cy="215444"/>
            </a:xfrm>
            <a:prstGeom prst="rect">
              <a:avLst/>
            </a:prstGeom>
            <a:noFill/>
            <a:ln>
              <a:noFill/>
            </a:ln>
          </p:spPr>
          <p:txBody>
            <a:bodyPr wrap="none" lIns="0" tIns="0" rIns="0" bIns="0" rtlCol="0">
              <a:spAutoFit/>
            </a:bodyPr>
            <a:lstStyle/>
            <a:p>
              <a:r>
                <a:rPr lang="en-US" sz="1400" dirty="0">
                  <a:solidFill>
                    <a:schemeClr val="tx2"/>
                  </a:solidFill>
                  <a:latin typeface="Segoe UI Semibold" panose="020B0702040204020203" pitchFamily="34" charset="0"/>
                  <a:cs typeface="Segoe UI Semibold" panose="020B0702040204020203" pitchFamily="34" charset="0"/>
                </a:rPr>
                <a:t>Iterate</a:t>
              </a:r>
            </a:p>
          </p:txBody>
        </p:sp>
        <p:cxnSp>
          <p:nvCxnSpPr>
            <p:cNvPr id="11" name="Elbow Connector 10"/>
            <p:cNvCxnSpPr>
              <a:stCxn id="63" idx="0"/>
              <a:endCxn id="62" idx="0"/>
            </p:cNvCxnSpPr>
            <p:nvPr/>
          </p:nvCxnSpPr>
          <p:spPr>
            <a:xfrm rot="16200000" flipV="1">
              <a:off x="9337041" y="2922564"/>
              <a:ext cx="12700" cy="3241039"/>
            </a:xfrm>
            <a:prstGeom prst="bentConnector3">
              <a:avLst>
                <a:gd name="adj1" fmla="val 1800000"/>
              </a:avLst>
            </a:prstGeom>
            <a:ln w="76200">
              <a:solidFill>
                <a:schemeClr val="accent2"/>
              </a:solidFill>
              <a:prstDash val="sysDot"/>
              <a:miter lim="800000"/>
              <a:headEnd type="none"/>
              <a:tailEnd type="triangle" w="lg" len="med"/>
            </a:ln>
          </p:spPr>
          <p:style>
            <a:lnRef idx="1">
              <a:schemeClr val="accent1"/>
            </a:lnRef>
            <a:fillRef idx="0">
              <a:schemeClr val="accent1"/>
            </a:fillRef>
            <a:effectRef idx="0">
              <a:schemeClr val="accent1"/>
            </a:effectRef>
            <a:fontRef idx="minor">
              <a:schemeClr val="tx1"/>
            </a:fontRef>
          </p:style>
        </p:cxnSp>
      </p:grpSp>
      <p:cxnSp>
        <p:nvCxnSpPr>
          <p:cNvPr id="14" name="Straight Arrow Connector 13"/>
          <p:cNvCxnSpPr>
            <a:stCxn id="60" idx="3"/>
            <a:endCxn id="61" idx="1"/>
          </p:cNvCxnSpPr>
          <p:nvPr/>
        </p:nvCxnSpPr>
        <p:spPr>
          <a:xfrm>
            <a:off x="2468881" y="5091724"/>
            <a:ext cx="772160" cy="0"/>
          </a:xfrm>
          <a:prstGeom prst="straightConnector1">
            <a:avLst/>
          </a:prstGeom>
          <a:ln w="76200">
            <a:solidFill>
              <a:schemeClr val="accent2"/>
            </a:solidFill>
            <a:prstDash val="sysDot"/>
            <a:miter lim="800000"/>
            <a:headEnd type="none"/>
            <a:tailEnd type="triangle" w="lg" len="med"/>
          </a:ln>
        </p:spPr>
        <p:style>
          <a:lnRef idx="1">
            <a:schemeClr val="accent1"/>
          </a:lnRef>
          <a:fillRef idx="0">
            <a:schemeClr val="accent1"/>
          </a:fillRef>
          <a:effectRef idx="0">
            <a:schemeClr val="accent1"/>
          </a:effectRef>
          <a:fontRef idx="minor">
            <a:schemeClr val="tx1"/>
          </a:fontRef>
        </p:style>
      </p:cxnSp>
      <p:cxnSp>
        <p:nvCxnSpPr>
          <p:cNvPr id="18" name="Straight Arrow Connector 17"/>
          <p:cNvCxnSpPr>
            <a:stCxn id="61" idx="3"/>
            <a:endCxn id="62" idx="1"/>
          </p:cNvCxnSpPr>
          <p:nvPr/>
        </p:nvCxnSpPr>
        <p:spPr>
          <a:xfrm>
            <a:off x="5709921" y="5091724"/>
            <a:ext cx="772160" cy="0"/>
          </a:xfrm>
          <a:prstGeom prst="straightConnector1">
            <a:avLst/>
          </a:prstGeom>
          <a:ln w="76200">
            <a:solidFill>
              <a:schemeClr val="accent2"/>
            </a:solidFill>
            <a:prstDash val="sysDot"/>
            <a:miter lim="800000"/>
            <a:headEnd type="none"/>
            <a:tailEnd type="triangle" w="lg" len="med"/>
          </a:ln>
        </p:spPr>
        <p:style>
          <a:lnRef idx="1">
            <a:schemeClr val="accent1"/>
          </a:lnRef>
          <a:fillRef idx="0">
            <a:schemeClr val="accent1"/>
          </a:fillRef>
          <a:effectRef idx="0">
            <a:schemeClr val="accent1"/>
          </a:effectRef>
          <a:fontRef idx="minor">
            <a:schemeClr val="tx1"/>
          </a:fontRef>
        </p:style>
      </p:cxnSp>
      <p:cxnSp>
        <p:nvCxnSpPr>
          <p:cNvPr id="23" name="Straight Arrow Connector 22"/>
          <p:cNvCxnSpPr>
            <a:stCxn id="62" idx="3"/>
            <a:endCxn id="63" idx="1"/>
          </p:cNvCxnSpPr>
          <p:nvPr/>
        </p:nvCxnSpPr>
        <p:spPr>
          <a:xfrm>
            <a:off x="8950961" y="5091724"/>
            <a:ext cx="772159" cy="0"/>
          </a:xfrm>
          <a:prstGeom prst="straightConnector1">
            <a:avLst/>
          </a:prstGeom>
          <a:ln w="76200">
            <a:solidFill>
              <a:schemeClr val="accent2"/>
            </a:solidFill>
            <a:prstDash val="sysDot"/>
            <a:miter lim="800000"/>
            <a:headEnd type="none"/>
            <a:tailEnd type="triangle" w="lg" len="med"/>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p:txBody>
          <a:bodyPr/>
          <a:lstStyle/>
          <a:p>
            <a:r>
              <a:rPr lang="en-US" dirty="0"/>
              <a:t>New big data t</a:t>
            </a:r>
            <a:r>
              <a:rPr lang="en-US" sz="4800" dirty="0"/>
              <a:t>hinking: </a:t>
            </a:r>
            <a:r>
              <a:rPr lang="en-US" sz="4800" dirty="0">
                <a:solidFill>
                  <a:schemeClr val="accent2"/>
                </a:solidFill>
              </a:rPr>
              <a:t>All data has value</a:t>
            </a:r>
          </a:p>
        </p:txBody>
      </p:sp>
      <p:sp>
        <p:nvSpPr>
          <p:cNvPr id="141" name="Rectangle 140"/>
          <p:cNvSpPr/>
          <p:nvPr/>
        </p:nvSpPr>
        <p:spPr>
          <a:xfrm>
            <a:off x="414666" y="1499186"/>
            <a:ext cx="11578412" cy="2257028"/>
          </a:xfrm>
          <a:prstGeom prst="rect">
            <a:avLst/>
          </a:prstGeom>
        </p:spPr>
        <p:txBody>
          <a:bodyPr wrap="square" lIns="0" tIns="0" rIns="0" bIns="0">
            <a:spAutoFit/>
          </a:bodyPr>
          <a:lstStyle/>
          <a:p>
            <a:pPr marL="339725" indent="-282575" fontAlgn="base">
              <a:spcBef>
                <a:spcPts val="200"/>
              </a:spcBef>
              <a:spcAft>
                <a:spcPts val="600"/>
              </a:spcAft>
              <a:buClr>
                <a:srgbClr val="50B347"/>
              </a:buClr>
              <a:buSzPct val="100000"/>
              <a:buBlip>
                <a:blip r:embed="rId3"/>
              </a:buBlip>
              <a:tabLst>
                <a:tab pos="658368" algn="l"/>
              </a:tabLst>
            </a:pPr>
            <a:r>
              <a:rPr lang="en-US" sz="2400" dirty="0">
                <a:solidFill>
                  <a:srgbClr val="505050"/>
                </a:solidFill>
                <a:ea typeface="Segoe UI" pitchFamily="34" charset="0"/>
                <a:cs typeface="Segoe UI" pitchFamily="34" charset="0"/>
              </a:rPr>
              <a:t>All data has potential value</a:t>
            </a:r>
          </a:p>
          <a:p>
            <a:pPr marL="339725" indent="-282575" fontAlgn="base">
              <a:spcBef>
                <a:spcPts val="200"/>
              </a:spcBef>
              <a:spcAft>
                <a:spcPts val="600"/>
              </a:spcAft>
              <a:buClr>
                <a:srgbClr val="50B347"/>
              </a:buClr>
              <a:buSzPct val="100000"/>
              <a:buBlip>
                <a:blip r:embed="rId3"/>
              </a:buBlip>
              <a:tabLst>
                <a:tab pos="658368" algn="l"/>
              </a:tabLst>
            </a:pPr>
            <a:r>
              <a:rPr lang="en-US" sz="2400" dirty="0">
                <a:solidFill>
                  <a:srgbClr val="505050"/>
                </a:solidFill>
                <a:ea typeface="Segoe UI" pitchFamily="34" charset="0"/>
                <a:cs typeface="Segoe UI" pitchFamily="34" charset="0"/>
              </a:rPr>
              <a:t>Data hoarding</a:t>
            </a:r>
          </a:p>
          <a:p>
            <a:pPr marL="339725" indent="-282575" fontAlgn="base">
              <a:spcBef>
                <a:spcPts val="200"/>
              </a:spcBef>
              <a:spcAft>
                <a:spcPts val="600"/>
              </a:spcAft>
              <a:buClr>
                <a:srgbClr val="50B347"/>
              </a:buClr>
              <a:buSzPct val="100000"/>
              <a:buBlip>
                <a:blip r:embed="rId3"/>
              </a:buBlip>
              <a:tabLst>
                <a:tab pos="658368" algn="l"/>
              </a:tabLst>
            </a:pPr>
            <a:r>
              <a:rPr lang="en-US" sz="2400" dirty="0">
                <a:solidFill>
                  <a:srgbClr val="505050"/>
                </a:solidFill>
                <a:ea typeface="Segoe UI" pitchFamily="34" charset="0"/>
                <a:cs typeface="Segoe UI" pitchFamily="34" charset="0"/>
              </a:rPr>
              <a:t>No defined schema—stored in native format</a:t>
            </a:r>
          </a:p>
          <a:p>
            <a:pPr marL="339725" indent="-282575" fontAlgn="base">
              <a:spcBef>
                <a:spcPts val="200"/>
              </a:spcBef>
              <a:spcAft>
                <a:spcPts val="600"/>
              </a:spcAft>
              <a:buClr>
                <a:srgbClr val="50B347"/>
              </a:buClr>
              <a:buSzPct val="100000"/>
              <a:buBlip>
                <a:blip r:embed="rId3"/>
              </a:buBlip>
              <a:tabLst>
                <a:tab pos="658368" algn="l"/>
              </a:tabLst>
            </a:pPr>
            <a:r>
              <a:rPr lang="en-US" sz="2400" dirty="0">
                <a:solidFill>
                  <a:srgbClr val="505050"/>
                </a:solidFill>
                <a:ea typeface="Segoe UI" pitchFamily="34" charset="0"/>
                <a:cs typeface="Segoe UI" pitchFamily="34" charset="0"/>
              </a:rPr>
              <a:t>Schema is imposed and transformations are done at query time </a:t>
            </a:r>
            <a:r>
              <a:rPr lang="en-US" sz="2400" i="1" dirty="0">
                <a:solidFill>
                  <a:srgbClr val="505050"/>
                </a:solidFill>
                <a:ea typeface="Segoe UI" pitchFamily="34" charset="0"/>
                <a:cs typeface="Segoe UI" pitchFamily="34" charset="0"/>
              </a:rPr>
              <a:t>(schema-on-read). </a:t>
            </a:r>
          </a:p>
          <a:p>
            <a:pPr marL="339725" indent="-282575" fontAlgn="base">
              <a:spcBef>
                <a:spcPts val="200"/>
              </a:spcBef>
              <a:spcAft>
                <a:spcPts val="600"/>
              </a:spcAft>
              <a:buClr>
                <a:srgbClr val="50B347"/>
              </a:buClr>
              <a:buSzPct val="100000"/>
              <a:buBlip>
                <a:blip r:embed="rId3"/>
              </a:buBlip>
              <a:tabLst>
                <a:tab pos="658368" algn="l"/>
              </a:tabLst>
            </a:pPr>
            <a:r>
              <a:rPr lang="en-US" sz="2400" dirty="0">
                <a:solidFill>
                  <a:srgbClr val="505050"/>
                </a:solidFill>
                <a:ea typeface="Segoe UI" pitchFamily="34" charset="0"/>
                <a:cs typeface="Segoe UI" pitchFamily="34" charset="0"/>
              </a:rPr>
              <a:t>Apps and users interpret the data as they see fit</a:t>
            </a:r>
          </a:p>
        </p:txBody>
      </p:sp>
      <p:sp>
        <p:nvSpPr>
          <p:cNvPr id="3" name="Slide Number Placeholder 2"/>
          <p:cNvSpPr>
            <a:spLocks noGrp="1"/>
          </p:cNvSpPr>
          <p:nvPr>
            <p:ph type="sldNum" sz="quarter" idx="4"/>
          </p:nvPr>
        </p:nvSpPr>
        <p:spPr/>
        <p:txBody>
          <a:bodyPr/>
          <a:lstStyle/>
          <a:p>
            <a:pPr>
              <a:defRPr/>
            </a:pPr>
            <a:fld id="{75FAD755-3BD0-2447-A9DF-109DAABEFD99}" type="slidenum">
              <a:rPr lang="en-US" smtClean="0"/>
              <a:pPr>
                <a:defRPr/>
              </a:pPr>
              <a:t>6</a:t>
            </a:fld>
            <a:endParaRPr lang="en-US" dirty="0"/>
          </a:p>
        </p:txBody>
      </p:sp>
    </p:spTree>
    <p:extLst>
      <p:ext uri="{BB962C8B-B14F-4D97-AF65-F5344CB8AC3E}">
        <p14:creationId xmlns:p14="http://schemas.microsoft.com/office/powerpoint/2010/main" val="536062109"/>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afterEffect">
                                  <p:stCondLst>
                                    <p:cond delay="0"/>
                                  </p:stCondLst>
                                  <p:childTnLst>
                                    <p:set>
                                      <p:cBhvr>
                                        <p:cTn id="6" dur="1" fill="hold">
                                          <p:stCondLst>
                                            <p:cond delay="0"/>
                                          </p:stCondLst>
                                        </p:cTn>
                                        <p:tgtEl>
                                          <p:spTgt spid="141">
                                            <p:txEl>
                                              <p:pRg st="0" end="0"/>
                                            </p:txEl>
                                          </p:spTgt>
                                        </p:tgtEl>
                                        <p:attrNameLst>
                                          <p:attrName>style.visibility</p:attrName>
                                        </p:attrNameLst>
                                      </p:cBhvr>
                                      <p:to>
                                        <p:strVal val="visible"/>
                                      </p:to>
                                    </p:set>
                                    <p:animEffect transition="in" filter="wipe(left)">
                                      <p:cBhvr>
                                        <p:cTn id="7" dur="1250"/>
                                        <p:tgtEl>
                                          <p:spTgt spid="141">
                                            <p:txEl>
                                              <p:pRg st="0" end="0"/>
                                            </p:txEl>
                                          </p:spTgt>
                                        </p:tgtEl>
                                      </p:cBhvr>
                                    </p:animEffect>
                                  </p:childTnLst>
                                </p:cTn>
                              </p:par>
                            </p:childTnLst>
                          </p:cTn>
                        </p:par>
                        <p:par>
                          <p:cTn id="8" fill="hold">
                            <p:stCondLst>
                              <p:cond delay="1250"/>
                            </p:stCondLst>
                            <p:childTnLst>
                              <p:par>
                                <p:cTn id="9" presetID="22" presetClass="entr" presetSubtype="8" fill="hold" nodeType="afterEffect">
                                  <p:stCondLst>
                                    <p:cond delay="0"/>
                                  </p:stCondLst>
                                  <p:childTnLst>
                                    <p:set>
                                      <p:cBhvr>
                                        <p:cTn id="10" dur="1" fill="hold">
                                          <p:stCondLst>
                                            <p:cond delay="0"/>
                                          </p:stCondLst>
                                        </p:cTn>
                                        <p:tgtEl>
                                          <p:spTgt spid="141">
                                            <p:txEl>
                                              <p:pRg st="1" end="1"/>
                                            </p:txEl>
                                          </p:spTgt>
                                        </p:tgtEl>
                                        <p:attrNameLst>
                                          <p:attrName>style.visibility</p:attrName>
                                        </p:attrNameLst>
                                      </p:cBhvr>
                                      <p:to>
                                        <p:strVal val="visible"/>
                                      </p:to>
                                    </p:set>
                                    <p:animEffect transition="in" filter="wipe(left)">
                                      <p:cBhvr>
                                        <p:cTn id="11" dur="1000"/>
                                        <p:tgtEl>
                                          <p:spTgt spid="141">
                                            <p:txEl>
                                              <p:pRg st="1" end="1"/>
                                            </p:txEl>
                                          </p:spTgt>
                                        </p:tgtEl>
                                      </p:cBhvr>
                                    </p:animEffect>
                                  </p:childTnLst>
                                </p:cTn>
                              </p:par>
                            </p:childTnLst>
                          </p:cTn>
                        </p:par>
                        <p:par>
                          <p:cTn id="12" fill="hold">
                            <p:stCondLst>
                              <p:cond delay="2250"/>
                            </p:stCondLst>
                            <p:childTnLst>
                              <p:par>
                                <p:cTn id="13" presetID="22" presetClass="entr" presetSubtype="8" fill="hold" nodeType="afterEffect">
                                  <p:stCondLst>
                                    <p:cond delay="0"/>
                                  </p:stCondLst>
                                  <p:childTnLst>
                                    <p:set>
                                      <p:cBhvr>
                                        <p:cTn id="14" dur="1" fill="hold">
                                          <p:stCondLst>
                                            <p:cond delay="0"/>
                                          </p:stCondLst>
                                        </p:cTn>
                                        <p:tgtEl>
                                          <p:spTgt spid="141">
                                            <p:txEl>
                                              <p:pRg st="2" end="2"/>
                                            </p:txEl>
                                          </p:spTgt>
                                        </p:tgtEl>
                                        <p:attrNameLst>
                                          <p:attrName>style.visibility</p:attrName>
                                        </p:attrNameLst>
                                      </p:cBhvr>
                                      <p:to>
                                        <p:strVal val="visible"/>
                                      </p:to>
                                    </p:set>
                                    <p:animEffect transition="in" filter="wipe(left)">
                                      <p:cBhvr>
                                        <p:cTn id="15" dur="1000"/>
                                        <p:tgtEl>
                                          <p:spTgt spid="141">
                                            <p:txEl>
                                              <p:pRg st="2" end="2"/>
                                            </p:txEl>
                                          </p:spTgt>
                                        </p:tgtEl>
                                      </p:cBhvr>
                                    </p:animEffect>
                                  </p:childTnLst>
                                </p:cTn>
                              </p:par>
                            </p:childTnLst>
                          </p:cTn>
                        </p:par>
                        <p:par>
                          <p:cTn id="16" fill="hold">
                            <p:stCondLst>
                              <p:cond delay="3250"/>
                            </p:stCondLst>
                            <p:childTnLst>
                              <p:par>
                                <p:cTn id="17" presetID="22" presetClass="entr" presetSubtype="8" fill="hold" nodeType="afterEffect">
                                  <p:stCondLst>
                                    <p:cond delay="0"/>
                                  </p:stCondLst>
                                  <p:childTnLst>
                                    <p:set>
                                      <p:cBhvr>
                                        <p:cTn id="18" dur="1" fill="hold">
                                          <p:stCondLst>
                                            <p:cond delay="0"/>
                                          </p:stCondLst>
                                        </p:cTn>
                                        <p:tgtEl>
                                          <p:spTgt spid="141">
                                            <p:txEl>
                                              <p:pRg st="3" end="3"/>
                                            </p:txEl>
                                          </p:spTgt>
                                        </p:tgtEl>
                                        <p:attrNameLst>
                                          <p:attrName>style.visibility</p:attrName>
                                        </p:attrNameLst>
                                      </p:cBhvr>
                                      <p:to>
                                        <p:strVal val="visible"/>
                                      </p:to>
                                    </p:set>
                                    <p:animEffect transition="in" filter="wipe(left)">
                                      <p:cBhvr>
                                        <p:cTn id="19" dur="1000"/>
                                        <p:tgtEl>
                                          <p:spTgt spid="141">
                                            <p:txEl>
                                              <p:pRg st="3" end="3"/>
                                            </p:txEl>
                                          </p:spTgt>
                                        </p:tgtEl>
                                      </p:cBhvr>
                                    </p:animEffect>
                                  </p:childTnLst>
                                </p:cTn>
                              </p:par>
                            </p:childTnLst>
                          </p:cTn>
                        </p:par>
                        <p:par>
                          <p:cTn id="20" fill="hold">
                            <p:stCondLst>
                              <p:cond delay="4250"/>
                            </p:stCondLst>
                            <p:childTnLst>
                              <p:par>
                                <p:cTn id="21" presetID="22" presetClass="entr" presetSubtype="8" fill="hold" nodeType="afterEffect">
                                  <p:stCondLst>
                                    <p:cond delay="0"/>
                                  </p:stCondLst>
                                  <p:childTnLst>
                                    <p:set>
                                      <p:cBhvr>
                                        <p:cTn id="22" dur="1" fill="hold">
                                          <p:stCondLst>
                                            <p:cond delay="0"/>
                                          </p:stCondLst>
                                        </p:cTn>
                                        <p:tgtEl>
                                          <p:spTgt spid="141">
                                            <p:txEl>
                                              <p:pRg st="4" end="4"/>
                                            </p:txEl>
                                          </p:spTgt>
                                        </p:tgtEl>
                                        <p:attrNameLst>
                                          <p:attrName>style.visibility</p:attrName>
                                        </p:attrNameLst>
                                      </p:cBhvr>
                                      <p:to>
                                        <p:strVal val="visible"/>
                                      </p:to>
                                    </p:set>
                                    <p:animEffect transition="in" filter="wipe(left)">
                                      <p:cBhvr>
                                        <p:cTn id="23" dur="1000"/>
                                        <p:tgtEl>
                                          <p:spTgt spid="141">
                                            <p:txEl>
                                              <p:pRg st="4" end="4"/>
                                            </p:txEl>
                                          </p:spTgt>
                                        </p:tgtEl>
                                      </p:cBhvr>
                                    </p:animEffect>
                                  </p:childTnLst>
                                </p:cTn>
                              </p:par>
                            </p:childTnLst>
                          </p:cTn>
                        </p:par>
                        <p:par>
                          <p:cTn id="24" fill="hold">
                            <p:stCondLst>
                              <p:cond delay="5250"/>
                            </p:stCondLst>
                            <p:childTnLst>
                              <p:par>
                                <p:cTn id="25" presetID="22" presetClass="entr" presetSubtype="8" fill="hold" nodeType="afterEffect">
                                  <p:stCondLst>
                                    <p:cond delay="0"/>
                                  </p:stCondLst>
                                  <p:childTnLst>
                                    <p:set>
                                      <p:cBhvr>
                                        <p:cTn id="26" dur="1" fill="hold">
                                          <p:stCondLst>
                                            <p:cond delay="0"/>
                                          </p:stCondLst>
                                        </p:cTn>
                                        <p:tgtEl>
                                          <p:spTgt spid="14"/>
                                        </p:tgtEl>
                                        <p:attrNameLst>
                                          <p:attrName>style.visibility</p:attrName>
                                        </p:attrNameLst>
                                      </p:cBhvr>
                                      <p:to>
                                        <p:strVal val="visible"/>
                                      </p:to>
                                    </p:set>
                                    <p:animEffect transition="in" filter="wipe(left)">
                                      <p:cBhvr>
                                        <p:cTn id="27" dur="250"/>
                                        <p:tgtEl>
                                          <p:spTgt spid="14"/>
                                        </p:tgtEl>
                                      </p:cBhvr>
                                    </p:animEffect>
                                  </p:childTnLst>
                                </p:cTn>
                              </p:par>
                            </p:childTnLst>
                          </p:cTn>
                        </p:par>
                        <p:par>
                          <p:cTn id="28" fill="hold">
                            <p:stCondLst>
                              <p:cond delay="5500"/>
                            </p:stCondLst>
                            <p:childTnLst>
                              <p:par>
                                <p:cTn id="29" presetID="10" presetClass="entr" presetSubtype="0" fill="hold" grpId="0" nodeType="afterEffect">
                                  <p:stCondLst>
                                    <p:cond delay="0"/>
                                  </p:stCondLst>
                                  <p:childTnLst>
                                    <p:set>
                                      <p:cBhvr>
                                        <p:cTn id="30" dur="1" fill="hold">
                                          <p:stCondLst>
                                            <p:cond delay="0"/>
                                          </p:stCondLst>
                                        </p:cTn>
                                        <p:tgtEl>
                                          <p:spTgt spid="61"/>
                                        </p:tgtEl>
                                        <p:attrNameLst>
                                          <p:attrName>style.visibility</p:attrName>
                                        </p:attrNameLst>
                                      </p:cBhvr>
                                      <p:to>
                                        <p:strVal val="visible"/>
                                      </p:to>
                                    </p:set>
                                    <p:animEffect transition="in" filter="fade">
                                      <p:cBhvr>
                                        <p:cTn id="31" dur="500"/>
                                        <p:tgtEl>
                                          <p:spTgt spid="61"/>
                                        </p:tgtEl>
                                      </p:cBhvr>
                                    </p:animEffect>
                                  </p:childTnLst>
                                </p:cTn>
                              </p:par>
                            </p:childTnLst>
                          </p:cTn>
                        </p:par>
                        <p:par>
                          <p:cTn id="32" fill="hold">
                            <p:stCondLst>
                              <p:cond delay="6000"/>
                            </p:stCondLst>
                            <p:childTnLst>
                              <p:par>
                                <p:cTn id="33" presetID="22" presetClass="entr" presetSubtype="8" fill="hold" nodeType="afterEffect">
                                  <p:stCondLst>
                                    <p:cond delay="0"/>
                                  </p:stCondLst>
                                  <p:childTnLst>
                                    <p:set>
                                      <p:cBhvr>
                                        <p:cTn id="34" dur="1" fill="hold">
                                          <p:stCondLst>
                                            <p:cond delay="0"/>
                                          </p:stCondLst>
                                        </p:cTn>
                                        <p:tgtEl>
                                          <p:spTgt spid="18"/>
                                        </p:tgtEl>
                                        <p:attrNameLst>
                                          <p:attrName>style.visibility</p:attrName>
                                        </p:attrNameLst>
                                      </p:cBhvr>
                                      <p:to>
                                        <p:strVal val="visible"/>
                                      </p:to>
                                    </p:set>
                                    <p:animEffect transition="in" filter="wipe(left)">
                                      <p:cBhvr>
                                        <p:cTn id="35" dur="250"/>
                                        <p:tgtEl>
                                          <p:spTgt spid="18"/>
                                        </p:tgtEl>
                                      </p:cBhvr>
                                    </p:animEffect>
                                  </p:childTnLst>
                                </p:cTn>
                              </p:par>
                            </p:childTnLst>
                          </p:cTn>
                        </p:par>
                        <p:par>
                          <p:cTn id="36" fill="hold">
                            <p:stCondLst>
                              <p:cond delay="6250"/>
                            </p:stCondLst>
                            <p:childTnLst>
                              <p:par>
                                <p:cTn id="37" presetID="22" presetClass="entr" presetSubtype="8" fill="hold" nodeType="afterEffect">
                                  <p:stCondLst>
                                    <p:cond delay="0"/>
                                  </p:stCondLst>
                                  <p:childTnLst>
                                    <p:set>
                                      <p:cBhvr>
                                        <p:cTn id="38" dur="1" fill="hold">
                                          <p:stCondLst>
                                            <p:cond delay="0"/>
                                          </p:stCondLst>
                                        </p:cTn>
                                        <p:tgtEl>
                                          <p:spTgt spid="23"/>
                                        </p:tgtEl>
                                        <p:attrNameLst>
                                          <p:attrName>style.visibility</p:attrName>
                                        </p:attrNameLst>
                                      </p:cBhvr>
                                      <p:to>
                                        <p:strVal val="visible"/>
                                      </p:to>
                                    </p:set>
                                    <p:animEffect transition="in" filter="wipe(left)">
                                      <p:cBhvr>
                                        <p:cTn id="39" dur="250"/>
                                        <p:tgtEl>
                                          <p:spTgt spid="23"/>
                                        </p:tgtEl>
                                      </p:cBhvr>
                                    </p:animEffect>
                                  </p:childTnLst>
                                </p:cTn>
                              </p:par>
                            </p:childTnLst>
                          </p:cTn>
                        </p:par>
                        <p:par>
                          <p:cTn id="40" fill="hold">
                            <p:stCondLst>
                              <p:cond delay="6500"/>
                            </p:stCondLst>
                            <p:childTnLst>
                              <p:par>
                                <p:cTn id="41" presetID="10" presetClass="entr" presetSubtype="0" fill="hold" grpId="0" nodeType="afterEffect">
                                  <p:stCondLst>
                                    <p:cond delay="0"/>
                                  </p:stCondLst>
                                  <p:childTnLst>
                                    <p:set>
                                      <p:cBhvr>
                                        <p:cTn id="42" dur="1" fill="hold">
                                          <p:stCondLst>
                                            <p:cond delay="0"/>
                                          </p:stCondLst>
                                        </p:cTn>
                                        <p:tgtEl>
                                          <p:spTgt spid="63"/>
                                        </p:tgtEl>
                                        <p:attrNameLst>
                                          <p:attrName>style.visibility</p:attrName>
                                        </p:attrNameLst>
                                      </p:cBhvr>
                                      <p:to>
                                        <p:strVal val="visible"/>
                                      </p:to>
                                    </p:set>
                                    <p:animEffect transition="in" filter="fade">
                                      <p:cBhvr>
                                        <p:cTn id="43" dur="500"/>
                                        <p:tgtEl>
                                          <p:spTgt spid="63"/>
                                        </p:tgtEl>
                                      </p:cBhvr>
                                    </p:animEffect>
                                  </p:childTnLst>
                                </p:cTn>
                              </p:par>
                            </p:childTnLst>
                          </p:cTn>
                        </p:par>
                        <p:par>
                          <p:cTn id="44" fill="hold">
                            <p:stCondLst>
                              <p:cond delay="7000"/>
                            </p:stCondLst>
                            <p:childTnLst>
                              <p:par>
                                <p:cTn id="45" presetID="22" presetClass="entr" presetSubtype="2" fill="hold" nodeType="afterEffect">
                                  <p:stCondLst>
                                    <p:cond delay="0"/>
                                  </p:stCondLst>
                                  <p:childTnLst>
                                    <p:set>
                                      <p:cBhvr>
                                        <p:cTn id="46" dur="1" fill="hold">
                                          <p:stCondLst>
                                            <p:cond delay="0"/>
                                          </p:stCondLst>
                                        </p:cTn>
                                        <p:tgtEl>
                                          <p:spTgt spid="6"/>
                                        </p:tgtEl>
                                        <p:attrNameLst>
                                          <p:attrName>style.visibility</p:attrName>
                                        </p:attrNameLst>
                                      </p:cBhvr>
                                      <p:to>
                                        <p:strVal val="visible"/>
                                      </p:to>
                                    </p:set>
                                    <p:animEffect transition="in" filter="wipe(right)">
                                      <p:cBhvr>
                                        <p:cTn id="4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1" grpId="0" animBg="1"/>
      <p:bldP spid="63"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ata Lake Store: </a:t>
            </a:r>
            <a:r>
              <a:rPr lang="en-US" dirty="0">
                <a:solidFill>
                  <a:schemeClr val="accent2"/>
                </a:solidFill>
              </a:rPr>
              <a:t>Technical Requirements</a:t>
            </a:r>
          </a:p>
        </p:txBody>
      </p:sp>
      <p:sp>
        <p:nvSpPr>
          <p:cNvPr id="24" name="Slide Number Placeholder 23"/>
          <p:cNvSpPr>
            <a:spLocks noGrp="1"/>
          </p:cNvSpPr>
          <p:nvPr>
            <p:ph type="sldNum" sz="quarter" idx="4"/>
          </p:nvPr>
        </p:nvSpPr>
        <p:spPr/>
        <p:txBody>
          <a:bodyPr/>
          <a:lstStyle/>
          <a:p>
            <a:pPr>
              <a:defRPr/>
            </a:pPr>
            <a:fld id="{75FAD755-3BD0-2447-A9DF-109DAABEFD99}" type="slidenum">
              <a:rPr lang="en-US" smtClean="0"/>
              <a:pPr>
                <a:defRPr/>
              </a:pPr>
              <a:t>7</a:t>
            </a:fld>
            <a:endParaRPr lang="en-US" dirty="0"/>
          </a:p>
        </p:txBody>
      </p:sp>
      <p:grpSp>
        <p:nvGrpSpPr>
          <p:cNvPr id="891" name="Group 890"/>
          <p:cNvGrpSpPr/>
          <p:nvPr/>
        </p:nvGrpSpPr>
        <p:grpSpPr>
          <a:xfrm>
            <a:off x="1" y="1499571"/>
            <a:ext cx="11757022" cy="548640"/>
            <a:chOff x="1" y="1274534"/>
            <a:chExt cx="11757022" cy="548640"/>
          </a:xfrm>
        </p:grpSpPr>
        <p:sp>
          <p:nvSpPr>
            <p:cNvPr id="5" name="Rectangle 4"/>
            <p:cNvSpPr/>
            <p:nvPr/>
          </p:nvSpPr>
          <p:spPr bwMode="auto">
            <a:xfrm>
              <a:off x="1" y="1274534"/>
              <a:ext cx="3248024" cy="54864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48640" tIns="45720" rIns="91440" bIns="45720" numCol="1" spcCol="0" rtlCol="0" fromWordArt="0" anchor="ctr" anchorCtr="0" forceAA="0" compatLnSpc="1">
              <a:prstTxWarp prst="textNoShape">
                <a:avLst/>
              </a:prstTxWarp>
              <a:noAutofit/>
            </a:bodyPr>
            <a:lstStyle/>
            <a:p>
              <a:pPr defTabSz="932472" fontAlgn="base"/>
              <a:r>
                <a:rPr lang="en-US" sz="1600" dirty="0">
                  <a:solidFill>
                    <a:schemeClr val="bg1"/>
                  </a:solidFill>
                  <a:latin typeface="Segoe UI Semibold" panose="020B0702040204020203" pitchFamily="34" charset="0"/>
                  <a:ea typeface="Segoe UI" pitchFamily="34" charset="0"/>
                  <a:cs typeface="Segoe UI Semibold" panose="020B0702040204020203" pitchFamily="34" charset="0"/>
                </a:rPr>
                <a:t>	Secure</a:t>
              </a:r>
            </a:p>
          </p:txBody>
        </p:sp>
        <p:sp>
          <p:nvSpPr>
            <p:cNvPr id="16" name="Rectangle 15"/>
            <p:cNvSpPr/>
            <p:nvPr/>
          </p:nvSpPr>
          <p:spPr>
            <a:xfrm>
              <a:off x="3248024" y="1274534"/>
              <a:ext cx="8508999" cy="548640"/>
            </a:xfrm>
            <a:prstGeom prst="rect">
              <a:avLst/>
            </a:prstGeom>
            <a:solidFill>
              <a:schemeClr val="bg1">
                <a:lumMod val="95000"/>
              </a:schemeClr>
            </a:solidFill>
          </p:spPr>
          <p:txBody>
            <a:bodyPr wrap="square" lIns="91440" anchor="ctr">
              <a:noAutofit/>
            </a:bodyPr>
            <a:lstStyle/>
            <a:p>
              <a:pPr marL="53965" lvl="1" defTabSz="931954" fontAlgn="base">
                <a:buClr>
                  <a:srgbClr val="68217A">
                    <a:lumMod val="50000"/>
                  </a:srgbClr>
                </a:buClr>
                <a:tabLst>
                  <a:tab pos="658368" algn="l"/>
                </a:tabLst>
              </a:pPr>
              <a:r>
                <a:rPr lang="en-IN" sz="1400" dirty="0">
                  <a:ea typeface="Segoe UI" pitchFamily="34" charset="0"/>
                  <a:cs typeface="Segoe UI" pitchFamily="34" charset="0"/>
                </a:rPr>
                <a:t>Must be highly secure to prevent unauthorized access (especially as all data is in one place). </a:t>
              </a:r>
            </a:p>
          </p:txBody>
        </p:sp>
        <p:grpSp>
          <p:nvGrpSpPr>
            <p:cNvPr id="48" name="Group 47"/>
            <p:cNvGrpSpPr/>
            <p:nvPr/>
          </p:nvGrpSpPr>
          <p:grpSpPr>
            <a:xfrm>
              <a:off x="759876" y="1341674"/>
              <a:ext cx="254812" cy="414360"/>
              <a:chOff x="825500" y="1389063"/>
              <a:chExt cx="522287" cy="849312"/>
            </a:xfrm>
          </p:grpSpPr>
          <p:sp>
            <p:nvSpPr>
              <p:cNvPr id="31" name="Freeform 10"/>
              <p:cNvSpPr>
                <a:spLocks/>
              </p:cNvSpPr>
              <p:nvPr/>
            </p:nvSpPr>
            <p:spPr bwMode="auto">
              <a:xfrm>
                <a:off x="925513" y="1389063"/>
                <a:ext cx="322262" cy="369887"/>
              </a:xfrm>
              <a:custGeom>
                <a:avLst/>
                <a:gdLst>
                  <a:gd name="T0" fmla="*/ 200 w 200"/>
                  <a:gd name="T1" fmla="*/ 229 h 229"/>
                  <a:gd name="T2" fmla="*/ 156 w 200"/>
                  <a:gd name="T3" fmla="*/ 229 h 229"/>
                  <a:gd name="T4" fmla="*/ 156 w 200"/>
                  <a:gd name="T5" fmla="*/ 100 h 229"/>
                  <a:gd name="T6" fmla="*/ 100 w 200"/>
                  <a:gd name="T7" fmla="*/ 44 h 229"/>
                  <a:gd name="T8" fmla="*/ 44 w 200"/>
                  <a:gd name="T9" fmla="*/ 100 h 229"/>
                  <a:gd name="T10" fmla="*/ 44 w 200"/>
                  <a:gd name="T11" fmla="*/ 229 h 229"/>
                  <a:gd name="T12" fmla="*/ 0 w 200"/>
                  <a:gd name="T13" fmla="*/ 229 h 229"/>
                  <a:gd name="T14" fmla="*/ 0 w 200"/>
                  <a:gd name="T15" fmla="*/ 100 h 229"/>
                  <a:gd name="T16" fmla="*/ 100 w 200"/>
                  <a:gd name="T17" fmla="*/ 0 h 229"/>
                  <a:gd name="T18" fmla="*/ 200 w 200"/>
                  <a:gd name="T19" fmla="*/ 100 h 229"/>
                  <a:gd name="T20" fmla="*/ 200 w 200"/>
                  <a:gd name="T21" fmla="*/ 229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0" h="229">
                    <a:moveTo>
                      <a:pt x="200" y="229"/>
                    </a:moveTo>
                    <a:cubicBezTo>
                      <a:pt x="156" y="229"/>
                      <a:pt x="156" y="229"/>
                      <a:pt x="156" y="229"/>
                    </a:cubicBezTo>
                    <a:cubicBezTo>
                      <a:pt x="156" y="100"/>
                      <a:pt x="156" y="100"/>
                      <a:pt x="156" y="100"/>
                    </a:cubicBezTo>
                    <a:cubicBezTo>
                      <a:pt x="156" y="69"/>
                      <a:pt x="131" y="44"/>
                      <a:pt x="100" y="44"/>
                    </a:cubicBezTo>
                    <a:cubicBezTo>
                      <a:pt x="69" y="44"/>
                      <a:pt x="44" y="69"/>
                      <a:pt x="44" y="100"/>
                    </a:cubicBezTo>
                    <a:cubicBezTo>
                      <a:pt x="44" y="229"/>
                      <a:pt x="44" y="229"/>
                      <a:pt x="44" y="229"/>
                    </a:cubicBezTo>
                    <a:cubicBezTo>
                      <a:pt x="0" y="229"/>
                      <a:pt x="0" y="229"/>
                      <a:pt x="0" y="229"/>
                    </a:cubicBezTo>
                    <a:cubicBezTo>
                      <a:pt x="0" y="100"/>
                      <a:pt x="0" y="100"/>
                      <a:pt x="0" y="100"/>
                    </a:cubicBezTo>
                    <a:cubicBezTo>
                      <a:pt x="0" y="45"/>
                      <a:pt x="45" y="0"/>
                      <a:pt x="100" y="0"/>
                    </a:cubicBezTo>
                    <a:cubicBezTo>
                      <a:pt x="155" y="0"/>
                      <a:pt x="200" y="45"/>
                      <a:pt x="200" y="100"/>
                    </a:cubicBezTo>
                    <a:lnTo>
                      <a:pt x="200" y="229"/>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5" name="Rectangle 11"/>
              <p:cNvSpPr>
                <a:spLocks noChangeArrowheads="1"/>
              </p:cNvSpPr>
              <p:nvPr/>
            </p:nvSpPr>
            <p:spPr bwMode="auto">
              <a:xfrm>
                <a:off x="825500" y="1746250"/>
                <a:ext cx="522287" cy="492125"/>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6" name="Rectangle 12"/>
              <p:cNvSpPr>
                <a:spLocks noChangeArrowheads="1"/>
              </p:cNvSpPr>
              <p:nvPr/>
            </p:nvSpPr>
            <p:spPr bwMode="auto">
              <a:xfrm>
                <a:off x="825500" y="1746250"/>
                <a:ext cx="134937" cy="492125"/>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7" name="Freeform 13"/>
              <p:cNvSpPr>
                <a:spLocks/>
              </p:cNvSpPr>
              <p:nvPr/>
            </p:nvSpPr>
            <p:spPr bwMode="auto">
              <a:xfrm>
                <a:off x="1033463" y="1903413"/>
                <a:ext cx="106362" cy="187325"/>
              </a:xfrm>
              <a:custGeom>
                <a:avLst/>
                <a:gdLst>
                  <a:gd name="T0" fmla="*/ 66 w 66"/>
                  <a:gd name="T1" fmla="*/ 33 h 116"/>
                  <a:gd name="T2" fmla="*/ 33 w 66"/>
                  <a:gd name="T3" fmla="*/ 0 h 116"/>
                  <a:gd name="T4" fmla="*/ 0 w 66"/>
                  <a:gd name="T5" fmla="*/ 33 h 116"/>
                  <a:gd name="T6" fmla="*/ 22 w 66"/>
                  <a:gd name="T7" fmla="*/ 64 h 116"/>
                  <a:gd name="T8" fmla="*/ 22 w 66"/>
                  <a:gd name="T9" fmla="*/ 116 h 116"/>
                  <a:gd name="T10" fmla="*/ 44 w 66"/>
                  <a:gd name="T11" fmla="*/ 116 h 116"/>
                  <a:gd name="T12" fmla="*/ 44 w 66"/>
                  <a:gd name="T13" fmla="*/ 64 h 116"/>
                  <a:gd name="T14" fmla="*/ 66 w 66"/>
                  <a:gd name="T15" fmla="*/ 33 h 11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6" h="116">
                    <a:moveTo>
                      <a:pt x="66" y="33"/>
                    </a:moveTo>
                    <a:cubicBezTo>
                      <a:pt x="66" y="15"/>
                      <a:pt x="51" y="0"/>
                      <a:pt x="33" y="0"/>
                    </a:cubicBezTo>
                    <a:cubicBezTo>
                      <a:pt x="15" y="0"/>
                      <a:pt x="0" y="15"/>
                      <a:pt x="0" y="33"/>
                    </a:cubicBezTo>
                    <a:cubicBezTo>
                      <a:pt x="0" y="47"/>
                      <a:pt x="9" y="60"/>
                      <a:pt x="22" y="64"/>
                    </a:cubicBezTo>
                    <a:cubicBezTo>
                      <a:pt x="22" y="116"/>
                      <a:pt x="22" y="116"/>
                      <a:pt x="22" y="116"/>
                    </a:cubicBezTo>
                    <a:cubicBezTo>
                      <a:pt x="44" y="116"/>
                      <a:pt x="44" y="116"/>
                      <a:pt x="44" y="116"/>
                    </a:cubicBezTo>
                    <a:cubicBezTo>
                      <a:pt x="44" y="64"/>
                      <a:pt x="44" y="64"/>
                      <a:pt x="44" y="64"/>
                    </a:cubicBezTo>
                    <a:cubicBezTo>
                      <a:pt x="57" y="60"/>
                      <a:pt x="66" y="47"/>
                      <a:pt x="66" y="3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grpSp>
        <p:nvGrpSpPr>
          <p:cNvPr id="898" name="Group 897"/>
          <p:cNvGrpSpPr/>
          <p:nvPr/>
        </p:nvGrpSpPr>
        <p:grpSpPr>
          <a:xfrm>
            <a:off x="0" y="4341266"/>
            <a:ext cx="11757022" cy="548640"/>
            <a:chOff x="1" y="4689848"/>
            <a:chExt cx="11757022" cy="548640"/>
          </a:xfrm>
        </p:grpSpPr>
        <p:sp>
          <p:nvSpPr>
            <p:cNvPr id="10" name="Rectangle 9"/>
            <p:cNvSpPr/>
            <p:nvPr/>
          </p:nvSpPr>
          <p:spPr bwMode="auto">
            <a:xfrm>
              <a:off x="1" y="4689848"/>
              <a:ext cx="3248023" cy="54864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48640" tIns="45720" rIns="91440" bIns="45720" numCol="1" spcCol="0" rtlCol="0" fromWordArt="0" anchor="ctr" anchorCtr="0" forceAA="0" compatLnSpc="1">
              <a:prstTxWarp prst="textNoShape">
                <a:avLst/>
              </a:prstTxWarp>
              <a:noAutofit/>
            </a:bodyPr>
            <a:lstStyle/>
            <a:p>
              <a:pPr defTabSz="932472" fontAlgn="base"/>
              <a:r>
                <a:rPr lang="en-US" sz="1600" dirty="0">
                  <a:solidFill>
                    <a:schemeClr val="bg1"/>
                  </a:solidFill>
                  <a:latin typeface="Segoe UI Semibold" panose="020B0702040204020203" pitchFamily="34" charset="0"/>
                  <a:ea typeface="Segoe UI" pitchFamily="34" charset="0"/>
                  <a:cs typeface="Segoe UI Semibold" panose="020B0702040204020203" pitchFamily="34" charset="0"/>
                </a:rPr>
                <a:t>	Native format</a:t>
              </a:r>
            </a:p>
          </p:txBody>
        </p:sp>
        <p:sp>
          <p:nvSpPr>
            <p:cNvPr id="22" name="Rectangle 21"/>
            <p:cNvSpPr/>
            <p:nvPr/>
          </p:nvSpPr>
          <p:spPr>
            <a:xfrm>
              <a:off x="3248024" y="4689848"/>
              <a:ext cx="8508999" cy="548640"/>
            </a:xfrm>
            <a:prstGeom prst="rect">
              <a:avLst/>
            </a:prstGeom>
            <a:solidFill>
              <a:schemeClr val="bg1">
                <a:lumMod val="95000"/>
              </a:schemeClr>
            </a:solidFill>
          </p:spPr>
          <p:txBody>
            <a:bodyPr wrap="square" lIns="91440" anchor="ctr">
              <a:noAutofit/>
            </a:bodyPr>
            <a:lstStyle/>
            <a:p>
              <a:pPr marL="53965" lvl="1" defTabSz="931954" fontAlgn="base">
                <a:buClr>
                  <a:srgbClr val="68217A">
                    <a:lumMod val="50000"/>
                  </a:srgbClr>
                </a:buClr>
                <a:tabLst>
                  <a:tab pos="658368" algn="l"/>
                </a:tabLst>
              </a:pPr>
              <a:r>
                <a:rPr lang="en-IN" sz="1400" dirty="0">
                  <a:ea typeface="Segoe UI" pitchFamily="34" charset="0"/>
                  <a:cs typeface="Segoe UI" pitchFamily="34" charset="0"/>
                </a:rPr>
                <a:t>Must permit data to be stored in its ‘native format’ to track lineage &amp; for data provenance.</a:t>
              </a:r>
            </a:p>
          </p:txBody>
        </p:sp>
        <p:grpSp>
          <p:nvGrpSpPr>
            <p:cNvPr id="302" name="Group 301"/>
            <p:cNvGrpSpPr/>
            <p:nvPr/>
          </p:nvGrpSpPr>
          <p:grpSpPr>
            <a:xfrm>
              <a:off x="678492" y="4718226"/>
              <a:ext cx="417580" cy="491884"/>
              <a:chOff x="1982899" y="2348599"/>
              <a:chExt cx="1315670" cy="1549782"/>
            </a:xfrm>
          </p:grpSpPr>
          <p:sp>
            <p:nvSpPr>
              <p:cNvPr id="303" name="Freeform 32"/>
              <p:cNvSpPr>
                <a:spLocks/>
              </p:cNvSpPr>
              <p:nvPr/>
            </p:nvSpPr>
            <p:spPr bwMode="auto">
              <a:xfrm>
                <a:off x="2126074" y="3089631"/>
                <a:ext cx="1172495" cy="808750"/>
              </a:xfrm>
              <a:custGeom>
                <a:avLst/>
                <a:gdLst>
                  <a:gd name="T0" fmla="*/ 303 w 303"/>
                  <a:gd name="T1" fmla="*/ 209 h 209"/>
                  <a:gd name="T2" fmla="*/ 303 w 303"/>
                  <a:gd name="T3" fmla="*/ 0 h 209"/>
                  <a:gd name="T4" fmla="*/ 152 w 303"/>
                  <a:gd name="T5" fmla="*/ 0 h 209"/>
                  <a:gd name="T6" fmla="*/ 0 w 303"/>
                  <a:gd name="T7" fmla="*/ 0 h 209"/>
                  <a:gd name="T8" fmla="*/ 0 w 303"/>
                  <a:gd name="T9" fmla="*/ 209 h 209"/>
                  <a:gd name="T10" fmla="*/ 152 w 303"/>
                  <a:gd name="T11" fmla="*/ 209 h 209"/>
                  <a:gd name="T12" fmla="*/ 303 w 303"/>
                  <a:gd name="T13" fmla="*/ 209 h 209"/>
                </a:gdLst>
                <a:ahLst/>
                <a:cxnLst>
                  <a:cxn ang="0">
                    <a:pos x="T0" y="T1"/>
                  </a:cxn>
                  <a:cxn ang="0">
                    <a:pos x="T2" y="T3"/>
                  </a:cxn>
                  <a:cxn ang="0">
                    <a:pos x="T4" y="T5"/>
                  </a:cxn>
                  <a:cxn ang="0">
                    <a:pos x="T6" y="T7"/>
                  </a:cxn>
                  <a:cxn ang="0">
                    <a:pos x="T8" y="T9"/>
                  </a:cxn>
                  <a:cxn ang="0">
                    <a:pos x="T10" y="T11"/>
                  </a:cxn>
                  <a:cxn ang="0">
                    <a:pos x="T12" y="T13"/>
                  </a:cxn>
                </a:cxnLst>
                <a:rect l="0" t="0" r="r" b="b"/>
                <a:pathLst>
                  <a:path w="303" h="209">
                    <a:moveTo>
                      <a:pt x="303" y="209"/>
                    </a:moveTo>
                    <a:lnTo>
                      <a:pt x="303" y="0"/>
                    </a:lnTo>
                    <a:lnTo>
                      <a:pt x="152" y="0"/>
                    </a:lnTo>
                    <a:lnTo>
                      <a:pt x="0" y="0"/>
                    </a:lnTo>
                    <a:lnTo>
                      <a:pt x="0" y="209"/>
                    </a:lnTo>
                    <a:lnTo>
                      <a:pt x="152" y="209"/>
                    </a:lnTo>
                    <a:lnTo>
                      <a:pt x="303" y="209"/>
                    </a:lnTo>
                    <a:close/>
                  </a:path>
                </a:pathLst>
              </a:custGeom>
              <a:solidFill>
                <a:srgbClr val="0082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04" name="Rectangle 33"/>
              <p:cNvSpPr>
                <a:spLocks noChangeArrowheads="1"/>
              </p:cNvSpPr>
              <p:nvPr/>
            </p:nvSpPr>
            <p:spPr bwMode="auto">
              <a:xfrm>
                <a:off x="2184119" y="3132196"/>
                <a:ext cx="1056406" cy="634617"/>
              </a:xfrm>
              <a:prstGeom prst="rect">
                <a:avLst/>
              </a:prstGeom>
              <a:solidFill>
                <a:srgbClr val="00B19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05" name="Freeform 37"/>
              <p:cNvSpPr>
                <a:spLocks/>
              </p:cNvSpPr>
              <p:nvPr/>
            </p:nvSpPr>
            <p:spPr bwMode="auto">
              <a:xfrm>
                <a:off x="1982899" y="2780061"/>
                <a:ext cx="692662" cy="615269"/>
              </a:xfrm>
              <a:custGeom>
                <a:avLst/>
                <a:gdLst>
                  <a:gd name="T0" fmla="*/ 351 w 389"/>
                  <a:gd name="T1" fmla="*/ 128 h 346"/>
                  <a:gd name="T2" fmla="*/ 351 w 389"/>
                  <a:gd name="T3" fmla="*/ 128 h 346"/>
                  <a:gd name="T4" fmla="*/ 311 w 389"/>
                  <a:gd name="T5" fmla="*/ 100 h 346"/>
                  <a:gd name="T6" fmla="*/ 253 w 389"/>
                  <a:gd name="T7" fmla="*/ 59 h 346"/>
                  <a:gd name="T8" fmla="*/ 185 w 389"/>
                  <a:gd name="T9" fmla="*/ 11 h 346"/>
                  <a:gd name="T10" fmla="*/ 195 w 389"/>
                  <a:gd name="T11" fmla="*/ 69 h 346"/>
                  <a:gd name="T12" fmla="*/ 284 w 389"/>
                  <a:gd name="T13" fmla="*/ 132 h 346"/>
                  <a:gd name="T14" fmla="*/ 281 w 389"/>
                  <a:gd name="T15" fmla="*/ 188 h 346"/>
                  <a:gd name="T16" fmla="*/ 189 w 389"/>
                  <a:gd name="T17" fmla="*/ 161 h 346"/>
                  <a:gd name="T18" fmla="*/ 107 w 389"/>
                  <a:gd name="T19" fmla="*/ 73 h 346"/>
                  <a:gd name="T20" fmla="*/ 139 w 389"/>
                  <a:gd name="T21" fmla="*/ 54 h 346"/>
                  <a:gd name="T22" fmla="*/ 154 w 389"/>
                  <a:gd name="T23" fmla="*/ 0 h 346"/>
                  <a:gd name="T24" fmla="*/ 56 w 389"/>
                  <a:gd name="T25" fmla="*/ 56 h 346"/>
                  <a:gd name="T26" fmla="*/ 119 w 389"/>
                  <a:gd name="T27" fmla="*/ 158 h 346"/>
                  <a:gd name="T28" fmla="*/ 58 w 389"/>
                  <a:gd name="T29" fmla="*/ 77 h 346"/>
                  <a:gd name="T30" fmla="*/ 25 w 389"/>
                  <a:gd name="T31" fmla="*/ 103 h 346"/>
                  <a:gd name="T32" fmla="*/ 92 w 389"/>
                  <a:gd name="T33" fmla="*/ 181 h 346"/>
                  <a:gd name="T34" fmla="*/ 30 w 389"/>
                  <a:gd name="T35" fmla="*/ 124 h 346"/>
                  <a:gd name="T36" fmla="*/ 0 w 389"/>
                  <a:gd name="T37" fmla="*/ 152 h 346"/>
                  <a:gd name="T38" fmla="*/ 59 w 389"/>
                  <a:gd name="T39" fmla="*/ 203 h 346"/>
                  <a:gd name="T40" fmla="*/ 16 w 389"/>
                  <a:gd name="T41" fmla="*/ 187 h 346"/>
                  <a:gd name="T42" fmla="*/ 13 w 389"/>
                  <a:gd name="T43" fmla="*/ 230 h 346"/>
                  <a:gd name="T44" fmla="*/ 249 w 389"/>
                  <a:gd name="T45" fmla="*/ 328 h 346"/>
                  <a:gd name="T46" fmla="*/ 260 w 389"/>
                  <a:gd name="T47" fmla="*/ 346 h 346"/>
                  <a:gd name="T48" fmla="*/ 389 w 389"/>
                  <a:gd name="T49" fmla="*/ 278 h 346"/>
                  <a:gd name="T50" fmla="*/ 351 w 389"/>
                  <a:gd name="T51" fmla="*/ 128 h 346"/>
                  <a:gd name="T52" fmla="*/ 351 w 389"/>
                  <a:gd name="T53" fmla="*/ 128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89" h="346">
                    <a:moveTo>
                      <a:pt x="351" y="128"/>
                    </a:moveTo>
                    <a:cubicBezTo>
                      <a:pt x="351" y="128"/>
                      <a:pt x="351" y="128"/>
                      <a:pt x="351" y="128"/>
                    </a:cubicBezTo>
                    <a:cubicBezTo>
                      <a:pt x="311" y="100"/>
                      <a:pt x="311" y="100"/>
                      <a:pt x="311" y="100"/>
                    </a:cubicBezTo>
                    <a:cubicBezTo>
                      <a:pt x="253" y="59"/>
                      <a:pt x="253" y="59"/>
                      <a:pt x="253" y="59"/>
                    </a:cubicBezTo>
                    <a:cubicBezTo>
                      <a:pt x="185" y="11"/>
                      <a:pt x="185" y="11"/>
                      <a:pt x="185" y="11"/>
                    </a:cubicBezTo>
                    <a:cubicBezTo>
                      <a:pt x="171" y="29"/>
                      <a:pt x="176" y="55"/>
                      <a:pt x="195" y="69"/>
                    </a:cubicBezTo>
                    <a:cubicBezTo>
                      <a:pt x="284" y="132"/>
                      <a:pt x="284" y="132"/>
                      <a:pt x="284" y="132"/>
                    </a:cubicBezTo>
                    <a:cubicBezTo>
                      <a:pt x="308" y="151"/>
                      <a:pt x="303" y="173"/>
                      <a:pt x="281" y="188"/>
                    </a:cubicBezTo>
                    <a:cubicBezTo>
                      <a:pt x="231" y="218"/>
                      <a:pt x="189" y="161"/>
                      <a:pt x="189" y="161"/>
                    </a:cubicBezTo>
                    <a:cubicBezTo>
                      <a:pt x="107" y="73"/>
                      <a:pt x="107" y="73"/>
                      <a:pt x="107" y="73"/>
                    </a:cubicBezTo>
                    <a:cubicBezTo>
                      <a:pt x="139" y="54"/>
                      <a:pt x="139" y="54"/>
                      <a:pt x="139" y="54"/>
                    </a:cubicBezTo>
                    <a:cubicBezTo>
                      <a:pt x="158" y="43"/>
                      <a:pt x="165" y="19"/>
                      <a:pt x="154" y="0"/>
                    </a:cubicBezTo>
                    <a:cubicBezTo>
                      <a:pt x="56" y="56"/>
                      <a:pt x="56" y="56"/>
                      <a:pt x="56" y="56"/>
                    </a:cubicBezTo>
                    <a:cubicBezTo>
                      <a:pt x="119" y="158"/>
                      <a:pt x="119" y="158"/>
                      <a:pt x="119" y="158"/>
                    </a:cubicBezTo>
                    <a:cubicBezTo>
                      <a:pt x="58" y="77"/>
                      <a:pt x="58" y="77"/>
                      <a:pt x="58" y="77"/>
                    </a:cubicBezTo>
                    <a:cubicBezTo>
                      <a:pt x="25" y="103"/>
                      <a:pt x="25" y="103"/>
                      <a:pt x="25" y="103"/>
                    </a:cubicBezTo>
                    <a:cubicBezTo>
                      <a:pt x="92" y="181"/>
                      <a:pt x="92" y="181"/>
                      <a:pt x="92" y="181"/>
                    </a:cubicBezTo>
                    <a:cubicBezTo>
                      <a:pt x="30" y="124"/>
                      <a:pt x="30" y="124"/>
                      <a:pt x="30" y="124"/>
                    </a:cubicBezTo>
                    <a:cubicBezTo>
                      <a:pt x="0" y="152"/>
                      <a:pt x="0" y="152"/>
                      <a:pt x="0" y="152"/>
                    </a:cubicBezTo>
                    <a:cubicBezTo>
                      <a:pt x="59" y="203"/>
                      <a:pt x="59" y="203"/>
                      <a:pt x="59" y="203"/>
                    </a:cubicBezTo>
                    <a:cubicBezTo>
                      <a:pt x="16" y="187"/>
                      <a:pt x="16" y="187"/>
                      <a:pt x="16" y="187"/>
                    </a:cubicBezTo>
                    <a:cubicBezTo>
                      <a:pt x="13" y="230"/>
                      <a:pt x="13" y="230"/>
                      <a:pt x="13" y="230"/>
                    </a:cubicBezTo>
                    <a:cubicBezTo>
                      <a:pt x="249" y="328"/>
                      <a:pt x="249" y="328"/>
                      <a:pt x="249" y="328"/>
                    </a:cubicBezTo>
                    <a:cubicBezTo>
                      <a:pt x="260" y="346"/>
                      <a:pt x="260" y="346"/>
                      <a:pt x="260" y="346"/>
                    </a:cubicBezTo>
                    <a:cubicBezTo>
                      <a:pt x="389" y="278"/>
                      <a:pt x="389" y="278"/>
                      <a:pt x="389" y="278"/>
                    </a:cubicBezTo>
                    <a:cubicBezTo>
                      <a:pt x="351" y="128"/>
                      <a:pt x="351" y="128"/>
                      <a:pt x="351" y="128"/>
                    </a:cubicBezTo>
                    <a:cubicBezTo>
                      <a:pt x="351" y="128"/>
                      <a:pt x="351" y="128"/>
                      <a:pt x="351" y="128"/>
                    </a:cubicBezTo>
                  </a:path>
                </a:pathLst>
              </a:custGeom>
              <a:solidFill>
                <a:srgbClr val="F8ED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306" name="Group 305"/>
              <p:cNvGrpSpPr/>
              <p:nvPr/>
            </p:nvGrpSpPr>
            <p:grpSpPr>
              <a:xfrm>
                <a:off x="2273120" y="2348599"/>
                <a:ext cx="568834" cy="564964"/>
                <a:chOff x="4029927" y="3894511"/>
                <a:chExt cx="568834" cy="564964"/>
              </a:xfrm>
            </p:grpSpPr>
            <p:sp>
              <p:nvSpPr>
                <p:cNvPr id="309" name="Rectangle 34"/>
                <p:cNvSpPr>
                  <a:spLocks noChangeArrowheads="1"/>
                </p:cNvSpPr>
                <p:nvPr/>
              </p:nvSpPr>
              <p:spPr bwMode="auto">
                <a:xfrm>
                  <a:off x="4068623" y="3921598"/>
                  <a:ext cx="495311" cy="49144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0" name="Rectangle 35"/>
                <p:cNvSpPr>
                  <a:spLocks noChangeArrowheads="1"/>
                </p:cNvSpPr>
                <p:nvPr/>
              </p:nvSpPr>
              <p:spPr bwMode="auto">
                <a:xfrm>
                  <a:off x="4037666" y="3898381"/>
                  <a:ext cx="553356" cy="557225"/>
                </a:xfrm>
                <a:prstGeom prst="rect">
                  <a:avLst/>
                </a:prstGeom>
                <a:solidFill>
                  <a:srgbClr val="00844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1" name="Freeform 36"/>
                <p:cNvSpPr>
                  <a:spLocks noEditPoints="1"/>
                </p:cNvSpPr>
                <p:nvPr/>
              </p:nvSpPr>
              <p:spPr bwMode="auto">
                <a:xfrm>
                  <a:off x="4029927" y="3894511"/>
                  <a:ext cx="568834" cy="564964"/>
                </a:xfrm>
                <a:custGeom>
                  <a:avLst/>
                  <a:gdLst>
                    <a:gd name="T0" fmla="*/ 147 w 147"/>
                    <a:gd name="T1" fmla="*/ 0 h 146"/>
                    <a:gd name="T2" fmla="*/ 143 w 147"/>
                    <a:gd name="T3" fmla="*/ 0 h 146"/>
                    <a:gd name="T4" fmla="*/ 4 w 147"/>
                    <a:gd name="T5" fmla="*/ 0 h 146"/>
                    <a:gd name="T6" fmla="*/ 0 w 147"/>
                    <a:gd name="T7" fmla="*/ 0 h 146"/>
                    <a:gd name="T8" fmla="*/ 0 w 147"/>
                    <a:gd name="T9" fmla="*/ 3 h 146"/>
                    <a:gd name="T10" fmla="*/ 0 w 147"/>
                    <a:gd name="T11" fmla="*/ 143 h 146"/>
                    <a:gd name="T12" fmla="*/ 0 w 147"/>
                    <a:gd name="T13" fmla="*/ 146 h 146"/>
                    <a:gd name="T14" fmla="*/ 4 w 147"/>
                    <a:gd name="T15" fmla="*/ 146 h 146"/>
                    <a:gd name="T16" fmla="*/ 143 w 147"/>
                    <a:gd name="T17" fmla="*/ 146 h 146"/>
                    <a:gd name="T18" fmla="*/ 147 w 147"/>
                    <a:gd name="T19" fmla="*/ 146 h 146"/>
                    <a:gd name="T20" fmla="*/ 147 w 147"/>
                    <a:gd name="T21" fmla="*/ 143 h 146"/>
                    <a:gd name="T22" fmla="*/ 147 w 147"/>
                    <a:gd name="T23" fmla="*/ 3 h 146"/>
                    <a:gd name="T24" fmla="*/ 147 w 147"/>
                    <a:gd name="T25" fmla="*/ 0 h 146"/>
                    <a:gd name="T26" fmla="*/ 143 w 147"/>
                    <a:gd name="T27" fmla="*/ 143 h 146"/>
                    <a:gd name="T28" fmla="*/ 4 w 147"/>
                    <a:gd name="T29" fmla="*/ 143 h 146"/>
                    <a:gd name="T30" fmla="*/ 4 w 147"/>
                    <a:gd name="T31" fmla="*/ 3 h 146"/>
                    <a:gd name="T32" fmla="*/ 143 w 147"/>
                    <a:gd name="T33" fmla="*/ 3 h 146"/>
                    <a:gd name="T34" fmla="*/ 143 w 147"/>
                    <a:gd name="T35" fmla="*/ 143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7" h="146">
                      <a:moveTo>
                        <a:pt x="147" y="0"/>
                      </a:moveTo>
                      <a:lnTo>
                        <a:pt x="143" y="0"/>
                      </a:lnTo>
                      <a:lnTo>
                        <a:pt x="4" y="0"/>
                      </a:lnTo>
                      <a:lnTo>
                        <a:pt x="0" y="0"/>
                      </a:lnTo>
                      <a:lnTo>
                        <a:pt x="0" y="3"/>
                      </a:lnTo>
                      <a:lnTo>
                        <a:pt x="0" y="143"/>
                      </a:lnTo>
                      <a:lnTo>
                        <a:pt x="0" y="146"/>
                      </a:lnTo>
                      <a:lnTo>
                        <a:pt x="4" y="146"/>
                      </a:lnTo>
                      <a:lnTo>
                        <a:pt x="143" y="146"/>
                      </a:lnTo>
                      <a:lnTo>
                        <a:pt x="147" y="146"/>
                      </a:lnTo>
                      <a:lnTo>
                        <a:pt x="147" y="143"/>
                      </a:lnTo>
                      <a:lnTo>
                        <a:pt x="147" y="3"/>
                      </a:lnTo>
                      <a:lnTo>
                        <a:pt x="147" y="0"/>
                      </a:lnTo>
                      <a:close/>
                      <a:moveTo>
                        <a:pt x="143" y="143"/>
                      </a:moveTo>
                      <a:lnTo>
                        <a:pt x="4" y="143"/>
                      </a:lnTo>
                      <a:lnTo>
                        <a:pt x="4" y="3"/>
                      </a:lnTo>
                      <a:lnTo>
                        <a:pt x="143" y="3"/>
                      </a:lnTo>
                      <a:lnTo>
                        <a:pt x="143" y="14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2" name="Freeform 71"/>
                <p:cNvSpPr>
                  <a:spLocks/>
                </p:cNvSpPr>
                <p:nvPr/>
              </p:nvSpPr>
              <p:spPr bwMode="auto">
                <a:xfrm>
                  <a:off x="4285322" y="4037687"/>
                  <a:ext cx="232177" cy="278613"/>
                </a:xfrm>
                <a:custGeom>
                  <a:avLst/>
                  <a:gdLst>
                    <a:gd name="T0" fmla="*/ 11 w 130"/>
                    <a:gd name="T1" fmla="*/ 155 h 155"/>
                    <a:gd name="T2" fmla="*/ 0 w 130"/>
                    <a:gd name="T3" fmla="*/ 143 h 155"/>
                    <a:gd name="T4" fmla="*/ 0 w 130"/>
                    <a:gd name="T5" fmla="*/ 11 h 155"/>
                    <a:gd name="T6" fmla="*/ 11 w 130"/>
                    <a:gd name="T7" fmla="*/ 0 h 155"/>
                    <a:gd name="T8" fmla="*/ 119 w 130"/>
                    <a:gd name="T9" fmla="*/ 0 h 155"/>
                    <a:gd name="T10" fmla="*/ 130 w 130"/>
                    <a:gd name="T11" fmla="*/ 11 h 155"/>
                    <a:gd name="T12" fmla="*/ 130 w 130"/>
                    <a:gd name="T13" fmla="*/ 144 h 155"/>
                    <a:gd name="T14" fmla="*/ 119 w 130"/>
                    <a:gd name="T15" fmla="*/ 155 h 155"/>
                    <a:gd name="T16" fmla="*/ 11 w 130"/>
                    <a:gd name="T17" fmla="*/ 155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 h="155">
                      <a:moveTo>
                        <a:pt x="11" y="155"/>
                      </a:moveTo>
                      <a:cubicBezTo>
                        <a:pt x="5" y="155"/>
                        <a:pt x="0" y="149"/>
                        <a:pt x="0" y="143"/>
                      </a:cubicBezTo>
                      <a:cubicBezTo>
                        <a:pt x="0" y="11"/>
                        <a:pt x="0" y="11"/>
                        <a:pt x="0" y="11"/>
                      </a:cubicBezTo>
                      <a:cubicBezTo>
                        <a:pt x="0" y="5"/>
                        <a:pt x="5" y="0"/>
                        <a:pt x="11" y="0"/>
                      </a:cubicBezTo>
                      <a:cubicBezTo>
                        <a:pt x="119" y="0"/>
                        <a:pt x="119" y="0"/>
                        <a:pt x="119" y="0"/>
                      </a:cubicBezTo>
                      <a:cubicBezTo>
                        <a:pt x="126" y="0"/>
                        <a:pt x="130" y="4"/>
                        <a:pt x="130" y="11"/>
                      </a:cubicBezTo>
                      <a:cubicBezTo>
                        <a:pt x="130" y="144"/>
                        <a:pt x="130" y="144"/>
                        <a:pt x="130" y="144"/>
                      </a:cubicBezTo>
                      <a:cubicBezTo>
                        <a:pt x="130" y="150"/>
                        <a:pt x="126" y="155"/>
                        <a:pt x="119" y="155"/>
                      </a:cubicBezTo>
                      <a:cubicBezTo>
                        <a:pt x="11" y="155"/>
                        <a:pt x="11" y="155"/>
                        <a:pt x="11" y="155"/>
                      </a:cubicBezTo>
                    </a:path>
                  </a:pathLst>
                </a:custGeom>
                <a:solidFill>
                  <a:srgbClr val="0087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3" name="Freeform 72"/>
                <p:cNvSpPr>
                  <a:spLocks/>
                </p:cNvSpPr>
                <p:nvPr/>
              </p:nvSpPr>
              <p:spPr bwMode="auto">
                <a:xfrm>
                  <a:off x="4296931" y="4053165"/>
                  <a:ext cx="205090" cy="247656"/>
                </a:xfrm>
                <a:custGeom>
                  <a:avLst/>
                  <a:gdLst>
                    <a:gd name="T0" fmla="*/ 3 w 114"/>
                    <a:gd name="T1" fmla="*/ 0 h 138"/>
                    <a:gd name="T2" fmla="*/ 111 w 114"/>
                    <a:gd name="T3" fmla="*/ 0 h 138"/>
                    <a:gd name="T4" fmla="*/ 114 w 114"/>
                    <a:gd name="T5" fmla="*/ 3 h 138"/>
                    <a:gd name="T6" fmla="*/ 114 w 114"/>
                    <a:gd name="T7" fmla="*/ 136 h 138"/>
                    <a:gd name="T8" fmla="*/ 111 w 114"/>
                    <a:gd name="T9" fmla="*/ 138 h 138"/>
                    <a:gd name="T10" fmla="*/ 3 w 114"/>
                    <a:gd name="T11" fmla="*/ 138 h 138"/>
                    <a:gd name="T12" fmla="*/ 0 w 114"/>
                    <a:gd name="T13" fmla="*/ 135 h 138"/>
                    <a:gd name="T14" fmla="*/ 0 w 114"/>
                    <a:gd name="T15" fmla="*/ 3 h 138"/>
                    <a:gd name="T16" fmla="*/ 3 w 114"/>
                    <a:gd name="T17" fmla="*/ 0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4" h="138">
                      <a:moveTo>
                        <a:pt x="3" y="0"/>
                      </a:moveTo>
                      <a:cubicBezTo>
                        <a:pt x="111" y="0"/>
                        <a:pt x="111" y="0"/>
                        <a:pt x="111" y="0"/>
                      </a:cubicBezTo>
                      <a:cubicBezTo>
                        <a:pt x="113" y="0"/>
                        <a:pt x="114" y="1"/>
                        <a:pt x="114" y="3"/>
                      </a:cubicBezTo>
                      <a:cubicBezTo>
                        <a:pt x="114" y="136"/>
                        <a:pt x="114" y="136"/>
                        <a:pt x="114" y="136"/>
                      </a:cubicBezTo>
                      <a:cubicBezTo>
                        <a:pt x="114" y="138"/>
                        <a:pt x="113" y="138"/>
                        <a:pt x="111" y="138"/>
                      </a:cubicBezTo>
                      <a:cubicBezTo>
                        <a:pt x="3" y="138"/>
                        <a:pt x="3" y="138"/>
                        <a:pt x="3" y="138"/>
                      </a:cubicBezTo>
                      <a:cubicBezTo>
                        <a:pt x="1" y="138"/>
                        <a:pt x="0" y="137"/>
                        <a:pt x="0" y="135"/>
                      </a:cubicBezTo>
                      <a:cubicBezTo>
                        <a:pt x="0" y="3"/>
                        <a:pt x="0" y="3"/>
                        <a:pt x="0" y="3"/>
                      </a:cubicBezTo>
                      <a:cubicBezTo>
                        <a:pt x="0" y="2"/>
                        <a:pt x="2" y="0"/>
                        <a:pt x="3"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4" name="Freeform 73"/>
                <p:cNvSpPr>
                  <a:spLocks noEditPoints="1"/>
                </p:cNvSpPr>
                <p:nvPr/>
              </p:nvSpPr>
              <p:spPr bwMode="auto">
                <a:xfrm>
                  <a:off x="4347236" y="4068644"/>
                  <a:ext cx="139306" cy="216699"/>
                </a:xfrm>
                <a:custGeom>
                  <a:avLst/>
                  <a:gdLst>
                    <a:gd name="T0" fmla="*/ 0 w 36"/>
                    <a:gd name="T1" fmla="*/ 56 h 56"/>
                    <a:gd name="T2" fmla="*/ 0 w 36"/>
                    <a:gd name="T3" fmla="*/ 48 h 56"/>
                    <a:gd name="T4" fmla="*/ 16 w 36"/>
                    <a:gd name="T5" fmla="*/ 48 h 56"/>
                    <a:gd name="T6" fmla="*/ 16 w 36"/>
                    <a:gd name="T7" fmla="*/ 56 h 56"/>
                    <a:gd name="T8" fmla="*/ 0 w 36"/>
                    <a:gd name="T9" fmla="*/ 56 h 56"/>
                    <a:gd name="T10" fmla="*/ 20 w 36"/>
                    <a:gd name="T11" fmla="*/ 56 h 56"/>
                    <a:gd name="T12" fmla="*/ 20 w 36"/>
                    <a:gd name="T13" fmla="*/ 48 h 56"/>
                    <a:gd name="T14" fmla="*/ 36 w 36"/>
                    <a:gd name="T15" fmla="*/ 48 h 56"/>
                    <a:gd name="T16" fmla="*/ 36 w 36"/>
                    <a:gd name="T17" fmla="*/ 56 h 56"/>
                    <a:gd name="T18" fmla="*/ 20 w 36"/>
                    <a:gd name="T19" fmla="*/ 56 h 56"/>
                    <a:gd name="T20" fmla="*/ 0 w 36"/>
                    <a:gd name="T21" fmla="*/ 44 h 56"/>
                    <a:gd name="T22" fmla="*/ 0 w 36"/>
                    <a:gd name="T23" fmla="*/ 36 h 56"/>
                    <a:gd name="T24" fmla="*/ 16 w 36"/>
                    <a:gd name="T25" fmla="*/ 36 h 56"/>
                    <a:gd name="T26" fmla="*/ 16 w 36"/>
                    <a:gd name="T27" fmla="*/ 44 h 56"/>
                    <a:gd name="T28" fmla="*/ 0 w 36"/>
                    <a:gd name="T29" fmla="*/ 44 h 56"/>
                    <a:gd name="T30" fmla="*/ 20 w 36"/>
                    <a:gd name="T31" fmla="*/ 44 h 56"/>
                    <a:gd name="T32" fmla="*/ 20 w 36"/>
                    <a:gd name="T33" fmla="*/ 36 h 56"/>
                    <a:gd name="T34" fmla="*/ 36 w 36"/>
                    <a:gd name="T35" fmla="*/ 36 h 56"/>
                    <a:gd name="T36" fmla="*/ 36 w 36"/>
                    <a:gd name="T37" fmla="*/ 44 h 56"/>
                    <a:gd name="T38" fmla="*/ 20 w 36"/>
                    <a:gd name="T39" fmla="*/ 44 h 56"/>
                    <a:gd name="T40" fmla="*/ 0 w 36"/>
                    <a:gd name="T41" fmla="*/ 32 h 56"/>
                    <a:gd name="T42" fmla="*/ 0 w 36"/>
                    <a:gd name="T43" fmla="*/ 24 h 56"/>
                    <a:gd name="T44" fmla="*/ 16 w 36"/>
                    <a:gd name="T45" fmla="*/ 24 h 56"/>
                    <a:gd name="T46" fmla="*/ 16 w 36"/>
                    <a:gd name="T47" fmla="*/ 32 h 56"/>
                    <a:gd name="T48" fmla="*/ 0 w 36"/>
                    <a:gd name="T49" fmla="*/ 32 h 56"/>
                    <a:gd name="T50" fmla="*/ 20 w 36"/>
                    <a:gd name="T51" fmla="*/ 32 h 56"/>
                    <a:gd name="T52" fmla="*/ 20 w 36"/>
                    <a:gd name="T53" fmla="*/ 24 h 56"/>
                    <a:gd name="T54" fmla="*/ 36 w 36"/>
                    <a:gd name="T55" fmla="*/ 24 h 56"/>
                    <a:gd name="T56" fmla="*/ 36 w 36"/>
                    <a:gd name="T57" fmla="*/ 32 h 56"/>
                    <a:gd name="T58" fmla="*/ 20 w 36"/>
                    <a:gd name="T59" fmla="*/ 32 h 56"/>
                    <a:gd name="T60" fmla="*/ 0 w 36"/>
                    <a:gd name="T61" fmla="*/ 20 h 56"/>
                    <a:gd name="T62" fmla="*/ 0 w 36"/>
                    <a:gd name="T63" fmla="*/ 12 h 56"/>
                    <a:gd name="T64" fmla="*/ 16 w 36"/>
                    <a:gd name="T65" fmla="*/ 12 h 56"/>
                    <a:gd name="T66" fmla="*/ 16 w 36"/>
                    <a:gd name="T67" fmla="*/ 20 h 56"/>
                    <a:gd name="T68" fmla="*/ 0 w 36"/>
                    <a:gd name="T69" fmla="*/ 20 h 56"/>
                    <a:gd name="T70" fmla="*/ 20 w 36"/>
                    <a:gd name="T71" fmla="*/ 20 h 56"/>
                    <a:gd name="T72" fmla="*/ 20 w 36"/>
                    <a:gd name="T73" fmla="*/ 12 h 56"/>
                    <a:gd name="T74" fmla="*/ 36 w 36"/>
                    <a:gd name="T75" fmla="*/ 12 h 56"/>
                    <a:gd name="T76" fmla="*/ 36 w 36"/>
                    <a:gd name="T77" fmla="*/ 20 h 56"/>
                    <a:gd name="T78" fmla="*/ 20 w 36"/>
                    <a:gd name="T79" fmla="*/ 20 h 56"/>
                    <a:gd name="T80" fmla="*/ 0 w 36"/>
                    <a:gd name="T81" fmla="*/ 8 h 56"/>
                    <a:gd name="T82" fmla="*/ 0 w 36"/>
                    <a:gd name="T83" fmla="*/ 0 h 56"/>
                    <a:gd name="T84" fmla="*/ 16 w 36"/>
                    <a:gd name="T85" fmla="*/ 0 h 56"/>
                    <a:gd name="T86" fmla="*/ 16 w 36"/>
                    <a:gd name="T87" fmla="*/ 8 h 56"/>
                    <a:gd name="T88" fmla="*/ 0 w 36"/>
                    <a:gd name="T89" fmla="*/ 8 h 56"/>
                    <a:gd name="T90" fmla="*/ 20 w 36"/>
                    <a:gd name="T91" fmla="*/ 8 h 56"/>
                    <a:gd name="T92" fmla="*/ 20 w 36"/>
                    <a:gd name="T93" fmla="*/ 0 h 56"/>
                    <a:gd name="T94" fmla="*/ 36 w 36"/>
                    <a:gd name="T95" fmla="*/ 0 h 56"/>
                    <a:gd name="T96" fmla="*/ 36 w 36"/>
                    <a:gd name="T97" fmla="*/ 8 h 56"/>
                    <a:gd name="T98" fmla="*/ 20 w 36"/>
                    <a:gd name="T99" fmla="*/ 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6" h="56">
                      <a:moveTo>
                        <a:pt x="0" y="56"/>
                      </a:moveTo>
                      <a:lnTo>
                        <a:pt x="0" y="48"/>
                      </a:lnTo>
                      <a:lnTo>
                        <a:pt x="16" y="48"/>
                      </a:lnTo>
                      <a:lnTo>
                        <a:pt x="16" y="56"/>
                      </a:lnTo>
                      <a:lnTo>
                        <a:pt x="0" y="56"/>
                      </a:lnTo>
                      <a:close/>
                      <a:moveTo>
                        <a:pt x="20" y="56"/>
                      </a:moveTo>
                      <a:lnTo>
                        <a:pt x="20" y="48"/>
                      </a:lnTo>
                      <a:lnTo>
                        <a:pt x="36" y="48"/>
                      </a:lnTo>
                      <a:lnTo>
                        <a:pt x="36" y="56"/>
                      </a:lnTo>
                      <a:lnTo>
                        <a:pt x="20" y="56"/>
                      </a:lnTo>
                      <a:close/>
                      <a:moveTo>
                        <a:pt x="0" y="44"/>
                      </a:moveTo>
                      <a:lnTo>
                        <a:pt x="0" y="36"/>
                      </a:lnTo>
                      <a:lnTo>
                        <a:pt x="16" y="36"/>
                      </a:lnTo>
                      <a:lnTo>
                        <a:pt x="16" y="44"/>
                      </a:lnTo>
                      <a:lnTo>
                        <a:pt x="0" y="44"/>
                      </a:lnTo>
                      <a:close/>
                      <a:moveTo>
                        <a:pt x="20" y="44"/>
                      </a:moveTo>
                      <a:lnTo>
                        <a:pt x="20" y="36"/>
                      </a:lnTo>
                      <a:lnTo>
                        <a:pt x="36" y="36"/>
                      </a:lnTo>
                      <a:lnTo>
                        <a:pt x="36" y="44"/>
                      </a:lnTo>
                      <a:lnTo>
                        <a:pt x="20" y="44"/>
                      </a:lnTo>
                      <a:close/>
                      <a:moveTo>
                        <a:pt x="0" y="32"/>
                      </a:moveTo>
                      <a:lnTo>
                        <a:pt x="0" y="24"/>
                      </a:lnTo>
                      <a:lnTo>
                        <a:pt x="16" y="24"/>
                      </a:lnTo>
                      <a:lnTo>
                        <a:pt x="16" y="32"/>
                      </a:lnTo>
                      <a:lnTo>
                        <a:pt x="0" y="32"/>
                      </a:lnTo>
                      <a:close/>
                      <a:moveTo>
                        <a:pt x="20" y="32"/>
                      </a:moveTo>
                      <a:lnTo>
                        <a:pt x="20" y="24"/>
                      </a:lnTo>
                      <a:lnTo>
                        <a:pt x="36" y="24"/>
                      </a:lnTo>
                      <a:lnTo>
                        <a:pt x="36" y="32"/>
                      </a:lnTo>
                      <a:lnTo>
                        <a:pt x="20" y="32"/>
                      </a:lnTo>
                      <a:close/>
                      <a:moveTo>
                        <a:pt x="0" y="20"/>
                      </a:moveTo>
                      <a:lnTo>
                        <a:pt x="0" y="12"/>
                      </a:lnTo>
                      <a:lnTo>
                        <a:pt x="16" y="12"/>
                      </a:lnTo>
                      <a:lnTo>
                        <a:pt x="16" y="20"/>
                      </a:lnTo>
                      <a:lnTo>
                        <a:pt x="0" y="20"/>
                      </a:lnTo>
                      <a:close/>
                      <a:moveTo>
                        <a:pt x="20" y="20"/>
                      </a:moveTo>
                      <a:lnTo>
                        <a:pt x="20" y="12"/>
                      </a:lnTo>
                      <a:lnTo>
                        <a:pt x="36" y="12"/>
                      </a:lnTo>
                      <a:lnTo>
                        <a:pt x="36" y="20"/>
                      </a:lnTo>
                      <a:lnTo>
                        <a:pt x="20" y="20"/>
                      </a:lnTo>
                      <a:close/>
                      <a:moveTo>
                        <a:pt x="0" y="8"/>
                      </a:moveTo>
                      <a:lnTo>
                        <a:pt x="0" y="0"/>
                      </a:lnTo>
                      <a:lnTo>
                        <a:pt x="16" y="0"/>
                      </a:lnTo>
                      <a:lnTo>
                        <a:pt x="16" y="8"/>
                      </a:lnTo>
                      <a:lnTo>
                        <a:pt x="0" y="8"/>
                      </a:lnTo>
                      <a:close/>
                      <a:moveTo>
                        <a:pt x="20" y="8"/>
                      </a:moveTo>
                      <a:lnTo>
                        <a:pt x="20" y="0"/>
                      </a:lnTo>
                      <a:lnTo>
                        <a:pt x="36" y="0"/>
                      </a:lnTo>
                      <a:lnTo>
                        <a:pt x="36" y="8"/>
                      </a:lnTo>
                      <a:lnTo>
                        <a:pt x="20" y="8"/>
                      </a:lnTo>
                      <a:close/>
                    </a:path>
                  </a:pathLst>
                </a:custGeom>
                <a:solidFill>
                  <a:srgbClr val="0087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5" name="Freeform 74"/>
                <p:cNvSpPr>
                  <a:spLocks/>
                </p:cNvSpPr>
                <p:nvPr/>
              </p:nvSpPr>
              <p:spPr bwMode="auto">
                <a:xfrm>
                  <a:off x="4146016" y="3991252"/>
                  <a:ext cx="216699" cy="371483"/>
                </a:xfrm>
                <a:custGeom>
                  <a:avLst/>
                  <a:gdLst>
                    <a:gd name="T0" fmla="*/ 56 w 56"/>
                    <a:gd name="T1" fmla="*/ 0 h 96"/>
                    <a:gd name="T2" fmla="*/ 0 w 56"/>
                    <a:gd name="T3" fmla="*/ 10 h 96"/>
                    <a:gd name="T4" fmla="*/ 0 w 56"/>
                    <a:gd name="T5" fmla="*/ 86 h 96"/>
                    <a:gd name="T6" fmla="*/ 56 w 56"/>
                    <a:gd name="T7" fmla="*/ 96 h 96"/>
                    <a:gd name="T8" fmla="*/ 56 w 56"/>
                    <a:gd name="T9" fmla="*/ 0 h 96"/>
                  </a:gdLst>
                  <a:ahLst/>
                  <a:cxnLst>
                    <a:cxn ang="0">
                      <a:pos x="T0" y="T1"/>
                    </a:cxn>
                    <a:cxn ang="0">
                      <a:pos x="T2" y="T3"/>
                    </a:cxn>
                    <a:cxn ang="0">
                      <a:pos x="T4" y="T5"/>
                    </a:cxn>
                    <a:cxn ang="0">
                      <a:pos x="T6" y="T7"/>
                    </a:cxn>
                    <a:cxn ang="0">
                      <a:pos x="T8" y="T9"/>
                    </a:cxn>
                  </a:cxnLst>
                  <a:rect l="0" t="0" r="r" b="b"/>
                  <a:pathLst>
                    <a:path w="56" h="96">
                      <a:moveTo>
                        <a:pt x="56" y="0"/>
                      </a:moveTo>
                      <a:lnTo>
                        <a:pt x="0" y="10"/>
                      </a:lnTo>
                      <a:lnTo>
                        <a:pt x="0" y="86"/>
                      </a:lnTo>
                      <a:lnTo>
                        <a:pt x="56" y="96"/>
                      </a:lnTo>
                      <a:lnTo>
                        <a:pt x="56"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6" name="Freeform 75"/>
                <p:cNvSpPr>
                  <a:spLocks/>
                </p:cNvSpPr>
                <p:nvPr/>
              </p:nvSpPr>
              <p:spPr bwMode="auto">
                <a:xfrm>
                  <a:off x="4188581" y="4099601"/>
                  <a:ext cx="119958" cy="154785"/>
                </a:xfrm>
                <a:custGeom>
                  <a:avLst/>
                  <a:gdLst>
                    <a:gd name="T0" fmla="*/ 66 w 67"/>
                    <a:gd name="T1" fmla="*/ 0 h 88"/>
                    <a:gd name="T2" fmla="*/ 47 w 67"/>
                    <a:gd name="T3" fmla="*/ 1 h 88"/>
                    <a:gd name="T4" fmla="*/ 35 w 67"/>
                    <a:gd name="T5" fmla="*/ 27 h 88"/>
                    <a:gd name="T6" fmla="*/ 35 w 67"/>
                    <a:gd name="T7" fmla="*/ 29 h 88"/>
                    <a:gd name="T8" fmla="*/ 34 w 67"/>
                    <a:gd name="T9" fmla="*/ 31 h 88"/>
                    <a:gd name="T10" fmla="*/ 34 w 67"/>
                    <a:gd name="T11" fmla="*/ 33 h 88"/>
                    <a:gd name="T12" fmla="*/ 33 w 67"/>
                    <a:gd name="T13" fmla="*/ 34 h 88"/>
                    <a:gd name="T14" fmla="*/ 33 w 67"/>
                    <a:gd name="T15" fmla="*/ 34 h 88"/>
                    <a:gd name="T16" fmla="*/ 33 w 67"/>
                    <a:gd name="T17" fmla="*/ 32 h 88"/>
                    <a:gd name="T18" fmla="*/ 32 w 67"/>
                    <a:gd name="T19" fmla="*/ 31 h 88"/>
                    <a:gd name="T20" fmla="*/ 31 w 67"/>
                    <a:gd name="T21" fmla="*/ 29 h 88"/>
                    <a:gd name="T22" fmla="*/ 31 w 67"/>
                    <a:gd name="T23" fmla="*/ 27 h 88"/>
                    <a:gd name="T24" fmla="*/ 21 w 67"/>
                    <a:gd name="T25" fmla="*/ 3 h 88"/>
                    <a:gd name="T26" fmla="*/ 2 w 67"/>
                    <a:gd name="T27" fmla="*/ 4 h 88"/>
                    <a:gd name="T28" fmla="*/ 22 w 67"/>
                    <a:gd name="T29" fmla="*/ 44 h 88"/>
                    <a:gd name="T30" fmla="*/ 0 w 67"/>
                    <a:gd name="T31" fmla="*/ 85 h 88"/>
                    <a:gd name="T32" fmla="*/ 18 w 67"/>
                    <a:gd name="T33" fmla="*/ 86 h 88"/>
                    <a:gd name="T34" fmla="*/ 31 w 67"/>
                    <a:gd name="T35" fmla="*/ 59 h 88"/>
                    <a:gd name="T36" fmla="*/ 31 w 67"/>
                    <a:gd name="T37" fmla="*/ 57 h 88"/>
                    <a:gd name="T38" fmla="*/ 32 w 67"/>
                    <a:gd name="T39" fmla="*/ 56 h 88"/>
                    <a:gd name="T40" fmla="*/ 32 w 67"/>
                    <a:gd name="T41" fmla="*/ 54 h 88"/>
                    <a:gd name="T42" fmla="*/ 32 w 67"/>
                    <a:gd name="T43" fmla="*/ 53 h 88"/>
                    <a:gd name="T44" fmla="*/ 32 w 67"/>
                    <a:gd name="T45" fmla="*/ 53 h 88"/>
                    <a:gd name="T46" fmla="*/ 33 w 67"/>
                    <a:gd name="T47" fmla="*/ 55 h 88"/>
                    <a:gd name="T48" fmla="*/ 33 w 67"/>
                    <a:gd name="T49" fmla="*/ 57 h 88"/>
                    <a:gd name="T50" fmla="*/ 34 w 67"/>
                    <a:gd name="T51" fmla="*/ 58 h 88"/>
                    <a:gd name="T52" fmla="*/ 34 w 67"/>
                    <a:gd name="T53" fmla="*/ 59 h 88"/>
                    <a:gd name="T54" fmla="*/ 47 w 67"/>
                    <a:gd name="T55" fmla="*/ 87 h 88"/>
                    <a:gd name="T56" fmla="*/ 67 w 67"/>
                    <a:gd name="T57" fmla="*/ 88 h 88"/>
                    <a:gd name="T58" fmla="*/ 44 w 67"/>
                    <a:gd name="T59" fmla="*/ 44 h 88"/>
                    <a:gd name="T60" fmla="*/ 66 w 67"/>
                    <a:gd name="T61" fmla="*/ 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67" h="88">
                      <a:moveTo>
                        <a:pt x="66" y="0"/>
                      </a:moveTo>
                      <a:cubicBezTo>
                        <a:pt x="47" y="1"/>
                        <a:pt x="47" y="1"/>
                        <a:pt x="47" y="1"/>
                      </a:cubicBezTo>
                      <a:cubicBezTo>
                        <a:pt x="35" y="27"/>
                        <a:pt x="35" y="27"/>
                        <a:pt x="35" y="27"/>
                      </a:cubicBezTo>
                      <a:cubicBezTo>
                        <a:pt x="35" y="28"/>
                        <a:pt x="35" y="28"/>
                        <a:pt x="35" y="29"/>
                      </a:cubicBezTo>
                      <a:cubicBezTo>
                        <a:pt x="34" y="30"/>
                        <a:pt x="34" y="31"/>
                        <a:pt x="34" y="31"/>
                      </a:cubicBezTo>
                      <a:cubicBezTo>
                        <a:pt x="34" y="32"/>
                        <a:pt x="34" y="32"/>
                        <a:pt x="34" y="33"/>
                      </a:cubicBezTo>
                      <a:cubicBezTo>
                        <a:pt x="33" y="33"/>
                        <a:pt x="33" y="34"/>
                        <a:pt x="33" y="34"/>
                      </a:cubicBezTo>
                      <a:cubicBezTo>
                        <a:pt x="33" y="34"/>
                        <a:pt x="33" y="34"/>
                        <a:pt x="33" y="34"/>
                      </a:cubicBezTo>
                      <a:cubicBezTo>
                        <a:pt x="33" y="34"/>
                        <a:pt x="33" y="33"/>
                        <a:pt x="33" y="32"/>
                      </a:cubicBezTo>
                      <a:cubicBezTo>
                        <a:pt x="32" y="32"/>
                        <a:pt x="32" y="31"/>
                        <a:pt x="32" y="31"/>
                      </a:cubicBezTo>
                      <a:cubicBezTo>
                        <a:pt x="32" y="30"/>
                        <a:pt x="32" y="29"/>
                        <a:pt x="31" y="29"/>
                      </a:cubicBezTo>
                      <a:cubicBezTo>
                        <a:pt x="31" y="28"/>
                        <a:pt x="31" y="28"/>
                        <a:pt x="31" y="27"/>
                      </a:cubicBezTo>
                      <a:cubicBezTo>
                        <a:pt x="21" y="3"/>
                        <a:pt x="21" y="3"/>
                        <a:pt x="21" y="3"/>
                      </a:cubicBezTo>
                      <a:cubicBezTo>
                        <a:pt x="2" y="4"/>
                        <a:pt x="2" y="4"/>
                        <a:pt x="2" y="4"/>
                      </a:cubicBezTo>
                      <a:cubicBezTo>
                        <a:pt x="22" y="44"/>
                        <a:pt x="22" y="44"/>
                        <a:pt x="22" y="44"/>
                      </a:cubicBezTo>
                      <a:cubicBezTo>
                        <a:pt x="0" y="85"/>
                        <a:pt x="0" y="85"/>
                        <a:pt x="0" y="85"/>
                      </a:cubicBezTo>
                      <a:cubicBezTo>
                        <a:pt x="18" y="86"/>
                        <a:pt x="18" y="86"/>
                        <a:pt x="18" y="86"/>
                      </a:cubicBezTo>
                      <a:cubicBezTo>
                        <a:pt x="31" y="59"/>
                        <a:pt x="31" y="59"/>
                        <a:pt x="31" y="59"/>
                      </a:cubicBezTo>
                      <a:cubicBezTo>
                        <a:pt x="31" y="58"/>
                        <a:pt x="31" y="58"/>
                        <a:pt x="31" y="57"/>
                      </a:cubicBezTo>
                      <a:cubicBezTo>
                        <a:pt x="31" y="57"/>
                        <a:pt x="32" y="56"/>
                        <a:pt x="32" y="56"/>
                      </a:cubicBezTo>
                      <a:cubicBezTo>
                        <a:pt x="32" y="55"/>
                        <a:pt x="32" y="55"/>
                        <a:pt x="32" y="54"/>
                      </a:cubicBezTo>
                      <a:cubicBezTo>
                        <a:pt x="32" y="54"/>
                        <a:pt x="32" y="54"/>
                        <a:pt x="32" y="53"/>
                      </a:cubicBezTo>
                      <a:cubicBezTo>
                        <a:pt x="32" y="53"/>
                        <a:pt x="32" y="53"/>
                        <a:pt x="32" y="53"/>
                      </a:cubicBezTo>
                      <a:cubicBezTo>
                        <a:pt x="33" y="54"/>
                        <a:pt x="33" y="55"/>
                        <a:pt x="33" y="55"/>
                      </a:cubicBezTo>
                      <a:cubicBezTo>
                        <a:pt x="33" y="56"/>
                        <a:pt x="33" y="56"/>
                        <a:pt x="33" y="57"/>
                      </a:cubicBezTo>
                      <a:cubicBezTo>
                        <a:pt x="33" y="57"/>
                        <a:pt x="34" y="58"/>
                        <a:pt x="34" y="58"/>
                      </a:cubicBezTo>
                      <a:cubicBezTo>
                        <a:pt x="34" y="58"/>
                        <a:pt x="34" y="59"/>
                        <a:pt x="34" y="59"/>
                      </a:cubicBezTo>
                      <a:cubicBezTo>
                        <a:pt x="47" y="87"/>
                        <a:pt x="47" y="87"/>
                        <a:pt x="47" y="87"/>
                      </a:cubicBezTo>
                      <a:cubicBezTo>
                        <a:pt x="67" y="88"/>
                        <a:pt x="67" y="88"/>
                        <a:pt x="67" y="88"/>
                      </a:cubicBezTo>
                      <a:cubicBezTo>
                        <a:pt x="44" y="44"/>
                        <a:pt x="44" y="44"/>
                        <a:pt x="44" y="44"/>
                      </a:cubicBezTo>
                      <a:cubicBezTo>
                        <a:pt x="66" y="0"/>
                        <a:pt x="66" y="0"/>
                        <a:pt x="66" y="0"/>
                      </a:cubicBezTo>
                    </a:path>
                  </a:pathLst>
                </a:custGeom>
                <a:solidFill>
                  <a:srgbClr val="0087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307" name="Freeform 38"/>
              <p:cNvSpPr>
                <a:spLocks/>
              </p:cNvSpPr>
              <p:nvPr/>
            </p:nvSpPr>
            <p:spPr bwMode="auto">
              <a:xfrm>
                <a:off x="2408557" y="3329547"/>
                <a:ext cx="340526" cy="437267"/>
              </a:xfrm>
              <a:custGeom>
                <a:avLst/>
                <a:gdLst>
                  <a:gd name="T0" fmla="*/ 0 w 88"/>
                  <a:gd name="T1" fmla="*/ 113 h 113"/>
                  <a:gd name="T2" fmla="*/ 88 w 88"/>
                  <a:gd name="T3" fmla="*/ 113 h 113"/>
                  <a:gd name="T4" fmla="*/ 88 w 88"/>
                  <a:gd name="T5" fmla="*/ 0 h 113"/>
                  <a:gd name="T6" fmla="*/ 13 w 88"/>
                  <a:gd name="T7" fmla="*/ 39 h 113"/>
                  <a:gd name="T8" fmla="*/ 0 w 88"/>
                  <a:gd name="T9" fmla="*/ 113 h 113"/>
                </a:gdLst>
                <a:ahLst/>
                <a:cxnLst>
                  <a:cxn ang="0">
                    <a:pos x="T0" y="T1"/>
                  </a:cxn>
                  <a:cxn ang="0">
                    <a:pos x="T2" y="T3"/>
                  </a:cxn>
                  <a:cxn ang="0">
                    <a:pos x="T4" y="T5"/>
                  </a:cxn>
                  <a:cxn ang="0">
                    <a:pos x="T6" y="T7"/>
                  </a:cxn>
                  <a:cxn ang="0">
                    <a:pos x="T8" y="T9"/>
                  </a:cxn>
                </a:cxnLst>
                <a:rect l="0" t="0" r="r" b="b"/>
                <a:pathLst>
                  <a:path w="88" h="113">
                    <a:moveTo>
                      <a:pt x="0" y="113"/>
                    </a:moveTo>
                    <a:lnTo>
                      <a:pt x="88" y="113"/>
                    </a:lnTo>
                    <a:lnTo>
                      <a:pt x="88" y="0"/>
                    </a:lnTo>
                    <a:lnTo>
                      <a:pt x="13" y="39"/>
                    </a:lnTo>
                    <a:lnTo>
                      <a:pt x="0" y="113"/>
                    </a:lnTo>
                    <a:close/>
                  </a:path>
                </a:pathLst>
              </a:custGeom>
              <a:solidFill>
                <a:srgbClr val="AB2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08" name="Freeform 39"/>
              <p:cNvSpPr>
                <a:spLocks/>
              </p:cNvSpPr>
              <p:nvPr/>
            </p:nvSpPr>
            <p:spPr bwMode="auto">
              <a:xfrm>
                <a:off x="2431774" y="3259894"/>
                <a:ext cx="313439" cy="216699"/>
              </a:xfrm>
              <a:custGeom>
                <a:avLst/>
                <a:gdLst>
                  <a:gd name="T0" fmla="*/ 0 w 81"/>
                  <a:gd name="T1" fmla="*/ 37 h 56"/>
                  <a:gd name="T2" fmla="*/ 10 w 81"/>
                  <a:gd name="T3" fmla="*/ 56 h 56"/>
                  <a:gd name="T4" fmla="*/ 81 w 81"/>
                  <a:gd name="T5" fmla="*/ 19 h 56"/>
                  <a:gd name="T6" fmla="*/ 71 w 81"/>
                  <a:gd name="T7" fmla="*/ 0 h 56"/>
                  <a:gd name="T8" fmla="*/ 0 w 81"/>
                  <a:gd name="T9" fmla="*/ 37 h 56"/>
                </a:gdLst>
                <a:ahLst/>
                <a:cxnLst>
                  <a:cxn ang="0">
                    <a:pos x="T0" y="T1"/>
                  </a:cxn>
                  <a:cxn ang="0">
                    <a:pos x="T2" y="T3"/>
                  </a:cxn>
                  <a:cxn ang="0">
                    <a:pos x="T4" y="T5"/>
                  </a:cxn>
                  <a:cxn ang="0">
                    <a:pos x="T6" y="T7"/>
                  </a:cxn>
                  <a:cxn ang="0">
                    <a:pos x="T8" y="T9"/>
                  </a:cxn>
                </a:cxnLst>
                <a:rect l="0" t="0" r="r" b="b"/>
                <a:pathLst>
                  <a:path w="81" h="56">
                    <a:moveTo>
                      <a:pt x="0" y="37"/>
                    </a:moveTo>
                    <a:lnTo>
                      <a:pt x="10" y="56"/>
                    </a:lnTo>
                    <a:lnTo>
                      <a:pt x="81" y="19"/>
                    </a:lnTo>
                    <a:lnTo>
                      <a:pt x="71" y="0"/>
                    </a:lnTo>
                    <a:lnTo>
                      <a:pt x="0" y="3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grpSp>
        <p:nvGrpSpPr>
          <p:cNvPr id="900" name="Group 899"/>
          <p:cNvGrpSpPr/>
          <p:nvPr/>
        </p:nvGrpSpPr>
        <p:grpSpPr>
          <a:xfrm>
            <a:off x="0" y="5479703"/>
            <a:ext cx="11757022" cy="548640"/>
            <a:chOff x="1" y="5828285"/>
            <a:chExt cx="11757022" cy="548640"/>
          </a:xfrm>
        </p:grpSpPr>
        <p:sp>
          <p:nvSpPr>
            <p:cNvPr id="4" name="Rectangle 3"/>
            <p:cNvSpPr/>
            <p:nvPr/>
          </p:nvSpPr>
          <p:spPr>
            <a:xfrm>
              <a:off x="3248024" y="5828285"/>
              <a:ext cx="8508999" cy="548640"/>
            </a:xfrm>
            <a:prstGeom prst="rect">
              <a:avLst/>
            </a:prstGeom>
            <a:solidFill>
              <a:schemeClr val="bg1">
                <a:lumMod val="95000"/>
              </a:schemeClr>
            </a:solidFill>
          </p:spPr>
          <p:txBody>
            <a:bodyPr wrap="square" lIns="91440" anchor="ctr">
              <a:noAutofit/>
            </a:bodyPr>
            <a:lstStyle/>
            <a:p>
              <a:pPr marL="53965" lvl="1" defTabSz="931954" fontAlgn="base">
                <a:buClr>
                  <a:srgbClr val="68217A">
                    <a:lumMod val="50000"/>
                  </a:srgbClr>
                </a:buClr>
                <a:tabLst>
                  <a:tab pos="658368" algn="l"/>
                </a:tabLst>
              </a:pPr>
              <a:r>
                <a:rPr lang="en-IN" sz="1400" dirty="0">
                  <a:ea typeface="Segoe UI" pitchFamily="34" charset="0"/>
                  <a:cs typeface="Segoe UI" pitchFamily="34" charset="0"/>
                </a:rPr>
                <a:t>Must support multiple analytic frameworks—Batch, Real-time, Streaming, ML etc. </a:t>
              </a:r>
              <a:br>
                <a:rPr lang="en-IN" sz="1400" dirty="0">
                  <a:ea typeface="Segoe UI" pitchFamily="34" charset="0"/>
                  <a:cs typeface="Segoe UI" pitchFamily="34" charset="0"/>
                </a:rPr>
              </a:br>
              <a:r>
                <a:rPr lang="en-IN" sz="1400" dirty="0">
                  <a:ea typeface="Segoe UI" pitchFamily="34" charset="0"/>
                  <a:cs typeface="Segoe UI" pitchFamily="34" charset="0"/>
                </a:rPr>
                <a:t>No one analytic framework can work for all data and all types of analysis.</a:t>
              </a:r>
            </a:p>
          </p:txBody>
        </p:sp>
        <p:sp>
          <p:nvSpPr>
            <p:cNvPr id="12" name="Rectangle 11"/>
            <p:cNvSpPr/>
            <p:nvPr/>
          </p:nvSpPr>
          <p:spPr bwMode="auto">
            <a:xfrm>
              <a:off x="1" y="5828285"/>
              <a:ext cx="3248024" cy="54864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48640" tIns="45720" rIns="91440" bIns="45720" numCol="1" spcCol="0" rtlCol="0" fromWordArt="0" anchor="ctr" anchorCtr="0" forceAA="0" compatLnSpc="1">
              <a:prstTxWarp prst="textNoShape">
                <a:avLst/>
              </a:prstTxWarp>
              <a:noAutofit/>
            </a:bodyPr>
            <a:lstStyle/>
            <a:p>
              <a:pPr defTabSz="932472" fontAlgn="base"/>
              <a:r>
                <a:rPr lang="en-US" sz="1600" dirty="0">
                  <a:solidFill>
                    <a:schemeClr val="bg1"/>
                  </a:solidFill>
                  <a:latin typeface="Segoe UI Semibold" panose="020B0702040204020203" pitchFamily="34" charset="0"/>
                  <a:ea typeface="Segoe UI" pitchFamily="34" charset="0"/>
                  <a:cs typeface="Segoe UI Semibold" panose="020B0702040204020203" pitchFamily="34" charset="0"/>
                </a:rPr>
                <a:t>	Multiple analytic 	frameworks</a:t>
              </a:r>
            </a:p>
          </p:txBody>
        </p:sp>
        <p:grpSp>
          <p:nvGrpSpPr>
            <p:cNvPr id="498" name="Group 497"/>
            <p:cNvGrpSpPr/>
            <p:nvPr/>
          </p:nvGrpSpPr>
          <p:grpSpPr>
            <a:xfrm>
              <a:off x="585657" y="5860989"/>
              <a:ext cx="603250" cy="483233"/>
              <a:chOff x="996950" y="1795463"/>
              <a:chExt cx="3327400" cy="2665413"/>
            </a:xfrm>
          </p:grpSpPr>
          <p:sp>
            <p:nvSpPr>
              <p:cNvPr id="499" name="Freeform 303"/>
              <p:cNvSpPr>
                <a:spLocks/>
              </p:cNvSpPr>
              <p:nvPr/>
            </p:nvSpPr>
            <p:spPr bwMode="auto">
              <a:xfrm>
                <a:off x="1744663" y="1965325"/>
                <a:ext cx="1598613" cy="2441575"/>
              </a:xfrm>
              <a:custGeom>
                <a:avLst/>
                <a:gdLst>
                  <a:gd name="T0" fmla="*/ 1007 w 1007"/>
                  <a:gd name="T1" fmla="*/ 277 h 1539"/>
                  <a:gd name="T2" fmla="*/ 933 w 1007"/>
                  <a:gd name="T3" fmla="*/ 203 h 1539"/>
                  <a:gd name="T4" fmla="*/ 859 w 1007"/>
                  <a:gd name="T5" fmla="*/ 277 h 1539"/>
                  <a:gd name="T6" fmla="*/ 859 w 1007"/>
                  <a:gd name="T7" fmla="*/ 689 h 1539"/>
                  <a:gd name="T8" fmla="*/ 823 w 1007"/>
                  <a:gd name="T9" fmla="*/ 689 h 1539"/>
                  <a:gd name="T10" fmla="*/ 823 w 1007"/>
                  <a:gd name="T11" fmla="*/ 197 h 1539"/>
                  <a:gd name="T12" fmla="*/ 823 w 1007"/>
                  <a:gd name="T13" fmla="*/ 197 h 1539"/>
                  <a:gd name="T14" fmla="*/ 749 w 1007"/>
                  <a:gd name="T15" fmla="*/ 124 h 1539"/>
                  <a:gd name="T16" fmla="*/ 676 w 1007"/>
                  <a:gd name="T17" fmla="*/ 197 h 1539"/>
                  <a:gd name="T18" fmla="*/ 676 w 1007"/>
                  <a:gd name="T19" fmla="*/ 197 h 1539"/>
                  <a:gd name="T20" fmla="*/ 676 w 1007"/>
                  <a:gd name="T21" fmla="*/ 646 h 1539"/>
                  <a:gd name="T22" fmla="*/ 639 w 1007"/>
                  <a:gd name="T23" fmla="*/ 646 h 1539"/>
                  <a:gd name="T24" fmla="*/ 639 w 1007"/>
                  <a:gd name="T25" fmla="*/ 73 h 1539"/>
                  <a:gd name="T26" fmla="*/ 566 w 1007"/>
                  <a:gd name="T27" fmla="*/ 0 h 1539"/>
                  <a:gd name="T28" fmla="*/ 492 w 1007"/>
                  <a:gd name="T29" fmla="*/ 73 h 1539"/>
                  <a:gd name="T30" fmla="*/ 492 w 1007"/>
                  <a:gd name="T31" fmla="*/ 603 h 1539"/>
                  <a:gd name="T32" fmla="*/ 455 w 1007"/>
                  <a:gd name="T33" fmla="*/ 603 h 1539"/>
                  <a:gd name="T34" fmla="*/ 455 w 1007"/>
                  <a:gd name="T35" fmla="*/ 391 h 1539"/>
                  <a:gd name="T36" fmla="*/ 455 w 1007"/>
                  <a:gd name="T37" fmla="*/ 160 h 1539"/>
                  <a:gd name="T38" fmla="*/ 382 w 1007"/>
                  <a:gd name="T39" fmla="*/ 86 h 1539"/>
                  <a:gd name="T40" fmla="*/ 308 w 1007"/>
                  <a:gd name="T41" fmla="*/ 160 h 1539"/>
                  <a:gd name="T42" fmla="*/ 308 w 1007"/>
                  <a:gd name="T43" fmla="*/ 689 h 1539"/>
                  <a:gd name="T44" fmla="*/ 309 w 1007"/>
                  <a:gd name="T45" fmla="*/ 690 h 1539"/>
                  <a:gd name="T46" fmla="*/ 309 w 1007"/>
                  <a:gd name="T47" fmla="*/ 867 h 1539"/>
                  <a:gd name="T48" fmla="*/ 146 w 1007"/>
                  <a:gd name="T49" fmla="*/ 552 h 1539"/>
                  <a:gd name="T50" fmla="*/ 44 w 1007"/>
                  <a:gd name="T51" fmla="*/ 530 h 1539"/>
                  <a:gd name="T52" fmla="*/ 22 w 1007"/>
                  <a:gd name="T53" fmla="*/ 631 h 1539"/>
                  <a:gd name="T54" fmla="*/ 210 w 1007"/>
                  <a:gd name="T55" fmla="*/ 1025 h 1539"/>
                  <a:gd name="T56" fmla="*/ 404 w 1007"/>
                  <a:gd name="T57" fmla="*/ 1296 h 1539"/>
                  <a:gd name="T58" fmla="*/ 404 w 1007"/>
                  <a:gd name="T59" fmla="*/ 1539 h 1539"/>
                  <a:gd name="T60" fmla="*/ 946 w 1007"/>
                  <a:gd name="T61" fmla="*/ 1539 h 1539"/>
                  <a:gd name="T62" fmla="*/ 945 w 1007"/>
                  <a:gd name="T63" fmla="*/ 1305 h 1539"/>
                  <a:gd name="T64" fmla="*/ 1007 w 1007"/>
                  <a:gd name="T65" fmla="*/ 1029 h 1539"/>
                  <a:gd name="T66" fmla="*/ 1007 w 1007"/>
                  <a:gd name="T67" fmla="*/ 277 h 15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07" h="1539">
                    <a:moveTo>
                      <a:pt x="1007" y="277"/>
                    </a:moveTo>
                    <a:cubicBezTo>
                      <a:pt x="1007" y="236"/>
                      <a:pt x="974" y="203"/>
                      <a:pt x="933" y="203"/>
                    </a:cubicBezTo>
                    <a:cubicBezTo>
                      <a:pt x="892" y="203"/>
                      <a:pt x="859" y="236"/>
                      <a:pt x="859" y="277"/>
                    </a:cubicBezTo>
                    <a:cubicBezTo>
                      <a:pt x="859" y="689"/>
                      <a:pt x="859" y="689"/>
                      <a:pt x="859" y="689"/>
                    </a:cubicBezTo>
                    <a:cubicBezTo>
                      <a:pt x="823" y="689"/>
                      <a:pt x="823" y="689"/>
                      <a:pt x="823" y="689"/>
                    </a:cubicBezTo>
                    <a:cubicBezTo>
                      <a:pt x="823" y="197"/>
                      <a:pt x="823" y="197"/>
                      <a:pt x="823" y="197"/>
                    </a:cubicBezTo>
                    <a:cubicBezTo>
                      <a:pt x="823" y="197"/>
                      <a:pt x="823" y="197"/>
                      <a:pt x="823" y="197"/>
                    </a:cubicBezTo>
                    <a:cubicBezTo>
                      <a:pt x="823" y="156"/>
                      <a:pt x="790" y="124"/>
                      <a:pt x="749" y="124"/>
                    </a:cubicBezTo>
                    <a:cubicBezTo>
                      <a:pt x="709" y="124"/>
                      <a:pt x="676" y="156"/>
                      <a:pt x="676" y="197"/>
                    </a:cubicBezTo>
                    <a:cubicBezTo>
                      <a:pt x="676" y="197"/>
                      <a:pt x="676" y="197"/>
                      <a:pt x="676" y="197"/>
                    </a:cubicBezTo>
                    <a:cubicBezTo>
                      <a:pt x="676" y="646"/>
                      <a:pt x="676" y="646"/>
                      <a:pt x="676" y="646"/>
                    </a:cubicBezTo>
                    <a:cubicBezTo>
                      <a:pt x="639" y="646"/>
                      <a:pt x="639" y="646"/>
                      <a:pt x="639" y="646"/>
                    </a:cubicBezTo>
                    <a:cubicBezTo>
                      <a:pt x="639" y="73"/>
                      <a:pt x="639" y="73"/>
                      <a:pt x="639" y="73"/>
                    </a:cubicBezTo>
                    <a:cubicBezTo>
                      <a:pt x="639" y="33"/>
                      <a:pt x="606" y="0"/>
                      <a:pt x="566" y="0"/>
                    </a:cubicBezTo>
                    <a:cubicBezTo>
                      <a:pt x="525" y="0"/>
                      <a:pt x="492" y="33"/>
                      <a:pt x="492" y="73"/>
                    </a:cubicBezTo>
                    <a:cubicBezTo>
                      <a:pt x="492" y="603"/>
                      <a:pt x="492" y="603"/>
                      <a:pt x="492" y="603"/>
                    </a:cubicBezTo>
                    <a:cubicBezTo>
                      <a:pt x="455" y="603"/>
                      <a:pt x="455" y="603"/>
                      <a:pt x="455" y="603"/>
                    </a:cubicBezTo>
                    <a:cubicBezTo>
                      <a:pt x="455" y="391"/>
                      <a:pt x="455" y="391"/>
                      <a:pt x="455" y="391"/>
                    </a:cubicBezTo>
                    <a:cubicBezTo>
                      <a:pt x="455" y="160"/>
                      <a:pt x="455" y="160"/>
                      <a:pt x="455" y="160"/>
                    </a:cubicBezTo>
                    <a:cubicBezTo>
                      <a:pt x="455" y="119"/>
                      <a:pt x="422" y="86"/>
                      <a:pt x="382" y="86"/>
                    </a:cubicBezTo>
                    <a:cubicBezTo>
                      <a:pt x="341" y="86"/>
                      <a:pt x="308" y="119"/>
                      <a:pt x="308" y="160"/>
                    </a:cubicBezTo>
                    <a:cubicBezTo>
                      <a:pt x="308" y="689"/>
                      <a:pt x="308" y="689"/>
                      <a:pt x="308" y="689"/>
                    </a:cubicBezTo>
                    <a:cubicBezTo>
                      <a:pt x="309" y="690"/>
                      <a:pt x="309" y="690"/>
                      <a:pt x="309" y="690"/>
                    </a:cubicBezTo>
                    <a:cubicBezTo>
                      <a:pt x="309" y="867"/>
                      <a:pt x="309" y="867"/>
                      <a:pt x="309" y="867"/>
                    </a:cubicBezTo>
                    <a:cubicBezTo>
                      <a:pt x="146" y="552"/>
                      <a:pt x="146" y="552"/>
                      <a:pt x="146" y="552"/>
                    </a:cubicBezTo>
                    <a:cubicBezTo>
                      <a:pt x="124" y="518"/>
                      <a:pt x="79" y="508"/>
                      <a:pt x="44" y="530"/>
                    </a:cubicBezTo>
                    <a:cubicBezTo>
                      <a:pt x="10" y="552"/>
                      <a:pt x="0" y="597"/>
                      <a:pt x="22" y="631"/>
                    </a:cubicBezTo>
                    <a:cubicBezTo>
                      <a:pt x="210" y="1025"/>
                      <a:pt x="210" y="1025"/>
                      <a:pt x="210" y="1025"/>
                    </a:cubicBezTo>
                    <a:cubicBezTo>
                      <a:pt x="404" y="1296"/>
                      <a:pt x="404" y="1296"/>
                      <a:pt x="404" y="1296"/>
                    </a:cubicBezTo>
                    <a:cubicBezTo>
                      <a:pt x="404" y="1539"/>
                      <a:pt x="404" y="1539"/>
                      <a:pt x="404" y="1539"/>
                    </a:cubicBezTo>
                    <a:cubicBezTo>
                      <a:pt x="946" y="1539"/>
                      <a:pt x="946" y="1539"/>
                      <a:pt x="946" y="1539"/>
                    </a:cubicBezTo>
                    <a:cubicBezTo>
                      <a:pt x="945" y="1305"/>
                      <a:pt x="945" y="1305"/>
                      <a:pt x="945" y="1305"/>
                    </a:cubicBezTo>
                    <a:cubicBezTo>
                      <a:pt x="1007" y="1029"/>
                      <a:pt x="1007" y="1029"/>
                      <a:pt x="1007" y="1029"/>
                    </a:cubicBezTo>
                    <a:lnTo>
                      <a:pt x="1007" y="277"/>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00" name="Freeform 341"/>
              <p:cNvSpPr>
                <a:spLocks noEditPoints="1"/>
              </p:cNvSpPr>
              <p:nvPr/>
            </p:nvSpPr>
            <p:spPr bwMode="auto">
              <a:xfrm>
                <a:off x="3362325" y="2003425"/>
                <a:ext cx="588963" cy="350838"/>
              </a:xfrm>
              <a:custGeom>
                <a:avLst/>
                <a:gdLst>
                  <a:gd name="T0" fmla="*/ 281 w 372"/>
                  <a:gd name="T1" fmla="*/ 71 h 221"/>
                  <a:gd name="T2" fmla="*/ 284 w 372"/>
                  <a:gd name="T3" fmla="*/ 71 h 221"/>
                  <a:gd name="T4" fmla="*/ 206 w 372"/>
                  <a:gd name="T5" fmla="*/ 0 h 221"/>
                  <a:gd name="T6" fmla="*/ 136 w 372"/>
                  <a:gd name="T7" fmla="*/ 42 h 221"/>
                  <a:gd name="T8" fmla="*/ 106 w 372"/>
                  <a:gd name="T9" fmla="*/ 34 h 221"/>
                  <a:gd name="T10" fmla="*/ 46 w 372"/>
                  <a:gd name="T11" fmla="*/ 94 h 221"/>
                  <a:gd name="T12" fmla="*/ 47 w 372"/>
                  <a:gd name="T13" fmla="*/ 104 h 221"/>
                  <a:gd name="T14" fmla="*/ 0 w 372"/>
                  <a:gd name="T15" fmla="*/ 153 h 221"/>
                  <a:gd name="T16" fmla="*/ 46 w 372"/>
                  <a:gd name="T17" fmla="*/ 202 h 221"/>
                  <a:gd name="T18" fmla="*/ 46 w 372"/>
                  <a:gd name="T19" fmla="*/ 202 h 221"/>
                  <a:gd name="T20" fmla="*/ 49 w 372"/>
                  <a:gd name="T21" fmla="*/ 202 h 221"/>
                  <a:gd name="T22" fmla="*/ 49 w 372"/>
                  <a:gd name="T23" fmla="*/ 202 h 221"/>
                  <a:gd name="T24" fmla="*/ 49 w 372"/>
                  <a:gd name="T25" fmla="*/ 202 h 221"/>
                  <a:gd name="T26" fmla="*/ 82 w 372"/>
                  <a:gd name="T27" fmla="*/ 202 h 221"/>
                  <a:gd name="T28" fmla="*/ 72 w 372"/>
                  <a:gd name="T29" fmla="*/ 171 h 221"/>
                  <a:gd name="T30" fmla="*/ 125 w 372"/>
                  <a:gd name="T31" fmla="*/ 113 h 221"/>
                  <a:gd name="T32" fmla="*/ 200 w 372"/>
                  <a:gd name="T33" fmla="*/ 49 h 221"/>
                  <a:gd name="T34" fmla="*/ 259 w 372"/>
                  <a:gd name="T35" fmla="*/ 76 h 221"/>
                  <a:gd name="T36" fmla="*/ 281 w 372"/>
                  <a:gd name="T37" fmla="*/ 71 h 221"/>
                  <a:gd name="T38" fmla="*/ 336 w 372"/>
                  <a:gd name="T39" fmla="*/ 139 h 221"/>
                  <a:gd name="T40" fmla="*/ 337 w 372"/>
                  <a:gd name="T41" fmla="*/ 136 h 221"/>
                  <a:gd name="T42" fmla="*/ 283 w 372"/>
                  <a:gd name="T43" fmla="*/ 82 h 221"/>
                  <a:gd name="T44" fmla="*/ 256 w 372"/>
                  <a:gd name="T45" fmla="*/ 89 h 221"/>
                  <a:gd name="T46" fmla="*/ 200 w 372"/>
                  <a:gd name="T47" fmla="*/ 58 h 221"/>
                  <a:gd name="T48" fmla="*/ 136 w 372"/>
                  <a:gd name="T49" fmla="*/ 122 h 221"/>
                  <a:gd name="T50" fmla="*/ 133 w 372"/>
                  <a:gd name="T51" fmla="*/ 121 h 221"/>
                  <a:gd name="T52" fmla="*/ 84 w 372"/>
                  <a:gd name="T53" fmla="*/ 171 h 221"/>
                  <a:gd name="T54" fmla="*/ 133 w 372"/>
                  <a:gd name="T55" fmla="*/ 220 h 221"/>
                  <a:gd name="T56" fmla="*/ 133 w 372"/>
                  <a:gd name="T57" fmla="*/ 220 h 221"/>
                  <a:gd name="T58" fmla="*/ 133 w 372"/>
                  <a:gd name="T59" fmla="*/ 220 h 221"/>
                  <a:gd name="T60" fmla="*/ 322 w 372"/>
                  <a:gd name="T61" fmla="*/ 220 h 221"/>
                  <a:gd name="T62" fmla="*/ 331 w 372"/>
                  <a:gd name="T63" fmla="*/ 221 h 221"/>
                  <a:gd name="T64" fmla="*/ 372 w 372"/>
                  <a:gd name="T65" fmla="*/ 180 h 221"/>
                  <a:gd name="T66" fmla="*/ 336 w 372"/>
                  <a:gd name="T67" fmla="*/ 139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72" h="221">
                    <a:moveTo>
                      <a:pt x="281" y="71"/>
                    </a:moveTo>
                    <a:cubicBezTo>
                      <a:pt x="282" y="71"/>
                      <a:pt x="283" y="71"/>
                      <a:pt x="284" y="71"/>
                    </a:cubicBezTo>
                    <a:cubicBezTo>
                      <a:pt x="280" y="31"/>
                      <a:pt x="247" y="0"/>
                      <a:pt x="206" y="0"/>
                    </a:cubicBezTo>
                    <a:cubicBezTo>
                      <a:pt x="176" y="0"/>
                      <a:pt x="149" y="17"/>
                      <a:pt x="136" y="42"/>
                    </a:cubicBezTo>
                    <a:cubicBezTo>
                      <a:pt x="127" y="37"/>
                      <a:pt x="117" y="34"/>
                      <a:pt x="106" y="34"/>
                    </a:cubicBezTo>
                    <a:cubicBezTo>
                      <a:pt x="73" y="34"/>
                      <a:pt x="46" y="61"/>
                      <a:pt x="46" y="94"/>
                    </a:cubicBezTo>
                    <a:cubicBezTo>
                      <a:pt x="46" y="97"/>
                      <a:pt x="46" y="101"/>
                      <a:pt x="47" y="104"/>
                    </a:cubicBezTo>
                    <a:cubicBezTo>
                      <a:pt x="21" y="105"/>
                      <a:pt x="0" y="127"/>
                      <a:pt x="0" y="153"/>
                    </a:cubicBezTo>
                    <a:cubicBezTo>
                      <a:pt x="0" y="179"/>
                      <a:pt x="20" y="201"/>
                      <a:pt x="46" y="202"/>
                    </a:cubicBezTo>
                    <a:cubicBezTo>
                      <a:pt x="46" y="202"/>
                      <a:pt x="46" y="202"/>
                      <a:pt x="46" y="202"/>
                    </a:cubicBezTo>
                    <a:cubicBezTo>
                      <a:pt x="49" y="202"/>
                      <a:pt x="49" y="202"/>
                      <a:pt x="49" y="202"/>
                    </a:cubicBezTo>
                    <a:cubicBezTo>
                      <a:pt x="49" y="202"/>
                      <a:pt x="49" y="202"/>
                      <a:pt x="49" y="202"/>
                    </a:cubicBezTo>
                    <a:cubicBezTo>
                      <a:pt x="49" y="202"/>
                      <a:pt x="49" y="202"/>
                      <a:pt x="49" y="202"/>
                    </a:cubicBezTo>
                    <a:cubicBezTo>
                      <a:pt x="82" y="202"/>
                      <a:pt x="82" y="202"/>
                      <a:pt x="82" y="202"/>
                    </a:cubicBezTo>
                    <a:cubicBezTo>
                      <a:pt x="76" y="193"/>
                      <a:pt x="72" y="182"/>
                      <a:pt x="72" y="171"/>
                    </a:cubicBezTo>
                    <a:cubicBezTo>
                      <a:pt x="72" y="140"/>
                      <a:pt x="96" y="115"/>
                      <a:pt x="125" y="113"/>
                    </a:cubicBezTo>
                    <a:cubicBezTo>
                      <a:pt x="131" y="76"/>
                      <a:pt x="162" y="49"/>
                      <a:pt x="200" y="49"/>
                    </a:cubicBezTo>
                    <a:cubicBezTo>
                      <a:pt x="224" y="49"/>
                      <a:pt x="245" y="59"/>
                      <a:pt x="259" y="76"/>
                    </a:cubicBezTo>
                    <a:cubicBezTo>
                      <a:pt x="266" y="73"/>
                      <a:pt x="273" y="71"/>
                      <a:pt x="281" y="71"/>
                    </a:cubicBezTo>
                    <a:moveTo>
                      <a:pt x="336" y="139"/>
                    </a:moveTo>
                    <a:cubicBezTo>
                      <a:pt x="336" y="138"/>
                      <a:pt x="337" y="137"/>
                      <a:pt x="337" y="136"/>
                    </a:cubicBezTo>
                    <a:cubicBezTo>
                      <a:pt x="337" y="106"/>
                      <a:pt x="312" y="82"/>
                      <a:pt x="283" y="82"/>
                    </a:cubicBezTo>
                    <a:cubicBezTo>
                      <a:pt x="273" y="82"/>
                      <a:pt x="264" y="85"/>
                      <a:pt x="256" y="89"/>
                    </a:cubicBezTo>
                    <a:cubicBezTo>
                      <a:pt x="244" y="71"/>
                      <a:pt x="224" y="58"/>
                      <a:pt x="200" y="58"/>
                    </a:cubicBezTo>
                    <a:cubicBezTo>
                      <a:pt x="165" y="58"/>
                      <a:pt x="136" y="87"/>
                      <a:pt x="136" y="122"/>
                    </a:cubicBezTo>
                    <a:cubicBezTo>
                      <a:pt x="135" y="121"/>
                      <a:pt x="134" y="121"/>
                      <a:pt x="133" y="121"/>
                    </a:cubicBezTo>
                    <a:cubicBezTo>
                      <a:pt x="106" y="121"/>
                      <a:pt x="84" y="144"/>
                      <a:pt x="84" y="171"/>
                    </a:cubicBezTo>
                    <a:cubicBezTo>
                      <a:pt x="84" y="198"/>
                      <a:pt x="106" y="220"/>
                      <a:pt x="133" y="220"/>
                    </a:cubicBezTo>
                    <a:cubicBezTo>
                      <a:pt x="133" y="220"/>
                      <a:pt x="133" y="220"/>
                      <a:pt x="133" y="220"/>
                    </a:cubicBezTo>
                    <a:cubicBezTo>
                      <a:pt x="133" y="220"/>
                      <a:pt x="133" y="220"/>
                      <a:pt x="133" y="220"/>
                    </a:cubicBezTo>
                    <a:cubicBezTo>
                      <a:pt x="322" y="220"/>
                      <a:pt x="322" y="220"/>
                      <a:pt x="322" y="220"/>
                    </a:cubicBezTo>
                    <a:cubicBezTo>
                      <a:pt x="325" y="220"/>
                      <a:pt x="328" y="221"/>
                      <a:pt x="331" y="221"/>
                    </a:cubicBezTo>
                    <a:cubicBezTo>
                      <a:pt x="353" y="221"/>
                      <a:pt x="372" y="202"/>
                      <a:pt x="372" y="180"/>
                    </a:cubicBezTo>
                    <a:cubicBezTo>
                      <a:pt x="372" y="159"/>
                      <a:pt x="356" y="142"/>
                      <a:pt x="336" y="139"/>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01" name="Freeform 343"/>
              <p:cNvSpPr>
                <a:spLocks noEditPoints="1"/>
              </p:cNvSpPr>
              <p:nvPr/>
            </p:nvSpPr>
            <p:spPr bwMode="auto">
              <a:xfrm>
                <a:off x="996950" y="1795463"/>
                <a:ext cx="3327400" cy="2665413"/>
              </a:xfrm>
              <a:custGeom>
                <a:avLst/>
                <a:gdLst>
                  <a:gd name="T0" fmla="*/ 970 w 2098"/>
                  <a:gd name="T1" fmla="*/ 548 h 1680"/>
                  <a:gd name="T2" fmla="*/ 927 w 2098"/>
                  <a:gd name="T3" fmla="*/ 511 h 1680"/>
                  <a:gd name="T4" fmla="*/ 1111 w 2098"/>
                  <a:gd name="T5" fmla="*/ 577 h 1680"/>
                  <a:gd name="T6" fmla="*/ 1144 w 2098"/>
                  <a:gd name="T7" fmla="*/ 524 h 1680"/>
                  <a:gd name="T8" fmla="*/ 1111 w 2098"/>
                  <a:gd name="T9" fmla="*/ 577 h 1680"/>
                  <a:gd name="T10" fmla="*/ 1111 w 2098"/>
                  <a:gd name="T11" fmla="*/ 718 h 1680"/>
                  <a:gd name="T12" fmla="*/ 1148 w 2098"/>
                  <a:gd name="T13" fmla="*/ 727 h 1680"/>
                  <a:gd name="T14" fmla="*/ 1639 w 2098"/>
                  <a:gd name="T15" fmla="*/ 202 h 1680"/>
                  <a:gd name="T16" fmla="*/ 1552 w 2098"/>
                  <a:gd name="T17" fmla="*/ 88 h 1680"/>
                  <a:gd name="T18" fmla="*/ 1295 w 2098"/>
                  <a:gd name="T19" fmla="*/ 362 h 1680"/>
                  <a:gd name="T20" fmla="*/ 1631 w 2098"/>
                  <a:gd name="T21" fmla="*/ 198 h 1680"/>
                  <a:gd name="T22" fmla="*/ 1100 w 2098"/>
                  <a:gd name="T23" fmla="*/ 972 h 1680"/>
                  <a:gd name="T24" fmla="*/ 999 w 2098"/>
                  <a:gd name="T25" fmla="*/ 972 h 1680"/>
                  <a:gd name="T26" fmla="*/ 1100 w 2098"/>
                  <a:gd name="T27" fmla="*/ 972 h 1680"/>
                  <a:gd name="T28" fmla="*/ 1924 w 2098"/>
                  <a:gd name="T29" fmla="*/ 773 h 1680"/>
                  <a:gd name="T30" fmla="*/ 1479 w 2098"/>
                  <a:gd name="T31" fmla="*/ 737 h 1680"/>
                  <a:gd name="T32" fmla="*/ 2090 w 2098"/>
                  <a:gd name="T33" fmla="*/ 845 h 1680"/>
                  <a:gd name="T34" fmla="*/ 1119 w 2098"/>
                  <a:gd name="T35" fmla="*/ 963 h 1680"/>
                  <a:gd name="T36" fmla="*/ 1295 w 2098"/>
                  <a:gd name="T37" fmla="*/ 730 h 1680"/>
                  <a:gd name="T38" fmla="*/ 1331 w 2098"/>
                  <a:gd name="T39" fmla="*/ 722 h 1680"/>
                  <a:gd name="T40" fmla="*/ 1566 w 2098"/>
                  <a:gd name="T41" fmla="*/ 329 h 1680"/>
                  <a:gd name="T42" fmla="*/ 1143 w 2098"/>
                  <a:gd name="T43" fmla="*/ 917 h 1680"/>
                  <a:gd name="T44" fmla="*/ 1049 w 2098"/>
                  <a:gd name="T45" fmla="*/ 963 h 1680"/>
                  <a:gd name="T46" fmla="*/ 957 w 2098"/>
                  <a:gd name="T47" fmla="*/ 918 h 1680"/>
                  <a:gd name="T48" fmla="*/ 402 w 2098"/>
                  <a:gd name="T49" fmla="*/ 31 h 1680"/>
                  <a:gd name="T50" fmla="*/ 780 w 2098"/>
                  <a:gd name="T51" fmla="*/ 346 h 1680"/>
                  <a:gd name="T52" fmla="*/ 531 w 2098"/>
                  <a:gd name="T53" fmla="*/ 90 h 1680"/>
                  <a:gd name="T54" fmla="*/ 409 w 2098"/>
                  <a:gd name="T55" fmla="*/ 123 h 1680"/>
                  <a:gd name="T56" fmla="*/ 950 w 2098"/>
                  <a:gd name="T57" fmla="*/ 924 h 1680"/>
                  <a:gd name="T58" fmla="*/ 311 w 2098"/>
                  <a:gd name="T59" fmla="*/ 927 h 1680"/>
                  <a:gd name="T60" fmla="*/ 140 w 2098"/>
                  <a:gd name="T61" fmla="*/ 789 h 1680"/>
                  <a:gd name="T62" fmla="*/ 493 w 2098"/>
                  <a:gd name="T63" fmla="*/ 736 h 1680"/>
                  <a:gd name="T64" fmla="*/ 0 w 2098"/>
                  <a:gd name="T65" fmla="*/ 845 h 1680"/>
                  <a:gd name="T66" fmla="*/ 310 w 2098"/>
                  <a:gd name="T67" fmla="*/ 936 h 1680"/>
                  <a:gd name="T68" fmla="*/ 1045 w 2098"/>
                  <a:gd name="T69" fmla="*/ 1042 h 1680"/>
                  <a:gd name="T70" fmla="*/ 413 w 2098"/>
                  <a:gd name="T71" fmla="*/ 1667 h 1680"/>
                  <a:gd name="T72" fmla="*/ 577 w 2098"/>
                  <a:gd name="T73" fmla="*/ 1290 h 1680"/>
                  <a:gd name="T74" fmla="*/ 407 w 2098"/>
                  <a:gd name="T75" fmla="*/ 1674 h 1680"/>
                  <a:gd name="T76" fmla="*/ 501 w 2098"/>
                  <a:gd name="T77" fmla="*/ 1639 h 1680"/>
                  <a:gd name="T78" fmla="*/ 1051 w 2098"/>
                  <a:gd name="T79" fmla="*/ 1049 h 1680"/>
                  <a:gd name="T80" fmla="*/ 1609 w 2098"/>
                  <a:gd name="T81" fmla="*/ 1631 h 1680"/>
                  <a:gd name="T82" fmla="*/ 1702 w 2098"/>
                  <a:gd name="T83" fmla="*/ 1666 h 1680"/>
                  <a:gd name="T84" fmla="*/ 1464 w 2098"/>
                  <a:gd name="T85" fmla="*/ 1204 h 1680"/>
                  <a:gd name="T86" fmla="*/ 1444 w 2098"/>
                  <a:gd name="T87" fmla="*/ 1474 h 1680"/>
                  <a:gd name="T88" fmla="*/ 1112 w 2098"/>
                  <a:gd name="T89" fmla="*/ 972 h 1680"/>
                  <a:gd name="T90" fmla="*/ 2013 w 2098"/>
                  <a:gd name="T91" fmla="*/ 897 h 1680"/>
                  <a:gd name="T92" fmla="*/ 657 w 2098"/>
                  <a:gd name="T93" fmla="*/ 735 h 1680"/>
                  <a:gd name="T94" fmla="*/ 780 w 2098"/>
                  <a:gd name="T95" fmla="*/ 722 h 1680"/>
                  <a:gd name="T96" fmla="*/ 657 w 2098"/>
                  <a:gd name="T97" fmla="*/ 735 h 1680"/>
                  <a:gd name="T98" fmla="*/ 624 w 2098"/>
                  <a:gd name="T99" fmla="*/ 1217 h 1680"/>
                  <a:gd name="T100" fmla="*/ 687 w 2098"/>
                  <a:gd name="T101" fmla="*/ 1139 h 1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098" h="1680">
                    <a:moveTo>
                      <a:pt x="964" y="554"/>
                    </a:moveTo>
                    <a:cubicBezTo>
                      <a:pt x="970" y="548"/>
                      <a:pt x="970" y="548"/>
                      <a:pt x="970" y="548"/>
                    </a:cubicBezTo>
                    <a:cubicBezTo>
                      <a:pt x="958" y="533"/>
                      <a:pt x="940" y="512"/>
                      <a:pt x="927" y="498"/>
                    </a:cubicBezTo>
                    <a:cubicBezTo>
                      <a:pt x="927" y="511"/>
                      <a:pt x="927" y="511"/>
                      <a:pt x="927" y="511"/>
                    </a:cubicBezTo>
                    <a:cubicBezTo>
                      <a:pt x="940" y="526"/>
                      <a:pt x="951" y="539"/>
                      <a:pt x="964" y="554"/>
                    </a:cubicBezTo>
                    <a:moveTo>
                      <a:pt x="1111" y="577"/>
                    </a:moveTo>
                    <a:cubicBezTo>
                      <a:pt x="1125" y="561"/>
                      <a:pt x="1138" y="545"/>
                      <a:pt x="1151" y="529"/>
                    </a:cubicBezTo>
                    <a:cubicBezTo>
                      <a:pt x="1144" y="524"/>
                      <a:pt x="1144" y="524"/>
                      <a:pt x="1144" y="524"/>
                    </a:cubicBezTo>
                    <a:cubicBezTo>
                      <a:pt x="1131" y="539"/>
                      <a:pt x="1118" y="555"/>
                      <a:pt x="1105" y="571"/>
                    </a:cubicBezTo>
                    <a:lnTo>
                      <a:pt x="1111" y="577"/>
                    </a:lnTo>
                    <a:close/>
                    <a:moveTo>
                      <a:pt x="1148" y="718"/>
                    </a:moveTo>
                    <a:cubicBezTo>
                      <a:pt x="1137" y="718"/>
                      <a:pt x="1122" y="718"/>
                      <a:pt x="1111" y="718"/>
                    </a:cubicBezTo>
                    <a:cubicBezTo>
                      <a:pt x="1111" y="727"/>
                      <a:pt x="1111" y="727"/>
                      <a:pt x="1111" y="727"/>
                    </a:cubicBezTo>
                    <a:cubicBezTo>
                      <a:pt x="1122" y="727"/>
                      <a:pt x="1137" y="727"/>
                      <a:pt x="1148" y="727"/>
                    </a:cubicBezTo>
                    <a:lnTo>
                      <a:pt x="1148" y="718"/>
                    </a:lnTo>
                    <a:close/>
                    <a:moveTo>
                      <a:pt x="1639" y="202"/>
                    </a:moveTo>
                    <a:cubicBezTo>
                      <a:pt x="1696" y="93"/>
                      <a:pt x="1713" y="32"/>
                      <a:pt x="1692" y="15"/>
                    </a:cubicBezTo>
                    <a:cubicBezTo>
                      <a:pt x="1672" y="0"/>
                      <a:pt x="1627" y="24"/>
                      <a:pt x="1552" y="88"/>
                    </a:cubicBezTo>
                    <a:cubicBezTo>
                      <a:pt x="1484" y="147"/>
                      <a:pt x="1396" y="236"/>
                      <a:pt x="1295" y="349"/>
                    </a:cubicBezTo>
                    <a:cubicBezTo>
                      <a:pt x="1295" y="362"/>
                      <a:pt x="1295" y="362"/>
                      <a:pt x="1295" y="362"/>
                    </a:cubicBezTo>
                    <a:cubicBezTo>
                      <a:pt x="1542" y="86"/>
                      <a:pt x="1662" y="4"/>
                      <a:pt x="1686" y="22"/>
                    </a:cubicBezTo>
                    <a:cubicBezTo>
                      <a:pt x="1694" y="29"/>
                      <a:pt x="1705" y="58"/>
                      <a:pt x="1631" y="198"/>
                    </a:cubicBezTo>
                    <a:lnTo>
                      <a:pt x="1639" y="202"/>
                    </a:lnTo>
                    <a:close/>
                    <a:moveTo>
                      <a:pt x="1100" y="972"/>
                    </a:moveTo>
                    <a:cubicBezTo>
                      <a:pt x="1084" y="993"/>
                      <a:pt x="1067" y="1014"/>
                      <a:pt x="1051" y="1035"/>
                    </a:cubicBezTo>
                    <a:cubicBezTo>
                      <a:pt x="1034" y="1014"/>
                      <a:pt x="1017" y="993"/>
                      <a:pt x="999" y="972"/>
                    </a:cubicBezTo>
                    <a:cubicBezTo>
                      <a:pt x="1016" y="972"/>
                      <a:pt x="1033" y="972"/>
                      <a:pt x="1049" y="972"/>
                    </a:cubicBezTo>
                    <a:cubicBezTo>
                      <a:pt x="1066" y="972"/>
                      <a:pt x="1083" y="972"/>
                      <a:pt x="1100" y="972"/>
                    </a:cubicBezTo>
                    <a:moveTo>
                      <a:pt x="2098" y="845"/>
                    </a:moveTo>
                    <a:cubicBezTo>
                      <a:pt x="2098" y="818"/>
                      <a:pt x="2041" y="794"/>
                      <a:pt x="1924" y="773"/>
                    </a:cubicBezTo>
                    <a:cubicBezTo>
                      <a:pt x="1814" y="753"/>
                      <a:pt x="1659" y="738"/>
                      <a:pt x="1479" y="728"/>
                    </a:cubicBezTo>
                    <a:cubicBezTo>
                      <a:pt x="1479" y="737"/>
                      <a:pt x="1479" y="737"/>
                      <a:pt x="1479" y="737"/>
                    </a:cubicBezTo>
                    <a:cubicBezTo>
                      <a:pt x="1659" y="747"/>
                      <a:pt x="1813" y="762"/>
                      <a:pt x="1922" y="782"/>
                    </a:cubicBezTo>
                    <a:cubicBezTo>
                      <a:pt x="2073" y="809"/>
                      <a:pt x="2090" y="835"/>
                      <a:pt x="2090" y="845"/>
                    </a:cubicBezTo>
                    <a:cubicBezTo>
                      <a:pt x="2090" y="856"/>
                      <a:pt x="2068" y="894"/>
                      <a:pt x="1787" y="927"/>
                    </a:cubicBezTo>
                    <a:cubicBezTo>
                      <a:pt x="1607" y="949"/>
                      <a:pt x="1371" y="961"/>
                      <a:pt x="1119" y="963"/>
                    </a:cubicBezTo>
                    <a:cubicBezTo>
                      <a:pt x="1129" y="950"/>
                      <a:pt x="1140" y="936"/>
                      <a:pt x="1150" y="923"/>
                    </a:cubicBezTo>
                    <a:cubicBezTo>
                      <a:pt x="1200" y="858"/>
                      <a:pt x="1249" y="793"/>
                      <a:pt x="1295" y="730"/>
                    </a:cubicBezTo>
                    <a:cubicBezTo>
                      <a:pt x="1307" y="730"/>
                      <a:pt x="1319" y="730"/>
                      <a:pt x="1331" y="731"/>
                    </a:cubicBezTo>
                    <a:cubicBezTo>
                      <a:pt x="1331" y="722"/>
                      <a:pt x="1331" y="722"/>
                      <a:pt x="1331" y="722"/>
                    </a:cubicBezTo>
                    <a:cubicBezTo>
                      <a:pt x="1321" y="722"/>
                      <a:pt x="1312" y="721"/>
                      <a:pt x="1301" y="721"/>
                    </a:cubicBezTo>
                    <a:cubicBezTo>
                      <a:pt x="1405" y="579"/>
                      <a:pt x="1496" y="444"/>
                      <a:pt x="1566" y="329"/>
                    </a:cubicBezTo>
                    <a:cubicBezTo>
                      <a:pt x="1559" y="324"/>
                      <a:pt x="1559" y="324"/>
                      <a:pt x="1559" y="324"/>
                    </a:cubicBezTo>
                    <a:cubicBezTo>
                      <a:pt x="1457" y="492"/>
                      <a:pt x="1309" y="703"/>
                      <a:pt x="1143" y="917"/>
                    </a:cubicBezTo>
                    <a:cubicBezTo>
                      <a:pt x="1131" y="933"/>
                      <a:pt x="1119" y="948"/>
                      <a:pt x="1107" y="963"/>
                    </a:cubicBezTo>
                    <a:cubicBezTo>
                      <a:pt x="1088" y="963"/>
                      <a:pt x="1069" y="963"/>
                      <a:pt x="1049" y="963"/>
                    </a:cubicBezTo>
                    <a:cubicBezTo>
                      <a:pt x="1030" y="963"/>
                      <a:pt x="1011" y="963"/>
                      <a:pt x="992" y="963"/>
                    </a:cubicBezTo>
                    <a:cubicBezTo>
                      <a:pt x="980" y="948"/>
                      <a:pt x="969" y="933"/>
                      <a:pt x="957" y="918"/>
                    </a:cubicBezTo>
                    <a:cubicBezTo>
                      <a:pt x="783" y="700"/>
                      <a:pt x="630" y="487"/>
                      <a:pt x="525" y="318"/>
                    </a:cubicBezTo>
                    <a:cubicBezTo>
                      <a:pt x="377" y="79"/>
                      <a:pt x="393" y="38"/>
                      <a:pt x="402" y="31"/>
                    </a:cubicBezTo>
                    <a:cubicBezTo>
                      <a:pt x="416" y="19"/>
                      <a:pt x="461" y="44"/>
                      <a:pt x="526" y="97"/>
                    </a:cubicBezTo>
                    <a:cubicBezTo>
                      <a:pt x="592" y="152"/>
                      <a:pt x="681" y="240"/>
                      <a:pt x="780" y="346"/>
                    </a:cubicBezTo>
                    <a:cubicBezTo>
                      <a:pt x="780" y="333"/>
                      <a:pt x="780" y="333"/>
                      <a:pt x="780" y="333"/>
                    </a:cubicBezTo>
                    <a:cubicBezTo>
                      <a:pt x="681" y="226"/>
                      <a:pt x="598" y="145"/>
                      <a:pt x="531" y="90"/>
                    </a:cubicBezTo>
                    <a:cubicBezTo>
                      <a:pt x="459" y="31"/>
                      <a:pt x="415" y="9"/>
                      <a:pt x="396" y="24"/>
                    </a:cubicBezTo>
                    <a:cubicBezTo>
                      <a:pt x="381" y="36"/>
                      <a:pt x="386" y="68"/>
                      <a:pt x="409" y="123"/>
                    </a:cubicBezTo>
                    <a:cubicBezTo>
                      <a:pt x="430" y="173"/>
                      <a:pt x="467" y="241"/>
                      <a:pt x="518" y="323"/>
                    </a:cubicBezTo>
                    <a:cubicBezTo>
                      <a:pt x="623" y="492"/>
                      <a:pt x="776" y="705"/>
                      <a:pt x="950" y="924"/>
                    </a:cubicBezTo>
                    <a:cubicBezTo>
                      <a:pt x="960" y="937"/>
                      <a:pt x="971" y="950"/>
                      <a:pt x="981" y="963"/>
                    </a:cubicBezTo>
                    <a:cubicBezTo>
                      <a:pt x="728" y="961"/>
                      <a:pt x="492" y="949"/>
                      <a:pt x="311" y="927"/>
                    </a:cubicBezTo>
                    <a:cubicBezTo>
                      <a:pt x="31" y="894"/>
                      <a:pt x="9" y="856"/>
                      <a:pt x="9" y="845"/>
                    </a:cubicBezTo>
                    <a:cubicBezTo>
                      <a:pt x="9" y="836"/>
                      <a:pt x="22" y="813"/>
                      <a:pt x="140" y="789"/>
                    </a:cubicBezTo>
                    <a:cubicBezTo>
                      <a:pt x="226" y="771"/>
                      <a:pt x="350" y="756"/>
                      <a:pt x="497" y="745"/>
                    </a:cubicBezTo>
                    <a:cubicBezTo>
                      <a:pt x="493" y="736"/>
                      <a:pt x="493" y="736"/>
                      <a:pt x="493" y="736"/>
                    </a:cubicBezTo>
                    <a:cubicBezTo>
                      <a:pt x="346" y="747"/>
                      <a:pt x="224" y="762"/>
                      <a:pt x="139" y="780"/>
                    </a:cubicBezTo>
                    <a:cubicBezTo>
                      <a:pt x="46" y="799"/>
                      <a:pt x="0" y="821"/>
                      <a:pt x="0" y="845"/>
                    </a:cubicBezTo>
                    <a:cubicBezTo>
                      <a:pt x="0" y="864"/>
                      <a:pt x="28" y="881"/>
                      <a:pt x="86" y="897"/>
                    </a:cubicBezTo>
                    <a:cubicBezTo>
                      <a:pt x="139" y="911"/>
                      <a:pt x="214" y="925"/>
                      <a:pt x="310" y="936"/>
                    </a:cubicBezTo>
                    <a:cubicBezTo>
                      <a:pt x="493" y="957"/>
                      <a:pt x="732" y="970"/>
                      <a:pt x="988" y="972"/>
                    </a:cubicBezTo>
                    <a:cubicBezTo>
                      <a:pt x="1007" y="995"/>
                      <a:pt x="1026" y="1019"/>
                      <a:pt x="1045" y="1042"/>
                    </a:cubicBezTo>
                    <a:cubicBezTo>
                      <a:pt x="908" y="1212"/>
                      <a:pt x="775" y="1364"/>
                      <a:pt x="663" y="1479"/>
                    </a:cubicBezTo>
                    <a:cubicBezTo>
                      <a:pt x="465" y="1680"/>
                      <a:pt x="421" y="1674"/>
                      <a:pt x="413" y="1667"/>
                    </a:cubicBezTo>
                    <a:cubicBezTo>
                      <a:pt x="391" y="1651"/>
                      <a:pt x="425" y="1544"/>
                      <a:pt x="584" y="1294"/>
                    </a:cubicBezTo>
                    <a:cubicBezTo>
                      <a:pt x="577" y="1290"/>
                      <a:pt x="577" y="1290"/>
                      <a:pt x="577" y="1290"/>
                    </a:cubicBezTo>
                    <a:cubicBezTo>
                      <a:pt x="510" y="1394"/>
                      <a:pt x="459" y="1483"/>
                      <a:pt x="430" y="1548"/>
                    </a:cubicBezTo>
                    <a:cubicBezTo>
                      <a:pt x="397" y="1620"/>
                      <a:pt x="390" y="1661"/>
                      <a:pt x="407" y="1674"/>
                    </a:cubicBezTo>
                    <a:cubicBezTo>
                      <a:pt x="411" y="1677"/>
                      <a:pt x="416" y="1679"/>
                      <a:pt x="421" y="1679"/>
                    </a:cubicBezTo>
                    <a:cubicBezTo>
                      <a:pt x="439" y="1679"/>
                      <a:pt x="465" y="1665"/>
                      <a:pt x="501" y="1639"/>
                    </a:cubicBezTo>
                    <a:cubicBezTo>
                      <a:pt x="545" y="1606"/>
                      <a:pt x="601" y="1554"/>
                      <a:pt x="669" y="1485"/>
                    </a:cubicBezTo>
                    <a:cubicBezTo>
                      <a:pt x="781" y="1371"/>
                      <a:pt x="914" y="1219"/>
                      <a:pt x="1051" y="1049"/>
                    </a:cubicBezTo>
                    <a:cubicBezTo>
                      <a:pt x="1190" y="1217"/>
                      <a:pt x="1324" y="1367"/>
                      <a:pt x="1438" y="1480"/>
                    </a:cubicBezTo>
                    <a:cubicBezTo>
                      <a:pt x="1507" y="1548"/>
                      <a:pt x="1564" y="1599"/>
                      <a:pt x="1609" y="1631"/>
                    </a:cubicBezTo>
                    <a:cubicBezTo>
                      <a:pt x="1644" y="1657"/>
                      <a:pt x="1671" y="1670"/>
                      <a:pt x="1688" y="1670"/>
                    </a:cubicBezTo>
                    <a:cubicBezTo>
                      <a:pt x="1694" y="1670"/>
                      <a:pt x="1699" y="1669"/>
                      <a:pt x="1702" y="1666"/>
                    </a:cubicBezTo>
                    <a:cubicBezTo>
                      <a:pt x="1754" y="1624"/>
                      <a:pt x="1554" y="1319"/>
                      <a:pt x="1466" y="1192"/>
                    </a:cubicBezTo>
                    <a:cubicBezTo>
                      <a:pt x="1464" y="1204"/>
                      <a:pt x="1464" y="1204"/>
                      <a:pt x="1464" y="1204"/>
                    </a:cubicBezTo>
                    <a:cubicBezTo>
                      <a:pt x="1675" y="1511"/>
                      <a:pt x="1721" y="1640"/>
                      <a:pt x="1697" y="1659"/>
                    </a:cubicBezTo>
                    <a:cubicBezTo>
                      <a:pt x="1688" y="1666"/>
                      <a:pt x="1645" y="1673"/>
                      <a:pt x="1444" y="1474"/>
                    </a:cubicBezTo>
                    <a:cubicBezTo>
                      <a:pt x="1330" y="1361"/>
                      <a:pt x="1196" y="1210"/>
                      <a:pt x="1056" y="1042"/>
                    </a:cubicBezTo>
                    <a:cubicBezTo>
                      <a:pt x="1075" y="1019"/>
                      <a:pt x="1093" y="995"/>
                      <a:pt x="1112" y="972"/>
                    </a:cubicBezTo>
                    <a:cubicBezTo>
                      <a:pt x="1367" y="970"/>
                      <a:pt x="1606" y="957"/>
                      <a:pt x="1788" y="936"/>
                    </a:cubicBezTo>
                    <a:cubicBezTo>
                      <a:pt x="1885" y="925"/>
                      <a:pt x="1960" y="911"/>
                      <a:pt x="2013" y="897"/>
                    </a:cubicBezTo>
                    <a:cubicBezTo>
                      <a:pt x="2070" y="881"/>
                      <a:pt x="2098" y="864"/>
                      <a:pt x="2098" y="845"/>
                    </a:cubicBezTo>
                    <a:moveTo>
                      <a:pt x="657" y="735"/>
                    </a:moveTo>
                    <a:cubicBezTo>
                      <a:pt x="697" y="733"/>
                      <a:pt x="738" y="732"/>
                      <a:pt x="780" y="730"/>
                    </a:cubicBezTo>
                    <a:cubicBezTo>
                      <a:pt x="780" y="722"/>
                      <a:pt x="780" y="722"/>
                      <a:pt x="780" y="722"/>
                    </a:cubicBezTo>
                    <a:cubicBezTo>
                      <a:pt x="738" y="723"/>
                      <a:pt x="693" y="725"/>
                      <a:pt x="653" y="727"/>
                    </a:cubicBezTo>
                    <a:lnTo>
                      <a:pt x="657" y="735"/>
                    </a:lnTo>
                    <a:close/>
                    <a:moveTo>
                      <a:pt x="682" y="1131"/>
                    </a:moveTo>
                    <a:cubicBezTo>
                      <a:pt x="662" y="1160"/>
                      <a:pt x="643" y="1189"/>
                      <a:pt x="624" y="1217"/>
                    </a:cubicBezTo>
                    <a:cubicBezTo>
                      <a:pt x="631" y="1222"/>
                      <a:pt x="631" y="1222"/>
                      <a:pt x="631" y="1222"/>
                    </a:cubicBezTo>
                    <a:cubicBezTo>
                      <a:pt x="649" y="1195"/>
                      <a:pt x="668" y="1167"/>
                      <a:pt x="687" y="1139"/>
                    </a:cubicBezTo>
                    <a:cubicBezTo>
                      <a:pt x="685" y="1135"/>
                      <a:pt x="682" y="1131"/>
                      <a:pt x="682" y="113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02" name="Freeform 344"/>
              <p:cNvSpPr>
                <a:spLocks/>
              </p:cNvSpPr>
              <p:nvPr/>
            </p:nvSpPr>
            <p:spPr bwMode="auto">
              <a:xfrm>
                <a:off x="1662113" y="2155825"/>
                <a:ext cx="196850" cy="207963"/>
              </a:xfrm>
              <a:custGeom>
                <a:avLst/>
                <a:gdLst>
                  <a:gd name="T0" fmla="*/ 125 w 125"/>
                  <a:gd name="T1" fmla="*/ 131 h 131"/>
                  <a:gd name="T2" fmla="*/ 0 w 125"/>
                  <a:gd name="T3" fmla="*/ 90 h 131"/>
                  <a:gd name="T4" fmla="*/ 125 w 125"/>
                  <a:gd name="T5" fmla="*/ 0 h 131"/>
                  <a:gd name="T6" fmla="*/ 125 w 125"/>
                  <a:gd name="T7" fmla="*/ 131 h 131"/>
                </a:gdLst>
                <a:ahLst/>
                <a:cxnLst>
                  <a:cxn ang="0">
                    <a:pos x="T0" y="T1"/>
                  </a:cxn>
                  <a:cxn ang="0">
                    <a:pos x="T2" y="T3"/>
                  </a:cxn>
                  <a:cxn ang="0">
                    <a:pos x="T4" y="T5"/>
                  </a:cxn>
                  <a:cxn ang="0">
                    <a:pos x="T6" y="T7"/>
                  </a:cxn>
                </a:cxnLst>
                <a:rect l="0" t="0" r="r" b="b"/>
                <a:pathLst>
                  <a:path w="125" h="131">
                    <a:moveTo>
                      <a:pt x="125" y="131"/>
                    </a:moveTo>
                    <a:cubicBezTo>
                      <a:pt x="0" y="90"/>
                      <a:pt x="0" y="90"/>
                      <a:pt x="0" y="90"/>
                    </a:cubicBezTo>
                    <a:cubicBezTo>
                      <a:pt x="18" y="35"/>
                      <a:pt x="67" y="0"/>
                      <a:pt x="125" y="0"/>
                    </a:cubicBezTo>
                    <a:lnTo>
                      <a:pt x="125" y="131"/>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03" name="Freeform 345"/>
              <p:cNvSpPr>
                <a:spLocks/>
              </p:cNvSpPr>
              <p:nvPr/>
            </p:nvSpPr>
            <p:spPr bwMode="auto">
              <a:xfrm>
                <a:off x="1647825" y="2298700"/>
                <a:ext cx="211138" cy="130175"/>
              </a:xfrm>
              <a:custGeom>
                <a:avLst/>
                <a:gdLst>
                  <a:gd name="T0" fmla="*/ 134 w 134"/>
                  <a:gd name="T1" fmla="*/ 41 h 82"/>
                  <a:gd name="T2" fmla="*/ 9 w 134"/>
                  <a:gd name="T3" fmla="*/ 82 h 82"/>
                  <a:gd name="T4" fmla="*/ 9 w 134"/>
                  <a:gd name="T5" fmla="*/ 0 h 82"/>
                  <a:gd name="T6" fmla="*/ 134 w 134"/>
                  <a:gd name="T7" fmla="*/ 41 h 82"/>
                </a:gdLst>
                <a:ahLst/>
                <a:cxnLst>
                  <a:cxn ang="0">
                    <a:pos x="T0" y="T1"/>
                  </a:cxn>
                  <a:cxn ang="0">
                    <a:pos x="T2" y="T3"/>
                  </a:cxn>
                  <a:cxn ang="0">
                    <a:pos x="T4" y="T5"/>
                  </a:cxn>
                  <a:cxn ang="0">
                    <a:pos x="T6" y="T7"/>
                  </a:cxn>
                </a:cxnLst>
                <a:rect l="0" t="0" r="r" b="b"/>
                <a:pathLst>
                  <a:path w="134" h="82">
                    <a:moveTo>
                      <a:pt x="134" y="41"/>
                    </a:moveTo>
                    <a:cubicBezTo>
                      <a:pt x="9" y="82"/>
                      <a:pt x="9" y="82"/>
                      <a:pt x="9" y="82"/>
                    </a:cubicBezTo>
                    <a:cubicBezTo>
                      <a:pt x="0" y="54"/>
                      <a:pt x="0" y="28"/>
                      <a:pt x="9" y="0"/>
                    </a:cubicBezTo>
                    <a:lnTo>
                      <a:pt x="134" y="41"/>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04" name="Freeform 346"/>
              <p:cNvSpPr>
                <a:spLocks/>
              </p:cNvSpPr>
              <p:nvPr/>
            </p:nvSpPr>
            <p:spPr bwMode="auto">
              <a:xfrm>
                <a:off x="1662113" y="2363788"/>
                <a:ext cx="196850" cy="168275"/>
              </a:xfrm>
              <a:custGeom>
                <a:avLst/>
                <a:gdLst>
                  <a:gd name="T0" fmla="*/ 125 w 125"/>
                  <a:gd name="T1" fmla="*/ 0 h 106"/>
                  <a:gd name="T2" fmla="*/ 48 w 125"/>
                  <a:gd name="T3" fmla="*/ 106 h 106"/>
                  <a:gd name="T4" fmla="*/ 0 w 125"/>
                  <a:gd name="T5" fmla="*/ 41 h 106"/>
                  <a:gd name="T6" fmla="*/ 125 w 125"/>
                  <a:gd name="T7" fmla="*/ 0 h 106"/>
                </a:gdLst>
                <a:ahLst/>
                <a:cxnLst>
                  <a:cxn ang="0">
                    <a:pos x="T0" y="T1"/>
                  </a:cxn>
                  <a:cxn ang="0">
                    <a:pos x="T2" y="T3"/>
                  </a:cxn>
                  <a:cxn ang="0">
                    <a:pos x="T4" y="T5"/>
                  </a:cxn>
                  <a:cxn ang="0">
                    <a:pos x="T6" y="T7"/>
                  </a:cxn>
                </a:cxnLst>
                <a:rect l="0" t="0" r="r" b="b"/>
                <a:pathLst>
                  <a:path w="125" h="106">
                    <a:moveTo>
                      <a:pt x="125" y="0"/>
                    </a:moveTo>
                    <a:cubicBezTo>
                      <a:pt x="48" y="106"/>
                      <a:pt x="48" y="106"/>
                      <a:pt x="48" y="106"/>
                    </a:cubicBezTo>
                    <a:cubicBezTo>
                      <a:pt x="25" y="89"/>
                      <a:pt x="9" y="68"/>
                      <a:pt x="0" y="41"/>
                    </a:cubicBezTo>
                    <a:lnTo>
                      <a:pt x="125" y="0"/>
                    </a:lnTo>
                    <a:close/>
                  </a:path>
                </a:pathLst>
              </a:custGeom>
              <a:solidFill>
                <a:srgbClr val="FFF1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05" name="Freeform 347"/>
              <p:cNvSpPr>
                <a:spLocks/>
              </p:cNvSpPr>
              <p:nvPr/>
            </p:nvSpPr>
            <p:spPr bwMode="auto">
              <a:xfrm>
                <a:off x="1736725" y="2363788"/>
                <a:ext cx="320675" cy="233363"/>
              </a:xfrm>
              <a:custGeom>
                <a:avLst/>
                <a:gdLst>
                  <a:gd name="T0" fmla="*/ 77 w 202"/>
                  <a:gd name="T1" fmla="*/ 0 h 147"/>
                  <a:gd name="T2" fmla="*/ 202 w 202"/>
                  <a:gd name="T3" fmla="*/ 41 h 147"/>
                  <a:gd name="T4" fmla="*/ 37 w 202"/>
                  <a:gd name="T5" fmla="*/ 125 h 147"/>
                  <a:gd name="T6" fmla="*/ 0 w 202"/>
                  <a:gd name="T7" fmla="*/ 106 h 147"/>
                  <a:gd name="T8" fmla="*/ 77 w 202"/>
                  <a:gd name="T9" fmla="*/ 0 h 147"/>
                </a:gdLst>
                <a:ahLst/>
                <a:cxnLst>
                  <a:cxn ang="0">
                    <a:pos x="T0" y="T1"/>
                  </a:cxn>
                  <a:cxn ang="0">
                    <a:pos x="T2" y="T3"/>
                  </a:cxn>
                  <a:cxn ang="0">
                    <a:pos x="T4" y="T5"/>
                  </a:cxn>
                  <a:cxn ang="0">
                    <a:pos x="T6" y="T7"/>
                  </a:cxn>
                  <a:cxn ang="0">
                    <a:pos x="T8" y="T9"/>
                  </a:cxn>
                </a:cxnLst>
                <a:rect l="0" t="0" r="r" b="b"/>
                <a:pathLst>
                  <a:path w="202" h="147">
                    <a:moveTo>
                      <a:pt x="77" y="0"/>
                    </a:moveTo>
                    <a:cubicBezTo>
                      <a:pt x="202" y="41"/>
                      <a:pt x="202" y="41"/>
                      <a:pt x="202" y="41"/>
                    </a:cubicBezTo>
                    <a:cubicBezTo>
                      <a:pt x="180" y="110"/>
                      <a:pt x="106" y="147"/>
                      <a:pt x="37" y="125"/>
                    </a:cubicBezTo>
                    <a:cubicBezTo>
                      <a:pt x="23" y="120"/>
                      <a:pt x="12" y="115"/>
                      <a:pt x="0" y="106"/>
                    </a:cubicBezTo>
                    <a:lnTo>
                      <a:pt x="77" y="0"/>
                    </a:ln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06" name="Freeform 348"/>
              <p:cNvSpPr>
                <a:spLocks/>
              </p:cNvSpPr>
              <p:nvPr/>
            </p:nvSpPr>
            <p:spPr bwMode="auto">
              <a:xfrm>
                <a:off x="1858963" y="2155825"/>
                <a:ext cx="207963" cy="273050"/>
              </a:xfrm>
              <a:custGeom>
                <a:avLst/>
                <a:gdLst>
                  <a:gd name="T0" fmla="*/ 0 w 131"/>
                  <a:gd name="T1" fmla="*/ 131 h 172"/>
                  <a:gd name="T2" fmla="*/ 0 w 131"/>
                  <a:gd name="T3" fmla="*/ 0 h 172"/>
                  <a:gd name="T4" fmla="*/ 131 w 131"/>
                  <a:gd name="T5" fmla="*/ 131 h 172"/>
                  <a:gd name="T6" fmla="*/ 125 w 131"/>
                  <a:gd name="T7" fmla="*/ 172 h 172"/>
                  <a:gd name="T8" fmla="*/ 0 w 131"/>
                  <a:gd name="T9" fmla="*/ 131 h 172"/>
                </a:gdLst>
                <a:ahLst/>
                <a:cxnLst>
                  <a:cxn ang="0">
                    <a:pos x="T0" y="T1"/>
                  </a:cxn>
                  <a:cxn ang="0">
                    <a:pos x="T2" y="T3"/>
                  </a:cxn>
                  <a:cxn ang="0">
                    <a:pos x="T4" y="T5"/>
                  </a:cxn>
                  <a:cxn ang="0">
                    <a:pos x="T6" y="T7"/>
                  </a:cxn>
                  <a:cxn ang="0">
                    <a:pos x="T8" y="T9"/>
                  </a:cxn>
                </a:cxnLst>
                <a:rect l="0" t="0" r="r" b="b"/>
                <a:pathLst>
                  <a:path w="131" h="172">
                    <a:moveTo>
                      <a:pt x="0" y="131"/>
                    </a:moveTo>
                    <a:cubicBezTo>
                      <a:pt x="0" y="0"/>
                      <a:pt x="0" y="0"/>
                      <a:pt x="0" y="0"/>
                    </a:cubicBezTo>
                    <a:cubicBezTo>
                      <a:pt x="73" y="0"/>
                      <a:pt x="131" y="59"/>
                      <a:pt x="131" y="131"/>
                    </a:cubicBezTo>
                    <a:cubicBezTo>
                      <a:pt x="131" y="146"/>
                      <a:pt x="129" y="158"/>
                      <a:pt x="125" y="172"/>
                    </a:cubicBezTo>
                    <a:lnTo>
                      <a:pt x="0" y="131"/>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07" name="Freeform 349"/>
              <p:cNvSpPr>
                <a:spLocks noEditPoints="1"/>
              </p:cNvSpPr>
              <p:nvPr/>
            </p:nvSpPr>
            <p:spPr bwMode="auto">
              <a:xfrm>
                <a:off x="3565525" y="2798763"/>
                <a:ext cx="461963" cy="339725"/>
              </a:xfrm>
              <a:custGeom>
                <a:avLst/>
                <a:gdLst>
                  <a:gd name="T0" fmla="*/ 141 w 292"/>
                  <a:gd name="T1" fmla="*/ 22 h 214"/>
                  <a:gd name="T2" fmla="*/ 267 w 292"/>
                  <a:gd name="T3" fmla="*/ 22 h 214"/>
                  <a:gd name="T4" fmla="*/ 256 w 292"/>
                  <a:gd name="T5" fmla="*/ 3 h 214"/>
                  <a:gd name="T6" fmla="*/ 251 w 292"/>
                  <a:gd name="T7" fmla="*/ 0 h 214"/>
                  <a:gd name="T8" fmla="*/ 158 w 292"/>
                  <a:gd name="T9" fmla="*/ 0 h 214"/>
                  <a:gd name="T10" fmla="*/ 153 w 292"/>
                  <a:gd name="T11" fmla="*/ 3 h 214"/>
                  <a:gd name="T12" fmla="*/ 141 w 292"/>
                  <a:gd name="T13" fmla="*/ 22 h 214"/>
                  <a:gd name="T14" fmla="*/ 292 w 292"/>
                  <a:gd name="T15" fmla="*/ 38 h 214"/>
                  <a:gd name="T16" fmla="*/ 285 w 292"/>
                  <a:gd name="T17" fmla="*/ 31 h 214"/>
                  <a:gd name="T18" fmla="*/ 232 w 292"/>
                  <a:gd name="T19" fmla="*/ 31 h 214"/>
                  <a:gd name="T20" fmla="*/ 61 w 292"/>
                  <a:gd name="T21" fmla="*/ 31 h 214"/>
                  <a:gd name="T22" fmla="*/ 8 w 292"/>
                  <a:gd name="T23" fmla="*/ 31 h 214"/>
                  <a:gd name="T24" fmla="*/ 0 w 292"/>
                  <a:gd name="T25" fmla="*/ 38 h 214"/>
                  <a:gd name="T26" fmla="*/ 0 w 292"/>
                  <a:gd name="T27" fmla="*/ 207 h 214"/>
                  <a:gd name="T28" fmla="*/ 8 w 292"/>
                  <a:gd name="T29" fmla="*/ 214 h 214"/>
                  <a:gd name="T30" fmla="*/ 61 w 292"/>
                  <a:gd name="T31" fmla="*/ 214 h 214"/>
                  <a:gd name="T32" fmla="*/ 232 w 292"/>
                  <a:gd name="T33" fmla="*/ 214 h 214"/>
                  <a:gd name="T34" fmla="*/ 285 w 292"/>
                  <a:gd name="T35" fmla="*/ 214 h 214"/>
                  <a:gd name="T36" fmla="*/ 292 w 292"/>
                  <a:gd name="T37" fmla="*/ 207 h 214"/>
                  <a:gd name="T38" fmla="*/ 292 w 292"/>
                  <a:gd name="T39" fmla="*/ 38 h 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92" h="214">
                    <a:moveTo>
                      <a:pt x="141" y="22"/>
                    </a:moveTo>
                    <a:cubicBezTo>
                      <a:pt x="267" y="22"/>
                      <a:pt x="267" y="22"/>
                      <a:pt x="267" y="22"/>
                    </a:cubicBezTo>
                    <a:cubicBezTo>
                      <a:pt x="256" y="3"/>
                      <a:pt x="256" y="3"/>
                      <a:pt x="256" y="3"/>
                    </a:cubicBezTo>
                    <a:cubicBezTo>
                      <a:pt x="256" y="3"/>
                      <a:pt x="254" y="0"/>
                      <a:pt x="251" y="0"/>
                    </a:cubicBezTo>
                    <a:cubicBezTo>
                      <a:pt x="158" y="0"/>
                      <a:pt x="158" y="0"/>
                      <a:pt x="158" y="0"/>
                    </a:cubicBezTo>
                    <a:cubicBezTo>
                      <a:pt x="158" y="0"/>
                      <a:pt x="154" y="0"/>
                      <a:pt x="153" y="3"/>
                    </a:cubicBezTo>
                    <a:lnTo>
                      <a:pt x="141" y="22"/>
                    </a:lnTo>
                    <a:close/>
                    <a:moveTo>
                      <a:pt x="292" y="38"/>
                    </a:moveTo>
                    <a:cubicBezTo>
                      <a:pt x="292" y="38"/>
                      <a:pt x="292" y="31"/>
                      <a:pt x="285" y="31"/>
                    </a:cubicBezTo>
                    <a:cubicBezTo>
                      <a:pt x="232" y="31"/>
                      <a:pt x="232" y="31"/>
                      <a:pt x="232" y="31"/>
                    </a:cubicBezTo>
                    <a:cubicBezTo>
                      <a:pt x="61" y="31"/>
                      <a:pt x="61" y="31"/>
                      <a:pt x="61" y="31"/>
                    </a:cubicBezTo>
                    <a:cubicBezTo>
                      <a:pt x="8" y="31"/>
                      <a:pt x="8" y="31"/>
                      <a:pt x="8" y="31"/>
                    </a:cubicBezTo>
                    <a:cubicBezTo>
                      <a:pt x="0" y="31"/>
                      <a:pt x="0" y="38"/>
                      <a:pt x="0" y="38"/>
                    </a:cubicBezTo>
                    <a:cubicBezTo>
                      <a:pt x="0" y="207"/>
                      <a:pt x="0" y="207"/>
                      <a:pt x="0" y="207"/>
                    </a:cubicBezTo>
                    <a:cubicBezTo>
                      <a:pt x="0" y="214"/>
                      <a:pt x="8" y="214"/>
                      <a:pt x="8" y="214"/>
                    </a:cubicBezTo>
                    <a:cubicBezTo>
                      <a:pt x="61" y="214"/>
                      <a:pt x="61" y="214"/>
                      <a:pt x="61" y="214"/>
                    </a:cubicBezTo>
                    <a:cubicBezTo>
                      <a:pt x="232" y="214"/>
                      <a:pt x="232" y="214"/>
                      <a:pt x="232" y="214"/>
                    </a:cubicBezTo>
                    <a:cubicBezTo>
                      <a:pt x="285" y="214"/>
                      <a:pt x="285" y="214"/>
                      <a:pt x="285" y="214"/>
                    </a:cubicBezTo>
                    <a:cubicBezTo>
                      <a:pt x="285" y="214"/>
                      <a:pt x="292" y="214"/>
                      <a:pt x="292" y="207"/>
                    </a:cubicBezTo>
                    <a:lnTo>
                      <a:pt x="292" y="38"/>
                    </a:lnTo>
                    <a:close/>
                  </a:path>
                </a:pathLst>
              </a:custGeom>
              <a:solidFill>
                <a:srgbClr val="FFF1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08" name="Oval 350"/>
              <p:cNvSpPr>
                <a:spLocks noChangeArrowheads="1"/>
              </p:cNvSpPr>
              <p:nvPr/>
            </p:nvSpPr>
            <p:spPr bwMode="auto">
              <a:xfrm>
                <a:off x="3343275" y="3792538"/>
                <a:ext cx="414338" cy="417513"/>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09" name="Freeform 351"/>
              <p:cNvSpPr>
                <a:spLocks/>
              </p:cNvSpPr>
              <p:nvPr/>
            </p:nvSpPr>
            <p:spPr bwMode="auto">
              <a:xfrm>
                <a:off x="3511550" y="3914775"/>
                <a:ext cx="117475" cy="171450"/>
              </a:xfrm>
              <a:custGeom>
                <a:avLst/>
                <a:gdLst>
                  <a:gd name="T0" fmla="*/ 0 w 74"/>
                  <a:gd name="T1" fmla="*/ 108 h 108"/>
                  <a:gd name="T2" fmla="*/ 74 w 74"/>
                  <a:gd name="T3" fmla="*/ 54 h 108"/>
                  <a:gd name="T4" fmla="*/ 0 w 74"/>
                  <a:gd name="T5" fmla="*/ 0 h 108"/>
                  <a:gd name="T6" fmla="*/ 0 w 74"/>
                  <a:gd name="T7" fmla="*/ 108 h 108"/>
                </a:gdLst>
                <a:ahLst/>
                <a:cxnLst>
                  <a:cxn ang="0">
                    <a:pos x="T0" y="T1"/>
                  </a:cxn>
                  <a:cxn ang="0">
                    <a:pos x="T2" y="T3"/>
                  </a:cxn>
                  <a:cxn ang="0">
                    <a:pos x="T4" y="T5"/>
                  </a:cxn>
                  <a:cxn ang="0">
                    <a:pos x="T6" y="T7"/>
                  </a:cxn>
                </a:cxnLst>
                <a:rect l="0" t="0" r="r" b="b"/>
                <a:pathLst>
                  <a:path w="74" h="108">
                    <a:moveTo>
                      <a:pt x="0" y="108"/>
                    </a:moveTo>
                    <a:lnTo>
                      <a:pt x="74" y="54"/>
                    </a:lnTo>
                    <a:lnTo>
                      <a:pt x="0" y="0"/>
                    </a:lnTo>
                    <a:lnTo>
                      <a:pt x="0" y="10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10" name="Freeform 352"/>
              <p:cNvSpPr>
                <a:spLocks noEditPoints="1"/>
              </p:cNvSpPr>
              <p:nvPr/>
            </p:nvSpPr>
            <p:spPr bwMode="auto">
              <a:xfrm>
                <a:off x="1604963" y="3679825"/>
                <a:ext cx="423863" cy="325438"/>
              </a:xfrm>
              <a:custGeom>
                <a:avLst/>
                <a:gdLst>
                  <a:gd name="T0" fmla="*/ 133 w 267"/>
                  <a:gd name="T1" fmla="*/ 115 h 205"/>
                  <a:gd name="T2" fmla="*/ 267 w 267"/>
                  <a:gd name="T3" fmla="*/ 19 h 205"/>
                  <a:gd name="T4" fmla="*/ 267 w 267"/>
                  <a:gd name="T5" fmla="*/ 0 h 205"/>
                  <a:gd name="T6" fmla="*/ 133 w 267"/>
                  <a:gd name="T7" fmla="*/ 0 h 205"/>
                  <a:gd name="T8" fmla="*/ 0 w 267"/>
                  <a:gd name="T9" fmla="*/ 0 h 205"/>
                  <a:gd name="T10" fmla="*/ 0 w 267"/>
                  <a:gd name="T11" fmla="*/ 19 h 205"/>
                  <a:gd name="T12" fmla="*/ 133 w 267"/>
                  <a:gd name="T13" fmla="*/ 115 h 205"/>
                  <a:gd name="T14" fmla="*/ 267 w 267"/>
                  <a:gd name="T15" fmla="*/ 205 h 205"/>
                  <a:gd name="T16" fmla="*/ 267 w 267"/>
                  <a:gd name="T17" fmla="*/ 38 h 205"/>
                  <a:gd name="T18" fmla="*/ 133 w 267"/>
                  <a:gd name="T19" fmla="*/ 136 h 205"/>
                  <a:gd name="T20" fmla="*/ 0 w 267"/>
                  <a:gd name="T21" fmla="*/ 38 h 205"/>
                  <a:gd name="T22" fmla="*/ 0 w 267"/>
                  <a:gd name="T23" fmla="*/ 205 h 205"/>
                  <a:gd name="T24" fmla="*/ 133 w 267"/>
                  <a:gd name="T25" fmla="*/ 205 h 205"/>
                  <a:gd name="T26" fmla="*/ 267 w 267"/>
                  <a:gd name="T27" fmla="*/ 205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67" h="205">
                    <a:moveTo>
                      <a:pt x="133" y="115"/>
                    </a:moveTo>
                    <a:lnTo>
                      <a:pt x="267" y="19"/>
                    </a:lnTo>
                    <a:lnTo>
                      <a:pt x="267" y="0"/>
                    </a:lnTo>
                    <a:lnTo>
                      <a:pt x="133" y="0"/>
                    </a:lnTo>
                    <a:lnTo>
                      <a:pt x="0" y="0"/>
                    </a:lnTo>
                    <a:lnTo>
                      <a:pt x="0" y="19"/>
                    </a:lnTo>
                    <a:lnTo>
                      <a:pt x="133" y="115"/>
                    </a:lnTo>
                    <a:close/>
                    <a:moveTo>
                      <a:pt x="267" y="205"/>
                    </a:moveTo>
                    <a:lnTo>
                      <a:pt x="267" y="38"/>
                    </a:lnTo>
                    <a:lnTo>
                      <a:pt x="133" y="136"/>
                    </a:lnTo>
                    <a:lnTo>
                      <a:pt x="0" y="38"/>
                    </a:lnTo>
                    <a:lnTo>
                      <a:pt x="0" y="205"/>
                    </a:lnTo>
                    <a:lnTo>
                      <a:pt x="133" y="205"/>
                    </a:lnTo>
                    <a:lnTo>
                      <a:pt x="267" y="205"/>
                    </a:lnTo>
                    <a:close/>
                  </a:path>
                </a:pathLst>
              </a:custGeom>
              <a:solidFill>
                <a:srgbClr val="F472D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11" name="Freeform 353"/>
              <p:cNvSpPr>
                <a:spLocks/>
              </p:cNvSpPr>
              <p:nvPr/>
            </p:nvSpPr>
            <p:spPr bwMode="auto">
              <a:xfrm>
                <a:off x="1025525" y="3070225"/>
                <a:ext cx="698500" cy="398463"/>
              </a:xfrm>
              <a:custGeom>
                <a:avLst/>
                <a:gdLst>
                  <a:gd name="T0" fmla="*/ 347 w 440"/>
                  <a:gd name="T1" fmla="*/ 24 h 252"/>
                  <a:gd name="T2" fmla="*/ 293 w 440"/>
                  <a:gd name="T3" fmla="*/ 3 h 252"/>
                  <a:gd name="T4" fmla="*/ 257 w 440"/>
                  <a:gd name="T5" fmla="*/ 31 h 252"/>
                  <a:gd name="T6" fmla="*/ 220 w 440"/>
                  <a:gd name="T7" fmla="*/ 33 h 252"/>
                  <a:gd name="T8" fmla="*/ 184 w 440"/>
                  <a:gd name="T9" fmla="*/ 31 h 252"/>
                  <a:gd name="T10" fmla="*/ 148 w 440"/>
                  <a:gd name="T11" fmla="*/ 3 h 252"/>
                  <a:gd name="T12" fmla="*/ 94 w 440"/>
                  <a:gd name="T13" fmla="*/ 24 h 252"/>
                  <a:gd name="T14" fmla="*/ 69 w 440"/>
                  <a:gd name="T15" fmla="*/ 246 h 252"/>
                  <a:gd name="T16" fmla="*/ 128 w 440"/>
                  <a:gd name="T17" fmla="*/ 210 h 252"/>
                  <a:gd name="T18" fmla="*/ 220 w 440"/>
                  <a:gd name="T19" fmla="*/ 179 h 252"/>
                  <a:gd name="T20" fmla="*/ 312 w 440"/>
                  <a:gd name="T21" fmla="*/ 210 h 252"/>
                  <a:gd name="T22" fmla="*/ 372 w 440"/>
                  <a:gd name="T23" fmla="*/ 246 h 252"/>
                  <a:gd name="T24" fmla="*/ 347 w 440"/>
                  <a:gd name="T25" fmla="*/ 24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0" h="252">
                    <a:moveTo>
                      <a:pt x="347" y="24"/>
                    </a:moveTo>
                    <a:cubicBezTo>
                      <a:pt x="341" y="13"/>
                      <a:pt x="299" y="0"/>
                      <a:pt x="293" y="3"/>
                    </a:cubicBezTo>
                    <a:cubicBezTo>
                      <a:pt x="290" y="6"/>
                      <a:pt x="265" y="28"/>
                      <a:pt x="257" y="31"/>
                    </a:cubicBezTo>
                    <a:cubicBezTo>
                      <a:pt x="249" y="33"/>
                      <a:pt x="220" y="33"/>
                      <a:pt x="220" y="33"/>
                    </a:cubicBezTo>
                    <a:cubicBezTo>
                      <a:pt x="220" y="33"/>
                      <a:pt x="192" y="33"/>
                      <a:pt x="184" y="31"/>
                    </a:cubicBezTo>
                    <a:cubicBezTo>
                      <a:pt x="175" y="28"/>
                      <a:pt x="151" y="6"/>
                      <a:pt x="148" y="3"/>
                    </a:cubicBezTo>
                    <a:cubicBezTo>
                      <a:pt x="141" y="0"/>
                      <a:pt x="99" y="13"/>
                      <a:pt x="94" y="24"/>
                    </a:cubicBezTo>
                    <a:cubicBezTo>
                      <a:pt x="94" y="24"/>
                      <a:pt x="0" y="222"/>
                      <a:pt x="69" y="246"/>
                    </a:cubicBezTo>
                    <a:cubicBezTo>
                      <a:pt x="99" y="252"/>
                      <a:pt x="111" y="226"/>
                      <a:pt x="128" y="210"/>
                    </a:cubicBezTo>
                    <a:cubicBezTo>
                      <a:pt x="145" y="194"/>
                      <a:pt x="170" y="179"/>
                      <a:pt x="220" y="179"/>
                    </a:cubicBezTo>
                    <a:cubicBezTo>
                      <a:pt x="271" y="179"/>
                      <a:pt x="295" y="194"/>
                      <a:pt x="312" y="210"/>
                    </a:cubicBezTo>
                    <a:cubicBezTo>
                      <a:pt x="329" y="226"/>
                      <a:pt x="341" y="252"/>
                      <a:pt x="372" y="246"/>
                    </a:cubicBezTo>
                    <a:cubicBezTo>
                      <a:pt x="440" y="222"/>
                      <a:pt x="347" y="24"/>
                      <a:pt x="347" y="24"/>
                    </a:cubicBezTo>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12" name="Oval 354"/>
              <p:cNvSpPr>
                <a:spLocks noChangeArrowheads="1"/>
              </p:cNvSpPr>
              <p:nvPr/>
            </p:nvSpPr>
            <p:spPr bwMode="auto">
              <a:xfrm>
                <a:off x="1346200" y="3186113"/>
                <a:ext cx="58738" cy="57150"/>
              </a:xfrm>
              <a:prstGeom prst="ellipse">
                <a:avLst/>
              </a:prstGeom>
              <a:solidFill>
                <a:srgbClr val="45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grpSp>
        <p:nvGrpSpPr>
          <p:cNvPr id="897" name="Group 896"/>
          <p:cNvGrpSpPr/>
          <p:nvPr/>
        </p:nvGrpSpPr>
        <p:grpSpPr>
          <a:xfrm>
            <a:off x="0" y="3772047"/>
            <a:ext cx="11757022" cy="548640"/>
            <a:chOff x="1" y="4120629"/>
            <a:chExt cx="11757022" cy="548640"/>
          </a:xfrm>
        </p:grpSpPr>
        <p:sp>
          <p:nvSpPr>
            <p:cNvPr id="9" name="Rectangle 8"/>
            <p:cNvSpPr/>
            <p:nvPr/>
          </p:nvSpPr>
          <p:spPr bwMode="auto">
            <a:xfrm>
              <a:off x="1" y="4120629"/>
              <a:ext cx="3248024" cy="54864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48640" tIns="45720" rIns="91440" bIns="45720" numCol="1" spcCol="0" rtlCol="0" fromWordArt="0" anchor="ctr" anchorCtr="0" forceAA="0" compatLnSpc="1">
              <a:prstTxWarp prst="textNoShape">
                <a:avLst/>
              </a:prstTxWarp>
              <a:noAutofit/>
            </a:bodyPr>
            <a:lstStyle/>
            <a:p>
              <a:pPr defTabSz="932472" fontAlgn="base"/>
              <a:r>
                <a:rPr lang="en-US" sz="1600" dirty="0">
                  <a:solidFill>
                    <a:schemeClr val="bg1"/>
                  </a:solidFill>
                  <a:latin typeface="Segoe UI Semibold" panose="020B0702040204020203" pitchFamily="34" charset="0"/>
                  <a:ea typeface="Segoe UI" pitchFamily="34" charset="0"/>
                  <a:cs typeface="Segoe UI Semibold" panose="020B0702040204020203" pitchFamily="34" charset="0"/>
                </a:rPr>
                <a:t>	Details</a:t>
              </a:r>
            </a:p>
          </p:txBody>
        </p:sp>
        <p:sp>
          <p:nvSpPr>
            <p:cNvPr id="21" name="Rectangle 20"/>
            <p:cNvSpPr/>
            <p:nvPr/>
          </p:nvSpPr>
          <p:spPr>
            <a:xfrm>
              <a:off x="3248024" y="4120629"/>
              <a:ext cx="8508999" cy="548640"/>
            </a:xfrm>
            <a:prstGeom prst="rect">
              <a:avLst/>
            </a:prstGeom>
            <a:solidFill>
              <a:schemeClr val="bg1">
                <a:lumMod val="95000"/>
              </a:schemeClr>
            </a:solidFill>
          </p:spPr>
          <p:txBody>
            <a:bodyPr wrap="square" lIns="91440" anchor="ctr">
              <a:noAutofit/>
            </a:bodyPr>
            <a:lstStyle/>
            <a:p>
              <a:r>
                <a:rPr lang="en-IN" sz="1400" dirty="0">
                  <a:solidFill>
                    <a:schemeClr val="tx2"/>
                  </a:solidFill>
                </a:rPr>
                <a:t> </a:t>
              </a:r>
              <a:r>
                <a:rPr lang="en-IN" sz="1400" dirty="0"/>
                <a:t>Must be able to store data with all details; aggregation may lead to loss of details.</a:t>
              </a:r>
              <a:endParaRPr lang="en-US" sz="1400" dirty="0"/>
            </a:p>
          </p:txBody>
        </p:sp>
        <p:grpSp>
          <p:nvGrpSpPr>
            <p:cNvPr id="513" name="Group 512"/>
            <p:cNvGrpSpPr/>
            <p:nvPr/>
          </p:nvGrpSpPr>
          <p:grpSpPr>
            <a:xfrm>
              <a:off x="690860" y="4173818"/>
              <a:ext cx="392844" cy="442262"/>
              <a:chOff x="3917950" y="4414838"/>
              <a:chExt cx="1249363" cy="1406525"/>
            </a:xfrm>
          </p:grpSpPr>
          <p:sp>
            <p:nvSpPr>
              <p:cNvPr id="514" name="Freeform 359"/>
              <p:cNvSpPr>
                <a:spLocks noEditPoints="1"/>
              </p:cNvSpPr>
              <p:nvPr/>
            </p:nvSpPr>
            <p:spPr bwMode="auto">
              <a:xfrm>
                <a:off x="3917950" y="4414838"/>
                <a:ext cx="1249363" cy="1406525"/>
              </a:xfrm>
              <a:custGeom>
                <a:avLst/>
                <a:gdLst>
                  <a:gd name="T0" fmla="*/ 1116 w 1704"/>
                  <a:gd name="T1" fmla="*/ 362 h 1920"/>
                  <a:gd name="T2" fmla="*/ 1070 w 1704"/>
                  <a:gd name="T3" fmla="*/ 285 h 1920"/>
                  <a:gd name="T4" fmla="*/ 1398 w 1704"/>
                  <a:gd name="T5" fmla="*/ 199 h 1920"/>
                  <a:gd name="T6" fmla="*/ 1323 w 1704"/>
                  <a:gd name="T7" fmla="*/ 149 h 1920"/>
                  <a:gd name="T8" fmla="*/ 1089 w 1704"/>
                  <a:gd name="T9" fmla="*/ 99 h 1920"/>
                  <a:gd name="T10" fmla="*/ 869 w 1704"/>
                  <a:gd name="T11" fmla="*/ 0 h 1920"/>
                  <a:gd name="T12" fmla="*/ 263 w 1704"/>
                  <a:gd name="T13" fmla="*/ 348 h 1920"/>
                  <a:gd name="T14" fmla="*/ 283 w 1704"/>
                  <a:gd name="T15" fmla="*/ 397 h 1920"/>
                  <a:gd name="T16" fmla="*/ 264 w 1704"/>
                  <a:gd name="T17" fmla="*/ 446 h 1920"/>
                  <a:gd name="T18" fmla="*/ 770 w 1704"/>
                  <a:gd name="T19" fmla="*/ 531 h 1920"/>
                  <a:gd name="T20" fmla="*/ 957 w 1704"/>
                  <a:gd name="T21" fmla="*/ 603 h 1920"/>
                  <a:gd name="T22" fmla="*/ 436 w 1704"/>
                  <a:gd name="T23" fmla="*/ 652 h 1920"/>
                  <a:gd name="T24" fmla="*/ 496 w 1704"/>
                  <a:gd name="T25" fmla="*/ 701 h 1920"/>
                  <a:gd name="T26" fmla="*/ 867 w 1704"/>
                  <a:gd name="T27" fmla="*/ 786 h 1920"/>
                  <a:gd name="T28" fmla="*/ 798 w 1704"/>
                  <a:gd name="T29" fmla="*/ 865 h 1920"/>
                  <a:gd name="T30" fmla="*/ 623 w 1704"/>
                  <a:gd name="T31" fmla="*/ 943 h 1920"/>
                  <a:gd name="T32" fmla="*/ 579 w 1704"/>
                  <a:gd name="T33" fmla="*/ 1028 h 1920"/>
                  <a:gd name="T34" fmla="*/ 597 w 1704"/>
                  <a:gd name="T35" fmla="*/ 1077 h 1920"/>
                  <a:gd name="T36" fmla="*/ 727 w 1704"/>
                  <a:gd name="T37" fmla="*/ 1127 h 1920"/>
                  <a:gd name="T38" fmla="*/ 1009 w 1704"/>
                  <a:gd name="T39" fmla="*/ 1212 h 1920"/>
                  <a:gd name="T40" fmla="*/ 1130 w 1704"/>
                  <a:gd name="T41" fmla="*/ 1289 h 1920"/>
                  <a:gd name="T42" fmla="*/ 1102 w 1704"/>
                  <a:gd name="T43" fmla="*/ 1368 h 1920"/>
                  <a:gd name="T44" fmla="*/ 887 w 1704"/>
                  <a:gd name="T45" fmla="*/ 1453 h 1920"/>
                  <a:gd name="T46" fmla="*/ 840 w 1704"/>
                  <a:gd name="T47" fmla="*/ 1503 h 1920"/>
                  <a:gd name="T48" fmla="*/ 883 w 1704"/>
                  <a:gd name="T49" fmla="*/ 1552 h 1920"/>
                  <a:gd name="T50" fmla="*/ 925 w 1704"/>
                  <a:gd name="T51" fmla="*/ 1637 h 1920"/>
                  <a:gd name="T52" fmla="*/ 68 w 1704"/>
                  <a:gd name="T53" fmla="*/ 827 h 1920"/>
                  <a:gd name="T54" fmla="*/ 91 w 1704"/>
                  <a:gd name="T55" fmla="*/ 212 h 1920"/>
                  <a:gd name="T56" fmla="*/ 77 w 1704"/>
                  <a:gd name="T57" fmla="*/ 237 h 1920"/>
                  <a:gd name="T58" fmla="*/ 40 w 1704"/>
                  <a:gd name="T59" fmla="*/ 827 h 1920"/>
                  <a:gd name="T60" fmla="*/ 959 w 1704"/>
                  <a:gd name="T61" fmla="*/ 1630 h 1920"/>
                  <a:gd name="T62" fmla="*/ 959 w 1704"/>
                  <a:gd name="T63" fmla="*/ 1580 h 1920"/>
                  <a:gd name="T64" fmla="*/ 875 w 1704"/>
                  <a:gd name="T65" fmla="*/ 1495 h 1920"/>
                  <a:gd name="T66" fmla="*/ 880 w 1704"/>
                  <a:gd name="T67" fmla="*/ 1418 h 1920"/>
                  <a:gd name="T68" fmla="*/ 845 w 1704"/>
                  <a:gd name="T69" fmla="*/ 1340 h 1920"/>
                  <a:gd name="T70" fmla="*/ 1158 w 1704"/>
                  <a:gd name="T71" fmla="*/ 1290 h 1920"/>
                  <a:gd name="T72" fmla="*/ 1009 w 1704"/>
                  <a:gd name="T73" fmla="*/ 1240 h 1920"/>
                  <a:gd name="T74" fmla="*/ 727 w 1704"/>
                  <a:gd name="T75" fmla="*/ 1155 h 1920"/>
                  <a:gd name="T76" fmla="*/ 625 w 1704"/>
                  <a:gd name="T77" fmla="*/ 1077 h 1920"/>
                  <a:gd name="T78" fmla="*/ 579 w 1704"/>
                  <a:gd name="T79" fmla="*/ 1000 h 1920"/>
                  <a:gd name="T80" fmla="*/ 623 w 1704"/>
                  <a:gd name="T81" fmla="*/ 915 h 1920"/>
                  <a:gd name="T82" fmla="*/ 826 w 1704"/>
                  <a:gd name="T83" fmla="*/ 865 h 1920"/>
                  <a:gd name="T84" fmla="*/ 867 w 1704"/>
                  <a:gd name="T85" fmla="*/ 814 h 1920"/>
                  <a:gd name="T86" fmla="*/ 496 w 1704"/>
                  <a:gd name="T87" fmla="*/ 729 h 1920"/>
                  <a:gd name="T88" fmla="*/ 464 w 1704"/>
                  <a:gd name="T89" fmla="*/ 652 h 1920"/>
                  <a:gd name="T90" fmla="*/ 1006 w 1704"/>
                  <a:gd name="T91" fmla="*/ 575 h 1920"/>
                  <a:gd name="T92" fmla="*/ 462 w 1704"/>
                  <a:gd name="T93" fmla="*/ 559 h 1920"/>
                  <a:gd name="T94" fmla="*/ 256 w 1704"/>
                  <a:gd name="T95" fmla="*/ 482 h 1920"/>
                  <a:gd name="T96" fmla="*/ 318 w 1704"/>
                  <a:gd name="T97" fmla="*/ 405 h 1920"/>
                  <a:gd name="T98" fmla="*/ 580 w 1704"/>
                  <a:gd name="T99" fmla="*/ 320 h 1920"/>
                  <a:gd name="T100" fmla="*/ 869 w 1704"/>
                  <a:gd name="T101" fmla="*/ 28 h 1920"/>
                  <a:gd name="T102" fmla="*/ 1089 w 1704"/>
                  <a:gd name="T103" fmla="*/ 71 h 1920"/>
                  <a:gd name="T104" fmla="*/ 1295 w 1704"/>
                  <a:gd name="T105" fmla="*/ 149 h 1920"/>
                  <a:gd name="T106" fmla="*/ 1398 w 1704"/>
                  <a:gd name="T107" fmla="*/ 227 h 1920"/>
                  <a:gd name="T108" fmla="*/ 1070 w 1704"/>
                  <a:gd name="T109" fmla="*/ 313 h 1920"/>
                  <a:gd name="T110" fmla="*/ 1088 w 1704"/>
                  <a:gd name="T111" fmla="*/ 362 h 1920"/>
                  <a:gd name="T112" fmla="*/ 1676 w 1704"/>
                  <a:gd name="T113" fmla="*/ 827 h 1920"/>
                  <a:gd name="T114" fmla="*/ 1061 w 1704"/>
                  <a:gd name="T115" fmla="*/ 1619 h 1920"/>
                  <a:gd name="T116" fmla="*/ 985 w 1704"/>
                  <a:gd name="T117" fmla="*/ 1810 h 1920"/>
                  <a:gd name="T118" fmla="*/ 1704 w 1704"/>
                  <a:gd name="T119" fmla="*/ 836 h 1920"/>
                  <a:gd name="T120" fmla="*/ 61 w 1704"/>
                  <a:gd name="T121" fmla="*/ 213 h 1920"/>
                  <a:gd name="T122" fmla="*/ 63 w 1704"/>
                  <a:gd name="T123" fmla="*/ 204 h 1920"/>
                  <a:gd name="T124" fmla="*/ 965 w 1704"/>
                  <a:gd name="T125" fmla="*/ 1844 h 19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4" h="1920">
                    <a:moveTo>
                      <a:pt x="1578" y="389"/>
                    </a:moveTo>
                    <a:cubicBezTo>
                      <a:pt x="1576" y="385"/>
                      <a:pt x="1576" y="385"/>
                      <a:pt x="1576" y="385"/>
                    </a:cubicBezTo>
                    <a:cubicBezTo>
                      <a:pt x="1569" y="376"/>
                      <a:pt x="1559" y="370"/>
                      <a:pt x="1547" y="370"/>
                    </a:cubicBezTo>
                    <a:cubicBezTo>
                      <a:pt x="1124" y="370"/>
                      <a:pt x="1124" y="370"/>
                      <a:pt x="1124" y="370"/>
                    </a:cubicBezTo>
                    <a:cubicBezTo>
                      <a:pt x="1119" y="370"/>
                      <a:pt x="1116" y="366"/>
                      <a:pt x="1116" y="362"/>
                    </a:cubicBezTo>
                    <a:cubicBezTo>
                      <a:pt x="1116" y="357"/>
                      <a:pt x="1119" y="354"/>
                      <a:pt x="1124" y="354"/>
                    </a:cubicBezTo>
                    <a:cubicBezTo>
                      <a:pt x="1442" y="354"/>
                      <a:pt x="1442" y="354"/>
                      <a:pt x="1442" y="354"/>
                    </a:cubicBezTo>
                    <a:cubicBezTo>
                      <a:pt x="1461" y="354"/>
                      <a:pt x="1476" y="338"/>
                      <a:pt x="1476" y="319"/>
                    </a:cubicBezTo>
                    <a:cubicBezTo>
                      <a:pt x="1476" y="300"/>
                      <a:pt x="1461" y="285"/>
                      <a:pt x="1442" y="285"/>
                    </a:cubicBezTo>
                    <a:cubicBezTo>
                      <a:pt x="1070" y="285"/>
                      <a:pt x="1070" y="285"/>
                      <a:pt x="1070" y="285"/>
                    </a:cubicBezTo>
                    <a:cubicBezTo>
                      <a:pt x="1066" y="285"/>
                      <a:pt x="1063" y="281"/>
                      <a:pt x="1063" y="277"/>
                    </a:cubicBezTo>
                    <a:cubicBezTo>
                      <a:pt x="1063" y="272"/>
                      <a:pt x="1066" y="269"/>
                      <a:pt x="1070" y="269"/>
                    </a:cubicBezTo>
                    <a:cubicBezTo>
                      <a:pt x="1398" y="269"/>
                      <a:pt x="1398" y="269"/>
                      <a:pt x="1398" y="269"/>
                    </a:cubicBezTo>
                    <a:cubicBezTo>
                      <a:pt x="1417" y="269"/>
                      <a:pt x="1433" y="253"/>
                      <a:pt x="1433" y="234"/>
                    </a:cubicBezTo>
                    <a:cubicBezTo>
                      <a:pt x="1433" y="215"/>
                      <a:pt x="1417" y="199"/>
                      <a:pt x="1398" y="199"/>
                    </a:cubicBezTo>
                    <a:cubicBezTo>
                      <a:pt x="1125" y="199"/>
                      <a:pt x="1125" y="199"/>
                      <a:pt x="1125" y="199"/>
                    </a:cubicBezTo>
                    <a:cubicBezTo>
                      <a:pt x="1121" y="199"/>
                      <a:pt x="1117" y="196"/>
                      <a:pt x="1117" y="192"/>
                    </a:cubicBezTo>
                    <a:cubicBezTo>
                      <a:pt x="1117" y="187"/>
                      <a:pt x="1121" y="184"/>
                      <a:pt x="1125" y="184"/>
                    </a:cubicBezTo>
                    <a:cubicBezTo>
                      <a:pt x="1289" y="184"/>
                      <a:pt x="1289" y="184"/>
                      <a:pt x="1289" y="184"/>
                    </a:cubicBezTo>
                    <a:cubicBezTo>
                      <a:pt x="1308" y="184"/>
                      <a:pt x="1323" y="168"/>
                      <a:pt x="1323" y="149"/>
                    </a:cubicBezTo>
                    <a:cubicBezTo>
                      <a:pt x="1323" y="130"/>
                      <a:pt x="1308" y="114"/>
                      <a:pt x="1289" y="114"/>
                    </a:cubicBezTo>
                    <a:cubicBezTo>
                      <a:pt x="1066" y="114"/>
                      <a:pt x="1066" y="114"/>
                      <a:pt x="1066" y="114"/>
                    </a:cubicBezTo>
                    <a:cubicBezTo>
                      <a:pt x="1062" y="114"/>
                      <a:pt x="1058" y="111"/>
                      <a:pt x="1058" y="107"/>
                    </a:cubicBezTo>
                    <a:cubicBezTo>
                      <a:pt x="1058" y="102"/>
                      <a:pt x="1062" y="99"/>
                      <a:pt x="1066" y="99"/>
                    </a:cubicBezTo>
                    <a:cubicBezTo>
                      <a:pt x="1089" y="99"/>
                      <a:pt x="1089" y="99"/>
                      <a:pt x="1089" y="99"/>
                    </a:cubicBezTo>
                    <a:cubicBezTo>
                      <a:pt x="1109" y="99"/>
                      <a:pt x="1124" y="83"/>
                      <a:pt x="1124" y="64"/>
                    </a:cubicBezTo>
                    <a:cubicBezTo>
                      <a:pt x="1124" y="48"/>
                      <a:pt x="1115" y="35"/>
                      <a:pt x="1101" y="31"/>
                    </a:cubicBezTo>
                    <a:cubicBezTo>
                      <a:pt x="1099" y="30"/>
                      <a:pt x="1099" y="30"/>
                      <a:pt x="1099" y="30"/>
                    </a:cubicBezTo>
                    <a:cubicBezTo>
                      <a:pt x="1027" y="10"/>
                      <a:pt x="952" y="0"/>
                      <a:pt x="877" y="0"/>
                    </a:cubicBezTo>
                    <a:cubicBezTo>
                      <a:pt x="869" y="0"/>
                      <a:pt x="869" y="0"/>
                      <a:pt x="869" y="0"/>
                    </a:cubicBezTo>
                    <a:cubicBezTo>
                      <a:pt x="625" y="0"/>
                      <a:pt x="394" y="106"/>
                      <a:pt x="235" y="291"/>
                    </a:cubicBezTo>
                    <a:cubicBezTo>
                      <a:pt x="229" y="299"/>
                      <a:pt x="229" y="299"/>
                      <a:pt x="229" y="299"/>
                    </a:cubicBezTo>
                    <a:cubicBezTo>
                      <a:pt x="229" y="301"/>
                      <a:pt x="229" y="301"/>
                      <a:pt x="229" y="301"/>
                    </a:cubicBezTo>
                    <a:cubicBezTo>
                      <a:pt x="228" y="305"/>
                      <a:pt x="227" y="308"/>
                      <a:pt x="227" y="312"/>
                    </a:cubicBezTo>
                    <a:cubicBezTo>
                      <a:pt x="227" y="332"/>
                      <a:pt x="243" y="348"/>
                      <a:pt x="263" y="348"/>
                    </a:cubicBezTo>
                    <a:cubicBezTo>
                      <a:pt x="580" y="348"/>
                      <a:pt x="580" y="348"/>
                      <a:pt x="580" y="348"/>
                    </a:cubicBezTo>
                    <a:cubicBezTo>
                      <a:pt x="583" y="348"/>
                      <a:pt x="586" y="351"/>
                      <a:pt x="586" y="354"/>
                    </a:cubicBezTo>
                    <a:cubicBezTo>
                      <a:pt x="586" y="358"/>
                      <a:pt x="583" y="361"/>
                      <a:pt x="580" y="361"/>
                    </a:cubicBezTo>
                    <a:cubicBezTo>
                      <a:pt x="318" y="361"/>
                      <a:pt x="318" y="361"/>
                      <a:pt x="318" y="361"/>
                    </a:cubicBezTo>
                    <a:cubicBezTo>
                      <a:pt x="299" y="361"/>
                      <a:pt x="283" y="377"/>
                      <a:pt x="283" y="397"/>
                    </a:cubicBezTo>
                    <a:cubicBezTo>
                      <a:pt x="283" y="417"/>
                      <a:pt x="299" y="433"/>
                      <a:pt x="318" y="433"/>
                    </a:cubicBezTo>
                    <a:cubicBezTo>
                      <a:pt x="740" y="433"/>
                      <a:pt x="740" y="433"/>
                      <a:pt x="740" y="433"/>
                    </a:cubicBezTo>
                    <a:cubicBezTo>
                      <a:pt x="743" y="433"/>
                      <a:pt x="746" y="436"/>
                      <a:pt x="746" y="439"/>
                    </a:cubicBezTo>
                    <a:cubicBezTo>
                      <a:pt x="746" y="443"/>
                      <a:pt x="743" y="446"/>
                      <a:pt x="740" y="446"/>
                    </a:cubicBezTo>
                    <a:cubicBezTo>
                      <a:pt x="264" y="446"/>
                      <a:pt x="264" y="446"/>
                      <a:pt x="264" y="446"/>
                    </a:cubicBezTo>
                    <a:cubicBezTo>
                      <a:pt x="244" y="446"/>
                      <a:pt x="228" y="462"/>
                      <a:pt x="228" y="482"/>
                    </a:cubicBezTo>
                    <a:cubicBezTo>
                      <a:pt x="228" y="502"/>
                      <a:pt x="244" y="518"/>
                      <a:pt x="264" y="518"/>
                    </a:cubicBezTo>
                    <a:cubicBezTo>
                      <a:pt x="770" y="518"/>
                      <a:pt x="770" y="518"/>
                      <a:pt x="770" y="518"/>
                    </a:cubicBezTo>
                    <a:cubicBezTo>
                      <a:pt x="774" y="518"/>
                      <a:pt x="777" y="521"/>
                      <a:pt x="777" y="524"/>
                    </a:cubicBezTo>
                    <a:cubicBezTo>
                      <a:pt x="777" y="528"/>
                      <a:pt x="774" y="531"/>
                      <a:pt x="770" y="531"/>
                    </a:cubicBezTo>
                    <a:cubicBezTo>
                      <a:pt x="462" y="531"/>
                      <a:pt x="462" y="531"/>
                      <a:pt x="462" y="531"/>
                    </a:cubicBezTo>
                    <a:cubicBezTo>
                      <a:pt x="442" y="531"/>
                      <a:pt x="426" y="547"/>
                      <a:pt x="426" y="567"/>
                    </a:cubicBezTo>
                    <a:cubicBezTo>
                      <a:pt x="426" y="587"/>
                      <a:pt x="442" y="603"/>
                      <a:pt x="462" y="603"/>
                    </a:cubicBezTo>
                    <a:cubicBezTo>
                      <a:pt x="957" y="603"/>
                      <a:pt x="957" y="603"/>
                      <a:pt x="957" y="603"/>
                    </a:cubicBezTo>
                    <a:cubicBezTo>
                      <a:pt x="957" y="603"/>
                      <a:pt x="957" y="603"/>
                      <a:pt x="957" y="603"/>
                    </a:cubicBezTo>
                    <a:cubicBezTo>
                      <a:pt x="1001" y="603"/>
                      <a:pt x="1001" y="603"/>
                      <a:pt x="1001" y="603"/>
                    </a:cubicBezTo>
                    <a:cubicBezTo>
                      <a:pt x="1004" y="604"/>
                      <a:pt x="1005" y="607"/>
                      <a:pt x="1005" y="610"/>
                    </a:cubicBezTo>
                    <a:cubicBezTo>
                      <a:pt x="1005" y="613"/>
                      <a:pt x="1002" y="616"/>
                      <a:pt x="999" y="616"/>
                    </a:cubicBezTo>
                    <a:cubicBezTo>
                      <a:pt x="472" y="616"/>
                      <a:pt x="472" y="616"/>
                      <a:pt x="472" y="616"/>
                    </a:cubicBezTo>
                    <a:cubicBezTo>
                      <a:pt x="452" y="616"/>
                      <a:pt x="436" y="632"/>
                      <a:pt x="436" y="652"/>
                    </a:cubicBezTo>
                    <a:cubicBezTo>
                      <a:pt x="436" y="672"/>
                      <a:pt x="452" y="688"/>
                      <a:pt x="472" y="688"/>
                    </a:cubicBezTo>
                    <a:cubicBezTo>
                      <a:pt x="993" y="688"/>
                      <a:pt x="993" y="688"/>
                      <a:pt x="993" y="688"/>
                    </a:cubicBezTo>
                    <a:cubicBezTo>
                      <a:pt x="996" y="688"/>
                      <a:pt x="999" y="691"/>
                      <a:pt x="999" y="695"/>
                    </a:cubicBezTo>
                    <a:cubicBezTo>
                      <a:pt x="999" y="698"/>
                      <a:pt x="996" y="701"/>
                      <a:pt x="993" y="701"/>
                    </a:cubicBezTo>
                    <a:cubicBezTo>
                      <a:pt x="496" y="701"/>
                      <a:pt x="496" y="701"/>
                      <a:pt x="496" y="701"/>
                    </a:cubicBezTo>
                    <a:cubicBezTo>
                      <a:pt x="476" y="701"/>
                      <a:pt x="460" y="717"/>
                      <a:pt x="460" y="737"/>
                    </a:cubicBezTo>
                    <a:cubicBezTo>
                      <a:pt x="460" y="757"/>
                      <a:pt x="476" y="773"/>
                      <a:pt x="496" y="773"/>
                    </a:cubicBezTo>
                    <a:cubicBezTo>
                      <a:pt x="867" y="773"/>
                      <a:pt x="867" y="773"/>
                      <a:pt x="867" y="773"/>
                    </a:cubicBezTo>
                    <a:cubicBezTo>
                      <a:pt x="871" y="773"/>
                      <a:pt x="874" y="776"/>
                      <a:pt x="874" y="780"/>
                    </a:cubicBezTo>
                    <a:cubicBezTo>
                      <a:pt x="874" y="783"/>
                      <a:pt x="871" y="786"/>
                      <a:pt x="867" y="786"/>
                    </a:cubicBezTo>
                    <a:cubicBezTo>
                      <a:pt x="469" y="786"/>
                      <a:pt x="469" y="786"/>
                      <a:pt x="469" y="786"/>
                    </a:cubicBezTo>
                    <a:cubicBezTo>
                      <a:pt x="450" y="786"/>
                      <a:pt x="434" y="802"/>
                      <a:pt x="434" y="822"/>
                    </a:cubicBezTo>
                    <a:cubicBezTo>
                      <a:pt x="434" y="842"/>
                      <a:pt x="450" y="858"/>
                      <a:pt x="469" y="858"/>
                    </a:cubicBezTo>
                    <a:cubicBezTo>
                      <a:pt x="791" y="858"/>
                      <a:pt x="791" y="858"/>
                      <a:pt x="791" y="858"/>
                    </a:cubicBezTo>
                    <a:cubicBezTo>
                      <a:pt x="795" y="858"/>
                      <a:pt x="798" y="861"/>
                      <a:pt x="798" y="865"/>
                    </a:cubicBezTo>
                    <a:cubicBezTo>
                      <a:pt x="798" y="868"/>
                      <a:pt x="795" y="871"/>
                      <a:pt x="791" y="871"/>
                    </a:cubicBezTo>
                    <a:cubicBezTo>
                      <a:pt x="510" y="871"/>
                      <a:pt x="510" y="871"/>
                      <a:pt x="510" y="871"/>
                    </a:cubicBezTo>
                    <a:cubicBezTo>
                      <a:pt x="491" y="871"/>
                      <a:pt x="475" y="888"/>
                      <a:pt x="475" y="907"/>
                    </a:cubicBezTo>
                    <a:cubicBezTo>
                      <a:pt x="475" y="927"/>
                      <a:pt x="491" y="943"/>
                      <a:pt x="510" y="943"/>
                    </a:cubicBezTo>
                    <a:cubicBezTo>
                      <a:pt x="623" y="943"/>
                      <a:pt x="623" y="943"/>
                      <a:pt x="623" y="943"/>
                    </a:cubicBezTo>
                    <a:cubicBezTo>
                      <a:pt x="626" y="943"/>
                      <a:pt x="629" y="946"/>
                      <a:pt x="629" y="950"/>
                    </a:cubicBezTo>
                    <a:cubicBezTo>
                      <a:pt x="629" y="953"/>
                      <a:pt x="626" y="956"/>
                      <a:pt x="623" y="956"/>
                    </a:cubicBezTo>
                    <a:cubicBezTo>
                      <a:pt x="579" y="956"/>
                      <a:pt x="579" y="956"/>
                      <a:pt x="579" y="956"/>
                    </a:cubicBezTo>
                    <a:cubicBezTo>
                      <a:pt x="559" y="956"/>
                      <a:pt x="543" y="973"/>
                      <a:pt x="543" y="992"/>
                    </a:cubicBezTo>
                    <a:cubicBezTo>
                      <a:pt x="543" y="1012"/>
                      <a:pt x="559" y="1028"/>
                      <a:pt x="579" y="1028"/>
                    </a:cubicBezTo>
                    <a:cubicBezTo>
                      <a:pt x="637" y="1028"/>
                      <a:pt x="637" y="1028"/>
                      <a:pt x="637" y="1028"/>
                    </a:cubicBezTo>
                    <a:cubicBezTo>
                      <a:pt x="640" y="1028"/>
                      <a:pt x="643" y="1031"/>
                      <a:pt x="643" y="1035"/>
                    </a:cubicBezTo>
                    <a:cubicBezTo>
                      <a:pt x="643" y="1039"/>
                      <a:pt x="640" y="1042"/>
                      <a:pt x="637" y="1042"/>
                    </a:cubicBezTo>
                    <a:cubicBezTo>
                      <a:pt x="633" y="1042"/>
                      <a:pt x="633" y="1042"/>
                      <a:pt x="633" y="1042"/>
                    </a:cubicBezTo>
                    <a:cubicBezTo>
                      <a:pt x="613" y="1042"/>
                      <a:pt x="597" y="1058"/>
                      <a:pt x="597" y="1077"/>
                    </a:cubicBezTo>
                    <a:cubicBezTo>
                      <a:pt x="597" y="1097"/>
                      <a:pt x="613" y="1113"/>
                      <a:pt x="633" y="1113"/>
                    </a:cubicBezTo>
                    <a:cubicBezTo>
                      <a:pt x="750" y="1113"/>
                      <a:pt x="750" y="1113"/>
                      <a:pt x="750" y="1113"/>
                    </a:cubicBezTo>
                    <a:cubicBezTo>
                      <a:pt x="754" y="1113"/>
                      <a:pt x="757" y="1116"/>
                      <a:pt x="757" y="1120"/>
                    </a:cubicBezTo>
                    <a:cubicBezTo>
                      <a:pt x="757" y="1124"/>
                      <a:pt x="754" y="1127"/>
                      <a:pt x="750" y="1127"/>
                    </a:cubicBezTo>
                    <a:cubicBezTo>
                      <a:pt x="727" y="1127"/>
                      <a:pt x="727" y="1127"/>
                      <a:pt x="727" y="1127"/>
                    </a:cubicBezTo>
                    <a:cubicBezTo>
                      <a:pt x="707" y="1127"/>
                      <a:pt x="691" y="1143"/>
                      <a:pt x="691" y="1162"/>
                    </a:cubicBezTo>
                    <a:cubicBezTo>
                      <a:pt x="691" y="1182"/>
                      <a:pt x="707" y="1198"/>
                      <a:pt x="727" y="1198"/>
                    </a:cubicBezTo>
                    <a:cubicBezTo>
                      <a:pt x="1009" y="1198"/>
                      <a:pt x="1009" y="1198"/>
                      <a:pt x="1009" y="1198"/>
                    </a:cubicBezTo>
                    <a:cubicBezTo>
                      <a:pt x="1013" y="1198"/>
                      <a:pt x="1016" y="1201"/>
                      <a:pt x="1016" y="1205"/>
                    </a:cubicBezTo>
                    <a:cubicBezTo>
                      <a:pt x="1016" y="1209"/>
                      <a:pt x="1013" y="1212"/>
                      <a:pt x="1009" y="1212"/>
                    </a:cubicBezTo>
                    <a:cubicBezTo>
                      <a:pt x="786" y="1212"/>
                      <a:pt x="786" y="1212"/>
                      <a:pt x="786" y="1212"/>
                    </a:cubicBezTo>
                    <a:cubicBezTo>
                      <a:pt x="766" y="1212"/>
                      <a:pt x="750" y="1228"/>
                      <a:pt x="750" y="1247"/>
                    </a:cubicBezTo>
                    <a:cubicBezTo>
                      <a:pt x="750" y="1267"/>
                      <a:pt x="766" y="1283"/>
                      <a:pt x="786" y="1283"/>
                    </a:cubicBezTo>
                    <a:cubicBezTo>
                      <a:pt x="1124" y="1283"/>
                      <a:pt x="1124" y="1283"/>
                      <a:pt x="1124" y="1283"/>
                    </a:cubicBezTo>
                    <a:cubicBezTo>
                      <a:pt x="1127" y="1283"/>
                      <a:pt x="1130" y="1286"/>
                      <a:pt x="1130" y="1289"/>
                    </a:cubicBezTo>
                    <a:cubicBezTo>
                      <a:pt x="1129" y="1291"/>
                      <a:pt x="1125" y="1294"/>
                      <a:pt x="1120" y="1297"/>
                    </a:cubicBezTo>
                    <a:cubicBezTo>
                      <a:pt x="845" y="1297"/>
                      <a:pt x="845" y="1297"/>
                      <a:pt x="845" y="1297"/>
                    </a:cubicBezTo>
                    <a:cubicBezTo>
                      <a:pt x="825" y="1297"/>
                      <a:pt x="809" y="1313"/>
                      <a:pt x="809" y="1333"/>
                    </a:cubicBezTo>
                    <a:cubicBezTo>
                      <a:pt x="809" y="1352"/>
                      <a:pt x="825" y="1368"/>
                      <a:pt x="845" y="1368"/>
                    </a:cubicBezTo>
                    <a:cubicBezTo>
                      <a:pt x="1102" y="1368"/>
                      <a:pt x="1102" y="1368"/>
                      <a:pt x="1102" y="1368"/>
                    </a:cubicBezTo>
                    <a:cubicBezTo>
                      <a:pt x="1106" y="1368"/>
                      <a:pt x="1109" y="1371"/>
                      <a:pt x="1109" y="1375"/>
                    </a:cubicBezTo>
                    <a:cubicBezTo>
                      <a:pt x="1109" y="1379"/>
                      <a:pt x="1106" y="1382"/>
                      <a:pt x="1102" y="1382"/>
                    </a:cubicBezTo>
                    <a:cubicBezTo>
                      <a:pt x="887" y="1382"/>
                      <a:pt x="887" y="1382"/>
                      <a:pt x="887" y="1382"/>
                    </a:cubicBezTo>
                    <a:cubicBezTo>
                      <a:pt x="868" y="1382"/>
                      <a:pt x="852" y="1398"/>
                      <a:pt x="852" y="1418"/>
                    </a:cubicBezTo>
                    <a:cubicBezTo>
                      <a:pt x="852" y="1437"/>
                      <a:pt x="868" y="1453"/>
                      <a:pt x="887" y="1453"/>
                    </a:cubicBezTo>
                    <a:cubicBezTo>
                      <a:pt x="1040" y="1453"/>
                      <a:pt x="1040" y="1453"/>
                      <a:pt x="1040" y="1453"/>
                    </a:cubicBezTo>
                    <a:cubicBezTo>
                      <a:pt x="1044" y="1453"/>
                      <a:pt x="1047" y="1456"/>
                      <a:pt x="1047" y="1460"/>
                    </a:cubicBezTo>
                    <a:cubicBezTo>
                      <a:pt x="1047" y="1464"/>
                      <a:pt x="1044" y="1467"/>
                      <a:pt x="1040" y="1467"/>
                    </a:cubicBezTo>
                    <a:cubicBezTo>
                      <a:pt x="875" y="1467"/>
                      <a:pt x="875" y="1467"/>
                      <a:pt x="875" y="1467"/>
                    </a:cubicBezTo>
                    <a:cubicBezTo>
                      <a:pt x="856" y="1467"/>
                      <a:pt x="840" y="1483"/>
                      <a:pt x="840" y="1503"/>
                    </a:cubicBezTo>
                    <a:cubicBezTo>
                      <a:pt x="840" y="1522"/>
                      <a:pt x="856" y="1538"/>
                      <a:pt x="875" y="1538"/>
                    </a:cubicBezTo>
                    <a:cubicBezTo>
                      <a:pt x="959" y="1538"/>
                      <a:pt x="959" y="1538"/>
                      <a:pt x="959" y="1538"/>
                    </a:cubicBezTo>
                    <a:cubicBezTo>
                      <a:pt x="963" y="1538"/>
                      <a:pt x="966" y="1541"/>
                      <a:pt x="966" y="1545"/>
                    </a:cubicBezTo>
                    <a:cubicBezTo>
                      <a:pt x="966" y="1549"/>
                      <a:pt x="963" y="1552"/>
                      <a:pt x="959" y="1552"/>
                    </a:cubicBezTo>
                    <a:cubicBezTo>
                      <a:pt x="883" y="1552"/>
                      <a:pt x="883" y="1552"/>
                      <a:pt x="883" y="1552"/>
                    </a:cubicBezTo>
                    <a:cubicBezTo>
                      <a:pt x="863" y="1552"/>
                      <a:pt x="847" y="1568"/>
                      <a:pt x="847" y="1588"/>
                    </a:cubicBezTo>
                    <a:cubicBezTo>
                      <a:pt x="847" y="1607"/>
                      <a:pt x="863" y="1624"/>
                      <a:pt x="883" y="1624"/>
                    </a:cubicBezTo>
                    <a:cubicBezTo>
                      <a:pt x="925" y="1624"/>
                      <a:pt x="925" y="1624"/>
                      <a:pt x="925" y="1624"/>
                    </a:cubicBezTo>
                    <a:cubicBezTo>
                      <a:pt x="928" y="1624"/>
                      <a:pt x="931" y="1627"/>
                      <a:pt x="931" y="1630"/>
                    </a:cubicBezTo>
                    <a:cubicBezTo>
                      <a:pt x="931" y="1634"/>
                      <a:pt x="928" y="1637"/>
                      <a:pt x="925" y="1637"/>
                    </a:cubicBezTo>
                    <a:cubicBezTo>
                      <a:pt x="883" y="1637"/>
                      <a:pt x="883" y="1637"/>
                      <a:pt x="883" y="1637"/>
                    </a:cubicBezTo>
                    <a:cubicBezTo>
                      <a:pt x="878" y="1636"/>
                      <a:pt x="878" y="1636"/>
                      <a:pt x="878" y="1636"/>
                    </a:cubicBezTo>
                    <a:cubicBezTo>
                      <a:pt x="876" y="1636"/>
                      <a:pt x="876" y="1636"/>
                      <a:pt x="876" y="1636"/>
                    </a:cubicBezTo>
                    <a:cubicBezTo>
                      <a:pt x="660" y="1636"/>
                      <a:pt x="458" y="1552"/>
                      <a:pt x="305" y="1399"/>
                    </a:cubicBezTo>
                    <a:cubicBezTo>
                      <a:pt x="152" y="1246"/>
                      <a:pt x="68" y="1043"/>
                      <a:pt x="68" y="827"/>
                    </a:cubicBezTo>
                    <a:cubicBezTo>
                      <a:pt x="68" y="693"/>
                      <a:pt x="100" y="566"/>
                      <a:pt x="162" y="449"/>
                    </a:cubicBezTo>
                    <a:cubicBezTo>
                      <a:pt x="163" y="448"/>
                      <a:pt x="163" y="448"/>
                      <a:pt x="163" y="448"/>
                    </a:cubicBezTo>
                    <a:cubicBezTo>
                      <a:pt x="164" y="446"/>
                      <a:pt x="164" y="446"/>
                      <a:pt x="164" y="446"/>
                    </a:cubicBezTo>
                    <a:cubicBezTo>
                      <a:pt x="184" y="403"/>
                      <a:pt x="187" y="354"/>
                      <a:pt x="171" y="309"/>
                    </a:cubicBezTo>
                    <a:cubicBezTo>
                      <a:pt x="157" y="267"/>
                      <a:pt x="128" y="234"/>
                      <a:pt x="91" y="212"/>
                    </a:cubicBezTo>
                    <a:cubicBezTo>
                      <a:pt x="91" y="210"/>
                      <a:pt x="91" y="207"/>
                      <a:pt x="91" y="204"/>
                    </a:cubicBezTo>
                    <a:cubicBezTo>
                      <a:pt x="91" y="179"/>
                      <a:pt x="71" y="158"/>
                      <a:pt x="46" y="158"/>
                    </a:cubicBezTo>
                    <a:cubicBezTo>
                      <a:pt x="21" y="158"/>
                      <a:pt x="0" y="179"/>
                      <a:pt x="0" y="204"/>
                    </a:cubicBezTo>
                    <a:cubicBezTo>
                      <a:pt x="0" y="229"/>
                      <a:pt x="21" y="250"/>
                      <a:pt x="46" y="250"/>
                    </a:cubicBezTo>
                    <a:cubicBezTo>
                      <a:pt x="58" y="250"/>
                      <a:pt x="69" y="245"/>
                      <a:pt x="77" y="237"/>
                    </a:cubicBezTo>
                    <a:cubicBezTo>
                      <a:pt x="109" y="255"/>
                      <a:pt x="133" y="283"/>
                      <a:pt x="145" y="318"/>
                    </a:cubicBezTo>
                    <a:cubicBezTo>
                      <a:pt x="158" y="355"/>
                      <a:pt x="156" y="396"/>
                      <a:pt x="139" y="432"/>
                    </a:cubicBezTo>
                    <a:cubicBezTo>
                      <a:pt x="139" y="433"/>
                      <a:pt x="139" y="433"/>
                      <a:pt x="139" y="433"/>
                    </a:cubicBezTo>
                    <a:cubicBezTo>
                      <a:pt x="138" y="434"/>
                      <a:pt x="138" y="434"/>
                      <a:pt x="138" y="434"/>
                    </a:cubicBezTo>
                    <a:cubicBezTo>
                      <a:pt x="73" y="555"/>
                      <a:pt x="40" y="688"/>
                      <a:pt x="40" y="827"/>
                    </a:cubicBezTo>
                    <a:cubicBezTo>
                      <a:pt x="40" y="1051"/>
                      <a:pt x="127" y="1261"/>
                      <a:pt x="285" y="1419"/>
                    </a:cubicBezTo>
                    <a:cubicBezTo>
                      <a:pt x="443" y="1577"/>
                      <a:pt x="652" y="1664"/>
                      <a:pt x="875" y="1664"/>
                    </a:cubicBezTo>
                    <a:cubicBezTo>
                      <a:pt x="879" y="1665"/>
                      <a:pt x="879" y="1665"/>
                      <a:pt x="879" y="1665"/>
                    </a:cubicBezTo>
                    <a:cubicBezTo>
                      <a:pt x="925" y="1665"/>
                      <a:pt x="925" y="1665"/>
                      <a:pt x="925" y="1665"/>
                    </a:cubicBezTo>
                    <a:cubicBezTo>
                      <a:pt x="944" y="1665"/>
                      <a:pt x="959" y="1649"/>
                      <a:pt x="959" y="1630"/>
                    </a:cubicBezTo>
                    <a:cubicBezTo>
                      <a:pt x="959" y="1611"/>
                      <a:pt x="944" y="1596"/>
                      <a:pt x="925" y="1596"/>
                    </a:cubicBezTo>
                    <a:cubicBezTo>
                      <a:pt x="883" y="1596"/>
                      <a:pt x="883" y="1596"/>
                      <a:pt x="883" y="1596"/>
                    </a:cubicBezTo>
                    <a:cubicBezTo>
                      <a:pt x="879" y="1596"/>
                      <a:pt x="875" y="1592"/>
                      <a:pt x="875" y="1588"/>
                    </a:cubicBezTo>
                    <a:cubicBezTo>
                      <a:pt x="875" y="1583"/>
                      <a:pt x="879" y="1580"/>
                      <a:pt x="883" y="1580"/>
                    </a:cubicBezTo>
                    <a:cubicBezTo>
                      <a:pt x="959" y="1580"/>
                      <a:pt x="959" y="1580"/>
                      <a:pt x="959" y="1580"/>
                    </a:cubicBezTo>
                    <a:cubicBezTo>
                      <a:pt x="978" y="1580"/>
                      <a:pt x="994" y="1564"/>
                      <a:pt x="994" y="1545"/>
                    </a:cubicBezTo>
                    <a:cubicBezTo>
                      <a:pt x="994" y="1526"/>
                      <a:pt x="978" y="1510"/>
                      <a:pt x="959" y="1510"/>
                    </a:cubicBezTo>
                    <a:cubicBezTo>
                      <a:pt x="875" y="1510"/>
                      <a:pt x="875" y="1510"/>
                      <a:pt x="875" y="1510"/>
                    </a:cubicBezTo>
                    <a:cubicBezTo>
                      <a:pt x="871" y="1510"/>
                      <a:pt x="868" y="1507"/>
                      <a:pt x="868" y="1503"/>
                    </a:cubicBezTo>
                    <a:cubicBezTo>
                      <a:pt x="868" y="1498"/>
                      <a:pt x="871" y="1495"/>
                      <a:pt x="875" y="1495"/>
                    </a:cubicBezTo>
                    <a:cubicBezTo>
                      <a:pt x="1040" y="1495"/>
                      <a:pt x="1040" y="1495"/>
                      <a:pt x="1040" y="1495"/>
                    </a:cubicBezTo>
                    <a:cubicBezTo>
                      <a:pt x="1060" y="1495"/>
                      <a:pt x="1075" y="1479"/>
                      <a:pt x="1075" y="1460"/>
                    </a:cubicBezTo>
                    <a:cubicBezTo>
                      <a:pt x="1075" y="1441"/>
                      <a:pt x="1060" y="1425"/>
                      <a:pt x="1040" y="1425"/>
                    </a:cubicBezTo>
                    <a:cubicBezTo>
                      <a:pt x="887" y="1425"/>
                      <a:pt x="887" y="1425"/>
                      <a:pt x="887" y="1425"/>
                    </a:cubicBezTo>
                    <a:cubicBezTo>
                      <a:pt x="883" y="1425"/>
                      <a:pt x="880" y="1422"/>
                      <a:pt x="880" y="1418"/>
                    </a:cubicBezTo>
                    <a:cubicBezTo>
                      <a:pt x="880" y="1413"/>
                      <a:pt x="883" y="1410"/>
                      <a:pt x="887" y="1410"/>
                    </a:cubicBezTo>
                    <a:cubicBezTo>
                      <a:pt x="1102" y="1410"/>
                      <a:pt x="1102" y="1410"/>
                      <a:pt x="1102" y="1410"/>
                    </a:cubicBezTo>
                    <a:cubicBezTo>
                      <a:pt x="1121" y="1410"/>
                      <a:pt x="1137" y="1394"/>
                      <a:pt x="1137" y="1375"/>
                    </a:cubicBezTo>
                    <a:cubicBezTo>
                      <a:pt x="1137" y="1356"/>
                      <a:pt x="1121" y="1340"/>
                      <a:pt x="1102" y="1340"/>
                    </a:cubicBezTo>
                    <a:cubicBezTo>
                      <a:pt x="845" y="1340"/>
                      <a:pt x="845" y="1340"/>
                      <a:pt x="845" y="1340"/>
                    </a:cubicBezTo>
                    <a:cubicBezTo>
                      <a:pt x="840" y="1340"/>
                      <a:pt x="837" y="1337"/>
                      <a:pt x="837" y="1333"/>
                    </a:cubicBezTo>
                    <a:cubicBezTo>
                      <a:pt x="837" y="1328"/>
                      <a:pt x="840" y="1325"/>
                      <a:pt x="845" y="1325"/>
                    </a:cubicBezTo>
                    <a:cubicBezTo>
                      <a:pt x="1127" y="1325"/>
                      <a:pt x="1127" y="1325"/>
                      <a:pt x="1127" y="1325"/>
                    </a:cubicBezTo>
                    <a:cubicBezTo>
                      <a:pt x="1129" y="1323"/>
                      <a:pt x="1129" y="1323"/>
                      <a:pt x="1129" y="1323"/>
                    </a:cubicBezTo>
                    <a:cubicBezTo>
                      <a:pt x="1136" y="1320"/>
                      <a:pt x="1158" y="1309"/>
                      <a:pt x="1158" y="1290"/>
                    </a:cubicBezTo>
                    <a:cubicBezTo>
                      <a:pt x="1158" y="1271"/>
                      <a:pt x="1143" y="1255"/>
                      <a:pt x="1124" y="1255"/>
                    </a:cubicBezTo>
                    <a:cubicBezTo>
                      <a:pt x="786" y="1255"/>
                      <a:pt x="786" y="1255"/>
                      <a:pt x="786" y="1255"/>
                    </a:cubicBezTo>
                    <a:cubicBezTo>
                      <a:pt x="782" y="1255"/>
                      <a:pt x="778" y="1252"/>
                      <a:pt x="778" y="1247"/>
                    </a:cubicBezTo>
                    <a:cubicBezTo>
                      <a:pt x="778" y="1243"/>
                      <a:pt x="782" y="1240"/>
                      <a:pt x="786" y="1240"/>
                    </a:cubicBezTo>
                    <a:cubicBezTo>
                      <a:pt x="1009" y="1240"/>
                      <a:pt x="1009" y="1240"/>
                      <a:pt x="1009" y="1240"/>
                    </a:cubicBezTo>
                    <a:cubicBezTo>
                      <a:pt x="1029" y="1240"/>
                      <a:pt x="1044" y="1224"/>
                      <a:pt x="1044" y="1205"/>
                    </a:cubicBezTo>
                    <a:cubicBezTo>
                      <a:pt x="1044" y="1186"/>
                      <a:pt x="1029" y="1170"/>
                      <a:pt x="1009" y="1170"/>
                    </a:cubicBezTo>
                    <a:cubicBezTo>
                      <a:pt x="727" y="1170"/>
                      <a:pt x="727" y="1170"/>
                      <a:pt x="727" y="1170"/>
                    </a:cubicBezTo>
                    <a:cubicBezTo>
                      <a:pt x="723" y="1170"/>
                      <a:pt x="719" y="1167"/>
                      <a:pt x="719" y="1162"/>
                    </a:cubicBezTo>
                    <a:cubicBezTo>
                      <a:pt x="719" y="1158"/>
                      <a:pt x="723" y="1155"/>
                      <a:pt x="727" y="1155"/>
                    </a:cubicBezTo>
                    <a:cubicBezTo>
                      <a:pt x="750" y="1155"/>
                      <a:pt x="750" y="1155"/>
                      <a:pt x="750" y="1155"/>
                    </a:cubicBezTo>
                    <a:cubicBezTo>
                      <a:pt x="769" y="1155"/>
                      <a:pt x="785" y="1139"/>
                      <a:pt x="785" y="1120"/>
                    </a:cubicBezTo>
                    <a:cubicBezTo>
                      <a:pt x="785" y="1101"/>
                      <a:pt x="769" y="1085"/>
                      <a:pt x="750" y="1085"/>
                    </a:cubicBezTo>
                    <a:cubicBezTo>
                      <a:pt x="633" y="1085"/>
                      <a:pt x="633" y="1085"/>
                      <a:pt x="633" y="1085"/>
                    </a:cubicBezTo>
                    <a:cubicBezTo>
                      <a:pt x="629" y="1085"/>
                      <a:pt x="625" y="1082"/>
                      <a:pt x="625" y="1077"/>
                    </a:cubicBezTo>
                    <a:cubicBezTo>
                      <a:pt x="625" y="1073"/>
                      <a:pt x="629" y="1070"/>
                      <a:pt x="633" y="1070"/>
                    </a:cubicBezTo>
                    <a:cubicBezTo>
                      <a:pt x="637" y="1070"/>
                      <a:pt x="637" y="1070"/>
                      <a:pt x="637" y="1070"/>
                    </a:cubicBezTo>
                    <a:cubicBezTo>
                      <a:pt x="656" y="1070"/>
                      <a:pt x="671" y="1054"/>
                      <a:pt x="671" y="1035"/>
                    </a:cubicBezTo>
                    <a:cubicBezTo>
                      <a:pt x="671" y="1016"/>
                      <a:pt x="656" y="1000"/>
                      <a:pt x="637" y="1000"/>
                    </a:cubicBezTo>
                    <a:cubicBezTo>
                      <a:pt x="579" y="1000"/>
                      <a:pt x="579" y="1000"/>
                      <a:pt x="579" y="1000"/>
                    </a:cubicBezTo>
                    <a:cubicBezTo>
                      <a:pt x="575" y="1000"/>
                      <a:pt x="571" y="997"/>
                      <a:pt x="571" y="992"/>
                    </a:cubicBezTo>
                    <a:cubicBezTo>
                      <a:pt x="571" y="988"/>
                      <a:pt x="575" y="984"/>
                      <a:pt x="579" y="984"/>
                    </a:cubicBezTo>
                    <a:cubicBezTo>
                      <a:pt x="623" y="984"/>
                      <a:pt x="623" y="984"/>
                      <a:pt x="623" y="984"/>
                    </a:cubicBezTo>
                    <a:cubicBezTo>
                      <a:pt x="642" y="984"/>
                      <a:pt x="657" y="969"/>
                      <a:pt x="657" y="950"/>
                    </a:cubicBezTo>
                    <a:cubicBezTo>
                      <a:pt x="657" y="931"/>
                      <a:pt x="642" y="915"/>
                      <a:pt x="623" y="915"/>
                    </a:cubicBezTo>
                    <a:cubicBezTo>
                      <a:pt x="510" y="915"/>
                      <a:pt x="510" y="915"/>
                      <a:pt x="510" y="915"/>
                    </a:cubicBezTo>
                    <a:cubicBezTo>
                      <a:pt x="506" y="915"/>
                      <a:pt x="503" y="912"/>
                      <a:pt x="503" y="907"/>
                    </a:cubicBezTo>
                    <a:cubicBezTo>
                      <a:pt x="503" y="903"/>
                      <a:pt x="506" y="899"/>
                      <a:pt x="510" y="899"/>
                    </a:cubicBezTo>
                    <a:cubicBezTo>
                      <a:pt x="791" y="899"/>
                      <a:pt x="791" y="899"/>
                      <a:pt x="791" y="899"/>
                    </a:cubicBezTo>
                    <a:cubicBezTo>
                      <a:pt x="810" y="899"/>
                      <a:pt x="826" y="884"/>
                      <a:pt x="826" y="865"/>
                    </a:cubicBezTo>
                    <a:cubicBezTo>
                      <a:pt x="826" y="846"/>
                      <a:pt x="810" y="830"/>
                      <a:pt x="791" y="830"/>
                    </a:cubicBezTo>
                    <a:cubicBezTo>
                      <a:pt x="469" y="830"/>
                      <a:pt x="469" y="830"/>
                      <a:pt x="469" y="830"/>
                    </a:cubicBezTo>
                    <a:cubicBezTo>
                      <a:pt x="465" y="830"/>
                      <a:pt x="462" y="827"/>
                      <a:pt x="462" y="822"/>
                    </a:cubicBezTo>
                    <a:cubicBezTo>
                      <a:pt x="462" y="818"/>
                      <a:pt x="465" y="814"/>
                      <a:pt x="469" y="814"/>
                    </a:cubicBezTo>
                    <a:cubicBezTo>
                      <a:pt x="867" y="814"/>
                      <a:pt x="867" y="814"/>
                      <a:pt x="867" y="814"/>
                    </a:cubicBezTo>
                    <a:cubicBezTo>
                      <a:pt x="887" y="814"/>
                      <a:pt x="902" y="799"/>
                      <a:pt x="902" y="780"/>
                    </a:cubicBezTo>
                    <a:cubicBezTo>
                      <a:pt x="902" y="761"/>
                      <a:pt x="887" y="745"/>
                      <a:pt x="867" y="745"/>
                    </a:cubicBezTo>
                    <a:cubicBezTo>
                      <a:pt x="496" y="745"/>
                      <a:pt x="496" y="745"/>
                      <a:pt x="496" y="745"/>
                    </a:cubicBezTo>
                    <a:cubicBezTo>
                      <a:pt x="492" y="745"/>
                      <a:pt x="488" y="741"/>
                      <a:pt x="488" y="737"/>
                    </a:cubicBezTo>
                    <a:cubicBezTo>
                      <a:pt x="488" y="733"/>
                      <a:pt x="492" y="729"/>
                      <a:pt x="496" y="729"/>
                    </a:cubicBezTo>
                    <a:cubicBezTo>
                      <a:pt x="993" y="729"/>
                      <a:pt x="993" y="729"/>
                      <a:pt x="993" y="729"/>
                    </a:cubicBezTo>
                    <a:cubicBezTo>
                      <a:pt x="1012" y="729"/>
                      <a:pt x="1027" y="714"/>
                      <a:pt x="1027" y="695"/>
                    </a:cubicBezTo>
                    <a:cubicBezTo>
                      <a:pt x="1027" y="675"/>
                      <a:pt x="1012" y="660"/>
                      <a:pt x="993" y="660"/>
                    </a:cubicBezTo>
                    <a:cubicBezTo>
                      <a:pt x="472" y="660"/>
                      <a:pt x="472" y="660"/>
                      <a:pt x="472" y="660"/>
                    </a:cubicBezTo>
                    <a:cubicBezTo>
                      <a:pt x="468" y="660"/>
                      <a:pt x="464" y="656"/>
                      <a:pt x="464" y="652"/>
                    </a:cubicBezTo>
                    <a:cubicBezTo>
                      <a:pt x="464" y="648"/>
                      <a:pt x="468" y="644"/>
                      <a:pt x="472" y="644"/>
                    </a:cubicBezTo>
                    <a:cubicBezTo>
                      <a:pt x="999" y="644"/>
                      <a:pt x="999" y="644"/>
                      <a:pt x="999" y="644"/>
                    </a:cubicBezTo>
                    <a:cubicBezTo>
                      <a:pt x="1018" y="644"/>
                      <a:pt x="1033" y="629"/>
                      <a:pt x="1033" y="610"/>
                    </a:cubicBezTo>
                    <a:cubicBezTo>
                      <a:pt x="1033" y="594"/>
                      <a:pt x="1024" y="581"/>
                      <a:pt x="1009" y="576"/>
                    </a:cubicBezTo>
                    <a:cubicBezTo>
                      <a:pt x="1006" y="575"/>
                      <a:pt x="1006" y="575"/>
                      <a:pt x="1006" y="575"/>
                    </a:cubicBezTo>
                    <a:cubicBezTo>
                      <a:pt x="985" y="575"/>
                      <a:pt x="985" y="575"/>
                      <a:pt x="985" y="575"/>
                    </a:cubicBezTo>
                    <a:cubicBezTo>
                      <a:pt x="985" y="575"/>
                      <a:pt x="985" y="575"/>
                      <a:pt x="985" y="575"/>
                    </a:cubicBezTo>
                    <a:cubicBezTo>
                      <a:pt x="462" y="575"/>
                      <a:pt x="462" y="575"/>
                      <a:pt x="462" y="575"/>
                    </a:cubicBezTo>
                    <a:cubicBezTo>
                      <a:pt x="458" y="575"/>
                      <a:pt x="454" y="571"/>
                      <a:pt x="454" y="567"/>
                    </a:cubicBezTo>
                    <a:cubicBezTo>
                      <a:pt x="454" y="563"/>
                      <a:pt x="458" y="559"/>
                      <a:pt x="462" y="559"/>
                    </a:cubicBezTo>
                    <a:cubicBezTo>
                      <a:pt x="770" y="559"/>
                      <a:pt x="770" y="559"/>
                      <a:pt x="770" y="559"/>
                    </a:cubicBezTo>
                    <a:cubicBezTo>
                      <a:pt x="789" y="559"/>
                      <a:pt x="805" y="544"/>
                      <a:pt x="805" y="524"/>
                    </a:cubicBezTo>
                    <a:cubicBezTo>
                      <a:pt x="805" y="505"/>
                      <a:pt x="789" y="490"/>
                      <a:pt x="770" y="490"/>
                    </a:cubicBezTo>
                    <a:cubicBezTo>
                      <a:pt x="264" y="490"/>
                      <a:pt x="264" y="490"/>
                      <a:pt x="264" y="490"/>
                    </a:cubicBezTo>
                    <a:cubicBezTo>
                      <a:pt x="260" y="490"/>
                      <a:pt x="256" y="486"/>
                      <a:pt x="256" y="482"/>
                    </a:cubicBezTo>
                    <a:cubicBezTo>
                      <a:pt x="256" y="478"/>
                      <a:pt x="260" y="474"/>
                      <a:pt x="264" y="474"/>
                    </a:cubicBezTo>
                    <a:cubicBezTo>
                      <a:pt x="740" y="474"/>
                      <a:pt x="740" y="474"/>
                      <a:pt x="740" y="474"/>
                    </a:cubicBezTo>
                    <a:cubicBezTo>
                      <a:pt x="759" y="474"/>
                      <a:pt x="774" y="459"/>
                      <a:pt x="774" y="439"/>
                    </a:cubicBezTo>
                    <a:cubicBezTo>
                      <a:pt x="774" y="420"/>
                      <a:pt x="759" y="405"/>
                      <a:pt x="740" y="405"/>
                    </a:cubicBezTo>
                    <a:cubicBezTo>
                      <a:pt x="318" y="405"/>
                      <a:pt x="318" y="405"/>
                      <a:pt x="318" y="405"/>
                    </a:cubicBezTo>
                    <a:cubicBezTo>
                      <a:pt x="314" y="405"/>
                      <a:pt x="311" y="401"/>
                      <a:pt x="311" y="397"/>
                    </a:cubicBezTo>
                    <a:cubicBezTo>
                      <a:pt x="311" y="393"/>
                      <a:pt x="314" y="389"/>
                      <a:pt x="318" y="389"/>
                    </a:cubicBezTo>
                    <a:cubicBezTo>
                      <a:pt x="580" y="389"/>
                      <a:pt x="580" y="389"/>
                      <a:pt x="580" y="389"/>
                    </a:cubicBezTo>
                    <a:cubicBezTo>
                      <a:pt x="599" y="389"/>
                      <a:pt x="614" y="374"/>
                      <a:pt x="614" y="354"/>
                    </a:cubicBezTo>
                    <a:cubicBezTo>
                      <a:pt x="614" y="335"/>
                      <a:pt x="599" y="320"/>
                      <a:pt x="580" y="320"/>
                    </a:cubicBezTo>
                    <a:cubicBezTo>
                      <a:pt x="263" y="320"/>
                      <a:pt x="263" y="320"/>
                      <a:pt x="263" y="320"/>
                    </a:cubicBezTo>
                    <a:cubicBezTo>
                      <a:pt x="259" y="320"/>
                      <a:pt x="255" y="316"/>
                      <a:pt x="255" y="312"/>
                    </a:cubicBezTo>
                    <a:cubicBezTo>
                      <a:pt x="255" y="312"/>
                      <a:pt x="255" y="311"/>
                      <a:pt x="255" y="311"/>
                    </a:cubicBezTo>
                    <a:cubicBezTo>
                      <a:pt x="257" y="309"/>
                      <a:pt x="257" y="309"/>
                      <a:pt x="257" y="309"/>
                    </a:cubicBezTo>
                    <a:cubicBezTo>
                      <a:pt x="410" y="131"/>
                      <a:pt x="633" y="28"/>
                      <a:pt x="869" y="28"/>
                    </a:cubicBezTo>
                    <a:cubicBezTo>
                      <a:pt x="877" y="28"/>
                      <a:pt x="877" y="28"/>
                      <a:pt x="877" y="28"/>
                    </a:cubicBezTo>
                    <a:cubicBezTo>
                      <a:pt x="950" y="28"/>
                      <a:pt x="1022" y="38"/>
                      <a:pt x="1091" y="57"/>
                    </a:cubicBezTo>
                    <a:cubicBezTo>
                      <a:pt x="1093" y="58"/>
                      <a:pt x="1093" y="58"/>
                      <a:pt x="1093" y="58"/>
                    </a:cubicBezTo>
                    <a:cubicBezTo>
                      <a:pt x="1096" y="59"/>
                      <a:pt x="1096" y="62"/>
                      <a:pt x="1096" y="64"/>
                    </a:cubicBezTo>
                    <a:cubicBezTo>
                      <a:pt x="1096" y="68"/>
                      <a:pt x="1093" y="71"/>
                      <a:pt x="1089" y="71"/>
                    </a:cubicBezTo>
                    <a:cubicBezTo>
                      <a:pt x="1066" y="71"/>
                      <a:pt x="1066" y="71"/>
                      <a:pt x="1066" y="71"/>
                    </a:cubicBezTo>
                    <a:cubicBezTo>
                      <a:pt x="1046" y="71"/>
                      <a:pt x="1030" y="87"/>
                      <a:pt x="1030" y="107"/>
                    </a:cubicBezTo>
                    <a:cubicBezTo>
                      <a:pt x="1030" y="126"/>
                      <a:pt x="1046" y="142"/>
                      <a:pt x="1066" y="142"/>
                    </a:cubicBezTo>
                    <a:cubicBezTo>
                      <a:pt x="1289" y="142"/>
                      <a:pt x="1289" y="142"/>
                      <a:pt x="1289" y="142"/>
                    </a:cubicBezTo>
                    <a:cubicBezTo>
                      <a:pt x="1292" y="142"/>
                      <a:pt x="1295" y="145"/>
                      <a:pt x="1295" y="149"/>
                    </a:cubicBezTo>
                    <a:cubicBezTo>
                      <a:pt x="1295" y="153"/>
                      <a:pt x="1292" y="156"/>
                      <a:pt x="1289" y="156"/>
                    </a:cubicBezTo>
                    <a:cubicBezTo>
                      <a:pt x="1125" y="156"/>
                      <a:pt x="1125" y="156"/>
                      <a:pt x="1125" y="156"/>
                    </a:cubicBezTo>
                    <a:cubicBezTo>
                      <a:pt x="1105" y="156"/>
                      <a:pt x="1089" y="172"/>
                      <a:pt x="1089" y="192"/>
                    </a:cubicBezTo>
                    <a:cubicBezTo>
                      <a:pt x="1089" y="211"/>
                      <a:pt x="1105" y="227"/>
                      <a:pt x="1125" y="227"/>
                    </a:cubicBezTo>
                    <a:cubicBezTo>
                      <a:pt x="1398" y="227"/>
                      <a:pt x="1398" y="227"/>
                      <a:pt x="1398" y="227"/>
                    </a:cubicBezTo>
                    <a:cubicBezTo>
                      <a:pt x="1402" y="227"/>
                      <a:pt x="1405" y="230"/>
                      <a:pt x="1405" y="234"/>
                    </a:cubicBezTo>
                    <a:cubicBezTo>
                      <a:pt x="1405" y="238"/>
                      <a:pt x="1402" y="241"/>
                      <a:pt x="1398" y="241"/>
                    </a:cubicBezTo>
                    <a:cubicBezTo>
                      <a:pt x="1070" y="241"/>
                      <a:pt x="1070" y="241"/>
                      <a:pt x="1070" y="241"/>
                    </a:cubicBezTo>
                    <a:cubicBezTo>
                      <a:pt x="1051" y="241"/>
                      <a:pt x="1035" y="257"/>
                      <a:pt x="1035" y="277"/>
                    </a:cubicBezTo>
                    <a:cubicBezTo>
                      <a:pt x="1035" y="296"/>
                      <a:pt x="1051" y="313"/>
                      <a:pt x="1070" y="313"/>
                    </a:cubicBezTo>
                    <a:cubicBezTo>
                      <a:pt x="1442" y="313"/>
                      <a:pt x="1442" y="313"/>
                      <a:pt x="1442" y="313"/>
                    </a:cubicBezTo>
                    <a:cubicBezTo>
                      <a:pt x="1445" y="313"/>
                      <a:pt x="1448" y="316"/>
                      <a:pt x="1448" y="319"/>
                    </a:cubicBezTo>
                    <a:cubicBezTo>
                      <a:pt x="1448" y="323"/>
                      <a:pt x="1445" y="326"/>
                      <a:pt x="1442" y="326"/>
                    </a:cubicBezTo>
                    <a:cubicBezTo>
                      <a:pt x="1124" y="326"/>
                      <a:pt x="1124" y="326"/>
                      <a:pt x="1124" y="326"/>
                    </a:cubicBezTo>
                    <a:cubicBezTo>
                      <a:pt x="1104" y="326"/>
                      <a:pt x="1088" y="342"/>
                      <a:pt x="1088" y="362"/>
                    </a:cubicBezTo>
                    <a:cubicBezTo>
                      <a:pt x="1088" y="382"/>
                      <a:pt x="1104" y="398"/>
                      <a:pt x="1124" y="398"/>
                    </a:cubicBezTo>
                    <a:cubicBezTo>
                      <a:pt x="1547" y="398"/>
                      <a:pt x="1547" y="398"/>
                      <a:pt x="1547" y="398"/>
                    </a:cubicBezTo>
                    <a:cubicBezTo>
                      <a:pt x="1549" y="398"/>
                      <a:pt x="1551" y="399"/>
                      <a:pt x="1552" y="401"/>
                    </a:cubicBezTo>
                    <a:cubicBezTo>
                      <a:pt x="1555" y="404"/>
                      <a:pt x="1555" y="404"/>
                      <a:pt x="1555" y="404"/>
                    </a:cubicBezTo>
                    <a:cubicBezTo>
                      <a:pt x="1634" y="531"/>
                      <a:pt x="1676" y="677"/>
                      <a:pt x="1676" y="827"/>
                    </a:cubicBezTo>
                    <a:cubicBezTo>
                      <a:pt x="1676" y="835"/>
                      <a:pt x="1676" y="835"/>
                      <a:pt x="1676" y="835"/>
                    </a:cubicBezTo>
                    <a:cubicBezTo>
                      <a:pt x="1676" y="835"/>
                      <a:pt x="1676" y="835"/>
                      <a:pt x="1676" y="835"/>
                    </a:cubicBezTo>
                    <a:cubicBezTo>
                      <a:pt x="1676" y="1204"/>
                      <a:pt x="1427" y="1525"/>
                      <a:pt x="1071" y="1617"/>
                    </a:cubicBezTo>
                    <a:cubicBezTo>
                      <a:pt x="1062" y="1618"/>
                      <a:pt x="1062" y="1618"/>
                      <a:pt x="1062" y="1618"/>
                    </a:cubicBezTo>
                    <a:cubicBezTo>
                      <a:pt x="1061" y="1619"/>
                      <a:pt x="1061" y="1619"/>
                      <a:pt x="1061" y="1619"/>
                    </a:cubicBezTo>
                    <a:cubicBezTo>
                      <a:pt x="969" y="1641"/>
                      <a:pt x="911" y="1732"/>
                      <a:pt x="927" y="1824"/>
                    </a:cubicBezTo>
                    <a:cubicBezTo>
                      <a:pt x="897" y="1832"/>
                      <a:pt x="897" y="1832"/>
                      <a:pt x="897" y="1832"/>
                    </a:cubicBezTo>
                    <a:cubicBezTo>
                      <a:pt x="919" y="1920"/>
                      <a:pt x="919" y="1920"/>
                      <a:pt x="919" y="1920"/>
                    </a:cubicBezTo>
                    <a:cubicBezTo>
                      <a:pt x="1007" y="1898"/>
                      <a:pt x="1007" y="1898"/>
                      <a:pt x="1007" y="1898"/>
                    </a:cubicBezTo>
                    <a:cubicBezTo>
                      <a:pt x="985" y="1810"/>
                      <a:pt x="985" y="1810"/>
                      <a:pt x="985" y="1810"/>
                    </a:cubicBezTo>
                    <a:cubicBezTo>
                      <a:pt x="955" y="1817"/>
                      <a:pt x="955" y="1817"/>
                      <a:pt x="955" y="1817"/>
                    </a:cubicBezTo>
                    <a:cubicBezTo>
                      <a:pt x="942" y="1740"/>
                      <a:pt x="991" y="1665"/>
                      <a:pt x="1067" y="1646"/>
                    </a:cubicBezTo>
                    <a:cubicBezTo>
                      <a:pt x="1076" y="1644"/>
                      <a:pt x="1076" y="1644"/>
                      <a:pt x="1076" y="1644"/>
                    </a:cubicBezTo>
                    <a:cubicBezTo>
                      <a:pt x="1077" y="1644"/>
                      <a:pt x="1077" y="1644"/>
                      <a:pt x="1077" y="1644"/>
                    </a:cubicBezTo>
                    <a:cubicBezTo>
                      <a:pt x="1446" y="1549"/>
                      <a:pt x="1704" y="1217"/>
                      <a:pt x="1704" y="836"/>
                    </a:cubicBezTo>
                    <a:cubicBezTo>
                      <a:pt x="1704" y="828"/>
                      <a:pt x="1704" y="828"/>
                      <a:pt x="1704" y="828"/>
                    </a:cubicBezTo>
                    <a:cubicBezTo>
                      <a:pt x="1704" y="827"/>
                      <a:pt x="1704" y="827"/>
                      <a:pt x="1704" y="827"/>
                    </a:cubicBezTo>
                    <a:cubicBezTo>
                      <a:pt x="1704" y="672"/>
                      <a:pt x="1660" y="520"/>
                      <a:pt x="1578" y="389"/>
                    </a:cubicBezTo>
                    <a:close/>
                    <a:moveTo>
                      <a:pt x="61" y="213"/>
                    </a:moveTo>
                    <a:cubicBezTo>
                      <a:pt x="61" y="213"/>
                      <a:pt x="61" y="213"/>
                      <a:pt x="61" y="213"/>
                    </a:cubicBezTo>
                    <a:cubicBezTo>
                      <a:pt x="61" y="213"/>
                      <a:pt x="61" y="213"/>
                      <a:pt x="61" y="213"/>
                    </a:cubicBezTo>
                    <a:cubicBezTo>
                      <a:pt x="58" y="218"/>
                      <a:pt x="52" y="222"/>
                      <a:pt x="46" y="222"/>
                    </a:cubicBezTo>
                    <a:cubicBezTo>
                      <a:pt x="36" y="222"/>
                      <a:pt x="28" y="214"/>
                      <a:pt x="28" y="204"/>
                    </a:cubicBezTo>
                    <a:cubicBezTo>
                      <a:pt x="28" y="194"/>
                      <a:pt x="36" y="186"/>
                      <a:pt x="46" y="186"/>
                    </a:cubicBezTo>
                    <a:cubicBezTo>
                      <a:pt x="55" y="186"/>
                      <a:pt x="63" y="194"/>
                      <a:pt x="63" y="204"/>
                    </a:cubicBezTo>
                    <a:cubicBezTo>
                      <a:pt x="63" y="207"/>
                      <a:pt x="62" y="210"/>
                      <a:pt x="61" y="213"/>
                    </a:cubicBezTo>
                    <a:close/>
                    <a:moveTo>
                      <a:pt x="974" y="1878"/>
                    </a:moveTo>
                    <a:cubicBezTo>
                      <a:pt x="939" y="1886"/>
                      <a:pt x="939" y="1886"/>
                      <a:pt x="939" y="1886"/>
                    </a:cubicBezTo>
                    <a:cubicBezTo>
                      <a:pt x="931" y="1852"/>
                      <a:pt x="931" y="1852"/>
                      <a:pt x="931" y="1852"/>
                    </a:cubicBezTo>
                    <a:cubicBezTo>
                      <a:pt x="965" y="1844"/>
                      <a:pt x="965" y="1844"/>
                      <a:pt x="965" y="1844"/>
                    </a:cubicBezTo>
                    <a:lnTo>
                      <a:pt x="974" y="1878"/>
                    </a:lnTo>
                    <a:close/>
                  </a:path>
                </a:pathLst>
              </a:custGeom>
              <a:solidFill>
                <a:srgbClr val="6DC2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15" name="Freeform 360"/>
              <p:cNvSpPr>
                <a:spLocks/>
              </p:cNvSpPr>
              <p:nvPr/>
            </p:nvSpPr>
            <p:spPr bwMode="auto">
              <a:xfrm>
                <a:off x="4084638" y="4649788"/>
                <a:ext cx="590550" cy="581025"/>
              </a:xfrm>
              <a:custGeom>
                <a:avLst/>
                <a:gdLst>
                  <a:gd name="T0" fmla="*/ 244 w 805"/>
                  <a:gd name="T1" fmla="*/ 340 h 793"/>
                  <a:gd name="T2" fmla="*/ 244 w 805"/>
                  <a:gd name="T3" fmla="*/ 324 h 793"/>
                  <a:gd name="T4" fmla="*/ 805 w 805"/>
                  <a:gd name="T5" fmla="*/ 290 h 793"/>
                  <a:gd name="T6" fmla="*/ 778 w 805"/>
                  <a:gd name="T7" fmla="*/ 255 h 793"/>
                  <a:gd name="T8" fmla="*/ 757 w 805"/>
                  <a:gd name="T9" fmla="*/ 255 h 793"/>
                  <a:gd name="T10" fmla="*/ 226 w 805"/>
                  <a:gd name="T11" fmla="*/ 247 h 793"/>
                  <a:gd name="T12" fmla="*/ 542 w 805"/>
                  <a:gd name="T13" fmla="*/ 239 h 793"/>
                  <a:gd name="T14" fmla="*/ 542 w 805"/>
                  <a:gd name="T15" fmla="*/ 170 h 793"/>
                  <a:gd name="T16" fmla="*/ 28 w 805"/>
                  <a:gd name="T17" fmla="*/ 162 h 793"/>
                  <a:gd name="T18" fmla="*/ 512 w 805"/>
                  <a:gd name="T19" fmla="*/ 154 h 793"/>
                  <a:gd name="T20" fmla="*/ 512 w 805"/>
                  <a:gd name="T21" fmla="*/ 85 h 793"/>
                  <a:gd name="T22" fmla="*/ 83 w 805"/>
                  <a:gd name="T23" fmla="*/ 77 h 793"/>
                  <a:gd name="T24" fmla="*/ 352 w 805"/>
                  <a:gd name="T25" fmla="*/ 69 h 793"/>
                  <a:gd name="T26" fmla="*/ 352 w 805"/>
                  <a:gd name="T27" fmla="*/ 0 h 793"/>
                  <a:gd name="T28" fmla="*/ 55 w 805"/>
                  <a:gd name="T29" fmla="*/ 14 h 793"/>
                  <a:gd name="T30" fmla="*/ 352 w 805"/>
                  <a:gd name="T31" fmla="*/ 28 h 793"/>
                  <a:gd name="T32" fmla="*/ 352 w 805"/>
                  <a:gd name="T33" fmla="*/ 41 h 793"/>
                  <a:gd name="T34" fmla="*/ 55 w 805"/>
                  <a:gd name="T35" fmla="*/ 77 h 793"/>
                  <a:gd name="T36" fmla="*/ 512 w 805"/>
                  <a:gd name="T37" fmla="*/ 113 h 793"/>
                  <a:gd name="T38" fmla="*/ 512 w 805"/>
                  <a:gd name="T39" fmla="*/ 126 h 793"/>
                  <a:gd name="T40" fmla="*/ 0 w 805"/>
                  <a:gd name="T41" fmla="*/ 162 h 793"/>
                  <a:gd name="T42" fmla="*/ 542 w 805"/>
                  <a:gd name="T43" fmla="*/ 198 h 793"/>
                  <a:gd name="T44" fmla="*/ 542 w 805"/>
                  <a:gd name="T45" fmla="*/ 211 h 793"/>
                  <a:gd name="T46" fmla="*/ 198 w 805"/>
                  <a:gd name="T47" fmla="*/ 247 h 793"/>
                  <a:gd name="T48" fmla="*/ 729 w 805"/>
                  <a:gd name="T49" fmla="*/ 283 h 793"/>
                  <a:gd name="T50" fmla="*/ 773 w 805"/>
                  <a:gd name="T51" fmla="*/ 283 h 793"/>
                  <a:gd name="T52" fmla="*/ 771 w 805"/>
                  <a:gd name="T53" fmla="*/ 296 h 793"/>
                  <a:gd name="T54" fmla="*/ 208 w 805"/>
                  <a:gd name="T55" fmla="*/ 332 h 793"/>
                  <a:gd name="T56" fmla="*/ 765 w 805"/>
                  <a:gd name="T57" fmla="*/ 368 h 793"/>
                  <a:gd name="T58" fmla="*/ 765 w 805"/>
                  <a:gd name="T59" fmla="*/ 381 h 793"/>
                  <a:gd name="T60" fmla="*/ 232 w 805"/>
                  <a:gd name="T61" fmla="*/ 417 h 793"/>
                  <a:gd name="T62" fmla="*/ 639 w 805"/>
                  <a:gd name="T63" fmla="*/ 453 h 793"/>
                  <a:gd name="T64" fmla="*/ 639 w 805"/>
                  <a:gd name="T65" fmla="*/ 466 h 793"/>
                  <a:gd name="T66" fmla="*/ 206 w 805"/>
                  <a:gd name="T67" fmla="*/ 502 h 793"/>
                  <a:gd name="T68" fmla="*/ 563 w 805"/>
                  <a:gd name="T69" fmla="*/ 538 h 793"/>
                  <a:gd name="T70" fmla="*/ 563 w 805"/>
                  <a:gd name="T71" fmla="*/ 551 h 793"/>
                  <a:gd name="T72" fmla="*/ 247 w 805"/>
                  <a:gd name="T73" fmla="*/ 587 h 793"/>
                  <a:gd name="T74" fmla="*/ 395 w 805"/>
                  <a:gd name="T75" fmla="*/ 623 h 793"/>
                  <a:gd name="T76" fmla="*/ 395 w 805"/>
                  <a:gd name="T77" fmla="*/ 636 h 793"/>
                  <a:gd name="T78" fmla="*/ 315 w 805"/>
                  <a:gd name="T79" fmla="*/ 672 h 793"/>
                  <a:gd name="T80" fmla="*/ 409 w 805"/>
                  <a:gd name="T81" fmla="*/ 708 h 793"/>
                  <a:gd name="T82" fmla="*/ 409 w 805"/>
                  <a:gd name="T83" fmla="*/ 722 h 793"/>
                  <a:gd name="T84" fmla="*/ 369 w 805"/>
                  <a:gd name="T85" fmla="*/ 757 h 793"/>
                  <a:gd name="T86" fmla="*/ 457 w 805"/>
                  <a:gd name="T87" fmla="*/ 793 h 793"/>
                  <a:gd name="T88" fmla="*/ 471 w 805"/>
                  <a:gd name="T89" fmla="*/ 779 h 793"/>
                  <a:gd name="T90" fmla="*/ 405 w 805"/>
                  <a:gd name="T91" fmla="*/ 765 h 793"/>
                  <a:gd name="T92" fmla="*/ 405 w 805"/>
                  <a:gd name="T93" fmla="*/ 750 h 793"/>
                  <a:gd name="T94" fmla="*/ 443 w 805"/>
                  <a:gd name="T95" fmla="*/ 715 h 793"/>
                  <a:gd name="T96" fmla="*/ 351 w 805"/>
                  <a:gd name="T97" fmla="*/ 680 h 793"/>
                  <a:gd name="T98" fmla="*/ 351 w 805"/>
                  <a:gd name="T99" fmla="*/ 664 h 793"/>
                  <a:gd name="T100" fmla="*/ 429 w 805"/>
                  <a:gd name="T101" fmla="*/ 630 h 793"/>
                  <a:gd name="T102" fmla="*/ 282 w 805"/>
                  <a:gd name="T103" fmla="*/ 595 h 793"/>
                  <a:gd name="T104" fmla="*/ 282 w 805"/>
                  <a:gd name="T105" fmla="*/ 579 h 793"/>
                  <a:gd name="T106" fmla="*/ 598 w 805"/>
                  <a:gd name="T107" fmla="*/ 545 h 793"/>
                  <a:gd name="T108" fmla="*/ 241 w 805"/>
                  <a:gd name="T109" fmla="*/ 510 h 793"/>
                  <a:gd name="T110" fmla="*/ 241 w 805"/>
                  <a:gd name="T111" fmla="*/ 494 h 793"/>
                  <a:gd name="T112" fmla="*/ 674 w 805"/>
                  <a:gd name="T113" fmla="*/ 460 h 793"/>
                  <a:gd name="T114" fmla="*/ 268 w 805"/>
                  <a:gd name="T115" fmla="*/ 425 h 793"/>
                  <a:gd name="T116" fmla="*/ 268 w 805"/>
                  <a:gd name="T117" fmla="*/ 409 h 793"/>
                  <a:gd name="T118" fmla="*/ 799 w 805"/>
                  <a:gd name="T119" fmla="*/ 375 h 7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805" h="793">
                    <a:moveTo>
                      <a:pt x="765" y="340"/>
                    </a:moveTo>
                    <a:cubicBezTo>
                      <a:pt x="244" y="340"/>
                      <a:pt x="244" y="340"/>
                      <a:pt x="244" y="340"/>
                    </a:cubicBezTo>
                    <a:cubicBezTo>
                      <a:pt x="240" y="340"/>
                      <a:pt x="236" y="336"/>
                      <a:pt x="236" y="332"/>
                    </a:cubicBezTo>
                    <a:cubicBezTo>
                      <a:pt x="236" y="328"/>
                      <a:pt x="240" y="324"/>
                      <a:pt x="244" y="324"/>
                    </a:cubicBezTo>
                    <a:cubicBezTo>
                      <a:pt x="771" y="324"/>
                      <a:pt x="771" y="324"/>
                      <a:pt x="771" y="324"/>
                    </a:cubicBezTo>
                    <a:cubicBezTo>
                      <a:pt x="790" y="324"/>
                      <a:pt x="805" y="309"/>
                      <a:pt x="805" y="290"/>
                    </a:cubicBezTo>
                    <a:cubicBezTo>
                      <a:pt x="805" y="274"/>
                      <a:pt x="796" y="261"/>
                      <a:pt x="781" y="256"/>
                    </a:cubicBezTo>
                    <a:cubicBezTo>
                      <a:pt x="778" y="255"/>
                      <a:pt x="778" y="255"/>
                      <a:pt x="778" y="255"/>
                    </a:cubicBezTo>
                    <a:cubicBezTo>
                      <a:pt x="757" y="255"/>
                      <a:pt x="757" y="255"/>
                      <a:pt x="757" y="255"/>
                    </a:cubicBezTo>
                    <a:cubicBezTo>
                      <a:pt x="757" y="255"/>
                      <a:pt x="757" y="255"/>
                      <a:pt x="757" y="255"/>
                    </a:cubicBezTo>
                    <a:cubicBezTo>
                      <a:pt x="234" y="255"/>
                      <a:pt x="234" y="255"/>
                      <a:pt x="234" y="255"/>
                    </a:cubicBezTo>
                    <a:cubicBezTo>
                      <a:pt x="230" y="255"/>
                      <a:pt x="226" y="251"/>
                      <a:pt x="226" y="247"/>
                    </a:cubicBezTo>
                    <a:cubicBezTo>
                      <a:pt x="226" y="243"/>
                      <a:pt x="230" y="239"/>
                      <a:pt x="234" y="239"/>
                    </a:cubicBezTo>
                    <a:cubicBezTo>
                      <a:pt x="542" y="239"/>
                      <a:pt x="542" y="239"/>
                      <a:pt x="542" y="239"/>
                    </a:cubicBezTo>
                    <a:cubicBezTo>
                      <a:pt x="561" y="239"/>
                      <a:pt x="577" y="224"/>
                      <a:pt x="577" y="204"/>
                    </a:cubicBezTo>
                    <a:cubicBezTo>
                      <a:pt x="577" y="185"/>
                      <a:pt x="561" y="170"/>
                      <a:pt x="542" y="170"/>
                    </a:cubicBezTo>
                    <a:cubicBezTo>
                      <a:pt x="36" y="170"/>
                      <a:pt x="36" y="170"/>
                      <a:pt x="36" y="170"/>
                    </a:cubicBezTo>
                    <a:cubicBezTo>
                      <a:pt x="32" y="170"/>
                      <a:pt x="28" y="166"/>
                      <a:pt x="28" y="162"/>
                    </a:cubicBezTo>
                    <a:cubicBezTo>
                      <a:pt x="28" y="158"/>
                      <a:pt x="32" y="154"/>
                      <a:pt x="36" y="154"/>
                    </a:cubicBezTo>
                    <a:cubicBezTo>
                      <a:pt x="512" y="154"/>
                      <a:pt x="512" y="154"/>
                      <a:pt x="512" y="154"/>
                    </a:cubicBezTo>
                    <a:cubicBezTo>
                      <a:pt x="531" y="154"/>
                      <a:pt x="546" y="139"/>
                      <a:pt x="546" y="119"/>
                    </a:cubicBezTo>
                    <a:cubicBezTo>
                      <a:pt x="546" y="100"/>
                      <a:pt x="531" y="85"/>
                      <a:pt x="512" y="85"/>
                    </a:cubicBezTo>
                    <a:cubicBezTo>
                      <a:pt x="90" y="85"/>
                      <a:pt x="90" y="85"/>
                      <a:pt x="90" y="85"/>
                    </a:cubicBezTo>
                    <a:cubicBezTo>
                      <a:pt x="86" y="85"/>
                      <a:pt x="83" y="81"/>
                      <a:pt x="83" y="77"/>
                    </a:cubicBezTo>
                    <a:cubicBezTo>
                      <a:pt x="83" y="73"/>
                      <a:pt x="86" y="69"/>
                      <a:pt x="90" y="69"/>
                    </a:cubicBezTo>
                    <a:cubicBezTo>
                      <a:pt x="352" y="69"/>
                      <a:pt x="352" y="69"/>
                      <a:pt x="352" y="69"/>
                    </a:cubicBezTo>
                    <a:cubicBezTo>
                      <a:pt x="371" y="69"/>
                      <a:pt x="386" y="54"/>
                      <a:pt x="386" y="34"/>
                    </a:cubicBezTo>
                    <a:cubicBezTo>
                      <a:pt x="386" y="15"/>
                      <a:pt x="371" y="0"/>
                      <a:pt x="352" y="0"/>
                    </a:cubicBezTo>
                    <a:cubicBezTo>
                      <a:pt x="69" y="0"/>
                      <a:pt x="69" y="0"/>
                      <a:pt x="69" y="0"/>
                    </a:cubicBezTo>
                    <a:cubicBezTo>
                      <a:pt x="61" y="0"/>
                      <a:pt x="55" y="6"/>
                      <a:pt x="55" y="14"/>
                    </a:cubicBezTo>
                    <a:cubicBezTo>
                      <a:pt x="55" y="21"/>
                      <a:pt x="61" y="28"/>
                      <a:pt x="69" y="28"/>
                    </a:cubicBezTo>
                    <a:cubicBezTo>
                      <a:pt x="352" y="28"/>
                      <a:pt x="352" y="28"/>
                      <a:pt x="352" y="28"/>
                    </a:cubicBezTo>
                    <a:cubicBezTo>
                      <a:pt x="355" y="28"/>
                      <a:pt x="358" y="31"/>
                      <a:pt x="358" y="34"/>
                    </a:cubicBezTo>
                    <a:cubicBezTo>
                      <a:pt x="358" y="38"/>
                      <a:pt x="355" y="41"/>
                      <a:pt x="352" y="41"/>
                    </a:cubicBezTo>
                    <a:cubicBezTo>
                      <a:pt x="90" y="41"/>
                      <a:pt x="90" y="41"/>
                      <a:pt x="90" y="41"/>
                    </a:cubicBezTo>
                    <a:cubicBezTo>
                      <a:pt x="71" y="41"/>
                      <a:pt x="55" y="57"/>
                      <a:pt x="55" y="77"/>
                    </a:cubicBezTo>
                    <a:cubicBezTo>
                      <a:pt x="55" y="97"/>
                      <a:pt x="71" y="113"/>
                      <a:pt x="90" y="113"/>
                    </a:cubicBezTo>
                    <a:cubicBezTo>
                      <a:pt x="512" y="113"/>
                      <a:pt x="512" y="113"/>
                      <a:pt x="512" y="113"/>
                    </a:cubicBezTo>
                    <a:cubicBezTo>
                      <a:pt x="515" y="113"/>
                      <a:pt x="518" y="116"/>
                      <a:pt x="518" y="119"/>
                    </a:cubicBezTo>
                    <a:cubicBezTo>
                      <a:pt x="518" y="123"/>
                      <a:pt x="515" y="126"/>
                      <a:pt x="512" y="126"/>
                    </a:cubicBezTo>
                    <a:cubicBezTo>
                      <a:pt x="36" y="126"/>
                      <a:pt x="36" y="126"/>
                      <a:pt x="36" y="126"/>
                    </a:cubicBezTo>
                    <a:cubicBezTo>
                      <a:pt x="16" y="126"/>
                      <a:pt x="0" y="142"/>
                      <a:pt x="0" y="162"/>
                    </a:cubicBezTo>
                    <a:cubicBezTo>
                      <a:pt x="0" y="182"/>
                      <a:pt x="16" y="198"/>
                      <a:pt x="36" y="198"/>
                    </a:cubicBezTo>
                    <a:cubicBezTo>
                      <a:pt x="542" y="198"/>
                      <a:pt x="542" y="198"/>
                      <a:pt x="542" y="198"/>
                    </a:cubicBezTo>
                    <a:cubicBezTo>
                      <a:pt x="546" y="198"/>
                      <a:pt x="549" y="201"/>
                      <a:pt x="549" y="204"/>
                    </a:cubicBezTo>
                    <a:cubicBezTo>
                      <a:pt x="549" y="208"/>
                      <a:pt x="546" y="211"/>
                      <a:pt x="542" y="211"/>
                    </a:cubicBezTo>
                    <a:cubicBezTo>
                      <a:pt x="234" y="211"/>
                      <a:pt x="234" y="211"/>
                      <a:pt x="234" y="211"/>
                    </a:cubicBezTo>
                    <a:cubicBezTo>
                      <a:pt x="214" y="211"/>
                      <a:pt x="198" y="227"/>
                      <a:pt x="198" y="247"/>
                    </a:cubicBezTo>
                    <a:cubicBezTo>
                      <a:pt x="198" y="267"/>
                      <a:pt x="214" y="283"/>
                      <a:pt x="234" y="283"/>
                    </a:cubicBezTo>
                    <a:cubicBezTo>
                      <a:pt x="729" y="283"/>
                      <a:pt x="729" y="283"/>
                      <a:pt x="729" y="283"/>
                    </a:cubicBezTo>
                    <a:cubicBezTo>
                      <a:pt x="729" y="283"/>
                      <a:pt x="729" y="283"/>
                      <a:pt x="729" y="283"/>
                    </a:cubicBezTo>
                    <a:cubicBezTo>
                      <a:pt x="773" y="283"/>
                      <a:pt x="773" y="283"/>
                      <a:pt x="773" y="283"/>
                    </a:cubicBezTo>
                    <a:cubicBezTo>
                      <a:pt x="776" y="284"/>
                      <a:pt x="777" y="287"/>
                      <a:pt x="777" y="290"/>
                    </a:cubicBezTo>
                    <a:cubicBezTo>
                      <a:pt x="777" y="293"/>
                      <a:pt x="774" y="296"/>
                      <a:pt x="771" y="296"/>
                    </a:cubicBezTo>
                    <a:cubicBezTo>
                      <a:pt x="244" y="296"/>
                      <a:pt x="244" y="296"/>
                      <a:pt x="244" y="296"/>
                    </a:cubicBezTo>
                    <a:cubicBezTo>
                      <a:pt x="224" y="296"/>
                      <a:pt x="208" y="312"/>
                      <a:pt x="208" y="332"/>
                    </a:cubicBezTo>
                    <a:cubicBezTo>
                      <a:pt x="208" y="352"/>
                      <a:pt x="224" y="368"/>
                      <a:pt x="244" y="368"/>
                    </a:cubicBezTo>
                    <a:cubicBezTo>
                      <a:pt x="765" y="368"/>
                      <a:pt x="765" y="368"/>
                      <a:pt x="765" y="368"/>
                    </a:cubicBezTo>
                    <a:cubicBezTo>
                      <a:pt x="768" y="368"/>
                      <a:pt x="771" y="371"/>
                      <a:pt x="771" y="375"/>
                    </a:cubicBezTo>
                    <a:cubicBezTo>
                      <a:pt x="771" y="378"/>
                      <a:pt x="768" y="381"/>
                      <a:pt x="765" y="381"/>
                    </a:cubicBezTo>
                    <a:cubicBezTo>
                      <a:pt x="268" y="381"/>
                      <a:pt x="268" y="381"/>
                      <a:pt x="268" y="381"/>
                    </a:cubicBezTo>
                    <a:cubicBezTo>
                      <a:pt x="248" y="381"/>
                      <a:pt x="232" y="397"/>
                      <a:pt x="232" y="417"/>
                    </a:cubicBezTo>
                    <a:cubicBezTo>
                      <a:pt x="232" y="437"/>
                      <a:pt x="248" y="453"/>
                      <a:pt x="268" y="453"/>
                    </a:cubicBezTo>
                    <a:cubicBezTo>
                      <a:pt x="639" y="453"/>
                      <a:pt x="639" y="453"/>
                      <a:pt x="639" y="453"/>
                    </a:cubicBezTo>
                    <a:cubicBezTo>
                      <a:pt x="643" y="453"/>
                      <a:pt x="646" y="456"/>
                      <a:pt x="646" y="460"/>
                    </a:cubicBezTo>
                    <a:cubicBezTo>
                      <a:pt x="646" y="463"/>
                      <a:pt x="643" y="466"/>
                      <a:pt x="639" y="466"/>
                    </a:cubicBezTo>
                    <a:cubicBezTo>
                      <a:pt x="241" y="466"/>
                      <a:pt x="241" y="466"/>
                      <a:pt x="241" y="466"/>
                    </a:cubicBezTo>
                    <a:cubicBezTo>
                      <a:pt x="222" y="466"/>
                      <a:pt x="206" y="482"/>
                      <a:pt x="206" y="502"/>
                    </a:cubicBezTo>
                    <a:cubicBezTo>
                      <a:pt x="206" y="522"/>
                      <a:pt x="222" y="538"/>
                      <a:pt x="241" y="538"/>
                    </a:cubicBezTo>
                    <a:cubicBezTo>
                      <a:pt x="563" y="538"/>
                      <a:pt x="563" y="538"/>
                      <a:pt x="563" y="538"/>
                    </a:cubicBezTo>
                    <a:cubicBezTo>
                      <a:pt x="567" y="538"/>
                      <a:pt x="570" y="541"/>
                      <a:pt x="570" y="545"/>
                    </a:cubicBezTo>
                    <a:cubicBezTo>
                      <a:pt x="570" y="548"/>
                      <a:pt x="567" y="551"/>
                      <a:pt x="563" y="551"/>
                    </a:cubicBezTo>
                    <a:cubicBezTo>
                      <a:pt x="282" y="551"/>
                      <a:pt x="282" y="551"/>
                      <a:pt x="282" y="551"/>
                    </a:cubicBezTo>
                    <a:cubicBezTo>
                      <a:pt x="263" y="551"/>
                      <a:pt x="247" y="568"/>
                      <a:pt x="247" y="587"/>
                    </a:cubicBezTo>
                    <a:cubicBezTo>
                      <a:pt x="247" y="607"/>
                      <a:pt x="263" y="623"/>
                      <a:pt x="282" y="623"/>
                    </a:cubicBezTo>
                    <a:cubicBezTo>
                      <a:pt x="395" y="623"/>
                      <a:pt x="395" y="623"/>
                      <a:pt x="395" y="623"/>
                    </a:cubicBezTo>
                    <a:cubicBezTo>
                      <a:pt x="398" y="623"/>
                      <a:pt x="401" y="626"/>
                      <a:pt x="401" y="630"/>
                    </a:cubicBezTo>
                    <a:cubicBezTo>
                      <a:pt x="401" y="633"/>
                      <a:pt x="398" y="636"/>
                      <a:pt x="395" y="636"/>
                    </a:cubicBezTo>
                    <a:cubicBezTo>
                      <a:pt x="351" y="636"/>
                      <a:pt x="351" y="636"/>
                      <a:pt x="351" y="636"/>
                    </a:cubicBezTo>
                    <a:cubicBezTo>
                      <a:pt x="331" y="636"/>
                      <a:pt x="315" y="653"/>
                      <a:pt x="315" y="672"/>
                    </a:cubicBezTo>
                    <a:cubicBezTo>
                      <a:pt x="315" y="692"/>
                      <a:pt x="331" y="708"/>
                      <a:pt x="351" y="708"/>
                    </a:cubicBezTo>
                    <a:cubicBezTo>
                      <a:pt x="409" y="708"/>
                      <a:pt x="409" y="708"/>
                      <a:pt x="409" y="708"/>
                    </a:cubicBezTo>
                    <a:cubicBezTo>
                      <a:pt x="412" y="708"/>
                      <a:pt x="415" y="711"/>
                      <a:pt x="415" y="715"/>
                    </a:cubicBezTo>
                    <a:cubicBezTo>
                      <a:pt x="415" y="719"/>
                      <a:pt x="412" y="722"/>
                      <a:pt x="409" y="722"/>
                    </a:cubicBezTo>
                    <a:cubicBezTo>
                      <a:pt x="405" y="722"/>
                      <a:pt x="405" y="722"/>
                      <a:pt x="405" y="722"/>
                    </a:cubicBezTo>
                    <a:cubicBezTo>
                      <a:pt x="385" y="722"/>
                      <a:pt x="369" y="738"/>
                      <a:pt x="369" y="757"/>
                    </a:cubicBezTo>
                    <a:cubicBezTo>
                      <a:pt x="369" y="777"/>
                      <a:pt x="385" y="793"/>
                      <a:pt x="405" y="793"/>
                    </a:cubicBezTo>
                    <a:cubicBezTo>
                      <a:pt x="457" y="793"/>
                      <a:pt x="457" y="793"/>
                      <a:pt x="457" y="793"/>
                    </a:cubicBezTo>
                    <a:cubicBezTo>
                      <a:pt x="457" y="793"/>
                      <a:pt x="457" y="793"/>
                      <a:pt x="457" y="793"/>
                    </a:cubicBezTo>
                    <a:cubicBezTo>
                      <a:pt x="464" y="793"/>
                      <a:pt x="471" y="787"/>
                      <a:pt x="471" y="779"/>
                    </a:cubicBezTo>
                    <a:cubicBezTo>
                      <a:pt x="471" y="771"/>
                      <a:pt x="464" y="765"/>
                      <a:pt x="457" y="765"/>
                    </a:cubicBezTo>
                    <a:cubicBezTo>
                      <a:pt x="405" y="765"/>
                      <a:pt x="405" y="765"/>
                      <a:pt x="405" y="765"/>
                    </a:cubicBezTo>
                    <a:cubicBezTo>
                      <a:pt x="401" y="765"/>
                      <a:pt x="397" y="762"/>
                      <a:pt x="397" y="757"/>
                    </a:cubicBezTo>
                    <a:cubicBezTo>
                      <a:pt x="397" y="753"/>
                      <a:pt x="401" y="750"/>
                      <a:pt x="405" y="750"/>
                    </a:cubicBezTo>
                    <a:cubicBezTo>
                      <a:pt x="409" y="750"/>
                      <a:pt x="409" y="750"/>
                      <a:pt x="409" y="750"/>
                    </a:cubicBezTo>
                    <a:cubicBezTo>
                      <a:pt x="428" y="750"/>
                      <a:pt x="443" y="734"/>
                      <a:pt x="443" y="715"/>
                    </a:cubicBezTo>
                    <a:cubicBezTo>
                      <a:pt x="443" y="696"/>
                      <a:pt x="428" y="680"/>
                      <a:pt x="409" y="680"/>
                    </a:cubicBezTo>
                    <a:cubicBezTo>
                      <a:pt x="351" y="680"/>
                      <a:pt x="351" y="680"/>
                      <a:pt x="351" y="680"/>
                    </a:cubicBezTo>
                    <a:cubicBezTo>
                      <a:pt x="347" y="680"/>
                      <a:pt x="343" y="677"/>
                      <a:pt x="343" y="672"/>
                    </a:cubicBezTo>
                    <a:cubicBezTo>
                      <a:pt x="343" y="668"/>
                      <a:pt x="347" y="664"/>
                      <a:pt x="351" y="664"/>
                    </a:cubicBezTo>
                    <a:cubicBezTo>
                      <a:pt x="395" y="664"/>
                      <a:pt x="395" y="664"/>
                      <a:pt x="395" y="664"/>
                    </a:cubicBezTo>
                    <a:cubicBezTo>
                      <a:pt x="414" y="664"/>
                      <a:pt x="429" y="649"/>
                      <a:pt x="429" y="630"/>
                    </a:cubicBezTo>
                    <a:cubicBezTo>
                      <a:pt x="429" y="611"/>
                      <a:pt x="414" y="595"/>
                      <a:pt x="395" y="595"/>
                    </a:cubicBezTo>
                    <a:cubicBezTo>
                      <a:pt x="282" y="595"/>
                      <a:pt x="282" y="595"/>
                      <a:pt x="282" y="595"/>
                    </a:cubicBezTo>
                    <a:cubicBezTo>
                      <a:pt x="278" y="595"/>
                      <a:pt x="275" y="592"/>
                      <a:pt x="275" y="587"/>
                    </a:cubicBezTo>
                    <a:cubicBezTo>
                      <a:pt x="275" y="583"/>
                      <a:pt x="278" y="579"/>
                      <a:pt x="282" y="579"/>
                    </a:cubicBezTo>
                    <a:cubicBezTo>
                      <a:pt x="563" y="579"/>
                      <a:pt x="563" y="579"/>
                      <a:pt x="563" y="579"/>
                    </a:cubicBezTo>
                    <a:cubicBezTo>
                      <a:pt x="582" y="579"/>
                      <a:pt x="598" y="564"/>
                      <a:pt x="598" y="545"/>
                    </a:cubicBezTo>
                    <a:cubicBezTo>
                      <a:pt x="598" y="526"/>
                      <a:pt x="582" y="510"/>
                      <a:pt x="563" y="510"/>
                    </a:cubicBezTo>
                    <a:cubicBezTo>
                      <a:pt x="241" y="510"/>
                      <a:pt x="241" y="510"/>
                      <a:pt x="241" y="510"/>
                    </a:cubicBezTo>
                    <a:cubicBezTo>
                      <a:pt x="237" y="510"/>
                      <a:pt x="234" y="507"/>
                      <a:pt x="234" y="502"/>
                    </a:cubicBezTo>
                    <a:cubicBezTo>
                      <a:pt x="234" y="498"/>
                      <a:pt x="237" y="494"/>
                      <a:pt x="241" y="494"/>
                    </a:cubicBezTo>
                    <a:cubicBezTo>
                      <a:pt x="639" y="494"/>
                      <a:pt x="639" y="494"/>
                      <a:pt x="639" y="494"/>
                    </a:cubicBezTo>
                    <a:cubicBezTo>
                      <a:pt x="659" y="494"/>
                      <a:pt x="674" y="479"/>
                      <a:pt x="674" y="460"/>
                    </a:cubicBezTo>
                    <a:cubicBezTo>
                      <a:pt x="674" y="441"/>
                      <a:pt x="659" y="425"/>
                      <a:pt x="639" y="425"/>
                    </a:cubicBezTo>
                    <a:cubicBezTo>
                      <a:pt x="268" y="425"/>
                      <a:pt x="268" y="425"/>
                      <a:pt x="268" y="425"/>
                    </a:cubicBezTo>
                    <a:cubicBezTo>
                      <a:pt x="264" y="425"/>
                      <a:pt x="260" y="421"/>
                      <a:pt x="260" y="417"/>
                    </a:cubicBezTo>
                    <a:cubicBezTo>
                      <a:pt x="260" y="413"/>
                      <a:pt x="264" y="409"/>
                      <a:pt x="268" y="409"/>
                    </a:cubicBezTo>
                    <a:cubicBezTo>
                      <a:pt x="765" y="409"/>
                      <a:pt x="765" y="409"/>
                      <a:pt x="765" y="409"/>
                    </a:cubicBezTo>
                    <a:cubicBezTo>
                      <a:pt x="784" y="409"/>
                      <a:pt x="799" y="394"/>
                      <a:pt x="799" y="375"/>
                    </a:cubicBezTo>
                    <a:cubicBezTo>
                      <a:pt x="799" y="355"/>
                      <a:pt x="784" y="340"/>
                      <a:pt x="765" y="34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16" name="Freeform 361"/>
              <p:cNvSpPr>
                <a:spLocks/>
              </p:cNvSpPr>
              <p:nvPr/>
            </p:nvSpPr>
            <p:spPr bwMode="auto">
              <a:xfrm>
                <a:off x="4673600" y="4467225"/>
                <a:ext cx="376238" cy="239713"/>
              </a:xfrm>
              <a:custGeom>
                <a:avLst/>
                <a:gdLst>
                  <a:gd name="T0" fmla="*/ 36 w 514"/>
                  <a:gd name="T1" fmla="*/ 71 h 327"/>
                  <a:gd name="T2" fmla="*/ 259 w 514"/>
                  <a:gd name="T3" fmla="*/ 71 h 327"/>
                  <a:gd name="T4" fmla="*/ 265 w 514"/>
                  <a:gd name="T5" fmla="*/ 78 h 327"/>
                  <a:gd name="T6" fmla="*/ 259 w 514"/>
                  <a:gd name="T7" fmla="*/ 85 h 327"/>
                  <a:gd name="T8" fmla="*/ 95 w 514"/>
                  <a:gd name="T9" fmla="*/ 85 h 327"/>
                  <a:gd name="T10" fmla="*/ 59 w 514"/>
                  <a:gd name="T11" fmla="*/ 121 h 327"/>
                  <a:gd name="T12" fmla="*/ 95 w 514"/>
                  <a:gd name="T13" fmla="*/ 156 h 327"/>
                  <a:gd name="T14" fmla="*/ 368 w 514"/>
                  <a:gd name="T15" fmla="*/ 156 h 327"/>
                  <a:gd name="T16" fmla="*/ 375 w 514"/>
                  <a:gd name="T17" fmla="*/ 163 h 327"/>
                  <a:gd name="T18" fmla="*/ 368 w 514"/>
                  <a:gd name="T19" fmla="*/ 170 h 327"/>
                  <a:gd name="T20" fmla="*/ 40 w 514"/>
                  <a:gd name="T21" fmla="*/ 170 h 327"/>
                  <a:gd name="T22" fmla="*/ 5 w 514"/>
                  <a:gd name="T23" fmla="*/ 206 h 327"/>
                  <a:gd name="T24" fmla="*/ 40 w 514"/>
                  <a:gd name="T25" fmla="*/ 242 h 327"/>
                  <a:gd name="T26" fmla="*/ 412 w 514"/>
                  <a:gd name="T27" fmla="*/ 242 h 327"/>
                  <a:gd name="T28" fmla="*/ 418 w 514"/>
                  <a:gd name="T29" fmla="*/ 248 h 327"/>
                  <a:gd name="T30" fmla="*/ 412 w 514"/>
                  <a:gd name="T31" fmla="*/ 255 h 327"/>
                  <a:gd name="T32" fmla="*/ 94 w 514"/>
                  <a:gd name="T33" fmla="*/ 255 h 327"/>
                  <a:gd name="T34" fmla="*/ 58 w 514"/>
                  <a:gd name="T35" fmla="*/ 291 h 327"/>
                  <a:gd name="T36" fmla="*/ 94 w 514"/>
                  <a:gd name="T37" fmla="*/ 327 h 327"/>
                  <a:gd name="T38" fmla="*/ 500 w 514"/>
                  <a:gd name="T39" fmla="*/ 327 h 327"/>
                  <a:gd name="T40" fmla="*/ 500 w 514"/>
                  <a:gd name="T41" fmla="*/ 327 h 327"/>
                  <a:gd name="T42" fmla="*/ 500 w 514"/>
                  <a:gd name="T43" fmla="*/ 327 h 327"/>
                  <a:gd name="T44" fmla="*/ 514 w 514"/>
                  <a:gd name="T45" fmla="*/ 313 h 327"/>
                  <a:gd name="T46" fmla="*/ 500 w 514"/>
                  <a:gd name="T47" fmla="*/ 299 h 327"/>
                  <a:gd name="T48" fmla="*/ 500 w 514"/>
                  <a:gd name="T49" fmla="*/ 299 h 327"/>
                  <a:gd name="T50" fmla="*/ 94 w 514"/>
                  <a:gd name="T51" fmla="*/ 299 h 327"/>
                  <a:gd name="T52" fmla="*/ 86 w 514"/>
                  <a:gd name="T53" fmla="*/ 291 h 327"/>
                  <a:gd name="T54" fmla="*/ 94 w 514"/>
                  <a:gd name="T55" fmla="*/ 283 h 327"/>
                  <a:gd name="T56" fmla="*/ 412 w 514"/>
                  <a:gd name="T57" fmla="*/ 283 h 327"/>
                  <a:gd name="T58" fmla="*/ 446 w 514"/>
                  <a:gd name="T59" fmla="*/ 248 h 327"/>
                  <a:gd name="T60" fmla="*/ 412 w 514"/>
                  <a:gd name="T61" fmla="*/ 214 h 327"/>
                  <a:gd name="T62" fmla="*/ 40 w 514"/>
                  <a:gd name="T63" fmla="*/ 214 h 327"/>
                  <a:gd name="T64" fmla="*/ 33 w 514"/>
                  <a:gd name="T65" fmla="*/ 206 h 327"/>
                  <a:gd name="T66" fmla="*/ 40 w 514"/>
                  <a:gd name="T67" fmla="*/ 198 h 327"/>
                  <a:gd name="T68" fmla="*/ 368 w 514"/>
                  <a:gd name="T69" fmla="*/ 198 h 327"/>
                  <a:gd name="T70" fmla="*/ 403 w 514"/>
                  <a:gd name="T71" fmla="*/ 163 h 327"/>
                  <a:gd name="T72" fmla="*/ 368 w 514"/>
                  <a:gd name="T73" fmla="*/ 128 h 327"/>
                  <a:gd name="T74" fmla="*/ 95 w 514"/>
                  <a:gd name="T75" fmla="*/ 128 h 327"/>
                  <a:gd name="T76" fmla="*/ 87 w 514"/>
                  <a:gd name="T77" fmla="*/ 121 h 327"/>
                  <a:gd name="T78" fmla="*/ 95 w 514"/>
                  <a:gd name="T79" fmla="*/ 113 h 327"/>
                  <a:gd name="T80" fmla="*/ 259 w 514"/>
                  <a:gd name="T81" fmla="*/ 113 h 327"/>
                  <a:gd name="T82" fmla="*/ 293 w 514"/>
                  <a:gd name="T83" fmla="*/ 78 h 327"/>
                  <a:gd name="T84" fmla="*/ 259 w 514"/>
                  <a:gd name="T85" fmla="*/ 43 h 327"/>
                  <a:gd name="T86" fmla="*/ 36 w 514"/>
                  <a:gd name="T87" fmla="*/ 43 h 327"/>
                  <a:gd name="T88" fmla="*/ 28 w 514"/>
                  <a:gd name="T89" fmla="*/ 36 h 327"/>
                  <a:gd name="T90" fmla="*/ 36 w 514"/>
                  <a:gd name="T91" fmla="*/ 28 h 327"/>
                  <a:gd name="T92" fmla="*/ 36 w 514"/>
                  <a:gd name="T93" fmla="*/ 28 h 327"/>
                  <a:gd name="T94" fmla="*/ 50 w 514"/>
                  <a:gd name="T95" fmla="*/ 14 h 327"/>
                  <a:gd name="T96" fmla="*/ 36 w 514"/>
                  <a:gd name="T97" fmla="*/ 0 h 327"/>
                  <a:gd name="T98" fmla="*/ 0 w 514"/>
                  <a:gd name="T99" fmla="*/ 36 h 327"/>
                  <a:gd name="T100" fmla="*/ 36 w 514"/>
                  <a:gd name="T101" fmla="*/ 71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14" h="327">
                    <a:moveTo>
                      <a:pt x="36" y="71"/>
                    </a:moveTo>
                    <a:cubicBezTo>
                      <a:pt x="259" y="71"/>
                      <a:pt x="259" y="71"/>
                      <a:pt x="259" y="71"/>
                    </a:cubicBezTo>
                    <a:cubicBezTo>
                      <a:pt x="262" y="71"/>
                      <a:pt x="265" y="74"/>
                      <a:pt x="265" y="78"/>
                    </a:cubicBezTo>
                    <a:cubicBezTo>
                      <a:pt x="265" y="82"/>
                      <a:pt x="262" y="85"/>
                      <a:pt x="259" y="85"/>
                    </a:cubicBezTo>
                    <a:cubicBezTo>
                      <a:pt x="95" y="85"/>
                      <a:pt x="95" y="85"/>
                      <a:pt x="95" y="85"/>
                    </a:cubicBezTo>
                    <a:cubicBezTo>
                      <a:pt x="75" y="85"/>
                      <a:pt x="59" y="101"/>
                      <a:pt x="59" y="121"/>
                    </a:cubicBezTo>
                    <a:cubicBezTo>
                      <a:pt x="59" y="140"/>
                      <a:pt x="75" y="156"/>
                      <a:pt x="95" y="156"/>
                    </a:cubicBezTo>
                    <a:cubicBezTo>
                      <a:pt x="368" y="156"/>
                      <a:pt x="368" y="156"/>
                      <a:pt x="368" y="156"/>
                    </a:cubicBezTo>
                    <a:cubicBezTo>
                      <a:pt x="372" y="156"/>
                      <a:pt x="375" y="159"/>
                      <a:pt x="375" y="163"/>
                    </a:cubicBezTo>
                    <a:cubicBezTo>
                      <a:pt x="375" y="167"/>
                      <a:pt x="372" y="170"/>
                      <a:pt x="368" y="170"/>
                    </a:cubicBezTo>
                    <a:cubicBezTo>
                      <a:pt x="40" y="170"/>
                      <a:pt x="40" y="170"/>
                      <a:pt x="40" y="170"/>
                    </a:cubicBezTo>
                    <a:cubicBezTo>
                      <a:pt x="21" y="170"/>
                      <a:pt x="5" y="186"/>
                      <a:pt x="5" y="206"/>
                    </a:cubicBezTo>
                    <a:cubicBezTo>
                      <a:pt x="5" y="225"/>
                      <a:pt x="21" y="242"/>
                      <a:pt x="40" y="242"/>
                    </a:cubicBezTo>
                    <a:cubicBezTo>
                      <a:pt x="412" y="242"/>
                      <a:pt x="412" y="242"/>
                      <a:pt x="412" y="242"/>
                    </a:cubicBezTo>
                    <a:cubicBezTo>
                      <a:pt x="415" y="242"/>
                      <a:pt x="418" y="245"/>
                      <a:pt x="418" y="248"/>
                    </a:cubicBezTo>
                    <a:cubicBezTo>
                      <a:pt x="418" y="252"/>
                      <a:pt x="415" y="255"/>
                      <a:pt x="412" y="255"/>
                    </a:cubicBezTo>
                    <a:cubicBezTo>
                      <a:pt x="94" y="255"/>
                      <a:pt x="94" y="255"/>
                      <a:pt x="94" y="255"/>
                    </a:cubicBezTo>
                    <a:cubicBezTo>
                      <a:pt x="74" y="255"/>
                      <a:pt x="58" y="271"/>
                      <a:pt x="58" y="291"/>
                    </a:cubicBezTo>
                    <a:cubicBezTo>
                      <a:pt x="58" y="311"/>
                      <a:pt x="74" y="327"/>
                      <a:pt x="94" y="327"/>
                    </a:cubicBezTo>
                    <a:cubicBezTo>
                      <a:pt x="500" y="327"/>
                      <a:pt x="500" y="327"/>
                      <a:pt x="500" y="327"/>
                    </a:cubicBezTo>
                    <a:cubicBezTo>
                      <a:pt x="500" y="327"/>
                      <a:pt x="500" y="327"/>
                      <a:pt x="500" y="327"/>
                    </a:cubicBezTo>
                    <a:cubicBezTo>
                      <a:pt x="500" y="327"/>
                      <a:pt x="500" y="327"/>
                      <a:pt x="500" y="327"/>
                    </a:cubicBezTo>
                    <a:cubicBezTo>
                      <a:pt x="508" y="327"/>
                      <a:pt x="514" y="320"/>
                      <a:pt x="514" y="313"/>
                    </a:cubicBezTo>
                    <a:cubicBezTo>
                      <a:pt x="514" y="305"/>
                      <a:pt x="508" y="299"/>
                      <a:pt x="500" y="299"/>
                    </a:cubicBezTo>
                    <a:cubicBezTo>
                      <a:pt x="500" y="299"/>
                      <a:pt x="500" y="299"/>
                      <a:pt x="500" y="299"/>
                    </a:cubicBezTo>
                    <a:cubicBezTo>
                      <a:pt x="94" y="299"/>
                      <a:pt x="94" y="299"/>
                      <a:pt x="94" y="299"/>
                    </a:cubicBezTo>
                    <a:cubicBezTo>
                      <a:pt x="89" y="299"/>
                      <a:pt x="86" y="295"/>
                      <a:pt x="86" y="291"/>
                    </a:cubicBezTo>
                    <a:cubicBezTo>
                      <a:pt x="86" y="286"/>
                      <a:pt x="89" y="283"/>
                      <a:pt x="94" y="283"/>
                    </a:cubicBezTo>
                    <a:cubicBezTo>
                      <a:pt x="412" y="283"/>
                      <a:pt x="412" y="283"/>
                      <a:pt x="412" y="283"/>
                    </a:cubicBezTo>
                    <a:cubicBezTo>
                      <a:pt x="431" y="283"/>
                      <a:pt x="446" y="267"/>
                      <a:pt x="446" y="248"/>
                    </a:cubicBezTo>
                    <a:cubicBezTo>
                      <a:pt x="446" y="229"/>
                      <a:pt x="431" y="214"/>
                      <a:pt x="412" y="214"/>
                    </a:cubicBezTo>
                    <a:cubicBezTo>
                      <a:pt x="40" y="214"/>
                      <a:pt x="40" y="214"/>
                      <a:pt x="40" y="214"/>
                    </a:cubicBezTo>
                    <a:cubicBezTo>
                      <a:pt x="36" y="214"/>
                      <a:pt x="33" y="210"/>
                      <a:pt x="33" y="206"/>
                    </a:cubicBezTo>
                    <a:cubicBezTo>
                      <a:pt x="33" y="201"/>
                      <a:pt x="36" y="198"/>
                      <a:pt x="40" y="198"/>
                    </a:cubicBezTo>
                    <a:cubicBezTo>
                      <a:pt x="368" y="198"/>
                      <a:pt x="368" y="198"/>
                      <a:pt x="368" y="198"/>
                    </a:cubicBezTo>
                    <a:cubicBezTo>
                      <a:pt x="387" y="198"/>
                      <a:pt x="403" y="182"/>
                      <a:pt x="403" y="163"/>
                    </a:cubicBezTo>
                    <a:cubicBezTo>
                      <a:pt x="403" y="144"/>
                      <a:pt x="387" y="128"/>
                      <a:pt x="368" y="128"/>
                    </a:cubicBezTo>
                    <a:cubicBezTo>
                      <a:pt x="95" y="128"/>
                      <a:pt x="95" y="128"/>
                      <a:pt x="95" y="128"/>
                    </a:cubicBezTo>
                    <a:cubicBezTo>
                      <a:pt x="91" y="128"/>
                      <a:pt x="87" y="125"/>
                      <a:pt x="87" y="121"/>
                    </a:cubicBezTo>
                    <a:cubicBezTo>
                      <a:pt x="87" y="116"/>
                      <a:pt x="91" y="113"/>
                      <a:pt x="95" y="113"/>
                    </a:cubicBezTo>
                    <a:cubicBezTo>
                      <a:pt x="259" y="113"/>
                      <a:pt x="259" y="113"/>
                      <a:pt x="259" y="113"/>
                    </a:cubicBezTo>
                    <a:cubicBezTo>
                      <a:pt x="278" y="113"/>
                      <a:pt x="293" y="97"/>
                      <a:pt x="293" y="78"/>
                    </a:cubicBezTo>
                    <a:cubicBezTo>
                      <a:pt x="293" y="59"/>
                      <a:pt x="278" y="43"/>
                      <a:pt x="259" y="43"/>
                    </a:cubicBezTo>
                    <a:cubicBezTo>
                      <a:pt x="36" y="43"/>
                      <a:pt x="36" y="43"/>
                      <a:pt x="36" y="43"/>
                    </a:cubicBezTo>
                    <a:cubicBezTo>
                      <a:pt x="32" y="43"/>
                      <a:pt x="28" y="40"/>
                      <a:pt x="28" y="36"/>
                    </a:cubicBezTo>
                    <a:cubicBezTo>
                      <a:pt x="28" y="31"/>
                      <a:pt x="32" y="28"/>
                      <a:pt x="36" y="28"/>
                    </a:cubicBezTo>
                    <a:cubicBezTo>
                      <a:pt x="36" y="28"/>
                      <a:pt x="36" y="28"/>
                      <a:pt x="36" y="28"/>
                    </a:cubicBezTo>
                    <a:cubicBezTo>
                      <a:pt x="44" y="28"/>
                      <a:pt x="50" y="22"/>
                      <a:pt x="50" y="14"/>
                    </a:cubicBezTo>
                    <a:cubicBezTo>
                      <a:pt x="50" y="6"/>
                      <a:pt x="44" y="0"/>
                      <a:pt x="36" y="0"/>
                    </a:cubicBezTo>
                    <a:cubicBezTo>
                      <a:pt x="16" y="0"/>
                      <a:pt x="0" y="16"/>
                      <a:pt x="0" y="36"/>
                    </a:cubicBezTo>
                    <a:cubicBezTo>
                      <a:pt x="0" y="55"/>
                      <a:pt x="16" y="71"/>
                      <a:pt x="36" y="7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grpSp>
        <p:nvGrpSpPr>
          <p:cNvPr id="894" name="Group 893"/>
          <p:cNvGrpSpPr/>
          <p:nvPr/>
        </p:nvGrpSpPr>
        <p:grpSpPr>
          <a:xfrm>
            <a:off x="1" y="3207228"/>
            <a:ext cx="11757022" cy="548640"/>
            <a:chOff x="1" y="2982191"/>
            <a:chExt cx="11757022" cy="548640"/>
          </a:xfrm>
        </p:grpSpPr>
        <p:sp>
          <p:nvSpPr>
            <p:cNvPr id="8" name="Rectangle 7"/>
            <p:cNvSpPr/>
            <p:nvPr/>
          </p:nvSpPr>
          <p:spPr bwMode="auto">
            <a:xfrm>
              <a:off x="1" y="2982191"/>
              <a:ext cx="3248024" cy="54864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48640" tIns="45720" rIns="91440" bIns="45720" numCol="1" spcCol="0" rtlCol="0" fromWordArt="0" anchor="ctr" anchorCtr="0" forceAA="0" compatLnSpc="1">
              <a:prstTxWarp prst="textNoShape">
                <a:avLst/>
              </a:prstTxWarp>
              <a:noAutofit/>
            </a:bodyPr>
            <a:lstStyle/>
            <a:p>
              <a:pPr defTabSz="932472" fontAlgn="base"/>
              <a:r>
                <a:rPr lang="en-US" sz="1600" dirty="0">
                  <a:solidFill>
                    <a:schemeClr val="bg1"/>
                  </a:solidFill>
                  <a:latin typeface="Segoe UI Semibold" panose="020B0702040204020203" pitchFamily="34" charset="0"/>
                  <a:ea typeface="Segoe UI" pitchFamily="34" charset="0"/>
                  <a:cs typeface="Segoe UI Semibold" panose="020B0702040204020203" pitchFamily="34" charset="0"/>
                </a:rPr>
                <a:t>	Throughput</a:t>
              </a:r>
            </a:p>
          </p:txBody>
        </p:sp>
        <p:sp>
          <p:nvSpPr>
            <p:cNvPr id="18" name="Rectangle 17"/>
            <p:cNvSpPr/>
            <p:nvPr/>
          </p:nvSpPr>
          <p:spPr>
            <a:xfrm>
              <a:off x="3248024" y="2982191"/>
              <a:ext cx="8508999" cy="548640"/>
            </a:xfrm>
            <a:prstGeom prst="rect">
              <a:avLst/>
            </a:prstGeom>
            <a:solidFill>
              <a:schemeClr val="bg1">
                <a:lumMod val="95000"/>
              </a:schemeClr>
            </a:solidFill>
          </p:spPr>
          <p:txBody>
            <a:bodyPr wrap="square" lIns="91440" anchor="ctr">
              <a:noAutofit/>
            </a:bodyPr>
            <a:lstStyle/>
            <a:p>
              <a:pPr marL="53965" lvl="1" defTabSz="931954" fontAlgn="base">
                <a:buClr>
                  <a:srgbClr val="68217A">
                    <a:lumMod val="50000"/>
                  </a:srgbClr>
                </a:buClr>
                <a:tabLst>
                  <a:tab pos="658368" algn="l"/>
                </a:tabLst>
              </a:pPr>
              <a:r>
                <a:rPr lang="en-IN" sz="1400" dirty="0">
                  <a:ea typeface="Segoe UI" pitchFamily="34" charset="0"/>
                  <a:cs typeface="Segoe UI" pitchFamily="34" charset="0"/>
                </a:rPr>
                <a:t>Must have high throughput for </a:t>
              </a:r>
              <a:r>
                <a:rPr lang="en-US" sz="1400" dirty="0">
                  <a:ea typeface="Segoe UI" pitchFamily="34" charset="0"/>
                  <a:cs typeface="Segoe UI" pitchFamily="34" charset="0"/>
                </a:rPr>
                <a:t>massively parallel processing via frameworks such as Hadoop and Spark</a:t>
              </a:r>
              <a:endParaRPr lang="en-IN" sz="1400" dirty="0">
                <a:ea typeface="Segoe UI" pitchFamily="34" charset="0"/>
                <a:cs typeface="Segoe UI" pitchFamily="34" charset="0"/>
              </a:endParaRPr>
            </a:p>
          </p:txBody>
        </p:sp>
        <p:grpSp>
          <p:nvGrpSpPr>
            <p:cNvPr id="517" name="Group 516"/>
            <p:cNvGrpSpPr/>
            <p:nvPr/>
          </p:nvGrpSpPr>
          <p:grpSpPr>
            <a:xfrm>
              <a:off x="491201" y="3023254"/>
              <a:ext cx="792162" cy="466515"/>
              <a:chOff x="5627688" y="2768600"/>
              <a:chExt cx="3579812" cy="2108200"/>
            </a:xfrm>
          </p:grpSpPr>
          <p:sp>
            <p:nvSpPr>
              <p:cNvPr id="518" name="Freeform 367"/>
              <p:cNvSpPr>
                <a:spLocks noEditPoints="1"/>
              </p:cNvSpPr>
              <p:nvPr/>
            </p:nvSpPr>
            <p:spPr bwMode="auto">
              <a:xfrm>
                <a:off x="5627688" y="4702175"/>
                <a:ext cx="3317875" cy="174625"/>
              </a:xfrm>
              <a:custGeom>
                <a:avLst/>
                <a:gdLst>
                  <a:gd name="T0" fmla="*/ 1733 w 1987"/>
                  <a:gd name="T1" fmla="*/ 0 h 105"/>
                  <a:gd name="T2" fmla="*/ 1719 w 1987"/>
                  <a:gd name="T3" fmla="*/ 0 h 105"/>
                  <a:gd name="T4" fmla="*/ 1719 w 1987"/>
                  <a:gd name="T5" fmla="*/ 14 h 105"/>
                  <a:gd name="T6" fmla="*/ 1733 w 1987"/>
                  <a:gd name="T7" fmla="*/ 0 h 105"/>
                  <a:gd name="T8" fmla="*/ 1836 w 1987"/>
                  <a:gd name="T9" fmla="*/ 0 h 105"/>
                  <a:gd name="T10" fmla="*/ 1813 w 1987"/>
                  <a:gd name="T11" fmla="*/ 0 h 105"/>
                  <a:gd name="T12" fmla="*/ 1813 w 1987"/>
                  <a:gd name="T13" fmla="*/ 23 h 105"/>
                  <a:gd name="T14" fmla="*/ 1836 w 1987"/>
                  <a:gd name="T15" fmla="*/ 0 h 105"/>
                  <a:gd name="T16" fmla="*/ 1935 w 1987"/>
                  <a:gd name="T17" fmla="*/ 0 h 105"/>
                  <a:gd name="T18" fmla="*/ 1917 w 1987"/>
                  <a:gd name="T19" fmla="*/ 0 h 105"/>
                  <a:gd name="T20" fmla="*/ 1917 w 1987"/>
                  <a:gd name="T21" fmla="*/ 53 h 105"/>
                  <a:gd name="T22" fmla="*/ 1813 w 1987"/>
                  <a:gd name="T23" fmla="*/ 53 h 105"/>
                  <a:gd name="T24" fmla="*/ 1719 w 1987"/>
                  <a:gd name="T25" fmla="*/ 53 h 105"/>
                  <a:gd name="T26" fmla="*/ 1672 w 1987"/>
                  <a:gd name="T27" fmla="*/ 53 h 105"/>
                  <a:gd name="T28" fmla="*/ 1672 w 1987"/>
                  <a:gd name="T29" fmla="*/ 0 h 105"/>
                  <a:gd name="T30" fmla="*/ 1456 w 1987"/>
                  <a:gd name="T31" fmla="*/ 0 h 105"/>
                  <a:gd name="T32" fmla="*/ 1456 w 1987"/>
                  <a:gd name="T33" fmla="*/ 53 h 105"/>
                  <a:gd name="T34" fmla="*/ 1409 w 1987"/>
                  <a:gd name="T35" fmla="*/ 53 h 105"/>
                  <a:gd name="T36" fmla="*/ 1409 w 1987"/>
                  <a:gd name="T37" fmla="*/ 0 h 105"/>
                  <a:gd name="T38" fmla="*/ 1258 w 1987"/>
                  <a:gd name="T39" fmla="*/ 0 h 105"/>
                  <a:gd name="T40" fmla="*/ 1258 w 1987"/>
                  <a:gd name="T41" fmla="*/ 53 h 105"/>
                  <a:gd name="T42" fmla="*/ 463 w 1987"/>
                  <a:gd name="T43" fmla="*/ 53 h 105"/>
                  <a:gd name="T44" fmla="*/ 463 w 1987"/>
                  <a:gd name="T45" fmla="*/ 0 h 105"/>
                  <a:gd name="T46" fmla="*/ 423 w 1987"/>
                  <a:gd name="T47" fmla="*/ 0 h 105"/>
                  <a:gd name="T48" fmla="*/ 423 w 1987"/>
                  <a:gd name="T49" fmla="*/ 53 h 105"/>
                  <a:gd name="T50" fmla="*/ 375 w 1987"/>
                  <a:gd name="T51" fmla="*/ 53 h 105"/>
                  <a:gd name="T52" fmla="*/ 375 w 1987"/>
                  <a:gd name="T53" fmla="*/ 0 h 105"/>
                  <a:gd name="T54" fmla="*/ 149 w 1987"/>
                  <a:gd name="T55" fmla="*/ 0 h 105"/>
                  <a:gd name="T56" fmla="*/ 149 w 1987"/>
                  <a:gd name="T57" fmla="*/ 53 h 105"/>
                  <a:gd name="T58" fmla="*/ 102 w 1987"/>
                  <a:gd name="T59" fmla="*/ 53 h 105"/>
                  <a:gd name="T60" fmla="*/ 102 w 1987"/>
                  <a:gd name="T61" fmla="*/ 0 h 105"/>
                  <a:gd name="T62" fmla="*/ 52 w 1987"/>
                  <a:gd name="T63" fmla="*/ 0 h 105"/>
                  <a:gd name="T64" fmla="*/ 0 w 1987"/>
                  <a:gd name="T65" fmla="*/ 53 h 105"/>
                  <a:gd name="T66" fmla="*/ 52 w 1987"/>
                  <a:gd name="T67" fmla="*/ 105 h 105"/>
                  <a:gd name="T68" fmla="*/ 1935 w 1987"/>
                  <a:gd name="T69" fmla="*/ 105 h 105"/>
                  <a:gd name="T70" fmla="*/ 1987 w 1987"/>
                  <a:gd name="T71" fmla="*/ 53 h 105"/>
                  <a:gd name="T72" fmla="*/ 1935 w 1987"/>
                  <a:gd name="T73" fmla="*/ 0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987" h="105">
                    <a:moveTo>
                      <a:pt x="1733" y="0"/>
                    </a:moveTo>
                    <a:cubicBezTo>
                      <a:pt x="1719" y="0"/>
                      <a:pt x="1719" y="0"/>
                      <a:pt x="1719" y="0"/>
                    </a:cubicBezTo>
                    <a:cubicBezTo>
                      <a:pt x="1719" y="14"/>
                      <a:pt x="1719" y="14"/>
                      <a:pt x="1719" y="14"/>
                    </a:cubicBezTo>
                    <a:cubicBezTo>
                      <a:pt x="1733" y="0"/>
                      <a:pt x="1733" y="0"/>
                      <a:pt x="1733" y="0"/>
                    </a:cubicBezTo>
                    <a:moveTo>
                      <a:pt x="1836" y="0"/>
                    </a:moveTo>
                    <a:cubicBezTo>
                      <a:pt x="1813" y="0"/>
                      <a:pt x="1813" y="0"/>
                      <a:pt x="1813" y="0"/>
                    </a:cubicBezTo>
                    <a:cubicBezTo>
                      <a:pt x="1813" y="23"/>
                      <a:pt x="1813" y="23"/>
                      <a:pt x="1813" y="23"/>
                    </a:cubicBezTo>
                    <a:cubicBezTo>
                      <a:pt x="1836" y="0"/>
                      <a:pt x="1836" y="0"/>
                      <a:pt x="1836" y="0"/>
                    </a:cubicBezTo>
                    <a:moveTo>
                      <a:pt x="1935" y="0"/>
                    </a:moveTo>
                    <a:cubicBezTo>
                      <a:pt x="1917" y="0"/>
                      <a:pt x="1917" y="0"/>
                      <a:pt x="1917" y="0"/>
                    </a:cubicBezTo>
                    <a:cubicBezTo>
                      <a:pt x="1917" y="53"/>
                      <a:pt x="1917" y="53"/>
                      <a:pt x="1917" y="53"/>
                    </a:cubicBezTo>
                    <a:cubicBezTo>
                      <a:pt x="1813" y="53"/>
                      <a:pt x="1813" y="53"/>
                      <a:pt x="1813" y="53"/>
                    </a:cubicBezTo>
                    <a:cubicBezTo>
                      <a:pt x="1719" y="53"/>
                      <a:pt x="1719" y="53"/>
                      <a:pt x="1719" y="53"/>
                    </a:cubicBezTo>
                    <a:cubicBezTo>
                      <a:pt x="1672" y="53"/>
                      <a:pt x="1672" y="53"/>
                      <a:pt x="1672" y="53"/>
                    </a:cubicBezTo>
                    <a:cubicBezTo>
                      <a:pt x="1672" y="0"/>
                      <a:pt x="1672" y="0"/>
                      <a:pt x="1672" y="0"/>
                    </a:cubicBezTo>
                    <a:cubicBezTo>
                      <a:pt x="1456" y="0"/>
                      <a:pt x="1456" y="0"/>
                      <a:pt x="1456" y="0"/>
                    </a:cubicBezTo>
                    <a:cubicBezTo>
                      <a:pt x="1456" y="53"/>
                      <a:pt x="1456" y="53"/>
                      <a:pt x="1456" y="53"/>
                    </a:cubicBezTo>
                    <a:cubicBezTo>
                      <a:pt x="1409" y="53"/>
                      <a:pt x="1409" y="53"/>
                      <a:pt x="1409" y="53"/>
                    </a:cubicBezTo>
                    <a:cubicBezTo>
                      <a:pt x="1409" y="0"/>
                      <a:pt x="1409" y="0"/>
                      <a:pt x="1409" y="0"/>
                    </a:cubicBezTo>
                    <a:cubicBezTo>
                      <a:pt x="1258" y="0"/>
                      <a:pt x="1258" y="0"/>
                      <a:pt x="1258" y="0"/>
                    </a:cubicBezTo>
                    <a:cubicBezTo>
                      <a:pt x="1258" y="53"/>
                      <a:pt x="1258" y="53"/>
                      <a:pt x="1258" y="53"/>
                    </a:cubicBezTo>
                    <a:cubicBezTo>
                      <a:pt x="463" y="53"/>
                      <a:pt x="463" y="53"/>
                      <a:pt x="463" y="53"/>
                    </a:cubicBezTo>
                    <a:cubicBezTo>
                      <a:pt x="463" y="0"/>
                      <a:pt x="463" y="0"/>
                      <a:pt x="463" y="0"/>
                    </a:cubicBezTo>
                    <a:cubicBezTo>
                      <a:pt x="423" y="0"/>
                      <a:pt x="423" y="0"/>
                      <a:pt x="423" y="0"/>
                    </a:cubicBezTo>
                    <a:cubicBezTo>
                      <a:pt x="423" y="53"/>
                      <a:pt x="423" y="53"/>
                      <a:pt x="423" y="53"/>
                    </a:cubicBezTo>
                    <a:cubicBezTo>
                      <a:pt x="375" y="53"/>
                      <a:pt x="375" y="53"/>
                      <a:pt x="375" y="53"/>
                    </a:cubicBezTo>
                    <a:cubicBezTo>
                      <a:pt x="375" y="0"/>
                      <a:pt x="375" y="0"/>
                      <a:pt x="375" y="0"/>
                    </a:cubicBezTo>
                    <a:cubicBezTo>
                      <a:pt x="149" y="0"/>
                      <a:pt x="149" y="0"/>
                      <a:pt x="149" y="0"/>
                    </a:cubicBezTo>
                    <a:cubicBezTo>
                      <a:pt x="149" y="53"/>
                      <a:pt x="149" y="53"/>
                      <a:pt x="149" y="53"/>
                    </a:cubicBezTo>
                    <a:cubicBezTo>
                      <a:pt x="102" y="53"/>
                      <a:pt x="102" y="53"/>
                      <a:pt x="102" y="53"/>
                    </a:cubicBezTo>
                    <a:cubicBezTo>
                      <a:pt x="102" y="0"/>
                      <a:pt x="102" y="0"/>
                      <a:pt x="102" y="0"/>
                    </a:cubicBezTo>
                    <a:cubicBezTo>
                      <a:pt x="52" y="0"/>
                      <a:pt x="52" y="0"/>
                      <a:pt x="52" y="0"/>
                    </a:cubicBezTo>
                    <a:cubicBezTo>
                      <a:pt x="23" y="0"/>
                      <a:pt x="0" y="24"/>
                      <a:pt x="0" y="53"/>
                    </a:cubicBezTo>
                    <a:cubicBezTo>
                      <a:pt x="0" y="81"/>
                      <a:pt x="23" y="105"/>
                      <a:pt x="52" y="105"/>
                    </a:cubicBezTo>
                    <a:cubicBezTo>
                      <a:pt x="1935" y="105"/>
                      <a:pt x="1935" y="105"/>
                      <a:pt x="1935" y="105"/>
                    </a:cubicBezTo>
                    <a:cubicBezTo>
                      <a:pt x="1964" y="105"/>
                      <a:pt x="1987" y="81"/>
                      <a:pt x="1987" y="53"/>
                    </a:cubicBezTo>
                    <a:cubicBezTo>
                      <a:pt x="1987" y="24"/>
                      <a:pt x="1964" y="0"/>
                      <a:pt x="1935" y="0"/>
                    </a:cubicBezTo>
                  </a:path>
                </a:pathLst>
              </a:custGeom>
              <a:solidFill>
                <a:srgbClr val="3F5D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19" name="Freeform 371"/>
              <p:cNvSpPr>
                <a:spLocks noEditPoints="1"/>
              </p:cNvSpPr>
              <p:nvPr/>
            </p:nvSpPr>
            <p:spPr bwMode="auto">
              <a:xfrm>
                <a:off x="5910263" y="3651250"/>
                <a:ext cx="134938" cy="136525"/>
              </a:xfrm>
              <a:custGeom>
                <a:avLst/>
                <a:gdLst>
                  <a:gd name="T0" fmla="*/ 40 w 81"/>
                  <a:gd name="T1" fmla="*/ 1 h 82"/>
                  <a:gd name="T2" fmla="*/ 81 w 81"/>
                  <a:gd name="T3" fmla="*/ 41 h 82"/>
                  <a:gd name="T4" fmla="*/ 40 w 81"/>
                  <a:gd name="T5" fmla="*/ 82 h 82"/>
                  <a:gd name="T6" fmla="*/ 0 w 81"/>
                  <a:gd name="T7" fmla="*/ 42 h 82"/>
                  <a:gd name="T8" fmla="*/ 40 w 81"/>
                  <a:gd name="T9" fmla="*/ 1 h 82"/>
                  <a:gd name="T10" fmla="*/ 40 w 81"/>
                  <a:gd name="T11" fmla="*/ 69 h 82"/>
                  <a:gd name="T12" fmla="*/ 67 w 81"/>
                  <a:gd name="T13" fmla="*/ 41 h 82"/>
                  <a:gd name="T14" fmla="*/ 40 w 81"/>
                  <a:gd name="T15" fmla="*/ 13 h 82"/>
                  <a:gd name="T16" fmla="*/ 14 w 81"/>
                  <a:gd name="T17" fmla="*/ 41 h 82"/>
                  <a:gd name="T18" fmla="*/ 40 w 81"/>
                  <a:gd name="T19" fmla="*/ 69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1" h="82">
                    <a:moveTo>
                      <a:pt x="40" y="1"/>
                    </a:moveTo>
                    <a:cubicBezTo>
                      <a:pt x="64" y="0"/>
                      <a:pt x="81" y="17"/>
                      <a:pt x="81" y="41"/>
                    </a:cubicBezTo>
                    <a:cubicBezTo>
                      <a:pt x="81" y="65"/>
                      <a:pt x="64" y="81"/>
                      <a:pt x="40" y="82"/>
                    </a:cubicBezTo>
                    <a:cubicBezTo>
                      <a:pt x="17" y="82"/>
                      <a:pt x="0" y="66"/>
                      <a:pt x="0" y="42"/>
                    </a:cubicBezTo>
                    <a:cubicBezTo>
                      <a:pt x="0" y="17"/>
                      <a:pt x="17" y="1"/>
                      <a:pt x="40" y="1"/>
                    </a:cubicBezTo>
                    <a:close/>
                    <a:moveTo>
                      <a:pt x="40" y="69"/>
                    </a:moveTo>
                    <a:cubicBezTo>
                      <a:pt x="56" y="69"/>
                      <a:pt x="67" y="57"/>
                      <a:pt x="67" y="41"/>
                    </a:cubicBezTo>
                    <a:cubicBezTo>
                      <a:pt x="67" y="25"/>
                      <a:pt x="56" y="13"/>
                      <a:pt x="40" y="13"/>
                    </a:cubicBezTo>
                    <a:cubicBezTo>
                      <a:pt x="25" y="13"/>
                      <a:pt x="14" y="25"/>
                      <a:pt x="14" y="41"/>
                    </a:cubicBezTo>
                    <a:cubicBezTo>
                      <a:pt x="14" y="57"/>
                      <a:pt x="25" y="69"/>
                      <a:pt x="40" y="69"/>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20" name="Rectangle 372"/>
              <p:cNvSpPr>
                <a:spLocks noChangeArrowheads="1"/>
              </p:cNvSpPr>
              <p:nvPr/>
            </p:nvSpPr>
            <p:spPr bwMode="auto">
              <a:xfrm>
                <a:off x="6067425" y="3656013"/>
                <a:ext cx="22225" cy="128587"/>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21" name="Freeform 373"/>
              <p:cNvSpPr>
                <a:spLocks noEditPoints="1"/>
              </p:cNvSpPr>
              <p:nvPr/>
            </p:nvSpPr>
            <p:spPr bwMode="auto">
              <a:xfrm>
                <a:off x="6111875" y="3651250"/>
                <a:ext cx="134938" cy="136525"/>
              </a:xfrm>
              <a:custGeom>
                <a:avLst/>
                <a:gdLst>
                  <a:gd name="T0" fmla="*/ 40 w 81"/>
                  <a:gd name="T1" fmla="*/ 1 h 82"/>
                  <a:gd name="T2" fmla="*/ 81 w 81"/>
                  <a:gd name="T3" fmla="*/ 41 h 82"/>
                  <a:gd name="T4" fmla="*/ 40 w 81"/>
                  <a:gd name="T5" fmla="*/ 82 h 82"/>
                  <a:gd name="T6" fmla="*/ 0 w 81"/>
                  <a:gd name="T7" fmla="*/ 42 h 82"/>
                  <a:gd name="T8" fmla="*/ 40 w 81"/>
                  <a:gd name="T9" fmla="*/ 1 h 82"/>
                  <a:gd name="T10" fmla="*/ 40 w 81"/>
                  <a:gd name="T11" fmla="*/ 69 h 82"/>
                  <a:gd name="T12" fmla="*/ 67 w 81"/>
                  <a:gd name="T13" fmla="*/ 41 h 82"/>
                  <a:gd name="T14" fmla="*/ 40 w 81"/>
                  <a:gd name="T15" fmla="*/ 13 h 82"/>
                  <a:gd name="T16" fmla="*/ 14 w 81"/>
                  <a:gd name="T17" fmla="*/ 41 h 82"/>
                  <a:gd name="T18" fmla="*/ 40 w 81"/>
                  <a:gd name="T19" fmla="*/ 69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1" h="82">
                    <a:moveTo>
                      <a:pt x="40" y="1"/>
                    </a:moveTo>
                    <a:cubicBezTo>
                      <a:pt x="64" y="0"/>
                      <a:pt x="81" y="17"/>
                      <a:pt x="81" y="41"/>
                    </a:cubicBezTo>
                    <a:cubicBezTo>
                      <a:pt x="81" y="65"/>
                      <a:pt x="64" y="81"/>
                      <a:pt x="40" y="82"/>
                    </a:cubicBezTo>
                    <a:cubicBezTo>
                      <a:pt x="17" y="82"/>
                      <a:pt x="0" y="66"/>
                      <a:pt x="0" y="42"/>
                    </a:cubicBezTo>
                    <a:cubicBezTo>
                      <a:pt x="0" y="17"/>
                      <a:pt x="17" y="1"/>
                      <a:pt x="40" y="1"/>
                    </a:cubicBezTo>
                    <a:close/>
                    <a:moveTo>
                      <a:pt x="40" y="69"/>
                    </a:moveTo>
                    <a:cubicBezTo>
                      <a:pt x="56" y="69"/>
                      <a:pt x="67" y="57"/>
                      <a:pt x="67" y="41"/>
                    </a:cubicBezTo>
                    <a:cubicBezTo>
                      <a:pt x="67" y="25"/>
                      <a:pt x="56" y="13"/>
                      <a:pt x="40" y="13"/>
                    </a:cubicBezTo>
                    <a:cubicBezTo>
                      <a:pt x="25" y="13"/>
                      <a:pt x="14" y="25"/>
                      <a:pt x="14" y="41"/>
                    </a:cubicBezTo>
                    <a:cubicBezTo>
                      <a:pt x="14" y="57"/>
                      <a:pt x="25" y="69"/>
                      <a:pt x="40" y="69"/>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22" name="Freeform 374"/>
              <p:cNvSpPr>
                <a:spLocks noEditPoints="1"/>
              </p:cNvSpPr>
              <p:nvPr/>
            </p:nvSpPr>
            <p:spPr bwMode="auto">
              <a:xfrm>
                <a:off x="6262688" y="3651250"/>
                <a:ext cx="136525" cy="136525"/>
              </a:xfrm>
              <a:custGeom>
                <a:avLst/>
                <a:gdLst>
                  <a:gd name="T0" fmla="*/ 41 w 82"/>
                  <a:gd name="T1" fmla="*/ 1 h 82"/>
                  <a:gd name="T2" fmla="*/ 82 w 82"/>
                  <a:gd name="T3" fmla="*/ 41 h 82"/>
                  <a:gd name="T4" fmla="*/ 41 w 82"/>
                  <a:gd name="T5" fmla="*/ 82 h 82"/>
                  <a:gd name="T6" fmla="*/ 0 w 82"/>
                  <a:gd name="T7" fmla="*/ 42 h 82"/>
                  <a:gd name="T8" fmla="*/ 41 w 82"/>
                  <a:gd name="T9" fmla="*/ 1 h 82"/>
                  <a:gd name="T10" fmla="*/ 41 w 82"/>
                  <a:gd name="T11" fmla="*/ 69 h 82"/>
                  <a:gd name="T12" fmla="*/ 68 w 82"/>
                  <a:gd name="T13" fmla="*/ 41 h 82"/>
                  <a:gd name="T14" fmla="*/ 41 w 82"/>
                  <a:gd name="T15" fmla="*/ 13 h 82"/>
                  <a:gd name="T16" fmla="*/ 15 w 82"/>
                  <a:gd name="T17" fmla="*/ 41 h 82"/>
                  <a:gd name="T18" fmla="*/ 41 w 82"/>
                  <a:gd name="T19" fmla="*/ 69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2" h="82">
                    <a:moveTo>
                      <a:pt x="41" y="1"/>
                    </a:moveTo>
                    <a:cubicBezTo>
                      <a:pt x="65" y="0"/>
                      <a:pt x="82" y="17"/>
                      <a:pt x="82" y="41"/>
                    </a:cubicBezTo>
                    <a:cubicBezTo>
                      <a:pt x="82" y="65"/>
                      <a:pt x="65" y="81"/>
                      <a:pt x="41" y="82"/>
                    </a:cubicBezTo>
                    <a:cubicBezTo>
                      <a:pt x="17" y="82"/>
                      <a:pt x="0" y="66"/>
                      <a:pt x="0" y="42"/>
                    </a:cubicBezTo>
                    <a:cubicBezTo>
                      <a:pt x="0" y="17"/>
                      <a:pt x="17" y="1"/>
                      <a:pt x="41" y="1"/>
                    </a:cubicBezTo>
                    <a:close/>
                    <a:moveTo>
                      <a:pt x="41" y="69"/>
                    </a:moveTo>
                    <a:cubicBezTo>
                      <a:pt x="57" y="69"/>
                      <a:pt x="68" y="57"/>
                      <a:pt x="68" y="41"/>
                    </a:cubicBezTo>
                    <a:cubicBezTo>
                      <a:pt x="68" y="25"/>
                      <a:pt x="57" y="13"/>
                      <a:pt x="41" y="13"/>
                    </a:cubicBezTo>
                    <a:cubicBezTo>
                      <a:pt x="25" y="13"/>
                      <a:pt x="15" y="25"/>
                      <a:pt x="15" y="41"/>
                    </a:cubicBezTo>
                    <a:cubicBezTo>
                      <a:pt x="15" y="57"/>
                      <a:pt x="25" y="69"/>
                      <a:pt x="41" y="69"/>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23" name="Rectangle 375"/>
              <p:cNvSpPr>
                <a:spLocks noChangeArrowheads="1"/>
              </p:cNvSpPr>
              <p:nvPr/>
            </p:nvSpPr>
            <p:spPr bwMode="auto">
              <a:xfrm>
                <a:off x="5915025" y="3871913"/>
                <a:ext cx="23813" cy="128587"/>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24" name="Rectangle 376"/>
              <p:cNvSpPr>
                <a:spLocks noChangeArrowheads="1"/>
              </p:cNvSpPr>
              <p:nvPr/>
            </p:nvSpPr>
            <p:spPr bwMode="auto">
              <a:xfrm>
                <a:off x="5967413" y="3871913"/>
                <a:ext cx="20638" cy="128587"/>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25" name="Freeform 377"/>
              <p:cNvSpPr>
                <a:spLocks noEditPoints="1"/>
              </p:cNvSpPr>
              <p:nvPr/>
            </p:nvSpPr>
            <p:spPr bwMode="auto">
              <a:xfrm>
                <a:off x="6010275" y="3868738"/>
                <a:ext cx="136525" cy="134937"/>
              </a:xfrm>
              <a:custGeom>
                <a:avLst/>
                <a:gdLst>
                  <a:gd name="T0" fmla="*/ 41 w 82"/>
                  <a:gd name="T1" fmla="*/ 0 h 81"/>
                  <a:gd name="T2" fmla="*/ 82 w 82"/>
                  <a:gd name="T3" fmla="*/ 41 h 81"/>
                  <a:gd name="T4" fmla="*/ 41 w 82"/>
                  <a:gd name="T5" fmla="*/ 81 h 81"/>
                  <a:gd name="T6" fmla="*/ 0 w 82"/>
                  <a:gd name="T7" fmla="*/ 41 h 81"/>
                  <a:gd name="T8" fmla="*/ 41 w 82"/>
                  <a:gd name="T9" fmla="*/ 0 h 81"/>
                  <a:gd name="T10" fmla="*/ 41 w 82"/>
                  <a:gd name="T11" fmla="*/ 69 h 81"/>
                  <a:gd name="T12" fmla="*/ 68 w 82"/>
                  <a:gd name="T13" fmla="*/ 40 h 81"/>
                  <a:gd name="T14" fmla="*/ 41 w 82"/>
                  <a:gd name="T15" fmla="*/ 13 h 81"/>
                  <a:gd name="T16" fmla="*/ 15 w 82"/>
                  <a:gd name="T17" fmla="*/ 40 h 81"/>
                  <a:gd name="T18" fmla="*/ 41 w 82"/>
                  <a:gd name="T19" fmla="*/ 69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2" h="81">
                    <a:moveTo>
                      <a:pt x="41" y="0"/>
                    </a:moveTo>
                    <a:cubicBezTo>
                      <a:pt x="65" y="0"/>
                      <a:pt x="82" y="16"/>
                      <a:pt x="82" y="41"/>
                    </a:cubicBezTo>
                    <a:cubicBezTo>
                      <a:pt x="82" y="65"/>
                      <a:pt x="65" y="81"/>
                      <a:pt x="41" y="81"/>
                    </a:cubicBezTo>
                    <a:cubicBezTo>
                      <a:pt x="17" y="81"/>
                      <a:pt x="0" y="65"/>
                      <a:pt x="0" y="41"/>
                    </a:cubicBezTo>
                    <a:cubicBezTo>
                      <a:pt x="0" y="17"/>
                      <a:pt x="17" y="0"/>
                      <a:pt x="41" y="0"/>
                    </a:cubicBezTo>
                    <a:close/>
                    <a:moveTo>
                      <a:pt x="41" y="69"/>
                    </a:moveTo>
                    <a:cubicBezTo>
                      <a:pt x="57" y="69"/>
                      <a:pt x="68" y="57"/>
                      <a:pt x="68" y="40"/>
                    </a:cubicBezTo>
                    <a:cubicBezTo>
                      <a:pt x="68" y="25"/>
                      <a:pt x="57" y="13"/>
                      <a:pt x="41" y="13"/>
                    </a:cubicBezTo>
                    <a:cubicBezTo>
                      <a:pt x="25" y="13"/>
                      <a:pt x="15" y="25"/>
                      <a:pt x="15" y="40"/>
                    </a:cubicBezTo>
                    <a:cubicBezTo>
                      <a:pt x="15" y="57"/>
                      <a:pt x="25" y="69"/>
                      <a:pt x="41" y="69"/>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26" name="Rectangle 378"/>
              <p:cNvSpPr>
                <a:spLocks noChangeArrowheads="1"/>
              </p:cNvSpPr>
              <p:nvPr/>
            </p:nvSpPr>
            <p:spPr bwMode="auto">
              <a:xfrm>
                <a:off x="6169025" y="3871913"/>
                <a:ext cx="22225" cy="128587"/>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27" name="Rectangle 379"/>
              <p:cNvSpPr>
                <a:spLocks noChangeArrowheads="1"/>
              </p:cNvSpPr>
              <p:nvPr/>
            </p:nvSpPr>
            <p:spPr bwMode="auto">
              <a:xfrm>
                <a:off x="6218238" y="3871913"/>
                <a:ext cx="23813" cy="128587"/>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28" name="Freeform 380"/>
              <p:cNvSpPr>
                <a:spLocks noEditPoints="1"/>
              </p:cNvSpPr>
              <p:nvPr/>
            </p:nvSpPr>
            <p:spPr bwMode="auto">
              <a:xfrm>
                <a:off x="6262688" y="3868738"/>
                <a:ext cx="136525" cy="134937"/>
              </a:xfrm>
              <a:custGeom>
                <a:avLst/>
                <a:gdLst>
                  <a:gd name="T0" fmla="*/ 41 w 82"/>
                  <a:gd name="T1" fmla="*/ 0 h 81"/>
                  <a:gd name="T2" fmla="*/ 82 w 82"/>
                  <a:gd name="T3" fmla="*/ 41 h 81"/>
                  <a:gd name="T4" fmla="*/ 41 w 82"/>
                  <a:gd name="T5" fmla="*/ 81 h 81"/>
                  <a:gd name="T6" fmla="*/ 0 w 82"/>
                  <a:gd name="T7" fmla="*/ 41 h 81"/>
                  <a:gd name="T8" fmla="*/ 41 w 82"/>
                  <a:gd name="T9" fmla="*/ 0 h 81"/>
                  <a:gd name="T10" fmla="*/ 41 w 82"/>
                  <a:gd name="T11" fmla="*/ 69 h 81"/>
                  <a:gd name="T12" fmla="*/ 68 w 82"/>
                  <a:gd name="T13" fmla="*/ 40 h 81"/>
                  <a:gd name="T14" fmla="*/ 41 w 82"/>
                  <a:gd name="T15" fmla="*/ 13 h 81"/>
                  <a:gd name="T16" fmla="*/ 15 w 82"/>
                  <a:gd name="T17" fmla="*/ 40 h 81"/>
                  <a:gd name="T18" fmla="*/ 41 w 82"/>
                  <a:gd name="T19" fmla="*/ 69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2" h="81">
                    <a:moveTo>
                      <a:pt x="41" y="0"/>
                    </a:moveTo>
                    <a:cubicBezTo>
                      <a:pt x="65" y="0"/>
                      <a:pt x="82" y="16"/>
                      <a:pt x="82" y="41"/>
                    </a:cubicBezTo>
                    <a:cubicBezTo>
                      <a:pt x="82" y="65"/>
                      <a:pt x="65" y="81"/>
                      <a:pt x="41" y="81"/>
                    </a:cubicBezTo>
                    <a:cubicBezTo>
                      <a:pt x="17" y="81"/>
                      <a:pt x="0" y="65"/>
                      <a:pt x="0" y="41"/>
                    </a:cubicBezTo>
                    <a:cubicBezTo>
                      <a:pt x="0" y="17"/>
                      <a:pt x="17" y="0"/>
                      <a:pt x="41" y="0"/>
                    </a:cubicBezTo>
                    <a:moveTo>
                      <a:pt x="41" y="69"/>
                    </a:moveTo>
                    <a:cubicBezTo>
                      <a:pt x="57" y="69"/>
                      <a:pt x="68" y="57"/>
                      <a:pt x="68" y="40"/>
                    </a:cubicBezTo>
                    <a:cubicBezTo>
                      <a:pt x="68" y="25"/>
                      <a:pt x="57" y="13"/>
                      <a:pt x="41" y="13"/>
                    </a:cubicBezTo>
                    <a:cubicBezTo>
                      <a:pt x="25" y="13"/>
                      <a:pt x="15" y="25"/>
                      <a:pt x="15" y="40"/>
                    </a:cubicBezTo>
                    <a:cubicBezTo>
                      <a:pt x="15" y="57"/>
                      <a:pt x="25" y="69"/>
                      <a:pt x="41" y="69"/>
                    </a:cubicBezTo>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29" name="Rectangle 381"/>
              <p:cNvSpPr>
                <a:spLocks noChangeArrowheads="1"/>
              </p:cNvSpPr>
              <p:nvPr/>
            </p:nvSpPr>
            <p:spPr bwMode="auto">
              <a:xfrm>
                <a:off x="5797550" y="4044950"/>
                <a:ext cx="79375" cy="746125"/>
              </a:xfrm>
              <a:prstGeom prst="rect">
                <a:avLst/>
              </a:prstGeom>
              <a:solidFill>
                <a:srgbClr val="55D45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30" name="Rectangle 382"/>
              <p:cNvSpPr>
                <a:spLocks noChangeArrowheads="1"/>
              </p:cNvSpPr>
              <p:nvPr/>
            </p:nvSpPr>
            <p:spPr bwMode="auto">
              <a:xfrm>
                <a:off x="5797550" y="4044950"/>
                <a:ext cx="79375" cy="746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31" name="Freeform 383"/>
              <p:cNvSpPr>
                <a:spLocks/>
              </p:cNvSpPr>
              <p:nvPr/>
            </p:nvSpPr>
            <p:spPr bwMode="auto">
              <a:xfrm>
                <a:off x="5837238" y="4133850"/>
                <a:ext cx="39688" cy="657225"/>
              </a:xfrm>
              <a:custGeom>
                <a:avLst/>
                <a:gdLst>
                  <a:gd name="T0" fmla="*/ 25 w 25"/>
                  <a:gd name="T1" fmla="*/ 0 h 414"/>
                  <a:gd name="T2" fmla="*/ 0 w 25"/>
                  <a:gd name="T3" fmla="*/ 0 h 414"/>
                  <a:gd name="T4" fmla="*/ 0 w 25"/>
                  <a:gd name="T5" fmla="*/ 414 h 414"/>
                  <a:gd name="T6" fmla="*/ 25 w 25"/>
                  <a:gd name="T7" fmla="*/ 414 h 414"/>
                  <a:gd name="T8" fmla="*/ 25 w 25"/>
                  <a:gd name="T9" fmla="*/ 358 h 414"/>
                  <a:gd name="T10" fmla="*/ 25 w 25"/>
                  <a:gd name="T11" fmla="*/ 0 h 414"/>
                </a:gdLst>
                <a:ahLst/>
                <a:cxnLst>
                  <a:cxn ang="0">
                    <a:pos x="T0" y="T1"/>
                  </a:cxn>
                  <a:cxn ang="0">
                    <a:pos x="T2" y="T3"/>
                  </a:cxn>
                  <a:cxn ang="0">
                    <a:pos x="T4" y="T5"/>
                  </a:cxn>
                  <a:cxn ang="0">
                    <a:pos x="T6" y="T7"/>
                  </a:cxn>
                  <a:cxn ang="0">
                    <a:pos x="T8" y="T9"/>
                  </a:cxn>
                  <a:cxn ang="0">
                    <a:pos x="T10" y="T11"/>
                  </a:cxn>
                </a:cxnLst>
                <a:rect l="0" t="0" r="r" b="b"/>
                <a:pathLst>
                  <a:path w="25" h="414">
                    <a:moveTo>
                      <a:pt x="25" y="0"/>
                    </a:moveTo>
                    <a:lnTo>
                      <a:pt x="0" y="0"/>
                    </a:lnTo>
                    <a:lnTo>
                      <a:pt x="0" y="414"/>
                    </a:lnTo>
                    <a:lnTo>
                      <a:pt x="25" y="414"/>
                    </a:lnTo>
                    <a:lnTo>
                      <a:pt x="25" y="358"/>
                    </a:lnTo>
                    <a:lnTo>
                      <a:pt x="25" y="0"/>
                    </a:lnTo>
                    <a:close/>
                  </a:path>
                </a:pathLst>
              </a:custGeom>
              <a:solidFill>
                <a:srgbClr val="44AA4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32" name="Freeform 384"/>
              <p:cNvSpPr>
                <a:spLocks/>
              </p:cNvSpPr>
              <p:nvPr/>
            </p:nvSpPr>
            <p:spPr bwMode="auto">
              <a:xfrm>
                <a:off x="5837238" y="4133850"/>
                <a:ext cx="39688" cy="657225"/>
              </a:xfrm>
              <a:custGeom>
                <a:avLst/>
                <a:gdLst>
                  <a:gd name="T0" fmla="*/ 25 w 25"/>
                  <a:gd name="T1" fmla="*/ 0 h 414"/>
                  <a:gd name="T2" fmla="*/ 0 w 25"/>
                  <a:gd name="T3" fmla="*/ 0 h 414"/>
                  <a:gd name="T4" fmla="*/ 0 w 25"/>
                  <a:gd name="T5" fmla="*/ 414 h 414"/>
                  <a:gd name="T6" fmla="*/ 25 w 25"/>
                  <a:gd name="T7" fmla="*/ 414 h 414"/>
                  <a:gd name="T8" fmla="*/ 25 w 25"/>
                  <a:gd name="T9" fmla="*/ 358 h 414"/>
                  <a:gd name="T10" fmla="*/ 25 w 25"/>
                  <a:gd name="T11" fmla="*/ 0 h 414"/>
                </a:gdLst>
                <a:ahLst/>
                <a:cxnLst>
                  <a:cxn ang="0">
                    <a:pos x="T0" y="T1"/>
                  </a:cxn>
                  <a:cxn ang="0">
                    <a:pos x="T2" y="T3"/>
                  </a:cxn>
                  <a:cxn ang="0">
                    <a:pos x="T4" y="T5"/>
                  </a:cxn>
                  <a:cxn ang="0">
                    <a:pos x="T6" y="T7"/>
                  </a:cxn>
                  <a:cxn ang="0">
                    <a:pos x="T8" y="T9"/>
                  </a:cxn>
                  <a:cxn ang="0">
                    <a:pos x="T10" y="T11"/>
                  </a:cxn>
                </a:cxnLst>
                <a:rect l="0" t="0" r="r" b="b"/>
                <a:pathLst>
                  <a:path w="25" h="414">
                    <a:moveTo>
                      <a:pt x="25" y="0"/>
                    </a:moveTo>
                    <a:lnTo>
                      <a:pt x="0" y="0"/>
                    </a:lnTo>
                    <a:lnTo>
                      <a:pt x="0" y="414"/>
                    </a:lnTo>
                    <a:lnTo>
                      <a:pt x="25" y="414"/>
                    </a:lnTo>
                    <a:lnTo>
                      <a:pt x="25" y="358"/>
                    </a:lnTo>
                    <a:lnTo>
                      <a:pt x="2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33" name="Rectangle 385"/>
              <p:cNvSpPr>
                <a:spLocks noChangeArrowheads="1"/>
              </p:cNvSpPr>
              <p:nvPr/>
            </p:nvSpPr>
            <p:spPr bwMode="auto">
              <a:xfrm>
                <a:off x="6254750" y="4044950"/>
                <a:ext cx="79375" cy="746125"/>
              </a:xfrm>
              <a:prstGeom prst="rect">
                <a:avLst/>
              </a:prstGeom>
              <a:solidFill>
                <a:srgbClr val="55D45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34" name="Rectangle 386"/>
              <p:cNvSpPr>
                <a:spLocks noChangeArrowheads="1"/>
              </p:cNvSpPr>
              <p:nvPr/>
            </p:nvSpPr>
            <p:spPr bwMode="auto">
              <a:xfrm>
                <a:off x="6254750" y="4044950"/>
                <a:ext cx="79375" cy="746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35" name="Freeform 387"/>
              <p:cNvSpPr>
                <a:spLocks/>
              </p:cNvSpPr>
              <p:nvPr/>
            </p:nvSpPr>
            <p:spPr bwMode="auto">
              <a:xfrm>
                <a:off x="6294438" y="4133850"/>
                <a:ext cx="39688" cy="657225"/>
              </a:xfrm>
              <a:custGeom>
                <a:avLst/>
                <a:gdLst>
                  <a:gd name="T0" fmla="*/ 25 w 25"/>
                  <a:gd name="T1" fmla="*/ 0 h 414"/>
                  <a:gd name="T2" fmla="*/ 0 w 25"/>
                  <a:gd name="T3" fmla="*/ 0 h 414"/>
                  <a:gd name="T4" fmla="*/ 0 w 25"/>
                  <a:gd name="T5" fmla="*/ 414 h 414"/>
                  <a:gd name="T6" fmla="*/ 25 w 25"/>
                  <a:gd name="T7" fmla="*/ 414 h 414"/>
                  <a:gd name="T8" fmla="*/ 25 w 25"/>
                  <a:gd name="T9" fmla="*/ 358 h 414"/>
                  <a:gd name="T10" fmla="*/ 25 w 25"/>
                  <a:gd name="T11" fmla="*/ 0 h 414"/>
                </a:gdLst>
                <a:ahLst/>
                <a:cxnLst>
                  <a:cxn ang="0">
                    <a:pos x="T0" y="T1"/>
                  </a:cxn>
                  <a:cxn ang="0">
                    <a:pos x="T2" y="T3"/>
                  </a:cxn>
                  <a:cxn ang="0">
                    <a:pos x="T4" y="T5"/>
                  </a:cxn>
                  <a:cxn ang="0">
                    <a:pos x="T6" y="T7"/>
                  </a:cxn>
                  <a:cxn ang="0">
                    <a:pos x="T8" y="T9"/>
                  </a:cxn>
                  <a:cxn ang="0">
                    <a:pos x="T10" y="T11"/>
                  </a:cxn>
                </a:cxnLst>
                <a:rect l="0" t="0" r="r" b="b"/>
                <a:pathLst>
                  <a:path w="25" h="414">
                    <a:moveTo>
                      <a:pt x="25" y="0"/>
                    </a:moveTo>
                    <a:lnTo>
                      <a:pt x="0" y="0"/>
                    </a:lnTo>
                    <a:lnTo>
                      <a:pt x="0" y="414"/>
                    </a:lnTo>
                    <a:lnTo>
                      <a:pt x="25" y="414"/>
                    </a:lnTo>
                    <a:lnTo>
                      <a:pt x="25" y="358"/>
                    </a:lnTo>
                    <a:lnTo>
                      <a:pt x="25" y="0"/>
                    </a:lnTo>
                    <a:close/>
                  </a:path>
                </a:pathLst>
              </a:custGeom>
              <a:solidFill>
                <a:srgbClr val="44AA4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36" name="Freeform 388"/>
              <p:cNvSpPr>
                <a:spLocks/>
              </p:cNvSpPr>
              <p:nvPr/>
            </p:nvSpPr>
            <p:spPr bwMode="auto">
              <a:xfrm>
                <a:off x="6294438" y="4133850"/>
                <a:ext cx="39688" cy="657225"/>
              </a:xfrm>
              <a:custGeom>
                <a:avLst/>
                <a:gdLst>
                  <a:gd name="T0" fmla="*/ 25 w 25"/>
                  <a:gd name="T1" fmla="*/ 0 h 414"/>
                  <a:gd name="T2" fmla="*/ 0 w 25"/>
                  <a:gd name="T3" fmla="*/ 0 h 414"/>
                  <a:gd name="T4" fmla="*/ 0 w 25"/>
                  <a:gd name="T5" fmla="*/ 414 h 414"/>
                  <a:gd name="T6" fmla="*/ 25 w 25"/>
                  <a:gd name="T7" fmla="*/ 414 h 414"/>
                  <a:gd name="T8" fmla="*/ 25 w 25"/>
                  <a:gd name="T9" fmla="*/ 358 h 414"/>
                  <a:gd name="T10" fmla="*/ 25 w 25"/>
                  <a:gd name="T11" fmla="*/ 0 h 414"/>
                </a:gdLst>
                <a:ahLst/>
                <a:cxnLst>
                  <a:cxn ang="0">
                    <a:pos x="T0" y="T1"/>
                  </a:cxn>
                  <a:cxn ang="0">
                    <a:pos x="T2" y="T3"/>
                  </a:cxn>
                  <a:cxn ang="0">
                    <a:pos x="T4" y="T5"/>
                  </a:cxn>
                  <a:cxn ang="0">
                    <a:pos x="T6" y="T7"/>
                  </a:cxn>
                  <a:cxn ang="0">
                    <a:pos x="T8" y="T9"/>
                  </a:cxn>
                  <a:cxn ang="0">
                    <a:pos x="T10" y="T11"/>
                  </a:cxn>
                </a:cxnLst>
                <a:rect l="0" t="0" r="r" b="b"/>
                <a:pathLst>
                  <a:path w="25" h="414">
                    <a:moveTo>
                      <a:pt x="25" y="0"/>
                    </a:moveTo>
                    <a:lnTo>
                      <a:pt x="0" y="0"/>
                    </a:lnTo>
                    <a:lnTo>
                      <a:pt x="0" y="414"/>
                    </a:lnTo>
                    <a:lnTo>
                      <a:pt x="25" y="414"/>
                    </a:lnTo>
                    <a:lnTo>
                      <a:pt x="25" y="358"/>
                    </a:lnTo>
                    <a:lnTo>
                      <a:pt x="2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37" name="Rectangle 389"/>
              <p:cNvSpPr>
                <a:spLocks noChangeArrowheads="1"/>
              </p:cNvSpPr>
              <p:nvPr/>
            </p:nvSpPr>
            <p:spPr bwMode="auto">
              <a:xfrm>
                <a:off x="5797550" y="4002088"/>
                <a:ext cx="1349375" cy="131762"/>
              </a:xfrm>
              <a:prstGeom prst="rect">
                <a:avLst/>
              </a:prstGeom>
              <a:solidFill>
                <a:srgbClr val="55D45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38" name="Rectangle 390"/>
              <p:cNvSpPr>
                <a:spLocks noChangeArrowheads="1"/>
              </p:cNvSpPr>
              <p:nvPr/>
            </p:nvSpPr>
            <p:spPr bwMode="auto">
              <a:xfrm>
                <a:off x="5797550" y="4002088"/>
                <a:ext cx="1349375" cy="1317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39" name="Rectangle 391"/>
              <p:cNvSpPr>
                <a:spLocks noChangeArrowheads="1"/>
              </p:cNvSpPr>
              <p:nvPr/>
            </p:nvSpPr>
            <p:spPr bwMode="auto">
              <a:xfrm>
                <a:off x="7980363" y="4044950"/>
                <a:ext cx="79375" cy="746125"/>
              </a:xfrm>
              <a:prstGeom prst="rect">
                <a:avLst/>
              </a:prstGeom>
              <a:solidFill>
                <a:srgbClr val="55D45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40" name="Rectangle 392"/>
              <p:cNvSpPr>
                <a:spLocks noChangeArrowheads="1"/>
              </p:cNvSpPr>
              <p:nvPr/>
            </p:nvSpPr>
            <p:spPr bwMode="auto">
              <a:xfrm>
                <a:off x="7980363" y="4044950"/>
                <a:ext cx="79375" cy="746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41" name="Rectangle 393"/>
              <p:cNvSpPr>
                <a:spLocks noChangeArrowheads="1"/>
              </p:cNvSpPr>
              <p:nvPr/>
            </p:nvSpPr>
            <p:spPr bwMode="auto">
              <a:xfrm>
                <a:off x="8420100" y="4044950"/>
                <a:ext cx="77788" cy="746125"/>
              </a:xfrm>
              <a:prstGeom prst="rect">
                <a:avLst/>
              </a:prstGeom>
              <a:solidFill>
                <a:srgbClr val="55D45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42" name="Rectangle 394"/>
              <p:cNvSpPr>
                <a:spLocks noChangeArrowheads="1"/>
              </p:cNvSpPr>
              <p:nvPr/>
            </p:nvSpPr>
            <p:spPr bwMode="auto">
              <a:xfrm>
                <a:off x="8420100" y="4044950"/>
                <a:ext cx="77788" cy="746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43" name="Rectangle 395"/>
              <p:cNvSpPr>
                <a:spLocks noChangeArrowheads="1"/>
              </p:cNvSpPr>
              <p:nvPr/>
            </p:nvSpPr>
            <p:spPr bwMode="auto">
              <a:xfrm>
                <a:off x="6400800" y="3090863"/>
                <a:ext cx="1327150" cy="1700212"/>
              </a:xfrm>
              <a:prstGeom prst="rect">
                <a:avLst/>
              </a:prstGeom>
              <a:solidFill>
                <a:srgbClr val="55D45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44" name="Rectangle 396"/>
              <p:cNvSpPr>
                <a:spLocks noChangeArrowheads="1"/>
              </p:cNvSpPr>
              <p:nvPr/>
            </p:nvSpPr>
            <p:spPr bwMode="auto">
              <a:xfrm>
                <a:off x="6400800" y="3090863"/>
                <a:ext cx="1327150" cy="17002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45" name="Rectangle 397"/>
              <p:cNvSpPr>
                <a:spLocks noChangeArrowheads="1"/>
              </p:cNvSpPr>
              <p:nvPr/>
            </p:nvSpPr>
            <p:spPr bwMode="auto">
              <a:xfrm>
                <a:off x="7146925" y="3429000"/>
                <a:ext cx="500063" cy="117475"/>
              </a:xfrm>
              <a:prstGeom prst="rect">
                <a:avLst/>
              </a:prstGeom>
              <a:solidFill>
                <a:srgbClr val="009E4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46" name="Rectangle 398"/>
              <p:cNvSpPr>
                <a:spLocks noChangeArrowheads="1"/>
              </p:cNvSpPr>
              <p:nvPr/>
            </p:nvSpPr>
            <p:spPr bwMode="auto">
              <a:xfrm>
                <a:off x="7146925" y="3429000"/>
                <a:ext cx="500063" cy="117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47" name="Freeform 399"/>
              <p:cNvSpPr>
                <a:spLocks noEditPoints="1"/>
              </p:cNvSpPr>
              <p:nvPr/>
            </p:nvSpPr>
            <p:spPr bwMode="auto">
              <a:xfrm>
                <a:off x="7069138" y="3090863"/>
                <a:ext cx="658813" cy="1700212"/>
              </a:xfrm>
              <a:custGeom>
                <a:avLst/>
                <a:gdLst>
                  <a:gd name="T0" fmla="*/ 415 w 415"/>
                  <a:gd name="T1" fmla="*/ 657 h 1071"/>
                  <a:gd name="T2" fmla="*/ 272 w 415"/>
                  <a:gd name="T3" fmla="*/ 657 h 1071"/>
                  <a:gd name="T4" fmla="*/ 415 w 415"/>
                  <a:gd name="T5" fmla="*/ 784 h 1071"/>
                  <a:gd name="T6" fmla="*/ 415 w 415"/>
                  <a:gd name="T7" fmla="*/ 1071 h 1071"/>
                  <a:gd name="T8" fmla="*/ 415 w 415"/>
                  <a:gd name="T9" fmla="*/ 1071 h 1071"/>
                  <a:gd name="T10" fmla="*/ 415 w 415"/>
                  <a:gd name="T11" fmla="*/ 1015 h 1071"/>
                  <a:gd name="T12" fmla="*/ 415 w 415"/>
                  <a:gd name="T13" fmla="*/ 657 h 1071"/>
                  <a:gd name="T14" fmla="*/ 415 w 415"/>
                  <a:gd name="T15" fmla="*/ 557 h 1071"/>
                  <a:gd name="T16" fmla="*/ 364 w 415"/>
                  <a:gd name="T17" fmla="*/ 557 h 1071"/>
                  <a:gd name="T18" fmla="*/ 364 w 415"/>
                  <a:gd name="T19" fmla="*/ 574 h 1071"/>
                  <a:gd name="T20" fmla="*/ 415 w 415"/>
                  <a:gd name="T21" fmla="*/ 574 h 1071"/>
                  <a:gd name="T22" fmla="*/ 415 w 415"/>
                  <a:gd name="T23" fmla="*/ 557 h 1071"/>
                  <a:gd name="T24" fmla="*/ 49 w 415"/>
                  <a:gd name="T25" fmla="*/ 287 h 1071"/>
                  <a:gd name="T26" fmla="*/ 49 w 415"/>
                  <a:gd name="T27" fmla="*/ 213 h 1071"/>
                  <a:gd name="T28" fmla="*/ 364 w 415"/>
                  <a:gd name="T29" fmla="*/ 213 h 1071"/>
                  <a:gd name="T30" fmla="*/ 364 w 415"/>
                  <a:gd name="T31" fmla="*/ 287 h 1071"/>
                  <a:gd name="T32" fmla="*/ 49 w 415"/>
                  <a:gd name="T33" fmla="*/ 287 h 1071"/>
                  <a:gd name="T34" fmla="*/ 415 w 415"/>
                  <a:gd name="T35" fmla="*/ 0 h 1071"/>
                  <a:gd name="T36" fmla="*/ 207 w 415"/>
                  <a:gd name="T37" fmla="*/ 0 h 1071"/>
                  <a:gd name="T38" fmla="*/ 0 w 415"/>
                  <a:gd name="T39" fmla="*/ 0 h 1071"/>
                  <a:gd name="T40" fmla="*/ 0 w 415"/>
                  <a:gd name="T41" fmla="*/ 418 h 1071"/>
                  <a:gd name="T42" fmla="*/ 49 w 415"/>
                  <a:gd name="T43" fmla="*/ 462 h 1071"/>
                  <a:gd name="T44" fmla="*/ 49 w 415"/>
                  <a:gd name="T45" fmla="*/ 314 h 1071"/>
                  <a:gd name="T46" fmla="*/ 364 w 415"/>
                  <a:gd name="T47" fmla="*/ 314 h 1071"/>
                  <a:gd name="T48" fmla="*/ 364 w 415"/>
                  <a:gd name="T49" fmla="*/ 333 h 1071"/>
                  <a:gd name="T50" fmla="*/ 415 w 415"/>
                  <a:gd name="T51" fmla="*/ 333 h 1071"/>
                  <a:gd name="T52" fmla="*/ 415 w 415"/>
                  <a:gd name="T53" fmla="*/ 0 h 10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15" h="1071">
                    <a:moveTo>
                      <a:pt x="415" y="657"/>
                    </a:moveTo>
                    <a:lnTo>
                      <a:pt x="272" y="657"/>
                    </a:lnTo>
                    <a:lnTo>
                      <a:pt x="415" y="784"/>
                    </a:lnTo>
                    <a:lnTo>
                      <a:pt x="415" y="1071"/>
                    </a:lnTo>
                    <a:lnTo>
                      <a:pt x="415" y="1071"/>
                    </a:lnTo>
                    <a:lnTo>
                      <a:pt x="415" y="1015"/>
                    </a:lnTo>
                    <a:lnTo>
                      <a:pt x="415" y="657"/>
                    </a:lnTo>
                    <a:close/>
                    <a:moveTo>
                      <a:pt x="415" y="557"/>
                    </a:moveTo>
                    <a:lnTo>
                      <a:pt x="364" y="557"/>
                    </a:lnTo>
                    <a:lnTo>
                      <a:pt x="364" y="574"/>
                    </a:lnTo>
                    <a:lnTo>
                      <a:pt x="415" y="574"/>
                    </a:lnTo>
                    <a:lnTo>
                      <a:pt x="415" y="557"/>
                    </a:lnTo>
                    <a:close/>
                    <a:moveTo>
                      <a:pt x="49" y="287"/>
                    </a:moveTo>
                    <a:lnTo>
                      <a:pt x="49" y="213"/>
                    </a:lnTo>
                    <a:lnTo>
                      <a:pt x="364" y="213"/>
                    </a:lnTo>
                    <a:lnTo>
                      <a:pt x="364" y="287"/>
                    </a:lnTo>
                    <a:lnTo>
                      <a:pt x="49" y="287"/>
                    </a:lnTo>
                    <a:close/>
                    <a:moveTo>
                      <a:pt x="415" y="0"/>
                    </a:moveTo>
                    <a:lnTo>
                      <a:pt x="207" y="0"/>
                    </a:lnTo>
                    <a:lnTo>
                      <a:pt x="0" y="0"/>
                    </a:lnTo>
                    <a:lnTo>
                      <a:pt x="0" y="418"/>
                    </a:lnTo>
                    <a:lnTo>
                      <a:pt x="49" y="462"/>
                    </a:lnTo>
                    <a:lnTo>
                      <a:pt x="49" y="314"/>
                    </a:lnTo>
                    <a:lnTo>
                      <a:pt x="364" y="314"/>
                    </a:lnTo>
                    <a:lnTo>
                      <a:pt x="364" y="333"/>
                    </a:lnTo>
                    <a:lnTo>
                      <a:pt x="415" y="333"/>
                    </a:lnTo>
                    <a:lnTo>
                      <a:pt x="415" y="0"/>
                    </a:lnTo>
                    <a:close/>
                  </a:path>
                </a:pathLst>
              </a:custGeom>
              <a:solidFill>
                <a:srgbClr val="4CBE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48" name="Freeform 400"/>
              <p:cNvSpPr>
                <a:spLocks noEditPoints="1"/>
              </p:cNvSpPr>
              <p:nvPr/>
            </p:nvSpPr>
            <p:spPr bwMode="auto">
              <a:xfrm>
                <a:off x="7069138" y="3090863"/>
                <a:ext cx="658813" cy="1700212"/>
              </a:xfrm>
              <a:custGeom>
                <a:avLst/>
                <a:gdLst>
                  <a:gd name="T0" fmla="*/ 415 w 415"/>
                  <a:gd name="T1" fmla="*/ 657 h 1071"/>
                  <a:gd name="T2" fmla="*/ 272 w 415"/>
                  <a:gd name="T3" fmla="*/ 657 h 1071"/>
                  <a:gd name="T4" fmla="*/ 415 w 415"/>
                  <a:gd name="T5" fmla="*/ 784 h 1071"/>
                  <a:gd name="T6" fmla="*/ 415 w 415"/>
                  <a:gd name="T7" fmla="*/ 1071 h 1071"/>
                  <a:gd name="T8" fmla="*/ 415 w 415"/>
                  <a:gd name="T9" fmla="*/ 1071 h 1071"/>
                  <a:gd name="T10" fmla="*/ 415 w 415"/>
                  <a:gd name="T11" fmla="*/ 1015 h 1071"/>
                  <a:gd name="T12" fmla="*/ 415 w 415"/>
                  <a:gd name="T13" fmla="*/ 657 h 1071"/>
                  <a:gd name="T14" fmla="*/ 415 w 415"/>
                  <a:gd name="T15" fmla="*/ 557 h 1071"/>
                  <a:gd name="T16" fmla="*/ 364 w 415"/>
                  <a:gd name="T17" fmla="*/ 557 h 1071"/>
                  <a:gd name="T18" fmla="*/ 364 w 415"/>
                  <a:gd name="T19" fmla="*/ 574 h 1071"/>
                  <a:gd name="T20" fmla="*/ 415 w 415"/>
                  <a:gd name="T21" fmla="*/ 574 h 1071"/>
                  <a:gd name="T22" fmla="*/ 415 w 415"/>
                  <a:gd name="T23" fmla="*/ 557 h 1071"/>
                  <a:gd name="T24" fmla="*/ 49 w 415"/>
                  <a:gd name="T25" fmla="*/ 287 h 1071"/>
                  <a:gd name="T26" fmla="*/ 49 w 415"/>
                  <a:gd name="T27" fmla="*/ 213 h 1071"/>
                  <a:gd name="T28" fmla="*/ 364 w 415"/>
                  <a:gd name="T29" fmla="*/ 213 h 1071"/>
                  <a:gd name="T30" fmla="*/ 364 w 415"/>
                  <a:gd name="T31" fmla="*/ 287 h 1071"/>
                  <a:gd name="T32" fmla="*/ 49 w 415"/>
                  <a:gd name="T33" fmla="*/ 287 h 1071"/>
                  <a:gd name="T34" fmla="*/ 415 w 415"/>
                  <a:gd name="T35" fmla="*/ 0 h 1071"/>
                  <a:gd name="T36" fmla="*/ 207 w 415"/>
                  <a:gd name="T37" fmla="*/ 0 h 1071"/>
                  <a:gd name="T38" fmla="*/ 0 w 415"/>
                  <a:gd name="T39" fmla="*/ 0 h 1071"/>
                  <a:gd name="T40" fmla="*/ 0 w 415"/>
                  <a:gd name="T41" fmla="*/ 418 h 1071"/>
                  <a:gd name="T42" fmla="*/ 49 w 415"/>
                  <a:gd name="T43" fmla="*/ 462 h 1071"/>
                  <a:gd name="T44" fmla="*/ 49 w 415"/>
                  <a:gd name="T45" fmla="*/ 314 h 1071"/>
                  <a:gd name="T46" fmla="*/ 364 w 415"/>
                  <a:gd name="T47" fmla="*/ 314 h 1071"/>
                  <a:gd name="T48" fmla="*/ 364 w 415"/>
                  <a:gd name="T49" fmla="*/ 333 h 1071"/>
                  <a:gd name="T50" fmla="*/ 415 w 415"/>
                  <a:gd name="T51" fmla="*/ 333 h 1071"/>
                  <a:gd name="T52" fmla="*/ 415 w 415"/>
                  <a:gd name="T53" fmla="*/ 0 h 10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15" h="1071">
                    <a:moveTo>
                      <a:pt x="415" y="657"/>
                    </a:moveTo>
                    <a:lnTo>
                      <a:pt x="272" y="657"/>
                    </a:lnTo>
                    <a:lnTo>
                      <a:pt x="415" y="784"/>
                    </a:lnTo>
                    <a:lnTo>
                      <a:pt x="415" y="1071"/>
                    </a:lnTo>
                    <a:lnTo>
                      <a:pt x="415" y="1071"/>
                    </a:lnTo>
                    <a:lnTo>
                      <a:pt x="415" y="1015"/>
                    </a:lnTo>
                    <a:lnTo>
                      <a:pt x="415" y="657"/>
                    </a:lnTo>
                    <a:moveTo>
                      <a:pt x="415" y="557"/>
                    </a:moveTo>
                    <a:lnTo>
                      <a:pt x="364" y="557"/>
                    </a:lnTo>
                    <a:lnTo>
                      <a:pt x="364" y="574"/>
                    </a:lnTo>
                    <a:lnTo>
                      <a:pt x="415" y="574"/>
                    </a:lnTo>
                    <a:lnTo>
                      <a:pt x="415" y="557"/>
                    </a:lnTo>
                    <a:moveTo>
                      <a:pt x="49" y="287"/>
                    </a:moveTo>
                    <a:lnTo>
                      <a:pt x="49" y="213"/>
                    </a:lnTo>
                    <a:lnTo>
                      <a:pt x="364" y="213"/>
                    </a:lnTo>
                    <a:lnTo>
                      <a:pt x="364" y="287"/>
                    </a:lnTo>
                    <a:lnTo>
                      <a:pt x="49" y="287"/>
                    </a:lnTo>
                    <a:moveTo>
                      <a:pt x="415" y="0"/>
                    </a:moveTo>
                    <a:lnTo>
                      <a:pt x="207" y="0"/>
                    </a:lnTo>
                    <a:lnTo>
                      <a:pt x="0" y="0"/>
                    </a:lnTo>
                    <a:lnTo>
                      <a:pt x="0" y="418"/>
                    </a:lnTo>
                    <a:lnTo>
                      <a:pt x="49" y="462"/>
                    </a:lnTo>
                    <a:lnTo>
                      <a:pt x="49" y="314"/>
                    </a:lnTo>
                    <a:lnTo>
                      <a:pt x="364" y="314"/>
                    </a:lnTo>
                    <a:lnTo>
                      <a:pt x="364" y="333"/>
                    </a:lnTo>
                    <a:lnTo>
                      <a:pt x="415" y="333"/>
                    </a:lnTo>
                    <a:lnTo>
                      <a:pt x="41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49" name="Rectangle 401"/>
              <p:cNvSpPr>
                <a:spLocks noChangeArrowheads="1"/>
              </p:cNvSpPr>
              <p:nvPr/>
            </p:nvSpPr>
            <p:spPr bwMode="auto">
              <a:xfrm>
                <a:off x="7146925" y="3429000"/>
                <a:ext cx="500063" cy="117475"/>
              </a:xfrm>
              <a:prstGeom prst="rect">
                <a:avLst/>
              </a:prstGeom>
              <a:solidFill>
                <a:srgbClr val="008E4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50" name="Rectangle 402"/>
              <p:cNvSpPr>
                <a:spLocks noChangeArrowheads="1"/>
              </p:cNvSpPr>
              <p:nvPr/>
            </p:nvSpPr>
            <p:spPr bwMode="auto">
              <a:xfrm>
                <a:off x="7146925" y="3429000"/>
                <a:ext cx="500063" cy="117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51" name="Freeform 403"/>
              <p:cNvSpPr>
                <a:spLocks/>
              </p:cNvSpPr>
              <p:nvPr/>
            </p:nvSpPr>
            <p:spPr bwMode="auto">
              <a:xfrm>
                <a:off x="7069138" y="3754438"/>
                <a:ext cx="658813" cy="1036637"/>
              </a:xfrm>
              <a:custGeom>
                <a:avLst/>
                <a:gdLst>
                  <a:gd name="T0" fmla="*/ 0 w 415"/>
                  <a:gd name="T1" fmla="*/ 0 h 653"/>
                  <a:gd name="T2" fmla="*/ 0 w 415"/>
                  <a:gd name="T3" fmla="*/ 653 h 653"/>
                  <a:gd name="T4" fmla="*/ 415 w 415"/>
                  <a:gd name="T5" fmla="*/ 653 h 653"/>
                  <a:gd name="T6" fmla="*/ 415 w 415"/>
                  <a:gd name="T7" fmla="*/ 366 h 653"/>
                  <a:gd name="T8" fmla="*/ 272 w 415"/>
                  <a:gd name="T9" fmla="*/ 239 h 653"/>
                  <a:gd name="T10" fmla="*/ 49 w 415"/>
                  <a:gd name="T11" fmla="*/ 239 h 653"/>
                  <a:gd name="T12" fmla="*/ 49 w 415"/>
                  <a:gd name="T13" fmla="*/ 156 h 653"/>
                  <a:gd name="T14" fmla="*/ 49 w 415"/>
                  <a:gd name="T15" fmla="*/ 44 h 653"/>
                  <a:gd name="T16" fmla="*/ 0 w 415"/>
                  <a:gd name="T17" fmla="*/ 0 h 6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5" h="653">
                    <a:moveTo>
                      <a:pt x="0" y="0"/>
                    </a:moveTo>
                    <a:lnTo>
                      <a:pt x="0" y="653"/>
                    </a:lnTo>
                    <a:lnTo>
                      <a:pt x="415" y="653"/>
                    </a:lnTo>
                    <a:lnTo>
                      <a:pt x="415" y="366"/>
                    </a:lnTo>
                    <a:lnTo>
                      <a:pt x="272" y="239"/>
                    </a:lnTo>
                    <a:lnTo>
                      <a:pt x="49" y="239"/>
                    </a:lnTo>
                    <a:lnTo>
                      <a:pt x="49" y="156"/>
                    </a:lnTo>
                    <a:lnTo>
                      <a:pt x="49" y="44"/>
                    </a:lnTo>
                    <a:lnTo>
                      <a:pt x="0" y="0"/>
                    </a:lnTo>
                    <a:close/>
                  </a:path>
                </a:pathLst>
              </a:custGeom>
              <a:solidFill>
                <a:srgbClr val="44AB4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52" name="Freeform 404"/>
              <p:cNvSpPr>
                <a:spLocks/>
              </p:cNvSpPr>
              <p:nvPr/>
            </p:nvSpPr>
            <p:spPr bwMode="auto">
              <a:xfrm>
                <a:off x="7069138" y="3754438"/>
                <a:ext cx="658813" cy="1036637"/>
              </a:xfrm>
              <a:custGeom>
                <a:avLst/>
                <a:gdLst>
                  <a:gd name="T0" fmla="*/ 0 w 415"/>
                  <a:gd name="T1" fmla="*/ 0 h 653"/>
                  <a:gd name="T2" fmla="*/ 0 w 415"/>
                  <a:gd name="T3" fmla="*/ 653 h 653"/>
                  <a:gd name="T4" fmla="*/ 415 w 415"/>
                  <a:gd name="T5" fmla="*/ 653 h 653"/>
                  <a:gd name="T6" fmla="*/ 415 w 415"/>
                  <a:gd name="T7" fmla="*/ 366 h 653"/>
                  <a:gd name="T8" fmla="*/ 272 w 415"/>
                  <a:gd name="T9" fmla="*/ 239 h 653"/>
                  <a:gd name="T10" fmla="*/ 49 w 415"/>
                  <a:gd name="T11" fmla="*/ 239 h 653"/>
                  <a:gd name="T12" fmla="*/ 49 w 415"/>
                  <a:gd name="T13" fmla="*/ 156 h 653"/>
                  <a:gd name="T14" fmla="*/ 49 w 415"/>
                  <a:gd name="T15" fmla="*/ 44 h 653"/>
                  <a:gd name="T16" fmla="*/ 0 w 415"/>
                  <a:gd name="T17" fmla="*/ 0 h 6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5" h="653">
                    <a:moveTo>
                      <a:pt x="0" y="0"/>
                    </a:moveTo>
                    <a:lnTo>
                      <a:pt x="0" y="653"/>
                    </a:lnTo>
                    <a:lnTo>
                      <a:pt x="415" y="653"/>
                    </a:lnTo>
                    <a:lnTo>
                      <a:pt x="415" y="366"/>
                    </a:lnTo>
                    <a:lnTo>
                      <a:pt x="272" y="239"/>
                    </a:lnTo>
                    <a:lnTo>
                      <a:pt x="49" y="239"/>
                    </a:lnTo>
                    <a:lnTo>
                      <a:pt x="49" y="156"/>
                    </a:lnTo>
                    <a:lnTo>
                      <a:pt x="49" y="44"/>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53" name="Rectangle 405"/>
              <p:cNvSpPr>
                <a:spLocks noChangeArrowheads="1"/>
              </p:cNvSpPr>
              <p:nvPr/>
            </p:nvSpPr>
            <p:spPr bwMode="auto">
              <a:xfrm>
                <a:off x="7146925" y="3589338"/>
                <a:ext cx="500063" cy="412750"/>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54" name="Rectangle 406"/>
              <p:cNvSpPr>
                <a:spLocks noChangeArrowheads="1"/>
              </p:cNvSpPr>
              <p:nvPr/>
            </p:nvSpPr>
            <p:spPr bwMode="auto">
              <a:xfrm>
                <a:off x="7146925" y="3589338"/>
                <a:ext cx="500063" cy="412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55" name="Rectangle 407"/>
              <p:cNvSpPr>
                <a:spLocks noChangeArrowheads="1"/>
              </p:cNvSpPr>
              <p:nvPr/>
            </p:nvSpPr>
            <p:spPr bwMode="auto">
              <a:xfrm>
                <a:off x="7146925" y="4002088"/>
                <a:ext cx="1350963" cy="131762"/>
              </a:xfrm>
              <a:prstGeom prst="rect">
                <a:avLst/>
              </a:prstGeom>
              <a:solidFill>
                <a:srgbClr val="55D45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56" name="Rectangle 408"/>
              <p:cNvSpPr>
                <a:spLocks noChangeArrowheads="1"/>
              </p:cNvSpPr>
              <p:nvPr/>
            </p:nvSpPr>
            <p:spPr bwMode="auto">
              <a:xfrm>
                <a:off x="7146925" y="4002088"/>
                <a:ext cx="1350963" cy="1317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57" name="Freeform 409"/>
              <p:cNvSpPr>
                <a:spLocks/>
              </p:cNvSpPr>
              <p:nvPr/>
            </p:nvSpPr>
            <p:spPr bwMode="auto">
              <a:xfrm>
                <a:off x="8459788" y="4133850"/>
                <a:ext cx="38100" cy="631825"/>
              </a:xfrm>
              <a:custGeom>
                <a:avLst/>
                <a:gdLst>
                  <a:gd name="T0" fmla="*/ 24 w 24"/>
                  <a:gd name="T1" fmla="*/ 0 h 398"/>
                  <a:gd name="T2" fmla="*/ 0 w 24"/>
                  <a:gd name="T3" fmla="*/ 0 h 398"/>
                  <a:gd name="T4" fmla="*/ 0 w 24"/>
                  <a:gd name="T5" fmla="*/ 398 h 398"/>
                  <a:gd name="T6" fmla="*/ 24 w 24"/>
                  <a:gd name="T7" fmla="*/ 373 h 398"/>
                  <a:gd name="T8" fmla="*/ 24 w 24"/>
                  <a:gd name="T9" fmla="*/ 358 h 398"/>
                  <a:gd name="T10" fmla="*/ 24 w 24"/>
                  <a:gd name="T11" fmla="*/ 0 h 398"/>
                </a:gdLst>
                <a:ahLst/>
                <a:cxnLst>
                  <a:cxn ang="0">
                    <a:pos x="T0" y="T1"/>
                  </a:cxn>
                  <a:cxn ang="0">
                    <a:pos x="T2" y="T3"/>
                  </a:cxn>
                  <a:cxn ang="0">
                    <a:pos x="T4" y="T5"/>
                  </a:cxn>
                  <a:cxn ang="0">
                    <a:pos x="T6" y="T7"/>
                  </a:cxn>
                  <a:cxn ang="0">
                    <a:pos x="T8" y="T9"/>
                  </a:cxn>
                  <a:cxn ang="0">
                    <a:pos x="T10" y="T11"/>
                  </a:cxn>
                </a:cxnLst>
                <a:rect l="0" t="0" r="r" b="b"/>
                <a:pathLst>
                  <a:path w="24" h="398">
                    <a:moveTo>
                      <a:pt x="24" y="0"/>
                    </a:moveTo>
                    <a:lnTo>
                      <a:pt x="0" y="0"/>
                    </a:lnTo>
                    <a:lnTo>
                      <a:pt x="0" y="398"/>
                    </a:lnTo>
                    <a:lnTo>
                      <a:pt x="24" y="373"/>
                    </a:lnTo>
                    <a:lnTo>
                      <a:pt x="24" y="358"/>
                    </a:lnTo>
                    <a:lnTo>
                      <a:pt x="24" y="0"/>
                    </a:lnTo>
                    <a:close/>
                  </a:path>
                </a:pathLst>
              </a:custGeom>
              <a:solidFill>
                <a:srgbClr val="44AA4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58" name="Freeform 410"/>
              <p:cNvSpPr>
                <a:spLocks/>
              </p:cNvSpPr>
              <p:nvPr/>
            </p:nvSpPr>
            <p:spPr bwMode="auto">
              <a:xfrm>
                <a:off x="8459788" y="4133850"/>
                <a:ext cx="38100" cy="631825"/>
              </a:xfrm>
              <a:custGeom>
                <a:avLst/>
                <a:gdLst>
                  <a:gd name="T0" fmla="*/ 24 w 24"/>
                  <a:gd name="T1" fmla="*/ 0 h 398"/>
                  <a:gd name="T2" fmla="*/ 0 w 24"/>
                  <a:gd name="T3" fmla="*/ 0 h 398"/>
                  <a:gd name="T4" fmla="*/ 0 w 24"/>
                  <a:gd name="T5" fmla="*/ 398 h 398"/>
                  <a:gd name="T6" fmla="*/ 24 w 24"/>
                  <a:gd name="T7" fmla="*/ 373 h 398"/>
                  <a:gd name="T8" fmla="*/ 24 w 24"/>
                  <a:gd name="T9" fmla="*/ 358 h 398"/>
                  <a:gd name="T10" fmla="*/ 24 w 24"/>
                  <a:gd name="T11" fmla="*/ 0 h 398"/>
                </a:gdLst>
                <a:ahLst/>
                <a:cxnLst>
                  <a:cxn ang="0">
                    <a:pos x="T0" y="T1"/>
                  </a:cxn>
                  <a:cxn ang="0">
                    <a:pos x="T2" y="T3"/>
                  </a:cxn>
                  <a:cxn ang="0">
                    <a:pos x="T4" y="T5"/>
                  </a:cxn>
                  <a:cxn ang="0">
                    <a:pos x="T6" y="T7"/>
                  </a:cxn>
                  <a:cxn ang="0">
                    <a:pos x="T8" y="T9"/>
                  </a:cxn>
                  <a:cxn ang="0">
                    <a:pos x="T10" y="T11"/>
                  </a:cxn>
                </a:cxnLst>
                <a:rect l="0" t="0" r="r" b="b"/>
                <a:pathLst>
                  <a:path w="24" h="398">
                    <a:moveTo>
                      <a:pt x="24" y="0"/>
                    </a:moveTo>
                    <a:lnTo>
                      <a:pt x="0" y="0"/>
                    </a:lnTo>
                    <a:lnTo>
                      <a:pt x="0" y="398"/>
                    </a:lnTo>
                    <a:lnTo>
                      <a:pt x="24" y="373"/>
                    </a:lnTo>
                    <a:lnTo>
                      <a:pt x="24" y="358"/>
                    </a:lnTo>
                    <a:lnTo>
                      <a:pt x="2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59" name="Freeform 411"/>
              <p:cNvSpPr>
                <a:spLocks/>
              </p:cNvSpPr>
              <p:nvPr/>
            </p:nvSpPr>
            <p:spPr bwMode="auto">
              <a:xfrm>
                <a:off x="8018463" y="4133850"/>
                <a:ext cx="41275" cy="657225"/>
              </a:xfrm>
              <a:custGeom>
                <a:avLst/>
                <a:gdLst>
                  <a:gd name="T0" fmla="*/ 26 w 26"/>
                  <a:gd name="T1" fmla="*/ 0 h 414"/>
                  <a:gd name="T2" fmla="*/ 0 w 26"/>
                  <a:gd name="T3" fmla="*/ 0 h 414"/>
                  <a:gd name="T4" fmla="*/ 0 w 26"/>
                  <a:gd name="T5" fmla="*/ 414 h 414"/>
                  <a:gd name="T6" fmla="*/ 26 w 26"/>
                  <a:gd name="T7" fmla="*/ 414 h 414"/>
                  <a:gd name="T8" fmla="*/ 26 w 26"/>
                  <a:gd name="T9" fmla="*/ 358 h 414"/>
                  <a:gd name="T10" fmla="*/ 26 w 26"/>
                  <a:gd name="T11" fmla="*/ 0 h 414"/>
                </a:gdLst>
                <a:ahLst/>
                <a:cxnLst>
                  <a:cxn ang="0">
                    <a:pos x="T0" y="T1"/>
                  </a:cxn>
                  <a:cxn ang="0">
                    <a:pos x="T2" y="T3"/>
                  </a:cxn>
                  <a:cxn ang="0">
                    <a:pos x="T4" y="T5"/>
                  </a:cxn>
                  <a:cxn ang="0">
                    <a:pos x="T6" y="T7"/>
                  </a:cxn>
                  <a:cxn ang="0">
                    <a:pos x="T8" y="T9"/>
                  </a:cxn>
                  <a:cxn ang="0">
                    <a:pos x="T10" y="T11"/>
                  </a:cxn>
                </a:cxnLst>
                <a:rect l="0" t="0" r="r" b="b"/>
                <a:pathLst>
                  <a:path w="26" h="414">
                    <a:moveTo>
                      <a:pt x="26" y="0"/>
                    </a:moveTo>
                    <a:lnTo>
                      <a:pt x="0" y="0"/>
                    </a:lnTo>
                    <a:lnTo>
                      <a:pt x="0" y="414"/>
                    </a:lnTo>
                    <a:lnTo>
                      <a:pt x="26" y="414"/>
                    </a:lnTo>
                    <a:lnTo>
                      <a:pt x="26" y="358"/>
                    </a:lnTo>
                    <a:lnTo>
                      <a:pt x="26" y="0"/>
                    </a:lnTo>
                    <a:close/>
                  </a:path>
                </a:pathLst>
              </a:custGeom>
              <a:solidFill>
                <a:srgbClr val="44AA4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60" name="Freeform 412"/>
              <p:cNvSpPr>
                <a:spLocks/>
              </p:cNvSpPr>
              <p:nvPr/>
            </p:nvSpPr>
            <p:spPr bwMode="auto">
              <a:xfrm>
                <a:off x="8018463" y="4133850"/>
                <a:ext cx="41275" cy="657225"/>
              </a:xfrm>
              <a:custGeom>
                <a:avLst/>
                <a:gdLst>
                  <a:gd name="T0" fmla="*/ 26 w 26"/>
                  <a:gd name="T1" fmla="*/ 0 h 414"/>
                  <a:gd name="T2" fmla="*/ 0 w 26"/>
                  <a:gd name="T3" fmla="*/ 0 h 414"/>
                  <a:gd name="T4" fmla="*/ 0 w 26"/>
                  <a:gd name="T5" fmla="*/ 414 h 414"/>
                  <a:gd name="T6" fmla="*/ 26 w 26"/>
                  <a:gd name="T7" fmla="*/ 414 h 414"/>
                  <a:gd name="T8" fmla="*/ 26 w 26"/>
                  <a:gd name="T9" fmla="*/ 358 h 414"/>
                  <a:gd name="T10" fmla="*/ 26 w 26"/>
                  <a:gd name="T11" fmla="*/ 0 h 414"/>
                </a:gdLst>
                <a:ahLst/>
                <a:cxnLst>
                  <a:cxn ang="0">
                    <a:pos x="T0" y="T1"/>
                  </a:cxn>
                  <a:cxn ang="0">
                    <a:pos x="T2" y="T3"/>
                  </a:cxn>
                  <a:cxn ang="0">
                    <a:pos x="T4" y="T5"/>
                  </a:cxn>
                  <a:cxn ang="0">
                    <a:pos x="T6" y="T7"/>
                  </a:cxn>
                  <a:cxn ang="0">
                    <a:pos x="T8" y="T9"/>
                  </a:cxn>
                  <a:cxn ang="0">
                    <a:pos x="T10" y="T11"/>
                  </a:cxn>
                </a:cxnLst>
                <a:rect l="0" t="0" r="r" b="b"/>
                <a:pathLst>
                  <a:path w="26" h="414">
                    <a:moveTo>
                      <a:pt x="26" y="0"/>
                    </a:moveTo>
                    <a:lnTo>
                      <a:pt x="0" y="0"/>
                    </a:lnTo>
                    <a:lnTo>
                      <a:pt x="0" y="414"/>
                    </a:lnTo>
                    <a:lnTo>
                      <a:pt x="26" y="414"/>
                    </a:lnTo>
                    <a:lnTo>
                      <a:pt x="26" y="358"/>
                    </a:lnTo>
                    <a:lnTo>
                      <a:pt x="2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61" name="Freeform 413"/>
              <p:cNvSpPr>
                <a:spLocks/>
              </p:cNvSpPr>
              <p:nvPr/>
            </p:nvSpPr>
            <p:spPr bwMode="auto">
              <a:xfrm>
                <a:off x="8018463" y="4002088"/>
                <a:ext cx="479425" cy="131762"/>
              </a:xfrm>
              <a:custGeom>
                <a:avLst/>
                <a:gdLst>
                  <a:gd name="T0" fmla="*/ 302 w 302"/>
                  <a:gd name="T1" fmla="*/ 0 h 83"/>
                  <a:gd name="T2" fmla="*/ 0 w 302"/>
                  <a:gd name="T3" fmla="*/ 0 h 83"/>
                  <a:gd name="T4" fmla="*/ 0 w 302"/>
                  <a:gd name="T5" fmla="*/ 83 h 83"/>
                  <a:gd name="T6" fmla="*/ 26 w 302"/>
                  <a:gd name="T7" fmla="*/ 83 h 83"/>
                  <a:gd name="T8" fmla="*/ 278 w 302"/>
                  <a:gd name="T9" fmla="*/ 83 h 83"/>
                  <a:gd name="T10" fmla="*/ 302 w 302"/>
                  <a:gd name="T11" fmla="*/ 83 h 83"/>
                  <a:gd name="T12" fmla="*/ 302 w 302"/>
                  <a:gd name="T13" fmla="*/ 0 h 83"/>
                </a:gdLst>
                <a:ahLst/>
                <a:cxnLst>
                  <a:cxn ang="0">
                    <a:pos x="T0" y="T1"/>
                  </a:cxn>
                  <a:cxn ang="0">
                    <a:pos x="T2" y="T3"/>
                  </a:cxn>
                  <a:cxn ang="0">
                    <a:pos x="T4" y="T5"/>
                  </a:cxn>
                  <a:cxn ang="0">
                    <a:pos x="T6" y="T7"/>
                  </a:cxn>
                  <a:cxn ang="0">
                    <a:pos x="T8" y="T9"/>
                  </a:cxn>
                  <a:cxn ang="0">
                    <a:pos x="T10" y="T11"/>
                  </a:cxn>
                  <a:cxn ang="0">
                    <a:pos x="T12" y="T13"/>
                  </a:cxn>
                </a:cxnLst>
                <a:rect l="0" t="0" r="r" b="b"/>
                <a:pathLst>
                  <a:path w="302" h="83">
                    <a:moveTo>
                      <a:pt x="302" y="0"/>
                    </a:moveTo>
                    <a:lnTo>
                      <a:pt x="0" y="0"/>
                    </a:lnTo>
                    <a:lnTo>
                      <a:pt x="0" y="83"/>
                    </a:lnTo>
                    <a:lnTo>
                      <a:pt x="26" y="83"/>
                    </a:lnTo>
                    <a:lnTo>
                      <a:pt x="278" y="83"/>
                    </a:lnTo>
                    <a:lnTo>
                      <a:pt x="302" y="83"/>
                    </a:lnTo>
                    <a:lnTo>
                      <a:pt x="302" y="0"/>
                    </a:lnTo>
                    <a:close/>
                  </a:path>
                </a:pathLst>
              </a:custGeom>
              <a:solidFill>
                <a:srgbClr val="44AA4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62" name="Freeform 414"/>
              <p:cNvSpPr>
                <a:spLocks/>
              </p:cNvSpPr>
              <p:nvPr/>
            </p:nvSpPr>
            <p:spPr bwMode="auto">
              <a:xfrm>
                <a:off x="8018463" y="4002088"/>
                <a:ext cx="479425" cy="131762"/>
              </a:xfrm>
              <a:custGeom>
                <a:avLst/>
                <a:gdLst>
                  <a:gd name="T0" fmla="*/ 302 w 302"/>
                  <a:gd name="T1" fmla="*/ 0 h 83"/>
                  <a:gd name="T2" fmla="*/ 0 w 302"/>
                  <a:gd name="T3" fmla="*/ 0 h 83"/>
                  <a:gd name="T4" fmla="*/ 0 w 302"/>
                  <a:gd name="T5" fmla="*/ 83 h 83"/>
                  <a:gd name="T6" fmla="*/ 26 w 302"/>
                  <a:gd name="T7" fmla="*/ 83 h 83"/>
                  <a:gd name="T8" fmla="*/ 278 w 302"/>
                  <a:gd name="T9" fmla="*/ 83 h 83"/>
                  <a:gd name="T10" fmla="*/ 302 w 302"/>
                  <a:gd name="T11" fmla="*/ 83 h 83"/>
                  <a:gd name="T12" fmla="*/ 302 w 302"/>
                  <a:gd name="T13" fmla="*/ 0 h 83"/>
                </a:gdLst>
                <a:ahLst/>
                <a:cxnLst>
                  <a:cxn ang="0">
                    <a:pos x="T0" y="T1"/>
                  </a:cxn>
                  <a:cxn ang="0">
                    <a:pos x="T2" y="T3"/>
                  </a:cxn>
                  <a:cxn ang="0">
                    <a:pos x="T4" y="T5"/>
                  </a:cxn>
                  <a:cxn ang="0">
                    <a:pos x="T6" y="T7"/>
                  </a:cxn>
                  <a:cxn ang="0">
                    <a:pos x="T8" y="T9"/>
                  </a:cxn>
                  <a:cxn ang="0">
                    <a:pos x="T10" y="T11"/>
                  </a:cxn>
                  <a:cxn ang="0">
                    <a:pos x="T12" y="T13"/>
                  </a:cxn>
                </a:cxnLst>
                <a:rect l="0" t="0" r="r" b="b"/>
                <a:pathLst>
                  <a:path w="302" h="83">
                    <a:moveTo>
                      <a:pt x="302" y="0"/>
                    </a:moveTo>
                    <a:lnTo>
                      <a:pt x="0" y="0"/>
                    </a:lnTo>
                    <a:lnTo>
                      <a:pt x="0" y="83"/>
                    </a:lnTo>
                    <a:lnTo>
                      <a:pt x="26" y="83"/>
                    </a:lnTo>
                    <a:lnTo>
                      <a:pt x="278" y="83"/>
                    </a:lnTo>
                    <a:lnTo>
                      <a:pt x="302" y="83"/>
                    </a:lnTo>
                    <a:lnTo>
                      <a:pt x="30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63" name="Freeform 415"/>
              <p:cNvSpPr>
                <a:spLocks/>
              </p:cNvSpPr>
              <p:nvPr/>
            </p:nvSpPr>
            <p:spPr bwMode="auto">
              <a:xfrm>
                <a:off x="8459788" y="4679950"/>
                <a:ext cx="195263" cy="111125"/>
              </a:xfrm>
              <a:custGeom>
                <a:avLst/>
                <a:gdLst>
                  <a:gd name="T0" fmla="*/ 0 w 123"/>
                  <a:gd name="T1" fmla="*/ 54 h 70"/>
                  <a:gd name="T2" fmla="*/ 53 w 123"/>
                  <a:gd name="T3" fmla="*/ 0 h 70"/>
                  <a:gd name="T4" fmla="*/ 123 w 123"/>
                  <a:gd name="T5" fmla="*/ 0 h 70"/>
                  <a:gd name="T6" fmla="*/ 123 w 123"/>
                  <a:gd name="T7" fmla="*/ 70 h 70"/>
                  <a:gd name="T8" fmla="*/ 0 w 123"/>
                  <a:gd name="T9" fmla="*/ 70 h 70"/>
                  <a:gd name="T10" fmla="*/ 0 w 123"/>
                  <a:gd name="T11" fmla="*/ 54 h 70"/>
                </a:gdLst>
                <a:ahLst/>
                <a:cxnLst>
                  <a:cxn ang="0">
                    <a:pos x="T0" y="T1"/>
                  </a:cxn>
                  <a:cxn ang="0">
                    <a:pos x="T2" y="T3"/>
                  </a:cxn>
                  <a:cxn ang="0">
                    <a:pos x="T4" y="T5"/>
                  </a:cxn>
                  <a:cxn ang="0">
                    <a:pos x="T6" y="T7"/>
                  </a:cxn>
                  <a:cxn ang="0">
                    <a:pos x="T8" y="T9"/>
                  </a:cxn>
                  <a:cxn ang="0">
                    <a:pos x="T10" y="T11"/>
                  </a:cxn>
                </a:cxnLst>
                <a:rect l="0" t="0" r="r" b="b"/>
                <a:pathLst>
                  <a:path w="123" h="70">
                    <a:moveTo>
                      <a:pt x="0" y="54"/>
                    </a:moveTo>
                    <a:lnTo>
                      <a:pt x="53" y="0"/>
                    </a:lnTo>
                    <a:lnTo>
                      <a:pt x="123" y="0"/>
                    </a:lnTo>
                    <a:lnTo>
                      <a:pt x="123" y="70"/>
                    </a:lnTo>
                    <a:lnTo>
                      <a:pt x="0" y="70"/>
                    </a:lnTo>
                    <a:lnTo>
                      <a:pt x="0" y="54"/>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64" name="Freeform 416"/>
              <p:cNvSpPr>
                <a:spLocks/>
              </p:cNvSpPr>
              <p:nvPr/>
            </p:nvSpPr>
            <p:spPr bwMode="auto">
              <a:xfrm>
                <a:off x="8459788" y="4679950"/>
                <a:ext cx="195263" cy="111125"/>
              </a:xfrm>
              <a:custGeom>
                <a:avLst/>
                <a:gdLst>
                  <a:gd name="T0" fmla="*/ 0 w 123"/>
                  <a:gd name="T1" fmla="*/ 54 h 70"/>
                  <a:gd name="T2" fmla="*/ 53 w 123"/>
                  <a:gd name="T3" fmla="*/ 0 h 70"/>
                  <a:gd name="T4" fmla="*/ 123 w 123"/>
                  <a:gd name="T5" fmla="*/ 0 h 70"/>
                  <a:gd name="T6" fmla="*/ 123 w 123"/>
                  <a:gd name="T7" fmla="*/ 70 h 70"/>
                  <a:gd name="T8" fmla="*/ 0 w 123"/>
                  <a:gd name="T9" fmla="*/ 70 h 70"/>
                  <a:gd name="T10" fmla="*/ 0 w 123"/>
                  <a:gd name="T11" fmla="*/ 54 h 70"/>
                </a:gdLst>
                <a:ahLst/>
                <a:cxnLst>
                  <a:cxn ang="0">
                    <a:pos x="T0" y="T1"/>
                  </a:cxn>
                  <a:cxn ang="0">
                    <a:pos x="T2" y="T3"/>
                  </a:cxn>
                  <a:cxn ang="0">
                    <a:pos x="T4" y="T5"/>
                  </a:cxn>
                  <a:cxn ang="0">
                    <a:pos x="T6" y="T7"/>
                  </a:cxn>
                  <a:cxn ang="0">
                    <a:pos x="T8" y="T9"/>
                  </a:cxn>
                  <a:cxn ang="0">
                    <a:pos x="T10" y="T11"/>
                  </a:cxn>
                </a:cxnLst>
                <a:rect l="0" t="0" r="r" b="b"/>
                <a:pathLst>
                  <a:path w="123" h="70">
                    <a:moveTo>
                      <a:pt x="0" y="54"/>
                    </a:moveTo>
                    <a:lnTo>
                      <a:pt x="53" y="0"/>
                    </a:lnTo>
                    <a:lnTo>
                      <a:pt x="123" y="0"/>
                    </a:lnTo>
                    <a:lnTo>
                      <a:pt x="123" y="70"/>
                    </a:lnTo>
                    <a:lnTo>
                      <a:pt x="0" y="70"/>
                    </a:lnTo>
                    <a:lnTo>
                      <a:pt x="0" y="5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65" name="Rectangle 417"/>
              <p:cNvSpPr>
                <a:spLocks noChangeArrowheads="1"/>
              </p:cNvSpPr>
              <p:nvPr/>
            </p:nvSpPr>
            <p:spPr bwMode="auto">
              <a:xfrm>
                <a:off x="8545513" y="3960813"/>
                <a:ext cx="109538" cy="71913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66" name="Rectangle 418"/>
              <p:cNvSpPr>
                <a:spLocks noChangeArrowheads="1"/>
              </p:cNvSpPr>
              <p:nvPr/>
            </p:nvSpPr>
            <p:spPr bwMode="auto">
              <a:xfrm>
                <a:off x="8545513" y="3960813"/>
                <a:ext cx="109538" cy="719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67" name="Freeform 419"/>
              <p:cNvSpPr>
                <a:spLocks/>
              </p:cNvSpPr>
              <p:nvPr/>
            </p:nvSpPr>
            <p:spPr bwMode="auto">
              <a:xfrm>
                <a:off x="8604250" y="4679950"/>
                <a:ext cx="50800" cy="111125"/>
              </a:xfrm>
              <a:custGeom>
                <a:avLst/>
                <a:gdLst>
                  <a:gd name="T0" fmla="*/ 32 w 32"/>
                  <a:gd name="T1" fmla="*/ 0 h 70"/>
                  <a:gd name="T2" fmla="*/ 0 w 32"/>
                  <a:gd name="T3" fmla="*/ 0 h 70"/>
                  <a:gd name="T4" fmla="*/ 0 w 32"/>
                  <a:gd name="T5" fmla="*/ 70 h 70"/>
                  <a:gd name="T6" fmla="*/ 32 w 32"/>
                  <a:gd name="T7" fmla="*/ 70 h 70"/>
                  <a:gd name="T8" fmla="*/ 17 w 32"/>
                  <a:gd name="T9" fmla="*/ 70 h 70"/>
                  <a:gd name="T10" fmla="*/ 17 w 32"/>
                  <a:gd name="T11" fmla="*/ 54 h 70"/>
                  <a:gd name="T12" fmla="*/ 32 w 32"/>
                  <a:gd name="T13" fmla="*/ 38 h 70"/>
                  <a:gd name="T14" fmla="*/ 32 w 32"/>
                  <a:gd name="T15" fmla="*/ 0 h 7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 h="70">
                    <a:moveTo>
                      <a:pt x="32" y="0"/>
                    </a:moveTo>
                    <a:lnTo>
                      <a:pt x="0" y="0"/>
                    </a:lnTo>
                    <a:lnTo>
                      <a:pt x="0" y="70"/>
                    </a:lnTo>
                    <a:lnTo>
                      <a:pt x="32" y="70"/>
                    </a:lnTo>
                    <a:lnTo>
                      <a:pt x="17" y="70"/>
                    </a:lnTo>
                    <a:lnTo>
                      <a:pt x="17" y="54"/>
                    </a:lnTo>
                    <a:lnTo>
                      <a:pt x="32" y="38"/>
                    </a:lnTo>
                    <a:lnTo>
                      <a:pt x="32" y="0"/>
                    </a:lnTo>
                    <a:close/>
                  </a:path>
                </a:pathLst>
              </a:custGeom>
              <a:solidFill>
                <a:srgbClr val="CC9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68" name="Freeform 420"/>
              <p:cNvSpPr>
                <a:spLocks/>
              </p:cNvSpPr>
              <p:nvPr/>
            </p:nvSpPr>
            <p:spPr bwMode="auto">
              <a:xfrm>
                <a:off x="8604250" y="4679950"/>
                <a:ext cx="50800" cy="111125"/>
              </a:xfrm>
              <a:custGeom>
                <a:avLst/>
                <a:gdLst>
                  <a:gd name="T0" fmla="*/ 32 w 32"/>
                  <a:gd name="T1" fmla="*/ 0 h 70"/>
                  <a:gd name="T2" fmla="*/ 0 w 32"/>
                  <a:gd name="T3" fmla="*/ 0 h 70"/>
                  <a:gd name="T4" fmla="*/ 0 w 32"/>
                  <a:gd name="T5" fmla="*/ 70 h 70"/>
                  <a:gd name="T6" fmla="*/ 32 w 32"/>
                  <a:gd name="T7" fmla="*/ 70 h 70"/>
                  <a:gd name="T8" fmla="*/ 17 w 32"/>
                  <a:gd name="T9" fmla="*/ 70 h 70"/>
                  <a:gd name="T10" fmla="*/ 17 w 32"/>
                  <a:gd name="T11" fmla="*/ 54 h 70"/>
                  <a:gd name="T12" fmla="*/ 32 w 32"/>
                  <a:gd name="T13" fmla="*/ 38 h 70"/>
                  <a:gd name="T14" fmla="*/ 32 w 32"/>
                  <a:gd name="T15" fmla="*/ 0 h 7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 h="70">
                    <a:moveTo>
                      <a:pt x="32" y="0"/>
                    </a:moveTo>
                    <a:lnTo>
                      <a:pt x="0" y="0"/>
                    </a:lnTo>
                    <a:lnTo>
                      <a:pt x="0" y="70"/>
                    </a:lnTo>
                    <a:lnTo>
                      <a:pt x="32" y="70"/>
                    </a:lnTo>
                    <a:lnTo>
                      <a:pt x="17" y="70"/>
                    </a:lnTo>
                    <a:lnTo>
                      <a:pt x="17" y="54"/>
                    </a:lnTo>
                    <a:lnTo>
                      <a:pt x="32" y="38"/>
                    </a:lnTo>
                    <a:lnTo>
                      <a:pt x="3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69" name="Rectangle 421"/>
              <p:cNvSpPr>
                <a:spLocks noChangeArrowheads="1"/>
              </p:cNvSpPr>
              <p:nvPr/>
            </p:nvSpPr>
            <p:spPr bwMode="auto">
              <a:xfrm>
                <a:off x="8604250" y="3992563"/>
                <a:ext cx="50800" cy="687387"/>
              </a:xfrm>
              <a:prstGeom prst="rect">
                <a:avLst/>
              </a:prstGeom>
              <a:solidFill>
                <a:srgbClr val="001A4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70" name="Rectangle 422"/>
              <p:cNvSpPr>
                <a:spLocks noChangeArrowheads="1"/>
              </p:cNvSpPr>
              <p:nvPr/>
            </p:nvSpPr>
            <p:spPr bwMode="auto">
              <a:xfrm>
                <a:off x="8604250" y="3992563"/>
                <a:ext cx="50800" cy="6873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71" name="Rectangle 423"/>
              <p:cNvSpPr>
                <a:spLocks noChangeArrowheads="1"/>
              </p:cNvSpPr>
              <p:nvPr/>
            </p:nvSpPr>
            <p:spPr bwMode="auto">
              <a:xfrm>
                <a:off x="8716963" y="3960813"/>
                <a:ext cx="112713" cy="71913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72" name="Rectangle 424"/>
              <p:cNvSpPr>
                <a:spLocks noChangeArrowheads="1"/>
              </p:cNvSpPr>
              <p:nvPr/>
            </p:nvSpPr>
            <p:spPr bwMode="auto">
              <a:xfrm>
                <a:off x="8716963" y="3960813"/>
                <a:ext cx="112713" cy="719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73" name="Freeform 425"/>
              <p:cNvSpPr>
                <a:spLocks/>
              </p:cNvSpPr>
              <p:nvPr/>
            </p:nvSpPr>
            <p:spPr bwMode="auto">
              <a:xfrm>
                <a:off x="8631238" y="4679950"/>
                <a:ext cx="198438" cy="111125"/>
              </a:xfrm>
              <a:custGeom>
                <a:avLst/>
                <a:gdLst>
                  <a:gd name="T0" fmla="*/ 0 w 125"/>
                  <a:gd name="T1" fmla="*/ 54 h 70"/>
                  <a:gd name="T2" fmla="*/ 54 w 125"/>
                  <a:gd name="T3" fmla="*/ 0 h 70"/>
                  <a:gd name="T4" fmla="*/ 125 w 125"/>
                  <a:gd name="T5" fmla="*/ 0 h 70"/>
                  <a:gd name="T6" fmla="*/ 125 w 125"/>
                  <a:gd name="T7" fmla="*/ 70 h 70"/>
                  <a:gd name="T8" fmla="*/ 0 w 125"/>
                  <a:gd name="T9" fmla="*/ 70 h 70"/>
                  <a:gd name="T10" fmla="*/ 0 w 125"/>
                  <a:gd name="T11" fmla="*/ 54 h 70"/>
                </a:gdLst>
                <a:ahLst/>
                <a:cxnLst>
                  <a:cxn ang="0">
                    <a:pos x="T0" y="T1"/>
                  </a:cxn>
                  <a:cxn ang="0">
                    <a:pos x="T2" y="T3"/>
                  </a:cxn>
                  <a:cxn ang="0">
                    <a:pos x="T4" y="T5"/>
                  </a:cxn>
                  <a:cxn ang="0">
                    <a:pos x="T6" y="T7"/>
                  </a:cxn>
                  <a:cxn ang="0">
                    <a:pos x="T8" y="T9"/>
                  </a:cxn>
                  <a:cxn ang="0">
                    <a:pos x="T10" y="T11"/>
                  </a:cxn>
                </a:cxnLst>
                <a:rect l="0" t="0" r="r" b="b"/>
                <a:pathLst>
                  <a:path w="125" h="70">
                    <a:moveTo>
                      <a:pt x="0" y="54"/>
                    </a:moveTo>
                    <a:lnTo>
                      <a:pt x="54" y="0"/>
                    </a:lnTo>
                    <a:lnTo>
                      <a:pt x="125" y="0"/>
                    </a:lnTo>
                    <a:lnTo>
                      <a:pt x="125" y="70"/>
                    </a:lnTo>
                    <a:lnTo>
                      <a:pt x="0" y="70"/>
                    </a:lnTo>
                    <a:lnTo>
                      <a:pt x="0" y="54"/>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74" name="Freeform 426"/>
              <p:cNvSpPr>
                <a:spLocks/>
              </p:cNvSpPr>
              <p:nvPr/>
            </p:nvSpPr>
            <p:spPr bwMode="auto">
              <a:xfrm>
                <a:off x="8631238" y="4679950"/>
                <a:ext cx="198438" cy="111125"/>
              </a:xfrm>
              <a:custGeom>
                <a:avLst/>
                <a:gdLst>
                  <a:gd name="T0" fmla="*/ 0 w 125"/>
                  <a:gd name="T1" fmla="*/ 54 h 70"/>
                  <a:gd name="T2" fmla="*/ 54 w 125"/>
                  <a:gd name="T3" fmla="*/ 0 h 70"/>
                  <a:gd name="T4" fmla="*/ 125 w 125"/>
                  <a:gd name="T5" fmla="*/ 0 h 70"/>
                  <a:gd name="T6" fmla="*/ 125 w 125"/>
                  <a:gd name="T7" fmla="*/ 70 h 70"/>
                  <a:gd name="T8" fmla="*/ 0 w 125"/>
                  <a:gd name="T9" fmla="*/ 70 h 70"/>
                  <a:gd name="T10" fmla="*/ 0 w 125"/>
                  <a:gd name="T11" fmla="*/ 54 h 70"/>
                </a:gdLst>
                <a:ahLst/>
                <a:cxnLst>
                  <a:cxn ang="0">
                    <a:pos x="T0" y="T1"/>
                  </a:cxn>
                  <a:cxn ang="0">
                    <a:pos x="T2" y="T3"/>
                  </a:cxn>
                  <a:cxn ang="0">
                    <a:pos x="T4" y="T5"/>
                  </a:cxn>
                  <a:cxn ang="0">
                    <a:pos x="T6" y="T7"/>
                  </a:cxn>
                  <a:cxn ang="0">
                    <a:pos x="T8" y="T9"/>
                  </a:cxn>
                  <a:cxn ang="0">
                    <a:pos x="T10" y="T11"/>
                  </a:cxn>
                </a:cxnLst>
                <a:rect l="0" t="0" r="r" b="b"/>
                <a:pathLst>
                  <a:path w="125" h="70">
                    <a:moveTo>
                      <a:pt x="0" y="54"/>
                    </a:moveTo>
                    <a:lnTo>
                      <a:pt x="54" y="0"/>
                    </a:lnTo>
                    <a:lnTo>
                      <a:pt x="125" y="0"/>
                    </a:lnTo>
                    <a:lnTo>
                      <a:pt x="125" y="70"/>
                    </a:lnTo>
                    <a:lnTo>
                      <a:pt x="0" y="70"/>
                    </a:lnTo>
                    <a:lnTo>
                      <a:pt x="0" y="5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75" name="Rectangle 427"/>
              <p:cNvSpPr>
                <a:spLocks noChangeArrowheads="1"/>
              </p:cNvSpPr>
              <p:nvPr/>
            </p:nvSpPr>
            <p:spPr bwMode="auto">
              <a:xfrm>
                <a:off x="8775700" y="3992563"/>
                <a:ext cx="53975" cy="687387"/>
              </a:xfrm>
              <a:prstGeom prst="rect">
                <a:avLst/>
              </a:prstGeom>
              <a:solidFill>
                <a:srgbClr val="001A4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76" name="Rectangle 428"/>
              <p:cNvSpPr>
                <a:spLocks noChangeArrowheads="1"/>
              </p:cNvSpPr>
              <p:nvPr/>
            </p:nvSpPr>
            <p:spPr bwMode="auto">
              <a:xfrm>
                <a:off x="8775700" y="3992563"/>
                <a:ext cx="53975" cy="6873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77" name="Freeform 429"/>
              <p:cNvSpPr>
                <a:spLocks/>
              </p:cNvSpPr>
              <p:nvPr/>
            </p:nvSpPr>
            <p:spPr bwMode="auto">
              <a:xfrm>
                <a:off x="8775700" y="4679950"/>
                <a:ext cx="53975" cy="111125"/>
              </a:xfrm>
              <a:custGeom>
                <a:avLst/>
                <a:gdLst>
                  <a:gd name="T0" fmla="*/ 34 w 34"/>
                  <a:gd name="T1" fmla="*/ 0 h 70"/>
                  <a:gd name="T2" fmla="*/ 34 w 34"/>
                  <a:gd name="T3" fmla="*/ 0 h 70"/>
                  <a:gd name="T4" fmla="*/ 0 w 34"/>
                  <a:gd name="T5" fmla="*/ 0 h 70"/>
                  <a:gd name="T6" fmla="*/ 0 w 34"/>
                  <a:gd name="T7" fmla="*/ 70 h 70"/>
                  <a:gd name="T8" fmla="*/ 34 w 34"/>
                  <a:gd name="T9" fmla="*/ 70 h 70"/>
                  <a:gd name="T10" fmla="*/ 34 w 34"/>
                  <a:gd name="T11" fmla="*/ 14 h 70"/>
                  <a:gd name="T12" fmla="*/ 34 w 34"/>
                  <a:gd name="T13" fmla="*/ 0 h 70"/>
                </a:gdLst>
                <a:ahLst/>
                <a:cxnLst>
                  <a:cxn ang="0">
                    <a:pos x="T0" y="T1"/>
                  </a:cxn>
                  <a:cxn ang="0">
                    <a:pos x="T2" y="T3"/>
                  </a:cxn>
                  <a:cxn ang="0">
                    <a:pos x="T4" y="T5"/>
                  </a:cxn>
                  <a:cxn ang="0">
                    <a:pos x="T6" y="T7"/>
                  </a:cxn>
                  <a:cxn ang="0">
                    <a:pos x="T8" y="T9"/>
                  </a:cxn>
                  <a:cxn ang="0">
                    <a:pos x="T10" y="T11"/>
                  </a:cxn>
                  <a:cxn ang="0">
                    <a:pos x="T12" y="T13"/>
                  </a:cxn>
                </a:cxnLst>
                <a:rect l="0" t="0" r="r" b="b"/>
                <a:pathLst>
                  <a:path w="34" h="70">
                    <a:moveTo>
                      <a:pt x="34" y="0"/>
                    </a:moveTo>
                    <a:lnTo>
                      <a:pt x="34" y="0"/>
                    </a:lnTo>
                    <a:lnTo>
                      <a:pt x="0" y="0"/>
                    </a:lnTo>
                    <a:lnTo>
                      <a:pt x="0" y="70"/>
                    </a:lnTo>
                    <a:lnTo>
                      <a:pt x="34" y="70"/>
                    </a:lnTo>
                    <a:lnTo>
                      <a:pt x="34" y="14"/>
                    </a:lnTo>
                    <a:lnTo>
                      <a:pt x="34" y="0"/>
                    </a:lnTo>
                    <a:close/>
                  </a:path>
                </a:pathLst>
              </a:custGeom>
              <a:solidFill>
                <a:srgbClr val="CC9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78" name="Freeform 430"/>
              <p:cNvSpPr>
                <a:spLocks/>
              </p:cNvSpPr>
              <p:nvPr/>
            </p:nvSpPr>
            <p:spPr bwMode="auto">
              <a:xfrm>
                <a:off x="8775700" y="4679950"/>
                <a:ext cx="53975" cy="111125"/>
              </a:xfrm>
              <a:custGeom>
                <a:avLst/>
                <a:gdLst>
                  <a:gd name="T0" fmla="*/ 34 w 34"/>
                  <a:gd name="T1" fmla="*/ 0 h 70"/>
                  <a:gd name="T2" fmla="*/ 34 w 34"/>
                  <a:gd name="T3" fmla="*/ 0 h 70"/>
                  <a:gd name="T4" fmla="*/ 0 w 34"/>
                  <a:gd name="T5" fmla="*/ 0 h 70"/>
                  <a:gd name="T6" fmla="*/ 0 w 34"/>
                  <a:gd name="T7" fmla="*/ 70 h 70"/>
                  <a:gd name="T8" fmla="*/ 34 w 34"/>
                  <a:gd name="T9" fmla="*/ 70 h 70"/>
                  <a:gd name="T10" fmla="*/ 34 w 34"/>
                  <a:gd name="T11" fmla="*/ 14 h 70"/>
                  <a:gd name="T12" fmla="*/ 34 w 34"/>
                  <a:gd name="T13" fmla="*/ 0 h 70"/>
                </a:gdLst>
                <a:ahLst/>
                <a:cxnLst>
                  <a:cxn ang="0">
                    <a:pos x="T0" y="T1"/>
                  </a:cxn>
                  <a:cxn ang="0">
                    <a:pos x="T2" y="T3"/>
                  </a:cxn>
                  <a:cxn ang="0">
                    <a:pos x="T4" y="T5"/>
                  </a:cxn>
                  <a:cxn ang="0">
                    <a:pos x="T6" y="T7"/>
                  </a:cxn>
                  <a:cxn ang="0">
                    <a:pos x="T8" y="T9"/>
                  </a:cxn>
                  <a:cxn ang="0">
                    <a:pos x="T10" y="T11"/>
                  </a:cxn>
                  <a:cxn ang="0">
                    <a:pos x="T12" y="T13"/>
                  </a:cxn>
                </a:cxnLst>
                <a:rect l="0" t="0" r="r" b="b"/>
                <a:pathLst>
                  <a:path w="34" h="70">
                    <a:moveTo>
                      <a:pt x="34" y="0"/>
                    </a:moveTo>
                    <a:lnTo>
                      <a:pt x="34" y="0"/>
                    </a:lnTo>
                    <a:lnTo>
                      <a:pt x="0" y="0"/>
                    </a:lnTo>
                    <a:lnTo>
                      <a:pt x="0" y="70"/>
                    </a:lnTo>
                    <a:lnTo>
                      <a:pt x="34" y="70"/>
                    </a:lnTo>
                    <a:lnTo>
                      <a:pt x="34" y="14"/>
                    </a:lnTo>
                    <a:lnTo>
                      <a:pt x="3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79" name="Rectangle 431"/>
              <p:cNvSpPr>
                <a:spLocks noChangeArrowheads="1"/>
              </p:cNvSpPr>
              <p:nvPr/>
            </p:nvSpPr>
            <p:spPr bwMode="auto">
              <a:xfrm>
                <a:off x="6489700" y="3179763"/>
                <a:ext cx="496888" cy="158750"/>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80" name="Rectangle 432"/>
              <p:cNvSpPr>
                <a:spLocks noChangeArrowheads="1"/>
              </p:cNvSpPr>
              <p:nvPr/>
            </p:nvSpPr>
            <p:spPr bwMode="auto">
              <a:xfrm>
                <a:off x="6489700" y="3179763"/>
                <a:ext cx="39688" cy="158750"/>
              </a:xfrm>
              <a:prstGeom prst="rect">
                <a:avLst/>
              </a:prstGeom>
              <a:solidFill>
                <a:srgbClr val="009E4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81" name="Rectangle 433"/>
              <p:cNvSpPr>
                <a:spLocks noChangeArrowheads="1"/>
              </p:cNvSpPr>
              <p:nvPr/>
            </p:nvSpPr>
            <p:spPr bwMode="auto">
              <a:xfrm>
                <a:off x="7162800" y="4581525"/>
                <a:ext cx="207963" cy="6350"/>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82" name="Rectangle 434"/>
              <p:cNvSpPr>
                <a:spLocks noChangeArrowheads="1"/>
              </p:cNvSpPr>
              <p:nvPr/>
            </p:nvSpPr>
            <p:spPr bwMode="auto">
              <a:xfrm>
                <a:off x="7162800" y="4608513"/>
                <a:ext cx="207963" cy="6350"/>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83" name="Rectangle 435"/>
              <p:cNvSpPr>
                <a:spLocks noChangeArrowheads="1"/>
              </p:cNvSpPr>
              <p:nvPr/>
            </p:nvSpPr>
            <p:spPr bwMode="auto">
              <a:xfrm>
                <a:off x="7162800" y="4635500"/>
                <a:ext cx="207963" cy="6350"/>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84" name="Rectangle 436"/>
              <p:cNvSpPr>
                <a:spLocks noChangeArrowheads="1"/>
              </p:cNvSpPr>
              <p:nvPr/>
            </p:nvSpPr>
            <p:spPr bwMode="auto">
              <a:xfrm>
                <a:off x="7162800" y="4662488"/>
                <a:ext cx="207963" cy="6350"/>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85" name="Rectangle 437"/>
              <p:cNvSpPr>
                <a:spLocks noChangeArrowheads="1"/>
              </p:cNvSpPr>
              <p:nvPr/>
            </p:nvSpPr>
            <p:spPr bwMode="auto">
              <a:xfrm>
                <a:off x="7162800" y="4691063"/>
                <a:ext cx="207963" cy="6350"/>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86" name="Rectangle 438"/>
              <p:cNvSpPr>
                <a:spLocks noChangeArrowheads="1"/>
              </p:cNvSpPr>
              <p:nvPr/>
            </p:nvSpPr>
            <p:spPr bwMode="auto">
              <a:xfrm>
                <a:off x="7162800" y="4716463"/>
                <a:ext cx="207963" cy="7937"/>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87" name="Rectangle 439"/>
              <p:cNvSpPr>
                <a:spLocks noChangeArrowheads="1"/>
              </p:cNvSpPr>
              <p:nvPr/>
            </p:nvSpPr>
            <p:spPr bwMode="auto">
              <a:xfrm>
                <a:off x="6489700" y="3395663"/>
                <a:ext cx="136525" cy="158750"/>
              </a:xfrm>
              <a:prstGeom prst="rect">
                <a:avLst/>
              </a:prstGeom>
              <a:solidFill>
                <a:srgbClr val="009E4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88" name="Rectangle 440"/>
              <p:cNvSpPr>
                <a:spLocks noChangeArrowheads="1"/>
              </p:cNvSpPr>
              <p:nvPr/>
            </p:nvSpPr>
            <p:spPr bwMode="auto">
              <a:xfrm>
                <a:off x="6584950" y="3395663"/>
                <a:ext cx="41275" cy="158750"/>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89" name="Rectangle 441"/>
              <p:cNvSpPr>
                <a:spLocks noChangeArrowheads="1"/>
              </p:cNvSpPr>
              <p:nvPr/>
            </p:nvSpPr>
            <p:spPr bwMode="auto">
              <a:xfrm>
                <a:off x="6808788" y="3394075"/>
                <a:ext cx="6350" cy="158750"/>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90" name="Rectangle 442"/>
              <p:cNvSpPr>
                <a:spLocks noChangeArrowheads="1"/>
              </p:cNvSpPr>
              <p:nvPr/>
            </p:nvSpPr>
            <p:spPr bwMode="auto">
              <a:xfrm>
                <a:off x="6780213" y="3394075"/>
                <a:ext cx="6350" cy="158750"/>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91" name="Rectangle 443"/>
              <p:cNvSpPr>
                <a:spLocks noChangeArrowheads="1"/>
              </p:cNvSpPr>
              <p:nvPr/>
            </p:nvSpPr>
            <p:spPr bwMode="auto">
              <a:xfrm>
                <a:off x="6753225" y="3394075"/>
                <a:ext cx="6350" cy="158750"/>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92" name="Rectangle 444"/>
              <p:cNvSpPr>
                <a:spLocks noChangeArrowheads="1"/>
              </p:cNvSpPr>
              <p:nvPr/>
            </p:nvSpPr>
            <p:spPr bwMode="auto">
              <a:xfrm>
                <a:off x="6726238" y="3394075"/>
                <a:ext cx="6350" cy="158750"/>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93" name="Rectangle 445"/>
              <p:cNvSpPr>
                <a:spLocks noChangeArrowheads="1"/>
              </p:cNvSpPr>
              <p:nvPr/>
            </p:nvSpPr>
            <p:spPr bwMode="auto">
              <a:xfrm>
                <a:off x="6699250" y="3394075"/>
                <a:ext cx="7938" cy="158750"/>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94" name="Rectangle 446"/>
              <p:cNvSpPr>
                <a:spLocks noChangeArrowheads="1"/>
              </p:cNvSpPr>
              <p:nvPr/>
            </p:nvSpPr>
            <p:spPr bwMode="auto">
              <a:xfrm>
                <a:off x="6672263" y="3394075"/>
                <a:ext cx="6350" cy="158750"/>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95" name="Freeform 447"/>
              <p:cNvSpPr>
                <a:spLocks/>
              </p:cNvSpPr>
              <p:nvPr/>
            </p:nvSpPr>
            <p:spPr bwMode="auto">
              <a:xfrm>
                <a:off x="6673850" y="3586163"/>
                <a:ext cx="50800" cy="46037"/>
              </a:xfrm>
              <a:custGeom>
                <a:avLst/>
                <a:gdLst>
                  <a:gd name="T0" fmla="*/ 17 w 31"/>
                  <a:gd name="T1" fmla="*/ 0 h 28"/>
                  <a:gd name="T2" fmla="*/ 0 w 31"/>
                  <a:gd name="T3" fmla="*/ 0 h 28"/>
                  <a:gd name="T4" fmla="*/ 0 w 31"/>
                  <a:gd name="T5" fmla="*/ 28 h 28"/>
                  <a:gd name="T6" fmla="*/ 17 w 31"/>
                  <a:gd name="T7" fmla="*/ 28 h 28"/>
                  <a:gd name="T8" fmla="*/ 31 w 31"/>
                  <a:gd name="T9" fmla="*/ 14 h 28"/>
                  <a:gd name="T10" fmla="*/ 17 w 31"/>
                  <a:gd name="T11" fmla="*/ 0 h 28"/>
                </a:gdLst>
                <a:ahLst/>
                <a:cxnLst>
                  <a:cxn ang="0">
                    <a:pos x="T0" y="T1"/>
                  </a:cxn>
                  <a:cxn ang="0">
                    <a:pos x="T2" y="T3"/>
                  </a:cxn>
                  <a:cxn ang="0">
                    <a:pos x="T4" y="T5"/>
                  </a:cxn>
                  <a:cxn ang="0">
                    <a:pos x="T6" y="T7"/>
                  </a:cxn>
                  <a:cxn ang="0">
                    <a:pos x="T8" y="T9"/>
                  </a:cxn>
                  <a:cxn ang="0">
                    <a:pos x="T10" y="T11"/>
                  </a:cxn>
                </a:cxnLst>
                <a:rect l="0" t="0" r="r" b="b"/>
                <a:pathLst>
                  <a:path w="31" h="28">
                    <a:moveTo>
                      <a:pt x="17" y="0"/>
                    </a:moveTo>
                    <a:cubicBezTo>
                      <a:pt x="0" y="0"/>
                      <a:pt x="0" y="0"/>
                      <a:pt x="0" y="0"/>
                    </a:cubicBezTo>
                    <a:cubicBezTo>
                      <a:pt x="0" y="28"/>
                      <a:pt x="0" y="28"/>
                      <a:pt x="0" y="28"/>
                    </a:cubicBezTo>
                    <a:cubicBezTo>
                      <a:pt x="17" y="28"/>
                      <a:pt x="17" y="28"/>
                      <a:pt x="17" y="28"/>
                    </a:cubicBezTo>
                    <a:cubicBezTo>
                      <a:pt x="24" y="28"/>
                      <a:pt x="31" y="22"/>
                      <a:pt x="31" y="14"/>
                    </a:cubicBezTo>
                    <a:cubicBezTo>
                      <a:pt x="31" y="6"/>
                      <a:pt x="24" y="0"/>
                      <a:pt x="17" y="0"/>
                    </a:cubicBez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96" name="Freeform 448"/>
              <p:cNvSpPr>
                <a:spLocks/>
              </p:cNvSpPr>
              <p:nvPr/>
            </p:nvSpPr>
            <p:spPr bwMode="auto">
              <a:xfrm>
                <a:off x="6761163" y="3586163"/>
                <a:ext cx="52388" cy="46037"/>
              </a:xfrm>
              <a:custGeom>
                <a:avLst/>
                <a:gdLst>
                  <a:gd name="T0" fmla="*/ 17 w 31"/>
                  <a:gd name="T1" fmla="*/ 0 h 28"/>
                  <a:gd name="T2" fmla="*/ 0 w 31"/>
                  <a:gd name="T3" fmla="*/ 0 h 28"/>
                  <a:gd name="T4" fmla="*/ 0 w 31"/>
                  <a:gd name="T5" fmla="*/ 28 h 28"/>
                  <a:gd name="T6" fmla="*/ 17 w 31"/>
                  <a:gd name="T7" fmla="*/ 28 h 28"/>
                  <a:gd name="T8" fmla="*/ 31 w 31"/>
                  <a:gd name="T9" fmla="*/ 14 h 28"/>
                  <a:gd name="T10" fmla="*/ 17 w 31"/>
                  <a:gd name="T11" fmla="*/ 0 h 28"/>
                </a:gdLst>
                <a:ahLst/>
                <a:cxnLst>
                  <a:cxn ang="0">
                    <a:pos x="T0" y="T1"/>
                  </a:cxn>
                  <a:cxn ang="0">
                    <a:pos x="T2" y="T3"/>
                  </a:cxn>
                  <a:cxn ang="0">
                    <a:pos x="T4" y="T5"/>
                  </a:cxn>
                  <a:cxn ang="0">
                    <a:pos x="T6" y="T7"/>
                  </a:cxn>
                  <a:cxn ang="0">
                    <a:pos x="T8" y="T9"/>
                  </a:cxn>
                  <a:cxn ang="0">
                    <a:pos x="T10" y="T11"/>
                  </a:cxn>
                </a:cxnLst>
                <a:rect l="0" t="0" r="r" b="b"/>
                <a:pathLst>
                  <a:path w="31" h="28">
                    <a:moveTo>
                      <a:pt x="17" y="0"/>
                    </a:moveTo>
                    <a:cubicBezTo>
                      <a:pt x="0" y="0"/>
                      <a:pt x="0" y="0"/>
                      <a:pt x="0" y="0"/>
                    </a:cubicBezTo>
                    <a:cubicBezTo>
                      <a:pt x="0" y="28"/>
                      <a:pt x="0" y="28"/>
                      <a:pt x="0" y="28"/>
                    </a:cubicBezTo>
                    <a:cubicBezTo>
                      <a:pt x="17" y="28"/>
                      <a:pt x="17" y="28"/>
                      <a:pt x="17" y="28"/>
                    </a:cubicBezTo>
                    <a:cubicBezTo>
                      <a:pt x="24" y="28"/>
                      <a:pt x="31" y="22"/>
                      <a:pt x="31" y="14"/>
                    </a:cubicBezTo>
                    <a:cubicBezTo>
                      <a:pt x="31" y="6"/>
                      <a:pt x="24" y="0"/>
                      <a:pt x="17" y="0"/>
                    </a:cubicBez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97" name="Freeform 449"/>
              <p:cNvSpPr>
                <a:spLocks/>
              </p:cNvSpPr>
              <p:nvPr/>
            </p:nvSpPr>
            <p:spPr bwMode="auto">
              <a:xfrm>
                <a:off x="6850063" y="3586163"/>
                <a:ext cx="52388" cy="46037"/>
              </a:xfrm>
              <a:custGeom>
                <a:avLst/>
                <a:gdLst>
                  <a:gd name="T0" fmla="*/ 16 w 31"/>
                  <a:gd name="T1" fmla="*/ 0 h 28"/>
                  <a:gd name="T2" fmla="*/ 0 w 31"/>
                  <a:gd name="T3" fmla="*/ 0 h 28"/>
                  <a:gd name="T4" fmla="*/ 0 w 31"/>
                  <a:gd name="T5" fmla="*/ 28 h 28"/>
                  <a:gd name="T6" fmla="*/ 16 w 31"/>
                  <a:gd name="T7" fmla="*/ 28 h 28"/>
                  <a:gd name="T8" fmla="*/ 31 w 31"/>
                  <a:gd name="T9" fmla="*/ 14 h 28"/>
                  <a:gd name="T10" fmla="*/ 16 w 31"/>
                  <a:gd name="T11" fmla="*/ 0 h 28"/>
                </a:gdLst>
                <a:ahLst/>
                <a:cxnLst>
                  <a:cxn ang="0">
                    <a:pos x="T0" y="T1"/>
                  </a:cxn>
                  <a:cxn ang="0">
                    <a:pos x="T2" y="T3"/>
                  </a:cxn>
                  <a:cxn ang="0">
                    <a:pos x="T4" y="T5"/>
                  </a:cxn>
                  <a:cxn ang="0">
                    <a:pos x="T6" y="T7"/>
                  </a:cxn>
                  <a:cxn ang="0">
                    <a:pos x="T8" y="T9"/>
                  </a:cxn>
                  <a:cxn ang="0">
                    <a:pos x="T10" y="T11"/>
                  </a:cxn>
                </a:cxnLst>
                <a:rect l="0" t="0" r="r" b="b"/>
                <a:pathLst>
                  <a:path w="31" h="28">
                    <a:moveTo>
                      <a:pt x="16" y="0"/>
                    </a:moveTo>
                    <a:cubicBezTo>
                      <a:pt x="0" y="0"/>
                      <a:pt x="0" y="0"/>
                      <a:pt x="0" y="0"/>
                    </a:cubicBezTo>
                    <a:cubicBezTo>
                      <a:pt x="0" y="28"/>
                      <a:pt x="0" y="28"/>
                      <a:pt x="0" y="28"/>
                    </a:cubicBezTo>
                    <a:cubicBezTo>
                      <a:pt x="16" y="28"/>
                      <a:pt x="16" y="28"/>
                      <a:pt x="16" y="28"/>
                    </a:cubicBezTo>
                    <a:cubicBezTo>
                      <a:pt x="24" y="28"/>
                      <a:pt x="31" y="22"/>
                      <a:pt x="31" y="14"/>
                    </a:cubicBezTo>
                    <a:cubicBezTo>
                      <a:pt x="31" y="6"/>
                      <a:pt x="24" y="0"/>
                      <a:pt x="16" y="0"/>
                    </a:cubicBez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98" name="Oval 450"/>
              <p:cNvSpPr>
                <a:spLocks noChangeArrowheads="1"/>
              </p:cNvSpPr>
              <p:nvPr/>
            </p:nvSpPr>
            <p:spPr bwMode="auto">
              <a:xfrm>
                <a:off x="6826250" y="3586163"/>
                <a:ext cx="47625" cy="46037"/>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99" name="Freeform 451"/>
              <p:cNvSpPr>
                <a:spLocks/>
              </p:cNvSpPr>
              <p:nvPr/>
            </p:nvSpPr>
            <p:spPr bwMode="auto">
              <a:xfrm>
                <a:off x="6523038" y="3792538"/>
                <a:ext cx="411163" cy="719137"/>
              </a:xfrm>
              <a:custGeom>
                <a:avLst/>
                <a:gdLst>
                  <a:gd name="T0" fmla="*/ 246 w 246"/>
                  <a:gd name="T1" fmla="*/ 115 h 431"/>
                  <a:gd name="T2" fmla="*/ 123 w 246"/>
                  <a:gd name="T3" fmla="*/ 0 h 431"/>
                  <a:gd name="T4" fmla="*/ 0 w 246"/>
                  <a:gd name="T5" fmla="*/ 123 h 431"/>
                  <a:gd name="T6" fmla="*/ 0 w 246"/>
                  <a:gd name="T7" fmla="*/ 431 h 431"/>
                  <a:gd name="T8" fmla="*/ 218 w 246"/>
                  <a:gd name="T9" fmla="*/ 431 h 431"/>
                  <a:gd name="T10" fmla="*/ 215 w 246"/>
                  <a:gd name="T11" fmla="*/ 269 h 431"/>
                  <a:gd name="T12" fmla="*/ 246 w 246"/>
                  <a:gd name="T13" fmla="*/ 269 h 431"/>
                  <a:gd name="T14" fmla="*/ 246 w 246"/>
                  <a:gd name="T15" fmla="*/ 115 h 431"/>
                  <a:gd name="T16" fmla="*/ 246 w 246"/>
                  <a:gd name="T17" fmla="*/ 115 h 4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6" h="431">
                    <a:moveTo>
                      <a:pt x="246" y="115"/>
                    </a:moveTo>
                    <a:cubicBezTo>
                      <a:pt x="242" y="51"/>
                      <a:pt x="189" y="0"/>
                      <a:pt x="123" y="0"/>
                    </a:cubicBezTo>
                    <a:cubicBezTo>
                      <a:pt x="55" y="0"/>
                      <a:pt x="0" y="55"/>
                      <a:pt x="0" y="123"/>
                    </a:cubicBezTo>
                    <a:cubicBezTo>
                      <a:pt x="0" y="431"/>
                      <a:pt x="0" y="431"/>
                      <a:pt x="0" y="431"/>
                    </a:cubicBezTo>
                    <a:cubicBezTo>
                      <a:pt x="218" y="431"/>
                      <a:pt x="218" y="431"/>
                      <a:pt x="218" y="431"/>
                    </a:cubicBezTo>
                    <a:cubicBezTo>
                      <a:pt x="215" y="269"/>
                      <a:pt x="215" y="269"/>
                      <a:pt x="215" y="269"/>
                    </a:cubicBezTo>
                    <a:cubicBezTo>
                      <a:pt x="246" y="269"/>
                      <a:pt x="246" y="269"/>
                      <a:pt x="246" y="269"/>
                    </a:cubicBezTo>
                    <a:cubicBezTo>
                      <a:pt x="246" y="115"/>
                      <a:pt x="246" y="115"/>
                      <a:pt x="246" y="115"/>
                    </a:cubicBezTo>
                    <a:cubicBezTo>
                      <a:pt x="246" y="115"/>
                      <a:pt x="246" y="115"/>
                      <a:pt x="246" y="11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00" name="Oval 452"/>
              <p:cNvSpPr>
                <a:spLocks noChangeArrowheads="1"/>
              </p:cNvSpPr>
              <p:nvPr/>
            </p:nvSpPr>
            <p:spPr bwMode="auto">
              <a:xfrm>
                <a:off x="6831013" y="4148138"/>
                <a:ext cx="25400" cy="25400"/>
              </a:xfrm>
              <a:prstGeom prst="ellipse">
                <a:avLst/>
              </a:prstGeom>
              <a:solidFill>
                <a:srgbClr val="55D4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01" name="Oval 453"/>
              <p:cNvSpPr>
                <a:spLocks noChangeArrowheads="1"/>
              </p:cNvSpPr>
              <p:nvPr/>
            </p:nvSpPr>
            <p:spPr bwMode="auto">
              <a:xfrm>
                <a:off x="6572250" y="3840163"/>
                <a:ext cx="311150" cy="311150"/>
              </a:xfrm>
              <a:prstGeom prst="ellipse">
                <a:avLst/>
              </a:prstGeom>
              <a:solidFill>
                <a:srgbClr val="55D4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02" name="Freeform 454"/>
              <p:cNvSpPr>
                <a:spLocks noEditPoints="1"/>
              </p:cNvSpPr>
              <p:nvPr/>
            </p:nvSpPr>
            <p:spPr bwMode="auto">
              <a:xfrm>
                <a:off x="6669088" y="3910013"/>
                <a:ext cx="109538" cy="142875"/>
              </a:xfrm>
              <a:custGeom>
                <a:avLst/>
                <a:gdLst>
                  <a:gd name="T0" fmla="*/ 65 w 65"/>
                  <a:gd name="T1" fmla="*/ 33 h 86"/>
                  <a:gd name="T2" fmla="*/ 33 w 65"/>
                  <a:gd name="T3" fmla="*/ 0 h 86"/>
                  <a:gd name="T4" fmla="*/ 0 w 65"/>
                  <a:gd name="T5" fmla="*/ 33 h 86"/>
                  <a:gd name="T6" fmla="*/ 15 w 65"/>
                  <a:gd name="T7" fmla="*/ 60 h 86"/>
                  <a:gd name="T8" fmla="*/ 22 w 65"/>
                  <a:gd name="T9" fmla="*/ 82 h 86"/>
                  <a:gd name="T10" fmla="*/ 33 w 65"/>
                  <a:gd name="T11" fmla="*/ 86 h 86"/>
                  <a:gd name="T12" fmla="*/ 33 w 65"/>
                  <a:gd name="T13" fmla="*/ 86 h 86"/>
                  <a:gd name="T14" fmla="*/ 33 w 65"/>
                  <a:gd name="T15" fmla="*/ 86 h 86"/>
                  <a:gd name="T16" fmla="*/ 33 w 65"/>
                  <a:gd name="T17" fmla="*/ 86 h 86"/>
                  <a:gd name="T18" fmla="*/ 33 w 65"/>
                  <a:gd name="T19" fmla="*/ 86 h 86"/>
                  <a:gd name="T20" fmla="*/ 44 w 65"/>
                  <a:gd name="T21" fmla="*/ 82 h 86"/>
                  <a:gd name="T22" fmla="*/ 44 w 65"/>
                  <a:gd name="T23" fmla="*/ 82 h 86"/>
                  <a:gd name="T24" fmla="*/ 44 w 65"/>
                  <a:gd name="T25" fmla="*/ 80 h 86"/>
                  <a:gd name="T26" fmla="*/ 51 w 65"/>
                  <a:gd name="T27" fmla="*/ 60 h 86"/>
                  <a:gd name="T28" fmla="*/ 65 w 65"/>
                  <a:gd name="T29" fmla="*/ 33 h 86"/>
                  <a:gd name="T30" fmla="*/ 33 w 65"/>
                  <a:gd name="T31" fmla="*/ 86 h 86"/>
                  <a:gd name="T32" fmla="*/ 33 w 65"/>
                  <a:gd name="T33" fmla="*/ 82 h 86"/>
                  <a:gd name="T34" fmla="*/ 33 w 65"/>
                  <a:gd name="T35" fmla="*/ 82 h 86"/>
                  <a:gd name="T36" fmla="*/ 33 w 65"/>
                  <a:gd name="T37" fmla="*/ 86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5" h="86">
                    <a:moveTo>
                      <a:pt x="65" y="33"/>
                    </a:moveTo>
                    <a:cubicBezTo>
                      <a:pt x="65" y="15"/>
                      <a:pt x="51" y="0"/>
                      <a:pt x="33" y="0"/>
                    </a:cubicBezTo>
                    <a:cubicBezTo>
                      <a:pt x="15" y="0"/>
                      <a:pt x="0" y="15"/>
                      <a:pt x="0" y="33"/>
                    </a:cubicBezTo>
                    <a:cubicBezTo>
                      <a:pt x="0" y="44"/>
                      <a:pt x="6" y="54"/>
                      <a:pt x="15" y="60"/>
                    </a:cubicBezTo>
                    <a:cubicBezTo>
                      <a:pt x="15" y="60"/>
                      <a:pt x="22" y="65"/>
                      <a:pt x="22" y="82"/>
                    </a:cubicBezTo>
                    <a:cubicBezTo>
                      <a:pt x="33" y="86"/>
                      <a:pt x="33" y="86"/>
                      <a:pt x="33" y="86"/>
                    </a:cubicBezTo>
                    <a:cubicBezTo>
                      <a:pt x="33" y="86"/>
                      <a:pt x="33" y="86"/>
                      <a:pt x="33" y="86"/>
                    </a:cubicBezTo>
                    <a:cubicBezTo>
                      <a:pt x="33" y="86"/>
                      <a:pt x="33" y="86"/>
                      <a:pt x="33" y="86"/>
                    </a:cubicBezTo>
                    <a:cubicBezTo>
                      <a:pt x="33" y="86"/>
                      <a:pt x="33" y="86"/>
                      <a:pt x="33" y="86"/>
                    </a:cubicBezTo>
                    <a:cubicBezTo>
                      <a:pt x="33" y="86"/>
                      <a:pt x="33" y="86"/>
                      <a:pt x="33" y="86"/>
                    </a:cubicBezTo>
                    <a:cubicBezTo>
                      <a:pt x="44" y="82"/>
                      <a:pt x="44" y="82"/>
                      <a:pt x="44" y="82"/>
                    </a:cubicBezTo>
                    <a:cubicBezTo>
                      <a:pt x="44" y="82"/>
                      <a:pt x="44" y="82"/>
                      <a:pt x="44" y="82"/>
                    </a:cubicBezTo>
                    <a:cubicBezTo>
                      <a:pt x="44" y="80"/>
                      <a:pt x="44" y="80"/>
                      <a:pt x="44" y="80"/>
                    </a:cubicBezTo>
                    <a:cubicBezTo>
                      <a:pt x="44" y="66"/>
                      <a:pt x="50" y="60"/>
                      <a:pt x="51" y="60"/>
                    </a:cubicBezTo>
                    <a:cubicBezTo>
                      <a:pt x="60" y="54"/>
                      <a:pt x="65" y="44"/>
                      <a:pt x="65" y="33"/>
                    </a:cubicBezTo>
                    <a:moveTo>
                      <a:pt x="33" y="86"/>
                    </a:moveTo>
                    <a:cubicBezTo>
                      <a:pt x="33" y="82"/>
                      <a:pt x="33" y="82"/>
                      <a:pt x="33" y="82"/>
                    </a:cubicBezTo>
                    <a:cubicBezTo>
                      <a:pt x="33" y="82"/>
                      <a:pt x="33" y="82"/>
                      <a:pt x="33" y="82"/>
                    </a:cubicBezTo>
                    <a:cubicBezTo>
                      <a:pt x="33" y="86"/>
                      <a:pt x="33" y="86"/>
                      <a:pt x="33" y="86"/>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03" name="Rectangle 455"/>
              <p:cNvSpPr>
                <a:spLocks noChangeArrowheads="1"/>
              </p:cNvSpPr>
              <p:nvPr/>
            </p:nvSpPr>
            <p:spPr bwMode="auto">
              <a:xfrm>
                <a:off x="6707188" y="4046538"/>
                <a:ext cx="36513" cy="2540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04" name="Rectangle 456"/>
              <p:cNvSpPr>
                <a:spLocks noChangeArrowheads="1"/>
              </p:cNvSpPr>
              <p:nvPr/>
            </p:nvSpPr>
            <p:spPr bwMode="auto">
              <a:xfrm>
                <a:off x="6707188" y="4046538"/>
                <a:ext cx="36513" cy="25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05" name="Freeform 457"/>
              <p:cNvSpPr>
                <a:spLocks/>
              </p:cNvSpPr>
              <p:nvPr/>
            </p:nvSpPr>
            <p:spPr bwMode="auto">
              <a:xfrm>
                <a:off x="6707188" y="4048125"/>
                <a:ext cx="36513" cy="7937"/>
              </a:xfrm>
              <a:custGeom>
                <a:avLst/>
                <a:gdLst>
                  <a:gd name="T0" fmla="*/ 0 w 23"/>
                  <a:gd name="T1" fmla="*/ 5 h 5"/>
                  <a:gd name="T2" fmla="*/ 0 w 23"/>
                  <a:gd name="T3" fmla="*/ 4 h 5"/>
                  <a:gd name="T4" fmla="*/ 23 w 23"/>
                  <a:gd name="T5" fmla="*/ 0 h 5"/>
                  <a:gd name="T6" fmla="*/ 23 w 23"/>
                  <a:gd name="T7" fmla="*/ 1 h 5"/>
                  <a:gd name="T8" fmla="*/ 0 w 23"/>
                  <a:gd name="T9" fmla="*/ 5 h 5"/>
                </a:gdLst>
                <a:ahLst/>
                <a:cxnLst>
                  <a:cxn ang="0">
                    <a:pos x="T0" y="T1"/>
                  </a:cxn>
                  <a:cxn ang="0">
                    <a:pos x="T2" y="T3"/>
                  </a:cxn>
                  <a:cxn ang="0">
                    <a:pos x="T4" y="T5"/>
                  </a:cxn>
                  <a:cxn ang="0">
                    <a:pos x="T6" y="T7"/>
                  </a:cxn>
                  <a:cxn ang="0">
                    <a:pos x="T8" y="T9"/>
                  </a:cxn>
                </a:cxnLst>
                <a:rect l="0" t="0" r="r" b="b"/>
                <a:pathLst>
                  <a:path w="23" h="5">
                    <a:moveTo>
                      <a:pt x="0" y="5"/>
                    </a:moveTo>
                    <a:lnTo>
                      <a:pt x="0" y="4"/>
                    </a:lnTo>
                    <a:lnTo>
                      <a:pt x="23" y="0"/>
                    </a:lnTo>
                    <a:lnTo>
                      <a:pt x="23" y="1"/>
                    </a:lnTo>
                    <a:lnTo>
                      <a:pt x="0" y="5"/>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06" name="Freeform 458"/>
              <p:cNvSpPr>
                <a:spLocks/>
              </p:cNvSpPr>
              <p:nvPr/>
            </p:nvSpPr>
            <p:spPr bwMode="auto">
              <a:xfrm>
                <a:off x="6707188" y="4048125"/>
                <a:ext cx="36513" cy="7937"/>
              </a:xfrm>
              <a:custGeom>
                <a:avLst/>
                <a:gdLst>
                  <a:gd name="T0" fmla="*/ 0 w 23"/>
                  <a:gd name="T1" fmla="*/ 5 h 5"/>
                  <a:gd name="T2" fmla="*/ 0 w 23"/>
                  <a:gd name="T3" fmla="*/ 4 h 5"/>
                  <a:gd name="T4" fmla="*/ 23 w 23"/>
                  <a:gd name="T5" fmla="*/ 0 h 5"/>
                  <a:gd name="T6" fmla="*/ 23 w 23"/>
                  <a:gd name="T7" fmla="*/ 1 h 5"/>
                  <a:gd name="T8" fmla="*/ 0 w 23"/>
                  <a:gd name="T9" fmla="*/ 5 h 5"/>
                </a:gdLst>
                <a:ahLst/>
                <a:cxnLst>
                  <a:cxn ang="0">
                    <a:pos x="T0" y="T1"/>
                  </a:cxn>
                  <a:cxn ang="0">
                    <a:pos x="T2" y="T3"/>
                  </a:cxn>
                  <a:cxn ang="0">
                    <a:pos x="T4" y="T5"/>
                  </a:cxn>
                  <a:cxn ang="0">
                    <a:pos x="T6" y="T7"/>
                  </a:cxn>
                  <a:cxn ang="0">
                    <a:pos x="T8" y="T9"/>
                  </a:cxn>
                </a:cxnLst>
                <a:rect l="0" t="0" r="r" b="b"/>
                <a:pathLst>
                  <a:path w="23" h="5">
                    <a:moveTo>
                      <a:pt x="0" y="5"/>
                    </a:moveTo>
                    <a:lnTo>
                      <a:pt x="0" y="4"/>
                    </a:lnTo>
                    <a:lnTo>
                      <a:pt x="23" y="0"/>
                    </a:lnTo>
                    <a:lnTo>
                      <a:pt x="23" y="1"/>
                    </a:lnTo>
                    <a:lnTo>
                      <a:pt x="0" y="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07" name="Freeform 459"/>
              <p:cNvSpPr>
                <a:spLocks/>
              </p:cNvSpPr>
              <p:nvPr/>
            </p:nvSpPr>
            <p:spPr bwMode="auto">
              <a:xfrm>
                <a:off x="6707188" y="4056063"/>
                <a:ext cx="36513" cy="6350"/>
              </a:xfrm>
              <a:custGeom>
                <a:avLst/>
                <a:gdLst>
                  <a:gd name="T0" fmla="*/ 0 w 23"/>
                  <a:gd name="T1" fmla="*/ 4 h 4"/>
                  <a:gd name="T2" fmla="*/ 0 w 23"/>
                  <a:gd name="T3" fmla="*/ 3 h 4"/>
                  <a:gd name="T4" fmla="*/ 23 w 23"/>
                  <a:gd name="T5" fmla="*/ 0 h 4"/>
                  <a:gd name="T6" fmla="*/ 23 w 23"/>
                  <a:gd name="T7" fmla="*/ 1 h 4"/>
                  <a:gd name="T8" fmla="*/ 0 w 23"/>
                  <a:gd name="T9" fmla="*/ 4 h 4"/>
                </a:gdLst>
                <a:ahLst/>
                <a:cxnLst>
                  <a:cxn ang="0">
                    <a:pos x="T0" y="T1"/>
                  </a:cxn>
                  <a:cxn ang="0">
                    <a:pos x="T2" y="T3"/>
                  </a:cxn>
                  <a:cxn ang="0">
                    <a:pos x="T4" y="T5"/>
                  </a:cxn>
                  <a:cxn ang="0">
                    <a:pos x="T6" y="T7"/>
                  </a:cxn>
                  <a:cxn ang="0">
                    <a:pos x="T8" y="T9"/>
                  </a:cxn>
                </a:cxnLst>
                <a:rect l="0" t="0" r="r" b="b"/>
                <a:pathLst>
                  <a:path w="23" h="4">
                    <a:moveTo>
                      <a:pt x="0" y="4"/>
                    </a:moveTo>
                    <a:lnTo>
                      <a:pt x="0" y="3"/>
                    </a:lnTo>
                    <a:lnTo>
                      <a:pt x="23" y="0"/>
                    </a:lnTo>
                    <a:lnTo>
                      <a:pt x="23" y="1"/>
                    </a:lnTo>
                    <a:lnTo>
                      <a:pt x="0" y="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08" name="Freeform 460"/>
              <p:cNvSpPr>
                <a:spLocks/>
              </p:cNvSpPr>
              <p:nvPr/>
            </p:nvSpPr>
            <p:spPr bwMode="auto">
              <a:xfrm>
                <a:off x="6707188" y="4056063"/>
                <a:ext cx="36513" cy="6350"/>
              </a:xfrm>
              <a:custGeom>
                <a:avLst/>
                <a:gdLst>
                  <a:gd name="T0" fmla="*/ 0 w 23"/>
                  <a:gd name="T1" fmla="*/ 4 h 4"/>
                  <a:gd name="T2" fmla="*/ 0 w 23"/>
                  <a:gd name="T3" fmla="*/ 3 h 4"/>
                  <a:gd name="T4" fmla="*/ 23 w 23"/>
                  <a:gd name="T5" fmla="*/ 0 h 4"/>
                  <a:gd name="T6" fmla="*/ 23 w 23"/>
                  <a:gd name="T7" fmla="*/ 1 h 4"/>
                  <a:gd name="T8" fmla="*/ 0 w 23"/>
                  <a:gd name="T9" fmla="*/ 4 h 4"/>
                </a:gdLst>
                <a:ahLst/>
                <a:cxnLst>
                  <a:cxn ang="0">
                    <a:pos x="T0" y="T1"/>
                  </a:cxn>
                  <a:cxn ang="0">
                    <a:pos x="T2" y="T3"/>
                  </a:cxn>
                  <a:cxn ang="0">
                    <a:pos x="T4" y="T5"/>
                  </a:cxn>
                  <a:cxn ang="0">
                    <a:pos x="T6" y="T7"/>
                  </a:cxn>
                  <a:cxn ang="0">
                    <a:pos x="T8" y="T9"/>
                  </a:cxn>
                </a:cxnLst>
                <a:rect l="0" t="0" r="r" b="b"/>
                <a:pathLst>
                  <a:path w="23" h="4">
                    <a:moveTo>
                      <a:pt x="0" y="4"/>
                    </a:moveTo>
                    <a:lnTo>
                      <a:pt x="0" y="3"/>
                    </a:lnTo>
                    <a:lnTo>
                      <a:pt x="23" y="0"/>
                    </a:lnTo>
                    <a:lnTo>
                      <a:pt x="23" y="1"/>
                    </a:lnTo>
                    <a:lnTo>
                      <a:pt x="0"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09" name="Freeform 461"/>
              <p:cNvSpPr>
                <a:spLocks/>
              </p:cNvSpPr>
              <p:nvPr/>
            </p:nvSpPr>
            <p:spPr bwMode="auto">
              <a:xfrm>
                <a:off x="6707188" y="4062413"/>
                <a:ext cx="36513" cy="6350"/>
              </a:xfrm>
              <a:custGeom>
                <a:avLst/>
                <a:gdLst>
                  <a:gd name="T0" fmla="*/ 0 w 23"/>
                  <a:gd name="T1" fmla="*/ 4 h 4"/>
                  <a:gd name="T2" fmla="*/ 0 w 23"/>
                  <a:gd name="T3" fmla="*/ 3 h 4"/>
                  <a:gd name="T4" fmla="*/ 23 w 23"/>
                  <a:gd name="T5" fmla="*/ 0 h 4"/>
                  <a:gd name="T6" fmla="*/ 23 w 23"/>
                  <a:gd name="T7" fmla="*/ 1 h 4"/>
                  <a:gd name="T8" fmla="*/ 0 w 23"/>
                  <a:gd name="T9" fmla="*/ 4 h 4"/>
                </a:gdLst>
                <a:ahLst/>
                <a:cxnLst>
                  <a:cxn ang="0">
                    <a:pos x="T0" y="T1"/>
                  </a:cxn>
                  <a:cxn ang="0">
                    <a:pos x="T2" y="T3"/>
                  </a:cxn>
                  <a:cxn ang="0">
                    <a:pos x="T4" y="T5"/>
                  </a:cxn>
                  <a:cxn ang="0">
                    <a:pos x="T6" y="T7"/>
                  </a:cxn>
                  <a:cxn ang="0">
                    <a:pos x="T8" y="T9"/>
                  </a:cxn>
                </a:cxnLst>
                <a:rect l="0" t="0" r="r" b="b"/>
                <a:pathLst>
                  <a:path w="23" h="4">
                    <a:moveTo>
                      <a:pt x="0" y="4"/>
                    </a:moveTo>
                    <a:lnTo>
                      <a:pt x="0" y="3"/>
                    </a:lnTo>
                    <a:lnTo>
                      <a:pt x="23" y="0"/>
                    </a:lnTo>
                    <a:lnTo>
                      <a:pt x="23" y="1"/>
                    </a:lnTo>
                    <a:lnTo>
                      <a:pt x="0" y="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10" name="Freeform 462"/>
              <p:cNvSpPr>
                <a:spLocks/>
              </p:cNvSpPr>
              <p:nvPr/>
            </p:nvSpPr>
            <p:spPr bwMode="auto">
              <a:xfrm>
                <a:off x="6707188" y="4062413"/>
                <a:ext cx="36513" cy="6350"/>
              </a:xfrm>
              <a:custGeom>
                <a:avLst/>
                <a:gdLst>
                  <a:gd name="T0" fmla="*/ 0 w 23"/>
                  <a:gd name="T1" fmla="*/ 4 h 4"/>
                  <a:gd name="T2" fmla="*/ 0 w 23"/>
                  <a:gd name="T3" fmla="*/ 3 h 4"/>
                  <a:gd name="T4" fmla="*/ 23 w 23"/>
                  <a:gd name="T5" fmla="*/ 0 h 4"/>
                  <a:gd name="T6" fmla="*/ 23 w 23"/>
                  <a:gd name="T7" fmla="*/ 1 h 4"/>
                  <a:gd name="T8" fmla="*/ 0 w 23"/>
                  <a:gd name="T9" fmla="*/ 4 h 4"/>
                </a:gdLst>
                <a:ahLst/>
                <a:cxnLst>
                  <a:cxn ang="0">
                    <a:pos x="T0" y="T1"/>
                  </a:cxn>
                  <a:cxn ang="0">
                    <a:pos x="T2" y="T3"/>
                  </a:cxn>
                  <a:cxn ang="0">
                    <a:pos x="T4" y="T5"/>
                  </a:cxn>
                  <a:cxn ang="0">
                    <a:pos x="T6" y="T7"/>
                  </a:cxn>
                  <a:cxn ang="0">
                    <a:pos x="T8" y="T9"/>
                  </a:cxn>
                </a:cxnLst>
                <a:rect l="0" t="0" r="r" b="b"/>
                <a:pathLst>
                  <a:path w="23" h="4">
                    <a:moveTo>
                      <a:pt x="0" y="4"/>
                    </a:moveTo>
                    <a:lnTo>
                      <a:pt x="0" y="3"/>
                    </a:lnTo>
                    <a:lnTo>
                      <a:pt x="23" y="0"/>
                    </a:lnTo>
                    <a:lnTo>
                      <a:pt x="23" y="1"/>
                    </a:lnTo>
                    <a:lnTo>
                      <a:pt x="0"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11" name="Freeform 463"/>
              <p:cNvSpPr>
                <a:spLocks/>
              </p:cNvSpPr>
              <p:nvPr/>
            </p:nvSpPr>
            <p:spPr bwMode="auto">
              <a:xfrm>
                <a:off x="6715125" y="4071938"/>
                <a:ext cx="19050" cy="6350"/>
              </a:xfrm>
              <a:custGeom>
                <a:avLst/>
                <a:gdLst>
                  <a:gd name="T0" fmla="*/ 0 w 12"/>
                  <a:gd name="T1" fmla="*/ 0 h 4"/>
                  <a:gd name="T2" fmla="*/ 2 w 12"/>
                  <a:gd name="T3" fmla="*/ 4 h 4"/>
                  <a:gd name="T4" fmla="*/ 10 w 12"/>
                  <a:gd name="T5" fmla="*/ 4 h 4"/>
                  <a:gd name="T6" fmla="*/ 12 w 12"/>
                  <a:gd name="T7" fmla="*/ 0 h 4"/>
                  <a:gd name="T8" fmla="*/ 0 w 12"/>
                  <a:gd name="T9" fmla="*/ 0 h 4"/>
                </a:gdLst>
                <a:ahLst/>
                <a:cxnLst>
                  <a:cxn ang="0">
                    <a:pos x="T0" y="T1"/>
                  </a:cxn>
                  <a:cxn ang="0">
                    <a:pos x="T2" y="T3"/>
                  </a:cxn>
                  <a:cxn ang="0">
                    <a:pos x="T4" y="T5"/>
                  </a:cxn>
                  <a:cxn ang="0">
                    <a:pos x="T6" y="T7"/>
                  </a:cxn>
                  <a:cxn ang="0">
                    <a:pos x="T8" y="T9"/>
                  </a:cxn>
                </a:cxnLst>
                <a:rect l="0" t="0" r="r" b="b"/>
                <a:pathLst>
                  <a:path w="12" h="4">
                    <a:moveTo>
                      <a:pt x="0" y="0"/>
                    </a:moveTo>
                    <a:lnTo>
                      <a:pt x="2" y="4"/>
                    </a:lnTo>
                    <a:lnTo>
                      <a:pt x="10" y="4"/>
                    </a:lnTo>
                    <a:lnTo>
                      <a:pt x="12" y="0"/>
                    </a:lnTo>
                    <a:lnTo>
                      <a:pt x="0" y="0"/>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12" name="Freeform 464"/>
              <p:cNvSpPr>
                <a:spLocks/>
              </p:cNvSpPr>
              <p:nvPr/>
            </p:nvSpPr>
            <p:spPr bwMode="auto">
              <a:xfrm>
                <a:off x="6715125" y="4071938"/>
                <a:ext cx="19050" cy="6350"/>
              </a:xfrm>
              <a:custGeom>
                <a:avLst/>
                <a:gdLst>
                  <a:gd name="T0" fmla="*/ 0 w 12"/>
                  <a:gd name="T1" fmla="*/ 0 h 4"/>
                  <a:gd name="T2" fmla="*/ 2 w 12"/>
                  <a:gd name="T3" fmla="*/ 4 h 4"/>
                  <a:gd name="T4" fmla="*/ 10 w 12"/>
                  <a:gd name="T5" fmla="*/ 4 h 4"/>
                  <a:gd name="T6" fmla="*/ 12 w 12"/>
                  <a:gd name="T7" fmla="*/ 0 h 4"/>
                  <a:gd name="T8" fmla="*/ 0 w 12"/>
                  <a:gd name="T9" fmla="*/ 0 h 4"/>
                </a:gdLst>
                <a:ahLst/>
                <a:cxnLst>
                  <a:cxn ang="0">
                    <a:pos x="T0" y="T1"/>
                  </a:cxn>
                  <a:cxn ang="0">
                    <a:pos x="T2" y="T3"/>
                  </a:cxn>
                  <a:cxn ang="0">
                    <a:pos x="T4" y="T5"/>
                  </a:cxn>
                  <a:cxn ang="0">
                    <a:pos x="T6" y="T7"/>
                  </a:cxn>
                  <a:cxn ang="0">
                    <a:pos x="T8" y="T9"/>
                  </a:cxn>
                </a:cxnLst>
                <a:rect l="0" t="0" r="r" b="b"/>
                <a:pathLst>
                  <a:path w="12" h="4">
                    <a:moveTo>
                      <a:pt x="0" y="0"/>
                    </a:moveTo>
                    <a:lnTo>
                      <a:pt x="2" y="4"/>
                    </a:lnTo>
                    <a:lnTo>
                      <a:pt x="10" y="4"/>
                    </a:lnTo>
                    <a:lnTo>
                      <a:pt x="1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13" name="Rectangle 465"/>
              <p:cNvSpPr>
                <a:spLocks noChangeArrowheads="1"/>
              </p:cNvSpPr>
              <p:nvPr/>
            </p:nvSpPr>
            <p:spPr bwMode="auto">
              <a:xfrm>
                <a:off x="6516688" y="3395663"/>
                <a:ext cx="6350" cy="158750"/>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14" name="Rectangle 466"/>
              <p:cNvSpPr>
                <a:spLocks noChangeArrowheads="1"/>
              </p:cNvSpPr>
              <p:nvPr/>
            </p:nvSpPr>
            <p:spPr bwMode="auto">
              <a:xfrm>
                <a:off x="6550025" y="3395663"/>
                <a:ext cx="6350" cy="158750"/>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15" name="Rectangle 467"/>
              <p:cNvSpPr>
                <a:spLocks noChangeArrowheads="1"/>
              </p:cNvSpPr>
              <p:nvPr/>
            </p:nvSpPr>
            <p:spPr bwMode="auto">
              <a:xfrm>
                <a:off x="6489700" y="3419475"/>
                <a:ext cx="93663" cy="7937"/>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16" name="Rectangle 468"/>
              <p:cNvSpPr>
                <a:spLocks noChangeArrowheads="1"/>
              </p:cNvSpPr>
              <p:nvPr/>
            </p:nvSpPr>
            <p:spPr bwMode="auto">
              <a:xfrm>
                <a:off x="6489700" y="3452813"/>
                <a:ext cx="93663" cy="7937"/>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17" name="Rectangle 469"/>
              <p:cNvSpPr>
                <a:spLocks noChangeArrowheads="1"/>
              </p:cNvSpPr>
              <p:nvPr/>
            </p:nvSpPr>
            <p:spPr bwMode="auto">
              <a:xfrm>
                <a:off x="6489700" y="3484563"/>
                <a:ext cx="93663" cy="7937"/>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18" name="Rectangle 470"/>
              <p:cNvSpPr>
                <a:spLocks noChangeArrowheads="1"/>
              </p:cNvSpPr>
              <p:nvPr/>
            </p:nvSpPr>
            <p:spPr bwMode="auto">
              <a:xfrm>
                <a:off x="6489700" y="3517900"/>
                <a:ext cx="93663" cy="7937"/>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19" name="Freeform 471"/>
              <p:cNvSpPr>
                <a:spLocks/>
              </p:cNvSpPr>
              <p:nvPr/>
            </p:nvSpPr>
            <p:spPr bwMode="auto">
              <a:xfrm>
                <a:off x="6562725" y="3224213"/>
                <a:ext cx="287338" cy="20637"/>
              </a:xfrm>
              <a:custGeom>
                <a:avLst/>
                <a:gdLst>
                  <a:gd name="T0" fmla="*/ 166 w 172"/>
                  <a:gd name="T1" fmla="*/ 12 h 12"/>
                  <a:gd name="T2" fmla="*/ 6 w 172"/>
                  <a:gd name="T3" fmla="*/ 12 h 12"/>
                  <a:gd name="T4" fmla="*/ 0 w 172"/>
                  <a:gd name="T5" fmla="*/ 6 h 12"/>
                  <a:gd name="T6" fmla="*/ 6 w 172"/>
                  <a:gd name="T7" fmla="*/ 0 h 12"/>
                  <a:gd name="T8" fmla="*/ 166 w 172"/>
                  <a:gd name="T9" fmla="*/ 0 h 12"/>
                  <a:gd name="T10" fmla="*/ 172 w 172"/>
                  <a:gd name="T11" fmla="*/ 6 h 12"/>
                  <a:gd name="T12" fmla="*/ 166 w 172"/>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72" h="12">
                    <a:moveTo>
                      <a:pt x="166" y="12"/>
                    </a:moveTo>
                    <a:cubicBezTo>
                      <a:pt x="6" y="12"/>
                      <a:pt x="6" y="12"/>
                      <a:pt x="6" y="12"/>
                    </a:cubicBezTo>
                    <a:cubicBezTo>
                      <a:pt x="3" y="12"/>
                      <a:pt x="0" y="9"/>
                      <a:pt x="0" y="6"/>
                    </a:cubicBezTo>
                    <a:cubicBezTo>
                      <a:pt x="0" y="3"/>
                      <a:pt x="3" y="0"/>
                      <a:pt x="6" y="0"/>
                    </a:cubicBezTo>
                    <a:cubicBezTo>
                      <a:pt x="166" y="0"/>
                      <a:pt x="166" y="0"/>
                      <a:pt x="166" y="0"/>
                    </a:cubicBezTo>
                    <a:cubicBezTo>
                      <a:pt x="169" y="0"/>
                      <a:pt x="172" y="3"/>
                      <a:pt x="172" y="6"/>
                    </a:cubicBezTo>
                    <a:cubicBezTo>
                      <a:pt x="172" y="9"/>
                      <a:pt x="169" y="12"/>
                      <a:pt x="166" y="12"/>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20" name="Freeform 472"/>
              <p:cNvSpPr>
                <a:spLocks/>
              </p:cNvSpPr>
              <p:nvPr/>
            </p:nvSpPr>
            <p:spPr bwMode="auto">
              <a:xfrm>
                <a:off x="6562725" y="3270250"/>
                <a:ext cx="160338" cy="19050"/>
              </a:xfrm>
              <a:custGeom>
                <a:avLst/>
                <a:gdLst>
                  <a:gd name="T0" fmla="*/ 90 w 96"/>
                  <a:gd name="T1" fmla="*/ 12 h 12"/>
                  <a:gd name="T2" fmla="*/ 6 w 96"/>
                  <a:gd name="T3" fmla="*/ 12 h 12"/>
                  <a:gd name="T4" fmla="*/ 0 w 96"/>
                  <a:gd name="T5" fmla="*/ 6 h 12"/>
                  <a:gd name="T6" fmla="*/ 6 w 96"/>
                  <a:gd name="T7" fmla="*/ 0 h 12"/>
                  <a:gd name="T8" fmla="*/ 90 w 96"/>
                  <a:gd name="T9" fmla="*/ 0 h 12"/>
                  <a:gd name="T10" fmla="*/ 96 w 96"/>
                  <a:gd name="T11" fmla="*/ 6 h 12"/>
                  <a:gd name="T12" fmla="*/ 90 w 96"/>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96" h="12">
                    <a:moveTo>
                      <a:pt x="90" y="12"/>
                    </a:moveTo>
                    <a:cubicBezTo>
                      <a:pt x="6" y="12"/>
                      <a:pt x="6" y="12"/>
                      <a:pt x="6" y="12"/>
                    </a:cubicBezTo>
                    <a:cubicBezTo>
                      <a:pt x="3" y="12"/>
                      <a:pt x="0" y="9"/>
                      <a:pt x="0" y="6"/>
                    </a:cubicBezTo>
                    <a:cubicBezTo>
                      <a:pt x="0" y="2"/>
                      <a:pt x="3" y="0"/>
                      <a:pt x="6" y="0"/>
                    </a:cubicBezTo>
                    <a:cubicBezTo>
                      <a:pt x="90" y="0"/>
                      <a:pt x="90" y="0"/>
                      <a:pt x="90" y="0"/>
                    </a:cubicBezTo>
                    <a:cubicBezTo>
                      <a:pt x="93" y="0"/>
                      <a:pt x="96" y="2"/>
                      <a:pt x="96" y="6"/>
                    </a:cubicBezTo>
                    <a:cubicBezTo>
                      <a:pt x="96" y="9"/>
                      <a:pt x="93" y="12"/>
                      <a:pt x="90" y="12"/>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21" name="Oval 473"/>
              <p:cNvSpPr>
                <a:spLocks noChangeArrowheads="1"/>
              </p:cNvSpPr>
              <p:nvPr/>
            </p:nvSpPr>
            <p:spPr bwMode="auto">
              <a:xfrm>
                <a:off x="6650038" y="3586163"/>
                <a:ext cx="47625" cy="46037"/>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22" name="Oval 474"/>
              <p:cNvSpPr>
                <a:spLocks noChangeArrowheads="1"/>
              </p:cNvSpPr>
              <p:nvPr/>
            </p:nvSpPr>
            <p:spPr bwMode="auto">
              <a:xfrm>
                <a:off x="6738938" y="3586163"/>
                <a:ext cx="46038" cy="46037"/>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23" name="Freeform 475"/>
              <p:cNvSpPr>
                <a:spLocks/>
              </p:cNvSpPr>
              <p:nvPr/>
            </p:nvSpPr>
            <p:spPr bwMode="auto">
              <a:xfrm>
                <a:off x="8478838" y="3927475"/>
                <a:ext cx="0" cy="65087"/>
              </a:xfrm>
              <a:custGeom>
                <a:avLst/>
                <a:gdLst>
                  <a:gd name="T0" fmla="*/ 39 h 39"/>
                  <a:gd name="T1" fmla="*/ 0 h 39"/>
                  <a:gd name="T2" fmla="*/ 39 h 39"/>
                </a:gdLst>
                <a:ahLst/>
                <a:cxnLst>
                  <a:cxn ang="0">
                    <a:pos x="0" y="T0"/>
                  </a:cxn>
                  <a:cxn ang="0">
                    <a:pos x="0" y="T1"/>
                  </a:cxn>
                  <a:cxn ang="0">
                    <a:pos x="0" y="T2"/>
                  </a:cxn>
                </a:cxnLst>
                <a:rect l="0" t="0" r="r" b="b"/>
                <a:pathLst>
                  <a:path h="39">
                    <a:moveTo>
                      <a:pt x="0" y="39"/>
                    </a:moveTo>
                    <a:cubicBezTo>
                      <a:pt x="0" y="0"/>
                      <a:pt x="0" y="0"/>
                      <a:pt x="0" y="0"/>
                    </a:cubicBezTo>
                    <a:cubicBezTo>
                      <a:pt x="0" y="24"/>
                      <a:pt x="0" y="39"/>
                      <a:pt x="0" y="39"/>
                    </a:cubicBezTo>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24" name="Freeform 476"/>
              <p:cNvSpPr>
                <a:spLocks/>
              </p:cNvSpPr>
              <p:nvPr/>
            </p:nvSpPr>
            <p:spPr bwMode="auto">
              <a:xfrm>
                <a:off x="8470900" y="3171825"/>
                <a:ext cx="406400" cy="820737"/>
              </a:xfrm>
              <a:custGeom>
                <a:avLst/>
                <a:gdLst>
                  <a:gd name="T0" fmla="*/ 243 w 243"/>
                  <a:gd name="T1" fmla="*/ 235 h 492"/>
                  <a:gd name="T2" fmla="*/ 243 w 243"/>
                  <a:gd name="T3" fmla="*/ 0 h 492"/>
                  <a:gd name="T4" fmla="*/ 0 w 243"/>
                  <a:gd name="T5" fmla="*/ 0 h 492"/>
                  <a:gd name="T6" fmla="*/ 4 w 243"/>
                  <a:gd name="T7" fmla="*/ 88 h 492"/>
                  <a:gd name="T8" fmla="*/ 29 w 243"/>
                  <a:gd name="T9" fmla="*/ 190 h 492"/>
                  <a:gd name="T10" fmla="*/ 4 w 243"/>
                  <a:gd name="T11" fmla="*/ 453 h 492"/>
                  <a:gd name="T12" fmla="*/ 4 w 243"/>
                  <a:gd name="T13" fmla="*/ 492 h 492"/>
                  <a:gd name="T14" fmla="*/ 243 w 243"/>
                  <a:gd name="T15" fmla="*/ 492 h 492"/>
                  <a:gd name="T16" fmla="*/ 222 w 243"/>
                  <a:gd name="T17" fmla="*/ 235 h 492"/>
                  <a:gd name="T18" fmla="*/ 243 w 243"/>
                  <a:gd name="T19" fmla="*/ 235 h 4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3" h="492">
                    <a:moveTo>
                      <a:pt x="243" y="235"/>
                    </a:moveTo>
                    <a:cubicBezTo>
                      <a:pt x="243" y="0"/>
                      <a:pt x="243" y="0"/>
                      <a:pt x="243" y="0"/>
                    </a:cubicBezTo>
                    <a:cubicBezTo>
                      <a:pt x="0" y="0"/>
                      <a:pt x="0" y="0"/>
                      <a:pt x="0" y="0"/>
                    </a:cubicBezTo>
                    <a:cubicBezTo>
                      <a:pt x="4" y="88"/>
                      <a:pt x="4" y="88"/>
                      <a:pt x="4" y="88"/>
                    </a:cubicBezTo>
                    <a:cubicBezTo>
                      <a:pt x="4" y="151"/>
                      <a:pt x="29" y="190"/>
                      <a:pt x="29" y="190"/>
                    </a:cubicBezTo>
                    <a:cubicBezTo>
                      <a:pt x="5" y="239"/>
                      <a:pt x="4" y="383"/>
                      <a:pt x="4" y="453"/>
                    </a:cubicBezTo>
                    <a:cubicBezTo>
                      <a:pt x="4" y="492"/>
                      <a:pt x="4" y="492"/>
                      <a:pt x="4" y="492"/>
                    </a:cubicBezTo>
                    <a:cubicBezTo>
                      <a:pt x="243" y="492"/>
                      <a:pt x="243" y="492"/>
                      <a:pt x="243" y="492"/>
                    </a:cubicBezTo>
                    <a:cubicBezTo>
                      <a:pt x="243" y="492"/>
                      <a:pt x="241" y="274"/>
                      <a:pt x="222" y="235"/>
                    </a:cubicBezTo>
                    <a:cubicBezTo>
                      <a:pt x="243" y="235"/>
                      <a:pt x="243" y="235"/>
                      <a:pt x="243" y="235"/>
                    </a:cubicBezTo>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25" name="Freeform 477"/>
              <p:cNvSpPr>
                <a:spLocks/>
              </p:cNvSpPr>
              <p:nvPr/>
            </p:nvSpPr>
            <p:spPr bwMode="auto">
              <a:xfrm>
                <a:off x="8531225" y="2919413"/>
                <a:ext cx="44450" cy="93662"/>
              </a:xfrm>
              <a:custGeom>
                <a:avLst/>
                <a:gdLst>
                  <a:gd name="T0" fmla="*/ 18 w 26"/>
                  <a:gd name="T1" fmla="*/ 0 h 56"/>
                  <a:gd name="T2" fmla="*/ 0 w 26"/>
                  <a:gd name="T3" fmla="*/ 56 h 56"/>
                  <a:gd name="T4" fmla="*/ 26 w 26"/>
                  <a:gd name="T5" fmla="*/ 56 h 56"/>
                  <a:gd name="T6" fmla="*/ 18 w 26"/>
                  <a:gd name="T7" fmla="*/ 0 h 56"/>
                </a:gdLst>
                <a:ahLst/>
                <a:cxnLst>
                  <a:cxn ang="0">
                    <a:pos x="T0" y="T1"/>
                  </a:cxn>
                  <a:cxn ang="0">
                    <a:pos x="T2" y="T3"/>
                  </a:cxn>
                  <a:cxn ang="0">
                    <a:pos x="T4" y="T5"/>
                  </a:cxn>
                  <a:cxn ang="0">
                    <a:pos x="T6" y="T7"/>
                  </a:cxn>
                </a:cxnLst>
                <a:rect l="0" t="0" r="r" b="b"/>
                <a:pathLst>
                  <a:path w="26" h="56">
                    <a:moveTo>
                      <a:pt x="18" y="0"/>
                    </a:moveTo>
                    <a:cubicBezTo>
                      <a:pt x="18" y="0"/>
                      <a:pt x="3" y="25"/>
                      <a:pt x="0" y="56"/>
                    </a:cubicBezTo>
                    <a:cubicBezTo>
                      <a:pt x="26" y="56"/>
                      <a:pt x="26" y="56"/>
                      <a:pt x="26" y="56"/>
                    </a:cubicBezTo>
                    <a:lnTo>
                      <a:pt x="18" y="0"/>
                    </a:lnTo>
                    <a:close/>
                  </a:path>
                </a:pathLst>
              </a:custGeom>
              <a:solidFill>
                <a:srgbClr val="FFFC9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26" name="Freeform 478"/>
              <p:cNvSpPr>
                <a:spLocks/>
              </p:cNvSpPr>
              <p:nvPr/>
            </p:nvSpPr>
            <p:spPr bwMode="auto">
              <a:xfrm>
                <a:off x="8616950" y="3041650"/>
                <a:ext cx="104775" cy="133350"/>
              </a:xfrm>
              <a:custGeom>
                <a:avLst/>
                <a:gdLst>
                  <a:gd name="T0" fmla="*/ 0 w 63"/>
                  <a:gd name="T1" fmla="*/ 8 h 80"/>
                  <a:gd name="T2" fmla="*/ 20 w 63"/>
                  <a:gd name="T3" fmla="*/ 0 h 80"/>
                  <a:gd name="T4" fmla="*/ 27 w 63"/>
                  <a:gd name="T5" fmla="*/ 17 h 80"/>
                  <a:gd name="T6" fmla="*/ 63 w 63"/>
                  <a:gd name="T7" fmla="*/ 17 h 80"/>
                  <a:gd name="T8" fmla="*/ 63 w 63"/>
                  <a:gd name="T9" fmla="*/ 80 h 80"/>
                  <a:gd name="T10" fmla="*/ 20 w 63"/>
                  <a:gd name="T11" fmla="*/ 80 h 80"/>
                  <a:gd name="T12" fmla="*/ 20 w 63"/>
                  <a:gd name="T13" fmla="*/ 43 h 80"/>
                  <a:gd name="T14" fmla="*/ 0 w 63"/>
                  <a:gd name="T15" fmla="*/ 8 h 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3" h="80">
                    <a:moveTo>
                      <a:pt x="0" y="8"/>
                    </a:moveTo>
                    <a:cubicBezTo>
                      <a:pt x="20" y="0"/>
                      <a:pt x="20" y="0"/>
                      <a:pt x="20" y="0"/>
                    </a:cubicBezTo>
                    <a:cubicBezTo>
                      <a:pt x="27" y="17"/>
                      <a:pt x="27" y="17"/>
                      <a:pt x="27" y="17"/>
                    </a:cubicBezTo>
                    <a:cubicBezTo>
                      <a:pt x="63" y="17"/>
                      <a:pt x="63" y="17"/>
                      <a:pt x="63" y="17"/>
                    </a:cubicBezTo>
                    <a:cubicBezTo>
                      <a:pt x="63" y="80"/>
                      <a:pt x="63" y="80"/>
                      <a:pt x="63" y="80"/>
                    </a:cubicBezTo>
                    <a:cubicBezTo>
                      <a:pt x="20" y="80"/>
                      <a:pt x="20" y="80"/>
                      <a:pt x="20" y="80"/>
                    </a:cubicBezTo>
                    <a:cubicBezTo>
                      <a:pt x="20" y="43"/>
                      <a:pt x="20" y="43"/>
                      <a:pt x="20" y="43"/>
                    </a:cubicBezTo>
                    <a:cubicBezTo>
                      <a:pt x="19" y="32"/>
                      <a:pt x="16" y="13"/>
                      <a:pt x="0" y="8"/>
                    </a:cubicBezTo>
                    <a:close/>
                  </a:path>
                </a:pathLst>
              </a:custGeom>
              <a:solidFill>
                <a:srgbClr val="FFFC9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27" name="Oval 479"/>
              <p:cNvSpPr>
                <a:spLocks noChangeArrowheads="1"/>
              </p:cNvSpPr>
              <p:nvPr/>
            </p:nvSpPr>
            <p:spPr bwMode="auto">
              <a:xfrm>
                <a:off x="8607425" y="2952750"/>
                <a:ext cx="14288" cy="15875"/>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28" name="Freeform 480"/>
              <p:cNvSpPr>
                <a:spLocks/>
              </p:cNvSpPr>
              <p:nvPr/>
            </p:nvSpPr>
            <p:spPr bwMode="auto">
              <a:xfrm>
                <a:off x="8561388" y="2857500"/>
                <a:ext cx="193675" cy="268287"/>
              </a:xfrm>
              <a:custGeom>
                <a:avLst/>
                <a:gdLst>
                  <a:gd name="T0" fmla="*/ 116 w 116"/>
                  <a:gd name="T1" fmla="*/ 0 h 161"/>
                  <a:gd name="T2" fmla="*/ 116 w 116"/>
                  <a:gd name="T3" fmla="*/ 82 h 161"/>
                  <a:gd name="T4" fmla="*/ 116 w 116"/>
                  <a:gd name="T5" fmla="*/ 82 h 161"/>
                  <a:gd name="T6" fmla="*/ 0 w 116"/>
                  <a:gd name="T7" fmla="*/ 161 h 161"/>
                  <a:gd name="T8" fmla="*/ 0 w 116"/>
                  <a:gd name="T9" fmla="*/ 156 h 161"/>
                  <a:gd name="T10" fmla="*/ 0 w 116"/>
                  <a:gd name="T11" fmla="*/ 109 h 161"/>
                  <a:gd name="T12" fmla="*/ 0 w 116"/>
                  <a:gd name="T13" fmla="*/ 51 h 161"/>
                  <a:gd name="T14" fmla="*/ 0 w 116"/>
                  <a:gd name="T15" fmla="*/ 0 h 161"/>
                  <a:gd name="T16" fmla="*/ 116 w 116"/>
                  <a:gd name="T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6" h="161">
                    <a:moveTo>
                      <a:pt x="116" y="0"/>
                    </a:moveTo>
                    <a:cubicBezTo>
                      <a:pt x="116" y="82"/>
                      <a:pt x="116" y="82"/>
                      <a:pt x="116" y="82"/>
                    </a:cubicBezTo>
                    <a:cubicBezTo>
                      <a:pt x="116" y="82"/>
                      <a:pt x="116" y="82"/>
                      <a:pt x="116" y="82"/>
                    </a:cubicBezTo>
                    <a:cubicBezTo>
                      <a:pt x="112" y="143"/>
                      <a:pt x="62" y="161"/>
                      <a:pt x="0" y="161"/>
                    </a:cubicBezTo>
                    <a:cubicBezTo>
                      <a:pt x="0" y="156"/>
                      <a:pt x="0" y="156"/>
                      <a:pt x="0" y="156"/>
                    </a:cubicBezTo>
                    <a:cubicBezTo>
                      <a:pt x="0" y="109"/>
                      <a:pt x="0" y="109"/>
                      <a:pt x="0" y="109"/>
                    </a:cubicBezTo>
                    <a:cubicBezTo>
                      <a:pt x="0" y="51"/>
                      <a:pt x="0" y="51"/>
                      <a:pt x="0" y="51"/>
                    </a:cubicBezTo>
                    <a:cubicBezTo>
                      <a:pt x="0" y="0"/>
                      <a:pt x="0" y="0"/>
                      <a:pt x="0" y="0"/>
                    </a:cubicBezTo>
                    <a:cubicBezTo>
                      <a:pt x="116" y="0"/>
                      <a:pt x="116" y="0"/>
                      <a:pt x="116" y="0"/>
                    </a:cubicBezTo>
                  </a:path>
                </a:pathLst>
              </a:custGeom>
              <a:solidFill>
                <a:srgbClr val="FFFC9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29" name="Oval 481"/>
              <p:cNvSpPr>
                <a:spLocks noChangeArrowheads="1"/>
              </p:cNvSpPr>
              <p:nvPr/>
            </p:nvSpPr>
            <p:spPr bwMode="auto">
              <a:xfrm>
                <a:off x="8607425" y="2952750"/>
                <a:ext cx="14288" cy="15875"/>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30" name="Freeform 482"/>
              <p:cNvSpPr>
                <a:spLocks/>
              </p:cNvSpPr>
              <p:nvPr/>
            </p:nvSpPr>
            <p:spPr bwMode="auto">
              <a:xfrm>
                <a:off x="8559800" y="2768600"/>
                <a:ext cx="258763" cy="392112"/>
              </a:xfrm>
              <a:custGeom>
                <a:avLst/>
                <a:gdLst>
                  <a:gd name="T0" fmla="*/ 143 w 155"/>
                  <a:gd name="T1" fmla="*/ 41 h 235"/>
                  <a:gd name="T2" fmla="*/ 114 w 155"/>
                  <a:gd name="T3" fmla="*/ 36 h 235"/>
                  <a:gd name="T4" fmla="*/ 106 w 155"/>
                  <a:gd name="T5" fmla="*/ 25 h 235"/>
                  <a:gd name="T6" fmla="*/ 87 w 155"/>
                  <a:gd name="T7" fmla="*/ 20 h 235"/>
                  <a:gd name="T8" fmla="*/ 65 w 155"/>
                  <a:gd name="T9" fmla="*/ 14 h 235"/>
                  <a:gd name="T10" fmla="*/ 2 w 155"/>
                  <a:gd name="T11" fmla="*/ 53 h 235"/>
                  <a:gd name="T12" fmla="*/ 2 w 155"/>
                  <a:gd name="T13" fmla="*/ 53 h 235"/>
                  <a:gd name="T14" fmla="*/ 2 w 155"/>
                  <a:gd name="T15" fmla="*/ 53 h 235"/>
                  <a:gd name="T16" fmla="*/ 49 w 155"/>
                  <a:gd name="T17" fmla="*/ 82 h 235"/>
                  <a:gd name="T18" fmla="*/ 71 w 155"/>
                  <a:gd name="T19" fmla="*/ 84 h 235"/>
                  <a:gd name="T20" fmla="*/ 71 w 155"/>
                  <a:gd name="T21" fmla="*/ 84 h 235"/>
                  <a:gd name="T22" fmla="*/ 23 w 155"/>
                  <a:gd name="T23" fmla="*/ 167 h 235"/>
                  <a:gd name="T24" fmla="*/ 1 w 155"/>
                  <a:gd name="T25" fmla="*/ 146 h 235"/>
                  <a:gd name="T26" fmla="*/ 1 w 155"/>
                  <a:gd name="T27" fmla="*/ 214 h 235"/>
                  <a:gd name="T28" fmla="*/ 82 w 155"/>
                  <a:gd name="T29" fmla="*/ 144 h 235"/>
                  <a:gd name="T30" fmla="*/ 84 w 155"/>
                  <a:gd name="T31" fmla="*/ 109 h 235"/>
                  <a:gd name="T32" fmla="*/ 112 w 155"/>
                  <a:gd name="T33" fmla="*/ 160 h 235"/>
                  <a:gd name="T34" fmla="*/ 113 w 155"/>
                  <a:gd name="T35" fmla="*/ 159 h 235"/>
                  <a:gd name="T36" fmla="*/ 127 w 155"/>
                  <a:gd name="T37" fmla="*/ 122 h 235"/>
                  <a:gd name="T38" fmla="*/ 147 w 155"/>
                  <a:gd name="T39" fmla="*/ 87 h 235"/>
                  <a:gd name="T40" fmla="*/ 143 w 155"/>
                  <a:gd name="T41" fmla="*/ 41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55" h="235">
                    <a:moveTo>
                      <a:pt x="143" y="41"/>
                    </a:moveTo>
                    <a:cubicBezTo>
                      <a:pt x="135" y="35"/>
                      <a:pt x="124" y="33"/>
                      <a:pt x="114" y="36"/>
                    </a:cubicBezTo>
                    <a:cubicBezTo>
                      <a:pt x="113" y="31"/>
                      <a:pt x="110" y="27"/>
                      <a:pt x="106" y="25"/>
                    </a:cubicBezTo>
                    <a:cubicBezTo>
                      <a:pt x="100" y="21"/>
                      <a:pt x="94" y="20"/>
                      <a:pt x="87" y="20"/>
                    </a:cubicBezTo>
                    <a:cubicBezTo>
                      <a:pt x="78" y="20"/>
                      <a:pt x="73" y="19"/>
                      <a:pt x="65" y="14"/>
                    </a:cubicBezTo>
                    <a:cubicBezTo>
                      <a:pt x="40" y="0"/>
                      <a:pt x="0" y="23"/>
                      <a:pt x="2" y="53"/>
                    </a:cubicBezTo>
                    <a:cubicBezTo>
                      <a:pt x="2" y="53"/>
                      <a:pt x="2" y="53"/>
                      <a:pt x="2" y="53"/>
                    </a:cubicBezTo>
                    <a:cubicBezTo>
                      <a:pt x="2" y="53"/>
                      <a:pt x="2" y="53"/>
                      <a:pt x="2" y="53"/>
                    </a:cubicBezTo>
                    <a:cubicBezTo>
                      <a:pt x="6" y="71"/>
                      <a:pt x="33" y="81"/>
                      <a:pt x="49" y="82"/>
                    </a:cubicBezTo>
                    <a:cubicBezTo>
                      <a:pt x="59" y="83"/>
                      <a:pt x="65" y="82"/>
                      <a:pt x="71" y="84"/>
                    </a:cubicBezTo>
                    <a:cubicBezTo>
                      <a:pt x="71" y="84"/>
                      <a:pt x="71" y="84"/>
                      <a:pt x="71" y="84"/>
                    </a:cubicBezTo>
                    <a:cubicBezTo>
                      <a:pt x="71" y="84"/>
                      <a:pt x="69" y="167"/>
                      <a:pt x="23" y="167"/>
                    </a:cubicBezTo>
                    <a:cubicBezTo>
                      <a:pt x="23" y="167"/>
                      <a:pt x="20" y="146"/>
                      <a:pt x="1" y="146"/>
                    </a:cubicBezTo>
                    <a:cubicBezTo>
                      <a:pt x="1" y="214"/>
                      <a:pt x="1" y="214"/>
                      <a:pt x="1" y="214"/>
                    </a:cubicBezTo>
                    <a:cubicBezTo>
                      <a:pt x="1" y="214"/>
                      <a:pt x="82" y="235"/>
                      <a:pt x="82" y="144"/>
                    </a:cubicBezTo>
                    <a:cubicBezTo>
                      <a:pt x="84" y="109"/>
                      <a:pt x="84" y="109"/>
                      <a:pt x="84" y="109"/>
                    </a:cubicBezTo>
                    <a:cubicBezTo>
                      <a:pt x="87" y="125"/>
                      <a:pt x="93" y="148"/>
                      <a:pt x="112" y="160"/>
                    </a:cubicBezTo>
                    <a:cubicBezTo>
                      <a:pt x="113" y="159"/>
                      <a:pt x="113" y="159"/>
                      <a:pt x="113" y="159"/>
                    </a:cubicBezTo>
                    <a:cubicBezTo>
                      <a:pt x="129" y="151"/>
                      <a:pt x="125" y="137"/>
                      <a:pt x="127" y="122"/>
                    </a:cubicBezTo>
                    <a:cubicBezTo>
                      <a:pt x="128" y="111"/>
                      <a:pt x="141" y="97"/>
                      <a:pt x="147" y="87"/>
                    </a:cubicBezTo>
                    <a:cubicBezTo>
                      <a:pt x="153" y="76"/>
                      <a:pt x="155" y="51"/>
                      <a:pt x="143" y="41"/>
                    </a:cubicBezTo>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31" name="Freeform 483"/>
              <p:cNvSpPr>
                <a:spLocks/>
              </p:cNvSpPr>
              <p:nvPr/>
            </p:nvSpPr>
            <p:spPr bwMode="auto">
              <a:xfrm>
                <a:off x="8702675" y="3171825"/>
                <a:ext cx="504825" cy="392112"/>
              </a:xfrm>
              <a:custGeom>
                <a:avLst/>
                <a:gdLst>
                  <a:gd name="T0" fmla="*/ 0 w 303"/>
                  <a:gd name="T1" fmla="*/ 200 h 235"/>
                  <a:gd name="T2" fmla="*/ 82 w 303"/>
                  <a:gd name="T3" fmla="*/ 132 h 235"/>
                  <a:gd name="T4" fmla="*/ 105 w 303"/>
                  <a:gd name="T5" fmla="*/ 0 h 235"/>
                  <a:gd name="T6" fmla="*/ 105 w 303"/>
                  <a:gd name="T7" fmla="*/ 235 h 235"/>
                  <a:gd name="T8" fmla="*/ 65 w 303"/>
                  <a:gd name="T9" fmla="*/ 235 h 235"/>
                  <a:gd name="T10" fmla="*/ 0 w 303"/>
                  <a:gd name="T11" fmla="*/ 200 h 235"/>
                </a:gdLst>
                <a:ahLst/>
                <a:cxnLst>
                  <a:cxn ang="0">
                    <a:pos x="T0" y="T1"/>
                  </a:cxn>
                  <a:cxn ang="0">
                    <a:pos x="T2" y="T3"/>
                  </a:cxn>
                  <a:cxn ang="0">
                    <a:pos x="T4" y="T5"/>
                  </a:cxn>
                  <a:cxn ang="0">
                    <a:pos x="T6" y="T7"/>
                  </a:cxn>
                  <a:cxn ang="0">
                    <a:pos x="T8" y="T9"/>
                  </a:cxn>
                  <a:cxn ang="0">
                    <a:pos x="T10" y="T11"/>
                  </a:cxn>
                </a:cxnLst>
                <a:rect l="0" t="0" r="r" b="b"/>
                <a:pathLst>
                  <a:path w="303" h="235">
                    <a:moveTo>
                      <a:pt x="0" y="200"/>
                    </a:moveTo>
                    <a:cubicBezTo>
                      <a:pt x="82" y="132"/>
                      <a:pt x="82" y="132"/>
                      <a:pt x="82" y="132"/>
                    </a:cubicBezTo>
                    <a:cubicBezTo>
                      <a:pt x="105" y="0"/>
                      <a:pt x="105" y="0"/>
                      <a:pt x="105" y="0"/>
                    </a:cubicBezTo>
                    <a:cubicBezTo>
                      <a:pt x="105" y="0"/>
                      <a:pt x="303" y="213"/>
                      <a:pt x="105" y="235"/>
                    </a:cubicBezTo>
                    <a:cubicBezTo>
                      <a:pt x="65" y="235"/>
                      <a:pt x="65" y="235"/>
                      <a:pt x="65" y="235"/>
                    </a:cubicBezTo>
                    <a:lnTo>
                      <a:pt x="0" y="200"/>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32" name="Freeform 484"/>
              <p:cNvSpPr>
                <a:spLocks/>
              </p:cNvSpPr>
              <p:nvPr/>
            </p:nvSpPr>
            <p:spPr bwMode="auto">
              <a:xfrm>
                <a:off x="8181975" y="3171825"/>
                <a:ext cx="368300" cy="395287"/>
              </a:xfrm>
              <a:custGeom>
                <a:avLst/>
                <a:gdLst>
                  <a:gd name="T0" fmla="*/ 4 w 220"/>
                  <a:gd name="T1" fmla="*/ 221 h 237"/>
                  <a:gd name="T2" fmla="*/ 9 w 220"/>
                  <a:gd name="T3" fmla="*/ 191 h 237"/>
                  <a:gd name="T4" fmla="*/ 173 w 220"/>
                  <a:gd name="T5" fmla="*/ 0 h 237"/>
                  <a:gd name="T6" fmla="*/ 192 w 220"/>
                  <a:gd name="T7" fmla="*/ 6 h 237"/>
                  <a:gd name="T8" fmla="*/ 220 w 220"/>
                  <a:gd name="T9" fmla="*/ 31 h 237"/>
                  <a:gd name="T10" fmla="*/ 92 w 220"/>
                  <a:gd name="T11" fmla="*/ 180 h 237"/>
                  <a:gd name="T12" fmla="*/ 155 w 220"/>
                  <a:gd name="T13" fmla="*/ 180 h 237"/>
                  <a:gd name="T14" fmla="*/ 156 w 220"/>
                  <a:gd name="T15" fmla="*/ 236 h 237"/>
                  <a:gd name="T16" fmla="*/ 30 w 220"/>
                  <a:gd name="T17" fmla="*/ 237 h 237"/>
                  <a:gd name="T18" fmla="*/ 30 w 220"/>
                  <a:gd name="T19" fmla="*/ 237 h 237"/>
                  <a:gd name="T20" fmla="*/ 4 w 220"/>
                  <a:gd name="T21" fmla="*/ 221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0" h="237">
                    <a:moveTo>
                      <a:pt x="4" y="221"/>
                    </a:moveTo>
                    <a:cubicBezTo>
                      <a:pt x="0" y="211"/>
                      <a:pt x="1" y="199"/>
                      <a:pt x="9" y="191"/>
                    </a:cubicBezTo>
                    <a:cubicBezTo>
                      <a:pt x="173" y="0"/>
                      <a:pt x="173" y="0"/>
                      <a:pt x="173" y="0"/>
                    </a:cubicBezTo>
                    <a:cubicBezTo>
                      <a:pt x="192" y="6"/>
                      <a:pt x="192" y="6"/>
                      <a:pt x="192" y="6"/>
                    </a:cubicBezTo>
                    <a:cubicBezTo>
                      <a:pt x="220" y="31"/>
                      <a:pt x="220" y="31"/>
                      <a:pt x="220" y="31"/>
                    </a:cubicBezTo>
                    <a:cubicBezTo>
                      <a:pt x="92" y="180"/>
                      <a:pt x="92" y="180"/>
                      <a:pt x="92" y="180"/>
                    </a:cubicBezTo>
                    <a:cubicBezTo>
                      <a:pt x="155" y="180"/>
                      <a:pt x="155" y="180"/>
                      <a:pt x="155" y="180"/>
                    </a:cubicBezTo>
                    <a:cubicBezTo>
                      <a:pt x="156" y="236"/>
                      <a:pt x="156" y="236"/>
                      <a:pt x="156" y="236"/>
                    </a:cubicBezTo>
                    <a:cubicBezTo>
                      <a:pt x="30" y="237"/>
                      <a:pt x="30" y="237"/>
                      <a:pt x="30" y="237"/>
                    </a:cubicBezTo>
                    <a:cubicBezTo>
                      <a:pt x="30" y="237"/>
                      <a:pt x="30" y="237"/>
                      <a:pt x="30" y="237"/>
                    </a:cubicBezTo>
                    <a:cubicBezTo>
                      <a:pt x="19" y="237"/>
                      <a:pt x="9" y="231"/>
                      <a:pt x="4" y="221"/>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33" name="Freeform 485"/>
              <p:cNvSpPr>
                <a:spLocks/>
              </p:cNvSpPr>
              <p:nvPr/>
            </p:nvSpPr>
            <p:spPr bwMode="auto">
              <a:xfrm>
                <a:off x="8437563" y="3471863"/>
                <a:ext cx="96838" cy="93662"/>
              </a:xfrm>
              <a:custGeom>
                <a:avLst/>
                <a:gdLst>
                  <a:gd name="T0" fmla="*/ 30 w 58"/>
                  <a:gd name="T1" fmla="*/ 0 h 56"/>
                  <a:gd name="T2" fmla="*/ 58 w 58"/>
                  <a:gd name="T3" fmla="*/ 28 h 56"/>
                  <a:gd name="T4" fmla="*/ 30 w 58"/>
                  <a:gd name="T5" fmla="*/ 56 h 56"/>
                  <a:gd name="T6" fmla="*/ 0 w 58"/>
                  <a:gd name="T7" fmla="*/ 56 h 56"/>
                  <a:gd name="T8" fmla="*/ 0 w 58"/>
                  <a:gd name="T9" fmla="*/ 0 h 56"/>
                  <a:gd name="T10" fmla="*/ 30 w 58"/>
                  <a:gd name="T11" fmla="*/ 0 h 56"/>
                </a:gdLst>
                <a:ahLst/>
                <a:cxnLst>
                  <a:cxn ang="0">
                    <a:pos x="T0" y="T1"/>
                  </a:cxn>
                  <a:cxn ang="0">
                    <a:pos x="T2" y="T3"/>
                  </a:cxn>
                  <a:cxn ang="0">
                    <a:pos x="T4" y="T5"/>
                  </a:cxn>
                  <a:cxn ang="0">
                    <a:pos x="T6" y="T7"/>
                  </a:cxn>
                  <a:cxn ang="0">
                    <a:pos x="T8" y="T9"/>
                  </a:cxn>
                  <a:cxn ang="0">
                    <a:pos x="T10" y="T11"/>
                  </a:cxn>
                </a:cxnLst>
                <a:rect l="0" t="0" r="r" b="b"/>
                <a:pathLst>
                  <a:path w="58" h="56">
                    <a:moveTo>
                      <a:pt x="30" y="0"/>
                    </a:moveTo>
                    <a:cubicBezTo>
                      <a:pt x="45" y="0"/>
                      <a:pt x="58" y="13"/>
                      <a:pt x="58" y="28"/>
                    </a:cubicBezTo>
                    <a:cubicBezTo>
                      <a:pt x="58" y="44"/>
                      <a:pt x="45" y="56"/>
                      <a:pt x="30" y="56"/>
                    </a:cubicBezTo>
                    <a:cubicBezTo>
                      <a:pt x="30" y="56"/>
                      <a:pt x="0" y="56"/>
                      <a:pt x="0" y="56"/>
                    </a:cubicBezTo>
                    <a:cubicBezTo>
                      <a:pt x="0" y="0"/>
                      <a:pt x="0" y="0"/>
                      <a:pt x="0" y="0"/>
                    </a:cubicBezTo>
                    <a:cubicBezTo>
                      <a:pt x="0" y="0"/>
                      <a:pt x="29" y="0"/>
                      <a:pt x="30" y="0"/>
                    </a:cubicBezTo>
                    <a:close/>
                  </a:path>
                </a:pathLst>
              </a:custGeom>
              <a:solidFill>
                <a:srgbClr val="FFFC9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34" name="Freeform 486"/>
              <p:cNvSpPr>
                <a:spLocks/>
              </p:cNvSpPr>
              <p:nvPr/>
            </p:nvSpPr>
            <p:spPr bwMode="auto">
              <a:xfrm>
                <a:off x="8475663" y="3236913"/>
                <a:ext cx="312738" cy="330200"/>
              </a:xfrm>
              <a:custGeom>
                <a:avLst/>
                <a:gdLst>
                  <a:gd name="T0" fmla="*/ 0 w 197"/>
                  <a:gd name="T1" fmla="*/ 144 h 208"/>
                  <a:gd name="T2" fmla="*/ 118 w 197"/>
                  <a:gd name="T3" fmla="*/ 208 h 208"/>
                  <a:gd name="T4" fmla="*/ 197 w 197"/>
                  <a:gd name="T5" fmla="*/ 65 h 208"/>
                  <a:gd name="T6" fmla="*/ 78 w 197"/>
                  <a:gd name="T7" fmla="*/ 0 h 208"/>
                  <a:gd name="T8" fmla="*/ 0 w 197"/>
                  <a:gd name="T9" fmla="*/ 144 h 208"/>
                </a:gdLst>
                <a:ahLst/>
                <a:cxnLst>
                  <a:cxn ang="0">
                    <a:pos x="T0" y="T1"/>
                  </a:cxn>
                  <a:cxn ang="0">
                    <a:pos x="T2" y="T3"/>
                  </a:cxn>
                  <a:cxn ang="0">
                    <a:pos x="T4" y="T5"/>
                  </a:cxn>
                  <a:cxn ang="0">
                    <a:pos x="T6" y="T7"/>
                  </a:cxn>
                  <a:cxn ang="0">
                    <a:pos x="T8" y="T9"/>
                  </a:cxn>
                </a:cxnLst>
                <a:rect l="0" t="0" r="r" b="b"/>
                <a:pathLst>
                  <a:path w="197" h="208">
                    <a:moveTo>
                      <a:pt x="0" y="144"/>
                    </a:moveTo>
                    <a:lnTo>
                      <a:pt x="118" y="208"/>
                    </a:lnTo>
                    <a:lnTo>
                      <a:pt x="197" y="65"/>
                    </a:lnTo>
                    <a:lnTo>
                      <a:pt x="78" y="0"/>
                    </a:lnTo>
                    <a:lnTo>
                      <a:pt x="0" y="14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35" name="Freeform 487"/>
              <p:cNvSpPr>
                <a:spLocks/>
              </p:cNvSpPr>
              <p:nvPr/>
            </p:nvSpPr>
            <p:spPr bwMode="auto">
              <a:xfrm>
                <a:off x="8621713" y="3384550"/>
                <a:ext cx="122238" cy="120650"/>
              </a:xfrm>
              <a:custGeom>
                <a:avLst/>
                <a:gdLst>
                  <a:gd name="T0" fmla="*/ 19 w 73"/>
                  <a:gd name="T1" fmla="*/ 57 h 72"/>
                  <a:gd name="T2" fmla="*/ 7 w 73"/>
                  <a:gd name="T3" fmla="*/ 19 h 72"/>
                  <a:gd name="T4" fmla="*/ 46 w 73"/>
                  <a:gd name="T5" fmla="*/ 7 h 72"/>
                  <a:gd name="T6" fmla="*/ 73 w 73"/>
                  <a:gd name="T7" fmla="*/ 22 h 72"/>
                  <a:gd name="T8" fmla="*/ 45 w 73"/>
                  <a:gd name="T9" fmla="*/ 72 h 72"/>
                  <a:gd name="T10" fmla="*/ 19 w 73"/>
                  <a:gd name="T11" fmla="*/ 57 h 72"/>
                </a:gdLst>
                <a:ahLst/>
                <a:cxnLst>
                  <a:cxn ang="0">
                    <a:pos x="T0" y="T1"/>
                  </a:cxn>
                  <a:cxn ang="0">
                    <a:pos x="T2" y="T3"/>
                  </a:cxn>
                  <a:cxn ang="0">
                    <a:pos x="T4" y="T5"/>
                  </a:cxn>
                  <a:cxn ang="0">
                    <a:pos x="T6" y="T7"/>
                  </a:cxn>
                  <a:cxn ang="0">
                    <a:pos x="T8" y="T9"/>
                  </a:cxn>
                  <a:cxn ang="0">
                    <a:pos x="T10" y="T11"/>
                  </a:cxn>
                </a:cxnLst>
                <a:rect l="0" t="0" r="r" b="b"/>
                <a:pathLst>
                  <a:path w="73" h="72">
                    <a:moveTo>
                      <a:pt x="19" y="57"/>
                    </a:moveTo>
                    <a:cubicBezTo>
                      <a:pt x="5" y="50"/>
                      <a:pt x="0" y="32"/>
                      <a:pt x="7" y="19"/>
                    </a:cubicBezTo>
                    <a:cubicBezTo>
                      <a:pt x="15" y="5"/>
                      <a:pt x="32" y="0"/>
                      <a:pt x="46" y="7"/>
                    </a:cubicBezTo>
                    <a:cubicBezTo>
                      <a:pt x="73" y="22"/>
                      <a:pt x="73" y="22"/>
                      <a:pt x="73" y="22"/>
                    </a:cubicBezTo>
                    <a:cubicBezTo>
                      <a:pt x="45" y="72"/>
                      <a:pt x="45" y="72"/>
                      <a:pt x="45" y="72"/>
                    </a:cubicBezTo>
                    <a:lnTo>
                      <a:pt x="19" y="57"/>
                    </a:lnTo>
                    <a:close/>
                  </a:path>
                </a:pathLst>
              </a:custGeom>
              <a:solidFill>
                <a:srgbClr val="FFFC9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36" name="Freeform 488"/>
              <p:cNvSpPr>
                <a:spLocks/>
              </p:cNvSpPr>
              <p:nvPr/>
            </p:nvSpPr>
            <p:spPr bwMode="auto">
              <a:xfrm>
                <a:off x="8696325" y="2922588"/>
                <a:ext cx="44450" cy="87312"/>
              </a:xfrm>
              <a:custGeom>
                <a:avLst/>
                <a:gdLst>
                  <a:gd name="T0" fmla="*/ 0 w 26"/>
                  <a:gd name="T1" fmla="*/ 0 h 52"/>
                  <a:gd name="T2" fmla="*/ 26 w 26"/>
                  <a:gd name="T3" fmla="*/ 26 h 52"/>
                  <a:gd name="T4" fmla="*/ 0 w 26"/>
                  <a:gd name="T5" fmla="*/ 52 h 52"/>
                  <a:gd name="T6" fmla="*/ 0 w 26"/>
                  <a:gd name="T7" fmla="*/ 0 h 52"/>
                </a:gdLst>
                <a:ahLst/>
                <a:cxnLst>
                  <a:cxn ang="0">
                    <a:pos x="T0" y="T1"/>
                  </a:cxn>
                  <a:cxn ang="0">
                    <a:pos x="T2" y="T3"/>
                  </a:cxn>
                  <a:cxn ang="0">
                    <a:pos x="T4" y="T5"/>
                  </a:cxn>
                  <a:cxn ang="0">
                    <a:pos x="T6" y="T7"/>
                  </a:cxn>
                </a:cxnLst>
                <a:rect l="0" t="0" r="r" b="b"/>
                <a:pathLst>
                  <a:path w="26" h="52">
                    <a:moveTo>
                      <a:pt x="0" y="0"/>
                    </a:moveTo>
                    <a:cubicBezTo>
                      <a:pt x="15" y="0"/>
                      <a:pt x="26" y="12"/>
                      <a:pt x="26" y="26"/>
                    </a:cubicBezTo>
                    <a:cubicBezTo>
                      <a:pt x="26" y="41"/>
                      <a:pt x="15" y="52"/>
                      <a:pt x="0" y="52"/>
                    </a:cubicBezTo>
                    <a:cubicBezTo>
                      <a:pt x="0" y="0"/>
                      <a:pt x="0" y="0"/>
                      <a:pt x="0" y="0"/>
                    </a:cubicBezTo>
                  </a:path>
                </a:pathLst>
              </a:custGeom>
              <a:solidFill>
                <a:srgbClr val="FFFC9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37" name="Freeform 489"/>
              <p:cNvSpPr>
                <a:spLocks/>
              </p:cNvSpPr>
              <p:nvPr/>
            </p:nvSpPr>
            <p:spPr bwMode="auto">
              <a:xfrm>
                <a:off x="8696325" y="2944813"/>
                <a:ext cx="22225" cy="42862"/>
              </a:xfrm>
              <a:custGeom>
                <a:avLst/>
                <a:gdLst>
                  <a:gd name="T0" fmla="*/ 0 w 13"/>
                  <a:gd name="T1" fmla="*/ 0 h 26"/>
                  <a:gd name="T2" fmla="*/ 0 w 13"/>
                  <a:gd name="T3" fmla="*/ 26 h 26"/>
                  <a:gd name="T4" fmla="*/ 13 w 13"/>
                  <a:gd name="T5" fmla="*/ 13 h 26"/>
                  <a:gd name="T6" fmla="*/ 0 w 13"/>
                  <a:gd name="T7" fmla="*/ 0 h 26"/>
                </a:gdLst>
                <a:ahLst/>
                <a:cxnLst>
                  <a:cxn ang="0">
                    <a:pos x="T0" y="T1"/>
                  </a:cxn>
                  <a:cxn ang="0">
                    <a:pos x="T2" y="T3"/>
                  </a:cxn>
                  <a:cxn ang="0">
                    <a:pos x="T4" y="T5"/>
                  </a:cxn>
                  <a:cxn ang="0">
                    <a:pos x="T6" y="T7"/>
                  </a:cxn>
                </a:cxnLst>
                <a:rect l="0" t="0" r="r" b="b"/>
                <a:pathLst>
                  <a:path w="13" h="26">
                    <a:moveTo>
                      <a:pt x="0" y="0"/>
                    </a:moveTo>
                    <a:cubicBezTo>
                      <a:pt x="0" y="26"/>
                      <a:pt x="0" y="26"/>
                      <a:pt x="0" y="26"/>
                    </a:cubicBezTo>
                    <a:cubicBezTo>
                      <a:pt x="7" y="26"/>
                      <a:pt x="13" y="20"/>
                      <a:pt x="13" y="13"/>
                    </a:cubicBezTo>
                    <a:cubicBezTo>
                      <a:pt x="13" y="6"/>
                      <a:pt x="7" y="0"/>
                      <a:pt x="0" y="0"/>
                    </a:cubicBezTo>
                  </a:path>
                </a:pathLst>
              </a:custGeom>
              <a:solidFill>
                <a:srgbClr val="D9D68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38" name="Rectangle 490"/>
              <p:cNvSpPr>
                <a:spLocks noChangeArrowheads="1"/>
              </p:cNvSpPr>
              <p:nvPr/>
            </p:nvSpPr>
            <p:spPr bwMode="auto">
              <a:xfrm>
                <a:off x="7507288" y="3619500"/>
                <a:ext cx="250825" cy="32543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39" name="Rectangle 491"/>
              <p:cNvSpPr>
                <a:spLocks noChangeArrowheads="1"/>
              </p:cNvSpPr>
              <p:nvPr/>
            </p:nvSpPr>
            <p:spPr bwMode="auto">
              <a:xfrm>
                <a:off x="7507288" y="3619500"/>
                <a:ext cx="250825" cy="325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40" name="Freeform 492"/>
              <p:cNvSpPr>
                <a:spLocks/>
              </p:cNvSpPr>
              <p:nvPr/>
            </p:nvSpPr>
            <p:spPr bwMode="auto">
              <a:xfrm>
                <a:off x="7507288" y="3619500"/>
                <a:ext cx="250825" cy="325437"/>
              </a:xfrm>
              <a:custGeom>
                <a:avLst/>
                <a:gdLst>
                  <a:gd name="T0" fmla="*/ 158 w 158"/>
                  <a:gd name="T1" fmla="*/ 0 h 205"/>
                  <a:gd name="T2" fmla="*/ 88 w 158"/>
                  <a:gd name="T3" fmla="*/ 0 h 205"/>
                  <a:gd name="T4" fmla="*/ 0 w 158"/>
                  <a:gd name="T5" fmla="*/ 0 h 205"/>
                  <a:gd name="T6" fmla="*/ 0 w 158"/>
                  <a:gd name="T7" fmla="*/ 19 h 205"/>
                  <a:gd name="T8" fmla="*/ 139 w 158"/>
                  <a:gd name="T9" fmla="*/ 19 h 205"/>
                  <a:gd name="T10" fmla="*/ 139 w 158"/>
                  <a:gd name="T11" fmla="*/ 205 h 205"/>
                  <a:gd name="T12" fmla="*/ 158 w 158"/>
                  <a:gd name="T13" fmla="*/ 205 h 205"/>
                  <a:gd name="T14" fmla="*/ 158 w 158"/>
                  <a:gd name="T15" fmla="*/ 0 h 20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8" h="205">
                    <a:moveTo>
                      <a:pt x="158" y="0"/>
                    </a:moveTo>
                    <a:lnTo>
                      <a:pt x="88" y="0"/>
                    </a:lnTo>
                    <a:lnTo>
                      <a:pt x="0" y="0"/>
                    </a:lnTo>
                    <a:lnTo>
                      <a:pt x="0" y="19"/>
                    </a:lnTo>
                    <a:lnTo>
                      <a:pt x="139" y="19"/>
                    </a:lnTo>
                    <a:lnTo>
                      <a:pt x="139" y="205"/>
                    </a:lnTo>
                    <a:lnTo>
                      <a:pt x="158" y="205"/>
                    </a:lnTo>
                    <a:lnTo>
                      <a:pt x="158" y="0"/>
                    </a:lnTo>
                    <a:close/>
                  </a:path>
                </a:pathLst>
              </a:custGeom>
              <a:solidFill>
                <a:srgbClr val="D9D9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41" name="Freeform 493"/>
              <p:cNvSpPr>
                <a:spLocks/>
              </p:cNvSpPr>
              <p:nvPr/>
            </p:nvSpPr>
            <p:spPr bwMode="auto">
              <a:xfrm>
                <a:off x="7507288" y="3619500"/>
                <a:ext cx="250825" cy="325437"/>
              </a:xfrm>
              <a:custGeom>
                <a:avLst/>
                <a:gdLst>
                  <a:gd name="T0" fmla="*/ 158 w 158"/>
                  <a:gd name="T1" fmla="*/ 0 h 205"/>
                  <a:gd name="T2" fmla="*/ 88 w 158"/>
                  <a:gd name="T3" fmla="*/ 0 h 205"/>
                  <a:gd name="T4" fmla="*/ 0 w 158"/>
                  <a:gd name="T5" fmla="*/ 0 h 205"/>
                  <a:gd name="T6" fmla="*/ 0 w 158"/>
                  <a:gd name="T7" fmla="*/ 19 h 205"/>
                  <a:gd name="T8" fmla="*/ 139 w 158"/>
                  <a:gd name="T9" fmla="*/ 19 h 205"/>
                  <a:gd name="T10" fmla="*/ 139 w 158"/>
                  <a:gd name="T11" fmla="*/ 205 h 205"/>
                  <a:gd name="T12" fmla="*/ 158 w 158"/>
                  <a:gd name="T13" fmla="*/ 205 h 205"/>
                  <a:gd name="T14" fmla="*/ 158 w 158"/>
                  <a:gd name="T15" fmla="*/ 0 h 20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8" h="205">
                    <a:moveTo>
                      <a:pt x="158" y="0"/>
                    </a:moveTo>
                    <a:lnTo>
                      <a:pt x="88" y="0"/>
                    </a:lnTo>
                    <a:lnTo>
                      <a:pt x="0" y="0"/>
                    </a:lnTo>
                    <a:lnTo>
                      <a:pt x="0" y="19"/>
                    </a:lnTo>
                    <a:lnTo>
                      <a:pt x="139" y="19"/>
                    </a:lnTo>
                    <a:lnTo>
                      <a:pt x="139" y="205"/>
                    </a:lnTo>
                    <a:lnTo>
                      <a:pt x="158" y="205"/>
                    </a:lnTo>
                    <a:lnTo>
                      <a:pt x="15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42" name="Rectangle 494"/>
              <p:cNvSpPr>
                <a:spLocks noChangeArrowheads="1"/>
              </p:cNvSpPr>
              <p:nvPr/>
            </p:nvSpPr>
            <p:spPr bwMode="auto">
              <a:xfrm>
                <a:off x="7478713" y="3649663"/>
                <a:ext cx="249238" cy="32543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43" name="Rectangle 495"/>
              <p:cNvSpPr>
                <a:spLocks noChangeArrowheads="1"/>
              </p:cNvSpPr>
              <p:nvPr/>
            </p:nvSpPr>
            <p:spPr bwMode="auto">
              <a:xfrm>
                <a:off x="7478713" y="3649663"/>
                <a:ext cx="249238" cy="325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44" name="Rectangle 496"/>
              <p:cNvSpPr>
                <a:spLocks noChangeArrowheads="1"/>
              </p:cNvSpPr>
              <p:nvPr/>
            </p:nvSpPr>
            <p:spPr bwMode="auto">
              <a:xfrm>
                <a:off x="7478713" y="3649663"/>
                <a:ext cx="249238" cy="32543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45" name="Rectangle 497"/>
              <p:cNvSpPr>
                <a:spLocks noChangeArrowheads="1"/>
              </p:cNvSpPr>
              <p:nvPr/>
            </p:nvSpPr>
            <p:spPr bwMode="auto">
              <a:xfrm>
                <a:off x="7478713" y="3649663"/>
                <a:ext cx="249238" cy="325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46" name="Rectangle 498"/>
              <p:cNvSpPr>
                <a:spLocks noChangeArrowheads="1"/>
              </p:cNvSpPr>
              <p:nvPr/>
            </p:nvSpPr>
            <p:spPr bwMode="auto">
              <a:xfrm>
                <a:off x="7478713" y="3649663"/>
                <a:ext cx="249238" cy="325437"/>
              </a:xfrm>
              <a:prstGeom prst="rect">
                <a:avLst/>
              </a:prstGeom>
              <a:solidFill>
                <a:srgbClr val="E5E5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47" name="Rectangle 499"/>
              <p:cNvSpPr>
                <a:spLocks noChangeArrowheads="1"/>
              </p:cNvSpPr>
              <p:nvPr/>
            </p:nvSpPr>
            <p:spPr bwMode="auto">
              <a:xfrm>
                <a:off x="7478713" y="3649663"/>
                <a:ext cx="249238" cy="325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48" name="Rectangle 500"/>
              <p:cNvSpPr>
                <a:spLocks noChangeArrowheads="1"/>
              </p:cNvSpPr>
              <p:nvPr/>
            </p:nvSpPr>
            <p:spPr bwMode="auto">
              <a:xfrm>
                <a:off x="7450138" y="3676650"/>
                <a:ext cx="249238" cy="32543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49" name="Rectangle 501"/>
              <p:cNvSpPr>
                <a:spLocks noChangeArrowheads="1"/>
              </p:cNvSpPr>
              <p:nvPr/>
            </p:nvSpPr>
            <p:spPr bwMode="auto">
              <a:xfrm>
                <a:off x="7893050" y="3619500"/>
                <a:ext cx="252413" cy="32543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50" name="Rectangle 502"/>
              <p:cNvSpPr>
                <a:spLocks noChangeArrowheads="1"/>
              </p:cNvSpPr>
              <p:nvPr/>
            </p:nvSpPr>
            <p:spPr bwMode="auto">
              <a:xfrm>
                <a:off x="7893050" y="3619500"/>
                <a:ext cx="252413" cy="325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51" name="Freeform 503"/>
              <p:cNvSpPr>
                <a:spLocks/>
              </p:cNvSpPr>
              <p:nvPr/>
            </p:nvSpPr>
            <p:spPr bwMode="auto">
              <a:xfrm>
                <a:off x="7893050" y="3619500"/>
                <a:ext cx="252413" cy="325437"/>
              </a:xfrm>
              <a:custGeom>
                <a:avLst/>
                <a:gdLst>
                  <a:gd name="T0" fmla="*/ 159 w 159"/>
                  <a:gd name="T1" fmla="*/ 0 h 205"/>
                  <a:gd name="T2" fmla="*/ 81 w 159"/>
                  <a:gd name="T3" fmla="*/ 0 h 205"/>
                  <a:gd name="T4" fmla="*/ 0 w 159"/>
                  <a:gd name="T5" fmla="*/ 0 h 205"/>
                  <a:gd name="T6" fmla="*/ 0 w 159"/>
                  <a:gd name="T7" fmla="*/ 19 h 205"/>
                  <a:gd name="T8" fmla="*/ 140 w 159"/>
                  <a:gd name="T9" fmla="*/ 19 h 205"/>
                  <a:gd name="T10" fmla="*/ 140 w 159"/>
                  <a:gd name="T11" fmla="*/ 205 h 205"/>
                  <a:gd name="T12" fmla="*/ 159 w 159"/>
                  <a:gd name="T13" fmla="*/ 205 h 205"/>
                  <a:gd name="T14" fmla="*/ 159 w 159"/>
                  <a:gd name="T15" fmla="*/ 0 h 20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9" h="205">
                    <a:moveTo>
                      <a:pt x="159" y="0"/>
                    </a:moveTo>
                    <a:lnTo>
                      <a:pt x="81" y="0"/>
                    </a:lnTo>
                    <a:lnTo>
                      <a:pt x="0" y="0"/>
                    </a:lnTo>
                    <a:lnTo>
                      <a:pt x="0" y="19"/>
                    </a:lnTo>
                    <a:lnTo>
                      <a:pt x="140" y="19"/>
                    </a:lnTo>
                    <a:lnTo>
                      <a:pt x="140" y="205"/>
                    </a:lnTo>
                    <a:lnTo>
                      <a:pt x="159" y="205"/>
                    </a:lnTo>
                    <a:lnTo>
                      <a:pt x="159" y="0"/>
                    </a:lnTo>
                    <a:close/>
                  </a:path>
                </a:pathLst>
              </a:custGeom>
              <a:solidFill>
                <a:srgbClr val="D9D9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52" name="Freeform 504"/>
              <p:cNvSpPr>
                <a:spLocks/>
              </p:cNvSpPr>
              <p:nvPr/>
            </p:nvSpPr>
            <p:spPr bwMode="auto">
              <a:xfrm>
                <a:off x="7893050" y="3619500"/>
                <a:ext cx="252413" cy="325437"/>
              </a:xfrm>
              <a:custGeom>
                <a:avLst/>
                <a:gdLst>
                  <a:gd name="T0" fmla="*/ 159 w 159"/>
                  <a:gd name="T1" fmla="*/ 0 h 205"/>
                  <a:gd name="T2" fmla="*/ 81 w 159"/>
                  <a:gd name="T3" fmla="*/ 0 h 205"/>
                  <a:gd name="T4" fmla="*/ 0 w 159"/>
                  <a:gd name="T5" fmla="*/ 0 h 205"/>
                  <a:gd name="T6" fmla="*/ 0 w 159"/>
                  <a:gd name="T7" fmla="*/ 19 h 205"/>
                  <a:gd name="T8" fmla="*/ 140 w 159"/>
                  <a:gd name="T9" fmla="*/ 19 h 205"/>
                  <a:gd name="T10" fmla="*/ 140 w 159"/>
                  <a:gd name="T11" fmla="*/ 205 h 205"/>
                  <a:gd name="T12" fmla="*/ 159 w 159"/>
                  <a:gd name="T13" fmla="*/ 205 h 205"/>
                  <a:gd name="T14" fmla="*/ 159 w 159"/>
                  <a:gd name="T15" fmla="*/ 0 h 20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9" h="205">
                    <a:moveTo>
                      <a:pt x="159" y="0"/>
                    </a:moveTo>
                    <a:lnTo>
                      <a:pt x="81" y="0"/>
                    </a:lnTo>
                    <a:lnTo>
                      <a:pt x="0" y="0"/>
                    </a:lnTo>
                    <a:lnTo>
                      <a:pt x="0" y="19"/>
                    </a:lnTo>
                    <a:lnTo>
                      <a:pt x="140" y="19"/>
                    </a:lnTo>
                    <a:lnTo>
                      <a:pt x="140" y="205"/>
                    </a:lnTo>
                    <a:lnTo>
                      <a:pt x="159" y="205"/>
                    </a:lnTo>
                    <a:lnTo>
                      <a:pt x="15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53" name="Rectangle 505"/>
              <p:cNvSpPr>
                <a:spLocks noChangeArrowheads="1"/>
              </p:cNvSpPr>
              <p:nvPr/>
            </p:nvSpPr>
            <p:spPr bwMode="auto">
              <a:xfrm>
                <a:off x="7864475" y="3649663"/>
                <a:ext cx="250825" cy="32543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54" name="Rectangle 506"/>
              <p:cNvSpPr>
                <a:spLocks noChangeArrowheads="1"/>
              </p:cNvSpPr>
              <p:nvPr/>
            </p:nvSpPr>
            <p:spPr bwMode="auto">
              <a:xfrm>
                <a:off x="7864475" y="3649663"/>
                <a:ext cx="250825" cy="325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55" name="Rectangle 507"/>
              <p:cNvSpPr>
                <a:spLocks noChangeArrowheads="1"/>
              </p:cNvSpPr>
              <p:nvPr/>
            </p:nvSpPr>
            <p:spPr bwMode="auto">
              <a:xfrm>
                <a:off x="7864475" y="3649663"/>
                <a:ext cx="250825" cy="32543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56" name="Rectangle 508"/>
              <p:cNvSpPr>
                <a:spLocks noChangeArrowheads="1"/>
              </p:cNvSpPr>
              <p:nvPr/>
            </p:nvSpPr>
            <p:spPr bwMode="auto">
              <a:xfrm>
                <a:off x="7864475" y="3649663"/>
                <a:ext cx="250825" cy="325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57" name="Rectangle 509"/>
              <p:cNvSpPr>
                <a:spLocks noChangeArrowheads="1"/>
              </p:cNvSpPr>
              <p:nvPr/>
            </p:nvSpPr>
            <p:spPr bwMode="auto">
              <a:xfrm>
                <a:off x="7864475" y="3649663"/>
                <a:ext cx="250825" cy="325437"/>
              </a:xfrm>
              <a:prstGeom prst="rect">
                <a:avLst/>
              </a:prstGeom>
              <a:solidFill>
                <a:srgbClr val="E5E5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58" name="Rectangle 510"/>
              <p:cNvSpPr>
                <a:spLocks noChangeArrowheads="1"/>
              </p:cNvSpPr>
              <p:nvPr/>
            </p:nvSpPr>
            <p:spPr bwMode="auto">
              <a:xfrm>
                <a:off x="7864475" y="3649663"/>
                <a:ext cx="250825" cy="325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59" name="Rectangle 511"/>
              <p:cNvSpPr>
                <a:spLocks noChangeArrowheads="1"/>
              </p:cNvSpPr>
              <p:nvPr/>
            </p:nvSpPr>
            <p:spPr bwMode="auto">
              <a:xfrm>
                <a:off x="7835900" y="3676650"/>
                <a:ext cx="250825" cy="32543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60" name="Freeform 512"/>
              <p:cNvSpPr>
                <a:spLocks/>
              </p:cNvSpPr>
              <p:nvPr/>
            </p:nvSpPr>
            <p:spPr bwMode="auto">
              <a:xfrm>
                <a:off x="7499350" y="3833813"/>
                <a:ext cx="63500" cy="63500"/>
              </a:xfrm>
              <a:custGeom>
                <a:avLst/>
                <a:gdLst>
                  <a:gd name="T0" fmla="*/ 40 w 40"/>
                  <a:gd name="T1" fmla="*/ 32 h 40"/>
                  <a:gd name="T2" fmla="*/ 32 w 40"/>
                  <a:gd name="T3" fmla="*/ 40 h 40"/>
                  <a:gd name="T4" fmla="*/ 0 w 40"/>
                  <a:gd name="T5" fmla="*/ 8 h 40"/>
                  <a:gd name="T6" fmla="*/ 9 w 40"/>
                  <a:gd name="T7" fmla="*/ 0 h 40"/>
                  <a:gd name="T8" fmla="*/ 40 w 40"/>
                  <a:gd name="T9" fmla="*/ 32 h 40"/>
                </a:gdLst>
                <a:ahLst/>
                <a:cxnLst>
                  <a:cxn ang="0">
                    <a:pos x="T0" y="T1"/>
                  </a:cxn>
                  <a:cxn ang="0">
                    <a:pos x="T2" y="T3"/>
                  </a:cxn>
                  <a:cxn ang="0">
                    <a:pos x="T4" y="T5"/>
                  </a:cxn>
                  <a:cxn ang="0">
                    <a:pos x="T6" y="T7"/>
                  </a:cxn>
                  <a:cxn ang="0">
                    <a:pos x="T8" y="T9"/>
                  </a:cxn>
                </a:cxnLst>
                <a:rect l="0" t="0" r="r" b="b"/>
                <a:pathLst>
                  <a:path w="40" h="40">
                    <a:moveTo>
                      <a:pt x="40" y="32"/>
                    </a:moveTo>
                    <a:lnTo>
                      <a:pt x="32" y="40"/>
                    </a:lnTo>
                    <a:lnTo>
                      <a:pt x="0" y="8"/>
                    </a:lnTo>
                    <a:lnTo>
                      <a:pt x="9" y="0"/>
                    </a:lnTo>
                    <a:lnTo>
                      <a:pt x="40" y="3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61" name="Freeform 513"/>
              <p:cNvSpPr>
                <a:spLocks/>
              </p:cNvSpPr>
              <p:nvPr/>
            </p:nvSpPr>
            <p:spPr bwMode="auto">
              <a:xfrm>
                <a:off x="7537450" y="3784600"/>
                <a:ext cx="112713" cy="112712"/>
              </a:xfrm>
              <a:custGeom>
                <a:avLst/>
                <a:gdLst>
                  <a:gd name="T0" fmla="*/ 64 w 71"/>
                  <a:gd name="T1" fmla="*/ 0 h 71"/>
                  <a:gd name="T2" fmla="*/ 0 w 71"/>
                  <a:gd name="T3" fmla="*/ 63 h 71"/>
                  <a:gd name="T4" fmla="*/ 8 w 71"/>
                  <a:gd name="T5" fmla="*/ 71 h 71"/>
                  <a:gd name="T6" fmla="*/ 71 w 71"/>
                  <a:gd name="T7" fmla="*/ 7 h 71"/>
                  <a:gd name="T8" fmla="*/ 64 w 71"/>
                  <a:gd name="T9" fmla="*/ 0 h 71"/>
                </a:gdLst>
                <a:ahLst/>
                <a:cxnLst>
                  <a:cxn ang="0">
                    <a:pos x="T0" y="T1"/>
                  </a:cxn>
                  <a:cxn ang="0">
                    <a:pos x="T2" y="T3"/>
                  </a:cxn>
                  <a:cxn ang="0">
                    <a:pos x="T4" y="T5"/>
                  </a:cxn>
                  <a:cxn ang="0">
                    <a:pos x="T6" y="T7"/>
                  </a:cxn>
                  <a:cxn ang="0">
                    <a:pos x="T8" y="T9"/>
                  </a:cxn>
                </a:cxnLst>
                <a:rect l="0" t="0" r="r" b="b"/>
                <a:pathLst>
                  <a:path w="71" h="71">
                    <a:moveTo>
                      <a:pt x="64" y="0"/>
                    </a:moveTo>
                    <a:lnTo>
                      <a:pt x="0" y="63"/>
                    </a:lnTo>
                    <a:lnTo>
                      <a:pt x="8" y="71"/>
                    </a:lnTo>
                    <a:lnTo>
                      <a:pt x="71" y="7"/>
                    </a:lnTo>
                    <a:lnTo>
                      <a:pt x="6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62" name="Freeform 514"/>
              <p:cNvSpPr>
                <a:spLocks/>
              </p:cNvSpPr>
              <p:nvPr/>
            </p:nvSpPr>
            <p:spPr bwMode="auto">
              <a:xfrm>
                <a:off x="7499350" y="3833813"/>
                <a:ext cx="63500" cy="63500"/>
              </a:xfrm>
              <a:custGeom>
                <a:avLst/>
                <a:gdLst>
                  <a:gd name="T0" fmla="*/ 40 w 40"/>
                  <a:gd name="T1" fmla="*/ 32 h 40"/>
                  <a:gd name="T2" fmla="*/ 32 w 40"/>
                  <a:gd name="T3" fmla="*/ 40 h 40"/>
                  <a:gd name="T4" fmla="*/ 0 w 40"/>
                  <a:gd name="T5" fmla="*/ 8 h 40"/>
                  <a:gd name="T6" fmla="*/ 9 w 40"/>
                  <a:gd name="T7" fmla="*/ 0 h 40"/>
                  <a:gd name="T8" fmla="*/ 40 w 40"/>
                  <a:gd name="T9" fmla="*/ 32 h 40"/>
                </a:gdLst>
                <a:ahLst/>
                <a:cxnLst>
                  <a:cxn ang="0">
                    <a:pos x="T0" y="T1"/>
                  </a:cxn>
                  <a:cxn ang="0">
                    <a:pos x="T2" y="T3"/>
                  </a:cxn>
                  <a:cxn ang="0">
                    <a:pos x="T4" y="T5"/>
                  </a:cxn>
                  <a:cxn ang="0">
                    <a:pos x="T6" y="T7"/>
                  </a:cxn>
                  <a:cxn ang="0">
                    <a:pos x="T8" y="T9"/>
                  </a:cxn>
                </a:cxnLst>
                <a:rect l="0" t="0" r="r" b="b"/>
                <a:pathLst>
                  <a:path w="40" h="40">
                    <a:moveTo>
                      <a:pt x="40" y="32"/>
                    </a:moveTo>
                    <a:lnTo>
                      <a:pt x="32" y="40"/>
                    </a:lnTo>
                    <a:lnTo>
                      <a:pt x="0" y="8"/>
                    </a:lnTo>
                    <a:lnTo>
                      <a:pt x="9" y="0"/>
                    </a:lnTo>
                    <a:lnTo>
                      <a:pt x="40" y="32"/>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63" name="Freeform 515"/>
              <p:cNvSpPr>
                <a:spLocks/>
              </p:cNvSpPr>
              <p:nvPr/>
            </p:nvSpPr>
            <p:spPr bwMode="auto">
              <a:xfrm>
                <a:off x="7537450" y="3784600"/>
                <a:ext cx="112713" cy="112712"/>
              </a:xfrm>
              <a:custGeom>
                <a:avLst/>
                <a:gdLst>
                  <a:gd name="T0" fmla="*/ 64 w 71"/>
                  <a:gd name="T1" fmla="*/ 0 h 71"/>
                  <a:gd name="T2" fmla="*/ 0 w 71"/>
                  <a:gd name="T3" fmla="*/ 63 h 71"/>
                  <a:gd name="T4" fmla="*/ 8 w 71"/>
                  <a:gd name="T5" fmla="*/ 71 h 71"/>
                  <a:gd name="T6" fmla="*/ 71 w 71"/>
                  <a:gd name="T7" fmla="*/ 7 h 71"/>
                  <a:gd name="T8" fmla="*/ 64 w 71"/>
                  <a:gd name="T9" fmla="*/ 0 h 71"/>
                </a:gdLst>
                <a:ahLst/>
                <a:cxnLst>
                  <a:cxn ang="0">
                    <a:pos x="T0" y="T1"/>
                  </a:cxn>
                  <a:cxn ang="0">
                    <a:pos x="T2" y="T3"/>
                  </a:cxn>
                  <a:cxn ang="0">
                    <a:pos x="T4" y="T5"/>
                  </a:cxn>
                  <a:cxn ang="0">
                    <a:pos x="T6" y="T7"/>
                  </a:cxn>
                  <a:cxn ang="0">
                    <a:pos x="T8" y="T9"/>
                  </a:cxn>
                </a:cxnLst>
                <a:rect l="0" t="0" r="r" b="b"/>
                <a:pathLst>
                  <a:path w="71" h="71">
                    <a:moveTo>
                      <a:pt x="64" y="0"/>
                    </a:moveTo>
                    <a:lnTo>
                      <a:pt x="0" y="63"/>
                    </a:lnTo>
                    <a:lnTo>
                      <a:pt x="8" y="71"/>
                    </a:lnTo>
                    <a:lnTo>
                      <a:pt x="71" y="7"/>
                    </a:lnTo>
                    <a:lnTo>
                      <a:pt x="64" y="0"/>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64" name="Freeform 516"/>
              <p:cNvSpPr>
                <a:spLocks/>
              </p:cNvSpPr>
              <p:nvPr/>
            </p:nvSpPr>
            <p:spPr bwMode="auto">
              <a:xfrm>
                <a:off x="7885113" y="3833813"/>
                <a:ext cx="63500" cy="63500"/>
              </a:xfrm>
              <a:custGeom>
                <a:avLst/>
                <a:gdLst>
                  <a:gd name="T0" fmla="*/ 40 w 40"/>
                  <a:gd name="T1" fmla="*/ 32 h 40"/>
                  <a:gd name="T2" fmla="*/ 32 w 40"/>
                  <a:gd name="T3" fmla="*/ 40 h 40"/>
                  <a:gd name="T4" fmla="*/ 0 w 40"/>
                  <a:gd name="T5" fmla="*/ 8 h 40"/>
                  <a:gd name="T6" fmla="*/ 9 w 40"/>
                  <a:gd name="T7" fmla="*/ 0 h 40"/>
                  <a:gd name="T8" fmla="*/ 40 w 40"/>
                  <a:gd name="T9" fmla="*/ 32 h 40"/>
                </a:gdLst>
                <a:ahLst/>
                <a:cxnLst>
                  <a:cxn ang="0">
                    <a:pos x="T0" y="T1"/>
                  </a:cxn>
                  <a:cxn ang="0">
                    <a:pos x="T2" y="T3"/>
                  </a:cxn>
                  <a:cxn ang="0">
                    <a:pos x="T4" y="T5"/>
                  </a:cxn>
                  <a:cxn ang="0">
                    <a:pos x="T6" y="T7"/>
                  </a:cxn>
                  <a:cxn ang="0">
                    <a:pos x="T8" y="T9"/>
                  </a:cxn>
                </a:cxnLst>
                <a:rect l="0" t="0" r="r" b="b"/>
                <a:pathLst>
                  <a:path w="40" h="40">
                    <a:moveTo>
                      <a:pt x="40" y="32"/>
                    </a:moveTo>
                    <a:lnTo>
                      <a:pt x="32" y="40"/>
                    </a:lnTo>
                    <a:lnTo>
                      <a:pt x="0" y="8"/>
                    </a:lnTo>
                    <a:lnTo>
                      <a:pt x="9" y="0"/>
                    </a:lnTo>
                    <a:lnTo>
                      <a:pt x="40" y="32"/>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65" name="Freeform 517"/>
              <p:cNvSpPr>
                <a:spLocks/>
              </p:cNvSpPr>
              <p:nvPr/>
            </p:nvSpPr>
            <p:spPr bwMode="auto">
              <a:xfrm>
                <a:off x="7923213" y="3784600"/>
                <a:ext cx="114300" cy="112712"/>
              </a:xfrm>
              <a:custGeom>
                <a:avLst/>
                <a:gdLst>
                  <a:gd name="T0" fmla="*/ 64 w 72"/>
                  <a:gd name="T1" fmla="*/ 0 h 71"/>
                  <a:gd name="T2" fmla="*/ 0 w 72"/>
                  <a:gd name="T3" fmla="*/ 63 h 71"/>
                  <a:gd name="T4" fmla="*/ 8 w 72"/>
                  <a:gd name="T5" fmla="*/ 71 h 71"/>
                  <a:gd name="T6" fmla="*/ 72 w 72"/>
                  <a:gd name="T7" fmla="*/ 7 h 71"/>
                  <a:gd name="T8" fmla="*/ 64 w 72"/>
                  <a:gd name="T9" fmla="*/ 0 h 71"/>
                </a:gdLst>
                <a:ahLst/>
                <a:cxnLst>
                  <a:cxn ang="0">
                    <a:pos x="T0" y="T1"/>
                  </a:cxn>
                  <a:cxn ang="0">
                    <a:pos x="T2" y="T3"/>
                  </a:cxn>
                  <a:cxn ang="0">
                    <a:pos x="T4" y="T5"/>
                  </a:cxn>
                  <a:cxn ang="0">
                    <a:pos x="T6" y="T7"/>
                  </a:cxn>
                  <a:cxn ang="0">
                    <a:pos x="T8" y="T9"/>
                  </a:cxn>
                </a:cxnLst>
                <a:rect l="0" t="0" r="r" b="b"/>
                <a:pathLst>
                  <a:path w="72" h="71">
                    <a:moveTo>
                      <a:pt x="64" y="0"/>
                    </a:moveTo>
                    <a:lnTo>
                      <a:pt x="0" y="63"/>
                    </a:lnTo>
                    <a:lnTo>
                      <a:pt x="8" y="71"/>
                    </a:lnTo>
                    <a:lnTo>
                      <a:pt x="72" y="7"/>
                    </a:lnTo>
                    <a:lnTo>
                      <a:pt x="64" y="0"/>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66" name="Freeform 518"/>
              <p:cNvSpPr>
                <a:spLocks/>
              </p:cNvSpPr>
              <p:nvPr/>
            </p:nvSpPr>
            <p:spPr bwMode="auto">
              <a:xfrm>
                <a:off x="6400800" y="3754438"/>
                <a:ext cx="668338" cy="1036637"/>
              </a:xfrm>
              <a:custGeom>
                <a:avLst/>
                <a:gdLst>
                  <a:gd name="T0" fmla="*/ 0 w 400"/>
                  <a:gd name="T1" fmla="*/ 0 h 621"/>
                  <a:gd name="T2" fmla="*/ 0 w 400"/>
                  <a:gd name="T3" fmla="*/ 621 h 621"/>
                  <a:gd name="T4" fmla="*/ 400 w 400"/>
                  <a:gd name="T5" fmla="*/ 621 h 621"/>
                  <a:gd name="T6" fmla="*/ 400 w 400"/>
                  <a:gd name="T7" fmla="*/ 348 h 621"/>
                  <a:gd name="T8" fmla="*/ 319 w 400"/>
                  <a:gd name="T9" fmla="*/ 277 h 621"/>
                  <a:gd name="T10" fmla="*/ 319 w 400"/>
                  <a:gd name="T11" fmla="*/ 292 h 621"/>
                  <a:gd name="T12" fmla="*/ 288 w 400"/>
                  <a:gd name="T13" fmla="*/ 292 h 621"/>
                  <a:gd name="T14" fmla="*/ 291 w 400"/>
                  <a:gd name="T15" fmla="*/ 454 h 621"/>
                  <a:gd name="T16" fmla="*/ 73 w 400"/>
                  <a:gd name="T17" fmla="*/ 454 h 621"/>
                  <a:gd name="T18" fmla="*/ 73 w 400"/>
                  <a:gd name="T19" fmla="*/ 146 h 621"/>
                  <a:gd name="T20" fmla="*/ 92 w 400"/>
                  <a:gd name="T21" fmla="*/ 80 h 621"/>
                  <a:gd name="T22" fmla="*/ 0 w 400"/>
                  <a:gd name="T23" fmla="*/ 0 h 6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00" h="621">
                    <a:moveTo>
                      <a:pt x="0" y="0"/>
                    </a:moveTo>
                    <a:cubicBezTo>
                      <a:pt x="0" y="621"/>
                      <a:pt x="0" y="621"/>
                      <a:pt x="0" y="621"/>
                    </a:cubicBezTo>
                    <a:cubicBezTo>
                      <a:pt x="400" y="621"/>
                      <a:pt x="400" y="621"/>
                      <a:pt x="400" y="621"/>
                    </a:cubicBezTo>
                    <a:cubicBezTo>
                      <a:pt x="400" y="348"/>
                      <a:pt x="400" y="348"/>
                      <a:pt x="400" y="348"/>
                    </a:cubicBezTo>
                    <a:cubicBezTo>
                      <a:pt x="319" y="277"/>
                      <a:pt x="319" y="277"/>
                      <a:pt x="319" y="277"/>
                    </a:cubicBezTo>
                    <a:cubicBezTo>
                      <a:pt x="319" y="292"/>
                      <a:pt x="319" y="292"/>
                      <a:pt x="319" y="292"/>
                    </a:cubicBezTo>
                    <a:cubicBezTo>
                      <a:pt x="288" y="292"/>
                      <a:pt x="288" y="292"/>
                      <a:pt x="288" y="292"/>
                    </a:cubicBezTo>
                    <a:cubicBezTo>
                      <a:pt x="291" y="454"/>
                      <a:pt x="291" y="454"/>
                      <a:pt x="291" y="454"/>
                    </a:cubicBezTo>
                    <a:cubicBezTo>
                      <a:pt x="73" y="454"/>
                      <a:pt x="73" y="454"/>
                      <a:pt x="73" y="454"/>
                    </a:cubicBezTo>
                    <a:cubicBezTo>
                      <a:pt x="73" y="146"/>
                      <a:pt x="73" y="146"/>
                      <a:pt x="73" y="146"/>
                    </a:cubicBezTo>
                    <a:cubicBezTo>
                      <a:pt x="73" y="122"/>
                      <a:pt x="80" y="99"/>
                      <a:pt x="92" y="80"/>
                    </a:cubicBezTo>
                    <a:cubicBezTo>
                      <a:pt x="0" y="0"/>
                      <a:pt x="0" y="0"/>
                      <a:pt x="0" y="0"/>
                    </a:cubicBezTo>
                  </a:path>
                </a:pathLst>
              </a:custGeom>
              <a:solidFill>
                <a:srgbClr val="4CBE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67" name="Freeform 519"/>
              <p:cNvSpPr>
                <a:spLocks noEditPoints="1"/>
              </p:cNvSpPr>
              <p:nvPr/>
            </p:nvSpPr>
            <p:spPr bwMode="auto">
              <a:xfrm>
                <a:off x="6523038" y="3887788"/>
                <a:ext cx="411163" cy="623887"/>
              </a:xfrm>
              <a:custGeom>
                <a:avLst/>
                <a:gdLst>
                  <a:gd name="T0" fmla="*/ 192 w 246"/>
                  <a:gd name="T1" fmla="*/ 171 h 374"/>
                  <a:gd name="T2" fmla="*/ 185 w 246"/>
                  <a:gd name="T3" fmla="*/ 164 h 374"/>
                  <a:gd name="T4" fmla="*/ 192 w 246"/>
                  <a:gd name="T5" fmla="*/ 156 h 374"/>
                  <a:gd name="T6" fmla="*/ 200 w 246"/>
                  <a:gd name="T7" fmla="*/ 164 h 374"/>
                  <a:gd name="T8" fmla="*/ 192 w 246"/>
                  <a:gd name="T9" fmla="*/ 171 h 374"/>
                  <a:gd name="T10" fmla="*/ 19 w 246"/>
                  <a:gd name="T11" fmla="*/ 0 h 374"/>
                  <a:gd name="T12" fmla="*/ 0 w 246"/>
                  <a:gd name="T13" fmla="*/ 66 h 374"/>
                  <a:gd name="T14" fmla="*/ 0 w 246"/>
                  <a:gd name="T15" fmla="*/ 374 h 374"/>
                  <a:gd name="T16" fmla="*/ 218 w 246"/>
                  <a:gd name="T17" fmla="*/ 374 h 374"/>
                  <a:gd name="T18" fmla="*/ 215 w 246"/>
                  <a:gd name="T19" fmla="*/ 212 h 374"/>
                  <a:gd name="T20" fmla="*/ 246 w 246"/>
                  <a:gd name="T21" fmla="*/ 212 h 374"/>
                  <a:gd name="T22" fmla="*/ 246 w 246"/>
                  <a:gd name="T23" fmla="*/ 197 h 374"/>
                  <a:gd name="T24" fmla="*/ 180 w 246"/>
                  <a:gd name="T25" fmla="*/ 139 h 374"/>
                  <a:gd name="T26" fmla="*/ 123 w 246"/>
                  <a:gd name="T27" fmla="*/ 158 h 374"/>
                  <a:gd name="T28" fmla="*/ 30 w 246"/>
                  <a:gd name="T29" fmla="*/ 65 h 374"/>
                  <a:gd name="T30" fmla="*/ 42 w 246"/>
                  <a:gd name="T31" fmla="*/ 19 h 374"/>
                  <a:gd name="T32" fmla="*/ 19 w 246"/>
                  <a:gd name="T33" fmla="*/ 0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6" h="374">
                    <a:moveTo>
                      <a:pt x="192" y="171"/>
                    </a:moveTo>
                    <a:cubicBezTo>
                      <a:pt x="188" y="171"/>
                      <a:pt x="185" y="168"/>
                      <a:pt x="185" y="164"/>
                    </a:cubicBezTo>
                    <a:cubicBezTo>
                      <a:pt x="185" y="159"/>
                      <a:pt x="188" y="156"/>
                      <a:pt x="192" y="156"/>
                    </a:cubicBezTo>
                    <a:cubicBezTo>
                      <a:pt x="197" y="156"/>
                      <a:pt x="200" y="159"/>
                      <a:pt x="200" y="164"/>
                    </a:cubicBezTo>
                    <a:cubicBezTo>
                      <a:pt x="200" y="168"/>
                      <a:pt x="197" y="171"/>
                      <a:pt x="192" y="171"/>
                    </a:cubicBezTo>
                    <a:moveTo>
                      <a:pt x="19" y="0"/>
                    </a:moveTo>
                    <a:cubicBezTo>
                      <a:pt x="7" y="19"/>
                      <a:pt x="0" y="42"/>
                      <a:pt x="0" y="66"/>
                    </a:cubicBezTo>
                    <a:cubicBezTo>
                      <a:pt x="0" y="374"/>
                      <a:pt x="0" y="374"/>
                      <a:pt x="0" y="374"/>
                    </a:cubicBezTo>
                    <a:cubicBezTo>
                      <a:pt x="218" y="374"/>
                      <a:pt x="218" y="374"/>
                      <a:pt x="218" y="374"/>
                    </a:cubicBezTo>
                    <a:cubicBezTo>
                      <a:pt x="215" y="212"/>
                      <a:pt x="215" y="212"/>
                      <a:pt x="215" y="212"/>
                    </a:cubicBezTo>
                    <a:cubicBezTo>
                      <a:pt x="246" y="212"/>
                      <a:pt x="246" y="212"/>
                      <a:pt x="246" y="212"/>
                    </a:cubicBezTo>
                    <a:cubicBezTo>
                      <a:pt x="246" y="197"/>
                      <a:pt x="246" y="197"/>
                      <a:pt x="246" y="197"/>
                    </a:cubicBezTo>
                    <a:cubicBezTo>
                      <a:pt x="180" y="139"/>
                      <a:pt x="180" y="139"/>
                      <a:pt x="180" y="139"/>
                    </a:cubicBezTo>
                    <a:cubicBezTo>
                      <a:pt x="164" y="151"/>
                      <a:pt x="144" y="158"/>
                      <a:pt x="123" y="158"/>
                    </a:cubicBezTo>
                    <a:cubicBezTo>
                      <a:pt x="72" y="158"/>
                      <a:pt x="30" y="117"/>
                      <a:pt x="30" y="65"/>
                    </a:cubicBezTo>
                    <a:cubicBezTo>
                      <a:pt x="30" y="48"/>
                      <a:pt x="34" y="33"/>
                      <a:pt x="42" y="19"/>
                    </a:cubicBezTo>
                    <a:cubicBezTo>
                      <a:pt x="19" y="0"/>
                      <a:pt x="19" y="0"/>
                      <a:pt x="19" y="0"/>
                    </a:cubicBezTo>
                  </a:path>
                </a:pathLst>
              </a:custGeom>
              <a:solidFill>
                <a:srgbClr val="E5E5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68" name="Oval 520"/>
              <p:cNvSpPr>
                <a:spLocks noChangeArrowheads="1"/>
              </p:cNvSpPr>
              <p:nvPr/>
            </p:nvSpPr>
            <p:spPr bwMode="auto">
              <a:xfrm>
                <a:off x="6831013" y="4148138"/>
                <a:ext cx="25400" cy="25400"/>
              </a:xfrm>
              <a:prstGeom prst="ellipse">
                <a:avLst/>
              </a:prstGeom>
              <a:solidFill>
                <a:srgbClr val="4CBE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69" name="Freeform 521"/>
              <p:cNvSpPr>
                <a:spLocks/>
              </p:cNvSpPr>
              <p:nvPr/>
            </p:nvSpPr>
            <p:spPr bwMode="auto">
              <a:xfrm>
                <a:off x="6572250" y="3919538"/>
                <a:ext cx="250825" cy="231775"/>
              </a:xfrm>
              <a:custGeom>
                <a:avLst/>
                <a:gdLst>
                  <a:gd name="T0" fmla="*/ 12 w 150"/>
                  <a:gd name="T1" fmla="*/ 0 h 139"/>
                  <a:gd name="T2" fmla="*/ 0 w 150"/>
                  <a:gd name="T3" fmla="*/ 46 h 139"/>
                  <a:gd name="T4" fmla="*/ 93 w 150"/>
                  <a:gd name="T5" fmla="*/ 139 h 139"/>
                  <a:gd name="T6" fmla="*/ 150 w 150"/>
                  <a:gd name="T7" fmla="*/ 120 h 139"/>
                  <a:gd name="T8" fmla="*/ 102 w 150"/>
                  <a:gd name="T9" fmla="*/ 79 h 139"/>
                  <a:gd name="T10" fmla="*/ 102 w 150"/>
                  <a:gd name="T11" fmla="*/ 82 h 139"/>
                  <a:gd name="T12" fmla="*/ 102 w 150"/>
                  <a:gd name="T13" fmla="*/ 83 h 139"/>
                  <a:gd name="T14" fmla="*/ 102 w 150"/>
                  <a:gd name="T15" fmla="*/ 83 h 139"/>
                  <a:gd name="T16" fmla="*/ 102 w 150"/>
                  <a:gd name="T17" fmla="*/ 86 h 139"/>
                  <a:gd name="T18" fmla="*/ 102 w 150"/>
                  <a:gd name="T19" fmla="*/ 87 h 139"/>
                  <a:gd name="T20" fmla="*/ 102 w 150"/>
                  <a:gd name="T21" fmla="*/ 87 h 139"/>
                  <a:gd name="T22" fmla="*/ 102 w 150"/>
                  <a:gd name="T23" fmla="*/ 91 h 139"/>
                  <a:gd name="T24" fmla="*/ 97 w 150"/>
                  <a:gd name="T25" fmla="*/ 91 h 139"/>
                  <a:gd name="T26" fmla="*/ 95 w 150"/>
                  <a:gd name="T27" fmla="*/ 95 h 139"/>
                  <a:gd name="T28" fmla="*/ 87 w 150"/>
                  <a:gd name="T29" fmla="*/ 95 h 139"/>
                  <a:gd name="T30" fmla="*/ 85 w 150"/>
                  <a:gd name="T31" fmla="*/ 91 h 139"/>
                  <a:gd name="T32" fmla="*/ 97 w 150"/>
                  <a:gd name="T33" fmla="*/ 91 h 139"/>
                  <a:gd name="T34" fmla="*/ 80 w 150"/>
                  <a:gd name="T35" fmla="*/ 91 h 139"/>
                  <a:gd name="T36" fmla="*/ 80 w 150"/>
                  <a:gd name="T37" fmla="*/ 90 h 139"/>
                  <a:gd name="T38" fmla="*/ 80 w 150"/>
                  <a:gd name="T39" fmla="*/ 89 h 139"/>
                  <a:gd name="T40" fmla="*/ 80 w 150"/>
                  <a:gd name="T41" fmla="*/ 89 h 139"/>
                  <a:gd name="T42" fmla="*/ 80 w 150"/>
                  <a:gd name="T43" fmla="*/ 86 h 139"/>
                  <a:gd name="T44" fmla="*/ 80 w 150"/>
                  <a:gd name="T45" fmla="*/ 85 h 139"/>
                  <a:gd name="T46" fmla="*/ 80 w 150"/>
                  <a:gd name="T47" fmla="*/ 85 h 139"/>
                  <a:gd name="T48" fmla="*/ 80 w 150"/>
                  <a:gd name="T49" fmla="*/ 81 h 139"/>
                  <a:gd name="T50" fmla="*/ 80 w 150"/>
                  <a:gd name="T51" fmla="*/ 81 h 139"/>
                  <a:gd name="T52" fmla="*/ 80 w 150"/>
                  <a:gd name="T53" fmla="*/ 81 h 139"/>
                  <a:gd name="T54" fmla="*/ 80 w 150"/>
                  <a:gd name="T55" fmla="*/ 76 h 139"/>
                  <a:gd name="T56" fmla="*/ 80 w 150"/>
                  <a:gd name="T57" fmla="*/ 76 h 139"/>
                  <a:gd name="T58" fmla="*/ 73 w 150"/>
                  <a:gd name="T59" fmla="*/ 54 h 139"/>
                  <a:gd name="T60" fmla="*/ 66 w 150"/>
                  <a:gd name="T61" fmla="*/ 47 h 139"/>
                  <a:gd name="T62" fmla="*/ 12 w 150"/>
                  <a:gd name="T63" fmla="*/ 0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50" h="139">
                    <a:moveTo>
                      <a:pt x="12" y="0"/>
                    </a:moveTo>
                    <a:cubicBezTo>
                      <a:pt x="4" y="14"/>
                      <a:pt x="0" y="29"/>
                      <a:pt x="0" y="46"/>
                    </a:cubicBezTo>
                    <a:cubicBezTo>
                      <a:pt x="0" y="98"/>
                      <a:pt x="42" y="139"/>
                      <a:pt x="93" y="139"/>
                    </a:cubicBezTo>
                    <a:cubicBezTo>
                      <a:pt x="114" y="139"/>
                      <a:pt x="134" y="132"/>
                      <a:pt x="150" y="120"/>
                    </a:cubicBezTo>
                    <a:cubicBezTo>
                      <a:pt x="102" y="79"/>
                      <a:pt x="102" y="79"/>
                      <a:pt x="102" y="79"/>
                    </a:cubicBezTo>
                    <a:cubicBezTo>
                      <a:pt x="102" y="82"/>
                      <a:pt x="102" y="82"/>
                      <a:pt x="102" y="82"/>
                    </a:cubicBezTo>
                    <a:cubicBezTo>
                      <a:pt x="102" y="83"/>
                      <a:pt x="102" y="83"/>
                      <a:pt x="102" y="83"/>
                    </a:cubicBezTo>
                    <a:cubicBezTo>
                      <a:pt x="102" y="83"/>
                      <a:pt x="102" y="83"/>
                      <a:pt x="102" y="83"/>
                    </a:cubicBezTo>
                    <a:cubicBezTo>
                      <a:pt x="102" y="86"/>
                      <a:pt x="102" y="86"/>
                      <a:pt x="102" y="86"/>
                    </a:cubicBezTo>
                    <a:cubicBezTo>
                      <a:pt x="102" y="87"/>
                      <a:pt x="102" y="87"/>
                      <a:pt x="102" y="87"/>
                    </a:cubicBezTo>
                    <a:cubicBezTo>
                      <a:pt x="102" y="87"/>
                      <a:pt x="102" y="87"/>
                      <a:pt x="102" y="87"/>
                    </a:cubicBezTo>
                    <a:cubicBezTo>
                      <a:pt x="102" y="91"/>
                      <a:pt x="102" y="91"/>
                      <a:pt x="102" y="91"/>
                    </a:cubicBezTo>
                    <a:cubicBezTo>
                      <a:pt x="97" y="91"/>
                      <a:pt x="97" y="91"/>
                      <a:pt x="97" y="91"/>
                    </a:cubicBezTo>
                    <a:cubicBezTo>
                      <a:pt x="95" y="95"/>
                      <a:pt x="95" y="95"/>
                      <a:pt x="95" y="95"/>
                    </a:cubicBezTo>
                    <a:cubicBezTo>
                      <a:pt x="87" y="95"/>
                      <a:pt x="87" y="95"/>
                      <a:pt x="87" y="95"/>
                    </a:cubicBezTo>
                    <a:cubicBezTo>
                      <a:pt x="85" y="91"/>
                      <a:pt x="85" y="91"/>
                      <a:pt x="85" y="91"/>
                    </a:cubicBezTo>
                    <a:cubicBezTo>
                      <a:pt x="97" y="91"/>
                      <a:pt x="97" y="91"/>
                      <a:pt x="97" y="91"/>
                    </a:cubicBezTo>
                    <a:cubicBezTo>
                      <a:pt x="80" y="91"/>
                      <a:pt x="80" y="91"/>
                      <a:pt x="80" y="91"/>
                    </a:cubicBezTo>
                    <a:cubicBezTo>
                      <a:pt x="80" y="90"/>
                      <a:pt x="80" y="90"/>
                      <a:pt x="80" y="90"/>
                    </a:cubicBezTo>
                    <a:cubicBezTo>
                      <a:pt x="80" y="89"/>
                      <a:pt x="80" y="89"/>
                      <a:pt x="80" y="89"/>
                    </a:cubicBezTo>
                    <a:cubicBezTo>
                      <a:pt x="80" y="89"/>
                      <a:pt x="80" y="89"/>
                      <a:pt x="80" y="89"/>
                    </a:cubicBezTo>
                    <a:cubicBezTo>
                      <a:pt x="80" y="86"/>
                      <a:pt x="80" y="86"/>
                      <a:pt x="80" y="86"/>
                    </a:cubicBezTo>
                    <a:cubicBezTo>
                      <a:pt x="80" y="85"/>
                      <a:pt x="80" y="85"/>
                      <a:pt x="80" y="85"/>
                    </a:cubicBezTo>
                    <a:cubicBezTo>
                      <a:pt x="80" y="85"/>
                      <a:pt x="80" y="85"/>
                      <a:pt x="80" y="85"/>
                    </a:cubicBezTo>
                    <a:cubicBezTo>
                      <a:pt x="80" y="81"/>
                      <a:pt x="80" y="81"/>
                      <a:pt x="80" y="81"/>
                    </a:cubicBezTo>
                    <a:cubicBezTo>
                      <a:pt x="80" y="81"/>
                      <a:pt x="80" y="81"/>
                      <a:pt x="80" y="81"/>
                    </a:cubicBezTo>
                    <a:cubicBezTo>
                      <a:pt x="80" y="81"/>
                      <a:pt x="80" y="81"/>
                      <a:pt x="80" y="81"/>
                    </a:cubicBezTo>
                    <a:cubicBezTo>
                      <a:pt x="80" y="76"/>
                      <a:pt x="80" y="76"/>
                      <a:pt x="80" y="76"/>
                    </a:cubicBezTo>
                    <a:cubicBezTo>
                      <a:pt x="80" y="76"/>
                      <a:pt x="80" y="76"/>
                      <a:pt x="80" y="76"/>
                    </a:cubicBezTo>
                    <a:cubicBezTo>
                      <a:pt x="80" y="59"/>
                      <a:pt x="73" y="54"/>
                      <a:pt x="73" y="54"/>
                    </a:cubicBezTo>
                    <a:cubicBezTo>
                      <a:pt x="70" y="52"/>
                      <a:pt x="68" y="50"/>
                      <a:pt x="66" y="47"/>
                    </a:cubicBezTo>
                    <a:cubicBezTo>
                      <a:pt x="12" y="0"/>
                      <a:pt x="12" y="0"/>
                      <a:pt x="12" y="0"/>
                    </a:cubicBezTo>
                  </a:path>
                </a:pathLst>
              </a:custGeom>
              <a:solidFill>
                <a:srgbClr val="4CBE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70" name="Freeform 522"/>
              <p:cNvSpPr>
                <a:spLocks/>
              </p:cNvSpPr>
              <p:nvPr/>
            </p:nvSpPr>
            <p:spPr bwMode="auto">
              <a:xfrm>
                <a:off x="6683375" y="3997325"/>
                <a:ext cx="53975" cy="49212"/>
              </a:xfrm>
              <a:custGeom>
                <a:avLst/>
                <a:gdLst>
                  <a:gd name="T0" fmla="*/ 0 w 32"/>
                  <a:gd name="T1" fmla="*/ 0 h 29"/>
                  <a:gd name="T2" fmla="*/ 7 w 32"/>
                  <a:gd name="T3" fmla="*/ 7 h 29"/>
                  <a:gd name="T4" fmla="*/ 14 w 32"/>
                  <a:gd name="T5" fmla="*/ 29 h 29"/>
                  <a:gd name="T6" fmla="*/ 14 w 32"/>
                  <a:gd name="T7" fmla="*/ 29 h 29"/>
                  <a:gd name="T8" fmla="*/ 14 w 32"/>
                  <a:gd name="T9" fmla="*/ 29 h 29"/>
                  <a:gd name="T10" fmla="*/ 32 w 32"/>
                  <a:gd name="T11" fmla="*/ 29 h 29"/>
                  <a:gd name="T12" fmla="*/ 0 w 32"/>
                  <a:gd name="T13" fmla="*/ 0 h 29"/>
                </a:gdLst>
                <a:ahLst/>
                <a:cxnLst>
                  <a:cxn ang="0">
                    <a:pos x="T0" y="T1"/>
                  </a:cxn>
                  <a:cxn ang="0">
                    <a:pos x="T2" y="T3"/>
                  </a:cxn>
                  <a:cxn ang="0">
                    <a:pos x="T4" y="T5"/>
                  </a:cxn>
                  <a:cxn ang="0">
                    <a:pos x="T6" y="T7"/>
                  </a:cxn>
                  <a:cxn ang="0">
                    <a:pos x="T8" y="T9"/>
                  </a:cxn>
                  <a:cxn ang="0">
                    <a:pos x="T10" y="T11"/>
                  </a:cxn>
                  <a:cxn ang="0">
                    <a:pos x="T12" y="T13"/>
                  </a:cxn>
                </a:cxnLst>
                <a:rect l="0" t="0" r="r" b="b"/>
                <a:pathLst>
                  <a:path w="32" h="29">
                    <a:moveTo>
                      <a:pt x="0" y="0"/>
                    </a:moveTo>
                    <a:cubicBezTo>
                      <a:pt x="2" y="3"/>
                      <a:pt x="4" y="5"/>
                      <a:pt x="7" y="7"/>
                    </a:cubicBezTo>
                    <a:cubicBezTo>
                      <a:pt x="7" y="7"/>
                      <a:pt x="14" y="12"/>
                      <a:pt x="14" y="29"/>
                    </a:cubicBezTo>
                    <a:cubicBezTo>
                      <a:pt x="14" y="29"/>
                      <a:pt x="14" y="29"/>
                      <a:pt x="14" y="29"/>
                    </a:cubicBezTo>
                    <a:cubicBezTo>
                      <a:pt x="14" y="29"/>
                      <a:pt x="14" y="29"/>
                      <a:pt x="14" y="29"/>
                    </a:cubicBezTo>
                    <a:cubicBezTo>
                      <a:pt x="32" y="29"/>
                      <a:pt x="32" y="29"/>
                      <a:pt x="32" y="29"/>
                    </a:cubicBezTo>
                    <a:cubicBezTo>
                      <a:pt x="0" y="0"/>
                      <a:pt x="0" y="0"/>
                      <a:pt x="0" y="0"/>
                    </a:cubicBezTo>
                  </a:path>
                </a:pathLst>
              </a:custGeom>
              <a:solidFill>
                <a:srgbClr val="E5E5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71" name="Freeform 523"/>
              <p:cNvSpPr>
                <a:spLocks noEditPoints="1"/>
              </p:cNvSpPr>
              <p:nvPr/>
            </p:nvSpPr>
            <p:spPr bwMode="auto">
              <a:xfrm>
                <a:off x="6707188" y="4046538"/>
                <a:ext cx="36513" cy="25400"/>
              </a:xfrm>
              <a:custGeom>
                <a:avLst/>
                <a:gdLst>
                  <a:gd name="T0" fmla="*/ 23 w 23"/>
                  <a:gd name="T1" fmla="*/ 11 h 16"/>
                  <a:gd name="T2" fmla="*/ 0 w 23"/>
                  <a:gd name="T3" fmla="*/ 14 h 16"/>
                  <a:gd name="T4" fmla="*/ 0 w 23"/>
                  <a:gd name="T5" fmla="*/ 14 h 16"/>
                  <a:gd name="T6" fmla="*/ 0 w 23"/>
                  <a:gd name="T7" fmla="*/ 16 h 16"/>
                  <a:gd name="T8" fmla="*/ 17 w 23"/>
                  <a:gd name="T9" fmla="*/ 16 h 16"/>
                  <a:gd name="T10" fmla="*/ 23 w 23"/>
                  <a:gd name="T11" fmla="*/ 16 h 16"/>
                  <a:gd name="T12" fmla="*/ 23 w 23"/>
                  <a:gd name="T13" fmla="*/ 11 h 16"/>
                  <a:gd name="T14" fmla="*/ 23 w 23"/>
                  <a:gd name="T15" fmla="*/ 7 h 16"/>
                  <a:gd name="T16" fmla="*/ 0 w 23"/>
                  <a:gd name="T17" fmla="*/ 10 h 16"/>
                  <a:gd name="T18" fmla="*/ 0 w 23"/>
                  <a:gd name="T19" fmla="*/ 10 h 16"/>
                  <a:gd name="T20" fmla="*/ 0 w 23"/>
                  <a:gd name="T21" fmla="*/ 13 h 16"/>
                  <a:gd name="T22" fmla="*/ 23 w 23"/>
                  <a:gd name="T23" fmla="*/ 10 h 16"/>
                  <a:gd name="T24" fmla="*/ 23 w 23"/>
                  <a:gd name="T25" fmla="*/ 10 h 16"/>
                  <a:gd name="T26" fmla="*/ 23 w 23"/>
                  <a:gd name="T27" fmla="*/ 7 h 16"/>
                  <a:gd name="T28" fmla="*/ 22 w 23"/>
                  <a:gd name="T29" fmla="*/ 2 h 16"/>
                  <a:gd name="T30" fmla="*/ 0 w 23"/>
                  <a:gd name="T31" fmla="*/ 6 h 16"/>
                  <a:gd name="T32" fmla="*/ 0 w 23"/>
                  <a:gd name="T33" fmla="*/ 5 h 16"/>
                  <a:gd name="T34" fmla="*/ 0 w 23"/>
                  <a:gd name="T35" fmla="*/ 9 h 16"/>
                  <a:gd name="T36" fmla="*/ 23 w 23"/>
                  <a:gd name="T37" fmla="*/ 6 h 16"/>
                  <a:gd name="T38" fmla="*/ 23 w 23"/>
                  <a:gd name="T39" fmla="*/ 6 h 16"/>
                  <a:gd name="T40" fmla="*/ 23 w 23"/>
                  <a:gd name="T41" fmla="*/ 3 h 16"/>
                  <a:gd name="T42" fmla="*/ 22 w 23"/>
                  <a:gd name="T43" fmla="*/ 2 h 16"/>
                  <a:gd name="T44" fmla="*/ 19 w 23"/>
                  <a:gd name="T45" fmla="*/ 0 h 16"/>
                  <a:gd name="T46" fmla="*/ 0 w 23"/>
                  <a:gd name="T47" fmla="*/ 0 h 16"/>
                  <a:gd name="T48" fmla="*/ 0 w 23"/>
                  <a:gd name="T49" fmla="*/ 0 h 16"/>
                  <a:gd name="T50" fmla="*/ 0 w 23"/>
                  <a:gd name="T51" fmla="*/ 5 h 16"/>
                  <a:gd name="T52" fmla="*/ 21 w 23"/>
                  <a:gd name="T53" fmla="*/ 1 h 16"/>
                  <a:gd name="T54" fmla="*/ 19 w 23"/>
                  <a:gd name="T5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3" h="16">
                    <a:moveTo>
                      <a:pt x="23" y="11"/>
                    </a:moveTo>
                    <a:lnTo>
                      <a:pt x="0" y="14"/>
                    </a:lnTo>
                    <a:lnTo>
                      <a:pt x="0" y="14"/>
                    </a:lnTo>
                    <a:lnTo>
                      <a:pt x="0" y="16"/>
                    </a:lnTo>
                    <a:lnTo>
                      <a:pt x="17" y="16"/>
                    </a:lnTo>
                    <a:lnTo>
                      <a:pt x="23" y="16"/>
                    </a:lnTo>
                    <a:lnTo>
                      <a:pt x="23" y="11"/>
                    </a:lnTo>
                    <a:close/>
                    <a:moveTo>
                      <a:pt x="23" y="7"/>
                    </a:moveTo>
                    <a:lnTo>
                      <a:pt x="0" y="10"/>
                    </a:lnTo>
                    <a:lnTo>
                      <a:pt x="0" y="10"/>
                    </a:lnTo>
                    <a:lnTo>
                      <a:pt x="0" y="13"/>
                    </a:lnTo>
                    <a:lnTo>
                      <a:pt x="23" y="10"/>
                    </a:lnTo>
                    <a:lnTo>
                      <a:pt x="23" y="10"/>
                    </a:lnTo>
                    <a:lnTo>
                      <a:pt x="23" y="7"/>
                    </a:lnTo>
                    <a:close/>
                    <a:moveTo>
                      <a:pt x="22" y="2"/>
                    </a:moveTo>
                    <a:lnTo>
                      <a:pt x="0" y="6"/>
                    </a:lnTo>
                    <a:lnTo>
                      <a:pt x="0" y="5"/>
                    </a:lnTo>
                    <a:lnTo>
                      <a:pt x="0" y="9"/>
                    </a:lnTo>
                    <a:lnTo>
                      <a:pt x="23" y="6"/>
                    </a:lnTo>
                    <a:lnTo>
                      <a:pt x="23" y="6"/>
                    </a:lnTo>
                    <a:lnTo>
                      <a:pt x="23" y="3"/>
                    </a:lnTo>
                    <a:lnTo>
                      <a:pt x="22" y="2"/>
                    </a:lnTo>
                    <a:close/>
                    <a:moveTo>
                      <a:pt x="19" y="0"/>
                    </a:moveTo>
                    <a:lnTo>
                      <a:pt x="0" y="0"/>
                    </a:lnTo>
                    <a:lnTo>
                      <a:pt x="0" y="0"/>
                    </a:lnTo>
                    <a:lnTo>
                      <a:pt x="0" y="5"/>
                    </a:lnTo>
                    <a:lnTo>
                      <a:pt x="21" y="1"/>
                    </a:lnTo>
                    <a:lnTo>
                      <a:pt x="19" y="0"/>
                    </a:lnTo>
                    <a:close/>
                  </a:path>
                </a:pathLst>
              </a:custGeom>
              <a:solidFill>
                <a:srgbClr val="001D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72" name="Freeform 524"/>
              <p:cNvSpPr>
                <a:spLocks noEditPoints="1"/>
              </p:cNvSpPr>
              <p:nvPr/>
            </p:nvSpPr>
            <p:spPr bwMode="auto">
              <a:xfrm>
                <a:off x="6707188" y="4046538"/>
                <a:ext cx="36513" cy="25400"/>
              </a:xfrm>
              <a:custGeom>
                <a:avLst/>
                <a:gdLst>
                  <a:gd name="T0" fmla="*/ 23 w 23"/>
                  <a:gd name="T1" fmla="*/ 11 h 16"/>
                  <a:gd name="T2" fmla="*/ 0 w 23"/>
                  <a:gd name="T3" fmla="*/ 14 h 16"/>
                  <a:gd name="T4" fmla="*/ 0 w 23"/>
                  <a:gd name="T5" fmla="*/ 14 h 16"/>
                  <a:gd name="T6" fmla="*/ 0 w 23"/>
                  <a:gd name="T7" fmla="*/ 16 h 16"/>
                  <a:gd name="T8" fmla="*/ 17 w 23"/>
                  <a:gd name="T9" fmla="*/ 16 h 16"/>
                  <a:gd name="T10" fmla="*/ 23 w 23"/>
                  <a:gd name="T11" fmla="*/ 16 h 16"/>
                  <a:gd name="T12" fmla="*/ 23 w 23"/>
                  <a:gd name="T13" fmla="*/ 11 h 16"/>
                  <a:gd name="T14" fmla="*/ 23 w 23"/>
                  <a:gd name="T15" fmla="*/ 7 h 16"/>
                  <a:gd name="T16" fmla="*/ 0 w 23"/>
                  <a:gd name="T17" fmla="*/ 10 h 16"/>
                  <a:gd name="T18" fmla="*/ 0 w 23"/>
                  <a:gd name="T19" fmla="*/ 10 h 16"/>
                  <a:gd name="T20" fmla="*/ 0 w 23"/>
                  <a:gd name="T21" fmla="*/ 13 h 16"/>
                  <a:gd name="T22" fmla="*/ 23 w 23"/>
                  <a:gd name="T23" fmla="*/ 10 h 16"/>
                  <a:gd name="T24" fmla="*/ 23 w 23"/>
                  <a:gd name="T25" fmla="*/ 10 h 16"/>
                  <a:gd name="T26" fmla="*/ 23 w 23"/>
                  <a:gd name="T27" fmla="*/ 7 h 16"/>
                  <a:gd name="T28" fmla="*/ 22 w 23"/>
                  <a:gd name="T29" fmla="*/ 2 h 16"/>
                  <a:gd name="T30" fmla="*/ 0 w 23"/>
                  <a:gd name="T31" fmla="*/ 6 h 16"/>
                  <a:gd name="T32" fmla="*/ 0 w 23"/>
                  <a:gd name="T33" fmla="*/ 5 h 16"/>
                  <a:gd name="T34" fmla="*/ 0 w 23"/>
                  <a:gd name="T35" fmla="*/ 9 h 16"/>
                  <a:gd name="T36" fmla="*/ 23 w 23"/>
                  <a:gd name="T37" fmla="*/ 6 h 16"/>
                  <a:gd name="T38" fmla="*/ 23 w 23"/>
                  <a:gd name="T39" fmla="*/ 6 h 16"/>
                  <a:gd name="T40" fmla="*/ 23 w 23"/>
                  <a:gd name="T41" fmla="*/ 3 h 16"/>
                  <a:gd name="T42" fmla="*/ 22 w 23"/>
                  <a:gd name="T43" fmla="*/ 2 h 16"/>
                  <a:gd name="T44" fmla="*/ 19 w 23"/>
                  <a:gd name="T45" fmla="*/ 0 h 16"/>
                  <a:gd name="T46" fmla="*/ 0 w 23"/>
                  <a:gd name="T47" fmla="*/ 0 h 16"/>
                  <a:gd name="T48" fmla="*/ 0 w 23"/>
                  <a:gd name="T49" fmla="*/ 0 h 16"/>
                  <a:gd name="T50" fmla="*/ 0 w 23"/>
                  <a:gd name="T51" fmla="*/ 5 h 16"/>
                  <a:gd name="T52" fmla="*/ 21 w 23"/>
                  <a:gd name="T53" fmla="*/ 1 h 16"/>
                  <a:gd name="T54" fmla="*/ 19 w 23"/>
                  <a:gd name="T5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3" h="16">
                    <a:moveTo>
                      <a:pt x="23" y="11"/>
                    </a:moveTo>
                    <a:lnTo>
                      <a:pt x="0" y="14"/>
                    </a:lnTo>
                    <a:lnTo>
                      <a:pt x="0" y="14"/>
                    </a:lnTo>
                    <a:lnTo>
                      <a:pt x="0" y="16"/>
                    </a:lnTo>
                    <a:lnTo>
                      <a:pt x="17" y="16"/>
                    </a:lnTo>
                    <a:lnTo>
                      <a:pt x="23" y="16"/>
                    </a:lnTo>
                    <a:lnTo>
                      <a:pt x="23" y="11"/>
                    </a:lnTo>
                    <a:moveTo>
                      <a:pt x="23" y="7"/>
                    </a:moveTo>
                    <a:lnTo>
                      <a:pt x="0" y="10"/>
                    </a:lnTo>
                    <a:lnTo>
                      <a:pt x="0" y="10"/>
                    </a:lnTo>
                    <a:lnTo>
                      <a:pt x="0" y="13"/>
                    </a:lnTo>
                    <a:lnTo>
                      <a:pt x="23" y="10"/>
                    </a:lnTo>
                    <a:lnTo>
                      <a:pt x="23" y="10"/>
                    </a:lnTo>
                    <a:lnTo>
                      <a:pt x="23" y="7"/>
                    </a:lnTo>
                    <a:moveTo>
                      <a:pt x="22" y="2"/>
                    </a:moveTo>
                    <a:lnTo>
                      <a:pt x="0" y="6"/>
                    </a:lnTo>
                    <a:lnTo>
                      <a:pt x="0" y="5"/>
                    </a:lnTo>
                    <a:lnTo>
                      <a:pt x="0" y="9"/>
                    </a:lnTo>
                    <a:lnTo>
                      <a:pt x="23" y="6"/>
                    </a:lnTo>
                    <a:lnTo>
                      <a:pt x="23" y="6"/>
                    </a:lnTo>
                    <a:lnTo>
                      <a:pt x="23" y="3"/>
                    </a:lnTo>
                    <a:lnTo>
                      <a:pt x="22" y="2"/>
                    </a:lnTo>
                    <a:moveTo>
                      <a:pt x="19" y="0"/>
                    </a:moveTo>
                    <a:lnTo>
                      <a:pt x="0" y="0"/>
                    </a:lnTo>
                    <a:lnTo>
                      <a:pt x="0" y="0"/>
                    </a:lnTo>
                    <a:lnTo>
                      <a:pt x="0" y="5"/>
                    </a:lnTo>
                    <a:lnTo>
                      <a:pt x="21" y="1"/>
                    </a:lnTo>
                    <a:lnTo>
                      <a:pt x="1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73" name="Freeform 525"/>
              <p:cNvSpPr>
                <a:spLocks/>
              </p:cNvSpPr>
              <p:nvPr/>
            </p:nvSpPr>
            <p:spPr bwMode="auto">
              <a:xfrm>
                <a:off x="6707188" y="4048125"/>
                <a:ext cx="34925" cy="7937"/>
              </a:xfrm>
              <a:custGeom>
                <a:avLst/>
                <a:gdLst>
                  <a:gd name="T0" fmla="*/ 21 w 22"/>
                  <a:gd name="T1" fmla="*/ 0 h 5"/>
                  <a:gd name="T2" fmla="*/ 0 w 22"/>
                  <a:gd name="T3" fmla="*/ 4 h 5"/>
                  <a:gd name="T4" fmla="*/ 0 w 22"/>
                  <a:gd name="T5" fmla="*/ 4 h 5"/>
                  <a:gd name="T6" fmla="*/ 0 w 22"/>
                  <a:gd name="T7" fmla="*/ 4 h 5"/>
                  <a:gd name="T8" fmla="*/ 0 w 22"/>
                  <a:gd name="T9" fmla="*/ 5 h 5"/>
                  <a:gd name="T10" fmla="*/ 22 w 22"/>
                  <a:gd name="T11" fmla="*/ 1 h 5"/>
                  <a:gd name="T12" fmla="*/ 21 w 22"/>
                  <a:gd name="T13" fmla="*/ 0 h 5"/>
                </a:gdLst>
                <a:ahLst/>
                <a:cxnLst>
                  <a:cxn ang="0">
                    <a:pos x="T0" y="T1"/>
                  </a:cxn>
                  <a:cxn ang="0">
                    <a:pos x="T2" y="T3"/>
                  </a:cxn>
                  <a:cxn ang="0">
                    <a:pos x="T4" y="T5"/>
                  </a:cxn>
                  <a:cxn ang="0">
                    <a:pos x="T6" y="T7"/>
                  </a:cxn>
                  <a:cxn ang="0">
                    <a:pos x="T8" y="T9"/>
                  </a:cxn>
                  <a:cxn ang="0">
                    <a:pos x="T10" y="T11"/>
                  </a:cxn>
                  <a:cxn ang="0">
                    <a:pos x="T12" y="T13"/>
                  </a:cxn>
                </a:cxnLst>
                <a:rect l="0" t="0" r="r" b="b"/>
                <a:pathLst>
                  <a:path w="22" h="5">
                    <a:moveTo>
                      <a:pt x="21" y="0"/>
                    </a:moveTo>
                    <a:lnTo>
                      <a:pt x="0" y="4"/>
                    </a:lnTo>
                    <a:lnTo>
                      <a:pt x="0" y="4"/>
                    </a:lnTo>
                    <a:lnTo>
                      <a:pt x="0" y="4"/>
                    </a:lnTo>
                    <a:lnTo>
                      <a:pt x="0" y="5"/>
                    </a:lnTo>
                    <a:lnTo>
                      <a:pt x="22" y="1"/>
                    </a:lnTo>
                    <a:lnTo>
                      <a:pt x="21" y="0"/>
                    </a:lnTo>
                    <a:close/>
                  </a:path>
                </a:pathLst>
              </a:custGeom>
              <a:solidFill>
                <a:srgbClr val="001D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74" name="Freeform 526"/>
              <p:cNvSpPr>
                <a:spLocks/>
              </p:cNvSpPr>
              <p:nvPr/>
            </p:nvSpPr>
            <p:spPr bwMode="auto">
              <a:xfrm>
                <a:off x="6707188" y="4048125"/>
                <a:ext cx="34925" cy="7937"/>
              </a:xfrm>
              <a:custGeom>
                <a:avLst/>
                <a:gdLst>
                  <a:gd name="T0" fmla="*/ 21 w 22"/>
                  <a:gd name="T1" fmla="*/ 0 h 5"/>
                  <a:gd name="T2" fmla="*/ 0 w 22"/>
                  <a:gd name="T3" fmla="*/ 4 h 5"/>
                  <a:gd name="T4" fmla="*/ 0 w 22"/>
                  <a:gd name="T5" fmla="*/ 4 h 5"/>
                  <a:gd name="T6" fmla="*/ 0 w 22"/>
                  <a:gd name="T7" fmla="*/ 4 h 5"/>
                  <a:gd name="T8" fmla="*/ 0 w 22"/>
                  <a:gd name="T9" fmla="*/ 5 h 5"/>
                  <a:gd name="T10" fmla="*/ 22 w 22"/>
                  <a:gd name="T11" fmla="*/ 1 h 5"/>
                  <a:gd name="T12" fmla="*/ 21 w 22"/>
                  <a:gd name="T13" fmla="*/ 0 h 5"/>
                </a:gdLst>
                <a:ahLst/>
                <a:cxnLst>
                  <a:cxn ang="0">
                    <a:pos x="T0" y="T1"/>
                  </a:cxn>
                  <a:cxn ang="0">
                    <a:pos x="T2" y="T3"/>
                  </a:cxn>
                  <a:cxn ang="0">
                    <a:pos x="T4" y="T5"/>
                  </a:cxn>
                  <a:cxn ang="0">
                    <a:pos x="T6" y="T7"/>
                  </a:cxn>
                  <a:cxn ang="0">
                    <a:pos x="T8" y="T9"/>
                  </a:cxn>
                  <a:cxn ang="0">
                    <a:pos x="T10" y="T11"/>
                  </a:cxn>
                  <a:cxn ang="0">
                    <a:pos x="T12" y="T13"/>
                  </a:cxn>
                </a:cxnLst>
                <a:rect l="0" t="0" r="r" b="b"/>
                <a:pathLst>
                  <a:path w="22" h="5">
                    <a:moveTo>
                      <a:pt x="21" y="0"/>
                    </a:moveTo>
                    <a:lnTo>
                      <a:pt x="0" y="4"/>
                    </a:lnTo>
                    <a:lnTo>
                      <a:pt x="0" y="4"/>
                    </a:lnTo>
                    <a:lnTo>
                      <a:pt x="0" y="4"/>
                    </a:lnTo>
                    <a:lnTo>
                      <a:pt x="0" y="5"/>
                    </a:lnTo>
                    <a:lnTo>
                      <a:pt x="22" y="1"/>
                    </a:lnTo>
                    <a:lnTo>
                      <a:pt x="2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75" name="Freeform 527"/>
              <p:cNvSpPr>
                <a:spLocks/>
              </p:cNvSpPr>
              <p:nvPr/>
            </p:nvSpPr>
            <p:spPr bwMode="auto">
              <a:xfrm>
                <a:off x="6707188" y="4056063"/>
                <a:ext cx="36513" cy="6350"/>
              </a:xfrm>
              <a:custGeom>
                <a:avLst/>
                <a:gdLst>
                  <a:gd name="T0" fmla="*/ 23 w 23"/>
                  <a:gd name="T1" fmla="*/ 0 h 4"/>
                  <a:gd name="T2" fmla="*/ 0 w 23"/>
                  <a:gd name="T3" fmla="*/ 3 h 4"/>
                  <a:gd name="T4" fmla="*/ 0 w 23"/>
                  <a:gd name="T5" fmla="*/ 3 h 4"/>
                  <a:gd name="T6" fmla="*/ 0 w 23"/>
                  <a:gd name="T7" fmla="*/ 4 h 4"/>
                  <a:gd name="T8" fmla="*/ 0 w 23"/>
                  <a:gd name="T9" fmla="*/ 4 h 4"/>
                  <a:gd name="T10" fmla="*/ 23 w 23"/>
                  <a:gd name="T11" fmla="*/ 1 h 4"/>
                  <a:gd name="T12" fmla="*/ 23 w 23"/>
                  <a:gd name="T13" fmla="*/ 1 h 4"/>
                  <a:gd name="T14" fmla="*/ 23 w 23"/>
                  <a:gd name="T15" fmla="*/ 0 h 4"/>
                  <a:gd name="T16" fmla="*/ 23 w 23"/>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 h="4">
                    <a:moveTo>
                      <a:pt x="23" y="0"/>
                    </a:moveTo>
                    <a:lnTo>
                      <a:pt x="0" y="3"/>
                    </a:lnTo>
                    <a:lnTo>
                      <a:pt x="0" y="3"/>
                    </a:lnTo>
                    <a:lnTo>
                      <a:pt x="0" y="4"/>
                    </a:lnTo>
                    <a:lnTo>
                      <a:pt x="0" y="4"/>
                    </a:lnTo>
                    <a:lnTo>
                      <a:pt x="23" y="1"/>
                    </a:lnTo>
                    <a:lnTo>
                      <a:pt x="23" y="1"/>
                    </a:lnTo>
                    <a:lnTo>
                      <a:pt x="23" y="0"/>
                    </a:lnTo>
                    <a:lnTo>
                      <a:pt x="23" y="0"/>
                    </a:lnTo>
                    <a:close/>
                  </a:path>
                </a:pathLst>
              </a:custGeom>
              <a:solidFill>
                <a:srgbClr val="001D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76" name="Freeform 528"/>
              <p:cNvSpPr>
                <a:spLocks/>
              </p:cNvSpPr>
              <p:nvPr/>
            </p:nvSpPr>
            <p:spPr bwMode="auto">
              <a:xfrm>
                <a:off x="6707188" y="4056063"/>
                <a:ext cx="36513" cy="6350"/>
              </a:xfrm>
              <a:custGeom>
                <a:avLst/>
                <a:gdLst>
                  <a:gd name="T0" fmla="*/ 23 w 23"/>
                  <a:gd name="T1" fmla="*/ 0 h 4"/>
                  <a:gd name="T2" fmla="*/ 0 w 23"/>
                  <a:gd name="T3" fmla="*/ 3 h 4"/>
                  <a:gd name="T4" fmla="*/ 0 w 23"/>
                  <a:gd name="T5" fmla="*/ 3 h 4"/>
                  <a:gd name="T6" fmla="*/ 0 w 23"/>
                  <a:gd name="T7" fmla="*/ 4 h 4"/>
                  <a:gd name="T8" fmla="*/ 0 w 23"/>
                  <a:gd name="T9" fmla="*/ 4 h 4"/>
                  <a:gd name="T10" fmla="*/ 23 w 23"/>
                  <a:gd name="T11" fmla="*/ 1 h 4"/>
                  <a:gd name="T12" fmla="*/ 23 w 23"/>
                  <a:gd name="T13" fmla="*/ 1 h 4"/>
                  <a:gd name="T14" fmla="*/ 23 w 23"/>
                  <a:gd name="T15" fmla="*/ 0 h 4"/>
                  <a:gd name="T16" fmla="*/ 23 w 23"/>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 h="4">
                    <a:moveTo>
                      <a:pt x="23" y="0"/>
                    </a:moveTo>
                    <a:lnTo>
                      <a:pt x="0" y="3"/>
                    </a:lnTo>
                    <a:lnTo>
                      <a:pt x="0" y="3"/>
                    </a:lnTo>
                    <a:lnTo>
                      <a:pt x="0" y="4"/>
                    </a:lnTo>
                    <a:lnTo>
                      <a:pt x="0" y="4"/>
                    </a:lnTo>
                    <a:lnTo>
                      <a:pt x="23" y="1"/>
                    </a:lnTo>
                    <a:lnTo>
                      <a:pt x="23" y="1"/>
                    </a:lnTo>
                    <a:lnTo>
                      <a:pt x="23" y="0"/>
                    </a:lnTo>
                    <a:lnTo>
                      <a:pt x="2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77" name="Freeform 529"/>
              <p:cNvSpPr>
                <a:spLocks/>
              </p:cNvSpPr>
              <p:nvPr/>
            </p:nvSpPr>
            <p:spPr bwMode="auto">
              <a:xfrm>
                <a:off x="6707188" y="4062413"/>
                <a:ext cx="36513" cy="6350"/>
              </a:xfrm>
              <a:custGeom>
                <a:avLst/>
                <a:gdLst>
                  <a:gd name="T0" fmla="*/ 23 w 23"/>
                  <a:gd name="T1" fmla="*/ 0 h 4"/>
                  <a:gd name="T2" fmla="*/ 0 w 23"/>
                  <a:gd name="T3" fmla="*/ 3 h 4"/>
                  <a:gd name="T4" fmla="*/ 0 w 23"/>
                  <a:gd name="T5" fmla="*/ 3 h 4"/>
                  <a:gd name="T6" fmla="*/ 0 w 23"/>
                  <a:gd name="T7" fmla="*/ 4 h 4"/>
                  <a:gd name="T8" fmla="*/ 0 w 23"/>
                  <a:gd name="T9" fmla="*/ 4 h 4"/>
                  <a:gd name="T10" fmla="*/ 23 w 23"/>
                  <a:gd name="T11" fmla="*/ 1 h 4"/>
                  <a:gd name="T12" fmla="*/ 23 w 23"/>
                  <a:gd name="T13" fmla="*/ 1 h 4"/>
                  <a:gd name="T14" fmla="*/ 23 w 23"/>
                  <a:gd name="T15" fmla="*/ 0 h 4"/>
                  <a:gd name="T16" fmla="*/ 23 w 23"/>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 h="4">
                    <a:moveTo>
                      <a:pt x="23" y="0"/>
                    </a:moveTo>
                    <a:lnTo>
                      <a:pt x="0" y="3"/>
                    </a:lnTo>
                    <a:lnTo>
                      <a:pt x="0" y="3"/>
                    </a:lnTo>
                    <a:lnTo>
                      <a:pt x="0" y="4"/>
                    </a:lnTo>
                    <a:lnTo>
                      <a:pt x="0" y="4"/>
                    </a:lnTo>
                    <a:lnTo>
                      <a:pt x="23" y="1"/>
                    </a:lnTo>
                    <a:lnTo>
                      <a:pt x="23" y="1"/>
                    </a:lnTo>
                    <a:lnTo>
                      <a:pt x="23" y="0"/>
                    </a:lnTo>
                    <a:lnTo>
                      <a:pt x="23" y="0"/>
                    </a:lnTo>
                    <a:close/>
                  </a:path>
                </a:pathLst>
              </a:custGeom>
              <a:solidFill>
                <a:srgbClr val="001D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78" name="Freeform 530"/>
              <p:cNvSpPr>
                <a:spLocks/>
              </p:cNvSpPr>
              <p:nvPr/>
            </p:nvSpPr>
            <p:spPr bwMode="auto">
              <a:xfrm>
                <a:off x="6707188" y="4062413"/>
                <a:ext cx="36513" cy="6350"/>
              </a:xfrm>
              <a:custGeom>
                <a:avLst/>
                <a:gdLst>
                  <a:gd name="T0" fmla="*/ 23 w 23"/>
                  <a:gd name="T1" fmla="*/ 0 h 4"/>
                  <a:gd name="T2" fmla="*/ 0 w 23"/>
                  <a:gd name="T3" fmla="*/ 3 h 4"/>
                  <a:gd name="T4" fmla="*/ 0 w 23"/>
                  <a:gd name="T5" fmla="*/ 3 h 4"/>
                  <a:gd name="T6" fmla="*/ 0 w 23"/>
                  <a:gd name="T7" fmla="*/ 4 h 4"/>
                  <a:gd name="T8" fmla="*/ 0 w 23"/>
                  <a:gd name="T9" fmla="*/ 4 h 4"/>
                  <a:gd name="T10" fmla="*/ 23 w 23"/>
                  <a:gd name="T11" fmla="*/ 1 h 4"/>
                  <a:gd name="T12" fmla="*/ 23 w 23"/>
                  <a:gd name="T13" fmla="*/ 1 h 4"/>
                  <a:gd name="T14" fmla="*/ 23 w 23"/>
                  <a:gd name="T15" fmla="*/ 0 h 4"/>
                  <a:gd name="T16" fmla="*/ 23 w 23"/>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 h="4">
                    <a:moveTo>
                      <a:pt x="23" y="0"/>
                    </a:moveTo>
                    <a:lnTo>
                      <a:pt x="0" y="3"/>
                    </a:lnTo>
                    <a:lnTo>
                      <a:pt x="0" y="3"/>
                    </a:lnTo>
                    <a:lnTo>
                      <a:pt x="0" y="4"/>
                    </a:lnTo>
                    <a:lnTo>
                      <a:pt x="0" y="4"/>
                    </a:lnTo>
                    <a:lnTo>
                      <a:pt x="23" y="1"/>
                    </a:lnTo>
                    <a:lnTo>
                      <a:pt x="23" y="1"/>
                    </a:lnTo>
                    <a:lnTo>
                      <a:pt x="23" y="0"/>
                    </a:lnTo>
                    <a:lnTo>
                      <a:pt x="2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79" name="Freeform 531"/>
              <p:cNvSpPr>
                <a:spLocks noEditPoints="1"/>
              </p:cNvSpPr>
              <p:nvPr/>
            </p:nvSpPr>
            <p:spPr bwMode="auto">
              <a:xfrm>
                <a:off x="6715125" y="4071938"/>
                <a:ext cx="19050" cy="6350"/>
              </a:xfrm>
              <a:custGeom>
                <a:avLst/>
                <a:gdLst>
                  <a:gd name="T0" fmla="*/ 12 w 12"/>
                  <a:gd name="T1" fmla="*/ 0 h 4"/>
                  <a:gd name="T2" fmla="*/ 0 w 12"/>
                  <a:gd name="T3" fmla="*/ 0 h 4"/>
                  <a:gd name="T4" fmla="*/ 2 w 12"/>
                  <a:gd name="T5" fmla="*/ 4 h 4"/>
                  <a:gd name="T6" fmla="*/ 10 w 12"/>
                  <a:gd name="T7" fmla="*/ 4 h 4"/>
                  <a:gd name="T8" fmla="*/ 12 w 12"/>
                  <a:gd name="T9" fmla="*/ 0 h 4"/>
                  <a:gd name="T10" fmla="*/ 12 w 12"/>
                  <a:gd name="T11" fmla="*/ 0 h 4"/>
                  <a:gd name="T12" fmla="*/ 12 w 12"/>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12" h="4">
                    <a:moveTo>
                      <a:pt x="12" y="0"/>
                    </a:moveTo>
                    <a:lnTo>
                      <a:pt x="0" y="0"/>
                    </a:lnTo>
                    <a:lnTo>
                      <a:pt x="2" y="4"/>
                    </a:lnTo>
                    <a:lnTo>
                      <a:pt x="10" y="4"/>
                    </a:lnTo>
                    <a:lnTo>
                      <a:pt x="12" y="0"/>
                    </a:lnTo>
                    <a:close/>
                    <a:moveTo>
                      <a:pt x="12" y="0"/>
                    </a:moveTo>
                    <a:lnTo>
                      <a:pt x="12" y="0"/>
                    </a:lnTo>
                    <a:close/>
                  </a:path>
                </a:pathLst>
              </a:custGeom>
              <a:solidFill>
                <a:srgbClr val="1F1C1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80" name="Freeform 532"/>
              <p:cNvSpPr>
                <a:spLocks noEditPoints="1"/>
              </p:cNvSpPr>
              <p:nvPr/>
            </p:nvSpPr>
            <p:spPr bwMode="auto">
              <a:xfrm>
                <a:off x="6715125" y="4071938"/>
                <a:ext cx="19050" cy="6350"/>
              </a:xfrm>
              <a:custGeom>
                <a:avLst/>
                <a:gdLst>
                  <a:gd name="T0" fmla="*/ 12 w 12"/>
                  <a:gd name="T1" fmla="*/ 0 h 4"/>
                  <a:gd name="T2" fmla="*/ 0 w 12"/>
                  <a:gd name="T3" fmla="*/ 0 h 4"/>
                  <a:gd name="T4" fmla="*/ 2 w 12"/>
                  <a:gd name="T5" fmla="*/ 4 h 4"/>
                  <a:gd name="T6" fmla="*/ 10 w 12"/>
                  <a:gd name="T7" fmla="*/ 4 h 4"/>
                  <a:gd name="T8" fmla="*/ 12 w 12"/>
                  <a:gd name="T9" fmla="*/ 0 h 4"/>
                  <a:gd name="T10" fmla="*/ 12 w 12"/>
                  <a:gd name="T11" fmla="*/ 0 h 4"/>
                  <a:gd name="T12" fmla="*/ 12 w 12"/>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12" h="4">
                    <a:moveTo>
                      <a:pt x="12" y="0"/>
                    </a:moveTo>
                    <a:lnTo>
                      <a:pt x="0" y="0"/>
                    </a:lnTo>
                    <a:lnTo>
                      <a:pt x="2" y="4"/>
                    </a:lnTo>
                    <a:lnTo>
                      <a:pt x="10" y="4"/>
                    </a:lnTo>
                    <a:lnTo>
                      <a:pt x="12" y="0"/>
                    </a:lnTo>
                    <a:moveTo>
                      <a:pt x="12" y="0"/>
                    </a:move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81" name="Freeform 533"/>
              <p:cNvSpPr>
                <a:spLocks/>
              </p:cNvSpPr>
              <p:nvPr/>
            </p:nvSpPr>
            <p:spPr bwMode="auto">
              <a:xfrm>
                <a:off x="8478838" y="3927475"/>
                <a:ext cx="0" cy="65087"/>
              </a:xfrm>
              <a:custGeom>
                <a:avLst/>
                <a:gdLst>
                  <a:gd name="T0" fmla="*/ 0 h 39"/>
                  <a:gd name="T1" fmla="*/ 21 h 39"/>
                  <a:gd name="T2" fmla="*/ 39 h 39"/>
                  <a:gd name="T3" fmla="*/ 0 h 39"/>
                </a:gdLst>
                <a:ahLst/>
                <a:cxnLst>
                  <a:cxn ang="0">
                    <a:pos x="0" y="T0"/>
                  </a:cxn>
                  <a:cxn ang="0">
                    <a:pos x="0" y="T1"/>
                  </a:cxn>
                  <a:cxn ang="0">
                    <a:pos x="0" y="T2"/>
                  </a:cxn>
                  <a:cxn ang="0">
                    <a:pos x="0" y="T3"/>
                  </a:cxn>
                </a:cxnLst>
                <a:rect l="0" t="0" r="r" b="b"/>
                <a:pathLst>
                  <a:path h="39">
                    <a:moveTo>
                      <a:pt x="0" y="0"/>
                    </a:moveTo>
                    <a:cubicBezTo>
                      <a:pt x="0" y="8"/>
                      <a:pt x="0" y="15"/>
                      <a:pt x="0" y="21"/>
                    </a:cubicBezTo>
                    <a:cubicBezTo>
                      <a:pt x="0" y="32"/>
                      <a:pt x="0" y="39"/>
                      <a:pt x="0" y="39"/>
                    </a:cubicBezTo>
                    <a:cubicBezTo>
                      <a:pt x="0" y="0"/>
                      <a:pt x="0" y="0"/>
                      <a:pt x="0" y="0"/>
                    </a:cubicBezTo>
                  </a:path>
                </a:pathLst>
              </a:custGeom>
              <a:solidFill>
                <a:srgbClr val="CC9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82" name="Freeform 534"/>
              <p:cNvSpPr>
                <a:spLocks noEditPoints="1"/>
              </p:cNvSpPr>
              <p:nvPr/>
            </p:nvSpPr>
            <p:spPr bwMode="auto">
              <a:xfrm>
                <a:off x="8877300" y="3989388"/>
                <a:ext cx="0" cy="3175"/>
              </a:xfrm>
              <a:custGeom>
                <a:avLst/>
                <a:gdLst>
                  <a:gd name="T0" fmla="*/ 2 h 2"/>
                  <a:gd name="T1" fmla="*/ 2 h 2"/>
                  <a:gd name="T2" fmla="*/ 2 h 2"/>
                  <a:gd name="T3" fmla="*/ 2 h 2"/>
                  <a:gd name="T4" fmla="*/ 2 h 2"/>
                  <a:gd name="T5" fmla="*/ 2 h 2"/>
                  <a:gd name="T6" fmla="*/ 2 h 2"/>
                  <a:gd name="T7" fmla="*/ 2 h 2"/>
                  <a:gd name="T8" fmla="*/ 2 h 2"/>
                  <a:gd name="T9" fmla="*/ 2 h 2"/>
                  <a:gd name="T10" fmla="*/ 2 h 2"/>
                  <a:gd name="T11" fmla="*/ 2 h 2"/>
                  <a:gd name="T12" fmla="*/ 2 h 2"/>
                  <a:gd name="T13" fmla="*/ 2 h 2"/>
                  <a:gd name="T14" fmla="*/ 2 h 2"/>
                  <a:gd name="T15" fmla="*/ 2 h 2"/>
                  <a:gd name="T16" fmla="*/ 2 h 2"/>
                  <a:gd name="T17" fmla="*/ 2 h 2"/>
                  <a:gd name="T18" fmla="*/ 2 h 2"/>
                  <a:gd name="T19" fmla="*/ 1 h 2"/>
                  <a:gd name="T20" fmla="*/ 2 h 2"/>
                  <a:gd name="T21" fmla="*/ 1 h 2"/>
                  <a:gd name="T22" fmla="*/ 1 h 2"/>
                  <a:gd name="T23" fmla="*/ 1 h 2"/>
                  <a:gd name="T24" fmla="*/ 1 h 2"/>
                  <a:gd name="T25" fmla="*/ 1 h 2"/>
                  <a:gd name="T26" fmla="*/ 1 h 2"/>
                  <a:gd name="T27" fmla="*/ 1 h 2"/>
                  <a:gd name="T28" fmla="*/ 1 h 2"/>
                  <a:gd name="T29" fmla="*/ 1 h 2"/>
                  <a:gd name="T30" fmla="*/ 1 h 2"/>
                  <a:gd name="T31" fmla="*/ 1 h 2"/>
                  <a:gd name="T32" fmla="*/ 1 h 2"/>
                  <a:gd name="T33" fmla="*/ 1 h 2"/>
                  <a:gd name="T34" fmla="*/ 0 h 2"/>
                  <a:gd name="T35" fmla="*/ 0 h 2"/>
                  <a:gd name="T36" fmla="*/ 0 h 2"/>
                  <a:gd name="T37" fmla="*/ 0 h 2"/>
                  <a:gd name="T38" fmla="*/ 0 h 2"/>
                  <a:gd name="T39" fmla="*/ 0 h 2"/>
                </a:gdLst>
                <a:ahLst/>
                <a:cxnLst>
                  <a:cxn ang="0">
                    <a:pos x="0" y="T0"/>
                  </a:cxn>
                  <a:cxn ang="0">
                    <a:pos x="0" y="T1"/>
                  </a:cxn>
                  <a:cxn ang="0">
                    <a:pos x="0" y="T2"/>
                  </a:cxn>
                  <a:cxn ang="0">
                    <a:pos x="0" y="T3"/>
                  </a:cxn>
                  <a:cxn ang="0">
                    <a:pos x="0" y="T4"/>
                  </a:cxn>
                  <a:cxn ang="0">
                    <a:pos x="0" y="T5"/>
                  </a:cxn>
                  <a:cxn ang="0">
                    <a:pos x="0" y="T6"/>
                  </a:cxn>
                  <a:cxn ang="0">
                    <a:pos x="0" y="T7"/>
                  </a:cxn>
                  <a:cxn ang="0">
                    <a:pos x="0" y="T8"/>
                  </a:cxn>
                  <a:cxn ang="0">
                    <a:pos x="0" y="T9"/>
                  </a:cxn>
                  <a:cxn ang="0">
                    <a:pos x="0" y="T10"/>
                  </a:cxn>
                  <a:cxn ang="0">
                    <a:pos x="0" y="T11"/>
                  </a:cxn>
                  <a:cxn ang="0">
                    <a:pos x="0" y="T12"/>
                  </a:cxn>
                  <a:cxn ang="0">
                    <a:pos x="0" y="T13"/>
                  </a:cxn>
                  <a:cxn ang="0">
                    <a:pos x="0" y="T14"/>
                  </a:cxn>
                  <a:cxn ang="0">
                    <a:pos x="0" y="T15"/>
                  </a:cxn>
                  <a:cxn ang="0">
                    <a:pos x="0" y="T16"/>
                  </a:cxn>
                  <a:cxn ang="0">
                    <a:pos x="0" y="T17"/>
                  </a:cxn>
                  <a:cxn ang="0">
                    <a:pos x="0" y="T18"/>
                  </a:cxn>
                  <a:cxn ang="0">
                    <a:pos x="0" y="T19"/>
                  </a:cxn>
                  <a:cxn ang="0">
                    <a:pos x="0" y="T20"/>
                  </a:cxn>
                  <a:cxn ang="0">
                    <a:pos x="0" y="T21"/>
                  </a:cxn>
                  <a:cxn ang="0">
                    <a:pos x="0" y="T22"/>
                  </a:cxn>
                  <a:cxn ang="0">
                    <a:pos x="0" y="T23"/>
                  </a:cxn>
                  <a:cxn ang="0">
                    <a:pos x="0" y="T24"/>
                  </a:cxn>
                  <a:cxn ang="0">
                    <a:pos x="0" y="T25"/>
                  </a:cxn>
                  <a:cxn ang="0">
                    <a:pos x="0" y="T26"/>
                  </a:cxn>
                  <a:cxn ang="0">
                    <a:pos x="0" y="T27"/>
                  </a:cxn>
                  <a:cxn ang="0">
                    <a:pos x="0" y="T28"/>
                  </a:cxn>
                  <a:cxn ang="0">
                    <a:pos x="0" y="T29"/>
                  </a:cxn>
                  <a:cxn ang="0">
                    <a:pos x="0" y="T30"/>
                  </a:cxn>
                  <a:cxn ang="0">
                    <a:pos x="0" y="T31"/>
                  </a:cxn>
                  <a:cxn ang="0">
                    <a:pos x="0" y="T32"/>
                  </a:cxn>
                  <a:cxn ang="0">
                    <a:pos x="0" y="T33"/>
                  </a:cxn>
                  <a:cxn ang="0">
                    <a:pos x="0" y="T34"/>
                  </a:cxn>
                  <a:cxn ang="0">
                    <a:pos x="0" y="T35"/>
                  </a:cxn>
                  <a:cxn ang="0">
                    <a:pos x="0" y="T36"/>
                  </a:cxn>
                  <a:cxn ang="0">
                    <a:pos x="0" y="T37"/>
                  </a:cxn>
                  <a:cxn ang="0">
                    <a:pos x="0" y="T38"/>
                  </a:cxn>
                  <a:cxn ang="0">
                    <a:pos x="0" y="T39"/>
                  </a:cxn>
                </a:cxnLst>
                <a:rect l="0" t="0" r="r" b="b"/>
                <a:pathLst>
                  <a:path h="2">
                    <a:moveTo>
                      <a:pt x="0" y="2"/>
                    </a:moveTo>
                    <a:cubicBezTo>
                      <a:pt x="0" y="2"/>
                      <a:pt x="0" y="2"/>
                      <a:pt x="0" y="2"/>
                    </a:cubicBezTo>
                    <a:cubicBezTo>
                      <a:pt x="0" y="2"/>
                      <a:pt x="0" y="2"/>
                      <a:pt x="0" y="2"/>
                    </a:cubicBezTo>
                    <a:cubicBezTo>
                      <a:pt x="0" y="2"/>
                      <a:pt x="0" y="2"/>
                      <a:pt x="0" y="2"/>
                    </a:cubicBezTo>
                    <a:moveTo>
                      <a:pt x="0" y="2"/>
                    </a:moveTo>
                    <a:cubicBezTo>
                      <a:pt x="0" y="2"/>
                      <a:pt x="0" y="2"/>
                      <a:pt x="0" y="2"/>
                    </a:cubicBezTo>
                    <a:cubicBezTo>
                      <a:pt x="0" y="2"/>
                      <a:pt x="0" y="2"/>
                      <a:pt x="0" y="2"/>
                    </a:cubicBezTo>
                    <a:moveTo>
                      <a:pt x="0" y="2"/>
                    </a:moveTo>
                    <a:cubicBezTo>
                      <a:pt x="0" y="2"/>
                      <a:pt x="0" y="2"/>
                      <a:pt x="0" y="2"/>
                    </a:cubicBezTo>
                    <a:cubicBezTo>
                      <a:pt x="0" y="2"/>
                      <a:pt x="0" y="2"/>
                      <a:pt x="0" y="2"/>
                    </a:cubicBezTo>
                    <a:moveTo>
                      <a:pt x="0" y="2"/>
                    </a:moveTo>
                    <a:cubicBezTo>
                      <a:pt x="0" y="2"/>
                      <a:pt x="0" y="2"/>
                      <a:pt x="0" y="2"/>
                    </a:cubicBezTo>
                    <a:cubicBezTo>
                      <a:pt x="0" y="2"/>
                      <a:pt x="0" y="2"/>
                      <a:pt x="0" y="2"/>
                    </a:cubicBezTo>
                    <a:moveTo>
                      <a:pt x="0" y="2"/>
                    </a:moveTo>
                    <a:cubicBezTo>
                      <a:pt x="0" y="2"/>
                      <a:pt x="0" y="2"/>
                      <a:pt x="0" y="2"/>
                    </a:cubicBezTo>
                    <a:cubicBezTo>
                      <a:pt x="0" y="2"/>
                      <a:pt x="0" y="2"/>
                      <a:pt x="0" y="2"/>
                    </a:cubicBezTo>
                    <a:moveTo>
                      <a:pt x="0" y="2"/>
                    </a:moveTo>
                    <a:cubicBezTo>
                      <a:pt x="0" y="2"/>
                      <a:pt x="0" y="2"/>
                      <a:pt x="0" y="2"/>
                    </a:cubicBezTo>
                    <a:cubicBezTo>
                      <a:pt x="0" y="2"/>
                      <a:pt x="0" y="2"/>
                      <a:pt x="0" y="2"/>
                    </a:cubicBezTo>
                    <a:moveTo>
                      <a:pt x="0" y="1"/>
                    </a:moveTo>
                    <a:cubicBezTo>
                      <a:pt x="0" y="2"/>
                      <a:pt x="0" y="2"/>
                      <a:pt x="0" y="2"/>
                    </a:cubicBezTo>
                    <a:cubicBezTo>
                      <a:pt x="0" y="2"/>
                      <a:pt x="0" y="2"/>
                      <a:pt x="0" y="1"/>
                    </a:cubicBezTo>
                    <a:moveTo>
                      <a:pt x="0" y="1"/>
                    </a:moveTo>
                    <a:cubicBezTo>
                      <a:pt x="0" y="1"/>
                      <a:pt x="0" y="1"/>
                      <a:pt x="0" y="1"/>
                    </a:cubicBezTo>
                    <a:cubicBezTo>
                      <a:pt x="0" y="1"/>
                      <a:pt x="0" y="1"/>
                      <a:pt x="0" y="1"/>
                    </a:cubicBezTo>
                    <a:moveTo>
                      <a:pt x="0" y="1"/>
                    </a:moveTo>
                    <a:cubicBezTo>
                      <a:pt x="0" y="1"/>
                      <a:pt x="0" y="1"/>
                      <a:pt x="0" y="1"/>
                    </a:cubicBezTo>
                    <a:cubicBezTo>
                      <a:pt x="0" y="1"/>
                      <a:pt x="0" y="1"/>
                      <a:pt x="0" y="1"/>
                    </a:cubicBezTo>
                    <a:moveTo>
                      <a:pt x="0" y="1"/>
                    </a:moveTo>
                    <a:cubicBezTo>
                      <a:pt x="0" y="1"/>
                      <a:pt x="0" y="1"/>
                      <a:pt x="0" y="1"/>
                    </a:cubicBezTo>
                    <a:cubicBezTo>
                      <a:pt x="0" y="1"/>
                      <a:pt x="0" y="1"/>
                      <a:pt x="0" y="1"/>
                    </a:cubicBezTo>
                    <a:moveTo>
                      <a:pt x="0" y="1"/>
                    </a:moveTo>
                    <a:cubicBezTo>
                      <a:pt x="0" y="1"/>
                      <a:pt x="0" y="1"/>
                      <a:pt x="0" y="1"/>
                    </a:cubicBezTo>
                    <a:cubicBezTo>
                      <a:pt x="0" y="1"/>
                      <a:pt x="0" y="1"/>
                      <a:pt x="0" y="1"/>
                    </a:cubicBezTo>
                    <a:moveTo>
                      <a:pt x="0" y="0"/>
                    </a:moveTo>
                    <a:cubicBezTo>
                      <a:pt x="0" y="0"/>
                      <a:pt x="0" y="0"/>
                      <a:pt x="0" y="0"/>
                    </a:cubicBezTo>
                    <a:cubicBezTo>
                      <a:pt x="0" y="0"/>
                      <a:pt x="0" y="0"/>
                      <a:pt x="0" y="0"/>
                    </a:cubicBezTo>
                    <a:moveTo>
                      <a:pt x="0" y="0"/>
                    </a:moveTo>
                    <a:cubicBezTo>
                      <a:pt x="0" y="0"/>
                      <a:pt x="0" y="0"/>
                      <a:pt x="0" y="0"/>
                    </a:cubicBezTo>
                    <a:cubicBezTo>
                      <a:pt x="0" y="0"/>
                      <a:pt x="0" y="0"/>
                      <a:pt x="0" y="0"/>
                    </a:cubicBezTo>
                  </a:path>
                </a:pathLst>
              </a:custGeom>
              <a:solidFill>
                <a:srgbClr val="4262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83" name="Freeform 535"/>
              <p:cNvSpPr>
                <a:spLocks/>
              </p:cNvSpPr>
              <p:nvPr/>
            </p:nvSpPr>
            <p:spPr bwMode="auto">
              <a:xfrm>
                <a:off x="8478838" y="3605213"/>
                <a:ext cx="398463" cy="387350"/>
              </a:xfrm>
              <a:custGeom>
                <a:avLst/>
                <a:gdLst>
                  <a:gd name="T0" fmla="*/ 225 w 239"/>
                  <a:gd name="T1" fmla="*/ 0 h 232"/>
                  <a:gd name="T2" fmla="*/ 0 w 239"/>
                  <a:gd name="T3" fmla="*/ 153 h 232"/>
                  <a:gd name="T4" fmla="*/ 0 w 239"/>
                  <a:gd name="T5" fmla="*/ 193 h 232"/>
                  <a:gd name="T6" fmla="*/ 0 w 239"/>
                  <a:gd name="T7" fmla="*/ 193 h 232"/>
                  <a:gd name="T8" fmla="*/ 0 w 239"/>
                  <a:gd name="T9" fmla="*/ 232 h 232"/>
                  <a:gd name="T10" fmla="*/ 239 w 239"/>
                  <a:gd name="T11" fmla="*/ 232 h 232"/>
                  <a:gd name="T12" fmla="*/ 239 w 239"/>
                  <a:gd name="T13" fmla="*/ 232 h 232"/>
                  <a:gd name="T14" fmla="*/ 239 w 239"/>
                  <a:gd name="T15" fmla="*/ 232 h 232"/>
                  <a:gd name="T16" fmla="*/ 239 w 239"/>
                  <a:gd name="T17" fmla="*/ 232 h 232"/>
                  <a:gd name="T18" fmla="*/ 239 w 239"/>
                  <a:gd name="T19" fmla="*/ 232 h 232"/>
                  <a:gd name="T20" fmla="*/ 239 w 239"/>
                  <a:gd name="T21" fmla="*/ 232 h 232"/>
                  <a:gd name="T22" fmla="*/ 239 w 239"/>
                  <a:gd name="T23" fmla="*/ 232 h 232"/>
                  <a:gd name="T24" fmla="*/ 239 w 239"/>
                  <a:gd name="T25" fmla="*/ 232 h 232"/>
                  <a:gd name="T26" fmla="*/ 239 w 239"/>
                  <a:gd name="T27" fmla="*/ 232 h 232"/>
                  <a:gd name="T28" fmla="*/ 239 w 239"/>
                  <a:gd name="T29" fmla="*/ 232 h 232"/>
                  <a:gd name="T30" fmla="*/ 239 w 239"/>
                  <a:gd name="T31" fmla="*/ 232 h 232"/>
                  <a:gd name="T32" fmla="*/ 239 w 239"/>
                  <a:gd name="T33" fmla="*/ 232 h 232"/>
                  <a:gd name="T34" fmla="*/ 239 w 239"/>
                  <a:gd name="T35" fmla="*/ 232 h 232"/>
                  <a:gd name="T36" fmla="*/ 239 w 239"/>
                  <a:gd name="T37" fmla="*/ 231 h 232"/>
                  <a:gd name="T38" fmla="*/ 239 w 239"/>
                  <a:gd name="T39" fmla="*/ 231 h 232"/>
                  <a:gd name="T40" fmla="*/ 239 w 239"/>
                  <a:gd name="T41" fmla="*/ 231 h 232"/>
                  <a:gd name="T42" fmla="*/ 239 w 239"/>
                  <a:gd name="T43" fmla="*/ 231 h 232"/>
                  <a:gd name="T44" fmla="*/ 239 w 239"/>
                  <a:gd name="T45" fmla="*/ 231 h 232"/>
                  <a:gd name="T46" fmla="*/ 239 w 239"/>
                  <a:gd name="T47" fmla="*/ 231 h 232"/>
                  <a:gd name="T48" fmla="*/ 239 w 239"/>
                  <a:gd name="T49" fmla="*/ 231 h 232"/>
                  <a:gd name="T50" fmla="*/ 239 w 239"/>
                  <a:gd name="T51" fmla="*/ 231 h 232"/>
                  <a:gd name="T52" fmla="*/ 239 w 239"/>
                  <a:gd name="T53" fmla="*/ 231 h 232"/>
                  <a:gd name="T54" fmla="*/ 239 w 239"/>
                  <a:gd name="T55" fmla="*/ 230 h 232"/>
                  <a:gd name="T56" fmla="*/ 239 w 239"/>
                  <a:gd name="T57" fmla="*/ 230 h 232"/>
                  <a:gd name="T58" fmla="*/ 239 w 239"/>
                  <a:gd name="T59" fmla="*/ 230 h 232"/>
                  <a:gd name="T60" fmla="*/ 239 w 239"/>
                  <a:gd name="T61" fmla="*/ 230 h 232"/>
                  <a:gd name="T62" fmla="*/ 225 w 239"/>
                  <a:gd name="T63" fmla="*/ 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39" h="232">
                    <a:moveTo>
                      <a:pt x="225" y="0"/>
                    </a:moveTo>
                    <a:cubicBezTo>
                      <a:pt x="0" y="153"/>
                      <a:pt x="0" y="153"/>
                      <a:pt x="0" y="153"/>
                    </a:cubicBezTo>
                    <a:cubicBezTo>
                      <a:pt x="0" y="168"/>
                      <a:pt x="0" y="182"/>
                      <a:pt x="0" y="193"/>
                    </a:cubicBezTo>
                    <a:cubicBezTo>
                      <a:pt x="0" y="193"/>
                      <a:pt x="0" y="193"/>
                      <a:pt x="0" y="193"/>
                    </a:cubicBezTo>
                    <a:cubicBezTo>
                      <a:pt x="0" y="232"/>
                      <a:pt x="0" y="232"/>
                      <a:pt x="0" y="232"/>
                    </a:cubicBezTo>
                    <a:cubicBezTo>
                      <a:pt x="239" y="232"/>
                      <a:pt x="239" y="232"/>
                      <a:pt x="239" y="232"/>
                    </a:cubicBezTo>
                    <a:cubicBezTo>
                      <a:pt x="239" y="232"/>
                      <a:pt x="239" y="232"/>
                      <a:pt x="239" y="232"/>
                    </a:cubicBezTo>
                    <a:cubicBezTo>
                      <a:pt x="239" y="232"/>
                      <a:pt x="239" y="232"/>
                      <a:pt x="239" y="232"/>
                    </a:cubicBezTo>
                    <a:cubicBezTo>
                      <a:pt x="239" y="232"/>
                      <a:pt x="239" y="232"/>
                      <a:pt x="239" y="232"/>
                    </a:cubicBezTo>
                    <a:cubicBezTo>
                      <a:pt x="239" y="232"/>
                      <a:pt x="239" y="232"/>
                      <a:pt x="239" y="232"/>
                    </a:cubicBezTo>
                    <a:cubicBezTo>
                      <a:pt x="239" y="232"/>
                      <a:pt x="239" y="232"/>
                      <a:pt x="239" y="232"/>
                    </a:cubicBezTo>
                    <a:cubicBezTo>
                      <a:pt x="239" y="232"/>
                      <a:pt x="239" y="232"/>
                      <a:pt x="239" y="232"/>
                    </a:cubicBezTo>
                    <a:cubicBezTo>
                      <a:pt x="239" y="232"/>
                      <a:pt x="239" y="232"/>
                      <a:pt x="239" y="232"/>
                    </a:cubicBezTo>
                    <a:cubicBezTo>
                      <a:pt x="239" y="232"/>
                      <a:pt x="239" y="232"/>
                      <a:pt x="239" y="232"/>
                    </a:cubicBezTo>
                    <a:cubicBezTo>
                      <a:pt x="239" y="232"/>
                      <a:pt x="239" y="232"/>
                      <a:pt x="239" y="232"/>
                    </a:cubicBezTo>
                    <a:cubicBezTo>
                      <a:pt x="239" y="232"/>
                      <a:pt x="239" y="232"/>
                      <a:pt x="239" y="232"/>
                    </a:cubicBezTo>
                    <a:cubicBezTo>
                      <a:pt x="239" y="232"/>
                      <a:pt x="239" y="232"/>
                      <a:pt x="239" y="232"/>
                    </a:cubicBezTo>
                    <a:cubicBezTo>
                      <a:pt x="239" y="232"/>
                      <a:pt x="239" y="232"/>
                      <a:pt x="239" y="232"/>
                    </a:cubicBezTo>
                    <a:cubicBezTo>
                      <a:pt x="239" y="232"/>
                      <a:pt x="239" y="232"/>
                      <a:pt x="239" y="231"/>
                    </a:cubicBezTo>
                    <a:cubicBezTo>
                      <a:pt x="239" y="231"/>
                      <a:pt x="239" y="231"/>
                      <a:pt x="239" y="231"/>
                    </a:cubicBezTo>
                    <a:cubicBezTo>
                      <a:pt x="239" y="231"/>
                      <a:pt x="239" y="231"/>
                      <a:pt x="239" y="231"/>
                    </a:cubicBezTo>
                    <a:cubicBezTo>
                      <a:pt x="239" y="231"/>
                      <a:pt x="239" y="231"/>
                      <a:pt x="239" y="231"/>
                    </a:cubicBezTo>
                    <a:cubicBezTo>
                      <a:pt x="239" y="231"/>
                      <a:pt x="239" y="231"/>
                      <a:pt x="239" y="231"/>
                    </a:cubicBezTo>
                    <a:cubicBezTo>
                      <a:pt x="239" y="231"/>
                      <a:pt x="239" y="231"/>
                      <a:pt x="239" y="231"/>
                    </a:cubicBezTo>
                    <a:cubicBezTo>
                      <a:pt x="239" y="231"/>
                      <a:pt x="239" y="231"/>
                      <a:pt x="239" y="231"/>
                    </a:cubicBezTo>
                    <a:cubicBezTo>
                      <a:pt x="239" y="231"/>
                      <a:pt x="239" y="231"/>
                      <a:pt x="239" y="231"/>
                    </a:cubicBezTo>
                    <a:cubicBezTo>
                      <a:pt x="239" y="231"/>
                      <a:pt x="239" y="231"/>
                      <a:pt x="239" y="231"/>
                    </a:cubicBezTo>
                    <a:cubicBezTo>
                      <a:pt x="239" y="231"/>
                      <a:pt x="239" y="230"/>
                      <a:pt x="239" y="230"/>
                    </a:cubicBezTo>
                    <a:cubicBezTo>
                      <a:pt x="239" y="230"/>
                      <a:pt x="239" y="230"/>
                      <a:pt x="239" y="230"/>
                    </a:cubicBezTo>
                    <a:cubicBezTo>
                      <a:pt x="239" y="230"/>
                      <a:pt x="239" y="230"/>
                      <a:pt x="239" y="230"/>
                    </a:cubicBezTo>
                    <a:cubicBezTo>
                      <a:pt x="239" y="230"/>
                      <a:pt x="239" y="230"/>
                      <a:pt x="239" y="230"/>
                    </a:cubicBezTo>
                    <a:cubicBezTo>
                      <a:pt x="239" y="211"/>
                      <a:pt x="237" y="64"/>
                      <a:pt x="225" y="0"/>
                    </a:cubicBezTo>
                  </a:path>
                </a:pathLst>
              </a:custGeom>
              <a:solidFill>
                <a:srgbClr val="F0AE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84" name="Freeform 536"/>
              <p:cNvSpPr>
                <a:spLocks/>
              </p:cNvSpPr>
              <p:nvPr/>
            </p:nvSpPr>
            <p:spPr bwMode="auto">
              <a:xfrm>
                <a:off x="8478838" y="3860800"/>
                <a:ext cx="0" cy="66675"/>
              </a:xfrm>
              <a:custGeom>
                <a:avLst/>
                <a:gdLst>
                  <a:gd name="T0" fmla="*/ 0 h 40"/>
                  <a:gd name="T1" fmla="*/ 0 h 40"/>
                  <a:gd name="T2" fmla="*/ 40 h 40"/>
                  <a:gd name="T3" fmla="*/ 40 h 40"/>
                  <a:gd name="T4" fmla="*/ 0 h 40"/>
                </a:gdLst>
                <a:ahLst/>
                <a:cxnLst>
                  <a:cxn ang="0">
                    <a:pos x="0" y="T0"/>
                  </a:cxn>
                  <a:cxn ang="0">
                    <a:pos x="0" y="T1"/>
                  </a:cxn>
                  <a:cxn ang="0">
                    <a:pos x="0" y="T2"/>
                  </a:cxn>
                  <a:cxn ang="0">
                    <a:pos x="0" y="T3"/>
                  </a:cxn>
                  <a:cxn ang="0">
                    <a:pos x="0" y="T4"/>
                  </a:cxn>
                </a:cxnLst>
                <a:rect l="0" t="0" r="r" b="b"/>
                <a:pathLst>
                  <a:path h="40">
                    <a:moveTo>
                      <a:pt x="0" y="0"/>
                    </a:moveTo>
                    <a:cubicBezTo>
                      <a:pt x="0" y="0"/>
                      <a:pt x="0" y="0"/>
                      <a:pt x="0" y="0"/>
                    </a:cubicBezTo>
                    <a:cubicBezTo>
                      <a:pt x="0" y="40"/>
                      <a:pt x="0" y="40"/>
                      <a:pt x="0" y="40"/>
                    </a:cubicBezTo>
                    <a:cubicBezTo>
                      <a:pt x="0" y="40"/>
                      <a:pt x="0" y="40"/>
                      <a:pt x="0" y="40"/>
                    </a:cubicBezTo>
                    <a:cubicBezTo>
                      <a:pt x="0" y="29"/>
                      <a:pt x="0" y="15"/>
                      <a:pt x="0" y="0"/>
                    </a:cubicBezTo>
                  </a:path>
                </a:pathLst>
              </a:custGeom>
              <a:solidFill>
                <a:srgbClr val="38539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85" name="Freeform 537"/>
              <p:cNvSpPr>
                <a:spLocks/>
              </p:cNvSpPr>
              <p:nvPr/>
            </p:nvSpPr>
            <p:spPr bwMode="auto">
              <a:xfrm>
                <a:off x="8478838" y="3860800"/>
                <a:ext cx="0" cy="66675"/>
              </a:xfrm>
              <a:custGeom>
                <a:avLst/>
                <a:gdLst>
                  <a:gd name="T0" fmla="*/ 0 h 40"/>
                  <a:gd name="T1" fmla="*/ 0 h 40"/>
                  <a:gd name="T2" fmla="*/ 40 h 40"/>
                  <a:gd name="T3" fmla="*/ 0 h 40"/>
                </a:gdLst>
                <a:ahLst/>
                <a:cxnLst>
                  <a:cxn ang="0">
                    <a:pos x="0" y="T0"/>
                  </a:cxn>
                  <a:cxn ang="0">
                    <a:pos x="0" y="T1"/>
                  </a:cxn>
                  <a:cxn ang="0">
                    <a:pos x="0" y="T2"/>
                  </a:cxn>
                  <a:cxn ang="0">
                    <a:pos x="0" y="T3"/>
                  </a:cxn>
                </a:cxnLst>
                <a:rect l="0" t="0" r="r" b="b"/>
                <a:pathLst>
                  <a:path h="40">
                    <a:moveTo>
                      <a:pt x="0" y="0"/>
                    </a:moveTo>
                    <a:cubicBezTo>
                      <a:pt x="0" y="0"/>
                      <a:pt x="0" y="0"/>
                      <a:pt x="0" y="0"/>
                    </a:cubicBezTo>
                    <a:cubicBezTo>
                      <a:pt x="0" y="15"/>
                      <a:pt x="0" y="29"/>
                      <a:pt x="0" y="40"/>
                    </a:cubicBezTo>
                    <a:cubicBezTo>
                      <a:pt x="0" y="29"/>
                      <a:pt x="0" y="15"/>
                      <a:pt x="0" y="0"/>
                    </a:cubicBezTo>
                  </a:path>
                </a:pathLst>
              </a:custGeom>
              <a:solidFill>
                <a:srgbClr val="CC9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86" name="Freeform 538"/>
              <p:cNvSpPr>
                <a:spLocks/>
              </p:cNvSpPr>
              <p:nvPr/>
            </p:nvSpPr>
            <p:spPr bwMode="auto">
              <a:xfrm>
                <a:off x="8616950" y="3171825"/>
                <a:ext cx="138113" cy="52387"/>
              </a:xfrm>
              <a:custGeom>
                <a:avLst/>
                <a:gdLst>
                  <a:gd name="T0" fmla="*/ 83 w 83"/>
                  <a:gd name="T1" fmla="*/ 0 h 32"/>
                  <a:gd name="T2" fmla="*/ 41 w 83"/>
                  <a:gd name="T3" fmla="*/ 32 h 32"/>
                  <a:gd name="T4" fmla="*/ 0 w 83"/>
                  <a:gd name="T5" fmla="*/ 0 h 32"/>
                  <a:gd name="T6" fmla="*/ 83 w 83"/>
                  <a:gd name="T7" fmla="*/ 0 h 32"/>
                </a:gdLst>
                <a:ahLst/>
                <a:cxnLst>
                  <a:cxn ang="0">
                    <a:pos x="T0" y="T1"/>
                  </a:cxn>
                  <a:cxn ang="0">
                    <a:pos x="T2" y="T3"/>
                  </a:cxn>
                  <a:cxn ang="0">
                    <a:pos x="T4" y="T5"/>
                  </a:cxn>
                  <a:cxn ang="0">
                    <a:pos x="T6" y="T7"/>
                  </a:cxn>
                </a:cxnLst>
                <a:rect l="0" t="0" r="r" b="b"/>
                <a:pathLst>
                  <a:path w="83" h="32">
                    <a:moveTo>
                      <a:pt x="83" y="0"/>
                    </a:moveTo>
                    <a:cubicBezTo>
                      <a:pt x="78" y="18"/>
                      <a:pt x="61" y="32"/>
                      <a:pt x="41" y="32"/>
                    </a:cubicBezTo>
                    <a:cubicBezTo>
                      <a:pt x="21" y="32"/>
                      <a:pt x="5" y="18"/>
                      <a:pt x="0" y="0"/>
                    </a:cubicBezTo>
                    <a:lnTo>
                      <a:pt x="83" y="0"/>
                    </a:lnTo>
                    <a:close/>
                  </a:path>
                </a:pathLst>
              </a:custGeom>
              <a:solidFill>
                <a:srgbClr val="FFFC9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grpSp>
        <p:nvGrpSpPr>
          <p:cNvPr id="893" name="Group 892"/>
          <p:cNvGrpSpPr/>
          <p:nvPr/>
        </p:nvGrpSpPr>
        <p:grpSpPr>
          <a:xfrm>
            <a:off x="1" y="2638009"/>
            <a:ext cx="11757022" cy="548640"/>
            <a:chOff x="1" y="2412972"/>
            <a:chExt cx="11757022" cy="548640"/>
          </a:xfrm>
        </p:grpSpPr>
        <p:sp>
          <p:nvSpPr>
            <p:cNvPr id="7" name="Rectangle 6"/>
            <p:cNvSpPr/>
            <p:nvPr/>
          </p:nvSpPr>
          <p:spPr bwMode="auto">
            <a:xfrm>
              <a:off x="1" y="2412972"/>
              <a:ext cx="3248024" cy="54864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48640" tIns="45720" rIns="91440" bIns="45720" numCol="1" spcCol="0" rtlCol="0" fromWordArt="0" anchor="ctr" anchorCtr="0" forceAA="0" compatLnSpc="1">
              <a:prstTxWarp prst="textNoShape">
                <a:avLst/>
              </a:prstTxWarp>
              <a:noAutofit/>
            </a:bodyPr>
            <a:lstStyle/>
            <a:p>
              <a:pPr defTabSz="932472" fontAlgn="base"/>
              <a:r>
                <a:rPr lang="en-US" sz="1600" dirty="0">
                  <a:solidFill>
                    <a:schemeClr val="bg1"/>
                  </a:solidFill>
                  <a:latin typeface="Segoe UI Semibold" panose="020B0702040204020203" pitchFamily="34" charset="0"/>
                  <a:ea typeface="Segoe UI" pitchFamily="34" charset="0"/>
                  <a:cs typeface="Segoe UI Semibold" panose="020B0702040204020203" pitchFamily="34" charset="0"/>
                </a:rPr>
                <a:t>	Reliable</a:t>
              </a:r>
            </a:p>
          </p:txBody>
        </p:sp>
        <p:sp>
          <p:nvSpPr>
            <p:cNvPr id="17" name="Rectangle 16"/>
            <p:cNvSpPr/>
            <p:nvPr/>
          </p:nvSpPr>
          <p:spPr>
            <a:xfrm>
              <a:off x="3248024" y="2412972"/>
              <a:ext cx="8508999" cy="548640"/>
            </a:xfrm>
            <a:prstGeom prst="rect">
              <a:avLst/>
            </a:prstGeom>
            <a:solidFill>
              <a:schemeClr val="bg1">
                <a:lumMod val="95000"/>
              </a:schemeClr>
            </a:solidFill>
          </p:spPr>
          <p:txBody>
            <a:bodyPr wrap="square" lIns="91440" anchor="ctr">
              <a:noAutofit/>
            </a:bodyPr>
            <a:lstStyle/>
            <a:p>
              <a:pPr marL="53965" lvl="1" defTabSz="931954" fontAlgn="base">
                <a:buClr>
                  <a:srgbClr val="68217A">
                    <a:lumMod val="50000"/>
                  </a:srgbClr>
                </a:buClr>
                <a:tabLst>
                  <a:tab pos="658368" algn="l"/>
                </a:tabLst>
              </a:pPr>
              <a:r>
                <a:rPr lang="en-IN" sz="1400" dirty="0">
                  <a:ea typeface="Segoe UI" pitchFamily="34" charset="0"/>
                  <a:cs typeface="Segoe UI" pitchFamily="34" charset="0"/>
                </a:rPr>
                <a:t>Must be highly available and reliable (no permanent loss of data).</a:t>
              </a:r>
            </a:p>
          </p:txBody>
        </p:sp>
        <p:grpSp>
          <p:nvGrpSpPr>
            <p:cNvPr id="687" name="Group 686"/>
            <p:cNvGrpSpPr/>
            <p:nvPr/>
          </p:nvGrpSpPr>
          <p:grpSpPr>
            <a:xfrm>
              <a:off x="600562" y="2463834"/>
              <a:ext cx="573440" cy="446916"/>
              <a:chOff x="2767746" y="2445068"/>
              <a:chExt cx="2560896" cy="1995860"/>
            </a:xfrm>
          </p:grpSpPr>
          <p:sp>
            <p:nvSpPr>
              <p:cNvPr id="688" name="Rectangle 125"/>
              <p:cNvSpPr>
                <a:spLocks noChangeArrowheads="1"/>
              </p:cNvSpPr>
              <p:nvPr/>
            </p:nvSpPr>
            <p:spPr bwMode="auto">
              <a:xfrm>
                <a:off x="2767746" y="2445068"/>
                <a:ext cx="2560894" cy="1936212"/>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89" name="Rectangle 126"/>
              <p:cNvSpPr>
                <a:spLocks noChangeArrowheads="1"/>
              </p:cNvSpPr>
              <p:nvPr/>
            </p:nvSpPr>
            <p:spPr bwMode="auto">
              <a:xfrm>
                <a:off x="3145041" y="2766241"/>
                <a:ext cx="764024" cy="161504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90" name="Rectangle 127"/>
              <p:cNvSpPr>
                <a:spLocks noChangeArrowheads="1"/>
              </p:cNvSpPr>
              <p:nvPr/>
            </p:nvSpPr>
            <p:spPr bwMode="auto">
              <a:xfrm>
                <a:off x="3993957" y="2977297"/>
                <a:ext cx="485767" cy="1403983"/>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91" name="Rectangle 128"/>
              <p:cNvSpPr>
                <a:spLocks noChangeArrowheads="1"/>
              </p:cNvSpPr>
              <p:nvPr/>
            </p:nvSpPr>
            <p:spPr bwMode="auto">
              <a:xfrm>
                <a:off x="4677807" y="3206706"/>
                <a:ext cx="650835" cy="1174574"/>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92" name="Rectangle 129"/>
              <p:cNvSpPr>
                <a:spLocks noChangeArrowheads="1"/>
              </p:cNvSpPr>
              <p:nvPr/>
            </p:nvSpPr>
            <p:spPr bwMode="auto">
              <a:xfrm>
                <a:off x="4621213" y="2757064"/>
                <a:ext cx="580091" cy="412936"/>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93" name="Rectangle 130"/>
              <p:cNvSpPr>
                <a:spLocks noChangeArrowheads="1"/>
              </p:cNvSpPr>
              <p:nvPr/>
            </p:nvSpPr>
            <p:spPr bwMode="auto">
              <a:xfrm>
                <a:off x="4819293" y="3128705"/>
                <a:ext cx="188648" cy="78001"/>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94" name="Rectangle 131"/>
              <p:cNvSpPr>
                <a:spLocks noChangeArrowheads="1"/>
              </p:cNvSpPr>
              <p:nvPr/>
            </p:nvSpPr>
            <p:spPr bwMode="auto">
              <a:xfrm>
                <a:off x="4102431" y="2816709"/>
                <a:ext cx="103756" cy="1605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95" name="Rectangle 132"/>
              <p:cNvSpPr>
                <a:spLocks noChangeArrowheads="1"/>
              </p:cNvSpPr>
              <p:nvPr/>
            </p:nvSpPr>
            <p:spPr bwMode="auto">
              <a:xfrm>
                <a:off x="4239199" y="2816709"/>
                <a:ext cx="103756" cy="1605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96" name="Rectangle 133"/>
              <p:cNvSpPr>
                <a:spLocks noChangeArrowheads="1"/>
              </p:cNvSpPr>
              <p:nvPr/>
            </p:nvSpPr>
            <p:spPr bwMode="auto">
              <a:xfrm>
                <a:off x="2767746" y="3059884"/>
                <a:ext cx="278254" cy="1321396"/>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97" name="Rectangle 135"/>
              <p:cNvSpPr>
                <a:spLocks noChangeArrowheads="1"/>
              </p:cNvSpPr>
              <p:nvPr/>
            </p:nvSpPr>
            <p:spPr bwMode="auto">
              <a:xfrm>
                <a:off x="2767746" y="4381280"/>
                <a:ext cx="2560894" cy="5964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98" name="Rectangle 168"/>
              <p:cNvSpPr>
                <a:spLocks noChangeArrowheads="1"/>
              </p:cNvSpPr>
              <p:nvPr/>
            </p:nvSpPr>
            <p:spPr bwMode="auto">
              <a:xfrm>
                <a:off x="3772297" y="3174587"/>
                <a:ext cx="811186" cy="1206693"/>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99" name="Rectangle 169"/>
              <p:cNvSpPr>
                <a:spLocks noChangeArrowheads="1"/>
              </p:cNvSpPr>
              <p:nvPr/>
            </p:nvSpPr>
            <p:spPr bwMode="auto">
              <a:xfrm>
                <a:off x="3828892" y="3220469"/>
                <a:ext cx="693280" cy="1055282"/>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00" name="Rectangle 170"/>
              <p:cNvSpPr>
                <a:spLocks noChangeArrowheads="1"/>
              </p:cNvSpPr>
              <p:nvPr/>
            </p:nvSpPr>
            <p:spPr bwMode="auto">
              <a:xfrm>
                <a:off x="3876054" y="3270941"/>
                <a:ext cx="603673" cy="169764"/>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01" name="Rectangle 171"/>
              <p:cNvSpPr>
                <a:spLocks noChangeArrowheads="1"/>
              </p:cNvSpPr>
              <p:nvPr/>
            </p:nvSpPr>
            <p:spPr bwMode="auto">
              <a:xfrm>
                <a:off x="3904351" y="3298470"/>
                <a:ext cx="18865" cy="1101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02" name="Rectangle 172"/>
              <p:cNvSpPr>
                <a:spLocks noChangeArrowheads="1"/>
              </p:cNvSpPr>
              <p:nvPr/>
            </p:nvSpPr>
            <p:spPr bwMode="auto">
              <a:xfrm>
                <a:off x="3932648" y="3298470"/>
                <a:ext cx="23580" cy="1101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03" name="Rectangle 173"/>
              <p:cNvSpPr>
                <a:spLocks noChangeArrowheads="1"/>
              </p:cNvSpPr>
              <p:nvPr/>
            </p:nvSpPr>
            <p:spPr bwMode="auto">
              <a:xfrm>
                <a:off x="3975092" y="3298470"/>
                <a:ext cx="18865" cy="1101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04" name="Rectangle 174"/>
              <p:cNvSpPr>
                <a:spLocks noChangeArrowheads="1"/>
              </p:cNvSpPr>
              <p:nvPr/>
            </p:nvSpPr>
            <p:spPr bwMode="auto">
              <a:xfrm>
                <a:off x="4012822" y="3298470"/>
                <a:ext cx="18865" cy="1101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05" name="Rectangle 175"/>
              <p:cNvSpPr>
                <a:spLocks noChangeArrowheads="1"/>
              </p:cNvSpPr>
              <p:nvPr/>
            </p:nvSpPr>
            <p:spPr bwMode="auto">
              <a:xfrm>
                <a:off x="4050551" y="3298470"/>
                <a:ext cx="18865" cy="1101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06" name="Rectangle 176"/>
              <p:cNvSpPr>
                <a:spLocks noChangeArrowheads="1"/>
              </p:cNvSpPr>
              <p:nvPr/>
            </p:nvSpPr>
            <p:spPr bwMode="auto">
              <a:xfrm>
                <a:off x="4088281" y="3298470"/>
                <a:ext cx="23580" cy="1101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07" name="Oval 177"/>
              <p:cNvSpPr>
                <a:spLocks noChangeArrowheads="1"/>
              </p:cNvSpPr>
              <p:nvPr/>
            </p:nvSpPr>
            <p:spPr bwMode="auto">
              <a:xfrm>
                <a:off x="4375970" y="3330585"/>
                <a:ext cx="42444" cy="45882"/>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08" name="Rectangle 178"/>
              <p:cNvSpPr>
                <a:spLocks noChangeArrowheads="1"/>
              </p:cNvSpPr>
              <p:nvPr/>
            </p:nvSpPr>
            <p:spPr bwMode="auto">
              <a:xfrm>
                <a:off x="3876054" y="3481997"/>
                <a:ext cx="603673" cy="169764"/>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09" name="Rectangle 179"/>
              <p:cNvSpPr>
                <a:spLocks noChangeArrowheads="1"/>
              </p:cNvSpPr>
              <p:nvPr/>
            </p:nvSpPr>
            <p:spPr bwMode="auto">
              <a:xfrm>
                <a:off x="3904351" y="3514113"/>
                <a:ext cx="18865" cy="10553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10" name="Rectangle 180"/>
              <p:cNvSpPr>
                <a:spLocks noChangeArrowheads="1"/>
              </p:cNvSpPr>
              <p:nvPr/>
            </p:nvSpPr>
            <p:spPr bwMode="auto">
              <a:xfrm>
                <a:off x="3932648" y="3514113"/>
                <a:ext cx="23580" cy="10553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11" name="Rectangle 181"/>
              <p:cNvSpPr>
                <a:spLocks noChangeArrowheads="1"/>
              </p:cNvSpPr>
              <p:nvPr/>
            </p:nvSpPr>
            <p:spPr bwMode="auto">
              <a:xfrm>
                <a:off x="3975092" y="3514113"/>
                <a:ext cx="18865" cy="10553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12" name="Rectangle 182"/>
              <p:cNvSpPr>
                <a:spLocks noChangeArrowheads="1"/>
              </p:cNvSpPr>
              <p:nvPr/>
            </p:nvSpPr>
            <p:spPr bwMode="auto">
              <a:xfrm>
                <a:off x="4012822" y="3514113"/>
                <a:ext cx="18865" cy="10553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13" name="Rectangle 183"/>
              <p:cNvSpPr>
                <a:spLocks noChangeArrowheads="1"/>
              </p:cNvSpPr>
              <p:nvPr/>
            </p:nvSpPr>
            <p:spPr bwMode="auto">
              <a:xfrm>
                <a:off x="4050551" y="3514113"/>
                <a:ext cx="18865" cy="10553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14" name="Rectangle 184"/>
              <p:cNvSpPr>
                <a:spLocks noChangeArrowheads="1"/>
              </p:cNvSpPr>
              <p:nvPr/>
            </p:nvSpPr>
            <p:spPr bwMode="auto">
              <a:xfrm>
                <a:off x="4088281" y="3514113"/>
                <a:ext cx="23580" cy="10553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15" name="Oval 185"/>
              <p:cNvSpPr>
                <a:spLocks noChangeArrowheads="1"/>
              </p:cNvSpPr>
              <p:nvPr/>
            </p:nvSpPr>
            <p:spPr bwMode="auto">
              <a:xfrm>
                <a:off x="4375970" y="3546231"/>
                <a:ext cx="42444" cy="45882"/>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16" name="Rectangle 186"/>
              <p:cNvSpPr>
                <a:spLocks noChangeArrowheads="1"/>
              </p:cNvSpPr>
              <p:nvPr/>
            </p:nvSpPr>
            <p:spPr bwMode="auto">
              <a:xfrm>
                <a:off x="3876054" y="3697640"/>
                <a:ext cx="603673" cy="169764"/>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17" name="Rectangle 187"/>
              <p:cNvSpPr>
                <a:spLocks noChangeArrowheads="1"/>
              </p:cNvSpPr>
              <p:nvPr/>
            </p:nvSpPr>
            <p:spPr bwMode="auto">
              <a:xfrm>
                <a:off x="3904351" y="3729759"/>
                <a:ext cx="18865" cy="1101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18" name="Rectangle 188"/>
              <p:cNvSpPr>
                <a:spLocks noChangeArrowheads="1"/>
              </p:cNvSpPr>
              <p:nvPr/>
            </p:nvSpPr>
            <p:spPr bwMode="auto">
              <a:xfrm>
                <a:off x="3932648" y="3729759"/>
                <a:ext cx="23580" cy="1101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19" name="Rectangle 189"/>
              <p:cNvSpPr>
                <a:spLocks noChangeArrowheads="1"/>
              </p:cNvSpPr>
              <p:nvPr/>
            </p:nvSpPr>
            <p:spPr bwMode="auto">
              <a:xfrm>
                <a:off x="3975092" y="3729759"/>
                <a:ext cx="18865" cy="1101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20" name="Rectangle 190"/>
              <p:cNvSpPr>
                <a:spLocks noChangeArrowheads="1"/>
              </p:cNvSpPr>
              <p:nvPr/>
            </p:nvSpPr>
            <p:spPr bwMode="auto">
              <a:xfrm>
                <a:off x="4012822" y="3729759"/>
                <a:ext cx="18865" cy="1101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21" name="Rectangle 191"/>
              <p:cNvSpPr>
                <a:spLocks noChangeArrowheads="1"/>
              </p:cNvSpPr>
              <p:nvPr/>
            </p:nvSpPr>
            <p:spPr bwMode="auto">
              <a:xfrm>
                <a:off x="4050551" y="3729759"/>
                <a:ext cx="18865" cy="1101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22" name="Rectangle 192"/>
              <p:cNvSpPr>
                <a:spLocks noChangeArrowheads="1"/>
              </p:cNvSpPr>
              <p:nvPr/>
            </p:nvSpPr>
            <p:spPr bwMode="auto">
              <a:xfrm>
                <a:off x="4088281" y="3729759"/>
                <a:ext cx="23580" cy="1101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23" name="Oval 193"/>
              <p:cNvSpPr>
                <a:spLocks noChangeArrowheads="1"/>
              </p:cNvSpPr>
              <p:nvPr/>
            </p:nvSpPr>
            <p:spPr bwMode="auto">
              <a:xfrm>
                <a:off x="4375970" y="3761874"/>
                <a:ext cx="42444" cy="4129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24" name="Rectangle 194"/>
              <p:cNvSpPr>
                <a:spLocks noChangeArrowheads="1"/>
              </p:cNvSpPr>
              <p:nvPr/>
            </p:nvSpPr>
            <p:spPr bwMode="auto">
              <a:xfrm>
                <a:off x="3876054" y="3913286"/>
                <a:ext cx="603673" cy="169764"/>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25" name="Rectangle 195"/>
              <p:cNvSpPr>
                <a:spLocks noChangeArrowheads="1"/>
              </p:cNvSpPr>
              <p:nvPr/>
            </p:nvSpPr>
            <p:spPr bwMode="auto">
              <a:xfrm>
                <a:off x="3904351" y="3940815"/>
                <a:ext cx="18865" cy="11470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26" name="Rectangle 196"/>
              <p:cNvSpPr>
                <a:spLocks noChangeArrowheads="1"/>
              </p:cNvSpPr>
              <p:nvPr/>
            </p:nvSpPr>
            <p:spPr bwMode="auto">
              <a:xfrm>
                <a:off x="3932648" y="3940815"/>
                <a:ext cx="23580" cy="11470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27" name="Rectangle 197"/>
              <p:cNvSpPr>
                <a:spLocks noChangeArrowheads="1"/>
              </p:cNvSpPr>
              <p:nvPr/>
            </p:nvSpPr>
            <p:spPr bwMode="auto">
              <a:xfrm>
                <a:off x="3975092" y="3940815"/>
                <a:ext cx="18865" cy="11470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28" name="Rectangle 198"/>
              <p:cNvSpPr>
                <a:spLocks noChangeArrowheads="1"/>
              </p:cNvSpPr>
              <p:nvPr/>
            </p:nvSpPr>
            <p:spPr bwMode="auto">
              <a:xfrm>
                <a:off x="4012822" y="3940815"/>
                <a:ext cx="18865" cy="11470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29" name="Rectangle 199"/>
              <p:cNvSpPr>
                <a:spLocks noChangeArrowheads="1"/>
              </p:cNvSpPr>
              <p:nvPr/>
            </p:nvSpPr>
            <p:spPr bwMode="auto">
              <a:xfrm>
                <a:off x="4050551" y="3940815"/>
                <a:ext cx="18865" cy="11470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30" name="Rectangle 200"/>
              <p:cNvSpPr>
                <a:spLocks noChangeArrowheads="1"/>
              </p:cNvSpPr>
              <p:nvPr/>
            </p:nvSpPr>
            <p:spPr bwMode="auto">
              <a:xfrm>
                <a:off x="4088281" y="3940815"/>
                <a:ext cx="23580" cy="11470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31" name="Oval 201"/>
              <p:cNvSpPr>
                <a:spLocks noChangeArrowheads="1"/>
              </p:cNvSpPr>
              <p:nvPr/>
            </p:nvSpPr>
            <p:spPr bwMode="auto">
              <a:xfrm>
                <a:off x="4375970" y="3972931"/>
                <a:ext cx="42444" cy="45882"/>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32" name="Rectangle 202"/>
              <p:cNvSpPr>
                <a:spLocks noChangeArrowheads="1"/>
              </p:cNvSpPr>
              <p:nvPr/>
            </p:nvSpPr>
            <p:spPr bwMode="auto">
              <a:xfrm>
                <a:off x="2904517" y="3174587"/>
                <a:ext cx="801754" cy="1206693"/>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33" name="Rectangle 203"/>
              <p:cNvSpPr>
                <a:spLocks noChangeArrowheads="1"/>
              </p:cNvSpPr>
              <p:nvPr/>
            </p:nvSpPr>
            <p:spPr bwMode="auto">
              <a:xfrm>
                <a:off x="2956394" y="3220469"/>
                <a:ext cx="697997" cy="1055282"/>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34" name="Rectangle 204"/>
              <p:cNvSpPr>
                <a:spLocks noChangeArrowheads="1"/>
              </p:cNvSpPr>
              <p:nvPr/>
            </p:nvSpPr>
            <p:spPr bwMode="auto">
              <a:xfrm>
                <a:off x="3003556" y="3270941"/>
                <a:ext cx="608388" cy="169764"/>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35" name="Rectangle 205"/>
              <p:cNvSpPr>
                <a:spLocks noChangeArrowheads="1"/>
              </p:cNvSpPr>
              <p:nvPr/>
            </p:nvSpPr>
            <p:spPr bwMode="auto">
              <a:xfrm>
                <a:off x="3027138" y="3298470"/>
                <a:ext cx="18865" cy="1101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36" name="Rectangle 206"/>
              <p:cNvSpPr>
                <a:spLocks noChangeArrowheads="1"/>
              </p:cNvSpPr>
              <p:nvPr/>
            </p:nvSpPr>
            <p:spPr bwMode="auto">
              <a:xfrm>
                <a:off x="3069582" y="3298470"/>
                <a:ext cx="18865" cy="1101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37" name="Rectangle 207"/>
              <p:cNvSpPr>
                <a:spLocks noChangeArrowheads="1"/>
              </p:cNvSpPr>
              <p:nvPr/>
            </p:nvSpPr>
            <p:spPr bwMode="auto">
              <a:xfrm>
                <a:off x="3107312" y="3298470"/>
                <a:ext cx="18865" cy="1101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38" name="Rectangle 208"/>
              <p:cNvSpPr>
                <a:spLocks noChangeArrowheads="1"/>
              </p:cNvSpPr>
              <p:nvPr/>
            </p:nvSpPr>
            <p:spPr bwMode="auto">
              <a:xfrm>
                <a:off x="3145041" y="3298470"/>
                <a:ext cx="18865" cy="1101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39" name="Rectangle 209"/>
              <p:cNvSpPr>
                <a:spLocks noChangeArrowheads="1"/>
              </p:cNvSpPr>
              <p:nvPr/>
            </p:nvSpPr>
            <p:spPr bwMode="auto">
              <a:xfrm>
                <a:off x="3182771" y="3298470"/>
                <a:ext cx="18865" cy="1101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40" name="Rectangle 210"/>
              <p:cNvSpPr>
                <a:spLocks noChangeArrowheads="1"/>
              </p:cNvSpPr>
              <p:nvPr/>
            </p:nvSpPr>
            <p:spPr bwMode="auto">
              <a:xfrm>
                <a:off x="3220501" y="3298470"/>
                <a:ext cx="23580" cy="1101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41" name="Oval 211"/>
              <p:cNvSpPr>
                <a:spLocks noChangeArrowheads="1"/>
              </p:cNvSpPr>
              <p:nvPr/>
            </p:nvSpPr>
            <p:spPr bwMode="auto">
              <a:xfrm>
                <a:off x="3508190" y="3330585"/>
                <a:ext cx="42444" cy="45882"/>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42" name="Rectangle 212"/>
              <p:cNvSpPr>
                <a:spLocks noChangeArrowheads="1"/>
              </p:cNvSpPr>
              <p:nvPr/>
            </p:nvSpPr>
            <p:spPr bwMode="auto">
              <a:xfrm>
                <a:off x="3003556" y="3481997"/>
                <a:ext cx="608388" cy="169764"/>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43" name="Rectangle 213"/>
              <p:cNvSpPr>
                <a:spLocks noChangeArrowheads="1"/>
              </p:cNvSpPr>
              <p:nvPr/>
            </p:nvSpPr>
            <p:spPr bwMode="auto">
              <a:xfrm>
                <a:off x="3027138" y="3514113"/>
                <a:ext cx="18865" cy="10553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44" name="Rectangle 214"/>
              <p:cNvSpPr>
                <a:spLocks noChangeArrowheads="1"/>
              </p:cNvSpPr>
              <p:nvPr/>
            </p:nvSpPr>
            <p:spPr bwMode="auto">
              <a:xfrm>
                <a:off x="3069582" y="3514113"/>
                <a:ext cx="18865" cy="10553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45" name="Rectangle 215"/>
              <p:cNvSpPr>
                <a:spLocks noChangeArrowheads="1"/>
              </p:cNvSpPr>
              <p:nvPr/>
            </p:nvSpPr>
            <p:spPr bwMode="auto">
              <a:xfrm>
                <a:off x="3107312" y="3514113"/>
                <a:ext cx="18865" cy="10553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46" name="Rectangle 216"/>
              <p:cNvSpPr>
                <a:spLocks noChangeArrowheads="1"/>
              </p:cNvSpPr>
              <p:nvPr/>
            </p:nvSpPr>
            <p:spPr bwMode="auto">
              <a:xfrm>
                <a:off x="3145041" y="3514113"/>
                <a:ext cx="18865" cy="10553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47" name="Rectangle 217"/>
              <p:cNvSpPr>
                <a:spLocks noChangeArrowheads="1"/>
              </p:cNvSpPr>
              <p:nvPr/>
            </p:nvSpPr>
            <p:spPr bwMode="auto">
              <a:xfrm>
                <a:off x="3182771" y="3514113"/>
                <a:ext cx="18865" cy="10553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48" name="Rectangle 218"/>
              <p:cNvSpPr>
                <a:spLocks noChangeArrowheads="1"/>
              </p:cNvSpPr>
              <p:nvPr/>
            </p:nvSpPr>
            <p:spPr bwMode="auto">
              <a:xfrm>
                <a:off x="3220501" y="3514113"/>
                <a:ext cx="23580" cy="10553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49" name="Oval 219"/>
              <p:cNvSpPr>
                <a:spLocks noChangeArrowheads="1"/>
              </p:cNvSpPr>
              <p:nvPr/>
            </p:nvSpPr>
            <p:spPr bwMode="auto">
              <a:xfrm>
                <a:off x="3508190" y="3546231"/>
                <a:ext cx="42444" cy="45882"/>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50" name="Rectangle 220"/>
              <p:cNvSpPr>
                <a:spLocks noChangeArrowheads="1"/>
              </p:cNvSpPr>
              <p:nvPr/>
            </p:nvSpPr>
            <p:spPr bwMode="auto">
              <a:xfrm>
                <a:off x="3003556" y="3697640"/>
                <a:ext cx="608388" cy="169764"/>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51" name="Rectangle 221"/>
              <p:cNvSpPr>
                <a:spLocks noChangeArrowheads="1"/>
              </p:cNvSpPr>
              <p:nvPr/>
            </p:nvSpPr>
            <p:spPr bwMode="auto">
              <a:xfrm>
                <a:off x="3027138" y="3729759"/>
                <a:ext cx="18865" cy="1101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52" name="Rectangle 222"/>
              <p:cNvSpPr>
                <a:spLocks noChangeArrowheads="1"/>
              </p:cNvSpPr>
              <p:nvPr/>
            </p:nvSpPr>
            <p:spPr bwMode="auto">
              <a:xfrm>
                <a:off x="3069582" y="3729759"/>
                <a:ext cx="18865" cy="1101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53" name="Rectangle 223"/>
              <p:cNvSpPr>
                <a:spLocks noChangeArrowheads="1"/>
              </p:cNvSpPr>
              <p:nvPr/>
            </p:nvSpPr>
            <p:spPr bwMode="auto">
              <a:xfrm>
                <a:off x="3107312" y="3729759"/>
                <a:ext cx="18865" cy="1101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54" name="Rectangle 224"/>
              <p:cNvSpPr>
                <a:spLocks noChangeArrowheads="1"/>
              </p:cNvSpPr>
              <p:nvPr/>
            </p:nvSpPr>
            <p:spPr bwMode="auto">
              <a:xfrm>
                <a:off x="3145041" y="3729759"/>
                <a:ext cx="18865" cy="1101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55" name="Rectangle 225"/>
              <p:cNvSpPr>
                <a:spLocks noChangeArrowheads="1"/>
              </p:cNvSpPr>
              <p:nvPr/>
            </p:nvSpPr>
            <p:spPr bwMode="auto">
              <a:xfrm>
                <a:off x="3182771" y="3729759"/>
                <a:ext cx="18865" cy="1101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56" name="Rectangle 226"/>
              <p:cNvSpPr>
                <a:spLocks noChangeArrowheads="1"/>
              </p:cNvSpPr>
              <p:nvPr/>
            </p:nvSpPr>
            <p:spPr bwMode="auto">
              <a:xfrm>
                <a:off x="3220501" y="3729759"/>
                <a:ext cx="23580" cy="1101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57" name="Oval 227"/>
              <p:cNvSpPr>
                <a:spLocks noChangeArrowheads="1"/>
              </p:cNvSpPr>
              <p:nvPr/>
            </p:nvSpPr>
            <p:spPr bwMode="auto">
              <a:xfrm>
                <a:off x="3508190" y="3761874"/>
                <a:ext cx="42444" cy="4129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58" name="Rectangle 228"/>
              <p:cNvSpPr>
                <a:spLocks noChangeArrowheads="1"/>
              </p:cNvSpPr>
              <p:nvPr/>
            </p:nvSpPr>
            <p:spPr bwMode="auto">
              <a:xfrm>
                <a:off x="3003556" y="3913286"/>
                <a:ext cx="608388" cy="169764"/>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59" name="Rectangle 229"/>
              <p:cNvSpPr>
                <a:spLocks noChangeArrowheads="1"/>
              </p:cNvSpPr>
              <p:nvPr/>
            </p:nvSpPr>
            <p:spPr bwMode="auto">
              <a:xfrm>
                <a:off x="3027138" y="3940815"/>
                <a:ext cx="18865" cy="11470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60" name="Rectangle 230"/>
              <p:cNvSpPr>
                <a:spLocks noChangeArrowheads="1"/>
              </p:cNvSpPr>
              <p:nvPr/>
            </p:nvSpPr>
            <p:spPr bwMode="auto">
              <a:xfrm>
                <a:off x="3069582" y="3940815"/>
                <a:ext cx="18865" cy="11470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61" name="Rectangle 231"/>
              <p:cNvSpPr>
                <a:spLocks noChangeArrowheads="1"/>
              </p:cNvSpPr>
              <p:nvPr/>
            </p:nvSpPr>
            <p:spPr bwMode="auto">
              <a:xfrm>
                <a:off x="3107312" y="3940815"/>
                <a:ext cx="18865" cy="11470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62" name="Rectangle 232"/>
              <p:cNvSpPr>
                <a:spLocks noChangeArrowheads="1"/>
              </p:cNvSpPr>
              <p:nvPr/>
            </p:nvSpPr>
            <p:spPr bwMode="auto">
              <a:xfrm>
                <a:off x="3145041" y="3940815"/>
                <a:ext cx="18865" cy="11470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63" name="Rectangle 233"/>
              <p:cNvSpPr>
                <a:spLocks noChangeArrowheads="1"/>
              </p:cNvSpPr>
              <p:nvPr/>
            </p:nvSpPr>
            <p:spPr bwMode="auto">
              <a:xfrm>
                <a:off x="3182771" y="3940815"/>
                <a:ext cx="18865" cy="11470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64" name="Rectangle 234"/>
              <p:cNvSpPr>
                <a:spLocks noChangeArrowheads="1"/>
              </p:cNvSpPr>
              <p:nvPr/>
            </p:nvSpPr>
            <p:spPr bwMode="auto">
              <a:xfrm>
                <a:off x="3220501" y="3940815"/>
                <a:ext cx="23580" cy="11470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65" name="Oval 235"/>
              <p:cNvSpPr>
                <a:spLocks noChangeArrowheads="1"/>
              </p:cNvSpPr>
              <p:nvPr/>
            </p:nvSpPr>
            <p:spPr bwMode="auto">
              <a:xfrm>
                <a:off x="3508190" y="3972931"/>
                <a:ext cx="42444" cy="45882"/>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66" name="Freeform 236"/>
              <p:cNvSpPr>
                <a:spLocks/>
              </p:cNvSpPr>
              <p:nvPr/>
            </p:nvSpPr>
            <p:spPr bwMode="auto">
              <a:xfrm>
                <a:off x="4621213" y="3344351"/>
                <a:ext cx="297119" cy="495523"/>
              </a:xfrm>
              <a:custGeom>
                <a:avLst/>
                <a:gdLst>
                  <a:gd name="T0" fmla="*/ 46 w 46"/>
                  <a:gd name="T1" fmla="*/ 76 h 79"/>
                  <a:gd name="T2" fmla="*/ 43 w 46"/>
                  <a:gd name="T3" fmla="*/ 79 h 79"/>
                  <a:gd name="T4" fmla="*/ 3 w 46"/>
                  <a:gd name="T5" fmla="*/ 79 h 79"/>
                  <a:gd name="T6" fmla="*/ 0 w 46"/>
                  <a:gd name="T7" fmla="*/ 76 h 79"/>
                  <a:gd name="T8" fmla="*/ 0 w 46"/>
                  <a:gd name="T9" fmla="*/ 3 h 79"/>
                  <a:gd name="T10" fmla="*/ 3 w 46"/>
                  <a:gd name="T11" fmla="*/ 0 h 79"/>
                  <a:gd name="T12" fmla="*/ 43 w 46"/>
                  <a:gd name="T13" fmla="*/ 0 h 79"/>
                  <a:gd name="T14" fmla="*/ 46 w 46"/>
                  <a:gd name="T15" fmla="*/ 3 h 79"/>
                  <a:gd name="T16" fmla="*/ 46 w 46"/>
                  <a:gd name="T17" fmla="*/ 7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6" h="79">
                    <a:moveTo>
                      <a:pt x="46" y="76"/>
                    </a:moveTo>
                    <a:cubicBezTo>
                      <a:pt x="46" y="77"/>
                      <a:pt x="45" y="79"/>
                      <a:pt x="43" y="79"/>
                    </a:cubicBezTo>
                    <a:cubicBezTo>
                      <a:pt x="3" y="79"/>
                      <a:pt x="3" y="79"/>
                      <a:pt x="3" y="79"/>
                    </a:cubicBezTo>
                    <a:cubicBezTo>
                      <a:pt x="2" y="79"/>
                      <a:pt x="0" y="77"/>
                      <a:pt x="0" y="76"/>
                    </a:cubicBezTo>
                    <a:cubicBezTo>
                      <a:pt x="0" y="3"/>
                      <a:pt x="0" y="3"/>
                      <a:pt x="0" y="3"/>
                    </a:cubicBezTo>
                    <a:cubicBezTo>
                      <a:pt x="0" y="2"/>
                      <a:pt x="2" y="0"/>
                      <a:pt x="3" y="0"/>
                    </a:cubicBezTo>
                    <a:cubicBezTo>
                      <a:pt x="43" y="0"/>
                      <a:pt x="43" y="0"/>
                      <a:pt x="43" y="0"/>
                    </a:cubicBezTo>
                    <a:cubicBezTo>
                      <a:pt x="45" y="0"/>
                      <a:pt x="46" y="2"/>
                      <a:pt x="46" y="3"/>
                    </a:cubicBezTo>
                    <a:lnTo>
                      <a:pt x="46" y="76"/>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67" name="Rectangle 237"/>
              <p:cNvSpPr>
                <a:spLocks noChangeArrowheads="1"/>
              </p:cNvSpPr>
              <p:nvPr/>
            </p:nvSpPr>
            <p:spPr bwMode="auto">
              <a:xfrm>
                <a:off x="4654225" y="3376467"/>
                <a:ext cx="240525" cy="385407"/>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68" name="Rectangle 238"/>
              <p:cNvSpPr>
                <a:spLocks noChangeArrowheads="1"/>
              </p:cNvSpPr>
              <p:nvPr/>
            </p:nvSpPr>
            <p:spPr bwMode="auto">
              <a:xfrm>
                <a:off x="4673089" y="3422349"/>
                <a:ext cx="193363" cy="188117"/>
              </a:xfrm>
              <a:prstGeom prst="rect">
                <a:avLst/>
              </a:prstGeom>
              <a:solidFill>
                <a:srgbClr val="EB3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69" name="Rectangle 239"/>
              <p:cNvSpPr>
                <a:spLocks noChangeArrowheads="1"/>
              </p:cNvSpPr>
              <p:nvPr/>
            </p:nvSpPr>
            <p:spPr bwMode="auto">
              <a:xfrm>
                <a:off x="4673089" y="3619642"/>
                <a:ext cx="56594" cy="50471"/>
              </a:xfrm>
              <a:prstGeom prst="rect">
                <a:avLst/>
              </a:prstGeom>
              <a:solidFill>
                <a:srgbClr val="EB3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70" name="Rectangle 240"/>
              <p:cNvSpPr>
                <a:spLocks noChangeArrowheads="1"/>
              </p:cNvSpPr>
              <p:nvPr/>
            </p:nvSpPr>
            <p:spPr bwMode="auto">
              <a:xfrm>
                <a:off x="4743834" y="3619642"/>
                <a:ext cx="51877" cy="50471"/>
              </a:xfrm>
              <a:prstGeom prst="rect">
                <a:avLst/>
              </a:prstGeom>
              <a:solidFill>
                <a:srgbClr val="EB3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71" name="Rectangle 241"/>
              <p:cNvSpPr>
                <a:spLocks noChangeArrowheads="1"/>
              </p:cNvSpPr>
              <p:nvPr/>
            </p:nvSpPr>
            <p:spPr bwMode="auto">
              <a:xfrm>
                <a:off x="4809861" y="3619642"/>
                <a:ext cx="56594" cy="50471"/>
              </a:xfrm>
              <a:prstGeom prst="rect">
                <a:avLst/>
              </a:prstGeom>
              <a:solidFill>
                <a:srgbClr val="EB3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72" name="Rectangle 242"/>
              <p:cNvSpPr>
                <a:spLocks noChangeArrowheads="1"/>
              </p:cNvSpPr>
              <p:nvPr/>
            </p:nvSpPr>
            <p:spPr bwMode="auto">
              <a:xfrm>
                <a:off x="4673089" y="3683877"/>
                <a:ext cx="193363" cy="55058"/>
              </a:xfrm>
              <a:prstGeom prst="rect">
                <a:avLst/>
              </a:prstGeom>
              <a:solidFill>
                <a:srgbClr val="EB3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73" name="Freeform 243"/>
              <p:cNvSpPr>
                <a:spLocks/>
              </p:cNvSpPr>
              <p:nvPr/>
            </p:nvSpPr>
            <p:spPr bwMode="auto">
              <a:xfrm>
                <a:off x="4621213" y="3890343"/>
                <a:ext cx="292404" cy="490937"/>
              </a:xfrm>
              <a:custGeom>
                <a:avLst/>
                <a:gdLst>
                  <a:gd name="T0" fmla="*/ 45 w 45"/>
                  <a:gd name="T1" fmla="*/ 75 h 78"/>
                  <a:gd name="T2" fmla="*/ 42 w 45"/>
                  <a:gd name="T3" fmla="*/ 78 h 78"/>
                  <a:gd name="T4" fmla="*/ 3 w 45"/>
                  <a:gd name="T5" fmla="*/ 78 h 78"/>
                  <a:gd name="T6" fmla="*/ 0 w 45"/>
                  <a:gd name="T7" fmla="*/ 75 h 78"/>
                  <a:gd name="T8" fmla="*/ 0 w 45"/>
                  <a:gd name="T9" fmla="*/ 3 h 78"/>
                  <a:gd name="T10" fmla="*/ 3 w 45"/>
                  <a:gd name="T11" fmla="*/ 0 h 78"/>
                  <a:gd name="T12" fmla="*/ 42 w 45"/>
                  <a:gd name="T13" fmla="*/ 0 h 78"/>
                  <a:gd name="T14" fmla="*/ 45 w 45"/>
                  <a:gd name="T15" fmla="*/ 3 h 78"/>
                  <a:gd name="T16" fmla="*/ 45 w 45"/>
                  <a:gd name="T17" fmla="*/ 75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 h="78">
                    <a:moveTo>
                      <a:pt x="45" y="75"/>
                    </a:moveTo>
                    <a:cubicBezTo>
                      <a:pt x="45" y="77"/>
                      <a:pt x="44" y="78"/>
                      <a:pt x="42" y="78"/>
                    </a:cubicBezTo>
                    <a:cubicBezTo>
                      <a:pt x="3" y="78"/>
                      <a:pt x="3" y="78"/>
                      <a:pt x="3" y="78"/>
                    </a:cubicBezTo>
                    <a:cubicBezTo>
                      <a:pt x="1" y="78"/>
                      <a:pt x="0" y="77"/>
                      <a:pt x="0" y="75"/>
                    </a:cubicBezTo>
                    <a:cubicBezTo>
                      <a:pt x="0" y="3"/>
                      <a:pt x="0" y="3"/>
                      <a:pt x="0" y="3"/>
                    </a:cubicBezTo>
                    <a:cubicBezTo>
                      <a:pt x="0" y="1"/>
                      <a:pt x="1" y="0"/>
                      <a:pt x="3" y="0"/>
                    </a:cubicBezTo>
                    <a:cubicBezTo>
                      <a:pt x="42" y="0"/>
                      <a:pt x="42" y="0"/>
                      <a:pt x="42" y="0"/>
                    </a:cubicBezTo>
                    <a:cubicBezTo>
                      <a:pt x="44" y="0"/>
                      <a:pt x="45" y="1"/>
                      <a:pt x="45" y="3"/>
                    </a:cubicBezTo>
                    <a:lnTo>
                      <a:pt x="45" y="75"/>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74" name="Rectangle 244"/>
              <p:cNvSpPr>
                <a:spLocks noChangeArrowheads="1"/>
              </p:cNvSpPr>
              <p:nvPr/>
            </p:nvSpPr>
            <p:spPr bwMode="auto">
              <a:xfrm>
                <a:off x="4644792" y="3917873"/>
                <a:ext cx="240525" cy="389997"/>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75" name="Rectangle 245"/>
              <p:cNvSpPr>
                <a:spLocks noChangeArrowheads="1"/>
              </p:cNvSpPr>
              <p:nvPr/>
            </p:nvSpPr>
            <p:spPr bwMode="auto">
              <a:xfrm>
                <a:off x="4673089" y="3963754"/>
                <a:ext cx="188648" cy="188117"/>
              </a:xfrm>
              <a:prstGeom prst="rect">
                <a:avLst/>
              </a:prstGeom>
              <a:solidFill>
                <a:srgbClr val="EB3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76" name="Rectangle 246"/>
              <p:cNvSpPr>
                <a:spLocks noChangeArrowheads="1"/>
              </p:cNvSpPr>
              <p:nvPr/>
            </p:nvSpPr>
            <p:spPr bwMode="auto">
              <a:xfrm>
                <a:off x="4673089" y="4161048"/>
                <a:ext cx="51877" cy="59648"/>
              </a:xfrm>
              <a:prstGeom prst="rect">
                <a:avLst/>
              </a:prstGeom>
              <a:solidFill>
                <a:srgbClr val="EB3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77" name="Rectangle 247"/>
              <p:cNvSpPr>
                <a:spLocks noChangeArrowheads="1"/>
              </p:cNvSpPr>
              <p:nvPr/>
            </p:nvSpPr>
            <p:spPr bwMode="auto">
              <a:xfrm>
                <a:off x="4739116" y="4161048"/>
                <a:ext cx="56594" cy="59648"/>
              </a:xfrm>
              <a:prstGeom prst="rect">
                <a:avLst/>
              </a:prstGeom>
              <a:solidFill>
                <a:srgbClr val="EB3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78" name="Rectangle 248"/>
              <p:cNvSpPr>
                <a:spLocks noChangeArrowheads="1"/>
              </p:cNvSpPr>
              <p:nvPr/>
            </p:nvSpPr>
            <p:spPr bwMode="auto">
              <a:xfrm>
                <a:off x="4809861" y="4161048"/>
                <a:ext cx="51877" cy="59648"/>
              </a:xfrm>
              <a:prstGeom prst="rect">
                <a:avLst/>
              </a:prstGeom>
              <a:solidFill>
                <a:srgbClr val="EB3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79" name="Rectangle 249"/>
              <p:cNvSpPr>
                <a:spLocks noChangeArrowheads="1"/>
              </p:cNvSpPr>
              <p:nvPr/>
            </p:nvSpPr>
            <p:spPr bwMode="auto">
              <a:xfrm>
                <a:off x="4673089" y="4234458"/>
                <a:ext cx="188648" cy="50471"/>
              </a:xfrm>
              <a:prstGeom prst="rect">
                <a:avLst/>
              </a:prstGeom>
              <a:solidFill>
                <a:srgbClr val="EB3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80" name="Freeform 250"/>
              <p:cNvSpPr>
                <a:spLocks/>
              </p:cNvSpPr>
              <p:nvPr/>
            </p:nvSpPr>
            <p:spPr bwMode="auto">
              <a:xfrm>
                <a:off x="4965494" y="3344351"/>
                <a:ext cx="297119" cy="495523"/>
              </a:xfrm>
              <a:custGeom>
                <a:avLst/>
                <a:gdLst>
                  <a:gd name="T0" fmla="*/ 46 w 46"/>
                  <a:gd name="T1" fmla="*/ 76 h 79"/>
                  <a:gd name="T2" fmla="*/ 43 w 46"/>
                  <a:gd name="T3" fmla="*/ 79 h 79"/>
                  <a:gd name="T4" fmla="*/ 3 w 46"/>
                  <a:gd name="T5" fmla="*/ 79 h 79"/>
                  <a:gd name="T6" fmla="*/ 0 w 46"/>
                  <a:gd name="T7" fmla="*/ 76 h 79"/>
                  <a:gd name="T8" fmla="*/ 0 w 46"/>
                  <a:gd name="T9" fmla="*/ 3 h 79"/>
                  <a:gd name="T10" fmla="*/ 3 w 46"/>
                  <a:gd name="T11" fmla="*/ 0 h 79"/>
                  <a:gd name="T12" fmla="*/ 43 w 46"/>
                  <a:gd name="T13" fmla="*/ 0 h 79"/>
                  <a:gd name="T14" fmla="*/ 46 w 46"/>
                  <a:gd name="T15" fmla="*/ 3 h 79"/>
                  <a:gd name="T16" fmla="*/ 46 w 46"/>
                  <a:gd name="T17" fmla="*/ 7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6" h="79">
                    <a:moveTo>
                      <a:pt x="46" y="76"/>
                    </a:moveTo>
                    <a:cubicBezTo>
                      <a:pt x="46" y="77"/>
                      <a:pt x="44" y="79"/>
                      <a:pt x="43" y="79"/>
                    </a:cubicBezTo>
                    <a:cubicBezTo>
                      <a:pt x="3" y="79"/>
                      <a:pt x="3" y="79"/>
                      <a:pt x="3" y="79"/>
                    </a:cubicBezTo>
                    <a:cubicBezTo>
                      <a:pt x="1" y="79"/>
                      <a:pt x="0" y="77"/>
                      <a:pt x="0" y="76"/>
                    </a:cubicBezTo>
                    <a:cubicBezTo>
                      <a:pt x="0" y="3"/>
                      <a:pt x="0" y="3"/>
                      <a:pt x="0" y="3"/>
                    </a:cubicBezTo>
                    <a:cubicBezTo>
                      <a:pt x="0" y="2"/>
                      <a:pt x="1" y="0"/>
                      <a:pt x="3" y="0"/>
                    </a:cubicBezTo>
                    <a:cubicBezTo>
                      <a:pt x="43" y="0"/>
                      <a:pt x="43" y="0"/>
                      <a:pt x="43" y="0"/>
                    </a:cubicBezTo>
                    <a:cubicBezTo>
                      <a:pt x="44" y="0"/>
                      <a:pt x="46" y="2"/>
                      <a:pt x="46" y="3"/>
                    </a:cubicBezTo>
                    <a:lnTo>
                      <a:pt x="46" y="76"/>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81" name="Rectangle 251"/>
              <p:cNvSpPr>
                <a:spLocks noChangeArrowheads="1"/>
              </p:cNvSpPr>
              <p:nvPr/>
            </p:nvSpPr>
            <p:spPr bwMode="auto">
              <a:xfrm>
                <a:off x="4989076" y="3376467"/>
                <a:ext cx="240525" cy="385407"/>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82" name="Rectangle 252"/>
              <p:cNvSpPr>
                <a:spLocks noChangeArrowheads="1"/>
              </p:cNvSpPr>
              <p:nvPr/>
            </p:nvSpPr>
            <p:spPr bwMode="auto">
              <a:xfrm>
                <a:off x="5017373" y="3422349"/>
                <a:ext cx="183930" cy="188117"/>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83" name="Rectangle 253"/>
              <p:cNvSpPr>
                <a:spLocks noChangeArrowheads="1"/>
              </p:cNvSpPr>
              <p:nvPr/>
            </p:nvSpPr>
            <p:spPr bwMode="auto">
              <a:xfrm>
                <a:off x="5017373" y="3619642"/>
                <a:ext cx="51877" cy="50471"/>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84" name="Rectangle 254"/>
              <p:cNvSpPr>
                <a:spLocks noChangeArrowheads="1"/>
              </p:cNvSpPr>
              <p:nvPr/>
            </p:nvSpPr>
            <p:spPr bwMode="auto">
              <a:xfrm>
                <a:off x="5078682" y="3619642"/>
                <a:ext cx="61309" cy="50471"/>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85" name="Rectangle 255"/>
              <p:cNvSpPr>
                <a:spLocks noChangeArrowheads="1"/>
              </p:cNvSpPr>
              <p:nvPr/>
            </p:nvSpPr>
            <p:spPr bwMode="auto">
              <a:xfrm>
                <a:off x="5149427" y="3619642"/>
                <a:ext cx="51877" cy="50471"/>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86" name="Rectangle 256"/>
              <p:cNvSpPr>
                <a:spLocks noChangeArrowheads="1"/>
              </p:cNvSpPr>
              <p:nvPr/>
            </p:nvSpPr>
            <p:spPr bwMode="auto">
              <a:xfrm>
                <a:off x="5017373" y="3683877"/>
                <a:ext cx="183930" cy="55058"/>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87" name="Freeform 257"/>
              <p:cNvSpPr>
                <a:spLocks/>
              </p:cNvSpPr>
              <p:nvPr/>
            </p:nvSpPr>
            <p:spPr bwMode="auto">
              <a:xfrm>
                <a:off x="4956061" y="3890343"/>
                <a:ext cx="297119" cy="490937"/>
              </a:xfrm>
              <a:custGeom>
                <a:avLst/>
                <a:gdLst>
                  <a:gd name="T0" fmla="*/ 46 w 46"/>
                  <a:gd name="T1" fmla="*/ 75 h 78"/>
                  <a:gd name="T2" fmla="*/ 43 w 46"/>
                  <a:gd name="T3" fmla="*/ 78 h 78"/>
                  <a:gd name="T4" fmla="*/ 3 w 46"/>
                  <a:gd name="T5" fmla="*/ 78 h 78"/>
                  <a:gd name="T6" fmla="*/ 0 w 46"/>
                  <a:gd name="T7" fmla="*/ 75 h 78"/>
                  <a:gd name="T8" fmla="*/ 0 w 46"/>
                  <a:gd name="T9" fmla="*/ 3 h 78"/>
                  <a:gd name="T10" fmla="*/ 3 w 46"/>
                  <a:gd name="T11" fmla="*/ 0 h 78"/>
                  <a:gd name="T12" fmla="*/ 43 w 46"/>
                  <a:gd name="T13" fmla="*/ 0 h 78"/>
                  <a:gd name="T14" fmla="*/ 46 w 46"/>
                  <a:gd name="T15" fmla="*/ 3 h 78"/>
                  <a:gd name="T16" fmla="*/ 46 w 46"/>
                  <a:gd name="T17" fmla="*/ 75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6" h="78">
                    <a:moveTo>
                      <a:pt x="46" y="75"/>
                    </a:moveTo>
                    <a:cubicBezTo>
                      <a:pt x="46" y="77"/>
                      <a:pt x="45" y="78"/>
                      <a:pt x="43" y="78"/>
                    </a:cubicBezTo>
                    <a:cubicBezTo>
                      <a:pt x="3" y="78"/>
                      <a:pt x="3" y="78"/>
                      <a:pt x="3" y="78"/>
                    </a:cubicBezTo>
                    <a:cubicBezTo>
                      <a:pt x="1" y="78"/>
                      <a:pt x="0" y="77"/>
                      <a:pt x="0" y="75"/>
                    </a:cubicBezTo>
                    <a:cubicBezTo>
                      <a:pt x="0" y="3"/>
                      <a:pt x="0" y="3"/>
                      <a:pt x="0" y="3"/>
                    </a:cubicBezTo>
                    <a:cubicBezTo>
                      <a:pt x="0" y="1"/>
                      <a:pt x="1" y="0"/>
                      <a:pt x="3" y="0"/>
                    </a:cubicBezTo>
                    <a:cubicBezTo>
                      <a:pt x="43" y="0"/>
                      <a:pt x="43" y="0"/>
                      <a:pt x="43" y="0"/>
                    </a:cubicBezTo>
                    <a:cubicBezTo>
                      <a:pt x="45" y="0"/>
                      <a:pt x="46" y="1"/>
                      <a:pt x="46" y="3"/>
                    </a:cubicBezTo>
                    <a:lnTo>
                      <a:pt x="46" y="75"/>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88" name="Rectangle 258"/>
              <p:cNvSpPr>
                <a:spLocks noChangeArrowheads="1"/>
              </p:cNvSpPr>
              <p:nvPr/>
            </p:nvSpPr>
            <p:spPr bwMode="auto">
              <a:xfrm>
                <a:off x="4989076" y="3917873"/>
                <a:ext cx="240525" cy="389997"/>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89" name="Rectangle 259"/>
              <p:cNvSpPr>
                <a:spLocks noChangeArrowheads="1"/>
              </p:cNvSpPr>
              <p:nvPr/>
            </p:nvSpPr>
            <p:spPr bwMode="auto">
              <a:xfrm>
                <a:off x="5007941" y="3963754"/>
                <a:ext cx="193363" cy="188117"/>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90" name="Rectangle 260"/>
              <p:cNvSpPr>
                <a:spLocks noChangeArrowheads="1"/>
              </p:cNvSpPr>
              <p:nvPr/>
            </p:nvSpPr>
            <p:spPr bwMode="auto">
              <a:xfrm>
                <a:off x="5007941" y="4161048"/>
                <a:ext cx="61309" cy="59648"/>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91" name="Rectangle 261"/>
              <p:cNvSpPr>
                <a:spLocks noChangeArrowheads="1"/>
              </p:cNvSpPr>
              <p:nvPr/>
            </p:nvSpPr>
            <p:spPr bwMode="auto">
              <a:xfrm>
                <a:off x="5078682" y="4161048"/>
                <a:ext cx="51877" cy="59648"/>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92" name="Rectangle 262"/>
              <p:cNvSpPr>
                <a:spLocks noChangeArrowheads="1"/>
              </p:cNvSpPr>
              <p:nvPr/>
            </p:nvSpPr>
            <p:spPr bwMode="auto">
              <a:xfrm>
                <a:off x="5144709" y="4161048"/>
                <a:ext cx="56594" cy="59648"/>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93" name="Rectangle 263"/>
              <p:cNvSpPr>
                <a:spLocks noChangeArrowheads="1"/>
              </p:cNvSpPr>
              <p:nvPr/>
            </p:nvSpPr>
            <p:spPr bwMode="auto">
              <a:xfrm>
                <a:off x="5007941" y="4234458"/>
                <a:ext cx="193363" cy="50471"/>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grpSp>
        <p:nvGrpSpPr>
          <p:cNvPr id="892" name="Group 891"/>
          <p:cNvGrpSpPr/>
          <p:nvPr/>
        </p:nvGrpSpPr>
        <p:grpSpPr>
          <a:xfrm>
            <a:off x="1" y="2068790"/>
            <a:ext cx="11757022" cy="548640"/>
            <a:chOff x="1" y="1843753"/>
            <a:chExt cx="11757022" cy="548640"/>
          </a:xfrm>
        </p:grpSpPr>
        <p:sp>
          <p:nvSpPr>
            <p:cNvPr id="6" name="Rectangle 5"/>
            <p:cNvSpPr/>
            <p:nvPr/>
          </p:nvSpPr>
          <p:spPr bwMode="auto">
            <a:xfrm>
              <a:off x="1" y="1843753"/>
              <a:ext cx="3248024" cy="54864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48640" tIns="45720" rIns="91440" bIns="45720" numCol="1" spcCol="0" rtlCol="0" fromWordArt="0" anchor="ctr" anchorCtr="0" forceAA="0" compatLnSpc="1">
              <a:prstTxWarp prst="textNoShape">
                <a:avLst/>
              </a:prstTxWarp>
              <a:noAutofit/>
            </a:bodyPr>
            <a:lstStyle/>
            <a:p>
              <a:pPr defTabSz="932472" fontAlgn="base"/>
              <a:r>
                <a:rPr lang="en-US" sz="1600" dirty="0">
                  <a:solidFill>
                    <a:schemeClr val="bg1"/>
                  </a:solidFill>
                  <a:latin typeface="Segoe UI Semibold" panose="020B0702040204020203" pitchFamily="34" charset="0"/>
                  <a:ea typeface="Segoe UI" pitchFamily="34" charset="0"/>
                  <a:cs typeface="Segoe UI Semibold" panose="020B0702040204020203" pitchFamily="34" charset="0"/>
                </a:rPr>
                <a:t>	Scalable</a:t>
              </a:r>
            </a:p>
          </p:txBody>
        </p:sp>
        <p:sp>
          <p:nvSpPr>
            <p:cNvPr id="15" name="Rectangle 14"/>
            <p:cNvSpPr/>
            <p:nvPr/>
          </p:nvSpPr>
          <p:spPr>
            <a:xfrm>
              <a:off x="3248024" y="1843753"/>
              <a:ext cx="8508999" cy="548640"/>
            </a:xfrm>
            <a:prstGeom prst="rect">
              <a:avLst/>
            </a:prstGeom>
            <a:solidFill>
              <a:schemeClr val="bg1">
                <a:lumMod val="95000"/>
              </a:schemeClr>
            </a:solidFill>
          </p:spPr>
          <p:txBody>
            <a:bodyPr wrap="square" lIns="91440" anchor="ctr">
              <a:noAutofit/>
            </a:bodyPr>
            <a:lstStyle/>
            <a:p>
              <a:r>
                <a:rPr lang="en-IN" sz="1400" dirty="0">
                  <a:solidFill>
                    <a:schemeClr val="tx2"/>
                  </a:solidFill>
                </a:rPr>
                <a:t> </a:t>
              </a:r>
              <a:r>
                <a:rPr lang="en-IN" sz="1400" dirty="0"/>
                <a:t>Must be highly scalable. When storing all data indefinitely, data volumes can quickly add up</a:t>
              </a:r>
              <a:endParaRPr lang="en-US" sz="1400" dirty="0"/>
            </a:p>
          </p:txBody>
        </p:sp>
        <p:grpSp>
          <p:nvGrpSpPr>
            <p:cNvPr id="794" name="Group 793"/>
            <p:cNvGrpSpPr/>
            <p:nvPr/>
          </p:nvGrpSpPr>
          <p:grpSpPr>
            <a:xfrm>
              <a:off x="695243" y="1919991"/>
              <a:ext cx="384078" cy="396164"/>
              <a:chOff x="-890587" y="2645131"/>
              <a:chExt cx="644525" cy="664807"/>
            </a:xfrm>
          </p:grpSpPr>
          <p:sp>
            <p:nvSpPr>
              <p:cNvPr id="795" name="Freeform 97"/>
              <p:cNvSpPr>
                <a:spLocks/>
              </p:cNvSpPr>
              <p:nvPr/>
            </p:nvSpPr>
            <p:spPr bwMode="auto">
              <a:xfrm>
                <a:off x="-609600" y="3106738"/>
                <a:ext cx="4763" cy="30163"/>
              </a:xfrm>
              <a:custGeom>
                <a:avLst/>
                <a:gdLst>
                  <a:gd name="T0" fmla="*/ 0 w 2"/>
                  <a:gd name="T1" fmla="*/ 0 h 14"/>
                  <a:gd name="T2" fmla="*/ 2 w 2"/>
                  <a:gd name="T3" fmla="*/ 14 h 14"/>
                  <a:gd name="T4" fmla="*/ 2 w 2"/>
                  <a:gd name="T5" fmla="*/ 3 h 14"/>
                  <a:gd name="T6" fmla="*/ 0 w 2"/>
                  <a:gd name="T7" fmla="*/ 0 h 14"/>
                </a:gdLst>
                <a:ahLst/>
                <a:cxnLst>
                  <a:cxn ang="0">
                    <a:pos x="T0" y="T1"/>
                  </a:cxn>
                  <a:cxn ang="0">
                    <a:pos x="T2" y="T3"/>
                  </a:cxn>
                  <a:cxn ang="0">
                    <a:pos x="T4" y="T5"/>
                  </a:cxn>
                  <a:cxn ang="0">
                    <a:pos x="T6" y="T7"/>
                  </a:cxn>
                </a:cxnLst>
                <a:rect l="0" t="0" r="r" b="b"/>
                <a:pathLst>
                  <a:path w="2" h="14">
                    <a:moveTo>
                      <a:pt x="0" y="0"/>
                    </a:moveTo>
                    <a:cubicBezTo>
                      <a:pt x="0" y="5"/>
                      <a:pt x="1" y="10"/>
                      <a:pt x="2" y="14"/>
                    </a:cubicBezTo>
                    <a:cubicBezTo>
                      <a:pt x="2" y="10"/>
                      <a:pt x="2" y="6"/>
                      <a:pt x="2" y="3"/>
                    </a:cubicBezTo>
                    <a:cubicBezTo>
                      <a:pt x="2" y="1"/>
                      <a:pt x="1" y="0"/>
                      <a:pt x="0" y="0"/>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96" name="Freeform 98"/>
              <p:cNvSpPr>
                <a:spLocks/>
              </p:cNvSpPr>
              <p:nvPr/>
            </p:nvSpPr>
            <p:spPr bwMode="auto">
              <a:xfrm>
                <a:off x="-433387" y="3101975"/>
                <a:ext cx="39688" cy="84138"/>
              </a:xfrm>
              <a:custGeom>
                <a:avLst/>
                <a:gdLst>
                  <a:gd name="T0" fmla="*/ 6 w 18"/>
                  <a:gd name="T1" fmla="*/ 0 h 38"/>
                  <a:gd name="T2" fmla="*/ 0 w 18"/>
                  <a:gd name="T3" fmla="*/ 2 h 38"/>
                  <a:gd name="T4" fmla="*/ 9 w 18"/>
                  <a:gd name="T5" fmla="*/ 31 h 38"/>
                  <a:gd name="T6" fmla="*/ 15 w 18"/>
                  <a:gd name="T7" fmla="*/ 38 h 38"/>
                  <a:gd name="T8" fmla="*/ 18 w 18"/>
                  <a:gd name="T9" fmla="*/ 38 h 38"/>
                  <a:gd name="T10" fmla="*/ 18 w 18"/>
                  <a:gd name="T11" fmla="*/ 29 h 38"/>
                  <a:gd name="T12" fmla="*/ 6 w 18"/>
                  <a:gd name="T13" fmla="*/ 0 h 38"/>
                </a:gdLst>
                <a:ahLst/>
                <a:cxnLst>
                  <a:cxn ang="0">
                    <a:pos x="T0" y="T1"/>
                  </a:cxn>
                  <a:cxn ang="0">
                    <a:pos x="T2" y="T3"/>
                  </a:cxn>
                  <a:cxn ang="0">
                    <a:pos x="T4" y="T5"/>
                  </a:cxn>
                  <a:cxn ang="0">
                    <a:pos x="T6" y="T7"/>
                  </a:cxn>
                  <a:cxn ang="0">
                    <a:pos x="T8" y="T9"/>
                  </a:cxn>
                  <a:cxn ang="0">
                    <a:pos x="T10" y="T11"/>
                  </a:cxn>
                  <a:cxn ang="0">
                    <a:pos x="T12" y="T13"/>
                  </a:cxn>
                </a:cxnLst>
                <a:rect l="0" t="0" r="r" b="b"/>
                <a:pathLst>
                  <a:path w="18" h="38">
                    <a:moveTo>
                      <a:pt x="6" y="0"/>
                    </a:moveTo>
                    <a:cubicBezTo>
                      <a:pt x="4" y="0"/>
                      <a:pt x="2" y="1"/>
                      <a:pt x="0" y="2"/>
                    </a:cubicBezTo>
                    <a:cubicBezTo>
                      <a:pt x="1" y="14"/>
                      <a:pt x="4" y="24"/>
                      <a:pt x="9" y="31"/>
                    </a:cubicBezTo>
                    <a:cubicBezTo>
                      <a:pt x="11" y="34"/>
                      <a:pt x="13" y="36"/>
                      <a:pt x="15" y="38"/>
                    </a:cubicBezTo>
                    <a:cubicBezTo>
                      <a:pt x="18" y="38"/>
                      <a:pt x="18" y="38"/>
                      <a:pt x="18" y="38"/>
                    </a:cubicBezTo>
                    <a:cubicBezTo>
                      <a:pt x="18" y="35"/>
                      <a:pt x="18" y="32"/>
                      <a:pt x="18" y="29"/>
                    </a:cubicBezTo>
                    <a:cubicBezTo>
                      <a:pt x="18" y="10"/>
                      <a:pt x="14" y="0"/>
                      <a:pt x="6" y="0"/>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97" name="Freeform 99"/>
              <p:cNvSpPr>
                <a:spLocks/>
              </p:cNvSpPr>
              <p:nvPr/>
            </p:nvSpPr>
            <p:spPr bwMode="auto">
              <a:xfrm>
                <a:off x="-604837" y="3113088"/>
                <a:ext cx="11113" cy="73025"/>
              </a:xfrm>
              <a:custGeom>
                <a:avLst/>
                <a:gdLst>
                  <a:gd name="T0" fmla="*/ 0 w 5"/>
                  <a:gd name="T1" fmla="*/ 0 h 33"/>
                  <a:gd name="T2" fmla="*/ 0 w 5"/>
                  <a:gd name="T3" fmla="*/ 11 h 33"/>
                  <a:gd name="T4" fmla="*/ 0 w 5"/>
                  <a:gd name="T5" fmla="*/ 14 h 33"/>
                  <a:gd name="T6" fmla="*/ 1 w 5"/>
                  <a:gd name="T7" fmla="*/ 33 h 33"/>
                  <a:gd name="T8" fmla="*/ 5 w 5"/>
                  <a:gd name="T9" fmla="*/ 33 h 33"/>
                  <a:gd name="T10" fmla="*/ 5 w 5"/>
                  <a:gd name="T11" fmla="*/ 24 h 33"/>
                  <a:gd name="T12" fmla="*/ 0 w 5"/>
                  <a:gd name="T13" fmla="*/ 0 h 33"/>
                </a:gdLst>
                <a:ahLst/>
                <a:cxnLst>
                  <a:cxn ang="0">
                    <a:pos x="T0" y="T1"/>
                  </a:cxn>
                  <a:cxn ang="0">
                    <a:pos x="T2" y="T3"/>
                  </a:cxn>
                  <a:cxn ang="0">
                    <a:pos x="T4" y="T5"/>
                  </a:cxn>
                  <a:cxn ang="0">
                    <a:pos x="T6" y="T7"/>
                  </a:cxn>
                  <a:cxn ang="0">
                    <a:pos x="T8" y="T9"/>
                  </a:cxn>
                  <a:cxn ang="0">
                    <a:pos x="T10" y="T11"/>
                  </a:cxn>
                  <a:cxn ang="0">
                    <a:pos x="T12" y="T13"/>
                  </a:cxn>
                </a:cxnLst>
                <a:rect l="0" t="0" r="r" b="b"/>
                <a:pathLst>
                  <a:path w="5" h="33">
                    <a:moveTo>
                      <a:pt x="0" y="0"/>
                    </a:moveTo>
                    <a:cubicBezTo>
                      <a:pt x="0" y="3"/>
                      <a:pt x="0" y="7"/>
                      <a:pt x="0" y="11"/>
                    </a:cubicBezTo>
                    <a:cubicBezTo>
                      <a:pt x="0" y="12"/>
                      <a:pt x="0" y="13"/>
                      <a:pt x="0" y="14"/>
                    </a:cubicBezTo>
                    <a:cubicBezTo>
                      <a:pt x="0" y="21"/>
                      <a:pt x="0" y="27"/>
                      <a:pt x="1" y="33"/>
                    </a:cubicBezTo>
                    <a:cubicBezTo>
                      <a:pt x="5" y="33"/>
                      <a:pt x="5" y="33"/>
                      <a:pt x="5" y="33"/>
                    </a:cubicBezTo>
                    <a:cubicBezTo>
                      <a:pt x="5" y="30"/>
                      <a:pt x="5" y="27"/>
                      <a:pt x="5" y="24"/>
                    </a:cubicBezTo>
                    <a:cubicBezTo>
                      <a:pt x="5" y="12"/>
                      <a:pt x="4" y="4"/>
                      <a:pt x="0" y="0"/>
                    </a:cubicBez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98" name="Freeform 100"/>
              <p:cNvSpPr>
                <a:spLocks/>
              </p:cNvSpPr>
              <p:nvPr/>
            </p:nvSpPr>
            <p:spPr bwMode="auto">
              <a:xfrm>
                <a:off x="-757237" y="3116263"/>
                <a:ext cx="31750" cy="69850"/>
              </a:xfrm>
              <a:custGeom>
                <a:avLst/>
                <a:gdLst>
                  <a:gd name="T0" fmla="*/ 15 w 15"/>
                  <a:gd name="T1" fmla="*/ 12 h 32"/>
                  <a:gd name="T2" fmla="*/ 15 w 15"/>
                  <a:gd name="T3" fmla="*/ 7 h 32"/>
                  <a:gd name="T4" fmla="*/ 15 w 15"/>
                  <a:gd name="T5" fmla="*/ 0 h 32"/>
                  <a:gd name="T6" fmla="*/ 9 w 15"/>
                  <a:gd name="T7" fmla="*/ 4 h 32"/>
                  <a:gd name="T8" fmla="*/ 1 w 15"/>
                  <a:gd name="T9" fmla="*/ 6 h 32"/>
                  <a:gd name="T10" fmla="*/ 1 w 15"/>
                  <a:gd name="T11" fmla="*/ 0 h 32"/>
                  <a:gd name="T12" fmla="*/ 0 w 15"/>
                  <a:gd name="T13" fmla="*/ 13 h 32"/>
                  <a:gd name="T14" fmla="*/ 2 w 15"/>
                  <a:gd name="T15" fmla="*/ 32 h 32"/>
                  <a:gd name="T16" fmla="*/ 15 w 15"/>
                  <a:gd name="T17" fmla="*/ 32 h 32"/>
                  <a:gd name="T18" fmla="*/ 15 w 15"/>
                  <a:gd name="T19" fmla="*/ 18 h 32"/>
                  <a:gd name="T20" fmla="*/ 15 w 15"/>
                  <a:gd name="T21" fmla="*/ 1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 h="32">
                    <a:moveTo>
                      <a:pt x="15" y="12"/>
                    </a:moveTo>
                    <a:cubicBezTo>
                      <a:pt x="15" y="10"/>
                      <a:pt x="15" y="8"/>
                      <a:pt x="15" y="7"/>
                    </a:cubicBezTo>
                    <a:cubicBezTo>
                      <a:pt x="15" y="0"/>
                      <a:pt x="15" y="0"/>
                      <a:pt x="15" y="0"/>
                    </a:cubicBezTo>
                    <a:cubicBezTo>
                      <a:pt x="13" y="1"/>
                      <a:pt x="11" y="2"/>
                      <a:pt x="9" y="4"/>
                    </a:cubicBezTo>
                    <a:cubicBezTo>
                      <a:pt x="6" y="5"/>
                      <a:pt x="4" y="5"/>
                      <a:pt x="1" y="6"/>
                    </a:cubicBezTo>
                    <a:cubicBezTo>
                      <a:pt x="1" y="0"/>
                      <a:pt x="1" y="0"/>
                      <a:pt x="1" y="0"/>
                    </a:cubicBezTo>
                    <a:cubicBezTo>
                      <a:pt x="0" y="4"/>
                      <a:pt x="0" y="9"/>
                      <a:pt x="0" y="13"/>
                    </a:cubicBezTo>
                    <a:cubicBezTo>
                      <a:pt x="0" y="20"/>
                      <a:pt x="1" y="26"/>
                      <a:pt x="2" y="32"/>
                    </a:cubicBezTo>
                    <a:cubicBezTo>
                      <a:pt x="15" y="32"/>
                      <a:pt x="15" y="32"/>
                      <a:pt x="15" y="32"/>
                    </a:cubicBezTo>
                    <a:cubicBezTo>
                      <a:pt x="15" y="18"/>
                      <a:pt x="15" y="18"/>
                      <a:pt x="15" y="18"/>
                    </a:cubicBezTo>
                    <a:cubicBezTo>
                      <a:pt x="15" y="16"/>
                      <a:pt x="15" y="14"/>
                      <a:pt x="15" y="12"/>
                    </a:cubicBez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99" name="Freeform 101"/>
              <p:cNvSpPr>
                <a:spLocks/>
              </p:cNvSpPr>
              <p:nvPr/>
            </p:nvSpPr>
            <p:spPr bwMode="auto">
              <a:xfrm>
                <a:off x="-698500" y="3065463"/>
                <a:ext cx="41275" cy="120650"/>
              </a:xfrm>
              <a:custGeom>
                <a:avLst/>
                <a:gdLst>
                  <a:gd name="T0" fmla="*/ 17 w 19"/>
                  <a:gd name="T1" fmla="*/ 18 h 55"/>
                  <a:gd name="T2" fmla="*/ 19 w 19"/>
                  <a:gd name="T3" fmla="*/ 15 h 55"/>
                  <a:gd name="T4" fmla="*/ 11 w 19"/>
                  <a:gd name="T5" fmla="*/ 0 h 55"/>
                  <a:gd name="T6" fmla="*/ 11 w 19"/>
                  <a:gd name="T7" fmla="*/ 10 h 55"/>
                  <a:gd name="T8" fmla="*/ 0 w 19"/>
                  <a:gd name="T9" fmla="*/ 47 h 55"/>
                  <a:gd name="T10" fmla="*/ 0 w 19"/>
                  <a:gd name="T11" fmla="*/ 55 h 55"/>
                  <a:gd name="T12" fmla="*/ 11 w 19"/>
                  <a:gd name="T13" fmla="*/ 55 h 55"/>
                  <a:gd name="T14" fmla="*/ 11 w 19"/>
                  <a:gd name="T15" fmla="*/ 47 h 55"/>
                  <a:gd name="T16" fmla="*/ 17 w 19"/>
                  <a:gd name="T17" fmla="*/ 18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55">
                    <a:moveTo>
                      <a:pt x="17" y="18"/>
                    </a:moveTo>
                    <a:cubicBezTo>
                      <a:pt x="18" y="17"/>
                      <a:pt x="19" y="16"/>
                      <a:pt x="19" y="15"/>
                    </a:cubicBezTo>
                    <a:cubicBezTo>
                      <a:pt x="18" y="8"/>
                      <a:pt x="15" y="3"/>
                      <a:pt x="11" y="0"/>
                    </a:cubicBezTo>
                    <a:cubicBezTo>
                      <a:pt x="11" y="3"/>
                      <a:pt x="11" y="6"/>
                      <a:pt x="11" y="10"/>
                    </a:cubicBezTo>
                    <a:cubicBezTo>
                      <a:pt x="11" y="30"/>
                      <a:pt x="7" y="42"/>
                      <a:pt x="0" y="47"/>
                    </a:cubicBezTo>
                    <a:cubicBezTo>
                      <a:pt x="0" y="55"/>
                      <a:pt x="0" y="55"/>
                      <a:pt x="0" y="55"/>
                    </a:cubicBezTo>
                    <a:cubicBezTo>
                      <a:pt x="11" y="55"/>
                      <a:pt x="11" y="55"/>
                      <a:pt x="11" y="55"/>
                    </a:cubicBezTo>
                    <a:cubicBezTo>
                      <a:pt x="11" y="52"/>
                      <a:pt x="11" y="50"/>
                      <a:pt x="11" y="47"/>
                    </a:cubicBezTo>
                    <a:cubicBezTo>
                      <a:pt x="11" y="34"/>
                      <a:pt x="13" y="24"/>
                      <a:pt x="17" y="18"/>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00" name="Freeform 102"/>
              <p:cNvSpPr>
                <a:spLocks/>
              </p:cNvSpPr>
              <p:nvPr/>
            </p:nvSpPr>
            <p:spPr bwMode="auto">
              <a:xfrm>
                <a:off x="-649287" y="3101975"/>
                <a:ext cx="28575" cy="84138"/>
              </a:xfrm>
              <a:custGeom>
                <a:avLst/>
                <a:gdLst>
                  <a:gd name="T0" fmla="*/ 0 w 13"/>
                  <a:gd name="T1" fmla="*/ 29 h 38"/>
                  <a:gd name="T2" fmla="*/ 0 w 13"/>
                  <a:gd name="T3" fmla="*/ 38 h 38"/>
                  <a:gd name="T4" fmla="*/ 11 w 13"/>
                  <a:gd name="T5" fmla="*/ 38 h 38"/>
                  <a:gd name="T6" fmla="*/ 13 w 13"/>
                  <a:gd name="T7" fmla="*/ 17 h 38"/>
                  <a:gd name="T8" fmla="*/ 12 w 13"/>
                  <a:gd name="T9" fmla="*/ 0 h 38"/>
                  <a:gd name="T10" fmla="*/ 0 w 13"/>
                  <a:gd name="T11" fmla="*/ 29 h 38"/>
                </a:gdLst>
                <a:ahLst/>
                <a:cxnLst>
                  <a:cxn ang="0">
                    <a:pos x="T0" y="T1"/>
                  </a:cxn>
                  <a:cxn ang="0">
                    <a:pos x="T2" y="T3"/>
                  </a:cxn>
                  <a:cxn ang="0">
                    <a:pos x="T4" y="T5"/>
                  </a:cxn>
                  <a:cxn ang="0">
                    <a:pos x="T6" y="T7"/>
                  </a:cxn>
                  <a:cxn ang="0">
                    <a:pos x="T8" y="T9"/>
                  </a:cxn>
                  <a:cxn ang="0">
                    <a:pos x="T10" y="T11"/>
                  </a:cxn>
                </a:cxnLst>
                <a:rect l="0" t="0" r="r" b="b"/>
                <a:pathLst>
                  <a:path w="13" h="38">
                    <a:moveTo>
                      <a:pt x="0" y="29"/>
                    </a:moveTo>
                    <a:cubicBezTo>
                      <a:pt x="0" y="32"/>
                      <a:pt x="0" y="35"/>
                      <a:pt x="0" y="38"/>
                    </a:cubicBezTo>
                    <a:cubicBezTo>
                      <a:pt x="11" y="38"/>
                      <a:pt x="11" y="38"/>
                      <a:pt x="11" y="38"/>
                    </a:cubicBezTo>
                    <a:cubicBezTo>
                      <a:pt x="12" y="32"/>
                      <a:pt x="13" y="25"/>
                      <a:pt x="13" y="17"/>
                    </a:cubicBezTo>
                    <a:cubicBezTo>
                      <a:pt x="13" y="11"/>
                      <a:pt x="13" y="5"/>
                      <a:pt x="12" y="0"/>
                    </a:cubicBezTo>
                    <a:cubicBezTo>
                      <a:pt x="4" y="1"/>
                      <a:pt x="0" y="10"/>
                      <a:pt x="0" y="29"/>
                    </a:cubicBez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01" name="Freeform 103"/>
              <p:cNvSpPr>
                <a:spLocks/>
              </p:cNvSpPr>
              <p:nvPr/>
            </p:nvSpPr>
            <p:spPr bwMode="auto">
              <a:xfrm>
                <a:off x="-611187" y="2970213"/>
                <a:ext cx="152400" cy="152400"/>
              </a:xfrm>
              <a:custGeom>
                <a:avLst/>
                <a:gdLst>
                  <a:gd name="T0" fmla="*/ 11 w 70"/>
                  <a:gd name="T1" fmla="*/ 43 h 70"/>
                  <a:gd name="T2" fmla="*/ 18 w 70"/>
                  <a:gd name="T3" fmla="*/ 35 h 70"/>
                  <a:gd name="T4" fmla="*/ 35 w 70"/>
                  <a:gd name="T5" fmla="*/ 13 h 70"/>
                  <a:gd name="T6" fmla="*/ 52 w 70"/>
                  <a:gd name="T7" fmla="*/ 35 h 70"/>
                  <a:gd name="T8" fmla="*/ 66 w 70"/>
                  <a:gd name="T9" fmla="*/ 70 h 70"/>
                  <a:gd name="T10" fmla="*/ 69 w 70"/>
                  <a:gd name="T11" fmla="*/ 62 h 70"/>
                  <a:gd name="T12" fmla="*/ 70 w 70"/>
                  <a:gd name="T13" fmla="*/ 52 h 70"/>
                  <a:gd name="T14" fmla="*/ 36 w 70"/>
                  <a:gd name="T15" fmla="*/ 0 h 70"/>
                  <a:gd name="T16" fmla="*/ 10 w 70"/>
                  <a:gd name="T17" fmla="*/ 14 h 70"/>
                  <a:gd name="T18" fmla="*/ 0 w 70"/>
                  <a:gd name="T19" fmla="*/ 52 h 70"/>
                  <a:gd name="T20" fmla="*/ 6 w 70"/>
                  <a:gd name="T21" fmla="*/ 54 h 70"/>
                  <a:gd name="T22" fmla="*/ 11 w 70"/>
                  <a:gd name="T23" fmla="*/ 43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0" h="70">
                    <a:moveTo>
                      <a:pt x="11" y="43"/>
                    </a:moveTo>
                    <a:cubicBezTo>
                      <a:pt x="13" y="40"/>
                      <a:pt x="16" y="37"/>
                      <a:pt x="18" y="35"/>
                    </a:cubicBezTo>
                    <a:cubicBezTo>
                      <a:pt x="21" y="21"/>
                      <a:pt x="26" y="13"/>
                      <a:pt x="35" y="13"/>
                    </a:cubicBezTo>
                    <a:cubicBezTo>
                      <a:pt x="44" y="13"/>
                      <a:pt x="49" y="21"/>
                      <a:pt x="52" y="35"/>
                    </a:cubicBezTo>
                    <a:cubicBezTo>
                      <a:pt x="60" y="41"/>
                      <a:pt x="65" y="53"/>
                      <a:pt x="66" y="70"/>
                    </a:cubicBezTo>
                    <a:cubicBezTo>
                      <a:pt x="67" y="67"/>
                      <a:pt x="68" y="64"/>
                      <a:pt x="69" y="62"/>
                    </a:cubicBezTo>
                    <a:cubicBezTo>
                      <a:pt x="70" y="59"/>
                      <a:pt x="70" y="56"/>
                      <a:pt x="70" y="52"/>
                    </a:cubicBezTo>
                    <a:cubicBezTo>
                      <a:pt x="70" y="18"/>
                      <a:pt x="59" y="0"/>
                      <a:pt x="36" y="0"/>
                    </a:cubicBezTo>
                    <a:cubicBezTo>
                      <a:pt x="25" y="0"/>
                      <a:pt x="16" y="5"/>
                      <a:pt x="10" y="14"/>
                    </a:cubicBezTo>
                    <a:cubicBezTo>
                      <a:pt x="4" y="23"/>
                      <a:pt x="1" y="36"/>
                      <a:pt x="0" y="52"/>
                    </a:cubicBezTo>
                    <a:cubicBezTo>
                      <a:pt x="2" y="53"/>
                      <a:pt x="4" y="53"/>
                      <a:pt x="6" y="54"/>
                    </a:cubicBezTo>
                    <a:cubicBezTo>
                      <a:pt x="7" y="50"/>
                      <a:pt x="9" y="46"/>
                      <a:pt x="11" y="43"/>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02" name="Freeform 104"/>
              <p:cNvSpPr>
                <a:spLocks/>
              </p:cNvSpPr>
              <p:nvPr/>
            </p:nvSpPr>
            <p:spPr bwMode="auto">
              <a:xfrm>
                <a:off x="-433387" y="2970213"/>
                <a:ext cx="150813" cy="215900"/>
              </a:xfrm>
              <a:custGeom>
                <a:avLst/>
                <a:gdLst>
                  <a:gd name="T0" fmla="*/ 36 w 69"/>
                  <a:gd name="T1" fmla="*/ 0 h 99"/>
                  <a:gd name="T2" fmla="*/ 9 w 69"/>
                  <a:gd name="T3" fmla="*/ 14 h 99"/>
                  <a:gd name="T4" fmla="*/ 0 w 69"/>
                  <a:gd name="T5" fmla="*/ 53 h 99"/>
                  <a:gd name="T6" fmla="*/ 6 w 69"/>
                  <a:gd name="T7" fmla="*/ 52 h 99"/>
                  <a:gd name="T8" fmla="*/ 17 w 69"/>
                  <a:gd name="T9" fmla="*/ 54 h 99"/>
                  <a:gd name="T10" fmla="*/ 17 w 69"/>
                  <a:gd name="T11" fmla="*/ 54 h 99"/>
                  <a:gd name="T12" fmla="*/ 35 w 69"/>
                  <a:gd name="T13" fmla="*/ 13 h 99"/>
                  <a:gd name="T14" fmla="*/ 53 w 69"/>
                  <a:gd name="T15" fmla="*/ 54 h 99"/>
                  <a:gd name="T16" fmla="*/ 35 w 69"/>
                  <a:gd name="T17" fmla="*/ 92 h 99"/>
                  <a:gd name="T18" fmla="*/ 30 w 69"/>
                  <a:gd name="T19" fmla="*/ 91 h 99"/>
                  <a:gd name="T20" fmla="*/ 30 w 69"/>
                  <a:gd name="T21" fmla="*/ 99 h 99"/>
                  <a:gd name="T22" fmla="*/ 53 w 69"/>
                  <a:gd name="T23" fmla="*/ 99 h 99"/>
                  <a:gd name="T24" fmla="*/ 60 w 69"/>
                  <a:gd name="T25" fmla="*/ 92 h 99"/>
                  <a:gd name="T26" fmla="*/ 69 w 69"/>
                  <a:gd name="T27" fmla="*/ 52 h 99"/>
                  <a:gd name="T28" fmla="*/ 36 w 69"/>
                  <a:gd name="T29" fmla="*/ 0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9" h="99">
                    <a:moveTo>
                      <a:pt x="36" y="0"/>
                    </a:moveTo>
                    <a:cubicBezTo>
                      <a:pt x="24" y="0"/>
                      <a:pt x="15" y="5"/>
                      <a:pt x="9" y="14"/>
                    </a:cubicBezTo>
                    <a:cubicBezTo>
                      <a:pt x="3" y="23"/>
                      <a:pt x="0" y="36"/>
                      <a:pt x="0" y="53"/>
                    </a:cubicBezTo>
                    <a:cubicBezTo>
                      <a:pt x="2" y="52"/>
                      <a:pt x="4" y="52"/>
                      <a:pt x="6" y="52"/>
                    </a:cubicBezTo>
                    <a:cubicBezTo>
                      <a:pt x="10" y="52"/>
                      <a:pt x="14" y="53"/>
                      <a:pt x="17" y="54"/>
                    </a:cubicBezTo>
                    <a:cubicBezTo>
                      <a:pt x="17" y="54"/>
                      <a:pt x="17" y="54"/>
                      <a:pt x="17" y="54"/>
                    </a:cubicBezTo>
                    <a:cubicBezTo>
                      <a:pt x="17" y="27"/>
                      <a:pt x="23" y="13"/>
                      <a:pt x="35" y="13"/>
                    </a:cubicBezTo>
                    <a:cubicBezTo>
                      <a:pt x="47" y="13"/>
                      <a:pt x="53" y="27"/>
                      <a:pt x="53" y="54"/>
                    </a:cubicBezTo>
                    <a:cubicBezTo>
                      <a:pt x="53" y="79"/>
                      <a:pt x="47" y="92"/>
                      <a:pt x="35" y="92"/>
                    </a:cubicBezTo>
                    <a:cubicBezTo>
                      <a:pt x="33" y="92"/>
                      <a:pt x="32" y="92"/>
                      <a:pt x="30" y="91"/>
                    </a:cubicBezTo>
                    <a:cubicBezTo>
                      <a:pt x="30" y="94"/>
                      <a:pt x="30" y="97"/>
                      <a:pt x="30" y="99"/>
                    </a:cubicBezTo>
                    <a:cubicBezTo>
                      <a:pt x="53" y="99"/>
                      <a:pt x="53" y="99"/>
                      <a:pt x="53" y="99"/>
                    </a:cubicBezTo>
                    <a:cubicBezTo>
                      <a:pt x="56" y="97"/>
                      <a:pt x="58" y="95"/>
                      <a:pt x="60" y="92"/>
                    </a:cubicBezTo>
                    <a:cubicBezTo>
                      <a:pt x="66" y="83"/>
                      <a:pt x="69" y="70"/>
                      <a:pt x="69" y="52"/>
                    </a:cubicBezTo>
                    <a:cubicBezTo>
                      <a:pt x="69" y="18"/>
                      <a:pt x="58" y="0"/>
                      <a:pt x="36" y="0"/>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03" name="Freeform 105"/>
              <p:cNvSpPr>
                <a:spLocks/>
              </p:cNvSpPr>
              <p:nvPr/>
            </p:nvSpPr>
            <p:spPr bwMode="auto">
              <a:xfrm>
                <a:off x="-784225" y="2970213"/>
                <a:ext cx="146050" cy="215900"/>
              </a:xfrm>
              <a:custGeom>
                <a:avLst/>
                <a:gdLst>
                  <a:gd name="T0" fmla="*/ 13 w 67"/>
                  <a:gd name="T1" fmla="*/ 67 h 99"/>
                  <a:gd name="T2" fmla="*/ 13 w 67"/>
                  <a:gd name="T3" fmla="*/ 64 h 99"/>
                  <a:gd name="T4" fmla="*/ 13 w 67"/>
                  <a:gd name="T5" fmla="*/ 63 h 99"/>
                  <a:gd name="T6" fmla="*/ 14 w 67"/>
                  <a:gd name="T7" fmla="*/ 57 h 99"/>
                  <a:gd name="T8" fmla="*/ 14 w 67"/>
                  <a:gd name="T9" fmla="*/ 54 h 99"/>
                  <a:gd name="T10" fmla="*/ 33 w 67"/>
                  <a:gd name="T11" fmla="*/ 13 h 99"/>
                  <a:gd name="T12" fmla="*/ 48 w 67"/>
                  <a:gd name="T13" fmla="*/ 31 h 99"/>
                  <a:gd name="T14" fmla="*/ 67 w 67"/>
                  <a:gd name="T15" fmla="*/ 41 h 99"/>
                  <a:gd name="T16" fmla="*/ 34 w 67"/>
                  <a:gd name="T17" fmla="*/ 0 h 99"/>
                  <a:gd name="T18" fmla="*/ 7 w 67"/>
                  <a:gd name="T19" fmla="*/ 14 h 99"/>
                  <a:gd name="T20" fmla="*/ 0 w 67"/>
                  <a:gd name="T21" fmla="*/ 32 h 99"/>
                  <a:gd name="T22" fmla="*/ 3 w 67"/>
                  <a:gd name="T23" fmla="*/ 32 h 99"/>
                  <a:gd name="T24" fmla="*/ 3 w 67"/>
                  <a:gd name="T25" fmla="*/ 87 h 99"/>
                  <a:gd name="T26" fmla="*/ 6 w 67"/>
                  <a:gd name="T27" fmla="*/ 92 h 99"/>
                  <a:gd name="T28" fmla="*/ 12 w 67"/>
                  <a:gd name="T29" fmla="*/ 99 h 99"/>
                  <a:gd name="T30" fmla="*/ 14 w 67"/>
                  <a:gd name="T31" fmla="*/ 99 h 99"/>
                  <a:gd name="T32" fmla="*/ 12 w 67"/>
                  <a:gd name="T33" fmla="*/ 80 h 99"/>
                  <a:gd name="T34" fmla="*/ 13 w 67"/>
                  <a:gd name="T35" fmla="*/ 67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7" h="99">
                    <a:moveTo>
                      <a:pt x="13" y="67"/>
                    </a:moveTo>
                    <a:cubicBezTo>
                      <a:pt x="13" y="64"/>
                      <a:pt x="13" y="64"/>
                      <a:pt x="13" y="64"/>
                    </a:cubicBezTo>
                    <a:cubicBezTo>
                      <a:pt x="13" y="63"/>
                      <a:pt x="13" y="63"/>
                      <a:pt x="13" y="63"/>
                    </a:cubicBezTo>
                    <a:cubicBezTo>
                      <a:pt x="13" y="61"/>
                      <a:pt x="14" y="59"/>
                      <a:pt x="14" y="57"/>
                    </a:cubicBezTo>
                    <a:cubicBezTo>
                      <a:pt x="14" y="56"/>
                      <a:pt x="14" y="55"/>
                      <a:pt x="14" y="54"/>
                    </a:cubicBezTo>
                    <a:cubicBezTo>
                      <a:pt x="14" y="27"/>
                      <a:pt x="20" y="13"/>
                      <a:pt x="33" y="13"/>
                    </a:cubicBezTo>
                    <a:cubicBezTo>
                      <a:pt x="40" y="13"/>
                      <a:pt x="45" y="19"/>
                      <a:pt x="48" y="31"/>
                    </a:cubicBezTo>
                    <a:cubicBezTo>
                      <a:pt x="56" y="31"/>
                      <a:pt x="62" y="35"/>
                      <a:pt x="67" y="41"/>
                    </a:cubicBezTo>
                    <a:cubicBezTo>
                      <a:pt x="64" y="14"/>
                      <a:pt x="53" y="0"/>
                      <a:pt x="34" y="0"/>
                    </a:cubicBezTo>
                    <a:cubicBezTo>
                      <a:pt x="22" y="0"/>
                      <a:pt x="13" y="5"/>
                      <a:pt x="7" y="14"/>
                    </a:cubicBezTo>
                    <a:cubicBezTo>
                      <a:pt x="4" y="19"/>
                      <a:pt x="1" y="25"/>
                      <a:pt x="0" y="32"/>
                    </a:cubicBezTo>
                    <a:cubicBezTo>
                      <a:pt x="3" y="32"/>
                      <a:pt x="3" y="32"/>
                      <a:pt x="3" y="32"/>
                    </a:cubicBezTo>
                    <a:cubicBezTo>
                      <a:pt x="3" y="87"/>
                      <a:pt x="3" y="87"/>
                      <a:pt x="3" y="87"/>
                    </a:cubicBezTo>
                    <a:cubicBezTo>
                      <a:pt x="4" y="89"/>
                      <a:pt x="5" y="91"/>
                      <a:pt x="6" y="92"/>
                    </a:cubicBezTo>
                    <a:cubicBezTo>
                      <a:pt x="8" y="95"/>
                      <a:pt x="10" y="97"/>
                      <a:pt x="12" y="99"/>
                    </a:cubicBezTo>
                    <a:cubicBezTo>
                      <a:pt x="14" y="99"/>
                      <a:pt x="14" y="99"/>
                      <a:pt x="14" y="99"/>
                    </a:cubicBezTo>
                    <a:cubicBezTo>
                      <a:pt x="13" y="93"/>
                      <a:pt x="12" y="87"/>
                      <a:pt x="12" y="80"/>
                    </a:cubicBezTo>
                    <a:cubicBezTo>
                      <a:pt x="12" y="76"/>
                      <a:pt x="12" y="71"/>
                      <a:pt x="13" y="67"/>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04" name="Freeform 106"/>
              <p:cNvSpPr>
                <a:spLocks/>
              </p:cNvSpPr>
              <p:nvPr/>
            </p:nvSpPr>
            <p:spPr bwMode="auto">
              <a:xfrm>
                <a:off x="-847725" y="3040063"/>
                <a:ext cx="69850" cy="146050"/>
              </a:xfrm>
              <a:custGeom>
                <a:avLst/>
                <a:gdLst>
                  <a:gd name="T0" fmla="*/ 29 w 32"/>
                  <a:gd name="T1" fmla="*/ 0 h 67"/>
                  <a:gd name="T2" fmla="*/ 27 w 32"/>
                  <a:gd name="T3" fmla="*/ 0 h 67"/>
                  <a:gd name="T4" fmla="*/ 20 w 32"/>
                  <a:gd name="T5" fmla="*/ 4 h 67"/>
                  <a:gd name="T6" fmla="*/ 13 w 32"/>
                  <a:gd name="T7" fmla="*/ 7 h 67"/>
                  <a:gd name="T8" fmla="*/ 7 w 32"/>
                  <a:gd name="T9" fmla="*/ 10 h 67"/>
                  <a:gd name="T10" fmla="*/ 0 w 32"/>
                  <a:gd name="T11" fmla="*/ 13 h 67"/>
                  <a:gd name="T12" fmla="*/ 0 w 32"/>
                  <a:gd name="T13" fmla="*/ 25 h 67"/>
                  <a:gd name="T14" fmla="*/ 10 w 32"/>
                  <a:gd name="T15" fmla="*/ 21 h 67"/>
                  <a:gd name="T16" fmla="*/ 18 w 32"/>
                  <a:gd name="T17" fmla="*/ 17 h 67"/>
                  <a:gd name="T18" fmla="*/ 18 w 32"/>
                  <a:gd name="T19" fmla="*/ 67 h 67"/>
                  <a:gd name="T20" fmla="*/ 32 w 32"/>
                  <a:gd name="T21" fmla="*/ 67 h 67"/>
                  <a:gd name="T22" fmla="*/ 32 w 32"/>
                  <a:gd name="T23" fmla="*/ 55 h 67"/>
                  <a:gd name="T24" fmla="*/ 32 w 32"/>
                  <a:gd name="T25" fmla="*/ 0 h 67"/>
                  <a:gd name="T26" fmla="*/ 29 w 32"/>
                  <a:gd name="T27" fmla="*/ 0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2" h="67">
                    <a:moveTo>
                      <a:pt x="29" y="0"/>
                    </a:moveTo>
                    <a:cubicBezTo>
                      <a:pt x="27" y="0"/>
                      <a:pt x="27" y="0"/>
                      <a:pt x="27" y="0"/>
                    </a:cubicBezTo>
                    <a:cubicBezTo>
                      <a:pt x="24" y="1"/>
                      <a:pt x="22" y="3"/>
                      <a:pt x="20" y="4"/>
                    </a:cubicBezTo>
                    <a:cubicBezTo>
                      <a:pt x="18" y="5"/>
                      <a:pt x="16" y="6"/>
                      <a:pt x="13" y="7"/>
                    </a:cubicBezTo>
                    <a:cubicBezTo>
                      <a:pt x="11" y="9"/>
                      <a:pt x="9" y="9"/>
                      <a:pt x="7" y="10"/>
                    </a:cubicBezTo>
                    <a:cubicBezTo>
                      <a:pt x="5" y="11"/>
                      <a:pt x="2" y="12"/>
                      <a:pt x="0" y="13"/>
                    </a:cubicBezTo>
                    <a:cubicBezTo>
                      <a:pt x="0" y="25"/>
                      <a:pt x="0" y="25"/>
                      <a:pt x="0" y="25"/>
                    </a:cubicBezTo>
                    <a:cubicBezTo>
                      <a:pt x="4" y="24"/>
                      <a:pt x="7" y="23"/>
                      <a:pt x="10" y="21"/>
                    </a:cubicBezTo>
                    <a:cubicBezTo>
                      <a:pt x="13" y="20"/>
                      <a:pt x="16" y="19"/>
                      <a:pt x="18" y="17"/>
                    </a:cubicBezTo>
                    <a:cubicBezTo>
                      <a:pt x="18" y="67"/>
                      <a:pt x="18" y="67"/>
                      <a:pt x="18" y="67"/>
                    </a:cubicBezTo>
                    <a:cubicBezTo>
                      <a:pt x="32" y="67"/>
                      <a:pt x="32" y="67"/>
                      <a:pt x="32" y="67"/>
                    </a:cubicBezTo>
                    <a:cubicBezTo>
                      <a:pt x="32" y="55"/>
                      <a:pt x="32" y="55"/>
                      <a:pt x="32" y="55"/>
                    </a:cubicBezTo>
                    <a:cubicBezTo>
                      <a:pt x="32" y="0"/>
                      <a:pt x="32" y="0"/>
                      <a:pt x="32" y="0"/>
                    </a:cubicBezTo>
                    <a:lnTo>
                      <a:pt x="29" y="0"/>
                    </a:ln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05" name="Freeform 107"/>
              <p:cNvSpPr>
                <a:spLocks/>
              </p:cNvSpPr>
              <p:nvPr/>
            </p:nvSpPr>
            <p:spPr bwMode="auto">
              <a:xfrm>
                <a:off x="-755650" y="3035300"/>
                <a:ext cx="128588" cy="71438"/>
              </a:xfrm>
              <a:custGeom>
                <a:avLst/>
                <a:gdLst>
                  <a:gd name="T0" fmla="*/ 35 w 59"/>
                  <a:gd name="T1" fmla="*/ 1 h 33"/>
                  <a:gd name="T2" fmla="*/ 32 w 59"/>
                  <a:gd name="T3" fmla="*/ 0 h 33"/>
                  <a:gd name="T4" fmla="*/ 7 w 59"/>
                  <a:gd name="T5" fmla="*/ 13 h 33"/>
                  <a:gd name="T6" fmla="*/ 1 w 59"/>
                  <a:gd name="T7" fmla="*/ 27 h 33"/>
                  <a:gd name="T8" fmla="*/ 0 w 59"/>
                  <a:gd name="T9" fmla="*/ 33 h 33"/>
                  <a:gd name="T10" fmla="*/ 5 w 59"/>
                  <a:gd name="T11" fmla="*/ 32 h 33"/>
                  <a:gd name="T12" fmla="*/ 10 w 59"/>
                  <a:gd name="T13" fmla="*/ 29 h 33"/>
                  <a:gd name="T14" fmla="*/ 15 w 59"/>
                  <a:gd name="T15" fmla="*/ 26 h 33"/>
                  <a:gd name="T16" fmla="*/ 17 w 59"/>
                  <a:gd name="T17" fmla="*/ 25 h 33"/>
                  <a:gd name="T18" fmla="*/ 31 w 59"/>
                  <a:gd name="T19" fmla="*/ 12 h 33"/>
                  <a:gd name="T20" fmla="*/ 37 w 59"/>
                  <a:gd name="T21" fmla="*/ 14 h 33"/>
                  <a:gd name="T22" fmla="*/ 45 w 59"/>
                  <a:gd name="T23" fmla="*/ 29 h 33"/>
                  <a:gd name="T24" fmla="*/ 59 w 59"/>
                  <a:gd name="T25" fmla="*/ 22 h 33"/>
                  <a:gd name="T26" fmla="*/ 54 w 59"/>
                  <a:gd name="T27" fmla="*/ 11 h 33"/>
                  <a:gd name="T28" fmla="*/ 35 w 59"/>
                  <a:gd name="T29" fmla="*/ 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9" h="33">
                    <a:moveTo>
                      <a:pt x="35" y="1"/>
                    </a:moveTo>
                    <a:cubicBezTo>
                      <a:pt x="34" y="0"/>
                      <a:pt x="33" y="0"/>
                      <a:pt x="32" y="0"/>
                    </a:cubicBezTo>
                    <a:cubicBezTo>
                      <a:pt x="21" y="0"/>
                      <a:pt x="13" y="5"/>
                      <a:pt x="7" y="13"/>
                    </a:cubicBezTo>
                    <a:cubicBezTo>
                      <a:pt x="5" y="17"/>
                      <a:pt x="3" y="22"/>
                      <a:pt x="1" y="27"/>
                    </a:cubicBezTo>
                    <a:cubicBezTo>
                      <a:pt x="1" y="29"/>
                      <a:pt x="0" y="31"/>
                      <a:pt x="0" y="33"/>
                    </a:cubicBezTo>
                    <a:cubicBezTo>
                      <a:pt x="2" y="33"/>
                      <a:pt x="3" y="32"/>
                      <a:pt x="5" y="32"/>
                    </a:cubicBezTo>
                    <a:cubicBezTo>
                      <a:pt x="7" y="31"/>
                      <a:pt x="9" y="30"/>
                      <a:pt x="10" y="29"/>
                    </a:cubicBezTo>
                    <a:cubicBezTo>
                      <a:pt x="12" y="28"/>
                      <a:pt x="14" y="27"/>
                      <a:pt x="15" y="26"/>
                    </a:cubicBezTo>
                    <a:cubicBezTo>
                      <a:pt x="16" y="26"/>
                      <a:pt x="17" y="26"/>
                      <a:pt x="17" y="25"/>
                    </a:cubicBezTo>
                    <a:cubicBezTo>
                      <a:pt x="20" y="17"/>
                      <a:pt x="24" y="12"/>
                      <a:pt x="31" y="12"/>
                    </a:cubicBezTo>
                    <a:cubicBezTo>
                      <a:pt x="33" y="12"/>
                      <a:pt x="35" y="13"/>
                      <a:pt x="37" y="14"/>
                    </a:cubicBezTo>
                    <a:cubicBezTo>
                      <a:pt x="41" y="17"/>
                      <a:pt x="44" y="22"/>
                      <a:pt x="45" y="29"/>
                    </a:cubicBezTo>
                    <a:cubicBezTo>
                      <a:pt x="49" y="25"/>
                      <a:pt x="53" y="23"/>
                      <a:pt x="59" y="22"/>
                    </a:cubicBezTo>
                    <a:cubicBezTo>
                      <a:pt x="58" y="18"/>
                      <a:pt x="56" y="14"/>
                      <a:pt x="54" y="11"/>
                    </a:cubicBezTo>
                    <a:cubicBezTo>
                      <a:pt x="49" y="5"/>
                      <a:pt x="43" y="1"/>
                      <a:pt x="35" y="1"/>
                    </a:cubicBez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06" name="Freeform 108"/>
              <p:cNvSpPr>
                <a:spLocks/>
              </p:cNvSpPr>
              <p:nvPr/>
            </p:nvSpPr>
            <p:spPr bwMode="auto">
              <a:xfrm>
                <a:off x="-598487" y="3035300"/>
                <a:ext cx="130175" cy="150813"/>
              </a:xfrm>
              <a:custGeom>
                <a:avLst/>
                <a:gdLst>
                  <a:gd name="T0" fmla="*/ 60 w 60"/>
                  <a:gd name="T1" fmla="*/ 40 h 69"/>
                  <a:gd name="T2" fmla="*/ 46 w 60"/>
                  <a:gd name="T3" fmla="*/ 5 h 69"/>
                  <a:gd name="T4" fmla="*/ 29 w 60"/>
                  <a:gd name="T5" fmla="*/ 0 h 69"/>
                  <a:gd name="T6" fmla="*/ 12 w 60"/>
                  <a:gd name="T7" fmla="*/ 5 h 69"/>
                  <a:gd name="T8" fmla="*/ 5 w 60"/>
                  <a:gd name="T9" fmla="*/ 13 h 69"/>
                  <a:gd name="T10" fmla="*/ 0 w 60"/>
                  <a:gd name="T11" fmla="*/ 24 h 69"/>
                  <a:gd name="T12" fmla="*/ 12 w 60"/>
                  <a:gd name="T13" fmla="*/ 41 h 69"/>
                  <a:gd name="T14" fmla="*/ 12 w 60"/>
                  <a:gd name="T15" fmla="*/ 40 h 69"/>
                  <a:gd name="T16" fmla="*/ 29 w 60"/>
                  <a:gd name="T17" fmla="*/ 12 h 69"/>
                  <a:gd name="T18" fmla="*/ 41 w 60"/>
                  <a:gd name="T19" fmla="*/ 23 h 69"/>
                  <a:gd name="T20" fmla="*/ 45 w 60"/>
                  <a:gd name="T21" fmla="*/ 23 h 69"/>
                  <a:gd name="T22" fmla="*/ 45 w 60"/>
                  <a:gd name="T23" fmla="*/ 69 h 69"/>
                  <a:gd name="T24" fmla="*/ 57 w 60"/>
                  <a:gd name="T25" fmla="*/ 69 h 69"/>
                  <a:gd name="T26" fmla="*/ 57 w 60"/>
                  <a:gd name="T27" fmla="*/ 61 h 69"/>
                  <a:gd name="T28" fmla="*/ 60 w 60"/>
                  <a:gd name="T29" fmla="*/ 40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0" h="69">
                    <a:moveTo>
                      <a:pt x="60" y="40"/>
                    </a:moveTo>
                    <a:cubicBezTo>
                      <a:pt x="59" y="23"/>
                      <a:pt x="54" y="11"/>
                      <a:pt x="46" y="5"/>
                    </a:cubicBezTo>
                    <a:cubicBezTo>
                      <a:pt x="41" y="2"/>
                      <a:pt x="36" y="0"/>
                      <a:pt x="29" y="0"/>
                    </a:cubicBezTo>
                    <a:cubicBezTo>
                      <a:pt x="23" y="0"/>
                      <a:pt x="17" y="2"/>
                      <a:pt x="12" y="5"/>
                    </a:cubicBezTo>
                    <a:cubicBezTo>
                      <a:pt x="10" y="7"/>
                      <a:pt x="7" y="10"/>
                      <a:pt x="5" y="13"/>
                    </a:cubicBezTo>
                    <a:cubicBezTo>
                      <a:pt x="3" y="16"/>
                      <a:pt x="1" y="20"/>
                      <a:pt x="0" y="24"/>
                    </a:cubicBezTo>
                    <a:cubicBezTo>
                      <a:pt x="6" y="27"/>
                      <a:pt x="10" y="32"/>
                      <a:pt x="12" y="41"/>
                    </a:cubicBezTo>
                    <a:cubicBezTo>
                      <a:pt x="12" y="41"/>
                      <a:pt x="12" y="41"/>
                      <a:pt x="12" y="40"/>
                    </a:cubicBezTo>
                    <a:cubicBezTo>
                      <a:pt x="13" y="22"/>
                      <a:pt x="19" y="12"/>
                      <a:pt x="29" y="12"/>
                    </a:cubicBezTo>
                    <a:cubicBezTo>
                      <a:pt x="34" y="12"/>
                      <a:pt x="38" y="16"/>
                      <a:pt x="41" y="23"/>
                    </a:cubicBezTo>
                    <a:cubicBezTo>
                      <a:pt x="45" y="23"/>
                      <a:pt x="45" y="23"/>
                      <a:pt x="45" y="23"/>
                    </a:cubicBezTo>
                    <a:cubicBezTo>
                      <a:pt x="45" y="69"/>
                      <a:pt x="45" y="69"/>
                      <a:pt x="45" y="69"/>
                    </a:cubicBezTo>
                    <a:cubicBezTo>
                      <a:pt x="57" y="69"/>
                      <a:pt x="57" y="69"/>
                      <a:pt x="57" y="69"/>
                    </a:cubicBezTo>
                    <a:cubicBezTo>
                      <a:pt x="57" y="66"/>
                      <a:pt x="57" y="64"/>
                      <a:pt x="57" y="61"/>
                    </a:cubicBezTo>
                    <a:cubicBezTo>
                      <a:pt x="57" y="53"/>
                      <a:pt x="58" y="46"/>
                      <a:pt x="60" y="40"/>
                    </a:cubicBez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07" name="Freeform 109"/>
              <p:cNvSpPr>
                <a:spLocks/>
              </p:cNvSpPr>
              <p:nvPr/>
            </p:nvSpPr>
            <p:spPr bwMode="auto">
              <a:xfrm>
                <a:off x="-755650" y="3084513"/>
                <a:ext cx="57150" cy="101600"/>
              </a:xfrm>
              <a:custGeom>
                <a:avLst/>
                <a:gdLst>
                  <a:gd name="T0" fmla="*/ 26 w 26"/>
                  <a:gd name="T1" fmla="*/ 0 h 46"/>
                  <a:gd name="T2" fmla="*/ 21 w 26"/>
                  <a:gd name="T3" fmla="*/ 0 h 46"/>
                  <a:gd name="T4" fmla="*/ 17 w 26"/>
                  <a:gd name="T5" fmla="*/ 2 h 46"/>
                  <a:gd name="T6" fmla="*/ 15 w 26"/>
                  <a:gd name="T7" fmla="*/ 3 h 46"/>
                  <a:gd name="T8" fmla="*/ 10 w 26"/>
                  <a:gd name="T9" fmla="*/ 6 h 46"/>
                  <a:gd name="T10" fmla="*/ 5 w 26"/>
                  <a:gd name="T11" fmla="*/ 9 h 46"/>
                  <a:gd name="T12" fmla="*/ 0 w 26"/>
                  <a:gd name="T13" fmla="*/ 10 h 46"/>
                  <a:gd name="T14" fmla="*/ 0 w 26"/>
                  <a:gd name="T15" fmla="*/ 11 h 46"/>
                  <a:gd name="T16" fmla="*/ 0 w 26"/>
                  <a:gd name="T17" fmla="*/ 14 h 46"/>
                  <a:gd name="T18" fmla="*/ 0 w 26"/>
                  <a:gd name="T19" fmla="*/ 20 h 46"/>
                  <a:gd name="T20" fmla="*/ 8 w 26"/>
                  <a:gd name="T21" fmla="*/ 18 h 46"/>
                  <a:gd name="T22" fmla="*/ 14 w 26"/>
                  <a:gd name="T23" fmla="*/ 14 h 46"/>
                  <a:gd name="T24" fmla="*/ 14 w 26"/>
                  <a:gd name="T25" fmla="*/ 21 h 46"/>
                  <a:gd name="T26" fmla="*/ 14 w 26"/>
                  <a:gd name="T27" fmla="*/ 32 h 46"/>
                  <a:gd name="T28" fmla="*/ 14 w 26"/>
                  <a:gd name="T29" fmla="*/ 46 h 46"/>
                  <a:gd name="T30" fmla="*/ 26 w 26"/>
                  <a:gd name="T31" fmla="*/ 46 h 46"/>
                  <a:gd name="T32" fmla="*/ 26 w 26"/>
                  <a:gd name="T33" fmla="*/ 38 h 46"/>
                  <a:gd name="T34" fmla="*/ 26 w 26"/>
                  <a:gd name="T35"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6" h="46">
                    <a:moveTo>
                      <a:pt x="26" y="0"/>
                    </a:moveTo>
                    <a:cubicBezTo>
                      <a:pt x="21" y="0"/>
                      <a:pt x="21" y="0"/>
                      <a:pt x="21" y="0"/>
                    </a:cubicBezTo>
                    <a:cubicBezTo>
                      <a:pt x="20" y="1"/>
                      <a:pt x="18" y="2"/>
                      <a:pt x="17" y="2"/>
                    </a:cubicBezTo>
                    <a:cubicBezTo>
                      <a:pt x="17" y="3"/>
                      <a:pt x="16" y="3"/>
                      <a:pt x="15" y="3"/>
                    </a:cubicBezTo>
                    <a:cubicBezTo>
                      <a:pt x="14" y="4"/>
                      <a:pt x="12" y="5"/>
                      <a:pt x="10" y="6"/>
                    </a:cubicBezTo>
                    <a:cubicBezTo>
                      <a:pt x="9" y="7"/>
                      <a:pt x="7" y="8"/>
                      <a:pt x="5" y="9"/>
                    </a:cubicBezTo>
                    <a:cubicBezTo>
                      <a:pt x="3" y="9"/>
                      <a:pt x="2" y="10"/>
                      <a:pt x="0" y="10"/>
                    </a:cubicBezTo>
                    <a:cubicBezTo>
                      <a:pt x="0" y="10"/>
                      <a:pt x="0" y="10"/>
                      <a:pt x="0" y="11"/>
                    </a:cubicBezTo>
                    <a:cubicBezTo>
                      <a:pt x="0" y="14"/>
                      <a:pt x="0" y="14"/>
                      <a:pt x="0" y="14"/>
                    </a:cubicBezTo>
                    <a:cubicBezTo>
                      <a:pt x="0" y="20"/>
                      <a:pt x="0" y="20"/>
                      <a:pt x="0" y="20"/>
                    </a:cubicBezTo>
                    <a:cubicBezTo>
                      <a:pt x="3" y="19"/>
                      <a:pt x="5" y="19"/>
                      <a:pt x="8" y="18"/>
                    </a:cubicBezTo>
                    <a:cubicBezTo>
                      <a:pt x="10" y="16"/>
                      <a:pt x="12" y="15"/>
                      <a:pt x="14" y="14"/>
                    </a:cubicBezTo>
                    <a:cubicBezTo>
                      <a:pt x="14" y="21"/>
                      <a:pt x="14" y="21"/>
                      <a:pt x="14" y="21"/>
                    </a:cubicBezTo>
                    <a:cubicBezTo>
                      <a:pt x="14" y="32"/>
                      <a:pt x="14" y="32"/>
                      <a:pt x="14" y="32"/>
                    </a:cubicBezTo>
                    <a:cubicBezTo>
                      <a:pt x="14" y="46"/>
                      <a:pt x="14" y="46"/>
                      <a:pt x="14" y="46"/>
                    </a:cubicBezTo>
                    <a:cubicBezTo>
                      <a:pt x="26" y="46"/>
                      <a:pt x="26" y="46"/>
                      <a:pt x="26" y="46"/>
                    </a:cubicBezTo>
                    <a:cubicBezTo>
                      <a:pt x="26" y="38"/>
                      <a:pt x="26" y="38"/>
                      <a:pt x="26" y="38"/>
                    </a:cubicBezTo>
                    <a:lnTo>
                      <a:pt x="26" y="0"/>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08" name="Freeform 110"/>
              <p:cNvSpPr>
                <a:spLocks/>
              </p:cNvSpPr>
              <p:nvPr/>
            </p:nvSpPr>
            <p:spPr bwMode="auto">
              <a:xfrm>
                <a:off x="-555625" y="3084513"/>
                <a:ext cx="57150" cy="101600"/>
              </a:xfrm>
              <a:custGeom>
                <a:avLst/>
                <a:gdLst>
                  <a:gd name="T0" fmla="*/ 26 w 26"/>
                  <a:gd name="T1" fmla="*/ 0 h 46"/>
                  <a:gd name="T2" fmla="*/ 21 w 26"/>
                  <a:gd name="T3" fmla="*/ 0 h 46"/>
                  <a:gd name="T4" fmla="*/ 17 w 26"/>
                  <a:gd name="T5" fmla="*/ 2 h 46"/>
                  <a:gd name="T6" fmla="*/ 16 w 26"/>
                  <a:gd name="T7" fmla="*/ 3 h 46"/>
                  <a:gd name="T8" fmla="*/ 10 w 26"/>
                  <a:gd name="T9" fmla="*/ 6 h 46"/>
                  <a:gd name="T10" fmla="*/ 5 w 26"/>
                  <a:gd name="T11" fmla="*/ 9 h 46"/>
                  <a:gd name="T12" fmla="*/ 0 w 26"/>
                  <a:gd name="T13" fmla="*/ 10 h 46"/>
                  <a:gd name="T14" fmla="*/ 0 w 26"/>
                  <a:gd name="T15" fmla="*/ 11 h 46"/>
                  <a:gd name="T16" fmla="*/ 0 w 26"/>
                  <a:gd name="T17" fmla="*/ 14 h 46"/>
                  <a:gd name="T18" fmla="*/ 0 w 26"/>
                  <a:gd name="T19" fmla="*/ 20 h 46"/>
                  <a:gd name="T20" fmla="*/ 8 w 26"/>
                  <a:gd name="T21" fmla="*/ 18 h 46"/>
                  <a:gd name="T22" fmla="*/ 14 w 26"/>
                  <a:gd name="T23" fmla="*/ 14 h 46"/>
                  <a:gd name="T24" fmla="*/ 14 w 26"/>
                  <a:gd name="T25" fmla="*/ 21 h 46"/>
                  <a:gd name="T26" fmla="*/ 14 w 26"/>
                  <a:gd name="T27" fmla="*/ 32 h 46"/>
                  <a:gd name="T28" fmla="*/ 14 w 26"/>
                  <a:gd name="T29" fmla="*/ 46 h 46"/>
                  <a:gd name="T30" fmla="*/ 26 w 26"/>
                  <a:gd name="T31" fmla="*/ 46 h 46"/>
                  <a:gd name="T32" fmla="*/ 26 w 26"/>
                  <a:gd name="T33" fmla="*/ 38 h 46"/>
                  <a:gd name="T34" fmla="*/ 26 w 26"/>
                  <a:gd name="T35"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6" h="46">
                    <a:moveTo>
                      <a:pt x="26" y="0"/>
                    </a:moveTo>
                    <a:cubicBezTo>
                      <a:pt x="21" y="0"/>
                      <a:pt x="21" y="0"/>
                      <a:pt x="21" y="0"/>
                    </a:cubicBezTo>
                    <a:cubicBezTo>
                      <a:pt x="20" y="1"/>
                      <a:pt x="18" y="2"/>
                      <a:pt x="17" y="2"/>
                    </a:cubicBezTo>
                    <a:cubicBezTo>
                      <a:pt x="17" y="3"/>
                      <a:pt x="16" y="3"/>
                      <a:pt x="16" y="3"/>
                    </a:cubicBezTo>
                    <a:cubicBezTo>
                      <a:pt x="14" y="4"/>
                      <a:pt x="12" y="5"/>
                      <a:pt x="10" y="6"/>
                    </a:cubicBezTo>
                    <a:cubicBezTo>
                      <a:pt x="9" y="7"/>
                      <a:pt x="7" y="8"/>
                      <a:pt x="5" y="9"/>
                    </a:cubicBezTo>
                    <a:cubicBezTo>
                      <a:pt x="3" y="9"/>
                      <a:pt x="2" y="10"/>
                      <a:pt x="0" y="10"/>
                    </a:cubicBezTo>
                    <a:cubicBezTo>
                      <a:pt x="0" y="10"/>
                      <a:pt x="0" y="10"/>
                      <a:pt x="0" y="11"/>
                    </a:cubicBezTo>
                    <a:cubicBezTo>
                      <a:pt x="0" y="14"/>
                      <a:pt x="0" y="14"/>
                      <a:pt x="0" y="14"/>
                    </a:cubicBezTo>
                    <a:cubicBezTo>
                      <a:pt x="0" y="20"/>
                      <a:pt x="0" y="20"/>
                      <a:pt x="0" y="20"/>
                    </a:cubicBezTo>
                    <a:cubicBezTo>
                      <a:pt x="3" y="19"/>
                      <a:pt x="5" y="19"/>
                      <a:pt x="8" y="18"/>
                    </a:cubicBezTo>
                    <a:cubicBezTo>
                      <a:pt x="10" y="16"/>
                      <a:pt x="12" y="15"/>
                      <a:pt x="14" y="14"/>
                    </a:cubicBezTo>
                    <a:cubicBezTo>
                      <a:pt x="14" y="21"/>
                      <a:pt x="14" y="21"/>
                      <a:pt x="14" y="21"/>
                    </a:cubicBezTo>
                    <a:cubicBezTo>
                      <a:pt x="14" y="32"/>
                      <a:pt x="14" y="32"/>
                      <a:pt x="14" y="32"/>
                    </a:cubicBezTo>
                    <a:cubicBezTo>
                      <a:pt x="14" y="46"/>
                      <a:pt x="14" y="46"/>
                      <a:pt x="14" y="46"/>
                    </a:cubicBezTo>
                    <a:cubicBezTo>
                      <a:pt x="26" y="46"/>
                      <a:pt x="26" y="46"/>
                      <a:pt x="26" y="46"/>
                    </a:cubicBezTo>
                    <a:cubicBezTo>
                      <a:pt x="26" y="38"/>
                      <a:pt x="26" y="38"/>
                      <a:pt x="26" y="38"/>
                    </a:cubicBezTo>
                    <a:lnTo>
                      <a:pt x="26" y="0"/>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09" name="Freeform 111"/>
              <p:cNvSpPr>
                <a:spLocks/>
              </p:cNvSpPr>
              <p:nvPr/>
            </p:nvSpPr>
            <p:spPr bwMode="auto">
              <a:xfrm>
                <a:off x="-474662" y="3082925"/>
                <a:ext cx="106363" cy="103188"/>
              </a:xfrm>
              <a:custGeom>
                <a:avLst/>
                <a:gdLst>
                  <a:gd name="T0" fmla="*/ 49 w 49"/>
                  <a:gd name="T1" fmla="*/ 37 h 47"/>
                  <a:gd name="T2" fmla="*/ 36 w 49"/>
                  <a:gd name="T3" fmla="*/ 2 h 47"/>
                  <a:gd name="T4" fmla="*/ 25 w 49"/>
                  <a:gd name="T5" fmla="*/ 0 h 47"/>
                  <a:gd name="T6" fmla="*/ 19 w 49"/>
                  <a:gd name="T7" fmla="*/ 1 h 47"/>
                  <a:gd name="T8" fmla="*/ 6 w 49"/>
                  <a:gd name="T9" fmla="*/ 10 h 47"/>
                  <a:gd name="T10" fmla="*/ 6 w 49"/>
                  <a:gd name="T11" fmla="*/ 10 h 47"/>
                  <a:gd name="T12" fmla="*/ 3 w 49"/>
                  <a:gd name="T13" fmla="*/ 18 h 47"/>
                  <a:gd name="T14" fmla="*/ 0 w 49"/>
                  <a:gd name="T15" fmla="*/ 39 h 47"/>
                  <a:gd name="T16" fmla="*/ 0 w 49"/>
                  <a:gd name="T17" fmla="*/ 47 h 47"/>
                  <a:gd name="T18" fmla="*/ 12 w 49"/>
                  <a:gd name="T19" fmla="*/ 47 h 47"/>
                  <a:gd name="T20" fmla="*/ 12 w 49"/>
                  <a:gd name="T21" fmla="*/ 38 h 47"/>
                  <a:gd name="T22" fmla="*/ 19 w 49"/>
                  <a:gd name="T23" fmla="*/ 11 h 47"/>
                  <a:gd name="T24" fmla="*/ 25 w 49"/>
                  <a:gd name="T25" fmla="*/ 9 h 47"/>
                  <a:gd name="T26" fmla="*/ 37 w 49"/>
                  <a:gd name="T27" fmla="*/ 38 h 47"/>
                  <a:gd name="T28" fmla="*/ 37 w 49"/>
                  <a:gd name="T29" fmla="*/ 47 h 47"/>
                  <a:gd name="T30" fmla="*/ 49 w 49"/>
                  <a:gd name="T31" fmla="*/ 47 h 47"/>
                  <a:gd name="T32" fmla="*/ 49 w 49"/>
                  <a:gd name="T33" fmla="*/ 39 h 47"/>
                  <a:gd name="T34" fmla="*/ 49 w 49"/>
                  <a:gd name="T35" fmla="*/ 37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9" h="47">
                    <a:moveTo>
                      <a:pt x="49" y="37"/>
                    </a:moveTo>
                    <a:cubicBezTo>
                      <a:pt x="49" y="18"/>
                      <a:pt x="45" y="7"/>
                      <a:pt x="36" y="2"/>
                    </a:cubicBezTo>
                    <a:cubicBezTo>
                      <a:pt x="33" y="1"/>
                      <a:pt x="29" y="0"/>
                      <a:pt x="25" y="0"/>
                    </a:cubicBezTo>
                    <a:cubicBezTo>
                      <a:pt x="23" y="0"/>
                      <a:pt x="21" y="0"/>
                      <a:pt x="19" y="1"/>
                    </a:cubicBezTo>
                    <a:cubicBezTo>
                      <a:pt x="14" y="2"/>
                      <a:pt x="10" y="5"/>
                      <a:pt x="6" y="10"/>
                    </a:cubicBezTo>
                    <a:cubicBezTo>
                      <a:pt x="6" y="10"/>
                      <a:pt x="6" y="10"/>
                      <a:pt x="6" y="10"/>
                    </a:cubicBezTo>
                    <a:cubicBezTo>
                      <a:pt x="5" y="12"/>
                      <a:pt x="4" y="15"/>
                      <a:pt x="3" y="18"/>
                    </a:cubicBezTo>
                    <a:cubicBezTo>
                      <a:pt x="1" y="24"/>
                      <a:pt x="0" y="31"/>
                      <a:pt x="0" y="39"/>
                    </a:cubicBezTo>
                    <a:cubicBezTo>
                      <a:pt x="0" y="42"/>
                      <a:pt x="0" y="44"/>
                      <a:pt x="0" y="47"/>
                    </a:cubicBezTo>
                    <a:cubicBezTo>
                      <a:pt x="12" y="47"/>
                      <a:pt x="12" y="47"/>
                      <a:pt x="12" y="47"/>
                    </a:cubicBezTo>
                    <a:cubicBezTo>
                      <a:pt x="12" y="44"/>
                      <a:pt x="12" y="41"/>
                      <a:pt x="12" y="38"/>
                    </a:cubicBezTo>
                    <a:cubicBezTo>
                      <a:pt x="12" y="24"/>
                      <a:pt x="14" y="15"/>
                      <a:pt x="19" y="11"/>
                    </a:cubicBezTo>
                    <a:cubicBezTo>
                      <a:pt x="21" y="10"/>
                      <a:pt x="23" y="9"/>
                      <a:pt x="25" y="9"/>
                    </a:cubicBezTo>
                    <a:cubicBezTo>
                      <a:pt x="33" y="9"/>
                      <a:pt x="37" y="19"/>
                      <a:pt x="37" y="38"/>
                    </a:cubicBezTo>
                    <a:cubicBezTo>
                      <a:pt x="37" y="41"/>
                      <a:pt x="37" y="44"/>
                      <a:pt x="37" y="47"/>
                    </a:cubicBezTo>
                    <a:cubicBezTo>
                      <a:pt x="49" y="47"/>
                      <a:pt x="49" y="47"/>
                      <a:pt x="49" y="47"/>
                    </a:cubicBezTo>
                    <a:cubicBezTo>
                      <a:pt x="49" y="45"/>
                      <a:pt x="49" y="42"/>
                      <a:pt x="49" y="39"/>
                    </a:cubicBezTo>
                    <a:cubicBezTo>
                      <a:pt x="49" y="39"/>
                      <a:pt x="49" y="38"/>
                      <a:pt x="49" y="37"/>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10" name="Freeform 112"/>
              <p:cNvSpPr>
                <a:spLocks/>
              </p:cNvSpPr>
              <p:nvPr/>
            </p:nvSpPr>
            <p:spPr bwMode="auto">
              <a:xfrm>
                <a:off x="-674687" y="3082925"/>
                <a:ext cx="106363" cy="103188"/>
              </a:xfrm>
              <a:custGeom>
                <a:avLst/>
                <a:gdLst>
                  <a:gd name="T0" fmla="*/ 49 w 49"/>
                  <a:gd name="T1" fmla="*/ 37 h 47"/>
                  <a:gd name="T2" fmla="*/ 36 w 49"/>
                  <a:gd name="T3" fmla="*/ 2 h 47"/>
                  <a:gd name="T4" fmla="*/ 25 w 49"/>
                  <a:gd name="T5" fmla="*/ 0 h 47"/>
                  <a:gd name="T6" fmla="*/ 19 w 49"/>
                  <a:gd name="T7" fmla="*/ 1 h 47"/>
                  <a:gd name="T8" fmla="*/ 6 w 49"/>
                  <a:gd name="T9" fmla="*/ 10 h 47"/>
                  <a:gd name="T10" fmla="*/ 6 w 49"/>
                  <a:gd name="T11" fmla="*/ 10 h 47"/>
                  <a:gd name="T12" fmla="*/ 2 w 49"/>
                  <a:gd name="T13" fmla="*/ 18 h 47"/>
                  <a:gd name="T14" fmla="*/ 0 w 49"/>
                  <a:gd name="T15" fmla="*/ 39 h 47"/>
                  <a:gd name="T16" fmla="*/ 0 w 49"/>
                  <a:gd name="T17" fmla="*/ 47 h 47"/>
                  <a:gd name="T18" fmla="*/ 12 w 49"/>
                  <a:gd name="T19" fmla="*/ 47 h 47"/>
                  <a:gd name="T20" fmla="*/ 12 w 49"/>
                  <a:gd name="T21" fmla="*/ 38 h 47"/>
                  <a:gd name="T22" fmla="*/ 19 w 49"/>
                  <a:gd name="T23" fmla="*/ 11 h 47"/>
                  <a:gd name="T24" fmla="*/ 25 w 49"/>
                  <a:gd name="T25" fmla="*/ 9 h 47"/>
                  <a:gd name="T26" fmla="*/ 37 w 49"/>
                  <a:gd name="T27" fmla="*/ 38 h 47"/>
                  <a:gd name="T28" fmla="*/ 37 w 49"/>
                  <a:gd name="T29" fmla="*/ 47 h 47"/>
                  <a:gd name="T30" fmla="*/ 48 w 49"/>
                  <a:gd name="T31" fmla="*/ 47 h 47"/>
                  <a:gd name="T32" fmla="*/ 49 w 49"/>
                  <a:gd name="T33" fmla="*/ 39 h 47"/>
                  <a:gd name="T34" fmla="*/ 49 w 49"/>
                  <a:gd name="T35" fmla="*/ 37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9" h="47">
                    <a:moveTo>
                      <a:pt x="49" y="37"/>
                    </a:moveTo>
                    <a:cubicBezTo>
                      <a:pt x="49" y="18"/>
                      <a:pt x="45" y="7"/>
                      <a:pt x="36" y="2"/>
                    </a:cubicBezTo>
                    <a:cubicBezTo>
                      <a:pt x="33" y="1"/>
                      <a:pt x="29" y="0"/>
                      <a:pt x="25" y="0"/>
                    </a:cubicBezTo>
                    <a:cubicBezTo>
                      <a:pt x="23" y="0"/>
                      <a:pt x="21" y="0"/>
                      <a:pt x="19" y="1"/>
                    </a:cubicBezTo>
                    <a:cubicBezTo>
                      <a:pt x="14" y="2"/>
                      <a:pt x="9" y="5"/>
                      <a:pt x="6" y="10"/>
                    </a:cubicBezTo>
                    <a:cubicBezTo>
                      <a:pt x="6" y="10"/>
                      <a:pt x="6" y="10"/>
                      <a:pt x="6" y="10"/>
                    </a:cubicBezTo>
                    <a:cubicBezTo>
                      <a:pt x="5" y="12"/>
                      <a:pt x="3" y="15"/>
                      <a:pt x="2" y="18"/>
                    </a:cubicBezTo>
                    <a:cubicBezTo>
                      <a:pt x="1" y="24"/>
                      <a:pt x="0" y="31"/>
                      <a:pt x="0" y="39"/>
                    </a:cubicBezTo>
                    <a:cubicBezTo>
                      <a:pt x="0" y="42"/>
                      <a:pt x="0" y="44"/>
                      <a:pt x="0" y="47"/>
                    </a:cubicBezTo>
                    <a:cubicBezTo>
                      <a:pt x="12" y="47"/>
                      <a:pt x="12" y="47"/>
                      <a:pt x="12" y="47"/>
                    </a:cubicBezTo>
                    <a:cubicBezTo>
                      <a:pt x="12" y="44"/>
                      <a:pt x="12" y="41"/>
                      <a:pt x="12" y="38"/>
                    </a:cubicBezTo>
                    <a:cubicBezTo>
                      <a:pt x="12" y="24"/>
                      <a:pt x="14" y="15"/>
                      <a:pt x="19" y="11"/>
                    </a:cubicBezTo>
                    <a:cubicBezTo>
                      <a:pt x="21" y="10"/>
                      <a:pt x="23" y="9"/>
                      <a:pt x="25" y="9"/>
                    </a:cubicBezTo>
                    <a:cubicBezTo>
                      <a:pt x="33" y="9"/>
                      <a:pt x="37" y="19"/>
                      <a:pt x="37" y="38"/>
                    </a:cubicBezTo>
                    <a:cubicBezTo>
                      <a:pt x="37" y="41"/>
                      <a:pt x="37" y="44"/>
                      <a:pt x="37" y="47"/>
                    </a:cubicBezTo>
                    <a:cubicBezTo>
                      <a:pt x="48" y="47"/>
                      <a:pt x="48" y="47"/>
                      <a:pt x="48" y="47"/>
                    </a:cubicBezTo>
                    <a:cubicBezTo>
                      <a:pt x="49" y="45"/>
                      <a:pt x="49" y="42"/>
                      <a:pt x="49" y="39"/>
                    </a:cubicBezTo>
                    <a:cubicBezTo>
                      <a:pt x="49" y="39"/>
                      <a:pt x="49" y="38"/>
                      <a:pt x="49" y="37"/>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11" name="Freeform 113"/>
              <p:cNvSpPr>
                <a:spLocks/>
              </p:cNvSpPr>
              <p:nvPr/>
            </p:nvSpPr>
            <p:spPr bwMode="auto">
              <a:xfrm>
                <a:off x="-889000" y="2645131"/>
                <a:ext cx="642938" cy="536219"/>
              </a:xfrm>
              <a:custGeom>
                <a:avLst/>
                <a:gdLst>
                  <a:gd name="T0" fmla="*/ 295 w 295"/>
                  <a:gd name="T1" fmla="*/ 290 h 290"/>
                  <a:gd name="T2" fmla="*/ 149 w 295"/>
                  <a:gd name="T3" fmla="*/ 0 h 290"/>
                  <a:gd name="T4" fmla="*/ 0 w 295"/>
                  <a:gd name="T5" fmla="*/ 290 h 290"/>
                </a:gdLst>
                <a:ahLst/>
                <a:cxnLst>
                  <a:cxn ang="0">
                    <a:pos x="T0" y="T1"/>
                  </a:cxn>
                  <a:cxn ang="0">
                    <a:pos x="T2" y="T3"/>
                  </a:cxn>
                  <a:cxn ang="0">
                    <a:pos x="T4" y="T5"/>
                  </a:cxn>
                </a:cxnLst>
                <a:rect l="0" t="0" r="r" b="b"/>
                <a:pathLst>
                  <a:path w="295" h="290">
                    <a:moveTo>
                      <a:pt x="295" y="290"/>
                    </a:moveTo>
                    <a:cubicBezTo>
                      <a:pt x="214" y="290"/>
                      <a:pt x="149" y="190"/>
                      <a:pt x="149" y="0"/>
                    </a:cubicBezTo>
                    <a:cubicBezTo>
                      <a:pt x="149" y="190"/>
                      <a:pt x="82" y="290"/>
                      <a:pt x="0" y="290"/>
                    </a:cubicBezTo>
                  </a:path>
                </a:pathLst>
              </a:custGeom>
              <a:noFill/>
              <a:ln w="12700" cap="flat">
                <a:solidFill>
                  <a:srgbClr val="96969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812" name="Freeform 114"/>
              <p:cNvSpPr>
                <a:spLocks/>
              </p:cNvSpPr>
              <p:nvPr/>
            </p:nvSpPr>
            <p:spPr bwMode="auto">
              <a:xfrm>
                <a:off x="-890587" y="3181350"/>
                <a:ext cx="644525" cy="128588"/>
              </a:xfrm>
              <a:custGeom>
                <a:avLst/>
                <a:gdLst>
                  <a:gd name="T0" fmla="*/ 261 w 296"/>
                  <a:gd name="T1" fmla="*/ 0 h 59"/>
                  <a:gd name="T2" fmla="*/ 227 w 296"/>
                  <a:gd name="T3" fmla="*/ 0 h 59"/>
                  <a:gd name="T4" fmla="*/ 70 w 296"/>
                  <a:gd name="T5" fmla="*/ 0 h 59"/>
                  <a:gd name="T6" fmla="*/ 35 w 296"/>
                  <a:gd name="T7" fmla="*/ 0 h 59"/>
                  <a:gd name="T8" fmla="*/ 0 w 296"/>
                  <a:gd name="T9" fmla="*/ 0 h 59"/>
                  <a:gd name="T10" fmla="*/ 35 w 296"/>
                  <a:gd name="T11" fmla="*/ 33 h 59"/>
                  <a:gd name="T12" fmla="*/ 56 w 296"/>
                  <a:gd name="T13" fmla="*/ 33 h 59"/>
                  <a:gd name="T14" fmla="*/ 83 w 296"/>
                  <a:gd name="T15" fmla="*/ 59 h 59"/>
                  <a:gd name="T16" fmla="*/ 214 w 296"/>
                  <a:gd name="T17" fmla="*/ 59 h 59"/>
                  <a:gd name="T18" fmla="*/ 240 w 296"/>
                  <a:gd name="T19" fmla="*/ 33 h 59"/>
                  <a:gd name="T20" fmla="*/ 261 w 296"/>
                  <a:gd name="T21" fmla="*/ 33 h 59"/>
                  <a:gd name="T22" fmla="*/ 296 w 296"/>
                  <a:gd name="T23" fmla="*/ 0 h 59"/>
                  <a:gd name="T24" fmla="*/ 261 w 296"/>
                  <a:gd name="T25" fmla="*/ 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96" h="59">
                    <a:moveTo>
                      <a:pt x="261" y="0"/>
                    </a:moveTo>
                    <a:cubicBezTo>
                      <a:pt x="227" y="0"/>
                      <a:pt x="227" y="0"/>
                      <a:pt x="227" y="0"/>
                    </a:cubicBezTo>
                    <a:cubicBezTo>
                      <a:pt x="70" y="0"/>
                      <a:pt x="70" y="0"/>
                      <a:pt x="70" y="0"/>
                    </a:cubicBezTo>
                    <a:cubicBezTo>
                      <a:pt x="35" y="0"/>
                      <a:pt x="35" y="0"/>
                      <a:pt x="35" y="0"/>
                    </a:cubicBezTo>
                    <a:cubicBezTo>
                      <a:pt x="0" y="0"/>
                      <a:pt x="0" y="0"/>
                      <a:pt x="0" y="0"/>
                    </a:cubicBezTo>
                    <a:cubicBezTo>
                      <a:pt x="1" y="19"/>
                      <a:pt x="16" y="33"/>
                      <a:pt x="35" y="33"/>
                    </a:cubicBezTo>
                    <a:cubicBezTo>
                      <a:pt x="56" y="33"/>
                      <a:pt x="56" y="33"/>
                      <a:pt x="56" y="33"/>
                    </a:cubicBezTo>
                    <a:cubicBezTo>
                      <a:pt x="57" y="47"/>
                      <a:pt x="68" y="59"/>
                      <a:pt x="83" y="59"/>
                    </a:cubicBezTo>
                    <a:cubicBezTo>
                      <a:pt x="214" y="59"/>
                      <a:pt x="214" y="59"/>
                      <a:pt x="214" y="59"/>
                    </a:cubicBezTo>
                    <a:cubicBezTo>
                      <a:pt x="228" y="59"/>
                      <a:pt x="240" y="47"/>
                      <a:pt x="240" y="33"/>
                    </a:cubicBezTo>
                    <a:cubicBezTo>
                      <a:pt x="261" y="33"/>
                      <a:pt x="261" y="33"/>
                      <a:pt x="261" y="33"/>
                    </a:cubicBezTo>
                    <a:cubicBezTo>
                      <a:pt x="280" y="33"/>
                      <a:pt x="295" y="19"/>
                      <a:pt x="296" y="0"/>
                    </a:cubicBezTo>
                    <a:lnTo>
                      <a:pt x="261" y="0"/>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grpSp>
        <p:nvGrpSpPr>
          <p:cNvPr id="899" name="Group 898"/>
          <p:cNvGrpSpPr/>
          <p:nvPr/>
        </p:nvGrpSpPr>
        <p:grpSpPr>
          <a:xfrm>
            <a:off x="0" y="4910485"/>
            <a:ext cx="11757022" cy="548640"/>
            <a:chOff x="1" y="5259067"/>
            <a:chExt cx="11757022" cy="548640"/>
          </a:xfrm>
        </p:grpSpPr>
        <p:sp>
          <p:nvSpPr>
            <p:cNvPr id="11" name="Rectangle 10"/>
            <p:cNvSpPr/>
            <p:nvPr/>
          </p:nvSpPr>
          <p:spPr bwMode="auto">
            <a:xfrm>
              <a:off x="1" y="5259067"/>
              <a:ext cx="3248023" cy="54864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48640" tIns="45720" rIns="91440" bIns="45720" numCol="1" spcCol="0" rtlCol="0" fromWordArt="0" anchor="ctr" anchorCtr="0" forceAA="0" compatLnSpc="1">
              <a:prstTxWarp prst="textNoShape">
                <a:avLst/>
              </a:prstTxWarp>
              <a:noAutofit/>
            </a:bodyPr>
            <a:lstStyle/>
            <a:p>
              <a:pPr defTabSz="932472" fontAlgn="base"/>
              <a:r>
                <a:rPr lang="en-US" sz="1600" dirty="0">
                  <a:solidFill>
                    <a:schemeClr val="bg1"/>
                  </a:solidFill>
                  <a:latin typeface="Segoe UI Semibold" panose="020B0702040204020203" pitchFamily="34" charset="0"/>
                  <a:ea typeface="Segoe UI" pitchFamily="34" charset="0"/>
                  <a:cs typeface="Segoe UI Semibold" panose="020B0702040204020203" pitchFamily="34" charset="0"/>
                </a:rPr>
                <a:t>	All sources</a:t>
              </a:r>
            </a:p>
          </p:txBody>
        </p:sp>
        <p:sp>
          <p:nvSpPr>
            <p:cNvPr id="23" name="Rectangle 22"/>
            <p:cNvSpPr/>
            <p:nvPr/>
          </p:nvSpPr>
          <p:spPr>
            <a:xfrm>
              <a:off x="3248024" y="5259067"/>
              <a:ext cx="8508999" cy="548640"/>
            </a:xfrm>
            <a:prstGeom prst="rect">
              <a:avLst/>
            </a:prstGeom>
            <a:solidFill>
              <a:schemeClr val="bg1">
                <a:lumMod val="95000"/>
              </a:schemeClr>
            </a:solidFill>
          </p:spPr>
          <p:txBody>
            <a:bodyPr wrap="square" lIns="91440" anchor="ctr">
              <a:noAutofit/>
            </a:bodyPr>
            <a:lstStyle/>
            <a:p>
              <a:pPr marL="53965" lvl="1" defTabSz="931954" fontAlgn="base">
                <a:buClr>
                  <a:srgbClr val="68217A">
                    <a:lumMod val="50000"/>
                  </a:srgbClr>
                </a:buClr>
                <a:tabLst>
                  <a:tab pos="658368" algn="l"/>
                </a:tabLst>
              </a:pPr>
              <a:r>
                <a:rPr lang="en-IN" sz="1400" dirty="0">
                  <a:ea typeface="Segoe UI" pitchFamily="34" charset="0"/>
                  <a:cs typeface="Segoe UI" pitchFamily="34" charset="0"/>
                </a:rPr>
                <a:t>Must be able ingest data from a variety of sources-LOB/ERP, Logs, Devices, Social NWs etc.</a:t>
              </a:r>
            </a:p>
          </p:txBody>
        </p:sp>
        <p:grpSp>
          <p:nvGrpSpPr>
            <p:cNvPr id="813" name="Group 812"/>
            <p:cNvGrpSpPr/>
            <p:nvPr/>
          </p:nvGrpSpPr>
          <p:grpSpPr>
            <a:xfrm>
              <a:off x="571714" y="5296877"/>
              <a:ext cx="631137" cy="473020"/>
              <a:chOff x="1102413" y="1114425"/>
              <a:chExt cx="4250322" cy="3185498"/>
            </a:xfrm>
          </p:grpSpPr>
          <p:sp>
            <p:nvSpPr>
              <p:cNvPr id="814" name="Rectangle 132"/>
              <p:cNvSpPr>
                <a:spLocks noChangeArrowheads="1"/>
              </p:cNvSpPr>
              <p:nvPr/>
            </p:nvSpPr>
            <p:spPr bwMode="auto">
              <a:xfrm>
                <a:off x="3115409" y="2134383"/>
                <a:ext cx="2237326" cy="15164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15" name="Rectangle 140"/>
              <p:cNvSpPr>
                <a:spLocks noChangeArrowheads="1"/>
              </p:cNvSpPr>
              <p:nvPr/>
            </p:nvSpPr>
            <p:spPr bwMode="auto">
              <a:xfrm>
                <a:off x="4266972" y="3378671"/>
                <a:ext cx="711876" cy="765714"/>
              </a:xfrm>
              <a:prstGeom prst="rect">
                <a:avLst/>
              </a:prstGeom>
              <a:solidFill>
                <a:srgbClr val="E8112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16" name="Freeform 155"/>
              <p:cNvSpPr>
                <a:spLocks/>
              </p:cNvSpPr>
              <p:nvPr/>
            </p:nvSpPr>
            <p:spPr bwMode="auto">
              <a:xfrm>
                <a:off x="1102413" y="3324832"/>
                <a:ext cx="798619" cy="783662"/>
              </a:xfrm>
              <a:custGeom>
                <a:avLst/>
                <a:gdLst>
                  <a:gd name="T0" fmla="*/ 254 w 316"/>
                  <a:gd name="T1" fmla="*/ 15 h 511"/>
                  <a:gd name="T2" fmla="*/ 81 w 316"/>
                  <a:gd name="T3" fmla="*/ 15 h 511"/>
                  <a:gd name="T4" fmla="*/ 81 w 316"/>
                  <a:gd name="T5" fmla="*/ 16 h 511"/>
                  <a:gd name="T6" fmla="*/ 0 w 316"/>
                  <a:gd name="T7" fmla="*/ 117 h 511"/>
                  <a:gd name="T8" fmla="*/ 0 w 316"/>
                  <a:gd name="T9" fmla="*/ 511 h 511"/>
                  <a:gd name="T10" fmla="*/ 316 w 316"/>
                  <a:gd name="T11" fmla="*/ 511 h 511"/>
                  <a:gd name="T12" fmla="*/ 316 w 316"/>
                  <a:gd name="T13" fmla="*/ 121 h 511"/>
                  <a:gd name="T14" fmla="*/ 254 w 316"/>
                  <a:gd name="T15" fmla="*/ 15 h 51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16" h="511">
                    <a:moveTo>
                      <a:pt x="254" y="15"/>
                    </a:moveTo>
                    <a:cubicBezTo>
                      <a:pt x="81" y="15"/>
                      <a:pt x="81" y="15"/>
                      <a:pt x="81" y="15"/>
                    </a:cubicBezTo>
                    <a:cubicBezTo>
                      <a:pt x="81" y="16"/>
                      <a:pt x="81" y="16"/>
                      <a:pt x="81" y="16"/>
                    </a:cubicBezTo>
                    <a:cubicBezTo>
                      <a:pt x="81" y="16"/>
                      <a:pt x="0" y="0"/>
                      <a:pt x="0" y="117"/>
                    </a:cubicBezTo>
                    <a:cubicBezTo>
                      <a:pt x="0" y="511"/>
                      <a:pt x="0" y="511"/>
                      <a:pt x="0" y="511"/>
                    </a:cubicBezTo>
                    <a:cubicBezTo>
                      <a:pt x="316" y="511"/>
                      <a:pt x="316" y="511"/>
                      <a:pt x="316" y="511"/>
                    </a:cubicBezTo>
                    <a:cubicBezTo>
                      <a:pt x="316" y="121"/>
                      <a:pt x="316" y="121"/>
                      <a:pt x="316" y="121"/>
                    </a:cubicBezTo>
                    <a:cubicBezTo>
                      <a:pt x="316" y="31"/>
                      <a:pt x="271" y="17"/>
                      <a:pt x="254" y="15"/>
                    </a:cubicBezTo>
                  </a:path>
                </a:pathLst>
              </a:custGeom>
              <a:solidFill>
                <a:srgbClr val="EC008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17" name="Freeform 164"/>
              <p:cNvSpPr>
                <a:spLocks/>
              </p:cNvSpPr>
              <p:nvPr/>
            </p:nvSpPr>
            <p:spPr bwMode="auto">
              <a:xfrm>
                <a:off x="1724557" y="3698715"/>
                <a:ext cx="242278" cy="242278"/>
              </a:xfrm>
              <a:custGeom>
                <a:avLst/>
                <a:gdLst>
                  <a:gd name="T0" fmla="*/ 83 w 96"/>
                  <a:gd name="T1" fmla="*/ 18 h 96"/>
                  <a:gd name="T2" fmla="*/ 30 w 96"/>
                  <a:gd name="T3" fmla="*/ 14 h 96"/>
                  <a:gd name="T4" fmla="*/ 29 w 96"/>
                  <a:gd name="T5" fmla="*/ 15 h 96"/>
                  <a:gd name="T6" fmla="*/ 29 w 96"/>
                  <a:gd name="T7" fmla="*/ 15 h 96"/>
                  <a:gd name="T8" fmla="*/ 0 w 96"/>
                  <a:gd name="T9" fmla="*/ 40 h 96"/>
                  <a:gd name="T10" fmla="*/ 49 w 96"/>
                  <a:gd name="T11" fmla="*/ 96 h 96"/>
                  <a:gd name="T12" fmla="*/ 78 w 96"/>
                  <a:gd name="T13" fmla="*/ 71 h 96"/>
                  <a:gd name="T14" fmla="*/ 78 w 96"/>
                  <a:gd name="T15" fmla="*/ 71 h 96"/>
                  <a:gd name="T16" fmla="*/ 79 w 96"/>
                  <a:gd name="T17" fmla="*/ 70 h 96"/>
                  <a:gd name="T18" fmla="*/ 83 w 96"/>
                  <a:gd name="T19" fmla="*/ 1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6">
                    <a:moveTo>
                      <a:pt x="83" y="18"/>
                    </a:moveTo>
                    <a:cubicBezTo>
                      <a:pt x="69" y="2"/>
                      <a:pt x="46" y="0"/>
                      <a:pt x="30" y="14"/>
                    </a:cubicBezTo>
                    <a:cubicBezTo>
                      <a:pt x="30" y="14"/>
                      <a:pt x="30" y="15"/>
                      <a:pt x="29" y="15"/>
                    </a:cubicBezTo>
                    <a:cubicBezTo>
                      <a:pt x="29" y="15"/>
                      <a:pt x="29" y="15"/>
                      <a:pt x="29" y="15"/>
                    </a:cubicBezTo>
                    <a:cubicBezTo>
                      <a:pt x="0" y="40"/>
                      <a:pt x="0" y="40"/>
                      <a:pt x="0" y="40"/>
                    </a:cubicBezTo>
                    <a:cubicBezTo>
                      <a:pt x="49" y="96"/>
                      <a:pt x="49" y="96"/>
                      <a:pt x="49" y="96"/>
                    </a:cubicBezTo>
                    <a:cubicBezTo>
                      <a:pt x="78" y="71"/>
                      <a:pt x="78" y="71"/>
                      <a:pt x="78" y="71"/>
                    </a:cubicBezTo>
                    <a:cubicBezTo>
                      <a:pt x="78" y="71"/>
                      <a:pt x="78" y="71"/>
                      <a:pt x="78" y="71"/>
                    </a:cubicBezTo>
                    <a:cubicBezTo>
                      <a:pt x="78" y="71"/>
                      <a:pt x="79" y="70"/>
                      <a:pt x="79" y="70"/>
                    </a:cubicBezTo>
                    <a:cubicBezTo>
                      <a:pt x="94" y="57"/>
                      <a:pt x="96" y="33"/>
                      <a:pt x="83" y="18"/>
                    </a:cubicBezTo>
                    <a:close/>
                  </a:path>
                </a:pathLst>
              </a:custGeom>
              <a:solidFill>
                <a:srgbClr val="FFFC9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18" name="Freeform 165"/>
              <p:cNvSpPr>
                <a:spLocks/>
              </p:cNvSpPr>
              <p:nvPr/>
            </p:nvSpPr>
            <p:spPr bwMode="auto">
              <a:xfrm>
                <a:off x="1679692" y="3034696"/>
                <a:ext cx="29911" cy="29911"/>
              </a:xfrm>
              <a:custGeom>
                <a:avLst/>
                <a:gdLst>
                  <a:gd name="T0" fmla="*/ 12 w 12"/>
                  <a:gd name="T1" fmla="*/ 7 h 12"/>
                  <a:gd name="T2" fmla="*/ 5 w 12"/>
                  <a:gd name="T3" fmla="*/ 11 h 12"/>
                  <a:gd name="T4" fmla="*/ 1 w 12"/>
                  <a:gd name="T5" fmla="*/ 5 h 12"/>
                  <a:gd name="T6" fmla="*/ 7 w 12"/>
                  <a:gd name="T7" fmla="*/ 0 h 12"/>
                  <a:gd name="T8" fmla="*/ 12 w 12"/>
                  <a:gd name="T9" fmla="*/ 7 h 12"/>
                </a:gdLst>
                <a:ahLst/>
                <a:cxnLst>
                  <a:cxn ang="0">
                    <a:pos x="T0" y="T1"/>
                  </a:cxn>
                  <a:cxn ang="0">
                    <a:pos x="T2" y="T3"/>
                  </a:cxn>
                  <a:cxn ang="0">
                    <a:pos x="T4" y="T5"/>
                  </a:cxn>
                  <a:cxn ang="0">
                    <a:pos x="T6" y="T7"/>
                  </a:cxn>
                  <a:cxn ang="0">
                    <a:pos x="T8" y="T9"/>
                  </a:cxn>
                </a:cxnLst>
                <a:rect l="0" t="0" r="r" b="b"/>
                <a:pathLst>
                  <a:path w="12" h="12">
                    <a:moveTo>
                      <a:pt x="12" y="7"/>
                    </a:moveTo>
                    <a:cubicBezTo>
                      <a:pt x="11" y="10"/>
                      <a:pt x="8" y="12"/>
                      <a:pt x="5" y="11"/>
                    </a:cubicBezTo>
                    <a:cubicBezTo>
                      <a:pt x="2" y="11"/>
                      <a:pt x="0" y="8"/>
                      <a:pt x="1" y="5"/>
                    </a:cubicBezTo>
                    <a:cubicBezTo>
                      <a:pt x="1" y="2"/>
                      <a:pt x="4" y="0"/>
                      <a:pt x="7" y="0"/>
                    </a:cubicBezTo>
                    <a:cubicBezTo>
                      <a:pt x="10" y="1"/>
                      <a:pt x="12" y="4"/>
                      <a:pt x="12" y="7"/>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19" name="Freeform 166"/>
              <p:cNvSpPr>
                <a:spLocks/>
              </p:cNvSpPr>
              <p:nvPr/>
            </p:nvSpPr>
            <p:spPr bwMode="auto">
              <a:xfrm>
                <a:off x="1730539" y="2986839"/>
                <a:ext cx="86742" cy="161518"/>
              </a:xfrm>
              <a:custGeom>
                <a:avLst/>
                <a:gdLst>
                  <a:gd name="T0" fmla="*/ 24 w 29"/>
                  <a:gd name="T1" fmla="*/ 0 h 54"/>
                  <a:gd name="T2" fmla="*/ 29 w 29"/>
                  <a:gd name="T3" fmla="*/ 54 h 54"/>
                  <a:gd name="T4" fmla="*/ 0 w 29"/>
                  <a:gd name="T5" fmla="*/ 49 h 54"/>
                  <a:gd name="T6" fmla="*/ 24 w 29"/>
                  <a:gd name="T7" fmla="*/ 0 h 54"/>
                </a:gdLst>
                <a:ahLst/>
                <a:cxnLst>
                  <a:cxn ang="0">
                    <a:pos x="T0" y="T1"/>
                  </a:cxn>
                  <a:cxn ang="0">
                    <a:pos x="T2" y="T3"/>
                  </a:cxn>
                  <a:cxn ang="0">
                    <a:pos x="T4" y="T5"/>
                  </a:cxn>
                  <a:cxn ang="0">
                    <a:pos x="T6" y="T7"/>
                  </a:cxn>
                </a:cxnLst>
                <a:rect l="0" t="0" r="r" b="b"/>
                <a:pathLst>
                  <a:path w="29" h="54">
                    <a:moveTo>
                      <a:pt x="24" y="0"/>
                    </a:moveTo>
                    <a:lnTo>
                      <a:pt x="29" y="54"/>
                    </a:lnTo>
                    <a:lnTo>
                      <a:pt x="0" y="49"/>
                    </a:lnTo>
                    <a:lnTo>
                      <a:pt x="24" y="0"/>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20" name="Freeform 167"/>
              <p:cNvSpPr>
                <a:spLocks/>
              </p:cNvSpPr>
              <p:nvPr/>
            </p:nvSpPr>
            <p:spPr bwMode="auto">
              <a:xfrm>
                <a:off x="3267953" y="2197195"/>
                <a:ext cx="670001" cy="837501"/>
              </a:xfrm>
              <a:custGeom>
                <a:avLst/>
                <a:gdLst>
                  <a:gd name="T0" fmla="*/ 9 w 265"/>
                  <a:gd name="T1" fmla="*/ 331 h 331"/>
                  <a:gd name="T2" fmla="*/ 0 w 265"/>
                  <a:gd name="T3" fmla="*/ 331 h 331"/>
                  <a:gd name="T4" fmla="*/ 2 w 265"/>
                  <a:gd name="T5" fmla="*/ 266 h 331"/>
                  <a:gd name="T6" fmla="*/ 9 w 265"/>
                  <a:gd name="T7" fmla="*/ 266 h 331"/>
                  <a:gd name="T8" fmla="*/ 115 w 265"/>
                  <a:gd name="T9" fmla="*/ 232 h 331"/>
                  <a:gd name="T10" fmla="*/ 172 w 265"/>
                  <a:gd name="T11" fmla="*/ 151 h 331"/>
                  <a:gd name="T12" fmla="*/ 200 w 265"/>
                  <a:gd name="T13" fmla="*/ 4 h 331"/>
                  <a:gd name="T14" fmla="*/ 200 w 265"/>
                  <a:gd name="T15" fmla="*/ 1 h 331"/>
                  <a:gd name="T16" fmla="*/ 200 w 265"/>
                  <a:gd name="T17" fmla="*/ 1 h 331"/>
                  <a:gd name="T18" fmla="*/ 265 w 265"/>
                  <a:gd name="T19" fmla="*/ 0 h 331"/>
                  <a:gd name="T20" fmla="*/ 265 w 265"/>
                  <a:gd name="T21" fmla="*/ 4 h 331"/>
                  <a:gd name="T22" fmla="*/ 251 w 265"/>
                  <a:gd name="T23" fmla="*/ 120 h 331"/>
                  <a:gd name="T24" fmla="*/ 156 w 265"/>
                  <a:gd name="T25" fmla="*/ 283 h 331"/>
                  <a:gd name="T26" fmla="*/ 9 w 265"/>
                  <a:gd name="T27" fmla="*/ 331 h 331"/>
                  <a:gd name="T28" fmla="*/ 9 w 265"/>
                  <a:gd name="T29" fmla="*/ 331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5" h="331">
                    <a:moveTo>
                      <a:pt x="9" y="331"/>
                    </a:moveTo>
                    <a:cubicBezTo>
                      <a:pt x="6" y="331"/>
                      <a:pt x="3" y="331"/>
                      <a:pt x="0" y="331"/>
                    </a:cubicBezTo>
                    <a:cubicBezTo>
                      <a:pt x="2" y="266"/>
                      <a:pt x="2" y="266"/>
                      <a:pt x="2" y="266"/>
                    </a:cubicBezTo>
                    <a:cubicBezTo>
                      <a:pt x="4" y="266"/>
                      <a:pt x="7" y="266"/>
                      <a:pt x="9" y="266"/>
                    </a:cubicBezTo>
                    <a:cubicBezTo>
                      <a:pt x="56" y="266"/>
                      <a:pt x="89" y="252"/>
                      <a:pt x="115" y="232"/>
                    </a:cubicBezTo>
                    <a:cubicBezTo>
                      <a:pt x="140" y="211"/>
                      <a:pt x="159" y="182"/>
                      <a:pt x="172" y="151"/>
                    </a:cubicBezTo>
                    <a:cubicBezTo>
                      <a:pt x="198" y="89"/>
                      <a:pt x="200" y="18"/>
                      <a:pt x="200" y="4"/>
                    </a:cubicBezTo>
                    <a:cubicBezTo>
                      <a:pt x="200" y="2"/>
                      <a:pt x="200" y="1"/>
                      <a:pt x="200" y="1"/>
                    </a:cubicBezTo>
                    <a:cubicBezTo>
                      <a:pt x="200" y="1"/>
                      <a:pt x="200" y="1"/>
                      <a:pt x="200" y="1"/>
                    </a:cubicBezTo>
                    <a:cubicBezTo>
                      <a:pt x="265" y="0"/>
                      <a:pt x="265" y="0"/>
                      <a:pt x="265" y="0"/>
                    </a:cubicBezTo>
                    <a:cubicBezTo>
                      <a:pt x="265" y="0"/>
                      <a:pt x="265" y="2"/>
                      <a:pt x="265" y="4"/>
                    </a:cubicBezTo>
                    <a:cubicBezTo>
                      <a:pt x="265" y="18"/>
                      <a:pt x="264" y="65"/>
                      <a:pt x="251" y="120"/>
                    </a:cubicBezTo>
                    <a:cubicBezTo>
                      <a:pt x="237" y="174"/>
                      <a:pt x="211" y="238"/>
                      <a:pt x="156" y="283"/>
                    </a:cubicBezTo>
                    <a:cubicBezTo>
                      <a:pt x="119" y="312"/>
                      <a:pt x="70" y="331"/>
                      <a:pt x="9" y="331"/>
                    </a:cubicBezTo>
                    <a:cubicBezTo>
                      <a:pt x="9" y="331"/>
                      <a:pt x="9" y="331"/>
                      <a:pt x="9" y="331"/>
                    </a:cubicBezTo>
                  </a:path>
                </a:pathLst>
              </a:custGeom>
              <a:solidFill>
                <a:srgbClr val="FFF1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21" name="Freeform 168"/>
              <p:cNvSpPr>
                <a:spLocks/>
              </p:cNvSpPr>
              <p:nvPr/>
            </p:nvSpPr>
            <p:spPr bwMode="auto">
              <a:xfrm>
                <a:off x="3273935" y="2197195"/>
                <a:ext cx="664019" cy="837501"/>
              </a:xfrm>
              <a:custGeom>
                <a:avLst/>
                <a:gdLst>
                  <a:gd name="T0" fmla="*/ 263 w 263"/>
                  <a:gd name="T1" fmla="*/ 0 h 331"/>
                  <a:gd name="T2" fmla="*/ 198 w 263"/>
                  <a:gd name="T3" fmla="*/ 1 h 331"/>
                  <a:gd name="T4" fmla="*/ 198 w 263"/>
                  <a:gd name="T5" fmla="*/ 1 h 331"/>
                  <a:gd name="T6" fmla="*/ 198 w 263"/>
                  <a:gd name="T7" fmla="*/ 4 h 331"/>
                  <a:gd name="T8" fmla="*/ 198 w 263"/>
                  <a:gd name="T9" fmla="*/ 5 h 331"/>
                  <a:gd name="T10" fmla="*/ 170 w 263"/>
                  <a:gd name="T11" fmla="*/ 151 h 331"/>
                  <a:gd name="T12" fmla="*/ 113 w 263"/>
                  <a:gd name="T13" fmla="*/ 232 h 331"/>
                  <a:gd name="T14" fmla="*/ 7 w 263"/>
                  <a:gd name="T15" fmla="*/ 266 h 331"/>
                  <a:gd name="T16" fmla="*/ 0 w 263"/>
                  <a:gd name="T17" fmla="*/ 266 h 331"/>
                  <a:gd name="T18" fmla="*/ 0 w 263"/>
                  <a:gd name="T19" fmla="*/ 266 h 331"/>
                  <a:gd name="T20" fmla="*/ 2 w 263"/>
                  <a:gd name="T21" fmla="*/ 266 h 331"/>
                  <a:gd name="T22" fmla="*/ 2 w 263"/>
                  <a:gd name="T23" fmla="*/ 331 h 331"/>
                  <a:gd name="T24" fmla="*/ 7 w 263"/>
                  <a:gd name="T25" fmla="*/ 331 h 331"/>
                  <a:gd name="T26" fmla="*/ 7 w 263"/>
                  <a:gd name="T27" fmla="*/ 331 h 331"/>
                  <a:gd name="T28" fmla="*/ 154 w 263"/>
                  <a:gd name="T29" fmla="*/ 283 h 331"/>
                  <a:gd name="T30" fmla="*/ 249 w 263"/>
                  <a:gd name="T31" fmla="*/ 120 h 331"/>
                  <a:gd name="T32" fmla="*/ 263 w 263"/>
                  <a:gd name="T33" fmla="*/ 4 h 331"/>
                  <a:gd name="T34" fmla="*/ 263 w 263"/>
                  <a:gd name="T35" fmla="*/ 0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63" h="331">
                    <a:moveTo>
                      <a:pt x="263" y="0"/>
                    </a:moveTo>
                    <a:cubicBezTo>
                      <a:pt x="198" y="1"/>
                      <a:pt x="198" y="1"/>
                      <a:pt x="198" y="1"/>
                    </a:cubicBezTo>
                    <a:cubicBezTo>
                      <a:pt x="198" y="1"/>
                      <a:pt x="198" y="1"/>
                      <a:pt x="198" y="1"/>
                    </a:cubicBezTo>
                    <a:cubicBezTo>
                      <a:pt x="198" y="1"/>
                      <a:pt x="198" y="2"/>
                      <a:pt x="198" y="4"/>
                    </a:cubicBezTo>
                    <a:cubicBezTo>
                      <a:pt x="198" y="4"/>
                      <a:pt x="198" y="5"/>
                      <a:pt x="198" y="5"/>
                    </a:cubicBezTo>
                    <a:cubicBezTo>
                      <a:pt x="198" y="22"/>
                      <a:pt x="195" y="91"/>
                      <a:pt x="170" y="151"/>
                    </a:cubicBezTo>
                    <a:cubicBezTo>
                      <a:pt x="157" y="182"/>
                      <a:pt x="138" y="211"/>
                      <a:pt x="113" y="232"/>
                    </a:cubicBezTo>
                    <a:cubicBezTo>
                      <a:pt x="87" y="252"/>
                      <a:pt x="54" y="266"/>
                      <a:pt x="7" y="266"/>
                    </a:cubicBezTo>
                    <a:cubicBezTo>
                      <a:pt x="5" y="266"/>
                      <a:pt x="2" y="266"/>
                      <a:pt x="0" y="266"/>
                    </a:cubicBezTo>
                    <a:cubicBezTo>
                      <a:pt x="0" y="266"/>
                      <a:pt x="0" y="266"/>
                      <a:pt x="0" y="266"/>
                    </a:cubicBezTo>
                    <a:cubicBezTo>
                      <a:pt x="2" y="266"/>
                      <a:pt x="2" y="266"/>
                      <a:pt x="2" y="266"/>
                    </a:cubicBezTo>
                    <a:cubicBezTo>
                      <a:pt x="2" y="331"/>
                      <a:pt x="2" y="331"/>
                      <a:pt x="2" y="331"/>
                    </a:cubicBezTo>
                    <a:cubicBezTo>
                      <a:pt x="4" y="331"/>
                      <a:pt x="5" y="331"/>
                      <a:pt x="7" y="331"/>
                    </a:cubicBezTo>
                    <a:cubicBezTo>
                      <a:pt x="7" y="331"/>
                      <a:pt x="7" y="331"/>
                      <a:pt x="7" y="331"/>
                    </a:cubicBezTo>
                    <a:cubicBezTo>
                      <a:pt x="68" y="331"/>
                      <a:pt x="117" y="312"/>
                      <a:pt x="154" y="283"/>
                    </a:cubicBezTo>
                    <a:cubicBezTo>
                      <a:pt x="209" y="238"/>
                      <a:pt x="235" y="174"/>
                      <a:pt x="249" y="120"/>
                    </a:cubicBezTo>
                    <a:cubicBezTo>
                      <a:pt x="262" y="65"/>
                      <a:pt x="263" y="18"/>
                      <a:pt x="263" y="4"/>
                    </a:cubicBezTo>
                    <a:cubicBezTo>
                      <a:pt x="263" y="2"/>
                      <a:pt x="263" y="0"/>
                      <a:pt x="263" y="0"/>
                    </a:cubicBezTo>
                  </a:path>
                </a:pathLst>
              </a:custGeom>
              <a:solidFill>
                <a:srgbClr val="E5D8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22" name="Rectangle 175"/>
              <p:cNvSpPr>
                <a:spLocks noChangeArrowheads="1"/>
              </p:cNvSpPr>
              <p:nvPr/>
            </p:nvSpPr>
            <p:spPr bwMode="auto">
              <a:xfrm>
                <a:off x="2577015" y="2870188"/>
                <a:ext cx="702904" cy="1295137"/>
              </a:xfrm>
              <a:prstGeom prst="rect">
                <a:avLst/>
              </a:prstGeom>
              <a:solidFill>
                <a:srgbClr val="FFF1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23" name="Rectangle 176"/>
              <p:cNvSpPr>
                <a:spLocks noChangeArrowheads="1"/>
              </p:cNvSpPr>
              <p:nvPr/>
            </p:nvSpPr>
            <p:spPr bwMode="auto">
              <a:xfrm>
                <a:off x="2577015" y="2870188"/>
                <a:ext cx="702904" cy="14297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24" name="Freeform 178"/>
              <p:cNvSpPr>
                <a:spLocks/>
              </p:cNvSpPr>
              <p:nvPr/>
            </p:nvSpPr>
            <p:spPr bwMode="auto">
              <a:xfrm>
                <a:off x="2403532" y="2873178"/>
                <a:ext cx="320046" cy="1226341"/>
              </a:xfrm>
              <a:custGeom>
                <a:avLst/>
                <a:gdLst>
                  <a:gd name="T0" fmla="*/ 0 w 126"/>
                  <a:gd name="T1" fmla="*/ 485 h 485"/>
                  <a:gd name="T2" fmla="*/ 68 w 126"/>
                  <a:gd name="T3" fmla="*/ 0 h 485"/>
                  <a:gd name="T4" fmla="*/ 68 w 126"/>
                  <a:gd name="T5" fmla="*/ 0 h 485"/>
                  <a:gd name="T6" fmla="*/ 126 w 126"/>
                  <a:gd name="T7" fmla="*/ 21 h 485"/>
                  <a:gd name="T8" fmla="*/ 116 w 126"/>
                  <a:gd name="T9" fmla="*/ 53 h 485"/>
                  <a:gd name="T10" fmla="*/ 94 w 126"/>
                  <a:gd name="T11" fmla="*/ 146 h 485"/>
                  <a:gd name="T12" fmla="*/ 62 w 126"/>
                  <a:gd name="T13" fmla="*/ 485 h 485"/>
                  <a:gd name="T14" fmla="*/ 0 w 126"/>
                  <a:gd name="T15" fmla="*/ 485 h 4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6" h="485">
                    <a:moveTo>
                      <a:pt x="0" y="485"/>
                    </a:moveTo>
                    <a:cubicBezTo>
                      <a:pt x="0" y="193"/>
                      <a:pt x="67" y="2"/>
                      <a:pt x="68" y="0"/>
                    </a:cubicBezTo>
                    <a:cubicBezTo>
                      <a:pt x="68" y="0"/>
                      <a:pt x="68" y="0"/>
                      <a:pt x="68" y="0"/>
                    </a:cubicBezTo>
                    <a:cubicBezTo>
                      <a:pt x="126" y="21"/>
                      <a:pt x="126" y="21"/>
                      <a:pt x="126" y="21"/>
                    </a:cubicBezTo>
                    <a:cubicBezTo>
                      <a:pt x="126" y="21"/>
                      <a:pt x="122" y="31"/>
                      <a:pt x="116" y="53"/>
                    </a:cubicBezTo>
                    <a:cubicBezTo>
                      <a:pt x="110" y="74"/>
                      <a:pt x="102" y="106"/>
                      <a:pt x="94" y="146"/>
                    </a:cubicBezTo>
                    <a:cubicBezTo>
                      <a:pt x="78" y="227"/>
                      <a:pt x="62" y="344"/>
                      <a:pt x="62" y="485"/>
                    </a:cubicBezTo>
                    <a:cubicBezTo>
                      <a:pt x="0" y="485"/>
                      <a:pt x="0" y="485"/>
                      <a:pt x="0" y="485"/>
                    </a:cubicBezTo>
                  </a:path>
                </a:pathLst>
              </a:custGeom>
              <a:solidFill>
                <a:srgbClr val="FFF1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25" name="Freeform 179"/>
              <p:cNvSpPr>
                <a:spLocks/>
              </p:cNvSpPr>
              <p:nvPr/>
            </p:nvSpPr>
            <p:spPr bwMode="auto">
              <a:xfrm>
                <a:off x="2915005" y="2648848"/>
                <a:ext cx="185447" cy="221340"/>
              </a:xfrm>
              <a:custGeom>
                <a:avLst/>
                <a:gdLst>
                  <a:gd name="T0" fmla="*/ 73 w 73"/>
                  <a:gd name="T1" fmla="*/ 8 h 88"/>
                  <a:gd name="T2" fmla="*/ 49 w 73"/>
                  <a:gd name="T3" fmla="*/ 0 h 88"/>
                  <a:gd name="T4" fmla="*/ 42 w 73"/>
                  <a:gd name="T5" fmla="*/ 19 h 88"/>
                  <a:gd name="T6" fmla="*/ 0 w 73"/>
                  <a:gd name="T7" fmla="*/ 8 h 88"/>
                  <a:gd name="T8" fmla="*/ 0 w 73"/>
                  <a:gd name="T9" fmla="*/ 88 h 88"/>
                  <a:gd name="T10" fmla="*/ 50 w 73"/>
                  <a:gd name="T11" fmla="*/ 88 h 88"/>
                  <a:gd name="T12" fmla="*/ 50 w 73"/>
                  <a:gd name="T13" fmla="*/ 49 h 88"/>
                  <a:gd name="T14" fmla="*/ 73 w 73"/>
                  <a:gd name="T15" fmla="*/ 8 h 8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3" h="88">
                    <a:moveTo>
                      <a:pt x="73" y="8"/>
                    </a:moveTo>
                    <a:cubicBezTo>
                      <a:pt x="49" y="0"/>
                      <a:pt x="49" y="0"/>
                      <a:pt x="49" y="0"/>
                    </a:cubicBezTo>
                    <a:cubicBezTo>
                      <a:pt x="42" y="19"/>
                      <a:pt x="42" y="19"/>
                      <a:pt x="42" y="19"/>
                    </a:cubicBezTo>
                    <a:cubicBezTo>
                      <a:pt x="0" y="8"/>
                      <a:pt x="0" y="8"/>
                      <a:pt x="0" y="8"/>
                    </a:cubicBezTo>
                    <a:cubicBezTo>
                      <a:pt x="0" y="88"/>
                      <a:pt x="0" y="88"/>
                      <a:pt x="0" y="88"/>
                    </a:cubicBezTo>
                    <a:cubicBezTo>
                      <a:pt x="50" y="88"/>
                      <a:pt x="50" y="88"/>
                      <a:pt x="50" y="88"/>
                    </a:cubicBezTo>
                    <a:cubicBezTo>
                      <a:pt x="50" y="49"/>
                      <a:pt x="50" y="49"/>
                      <a:pt x="50" y="49"/>
                    </a:cubicBezTo>
                    <a:cubicBezTo>
                      <a:pt x="51" y="36"/>
                      <a:pt x="55" y="14"/>
                      <a:pt x="73" y="8"/>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26" name="Freeform 180"/>
              <p:cNvSpPr>
                <a:spLocks/>
              </p:cNvSpPr>
              <p:nvPr/>
            </p:nvSpPr>
            <p:spPr bwMode="auto">
              <a:xfrm>
                <a:off x="3121391" y="2388624"/>
                <a:ext cx="131607" cy="191429"/>
              </a:xfrm>
              <a:custGeom>
                <a:avLst/>
                <a:gdLst>
                  <a:gd name="T0" fmla="*/ 0 w 44"/>
                  <a:gd name="T1" fmla="*/ 0 h 64"/>
                  <a:gd name="T2" fmla="*/ 44 w 44"/>
                  <a:gd name="T3" fmla="*/ 49 h 64"/>
                  <a:gd name="T4" fmla="*/ 12 w 44"/>
                  <a:gd name="T5" fmla="*/ 64 h 64"/>
                  <a:gd name="T6" fmla="*/ 0 w 44"/>
                  <a:gd name="T7" fmla="*/ 0 h 64"/>
                </a:gdLst>
                <a:ahLst/>
                <a:cxnLst>
                  <a:cxn ang="0">
                    <a:pos x="T0" y="T1"/>
                  </a:cxn>
                  <a:cxn ang="0">
                    <a:pos x="T2" y="T3"/>
                  </a:cxn>
                  <a:cxn ang="0">
                    <a:pos x="T4" y="T5"/>
                  </a:cxn>
                  <a:cxn ang="0">
                    <a:pos x="T6" y="T7"/>
                  </a:cxn>
                </a:cxnLst>
                <a:rect l="0" t="0" r="r" b="b"/>
                <a:pathLst>
                  <a:path w="44" h="64">
                    <a:moveTo>
                      <a:pt x="0" y="0"/>
                    </a:moveTo>
                    <a:lnTo>
                      <a:pt x="44" y="49"/>
                    </a:lnTo>
                    <a:lnTo>
                      <a:pt x="12" y="64"/>
                    </a:lnTo>
                    <a:lnTo>
                      <a:pt x="0" y="0"/>
                    </a:lnTo>
                    <a:close/>
                  </a:path>
                </a:pathLst>
              </a:custGeom>
              <a:solidFill>
                <a:srgbClr val="9A8D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27" name="Freeform 181"/>
              <p:cNvSpPr>
                <a:spLocks/>
              </p:cNvSpPr>
              <p:nvPr/>
            </p:nvSpPr>
            <p:spPr bwMode="auto">
              <a:xfrm>
                <a:off x="3046613" y="2457419"/>
                <a:ext cx="29911" cy="29911"/>
              </a:xfrm>
              <a:custGeom>
                <a:avLst/>
                <a:gdLst>
                  <a:gd name="T0" fmla="*/ 11 w 12"/>
                  <a:gd name="T1" fmla="*/ 3 h 12"/>
                  <a:gd name="T2" fmla="*/ 9 w 12"/>
                  <a:gd name="T3" fmla="*/ 10 h 12"/>
                  <a:gd name="T4" fmla="*/ 2 w 12"/>
                  <a:gd name="T5" fmla="*/ 8 h 12"/>
                  <a:gd name="T6" fmla="*/ 4 w 12"/>
                  <a:gd name="T7" fmla="*/ 1 h 12"/>
                  <a:gd name="T8" fmla="*/ 11 w 12"/>
                  <a:gd name="T9" fmla="*/ 3 h 12"/>
                </a:gdLst>
                <a:ahLst/>
                <a:cxnLst>
                  <a:cxn ang="0">
                    <a:pos x="T0" y="T1"/>
                  </a:cxn>
                  <a:cxn ang="0">
                    <a:pos x="T2" y="T3"/>
                  </a:cxn>
                  <a:cxn ang="0">
                    <a:pos x="T4" y="T5"/>
                  </a:cxn>
                  <a:cxn ang="0">
                    <a:pos x="T6" y="T7"/>
                  </a:cxn>
                  <a:cxn ang="0">
                    <a:pos x="T8" y="T9"/>
                  </a:cxn>
                </a:cxnLst>
                <a:rect l="0" t="0" r="r" b="b"/>
                <a:pathLst>
                  <a:path w="12" h="12">
                    <a:moveTo>
                      <a:pt x="11" y="3"/>
                    </a:moveTo>
                    <a:cubicBezTo>
                      <a:pt x="12" y="6"/>
                      <a:pt x="11" y="9"/>
                      <a:pt x="9" y="10"/>
                    </a:cubicBezTo>
                    <a:cubicBezTo>
                      <a:pt x="6" y="12"/>
                      <a:pt x="3" y="11"/>
                      <a:pt x="2" y="8"/>
                    </a:cubicBezTo>
                    <a:cubicBezTo>
                      <a:pt x="0" y="5"/>
                      <a:pt x="1" y="2"/>
                      <a:pt x="4" y="1"/>
                    </a:cubicBezTo>
                    <a:cubicBezTo>
                      <a:pt x="7" y="0"/>
                      <a:pt x="10" y="1"/>
                      <a:pt x="11" y="3"/>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28" name="Freeform 182"/>
              <p:cNvSpPr>
                <a:spLocks/>
              </p:cNvSpPr>
              <p:nvPr/>
            </p:nvSpPr>
            <p:spPr bwMode="auto">
              <a:xfrm>
                <a:off x="4500276" y="2992821"/>
                <a:ext cx="29911" cy="29911"/>
              </a:xfrm>
              <a:custGeom>
                <a:avLst/>
                <a:gdLst>
                  <a:gd name="T0" fmla="*/ 1 w 12"/>
                  <a:gd name="T1" fmla="*/ 5 h 12"/>
                  <a:gd name="T2" fmla="*/ 5 w 12"/>
                  <a:gd name="T3" fmla="*/ 11 h 12"/>
                  <a:gd name="T4" fmla="*/ 12 w 12"/>
                  <a:gd name="T5" fmla="*/ 7 h 12"/>
                  <a:gd name="T6" fmla="*/ 7 w 12"/>
                  <a:gd name="T7" fmla="*/ 1 h 12"/>
                  <a:gd name="T8" fmla="*/ 1 w 12"/>
                  <a:gd name="T9" fmla="*/ 5 h 12"/>
                </a:gdLst>
                <a:ahLst/>
                <a:cxnLst>
                  <a:cxn ang="0">
                    <a:pos x="T0" y="T1"/>
                  </a:cxn>
                  <a:cxn ang="0">
                    <a:pos x="T2" y="T3"/>
                  </a:cxn>
                  <a:cxn ang="0">
                    <a:pos x="T4" y="T5"/>
                  </a:cxn>
                  <a:cxn ang="0">
                    <a:pos x="T6" y="T7"/>
                  </a:cxn>
                  <a:cxn ang="0">
                    <a:pos x="T8" y="T9"/>
                  </a:cxn>
                </a:cxnLst>
                <a:rect l="0" t="0" r="r" b="b"/>
                <a:pathLst>
                  <a:path w="12" h="12">
                    <a:moveTo>
                      <a:pt x="1" y="5"/>
                    </a:moveTo>
                    <a:cubicBezTo>
                      <a:pt x="0" y="8"/>
                      <a:pt x="2" y="11"/>
                      <a:pt x="5" y="11"/>
                    </a:cubicBezTo>
                    <a:cubicBezTo>
                      <a:pt x="8" y="12"/>
                      <a:pt x="11" y="10"/>
                      <a:pt x="12" y="7"/>
                    </a:cubicBezTo>
                    <a:cubicBezTo>
                      <a:pt x="12" y="4"/>
                      <a:pt x="10" y="1"/>
                      <a:pt x="7" y="1"/>
                    </a:cubicBezTo>
                    <a:cubicBezTo>
                      <a:pt x="5" y="0"/>
                      <a:pt x="2" y="2"/>
                      <a:pt x="1" y="5"/>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29" name="Rectangle 183"/>
              <p:cNvSpPr>
                <a:spLocks noChangeArrowheads="1"/>
              </p:cNvSpPr>
              <p:nvPr/>
            </p:nvSpPr>
            <p:spPr bwMode="auto">
              <a:xfrm>
                <a:off x="2849202" y="1114425"/>
                <a:ext cx="197411" cy="62812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30" name="Rectangle 184"/>
              <p:cNvSpPr>
                <a:spLocks noChangeArrowheads="1"/>
              </p:cNvSpPr>
              <p:nvPr/>
            </p:nvSpPr>
            <p:spPr bwMode="auto">
              <a:xfrm>
                <a:off x="2849202" y="1823311"/>
                <a:ext cx="197411" cy="11665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31" name="Freeform 185"/>
              <p:cNvSpPr>
                <a:spLocks/>
              </p:cNvSpPr>
              <p:nvPr/>
            </p:nvSpPr>
            <p:spPr bwMode="auto">
              <a:xfrm>
                <a:off x="3821303" y="3453447"/>
                <a:ext cx="592233" cy="559332"/>
              </a:xfrm>
              <a:custGeom>
                <a:avLst/>
                <a:gdLst>
                  <a:gd name="T0" fmla="*/ 231 w 234"/>
                  <a:gd name="T1" fmla="*/ 156 h 221"/>
                  <a:gd name="T2" fmla="*/ 47 w 234"/>
                  <a:gd name="T3" fmla="*/ 221 h 221"/>
                  <a:gd name="T4" fmla="*/ 0 w 234"/>
                  <a:gd name="T5" fmla="*/ 219 h 221"/>
                  <a:gd name="T6" fmla="*/ 5 w 234"/>
                  <a:gd name="T7" fmla="*/ 162 h 221"/>
                  <a:gd name="T8" fmla="*/ 189 w 234"/>
                  <a:gd name="T9" fmla="*/ 117 h 221"/>
                  <a:gd name="T10" fmla="*/ 224 w 234"/>
                  <a:gd name="T11" fmla="*/ 0 h 221"/>
                  <a:gd name="T12" fmla="*/ 231 w 234"/>
                  <a:gd name="T13" fmla="*/ 156 h 221"/>
                </a:gdLst>
                <a:ahLst/>
                <a:cxnLst>
                  <a:cxn ang="0">
                    <a:pos x="T0" y="T1"/>
                  </a:cxn>
                  <a:cxn ang="0">
                    <a:pos x="T2" y="T3"/>
                  </a:cxn>
                  <a:cxn ang="0">
                    <a:pos x="T4" y="T5"/>
                  </a:cxn>
                  <a:cxn ang="0">
                    <a:pos x="T6" y="T7"/>
                  </a:cxn>
                  <a:cxn ang="0">
                    <a:pos x="T8" y="T9"/>
                  </a:cxn>
                  <a:cxn ang="0">
                    <a:pos x="T10" y="T11"/>
                  </a:cxn>
                  <a:cxn ang="0">
                    <a:pos x="T12" y="T13"/>
                  </a:cxn>
                </a:cxnLst>
                <a:rect l="0" t="0" r="r" b="b"/>
                <a:pathLst>
                  <a:path w="234" h="221">
                    <a:moveTo>
                      <a:pt x="231" y="156"/>
                    </a:moveTo>
                    <a:cubicBezTo>
                      <a:pt x="190" y="199"/>
                      <a:pt x="128" y="221"/>
                      <a:pt x="47" y="221"/>
                    </a:cubicBezTo>
                    <a:cubicBezTo>
                      <a:pt x="32" y="221"/>
                      <a:pt x="16" y="220"/>
                      <a:pt x="0" y="219"/>
                    </a:cubicBezTo>
                    <a:cubicBezTo>
                      <a:pt x="5" y="162"/>
                      <a:pt x="5" y="162"/>
                      <a:pt x="5" y="162"/>
                    </a:cubicBezTo>
                    <a:cubicBezTo>
                      <a:pt x="92" y="170"/>
                      <a:pt x="154" y="155"/>
                      <a:pt x="189" y="117"/>
                    </a:cubicBezTo>
                    <a:cubicBezTo>
                      <a:pt x="234" y="70"/>
                      <a:pt x="225" y="0"/>
                      <a:pt x="224" y="0"/>
                    </a:cubicBezTo>
                    <a:cubicBezTo>
                      <a:pt x="231" y="156"/>
                      <a:pt x="231" y="156"/>
                      <a:pt x="231" y="156"/>
                    </a:cubicBezTo>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32" name="Freeform 186"/>
              <p:cNvSpPr>
                <a:spLocks/>
              </p:cNvSpPr>
              <p:nvPr/>
            </p:nvSpPr>
            <p:spPr bwMode="auto">
              <a:xfrm>
                <a:off x="4135365" y="3653850"/>
                <a:ext cx="272189" cy="299108"/>
              </a:xfrm>
              <a:custGeom>
                <a:avLst/>
                <a:gdLst>
                  <a:gd name="T0" fmla="*/ 74 w 91"/>
                  <a:gd name="T1" fmla="*/ 0 h 100"/>
                  <a:gd name="T2" fmla="*/ 0 w 91"/>
                  <a:gd name="T3" fmla="*/ 85 h 100"/>
                  <a:gd name="T4" fmla="*/ 17 w 91"/>
                  <a:gd name="T5" fmla="*/ 100 h 100"/>
                  <a:gd name="T6" fmla="*/ 91 w 91"/>
                  <a:gd name="T7" fmla="*/ 15 h 100"/>
                  <a:gd name="T8" fmla="*/ 74 w 91"/>
                  <a:gd name="T9" fmla="*/ 0 h 100"/>
                </a:gdLst>
                <a:ahLst/>
                <a:cxnLst>
                  <a:cxn ang="0">
                    <a:pos x="T0" y="T1"/>
                  </a:cxn>
                  <a:cxn ang="0">
                    <a:pos x="T2" y="T3"/>
                  </a:cxn>
                  <a:cxn ang="0">
                    <a:pos x="T4" y="T5"/>
                  </a:cxn>
                  <a:cxn ang="0">
                    <a:pos x="T6" y="T7"/>
                  </a:cxn>
                  <a:cxn ang="0">
                    <a:pos x="T8" y="T9"/>
                  </a:cxn>
                </a:cxnLst>
                <a:rect l="0" t="0" r="r" b="b"/>
                <a:pathLst>
                  <a:path w="91" h="100">
                    <a:moveTo>
                      <a:pt x="74" y="0"/>
                    </a:moveTo>
                    <a:lnTo>
                      <a:pt x="0" y="85"/>
                    </a:lnTo>
                    <a:lnTo>
                      <a:pt x="17" y="100"/>
                    </a:lnTo>
                    <a:lnTo>
                      <a:pt x="91" y="15"/>
                    </a:lnTo>
                    <a:lnTo>
                      <a:pt x="74" y="0"/>
                    </a:lnTo>
                    <a:close/>
                  </a:path>
                </a:pathLst>
              </a:custGeom>
              <a:solidFill>
                <a:srgbClr val="FFF1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33" name="Freeform 187"/>
              <p:cNvSpPr>
                <a:spLocks/>
              </p:cNvSpPr>
              <p:nvPr/>
            </p:nvSpPr>
            <p:spPr bwMode="auto">
              <a:xfrm>
                <a:off x="4314829" y="3653850"/>
                <a:ext cx="92724" cy="95714"/>
              </a:xfrm>
              <a:custGeom>
                <a:avLst/>
                <a:gdLst>
                  <a:gd name="T0" fmla="*/ 0 w 31"/>
                  <a:gd name="T1" fmla="*/ 18 h 32"/>
                  <a:gd name="T2" fmla="*/ 17 w 31"/>
                  <a:gd name="T3" fmla="*/ 32 h 32"/>
                  <a:gd name="T4" fmla="*/ 31 w 31"/>
                  <a:gd name="T5" fmla="*/ 15 h 32"/>
                  <a:gd name="T6" fmla="*/ 14 w 31"/>
                  <a:gd name="T7" fmla="*/ 0 h 32"/>
                  <a:gd name="T8" fmla="*/ 0 w 31"/>
                  <a:gd name="T9" fmla="*/ 18 h 32"/>
                </a:gdLst>
                <a:ahLst/>
                <a:cxnLst>
                  <a:cxn ang="0">
                    <a:pos x="T0" y="T1"/>
                  </a:cxn>
                  <a:cxn ang="0">
                    <a:pos x="T2" y="T3"/>
                  </a:cxn>
                  <a:cxn ang="0">
                    <a:pos x="T4" y="T5"/>
                  </a:cxn>
                  <a:cxn ang="0">
                    <a:pos x="T6" y="T7"/>
                  </a:cxn>
                  <a:cxn ang="0">
                    <a:pos x="T8" y="T9"/>
                  </a:cxn>
                </a:cxnLst>
                <a:rect l="0" t="0" r="r" b="b"/>
                <a:pathLst>
                  <a:path w="31" h="32">
                    <a:moveTo>
                      <a:pt x="0" y="18"/>
                    </a:moveTo>
                    <a:lnTo>
                      <a:pt x="17" y="32"/>
                    </a:lnTo>
                    <a:lnTo>
                      <a:pt x="31" y="15"/>
                    </a:lnTo>
                    <a:lnTo>
                      <a:pt x="14" y="0"/>
                    </a:lnTo>
                    <a:lnTo>
                      <a:pt x="0" y="18"/>
                    </a:lnTo>
                    <a:close/>
                  </a:path>
                </a:pathLst>
              </a:custGeom>
              <a:solidFill>
                <a:srgbClr val="F472D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34" name="Freeform 188"/>
              <p:cNvSpPr>
                <a:spLocks/>
              </p:cNvSpPr>
              <p:nvPr/>
            </p:nvSpPr>
            <p:spPr bwMode="auto">
              <a:xfrm>
                <a:off x="4287911" y="3707689"/>
                <a:ext cx="77768" cy="71786"/>
              </a:xfrm>
              <a:custGeom>
                <a:avLst/>
                <a:gdLst>
                  <a:gd name="T0" fmla="*/ 9 w 26"/>
                  <a:gd name="T1" fmla="*/ 0 h 24"/>
                  <a:gd name="T2" fmla="*/ 26 w 26"/>
                  <a:gd name="T3" fmla="*/ 14 h 24"/>
                  <a:gd name="T4" fmla="*/ 17 w 26"/>
                  <a:gd name="T5" fmla="*/ 24 h 24"/>
                  <a:gd name="T6" fmla="*/ 0 w 26"/>
                  <a:gd name="T7" fmla="*/ 10 h 24"/>
                  <a:gd name="T8" fmla="*/ 9 w 26"/>
                  <a:gd name="T9" fmla="*/ 0 h 24"/>
                </a:gdLst>
                <a:ahLst/>
                <a:cxnLst>
                  <a:cxn ang="0">
                    <a:pos x="T0" y="T1"/>
                  </a:cxn>
                  <a:cxn ang="0">
                    <a:pos x="T2" y="T3"/>
                  </a:cxn>
                  <a:cxn ang="0">
                    <a:pos x="T4" y="T5"/>
                  </a:cxn>
                  <a:cxn ang="0">
                    <a:pos x="T6" y="T7"/>
                  </a:cxn>
                  <a:cxn ang="0">
                    <a:pos x="T8" y="T9"/>
                  </a:cxn>
                </a:cxnLst>
                <a:rect l="0" t="0" r="r" b="b"/>
                <a:pathLst>
                  <a:path w="26" h="24">
                    <a:moveTo>
                      <a:pt x="9" y="0"/>
                    </a:moveTo>
                    <a:lnTo>
                      <a:pt x="26" y="14"/>
                    </a:lnTo>
                    <a:lnTo>
                      <a:pt x="17" y="24"/>
                    </a:lnTo>
                    <a:lnTo>
                      <a:pt x="0" y="10"/>
                    </a:lnTo>
                    <a:lnTo>
                      <a:pt x="9"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35" name="Freeform 189"/>
              <p:cNvSpPr>
                <a:spLocks/>
              </p:cNvSpPr>
              <p:nvPr/>
            </p:nvSpPr>
            <p:spPr bwMode="auto">
              <a:xfrm>
                <a:off x="4287911" y="3707689"/>
                <a:ext cx="77768" cy="71786"/>
              </a:xfrm>
              <a:custGeom>
                <a:avLst/>
                <a:gdLst>
                  <a:gd name="T0" fmla="*/ 9 w 26"/>
                  <a:gd name="T1" fmla="*/ 0 h 24"/>
                  <a:gd name="T2" fmla="*/ 26 w 26"/>
                  <a:gd name="T3" fmla="*/ 14 h 24"/>
                  <a:gd name="T4" fmla="*/ 17 w 26"/>
                  <a:gd name="T5" fmla="*/ 24 h 24"/>
                  <a:gd name="T6" fmla="*/ 0 w 26"/>
                  <a:gd name="T7" fmla="*/ 10 h 24"/>
                </a:gdLst>
                <a:ahLst/>
                <a:cxnLst>
                  <a:cxn ang="0">
                    <a:pos x="T0" y="T1"/>
                  </a:cxn>
                  <a:cxn ang="0">
                    <a:pos x="T2" y="T3"/>
                  </a:cxn>
                  <a:cxn ang="0">
                    <a:pos x="T4" y="T5"/>
                  </a:cxn>
                  <a:cxn ang="0">
                    <a:pos x="T6" y="T7"/>
                  </a:cxn>
                </a:cxnLst>
                <a:rect l="0" t="0" r="r" b="b"/>
                <a:pathLst>
                  <a:path w="26" h="24">
                    <a:moveTo>
                      <a:pt x="9" y="0"/>
                    </a:moveTo>
                    <a:lnTo>
                      <a:pt x="26" y="14"/>
                    </a:lnTo>
                    <a:lnTo>
                      <a:pt x="17" y="24"/>
                    </a:lnTo>
                    <a:lnTo>
                      <a:pt x="0" y="1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36" name="Freeform 190"/>
              <p:cNvSpPr>
                <a:spLocks/>
              </p:cNvSpPr>
              <p:nvPr/>
            </p:nvSpPr>
            <p:spPr bwMode="auto">
              <a:xfrm>
                <a:off x="4114428" y="3908090"/>
                <a:ext cx="71786" cy="71786"/>
              </a:xfrm>
              <a:custGeom>
                <a:avLst/>
                <a:gdLst>
                  <a:gd name="T0" fmla="*/ 7 w 24"/>
                  <a:gd name="T1" fmla="*/ 0 h 24"/>
                  <a:gd name="T2" fmla="*/ 24 w 24"/>
                  <a:gd name="T3" fmla="*/ 15 h 24"/>
                  <a:gd name="T4" fmla="*/ 0 w 24"/>
                  <a:gd name="T5" fmla="*/ 24 h 24"/>
                  <a:gd name="T6" fmla="*/ 7 w 24"/>
                  <a:gd name="T7" fmla="*/ 0 h 24"/>
                </a:gdLst>
                <a:ahLst/>
                <a:cxnLst>
                  <a:cxn ang="0">
                    <a:pos x="T0" y="T1"/>
                  </a:cxn>
                  <a:cxn ang="0">
                    <a:pos x="T2" y="T3"/>
                  </a:cxn>
                  <a:cxn ang="0">
                    <a:pos x="T4" y="T5"/>
                  </a:cxn>
                  <a:cxn ang="0">
                    <a:pos x="T6" y="T7"/>
                  </a:cxn>
                </a:cxnLst>
                <a:rect l="0" t="0" r="r" b="b"/>
                <a:pathLst>
                  <a:path w="24" h="24">
                    <a:moveTo>
                      <a:pt x="7" y="0"/>
                    </a:moveTo>
                    <a:lnTo>
                      <a:pt x="24" y="15"/>
                    </a:lnTo>
                    <a:lnTo>
                      <a:pt x="0" y="24"/>
                    </a:lnTo>
                    <a:lnTo>
                      <a:pt x="7" y="0"/>
                    </a:lnTo>
                    <a:close/>
                  </a:path>
                </a:pathLst>
              </a:custGeom>
              <a:solidFill>
                <a:srgbClr val="FFFC9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37" name="Freeform 191"/>
              <p:cNvSpPr>
                <a:spLocks/>
              </p:cNvSpPr>
              <p:nvPr/>
            </p:nvSpPr>
            <p:spPr bwMode="auto">
              <a:xfrm>
                <a:off x="4114428" y="3943983"/>
                <a:ext cx="35893" cy="35893"/>
              </a:xfrm>
              <a:custGeom>
                <a:avLst/>
                <a:gdLst>
                  <a:gd name="T0" fmla="*/ 12 w 12"/>
                  <a:gd name="T1" fmla="*/ 8 h 12"/>
                  <a:gd name="T2" fmla="*/ 4 w 12"/>
                  <a:gd name="T3" fmla="*/ 0 h 12"/>
                  <a:gd name="T4" fmla="*/ 0 w 12"/>
                  <a:gd name="T5" fmla="*/ 12 h 12"/>
                  <a:gd name="T6" fmla="*/ 12 w 12"/>
                  <a:gd name="T7" fmla="*/ 8 h 12"/>
                </a:gdLst>
                <a:ahLst/>
                <a:cxnLst>
                  <a:cxn ang="0">
                    <a:pos x="T0" y="T1"/>
                  </a:cxn>
                  <a:cxn ang="0">
                    <a:pos x="T2" y="T3"/>
                  </a:cxn>
                  <a:cxn ang="0">
                    <a:pos x="T4" y="T5"/>
                  </a:cxn>
                  <a:cxn ang="0">
                    <a:pos x="T6" y="T7"/>
                  </a:cxn>
                </a:cxnLst>
                <a:rect l="0" t="0" r="r" b="b"/>
                <a:pathLst>
                  <a:path w="12" h="12">
                    <a:moveTo>
                      <a:pt x="12" y="8"/>
                    </a:moveTo>
                    <a:lnTo>
                      <a:pt x="4" y="0"/>
                    </a:lnTo>
                    <a:lnTo>
                      <a:pt x="0" y="12"/>
                    </a:lnTo>
                    <a:lnTo>
                      <a:pt x="12" y="8"/>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38" name="Freeform 192"/>
              <p:cNvSpPr>
                <a:spLocks/>
              </p:cNvSpPr>
              <p:nvPr/>
            </p:nvSpPr>
            <p:spPr bwMode="auto">
              <a:xfrm>
                <a:off x="4147329" y="3716661"/>
                <a:ext cx="239286" cy="239286"/>
              </a:xfrm>
              <a:custGeom>
                <a:avLst/>
                <a:gdLst>
                  <a:gd name="T0" fmla="*/ 66 w 95"/>
                  <a:gd name="T1" fmla="*/ 14 h 95"/>
                  <a:gd name="T2" fmla="*/ 66 w 95"/>
                  <a:gd name="T3" fmla="*/ 14 h 95"/>
                  <a:gd name="T4" fmla="*/ 65 w 95"/>
                  <a:gd name="T5" fmla="*/ 13 h 95"/>
                  <a:gd name="T6" fmla="*/ 13 w 95"/>
                  <a:gd name="T7" fmla="*/ 17 h 95"/>
                  <a:gd name="T8" fmla="*/ 17 w 95"/>
                  <a:gd name="T9" fmla="*/ 69 h 95"/>
                  <a:gd name="T10" fmla="*/ 18 w 95"/>
                  <a:gd name="T11" fmla="*/ 70 h 95"/>
                  <a:gd name="T12" fmla="*/ 18 w 95"/>
                  <a:gd name="T13" fmla="*/ 70 h 95"/>
                  <a:gd name="T14" fmla="*/ 47 w 95"/>
                  <a:gd name="T15" fmla="*/ 95 h 95"/>
                  <a:gd name="T16" fmla="*/ 95 w 95"/>
                  <a:gd name="T17" fmla="*/ 39 h 95"/>
                  <a:gd name="T18" fmla="*/ 66 w 95"/>
                  <a:gd name="T19" fmla="*/ 14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5" h="95">
                    <a:moveTo>
                      <a:pt x="66" y="14"/>
                    </a:moveTo>
                    <a:cubicBezTo>
                      <a:pt x="66" y="14"/>
                      <a:pt x="66" y="14"/>
                      <a:pt x="66" y="14"/>
                    </a:cubicBezTo>
                    <a:cubicBezTo>
                      <a:pt x="66" y="14"/>
                      <a:pt x="66" y="13"/>
                      <a:pt x="65" y="13"/>
                    </a:cubicBezTo>
                    <a:cubicBezTo>
                      <a:pt x="50" y="0"/>
                      <a:pt x="27" y="1"/>
                      <a:pt x="13" y="17"/>
                    </a:cubicBezTo>
                    <a:cubicBezTo>
                      <a:pt x="0" y="32"/>
                      <a:pt x="1" y="56"/>
                      <a:pt x="17" y="69"/>
                    </a:cubicBezTo>
                    <a:cubicBezTo>
                      <a:pt x="17" y="70"/>
                      <a:pt x="18" y="70"/>
                      <a:pt x="18" y="70"/>
                    </a:cubicBezTo>
                    <a:cubicBezTo>
                      <a:pt x="18" y="70"/>
                      <a:pt x="18" y="70"/>
                      <a:pt x="18" y="70"/>
                    </a:cubicBezTo>
                    <a:cubicBezTo>
                      <a:pt x="47" y="95"/>
                      <a:pt x="47" y="95"/>
                      <a:pt x="47" y="95"/>
                    </a:cubicBezTo>
                    <a:cubicBezTo>
                      <a:pt x="95" y="39"/>
                      <a:pt x="95" y="39"/>
                      <a:pt x="95" y="39"/>
                    </a:cubicBezTo>
                    <a:lnTo>
                      <a:pt x="66" y="14"/>
                    </a:lnTo>
                    <a:close/>
                  </a:path>
                </a:pathLst>
              </a:custGeom>
              <a:solidFill>
                <a:srgbClr val="FFFC9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39" name="Freeform 193"/>
              <p:cNvSpPr>
                <a:spLocks/>
              </p:cNvSpPr>
              <p:nvPr/>
            </p:nvSpPr>
            <p:spPr bwMode="auto">
              <a:xfrm>
                <a:off x="3656793" y="3854251"/>
                <a:ext cx="203393" cy="197411"/>
              </a:xfrm>
              <a:custGeom>
                <a:avLst/>
                <a:gdLst>
                  <a:gd name="T0" fmla="*/ 42 w 81"/>
                  <a:gd name="T1" fmla="*/ 1 h 78"/>
                  <a:gd name="T2" fmla="*/ 42 w 81"/>
                  <a:gd name="T3" fmla="*/ 1 h 78"/>
                  <a:gd name="T4" fmla="*/ 41 w 81"/>
                  <a:gd name="T5" fmla="*/ 1 h 78"/>
                  <a:gd name="T6" fmla="*/ 1 w 81"/>
                  <a:gd name="T7" fmla="*/ 36 h 78"/>
                  <a:gd name="T8" fmla="*/ 36 w 81"/>
                  <a:gd name="T9" fmla="*/ 75 h 78"/>
                  <a:gd name="T10" fmla="*/ 37 w 81"/>
                  <a:gd name="T11" fmla="*/ 75 h 78"/>
                  <a:gd name="T12" fmla="*/ 37 w 81"/>
                  <a:gd name="T13" fmla="*/ 75 h 78"/>
                  <a:gd name="T14" fmla="*/ 76 w 81"/>
                  <a:gd name="T15" fmla="*/ 78 h 78"/>
                  <a:gd name="T16" fmla="*/ 81 w 81"/>
                  <a:gd name="T17" fmla="*/ 4 h 78"/>
                  <a:gd name="T18" fmla="*/ 42 w 81"/>
                  <a:gd name="T19" fmla="*/ 1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1" h="78">
                    <a:moveTo>
                      <a:pt x="42" y="1"/>
                    </a:moveTo>
                    <a:cubicBezTo>
                      <a:pt x="42" y="1"/>
                      <a:pt x="42" y="1"/>
                      <a:pt x="42" y="1"/>
                    </a:cubicBezTo>
                    <a:cubicBezTo>
                      <a:pt x="42" y="1"/>
                      <a:pt x="41" y="1"/>
                      <a:pt x="41" y="1"/>
                    </a:cubicBezTo>
                    <a:cubicBezTo>
                      <a:pt x="21" y="0"/>
                      <a:pt x="3" y="15"/>
                      <a:pt x="1" y="36"/>
                    </a:cubicBezTo>
                    <a:cubicBezTo>
                      <a:pt x="0" y="56"/>
                      <a:pt x="15" y="74"/>
                      <a:pt x="36" y="75"/>
                    </a:cubicBezTo>
                    <a:cubicBezTo>
                      <a:pt x="36" y="75"/>
                      <a:pt x="37" y="75"/>
                      <a:pt x="37" y="75"/>
                    </a:cubicBezTo>
                    <a:cubicBezTo>
                      <a:pt x="37" y="75"/>
                      <a:pt x="37" y="75"/>
                      <a:pt x="37" y="75"/>
                    </a:cubicBezTo>
                    <a:cubicBezTo>
                      <a:pt x="76" y="78"/>
                      <a:pt x="76" y="78"/>
                      <a:pt x="76" y="78"/>
                    </a:cubicBezTo>
                    <a:cubicBezTo>
                      <a:pt x="81" y="4"/>
                      <a:pt x="81" y="4"/>
                      <a:pt x="81" y="4"/>
                    </a:cubicBezTo>
                    <a:cubicBezTo>
                      <a:pt x="42" y="1"/>
                      <a:pt x="42" y="1"/>
                      <a:pt x="42" y="1"/>
                    </a:cubicBezTo>
                  </a:path>
                </a:pathLst>
              </a:custGeom>
              <a:solidFill>
                <a:srgbClr val="FFFC9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40" name="Rectangle 202"/>
              <p:cNvSpPr>
                <a:spLocks noChangeArrowheads="1"/>
              </p:cNvSpPr>
              <p:nvPr/>
            </p:nvSpPr>
            <p:spPr bwMode="auto">
              <a:xfrm>
                <a:off x="1102413" y="4006797"/>
                <a:ext cx="3690988" cy="15852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41" name="Rectangle 203"/>
              <p:cNvSpPr>
                <a:spLocks noChangeArrowheads="1"/>
              </p:cNvSpPr>
              <p:nvPr/>
            </p:nvSpPr>
            <p:spPr bwMode="auto">
              <a:xfrm>
                <a:off x="1281877" y="4006797"/>
                <a:ext cx="3511524" cy="1585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42" name="Freeform 211"/>
              <p:cNvSpPr>
                <a:spLocks/>
              </p:cNvSpPr>
              <p:nvPr/>
            </p:nvSpPr>
            <p:spPr bwMode="auto">
              <a:xfrm>
                <a:off x="2025553" y="4006797"/>
                <a:ext cx="2956022" cy="158528"/>
              </a:xfrm>
              <a:custGeom>
                <a:avLst/>
                <a:gdLst>
                  <a:gd name="T0" fmla="*/ 919 w 919"/>
                  <a:gd name="T1" fmla="*/ 0 h 53"/>
                  <a:gd name="T2" fmla="*/ 604 w 919"/>
                  <a:gd name="T3" fmla="*/ 0 h 53"/>
                  <a:gd name="T4" fmla="*/ 545 w 919"/>
                  <a:gd name="T5" fmla="*/ 0 h 53"/>
                  <a:gd name="T6" fmla="*/ 413 w 919"/>
                  <a:gd name="T7" fmla="*/ 0 h 53"/>
                  <a:gd name="T8" fmla="*/ 178 w 919"/>
                  <a:gd name="T9" fmla="*/ 0 h 53"/>
                  <a:gd name="T10" fmla="*/ 173 w 919"/>
                  <a:gd name="T11" fmla="*/ 0 h 53"/>
                  <a:gd name="T12" fmla="*/ 120 w 919"/>
                  <a:gd name="T13" fmla="*/ 0 h 53"/>
                  <a:gd name="T14" fmla="*/ 0 w 919"/>
                  <a:gd name="T15" fmla="*/ 0 h 53"/>
                  <a:gd name="T16" fmla="*/ 0 w 919"/>
                  <a:gd name="T17" fmla="*/ 53 h 53"/>
                  <a:gd name="T18" fmla="*/ 1 w 919"/>
                  <a:gd name="T19" fmla="*/ 53 h 53"/>
                  <a:gd name="T20" fmla="*/ 24 w 919"/>
                  <a:gd name="T21" fmla="*/ 53 h 53"/>
                  <a:gd name="T22" fmla="*/ 664 w 919"/>
                  <a:gd name="T23" fmla="*/ 53 h 53"/>
                  <a:gd name="T24" fmla="*/ 687 w 919"/>
                  <a:gd name="T25" fmla="*/ 53 h 53"/>
                  <a:gd name="T26" fmla="*/ 896 w 919"/>
                  <a:gd name="T27" fmla="*/ 53 h 53"/>
                  <a:gd name="T28" fmla="*/ 919 w 919"/>
                  <a:gd name="T29" fmla="*/ 53 h 53"/>
                  <a:gd name="T30" fmla="*/ 919 w 919"/>
                  <a:gd name="T31" fmla="*/ 53 h 53"/>
                  <a:gd name="T32" fmla="*/ 919 w 919"/>
                  <a:gd name="T33" fmla="*/ 31 h 53"/>
                  <a:gd name="T34" fmla="*/ 919 w 919"/>
                  <a:gd name="T35" fmla="*/ 0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19" h="53">
                    <a:moveTo>
                      <a:pt x="919" y="0"/>
                    </a:moveTo>
                    <a:lnTo>
                      <a:pt x="604" y="0"/>
                    </a:lnTo>
                    <a:lnTo>
                      <a:pt x="545" y="0"/>
                    </a:lnTo>
                    <a:lnTo>
                      <a:pt x="413" y="0"/>
                    </a:lnTo>
                    <a:lnTo>
                      <a:pt x="178" y="0"/>
                    </a:lnTo>
                    <a:lnTo>
                      <a:pt x="173" y="0"/>
                    </a:lnTo>
                    <a:lnTo>
                      <a:pt x="120" y="0"/>
                    </a:lnTo>
                    <a:lnTo>
                      <a:pt x="0" y="0"/>
                    </a:lnTo>
                    <a:lnTo>
                      <a:pt x="0" y="53"/>
                    </a:lnTo>
                    <a:lnTo>
                      <a:pt x="1" y="53"/>
                    </a:lnTo>
                    <a:lnTo>
                      <a:pt x="24" y="53"/>
                    </a:lnTo>
                    <a:lnTo>
                      <a:pt x="664" y="53"/>
                    </a:lnTo>
                    <a:lnTo>
                      <a:pt x="687" y="53"/>
                    </a:lnTo>
                    <a:lnTo>
                      <a:pt x="896" y="53"/>
                    </a:lnTo>
                    <a:lnTo>
                      <a:pt x="919" y="53"/>
                    </a:lnTo>
                    <a:lnTo>
                      <a:pt x="919" y="53"/>
                    </a:lnTo>
                    <a:lnTo>
                      <a:pt x="919" y="31"/>
                    </a:lnTo>
                    <a:lnTo>
                      <a:pt x="919" y="0"/>
                    </a:lnTo>
                    <a:close/>
                  </a:path>
                </a:pathLst>
              </a:custGeom>
              <a:solidFill>
                <a:srgbClr val="591C6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43" name="Freeform 212"/>
              <p:cNvSpPr>
                <a:spLocks/>
              </p:cNvSpPr>
              <p:nvPr/>
            </p:nvSpPr>
            <p:spPr bwMode="auto">
              <a:xfrm>
                <a:off x="2044603" y="4006797"/>
                <a:ext cx="2748801" cy="158528"/>
              </a:xfrm>
              <a:custGeom>
                <a:avLst/>
                <a:gdLst>
                  <a:gd name="T0" fmla="*/ 919 w 919"/>
                  <a:gd name="T1" fmla="*/ 0 h 53"/>
                  <a:gd name="T2" fmla="*/ 604 w 919"/>
                  <a:gd name="T3" fmla="*/ 0 h 53"/>
                  <a:gd name="T4" fmla="*/ 545 w 919"/>
                  <a:gd name="T5" fmla="*/ 0 h 53"/>
                  <a:gd name="T6" fmla="*/ 413 w 919"/>
                  <a:gd name="T7" fmla="*/ 0 h 53"/>
                  <a:gd name="T8" fmla="*/ 178 w 919"/>
                  <a:gd name="T9" fmla="*/ 0 h 53"/>
                  <a:gd name="T10" fmla="*/ 173 w 919"/>
                  <a:gd name="T11" fmla="*/ 0 h 53"/>
                  <a:gd name="T12" fmla="*/ 120 w 919"/>
                  <a:gd name="T13" fmla="*/ 0 h 53"/>
                  <a:gd name="T14" fmla="*/ 0 w 919"/>
                  <a:gd name="T15" fmla="*/ 0 h 53"/>
                  <a:gd name="T16" fmla="*/ 0 w 919"/>
                  <a:gd name="T17" fmla="*/ 53 h 53"/>
                  <a:gd name="T18" fmla="*/ 1 w 919"/>
                  <a:gd name="T19" fmla="*/ 53 h 53"/>
                  <a:gd name="T20" fmla="*/ 24 w 919"/>
                  <a:gd name="T21" fmla="*/ 53 h 53"/>
                  <a:gd name="T22" fmla="*/ 664 w 919"/>
                  <a:gd name="T23" fmla="*/ 53 h 53"/>
                  <a:gd name="T24" fmla="*/ 687 w 919"/>
                  <a:gd name="T25" fmla="*/ 53 h 53"/>
                  <a:gd name="T26" fmla="*/ 896 w 919"/>
                  <a:gd name="T27" fmla="*/ 53 h 53"/>
                  <a:gd name="T28" fmla="*/ 919 w 919"/>
                  <a:gd name="T29" fmla="*/ 53 h 53"/>
                  <a:gd name="T30" fmla="*/ 919 w 919"/>
                  <a:gd name="T31" fmla="*/ 53 h 53"/>
                  <a:gd name="T32" fmla="*/ 919 w 919"/>
                  <a:gd name="T33" fmla="*/ 31 h 53"/>
                  <a:gd name="T34" fmla="*/ 919 w 919"/>
                  <a:gd name="T35" fmla="*/ 0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19" h="53">
                    <a:moveTo>
                      <a:pt x="919" y="0"/>
                    </a:moveTo>
                    <a:lnTo>
                      <a:pt x="604" y="0"/>
                    </a:lnTo>
                    <a:lnTo>
                      <a:pt x="545" y="0"/>
                    </a:lnTo>
                    <a:lnTo>
                      <a:pt x="413" y="0"/>
                    </a:lnTo>
                    <a:lnTo>
                      <a:pt x="178" y="0"/>
                    </a:lnTo>
                    <a:lnTo>
                      <a:pt x="173" y="0"/>
                    </a:lnTo>
                    <a:lnTo>
                      <a:pt x="120" y="0"/>
                    </a:lnTo>
                    <a:lnTo>
                      <a:pt x="0" y="0"/>
                    </a:lnTo>
                    <a:lnTo>
                      <a:pt x="0" y="53"/>
                    </a:lnTo>
                    <a:lnTo>
                      <a:pt x="1" y="53"/>
                    </a:lnTo>
                    <a:lnTo>
                      <a:pt x="24" y="53"/>
                    </a:lnTo>
                    <a:lnTo>
                      <a:pt x="664" y="53"/>
                    </a:lnTo>
                    <a:lnTo>
                      <a:pt x="687" y="53"/>
                    </a:lnTo>
                    <a:lnTo>
                      <a:pt x="896" y="53"/>
                    </a:lnTo>
                    <a:lnTo>
                      <a:pt x="919" y="53"/>
                    </a:lnTo>
                    <a:lnTo>
                      <a:pt x="919" y="53"/>
                    </a:lnTo>
                    <a:lnTo>
                      <a:pt x="919" y="31"/>
                    </a:lnTo>
                    <a:lnTo>
                      <a:pt x="91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44" name="Rectangle 213"/>
              <p:cNvSpPr>
                <a:spLocks noChangeArrowheads="1"/>
              </p:cNvSpPr>
              <p:nvPr/>
            </p:nvSpPr>
            <p:spPr bwMode="auto">
              <a:xfrm>
                <a:off x="1766432" y="3920055"/>
                <a:ext cx="906297" cy="86742"/>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45" name="Rectangle 214"/>
              <p:cNvSpPr>
                <a:spLocks noChangeArrowheads="1"/>
              </p:cNvSpPr>
              <p:nvPr/>
            </p:nvSpPr>
            <p:spPr bwMode="auto">
              <a:xfrm>
                <a:off x="2083486" y="3486350"/>
                <a:ext cx="589243" cy="466608"/>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46" name="Rectangle 215"/>
              <p:cNvSpPr>
                <a:spLocks noChangeArrowheads="1"/>
              </p:cNvSpPr>
              <p:nvPr/>
            </p:nvSpPr>
            <p:spPr bwMode="auto">
              <a:xfrm>
                <a:off x="1766432" y="3920055"/>
                <a:ext cx="367903" cy="86742"/>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47" name="Rectangle 216"/>
              <p:cNvSpPr>
                <a:spLocks noChangeArrowheads="1"/>
              </p:cNvSpPr>
              <p:nvPr/>
            </p:nvSpPr>
            <p:spPr bwMode="auto">
              <a:xfrm>
                <a:off x="2083486" y="3486350"/>
                <a:ext cx="50849" cy="433707"/>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48" name="Freeform 217"/>
              <p:cNvSpPr>
                <a:spLocks/>
              </p:cNvSpPr>
              <p:nvPr/>
            </p:nvSpPr>
            <p:spPr bwMode="auto">
              <a:xfrm>
                <a:off x="3106434" y="3130410"/>
                <a:ext cx="95714" cy="65804"/>
              </a:xfrm>
              <a:custGeom>
                <a:avLst/>
                <a:gdLst>
                  <a:gd name="T0" fmla="*/ 0 w 32"/>
                  <a:gd name="T1" fmla="*/ 22 h 22"/>
                  <a:gd name="T2" fmla="*/ 16 w 32"/>
                  <a:gd name="T3" fmla="*/ 0 h 22"/>
                  <a:gd name="T4" fmla="*/ 32 w 32"/>
                  <a:gd name="T5" fmla="*/ 22 h 22"/>
                  <a:gd name="T6" fmla="*/ 0 w 32"/>
                  <a:gd name="T7" fmla="*/ 22 h 22"/>
                </a:gdLst>
                <a:ahLst/>
                <a:cxnLst>
                  <a:cxn ang="0">
                    <a:pos x="T0" y="T1"/>
                  </a:cxn>
                  <a:cxn ang="0">
                    <a:pos x="T2" y="T3"/>
                  </a:cxn>
                  <a:cxn ang="0">
                    <a:pos x="T4" y="T5"/>
                  </a:cxn>
                  <a:cxn ang="0">
                    <a:pos x="T6" y="T7"/>
                  </a:cxn>
                </a:cxnLst>
                <a:rect l="0" t="0" r="r" b="b"/>
                <a:pathLst>
                  <a:path w="32" h="22">
                    <a:moveTo>
                      <a:pt x="0" y="22"/>
                    </a:moveTo>
                    <a:lnTo>
                      <a:pt x="16" y="0"/>
                    </a:lnTo>
                    <a:lnTo>
                      <a:pt x="32" y="22"/>
                    </a:lnTo>
                    <a:lnTo>
                      <a:pt x="0" y="2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49" name="Freeform 218"/>
              <p:cNvSpPr>
                <a:spLocks/>
              </p:cNvSpPr>
              <p:nvPr/>
            </p:nvSpPr>
            <p:spPr bwMode="auto">
              <a:xfrm>
                <a:off x="3154292" y="3130410"/>
                <a:ext cx="95714" cy="65804"/>
              </a:xfrm>
              <a:custGeom>
                <a:avLst/>
                <a:gdLst>
                  <a:gd name="T0" fmla="*/ 0 w 32"/>
                  <a:gd name="T1" fmla="*/ 22 h 22"/>
                  <a:gd name="T2" fmla="*/ 16 w 32"/>
                  <a:gd name="T3" fmla="*/ 0 h 22"/>
                  <a:gd name="T4" fmla="*/ 32 w 32"/>
                  <a:gd name="T5" fmla="*/ 22 h 22"/>
                  <a:gd name="T6" fmla="*/ 0 w 32"/>
                  <a:gd name="T7" fmla="*/ 22 h 22"/>
                </a:gdLst>
                <a:ahLst/>
                <a:cxnLst>
                  <a:cxn ang="0">
                    <a:pos x="T0" y="T1"/>
                  </a:cxn>
                  <a:cxn ang="0">
                    <a:pos x="T2" y="T3"/>
                  </a:cxn>
                  <a:cxn ang="0">
                    <a:pos x="T4" y="T5"/>
                  </a:cxn>
                  <a:cxn ang="0">
                    <a:pos x="T6" y="T7"/>
                  </a:cxn>
                </a:cxnLst>
                <a:rect l="0" t="0" r="r" b="b"/>
                <a:pathLst>
                  <a:path w="32" h="22">
                    <a:moveTo>
                      <a:pt x="0" y="22"/>
                    </a:moveTo>
                    <a:lnTo>
                      <a:pt x="16" y="0"/>
                    </a:lnTo>
                    <a:lnTo>
                      <a:pt x="32" y="22"/>
                    </a:lnTo>
                    <a:lnTo>
                      <a:pt x="0" y="2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50" name="Freeform 219"/>
              <p:cNvSpPr>
                <a:spLocks/>
              </p:cNvSpPr>
              <p:nvPr/>
            </p:nvSpPr>
            <p:spPr bwMode="auto">
              <a:xfrm>
                <a:off x="2900051" y="2867196"/>
                <a:ext cx="155536" cy="62814"/>
              </a:xfrm>
              <a:custGeom>
                <a:avLst/>
                <a:gdLst>
                  <a:gd name="T0" fmla="*/ 52 w 52"/>
                  <a:gd name="T1" fmla="*/ 0 h 21"/>
                  <a:gd name="T2" fmla="*/ 25 w 52"/>
                  <a:gd name="T3" fmla="*/ 21 h 21"/>
                  <a:gd name="T4" fmla="*/ 0 w 52"/>
                  <a:gd name="T5" fmla="*/ 0 h 21"/>
                  <a:gd name="T6" fmla="*/ 52 w 52"/>
                  <a:gd name="T7" fmla="*/ 0 h 21"/>
                </a:gdLst>
                <a:ahLst/>
                <a:cxnLst>
                  <a:cxn ang="0">
                    <a:pos x="T0" y="T1"/>
                  </a:cxn>
                  <a:cxn ang="0">
                    <a:pos x="T2" y="T3"/>
                  </a:cxn>
                  <a:cxn ang="0">
                    <a:pos x="T4" y="T5"/>
                  </a:cxn>
                  <a:cxn ang="0">
                    <a:pos x="T6" y="T7"/>
                  </a:cxn>
                </a:cxnLst>
                <a:rect l="0" t="0" r="r" b="b"/>
                <a:pathLst>
                  <a:path w="52" h="21">
                    <a:moveTo>
                      <a:pt x="52" y="0"/>
                    </a:moveTo>
                    <a:lnTo>
                      <a:pt x="25" y="21"/>
                    </a:lnTo>
                    <a:lnTo>
                      <a:pt x="0" y="0"/>
                    </a:lnTo>
                    <a:lnTo>
                      <a:pt x="52" y="0"/>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51" name="Freeform 220"/>
              <p:cNvSpPr>
                <a:spLocks/>
              </p:cNvSpPr>
              <p:nvPr/>
            </p:nvSpPr>
            <p:spPr bwMode="auto">
              <a:xfrm>
                <a:off x="2900051" y="2867196"/>
                <a:ext cx="155536" cy="62814"/>
              </a:xfrm>
              <a:custGeom>
                <a:avLst/>
                <a:gdLst>
                  <a:gd name="T0" fmla="*/ 52 w 52"/>
                  <a:gd name="T1" fmla="*/ 0 h 21"/>
                  <a:gd name="T2" fmla="*/ 25 w 52"/>
                  <a:gd name="T3" fmla="*/ 21 h 21"/>
                  <a:gd name="T4" fmla="*/ 0 w 52"/>
                  <a:gd name="T5" fmla="*/ 0 h 21"/>
                  <a:gd name="T6" fmla="*/ 52 w 52"/>
                  <a:gd name="T7" fmla="*/ 0 h 21"/>
                </a:gdLst>
                <a:ahLst/>
                <a:cxnLst>
                  <a:cxn ang="0">
                    <a:pos x="T0" y="T1"/>
                  </a:cxn>
                  <a:cxn ang="0">
                    <a:pos x="T2" y="T3"/>
                  </a:cxn>
                  <a:cxn ang="0">
                    <a:pos x="T4" y="T5"/>
                  </a:cxn>
                  <a:cxn ang="0">
                    <a:pos x="T6" y="T7"/>
                  </a:cxn>
                </a:cxnLst>
                <a:rect l="0" t="0" r="r" b="b"/>
                <a:pathLst>
                  <a:path w="52" h="21">
                    <a:moveTo>
                      <a:pt x="52" y="0"/>
                    </a:moveTo>
                    <a:lnTo>
                      <a:pt x="25" y="21"/>
                    </a:lnTo>
                    <a:lnTo>
                      <a:pt x="0" y="0"/>
                    </a:lnTo>
                    <a:lnTo>
                      <a:pt x="5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52" name="Freeform 221"/>
              <p:cNvSpPr>
                <a:spLocks/>
              </p:cNvSpPr>
              <p:nvPr/>
            </p:nvSpPr>
            <p:spPr bwMode="auto">
              <a:xfrm>
                <a:off x="2900051" y="2930009"/>
                <a:ext cx="155536" cy="568305"/>
              </a:xfrm>
              <a:custGeom>
                <a:avLst/>
                <a:gdLst>
                  <a:gd name="T0" fmla="*/ 52 w 52"/>
                  <a:gd name="T1" fmla="*/ 0 h 190"/>
                  <a:gd name="T2" fmla="*/ 25 w 52"/>
                  <a:gd name="T3" fmla="*/ 0 h 190"/>
                  <a:gd name="T4" fmla="*/ 0 w 52"/>
                  <a:gd name="T5" fmla="*/ 0 h 190"/>
                  <a:gd name="T6" fmla="*/ 27 w 52"/>
                  <a:gd name="T7" fmla="*/ 190 h 190"/>
                  <a:gd name="T8" fmla="*/ 52 w 52"/>
                  <a:gd name="T9" fmla="*/ 0 h 190"/>
                </a:gdLst>
                <a:ahLst/>
                <a:cxnLst>
                  <a:cxn ang="0">
                    <a:pos x="T0" y="T1"/>
                  </a:cxn>
                  <a:cxn ang="0">
                    <a:pos x="T2" y="T3"/>
                  </a:cxn>
                  <a:cxn ang="0">
                    <a:pos x="T4" y="T5"/>
                  </a:cxn>
                  <a:cxn ang="0">
                    <a:pos x="T6" y="T7"/>
                  </a:cxn>
                  <a:cxn ang="0">
                    <a:pos x="T8" y="T9"/>
                  </a:cxn>
                </a:cxnLst>
                <a:rect l="0" t="0" r="r" b="b"/>
                <a:pathLst>
                  <a:path w="52" h="190">
                    <a:moveTo>
                      <a:pt x="52" y="0"/>
                    </a:moveTo>
                    <a:lnTo>
                      <a:pt x="25" y="0"/>
                    </a:lnTo>
                    <a:lnTo>
                      <a:pt x="0" y="0"/>
                    </a:lnTo>
                    <a:lnTo>
                      <a:pt x="27" y="190"/>
                    </a:lnTo>
                    <a:lnTo>
                      <a:pt x="52" y="0"/>
                    </a:lnTo>
                    <a:close/>
                  </a:path>
                </a:pathLst>
              </a:custGeom>
              <a:solidFill>
                <a:srgbClr val="E5D8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53" name="Freeform 222"/>
              <p:cNvSpPr>
                <a:spLocks/>
              </p:cNvSpPr>
              <p:nvPr/>
            </p:nvSpPr>
            <p:spPr bwMode="auto">
              <a:xfrm>
                <a:off x="2900051" y="2930009"/>
                <a:ext cx="155536" cy="568305"/>
              </a:xfrm>
              <a:custGeom>
                <a:avLst/>
                <a:gdLst>
                  <a:gd name="T0" fmla="*/ 52 w 52"/>
                  <a:gd name="T1" fmla="*/ 0 h 190"/>
                  <a:gd name="T2" fmla="*/ 25 w 52"/>
                  <a:gd name="T3" fmla="*/ 0 h 190"/>
                  <a:gd name="T4" fmla="*/ 0 w 52"/>
                  <a:gd name="T5" fmla="*/ 0 h 190"/>
                  <a:gd name="T6" fmla="*/ 27 w 52"/>
                  <a:gd name="T7" fmla="*/ 190 h 190"/>
                  <a:gd name="T8" fmla="*/ 52 w 52"/>
                  <a:gd name="T9" fmla="*/ 0 h 190"/>
                </a:gdLst>
                <a:ahLst/>
                <a:cxnLst>
                  <a:cxn ang="0">
                    <a:pos x="T0" y="T1"/>
                  </a:cxn>
                  <a:cxn ang="0">
                    <a:pos x="T2" y="T3"/>
                  </a:cxn>
                  <a:cxn ang="0">
                    <a:pos x="T4" y="T5"/>
                  </a:cxn>
                  <a:cxn ang="0">
                    <a:pos x="T6" y="T7"/>
                  </a:cxn>
                  <a:cxn ang="0">
                    <a:pos x="T8" y="T9"/>
                  </a:cxn>
                </a:cxnLst>
                <a:rect l="0" t="0" r="r" b="b"/>
                <a:pathLst>
                  <a:path w="52" h="190">
                    <a:moveTo>
                      <a:pt x="52" y="0"/>
                    </a:moveTo>
                    <a:lnTo>
                      <a:pt x="25" y="0"/>
                    </a:lnTo>
                    <a:lnTo>
                      <a:pt x="0" y="0"/>
                    </a:lnTo>
                    <a:lnTo>
                      <a:pt x="27" y="190"/>
                    </a:lnTo>
                    <a:lnTo>
                      <a:pt x="5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54" name="Freeform 223"/>
              <p:cNvSpPr>
                <a:spLocks/>
              </p:cNvSpPr>
              <p:nvPr/>
            </p:nvSpPr>
            <p:spPr bwMode="auto">
              <a:xfrm>
                <a:off x="2941926" y="2930009"/>
                <a:ext cx="74778" cy="107679"/>
              </a:xfrm>
              <a:custGeom>
                <a:avLst/>
                <a:gdLst>
                  <a:gd name="T0" fmla="*/ 0 w 25"/>
                  <a:gd name="T1" fmla="*/ 22 h 36"/>
                  <a:gd name="T2" fmla="*/ 3 w 25"/>
                  <a:gd name="T3" fmla="*/ 36 h 36"/>
                  <a:gd name="T4" fmla="*/ 20 w 25"/>
                  <a:gd name="T5" fmla="*/ 36 h 36"/>
                  <a:gd name="T6" fmla="*/ 25 w 25"/>
                  <a:gd name="T7" fmla="*/ 16 h 36"/>
                  <a:gd name="T8" fmla="*/ 11 w 25"/>
                  <a:gd name="T9" fmla="*/ 0 h 36"/>
                  <a:gd name="T10" fmla="*/ 0 w 25"/>
                  <a:gd name="T11" fmla="*/ 22 h 36"/>
                </a:gdLst>
                <a:ahLst/>
                <a:cxnLst>
                  <a:cxn ang="0">
                    <a:pos x="T0" y="T1"/>
                  </a:cxn>
                  <a:cxn ang="0">
                    <a:pos x="T2" y="T3"/>
                  </a:cxn>
                  <a:cxn ang="0">
                    <a:pos x="T4" y="T5"/>
                  </a:cxn>
                  <a:cxn ang="0">
                    <a:pos x="T6" y="T7"/>
                  </a:cxn>
                  <a:cxn ang="0">
                    <a:pos x="T8" y="T9"/>
                  </a:cxn>
                  <a:cxn ang="0">
                    <a:pos x="T10" y="T11"/>
                  </a:cxn>
                </a:cxnLst>
                <a:rect l="0" t="0" r="r" b="b"/>
                <a:pathLst>
                  <a:path w="25" h="36">
                    <a:moveTo>
                      <a:pt x="0" y="22"/>
                    </a:moveTo>
                    <a:lnTo>
                      <a:pt x="3" y="36"/>
                    </a:lnTo>
                    <a:lnTo>
                      <a:pt x="20" y="36"/>
                    </a:lnTo>
                    <a:lnTo>
                      <a:pt x="25" y="16"/>
                    </a:lnTo>
                    <a:lnTo>
                      <a:pt x="11" y="0"/>
                    </a:lnTo>
                    <a:lnTo>
                      <a:pt x="0" y="22"/>
                    </a:lnTo>
                    <a:close/>
                  </a:path>
                </a:pathLst>
              </a:custGeom>
              <a:solidFill>
                <a:srgbClr val="EC008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55" name="Freeform 224"/>
              <p:cNvSpPr>
                <a:spLocks/>
              </p:cNvSpPr>
              <p:nvPr/>
            </p:nvSpPr>
            <p:spPr bwMode="auto">
              <a:xfrm>
                <a:off x="2929962" y="3037688"/>
                <a:ext cx="92724" cy="460626"/>
              </a:xfrm>
              <a:custGeom>
                <a:avLst/>
                <a:gdLst>
                  <a:gd name="T0" fmla="*/ 24 w 31"/>
                  <a:gd name="T1" fmla="*/ 0 h 154"/>
                  <a:gd name="T2" fmla="*/ 7 w 31"/>
                  <a:gd name="T3" fmla="*/ 0 h 154"/>
                  <a:gd name="T4" fmla="*/ 0 w 31"/>
                  <a:gd name="T5" fmla="*/ 38 h 154"/>
                  <a:gd name="T6" fmla="*/ 17 w 31"/>
                  <a:gd name="T7" fmla="*/ 154 h 154"/>
                  <a:gd name="T8" fmla="*/ 31 w 31"/>
                  <a:gd name="T9" fmla="*/ 45 h 154"/>
                  <a:gd name="T10" fmla="*/ 24 w 31"/>
                  <a:gd name="T11" fmla="*/ 0 h 154"/>
                </a:gdLst>
                <a:ahLst/>
                <a:cxnLst>
                  <a:cxn ang="0">
                    <a:pos x="T0" y="T1"/>
                  </a:cxn>
                  <a:cxn ang="0">
                    <a:pos x="T2" y="T3"/>
                  </a:cxn>
                  <a:cxn ang="0">
                    <a:pos x="T4" y="T5"/>
                  </a:cxn>
                  <a:cxn ang="0">
                    <a:pos x="T6" y="T7"/>
                  </a:cxn>
                  <a:cxn ang="0">
                    <a:pos x="T8" y="T9"/>
                  </a:cxn>
                  <a:cxn ang="0">
                    <a:pos x="T10" y="T11"/>
                  </a:cxn>
                </a:cxnLst>
                <a:rect l="0" t="0" r="r" b="b"/>
                <a:pathLst>
                  <a:path w="31" h="154">
                    <a:moveTo>
                      <a:pt x="24" y="0"/>
                    </a:moveTo>
                    <a:lnTo>
                      <a:pt x="7" y="0"/>
                    </a:lnTo>
                    <a:lnTo>
                      <a:pt x="0" y="38"/>
                    </a:lnTo>
                    <a:lnTo>
                      <a:pt x="17" y="154"/>
                    </a:lnTo>
                    <a:lnTo>
                      <a:pt x="31" y="45"/>
                    </a:lnTo>
                    <a:lnTo>
                      <a:pt x="24" y="0"/>
                    </a:lnTo>
                    <a:close/>
                  </a:path>
                </a:pathLst>
              </a:custGeom>
              <a:solidFill>
                <a:srgbClr val="EC008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56" name="Freeform 225"/>
              <p:cNvSpPr>
                <a:spLocks/>
              </p:cNvSpPr>
              <p:nvPr/>
            </p:nvSpPr>
            <p:spPr bwMode="auto">
              <a:xfrm>
                <a:off x="2900051" y="2867196"/>
                <a:ext cx="77768" cy="149554"/>
              </a:xfrm>
              <a:custGeom>
                <a:avLst/>
                <a:gdLst>
                  <a:gd name="T0" fmla="*/ 26 w 26"/>
                  <a:gd name="T1" fmla="*/ 21 h 50"/>
                  <a:gd name="T2" fmla="*/ 9 w 26"/>
                  <a:gd name="T3" fmla="*/ 50 h 50"/>
                  <a:gd name="T4" fmla="*/ 0 w 26"/>
                  <a:gd name="T5" fmla="*/ 21 h 50"/>
                  <a:gd name="T6" fmla="*/ 0 w 26"/>
                  <a:gd name="T7" fmla="*/ 0 h 50"/>
                  <a:gd name="T8" fmla="*/ 26 w 26"/>
                  <a:gd name="T9" fmla="*/ 21 h 50"/>
                </a:gdLst>
                <a:ahLst/>
                <a:cxnLst>
                  <a:cxn ang="0">
                    <a:pos x="T0" y="T1"/>
                  </a:cxn>
                  <a:cxn ang="0">
                    <a:pos x="T2" y="T3"/>
                  </a:cxn>
                  <a:cxn ang="0">
                    <a:pos x="T4" y="T5"/>
                  </a:cxn>
                  <a:cxn ang="0">
                    <a:pos x="T6" y="T7"/>
                  </a:cxn>
                  <a:cxn ang="0">
                    <a:pos x="T8" y="T9"/>
                  </a:cxn>
                </a:cxnLst>
                <a:rect l="0" t="0" r="r" b="b"/>
                <a:pathLst>
                  <a:path w="26" h="50">
                    <a:moveTo>
                      <a:pt x="26" y="21"/>
                    </a:moveTo>
                    <a:lnTo>
                      <a:pt x="9" y="50"/>
                    </a:lnTo>
                    <a:lnTo>
                      <a:pt x="0" y="21"/>
                    </a:lnTo>
                    <a:lnTo>
                      <a:pt x="0" y="0"/>
                    </a:lnTo>
                    <a:lnTo>
                      <a:pt x="26" y="2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57" name="Freeform 226"/>
              <p:cNvSpPr>
                <a:spLocks/>
              </p:cNvSpPr>
              <p:nvPr/>
            </p:nvSpPr>
            <p:spPr bwMode="auto">
              <a:xfrm>
                <a:off x="2974827" y="2867196"/>
                <a:ext cx="80760" cy="149554"/>
              </a:xfrm>
              <a:custGeom>
                <a:avLst/>
                <a:gdLst>
                  <a:gd name="T0" fmla="*/ 0 w 27"/>
                  <a:gd name="T1" fmla="*/ 21 h 50"/>
                  <a:gd name="T2" fmla="*/ 19 w 27"/>
                  <a:gd name="T3" fmla="*/ 50 h 50"/>
                  <a:gd name="T4" fmla="*/ 27 w 27"/>
                  <a:gd name="T5" fmla="*/ 21 h 50"/>
                  <a:gd name="T6" fmla="*/ 27 w 27"/>
                  <a:gd name="T7" fmla="*/ 0 h 50"/>
                  <a:gd name="T8" fmla="*/ 0 w 27"/>
                  <a:gd name="T9" fmla="*/ 21 h 50"/>
                </a:gdLst>
                <a:ahLst/>
                <a:cxnLst>
                  <a:cxn ang="0">
                    <a:pos x="T0" y="T1"/>
                  </a:cxn>
                  <a:cxn ang="0">
                    <a:pos x="T2" y="T3"/>
                  </a:cxn>
                  <a:cxn ang="0">
                    <a:pos x="T4" y="T5"/>
                  </a:cxn>
                  <a:cxn ang="0">
                    <a:pos x="T6" y="T7"/>
                  </a:cxn>
                  <a:cxn ang="0">
                    <a:pos x="T8" y="T9"/>
                  </a:cxn>
                </a:cxnLst>
                <a:rect l="0" t="0" r="r" b="b"/>
                <a:pathLst>
                  <a:path w="27" h="50">
                    <a:moveTo>
                      <a:pt x="0" y="21"/>
                    </a:moveTo>
                    <a:lnTo>
                      <a:pt x="19" y="50"/>
                    </a:lnTo>
                    <a:lnTo>
                      <a:pt x="27" y="21"/>
                    </a:lnTo>
                    <a:lnTo>
                      <a:pt x="27" y="0"/>
                    </a:lnTo>
                    <a:lnTo>
                      <a:pt x="0" y="2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58" name="Freeform 227"/>
              <p:cNvSpPr>
                <a:spLocks/>
              </p:cNvSpPr>
              <p:nvPr/>
            </p:nvSpPr>
            <p:spPr bwMode="auto">
              <a:xfrm>
                <a:off x="4694697" y="3256036"/>
                <a:ext cx="433707" cy="394822"/>
              </a:xfrm>
              <a:custGeom>
                <a:avLst/>
                <a:gdLst>
                  <a:gd name="T0" fmla="*/ 0 w 172"/>
                  <a:gd name="T1" fmla="*/ 48 h 156"/>
                  <a:gd name="T2" fmla="*/ 113 w 172"/>
                  <a:gd name="T3" fmla="*/ 156 h 156"/>
                  <a:gd name="T4" fmla="*/ 172 w 172"/>
                  <a:gd name="T5" fmla="*/ 0 h 156"/>
                  <a:gd name="T6" fmla="*/ 6 w 172"/>
                  <a:gd name="T7" fmla="*/ 26 h 156"/>
                  <a:gd name="T8" fmla="*/ 0 w 172"/>
                  <a:gd name="T9" fmla="*/ 48 h 156"/>
                </a:gdLst>
                <a:ahLst/>
                <a:cxnLst>
                  <a:cxn ang="0">
                    <a:pos x="T0" y="T1"/>
                  </a:cxn>
                  <a:cxn ang="0">
                    <a:pos x="T2" y="T3"/>
                  </a:cxn>
                  <a:cxn ang="0">
                    <a:pos x="T4" y="T5"/>
                  </a:cxn>
                  <a:cxn ang="0">
                    <a:pos x="T6" y="T7"/>
                  </a:cxn>
                  <a:cxn ang="0">
                    <a:pos x="T8" y="T9"/>
                  </a:cxn>
                </a:cxnLst>
                <a:rect l="0" t="0" r="r" b="b"/>
                <a:pathLst>
                  <a:path w="172" h="156">
                    <a:moveTo>
                      <a:pt x="0" y="48"/>
                    </a:moveTo>
                    <a:cubicBezTo>
                      <a:pt x="0" y="48"/>
                      <a:pt x="113" y="37"/>
                      <a:pt x="113" y="156"/>
                    </a:cubicBezTo>
                    <a:cubicBezTo>
                      <a:pt x="172" y="0"/>
                      <a:pt x="172" y="0"/>
                      <a:pt x="172" y="0"/>
                    </a:cubicBezTo>
                    <a:cubicBezTo>
                      <a:pt x="6" y="26"/>
                      <a:pt x="6" y="26"/>
                      <a:pt x="6" y="26"/>
                    </a:cubicBezTo>
                    <a:lnTo>
                      <a:pt x="0" y="4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59" name="Freeform 228"/>
              <p:cNvSpPr>
                <a:spLocks/>
              </p:cNvSpPr>
              <p:nvPr/>
            </p:nvSpPr>
            <p:spPr bwMode="auto">
              <a:xfrm>
                <a:off x="3773445" y="1886123"/>
                <a:ext cx="164510" cy="317054"/>
              </a:xfrm>
              <a:custGeom>
                <a:avLst/>
                <a:gdLst>
                  <a:gd name="T0" fmla="*/ 65 w 65"/>
                  <a:gd name="T1" fmla="*/ 91 h 126"/>
                  <a:gd name="T2" fmla="*/ 33 w 65"/>
                  <a:gd name="T3" fmla="*/ 59 h 126"/>
                  <a:gd name="T4" fmla="*/ 21 w 65"/>
                  <a:gd name="T5" fmla="*/ 61 h 126"/>
                  <a:gd name="T6" fmla="*/ 21 w 65"/>
                  <a:gd name="T7" fmla="*/ 11 h 126"/>
                  <a:gd name="T8" fmla="*/ 21 w 65"/>
                  <a:gd name="T9" fmla="*/ 11 h 126"/>
                  <a:gd name="T10" fmla="*/ 21 w 65"/>
                  <a:gd name="T11" fmla="*/ 11 h 126"/>
                  <a:gd name="T12" fmla="*/ 11 w 65"/>
                  <a:gd name="T13" fmla="*/ 0 h 126"/>
                  <a:gd name="T14" fmla="*/ 0 w 65"/>
                  <a:gd name="T15" fmla="*/ 11 h 126"/>
                  <a:gd name="T16" fmla="*/ 0 w 65"/>
                  <a:gd name="T17" fmla="*/ 11 h 126"/>
                  <a:gd name="T18" fmla="*/ 0 w 65"/>
                  <a:gd name="T19" fmla="*/ 11 h 126"/>
                  <a:gd name="T20" fmla="*/ 0 w 65"/>
                  <a:gd name="T21" fmla="*/ 126 h 126"/>
                  <a:gd name="T22" fmla="*/ 65 w 65"/>
                  <a:gd name="T23" fmla="*/ 126 h 126"/>
                  <a:gd name="T24" fmla="*/ 65 w 65"/>
                  <a:gd name="T25" fmla="*/ 92 h 126"/>
                  <a:gd name="T26" fmla="*/ 65 w 65"/>
                  <a:gd name="T27" fmla="*/ 92 h 126"/>
                  <a:gd name="T28" fmla="*/ 65 w 65"/>
                  <a:gd name="T29" fmla="*/ 91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5" h="126">
                    <a:moveTo>
                      <a:pt x="65" y="91"/>
                    </a:moveTo>
                    <a:cubicBezTo>
                      <a:pt x="65" y="73"/>
                      <a:pt x="51" y="59"/>
                      <a:pt x="33" y="59"/>
                    </a:cubicBezTo>
                    <a:cubicBezTo>
                      <a:pt x="29" y="59"/>
                      <a:pt x="25" y="59"/>
                      <a:pt x="21" y="61"/>
                    </a:cubicBezTo>
                    <a:cubicBezTo>
                      <a:pt x="21" y="11"/>
                      <a:pt x="21" y="11"/>
                      <a:pt x="21" y="11"/>
                    </a:cubicBezTo>
                    <a:cubicBezTo>
                      <a:pt x="21" y="11"/>
                      <a:pt x="21" y="11"/>
                      <a:pt x="21" y="11"/>
                    </a:cubicBezTo>
                    <a:cubicBezTo>
                      <a:pt x="21" y="11"/>
                      <a:pt x="21" y="11"/>
                      <a:pt x="21" y="11"/>
                    </a:cubicBezTo>
                    <a:cubicBezTo>
                      <a:pt x="21" y="5"/>
                      <a:pt x="17" y="0"/>
                      <a:pt x="11" y="0"/>
                    </a:cubicBezTo>
                    <a:cubicBezTo>
                      <a:pt x="5" y="0"/>
                      <a:pt x="0" y="5"/>
                      <a:pt x="0" y="11"/>
                    </a:cubicBezTo>
                    <a:cubicBezTo>
                      <a:pt x="0" y="11"/>
                      <a:pt x="0" y="11"/>
                      <a:pt x="0" y="11"/>
                    </a:cubicBezTo>
                    <a:cubicBezTo>
                      <a:pt x="0" y="11"/>
                      <a:pt x="0" y="11"/>
                      <a:pt x="0" y="11"/>
                    </a:cubicBezTo>
                    <a:cubicBezTo>
                      <a:pt x="0" y="126"/>
                      <a:pt x="0" y="126"/>
                      <a:pt x="0" y="126"/>
                    </a:cubicBezTo>
                    <a:cubicBezTo>
                      <a:pt x="65" y="126"/>
                      <a:pt x="65" y="126"/>
                      <a:pt x="65" y="126"/>
                    </a:cubicBezTo>
                    <a:cubicBezTo>
                      <a:pt x="65" y="92"/>
                      <a:pt x="65" y="92"/>
                      <a:pt x="65" y="92"/>
                    </a:cubicBezTo>
                    <a:cubicBezTo>
                      <a:pt x="65" y="92"/>
                      <a:pt x="65" y="92"/>
                      <a:pt x="65" y="92"/>
                    </a:cubicBezTo>
                    <a:cubicBezTo>
                      <a:pt x="65" y="92"/>
                      <a:pt x="65" y="91"/>
                      <a:pt x="65" y="91"/>
                    </a:cubicBezTo>
                    <a:close/>
                  </a:path>
                </a:pathLst>
              </a:custGeom>
              <a:solidFill>
                <a:srgbClr val="DD5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60" name="Rectangle 229"/>
              <p:cNvSpPr>
                <a:spLocks noChangeArrowheads="1"/>
              </p:cNvSpPr>
              <p:nvPr/>
            </p:nvSpPr>
            <p:spPr bwMode="auto">
              <a:xfrm>
                <a:off x="2376612" y="3740590"/>
                <a:ext cx="74778" cy="77768"/>
              </a:xfrm>
              <a:prstGeom prst="rect">
                <a:avLst/>
              </a:prstGeom>
              <a:solidFill>
                <a:srgbClr val="263C7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61" name="Freeform 230"/>
              <p:cNvSpPr>
                <a:spLocks/>
              </p:cNvSpPr>
              <p:nvPr/>
            </p:nvSpPr>
            <p:spPr bwMode="auto">
              <a:xfrm>
                <a:off x="4485322" y="3160321"/>
                <a:ext cx="179465" cy="287143"/>
              </a:xfrm>
              <a:custGeom>
                <a:avLst/>
                <a:gdLst>
                  <a:gd name="T0" fmla="*/ 29 w 71"/>
                  <a:gd name="T1" fmla="*/ 21 h 113"/>
                  <a:gd name="T2" fmla="*/ 25 w 71"/>
                  <a:gd name="T3" fmla="*/ 0 h 113"/>
                  <a:gd name="T4" fmla="*/ 0 w 71"/>
                  <a:gd name="T5" fmla="*/ 3 h 113"/>
                  <a:gd name="T6" fmla="*/ 15 w 71"/>
                  <a:gd name="T7" fmla="*/ 48 h 113"/>
                  <a:gd name="T8" fmla="*/ 7 w 71"/>
                  <a:gd name="T9" fmla="*/ 86 h 113"/>
                  <a:gd name="T10" fmla="*/ 29 w 71"/>
                  <a:gd name="T11" fmla="*/ 113 h 113"/>
                  <a:gd name="T12" fmla="*/ 59 w 71"/>
                  <a:gd name="T13" fmla="*/ 86 h 113"/>
                  <a:gd name="T14" fmla="*/ 71 w 71"/>
                  <a:gd name="T15" fmla="*/ 29 h 113"/>
                  <a:gd name="T16" fmla="*/ 29 w 71"/>
                  <a:gd name="T17" fmla="*/ 21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1" h="113">
                    <a:moveTo>
                      <a:pt x="29" y="21"/>
                    </a:moveTo>
                    <a:cubicBezTo>
                      <a:pt x="25" y="0"/>
                      <a:pt x="25" y="0"/>
                      <a:pt x="25" y="0"/>
                    </a:cubicBezTo>
                    <a:cubicBezTo>
                      <a:pt x="0" y="3"/>
                      <a:pt x="0" y="3"/>
                      <a:pt x="0" y="3"/>
                    </a:cubicBezTo>
                    <a:cubicBezTo>
                      <a:pt x="18" y="13"/>
                      <a:pt x="17" y="35"/>
                      <a:pt x="15" y="48"/>
                    </a:cubicBezTo>
                    <a:cubicBezTo>
                      <a:pt x="7" y="86"/>
                      <a:pt x="7" y="86"/>
                      <a:pt x="7" y="86"/>
                    </a:cubicBezTo>
                    <a:cubicBezTo>
                      <a:pt x="29" y="113"/>
                      <a:pt x="29" y="113"/>
                      <a:pt x="29" y="113"/>
                    </a:cubicBezTo>
                    <a:cubicBezTo>
                      <a:pt x="59" y="86"/>
                      <a:pt x="59" y="86"/>
                      <a:pt x="59" y="86"/>
                    </a:cubicBezTo>
                    <a:cubicBezTo>
                      <a:pt x="71" y="29"/>
                      <a:pt x="71" y="29"/>
                      <a:pt x="71" y="29"/>
                    </a:cubicBezTo>
                    <a:lnTo>
                      <a:pt x="29" y="21"/>
                    </a:lnTo>
                    <a:close/>
                  </a:path>
                </a:pathLst>
              </a:custGeom>
              <a:solidFill>
                <a:srgbClr val="FFFC9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62" name="Freeform 231"/>
              <p:cNvSpPr>
                <a:spLocks/>
              </p:cNvSpPr>
              <p:nvPr/>
            </p:nvSpPr>
            <p:spPr bwMode="auto">
              <a:xfrm>
                <a:off x="1443396" y="3124428"/>
                <a:ext cx="197411" cy="314064"/>
              </a:xfrm>
              <a:custGeom>
                <a:avLst/>
                <a:gdLst>
                  <a:gd name="T0" fmla="*/ 54 w 79"/>
                  <a:gd name="T1" fmla="*/ 0 h 125"/>
                  <a:gd name="T2" fmla="*/ 45 w 79"/>
                  <a:gd name="T3" fmla="*/ 21 h 125"/>
                  <a:gd name="T4" fmla="*/ 0 w 79"/>
                  <a:gd name="T5" fmla="*/ 21 h 125"/>
                  <a:gd name="T6" fmla="*/ 0 w 79"/>
                  <a:gd name="T7" fmla="*/ 94 h 125"/>
                  <a:gd name="T8" fmla="*/ 29 w 79"/>
                  <a:gd name="T9" fmla="*/ 125 h 125"/>
                  <a:gd name="T10" fmla="*/ 54 w 79"/>
                  <a:gd name="T11" fmla="*/ 94 h 125"/>
                  <a:gd name="T12" fmla="*/ 54 w 79"/>
                  <a:gd name="T13" fmla="*/ 52 h 125"/>
                  <a:gd name="T14" fmla="*/ 79 w 79"/>
                  <a:gd name="T15" fmla="*/ 9 h 125"/>
                  <a:gd name="T16" fmla="*/ 54 w 79"/>
                  <a:gd name="T17" fmla="*/ 0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9" h="125">
                    <a:moveTo>
                      <a:pt x="54" y="0"/>
                    </a:moveTo>
                    <a:cubicBezTo>
                      <a:pt x="45" y="21"/>
                      <a:pt x="45" y="21"/>
                      <a:pt x="45" y="21"/>
                    </a:cubicBezTo>
                    <a:cubicBezTo>
                      <a:pt x="0" y="21"/>
                      <a:pt x="0" y="21"/>
                      <a:pt x="0" y="21"/>
                    </a:cubicBezTo>
                    <a:cubicBezTo>
                      <a:pt x="0" y="94"/>
                      <a:pt x="0" y="94"/>
                      <a:pt x="0" y="94"/>
                    </a:cubicBezTo>
                    <a:cubicBezTo>
                      <a:pt x="29" y="125"/>
                      <a:pt x="29" y="125"/>
                      <a:pt x="29" y="125"/>
                    </a:cubicBezTo>
                    <a:cubicBezTo>
                      <a:pt x="54" y="94"/>
                      <a:pt x="54" y="94"/>
                      <a:pt x="54" y="94"/>
                    </a:cubicBezTo>
                    <a:cubicBezTo>
                      <a:pt x="54" y="52"/>
                      <a:pt x="54" y="52"/>
                      <a:pt x="54" y="52"/>
                    </a:cubicBezTo>
                    <a:cubicBezTo>
                      <a:pt x="55" y="38"/>
                      <a:pt x="59" y="15"/>
                      <a:pt x="79" y="9"/>
                    </a:cubicBezTo>
                    <a:lnTo>
                      <a:pt x="54" y="0"/>
                    </a:lnTo>
                    <a:close/>
                  </a:path>
                </a:pathLst>
              </a:custGeom>
              <a:solidFill>
                <a:srgbClr val="FFFC9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63" name="Freeform 232"/>
              <p:cNvSpPr>
                <a:spLocks/>
              </p:cNvSpPr>
              <p:nvPr/>
            </p:nvSpPr>
            <p:spPr bwMode="auto">
              <a:xfrm>
                <a:off x="4353714" y="2915053"/>
                <a:ext cx="86742" cy="167500"/>
              </a:xfrm>
              <a:custGeom>
                <a:avLst/>
                <a:gdLst>
                  <a:gd name="T0" fmla="*/ 34 w 34"/>
                  <a:gd name="T1" fmla="*/ 0 h 66"/>
                  <a:gd name="T2" fmla="*/ 0 w 34"/>
                  <a:gd name="T3" fmla="*/ 60 h 66"/>
                  <a:gd name="T4" fmla="*/ 29 w 34"/>
                  <a:gd name="T5" fmla="*/ 66 h 66"/>
                  <a:gd name="T6" fmla="*/ 34 w 34"/>
                  <a:gd name="T7" fmla="*/ 0 h 66"/>
                </a:gdLst>
                <a:ahLst/>
                <a:cxnLst>
                  <a:cxn ang="0">
                    <a:pos x="T0" y="T1"/>
                  </a:cxn>
                  <a:cxn ang="0">
                    <a:pos x="T2" y="T3"/>
                  </a:cxn>
                  <a:cxn ang="0">
                    <a:pos x="T4" y="T5"/>
                  </a:cxn>
                  <a:cxn ang="0">
                    <a:pos x="T6" y="T7"/>
                  </a:cxn>
                </a:cxnLst>
                <a:rect l="0" t="0" r="r" b="b"/>
                <a:pathLst>
                  <a:path w="34" h="66">
                    <a:moveTo>
                      <a:pt x="34" y="0"/>
                    </a:moveTo>
                    <a:cubicBezTo>
                      <a:pt x="34" y="0"/>
                      <a:pt x="11" y="25"/>
                      <a:pt x="0" y="60"/>
                    </a:cubicBezTo>
                    <a:cubicBezTo>
                      <a:pt x="29" y="66"/>
                      <a:pt x="29" y="66"/>
                      <a:pt x="29" y="66"/>
                    </a:cubicBezTo>
                    <a:lnTo>
                      <a:pt x="34" y="0"/>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64" name="Freeform 233"/>
              <p:cNvSpPr>
                <a:spLocks/>
              </p:cNvSpPr>
              <p:nvPr/>
            </p:nvSpPr>
            <p:spPr bwMode="auto">
              <a:xfrm>
                <a:off x="4368669" y="2813356"/>
                <a:ext cx="424733" cy="496519"/>
              </a:xfrm>
              <a:custGeom>
                <a:avLst/>
                <a:gdLst>
                  <a:gd name="T0" fmla="*/ 169 w 169"/>
                  <a:gd name="T1" fmla="*/ 27 h 197"/>
                  <a:gd name="T2" fmla="*/ 150 w 169"/>
                  <a:gd name="T3" fmla="*/ 120 h 197"/>
                  <a:gd name="T4" fmla="*/ 149 w 169"/>
                  <a:gd name="T5" fmla="*/ 120 h 197"/>
                  <a:gd name="T6" fmla="*/ 0 w 169"/>
                  <a:gd name="T7" fmla="*/ 183 h 197"/>
                  <a:gd name="T8" fmla="*/ 1 w 169"/>
                  <a:gd name="T9" fmla="*/ 177 h 197"/>
                  <a:gd name="T10" fmla="*/ 12 w 169"/>
                  <a:gd name="T11" fmla="*/ 124 h 197"/>
                  <a:gd name="T12" fmla="*/ 25 w 169"/>
                  <a:gd name="T13" fmla="*/ 58 h 197"/>
                  <a:gd name="T14" fmla="*/ 37 w 169"/>
                  <a:gd name="T15" fmla="*/ 0 h 197"/>
                  <a:gd name="T16" fmla="*/ 169 w 169"/>
                  <a:gd name="T17" fmla="*/ 27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9" h="197">
                    <a:moveTo>
                      <a:pt x="169" y="27"/>
                    </a:moveTo>
                    <a:cubicBezTo>
                      <a:pt x="150" y="120"/>
                      <a:pt x="150" y="120"/>
                      <a:pt x="150" y="120"/>
                    </a:cubicBezTo>
                    <a:cubicBezTo>
                      <a:pt x="149" y="120"/>
                      <a:pt x="149" y="120"/>
                      <a:pt x="149" y="120"/>
                    </a:cubicBezTo>
                    <a:cubicBezTo>
                      <a:pt x="131" y="188"/>
                      <a:pt x="70" y="197"/>
                      <a:pt x="0" y="183"/>
                    </a:cubicBezTo>
                    <a:cubicBezTo>
                      <a:pt x="1" y="177"/>
                      <a:pt x="1" y="177"/>
                      <a:pt x="1" y="177"/>
                    </a:cubicBezTo>
                    <a:cubicBezTo>
                      <a:pt x="12" y="124"/>
                      <a:pt x="12" y="124"/>
                      <a:pt x="12" y="124"/>
                    </a:cubicBezTo>
                    <a:cubicBezTo>
                      <a:pt x="25" y="58"/>
                      <a:pt x="25" y="58"/>
                      <a:pt x="25" y="58"/>
                    </a:cubicBezTo>
                    <a:cubicBezTo>
                      <a:pt x="37" y="0"/>
                      <a:pt x="37" y="0"/>
                      <a:pt x="37" y="0"/>
                    </a:cubicBezTo>
                    <a:cubicBezTo>
                      <a:pt x="169" y="27"/>
                      <a:pt x="169" y="27"/>
                      <a:pt x="169" y="27"/>
                    </a:cubicBezTo>
                  </a:path>
                </a:pathLst>
              </a:custGeom>
              <a:solidFill>
                <a:srgbClr val="FFFC9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65" name="Freeform 234"/>
              <p:cNvSpPr>
                <a:spLocks/>
              </p:cNvSpPr>
              <p:nvPr/>
            </p:nvSpPr>
            <p:spPr bwMode="auto">
              <a:xfrm>
                <a:off x="4500276" y="2992821"/>
                <a:ext cx="29911" cy="29911"/>
              </a:xfrm>
              <a:custGeom>
                <a:avLst/>
                <a:gdLst>
                  <a:gd name="T0" fmla="*/ 1 w 12"/>
                  <a:gd name="T1" fmla="*/ 5 h 12"/>
                  <a:gd name="T2" fmla="*/ 5 w 12"/>
                  <a:gd name="T3" fmla="*/ 11 h 12"/>
                  <a:gd name="T4" fmla="*/ 12 w 12"/>
                  <a:gd name="T5" fmla="*/ 7 h 12"/>
                  <a:gd name="T6" fmla="*/ 7 w 12"/>
                  <a:gd name="T7" fmla="*/ 1 h 12"/>
                  <a:gd name="T8" fmla="*/ 1 w 12"/>
                  <a:gd name="T9" fmla="*/ 5 h 12"/>
                </a:gdLst>
                <a:ahLst/>
                <a:cxnLst>
                  <a:cxn ang="0">
                    <a:pos x="T0" y="T1"/>
                  </a:cxn>
                  <a:cxn ang="0">
                    <a:pos x="T2" y="T3"/>
                  </a:cxn>
                  <a:cxn ang="0">
                    <a:pos x="T4" y="T5"/>
                  </a:cxn>
                  <a:cxn ang="0">
                    <a:pos x="T6" y="T7"/>
                  </a:cxn>
                  <a:cxn ang="0">
                    <a:pos x="T8" y="T9"/>
                  </a:cxn>
                </a:cxnLst>
                <a:rect l="0" t="0" r="r" b="b"/>
                <a:pathLst>
                  <a:path w="12" h="12">
                    <a:moveTo>
                      <a:pt x="1" y="5"/>
                    </a:moveTo>
                    <a:cubicBezTo>
                      <a:pt x="0" y="8"/>
                      <a:pt x="2" y="11"/>
                      <a:pt x="5" y="11"/>
                    </a:cubicBezTo>
                    <a:cubicBezTo>
                      <a:pt x="8" y="12"/>
                      <a:pt x="11" y="10"/>
                      <a:pt x="12" y="7"/>
                    </a:cubicBezTo>
                    <a:cubicBezTo>
                      <a:pt x="12" y="4"/>
                      <a:pt x="10" y="1"/>
                      <a:pt x="7" y="1"/>
                    </a:cubicBezTo>
                    <a:cubicBezTo>
                      <a:pt x="5" y="0"/>
                      <a:pt x="2" y="2"/>
                      <a:pt x="1" y="5"/>
                    </a:cubicBezTo>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66" name="Freeform 235"/>
              <p:cNvSpPr>
                <a:spLocks/>
              </p:cNvSpPr>
              <p:nvPr/>
            </p:nvSpPr>
            <p:spPr bwMode="auto">
              <a:xfrm>
                <a:off x="4368669" y="2681749"/>
                <a:ext cx="538394" cy="702904"/>
              </a:xfrm>
              <a:custGeom>
                <a:avLst/>
                <a:gdLst>
                  <a:gd name="T0" fmla="*/ 201 w 213"/>
                  <a:gd name="T1" fmla="*/ 72 h 278"/>
                  <a:gd name="T2" fmla="*/ 170 w 213"/>
                  <a:gd name="T3" fmla="*/ 59 h 278"/>
                  <a:gd name="T4" fmla="*/ 164 w 213"/>
                  <a:gd name="T5" fmla="*/ 44 h 278"/>
                  <a:gd name="T6" fmla="*/ 143 w 213"/>
                  <a:gd name="T7" fmla="*/ 34 h 278"/>
                  <a:gd name="T8" fmla="*/ 119 w 213"/>
                  <a:gd name="T9" fmla="*/ 22 h 278"/>
                  <a:gd name="T10" fmla="*/ 38 w 213"/>
                  <a:gd name="T11" fmla="*/ 52 h 278"/>
                  <a:gd name="T12" fmla="*/ 39 w 213"/>
                  <a:gd name="T13" fmla="*/ 52 h 278"/>
                  <a:gd name="T14" fmla="*/ 38 w 213"/>
                  <a:gd name="T15" fmla="*/ 52 h 278"/>
                  <a:gd name="T16" fmla="*/ 85 w 213"/>
                  <a:gd name="T17" fmla="*/ 96 h 278"/>
                  <a:gd name="T18" fmla="*/ 110 w 213"/>
                  <a:gd name="T19" fmla="*/ 104 h 278"/>
                  <a:gd name="T20" fmla="*/ 110 w 213"/>
                  <a:gd name="T21" fmla="*/ 104 h 278"/>
                  <a:gd name="T22" fmla="*/ 36 w 213"/>
                  <a:gd name="T23" fmla="*/ 187 h 278"/>
                  <a:gd name="T24" fmla="*/ 16 w 213"/>
                  <a:gd name="T25" fmla="*/ 157 h 278"/>
                  <a:gd name="T26" fmla="*/ 0 w 213"/>
                  <a:gd name="T27" fmla="*/ 235 h 278"/>
                  <a:gd name="T28" fmla="*/ 108 w 213"/>
                  <a:gd name="T29" fmla="*/ 174 h 278"/>
                  <a:gd name="T30" fmla="*/ 119 w 213"/>
                  <a:gd name="T31" fmla="*/ 135 h 278"/>
                  <a:gd name="T32" fmla="*/ 139 w 213"/>
                  <a:gd name="T33" fmla="*/ 199 h 278"/>
                  <a:gd name="T34" fmla="*/ 139 w 213"/>
                  <a:gd name="T35" fmla="*/ 199 h 278"/>
                  <a:gd name="T36" fmla="*/ 139 w 213"/>
                  <a:gd name="T37" fmla="*/ 199 h 278"/>
                  <a:gd name="T38" fmla="*/ 163 w 213"/>
                  <a:gd name="T39" fmla="*/ 160 h 278"/>
                  <a:gd name="T40" fmla="*/ 194 w 213"/>
                  <a:gd name="T41" fmla="*/ 125 h 278"/>
                  <a:gd name="T42" fmla="*/ 201 w 213"/>
                  <a:gd name="T43" fmla="*/ 72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13" h="278">
                    <a:moveTo>
                      <a:pt x="201" y="72"/>
                    </a:moveTo>
                    <a:cubicBezTo>
                      <a:pt x="194" y="63"/>
                      <a:pt x="182" y="59"/>
                      <a:pt x="170" y="59"/>
                    </a:cubicBezTo>
                    <a:cubicBezTo>
                      <a:pt x="169" y="53"/>
                      <a:pt x="167" y="47"/>
                      <a:pt x="164" y="44"/>
                    </a:cubicBezTo>
                    <a:cubicBezTo>
                      <a:pt x="157" y="38"/>
                      <a:pt x="151" y="36"/>
                      <a:pt x="143" y="34"/>
                    </a:cubicBezTo>
                    <a:cubicBezTo>
                      <a:pt x="133" y="32"/>
                      <a:pt x="127" y="29"/>
                      <a:pt x="119" y="22"/>
                    </a:cubicBezTo>
                    <a:cubicBezTo>
                      <a:pt x="95" y="0"/>
                      <a:pt x="44" y="17"/>
                      <a:pt x="38" y="52"/>
                    </a:cubicBezTo>
                    <a:cubicBezTo>
                      <a:pt x="39" y="52"/>
                      <a:pt x="39" y="52"/>
                      <a:pt x="39" y="52"/>
                    </a:cubicBezTo>
                    <a:cubicBezTo>
                      <a:pt x="38" y="52"/>
                      <a:pt x="38" y="52"/>
                      <a:pt x="38" y="52"/>
                    </a:cubicBezTo>
                    <a:cubicBezTo>
                      <a:pt x="39" y="73"/>
                      <a:pt x="67" y="91"/>
                      <a:pt x="85" y="96"/>
                    </a:cubicBezTo>
                    <a:cubicBezTo>
                      <a:pt x="96" y="99"/>
                      <a:pt x="103" y="99"/>
                      <a:pt x="110" y="104"/>
                    </a:cubicBezTo>
                    <a:cubicBezTo>
                      <a:pt x="110" y="104"/>
                      <a:pt x="110" y="104"/>
                      <a:pt x="110" y="104"/>
                    </a:cubicBezTo>
                    <a:cubicBezTo>
                      <a:pt x="110" y="104"/>
                      <a:pt x="88" y="197"/>
                      <a:pt x="36" y="187"/>
                    </a:cubicBezTo>
                    <a:cubicBezTo>
                      <a:pt x="36" y="187"/>
                      <a:pt x="37" y="162"/>
                      <a:pt x="16" y="157"/>
                    </a:cubicBezTo>
                    <a:cubicBezTo>
                      <a:pt x="0" y="235"/>
                      <a:pt x="0" y="235"/>
                      <a:pt x="0" y="235"/>
                    </a:cubicBezTo>
                    <a:cubicBezTo>
                      <a:pt x="0" y="235"/>
                      <a:pt x="87" y="278"/>
                      <a:pt x="108" y="174"/>
                    </a:cubicBezTo>
                    <a:cubicBezTo>
                      <a:pt x="119" y="135"/>
                      <a:pt x="119" y="135"/>
                      <a:pt x="119" y="135"/>
                    </a:cubicBezTo>
                    <a:cubicBezTo>
                      <a:pt x="118" y="153"/>
                      <a:pt x="120" y="181"/>
                      <a:pt x="139" y="199"/>
                    </a:cubicBezTo>
                    <a:cubicBezTo>
                      <a:pt x="139" y="199"/>
                      <a:pt x="139" y="199"/>
                      <a:pt x="139" y="199"/>
                    </a:cubicBezTo>
                    <a:cubicBezTo>
                      <a:pt x="139" y="199"/>
                      <a:pt x="139" y="199"/>
                      <a:pt x="139" y="199"/>
                    </a:cubicBezTo>
                    <a:cubicBezTo>
                      <a:pt x="159" y="193"/>
                      <a:pt x="157" y="176"/>
                      <a:pt x="163" y="160"/>
                    </a:cubicBezTo>
                    <a:cubicBezTo>
                      <a:pt x="168" y="148"/>
                      <a:pt x="185" y="135"/>
                      <a:pt x="194" y="125"/>
                    </a:cubicBezTo>
                    <a:cubicBezTo>
                      <a:pt x="204" y="113"/>
                      <a:pt x="213" y="86"/>
                      <a:pt x="201" y="72"/>
                    </a:cubicBezTo>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67" name="Freeform 236"/>
              <p:cNvSpPr>
                <a:spLocks/>
              </p:cNvSpPr>
              <p:nvPr/>
            </p:nvSpPr>
            <p:spPr bwMode="auto">
              <a:xfrm>
                <a:off x="3121391" y="2388624"/>
                <a:ext cx="131607" cy="191429"/>
              </a:xfrm>
              <a:custGeom>
                <a:avLst/>
                <a:gdLst>
                  <a:gd name="T0" fmla="*/ 0 w 44"/>
                  <a:gd name="T1" fmla="*/ 0 h 64"/>
                  <a:gd name="T2" fmla="*/ 44 w 44"/>
                  <a:gd name="T3" fmla="*/ 49 h 64"/>
                  <a:gd name="T4" fmla="*/ 12 w 44"/>
                  <a:gd name="T5" fmla="*/ 64 h 64"/>
                  <a:gd name="T6" fmla="*/ 0 w 44"/>
                  <a:gd name="T7" fmla="*/ 0 h 64"/>
                </a:gdLst>
                <a:ahLst/>
                <a:cxnLst>
                  <a:cxn ang="0">
                    <a:pos x="T0" y="T1"/>
                  </a:cxn>
                  <a:cxn ang="0">
                    <a:pos x="T2" y="T3"/>
                  </a:cxn>
                  <a:cxn ang="0">
                    <a:pos x="T4" y="T5"/>
                  </a:cxn>
                  <a:cxn ang="0">
                    <a:pos x="T6" y="T7"/>
                  </a:cxn>
                </a:cxnLst>
                <a:rect l="0" t="0" r="r" b="b"/>
                <a:pathLst>
                  <a:path w="44" h="64">
                    <a:moveTo>
                      <a:pt x="0" y="0"/>
                    </a:moveTo>
                    <a:lnTo>
                      <a:pt x="44" y="49"/>
                    </a:lnTo>
                    <a:lnTo>
                      <a:pt x="12" y="64"/>
                    </a:lnTo>
                    <a:lnTo>
                      <a:pt x="0" y="0"/>
                    </a:lnTo>
                    <a:close/>
                  </a:path>
                </a:pathLst>
              </a:custGeom>
              <a:solidFill>
                <a:srgbClr val="DD5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68" name="Freeform 237"/>
              <p:cNvSpPr>
                <a:spLocks/>
              </p:cNvSpPr>
              <p:nvPr/>
            </p:nvSpPr>
            <p:spPr bwMode="auto">
              <a:xfrm>
                <a:off x="2765452" y="2271972"/>
                <a:ext cx="502501" cy="514465"/>
              </a:xfrm>
              <a:custGeom>
                <a:avLst/>
                <a:gdLst>
                  <a:gd name="T0" fmla="*/ 0 w 199"/>
                  <a:gd name="T1" fmla="*/ 57 h 204"/>
                  <a:gd name="T2" fmla="*/ 40 w 199"/>
                  <a:gd name="T3" fmla="*/ 142 h 204"/>
                  <a:gd name="T4" fmla="*/ 40 w 199"/>
                  <a:gd name="T5" fmla="*/ 142 h 204"/>
                  <a:gd name="T6" fmla="*/ 199 w 199"/>
                  <a:gd name="T7" fmla="*/ 167 h 204"/>
                  <a:gd name="T8" fmla="*/ 196 w 199"/>
                  <a:gd name="T9" fmla="*/ 161 h 204"/>
                  <a:gd name="T10" fmla="*/ 173 w 199"/>
                  <a:gd name="T11" fmla="*/ 113 h 204"/>
                  <a:gd name="T12" fmla="*/ 144 w 199"/>
                  <a:gd name="T13" fmla="*/ 53 h 204"/>
                  <a:gd name="T14" fmla="*/ 119 w 199"/>
                  <a:gd name="T15" fmla="*/ 0 h 204"/>
                  <a:gd name="T16" fmla="*/ 0 w 199"/>
                  <a:gd name="T17" fmla="*/ 57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9" h="204">
                    <a:moveTo>
                      <a:pt x="0" y="57"/>
                    </a:moveTo>
                    <a:cubicBezTo>
                      <a:pt x="40" y="142"/>
                      <a:pt x="40" y="142"/>
                      <a:pt x="40" y="142"/>
                    </a:cubicBezTo>
                    <a:cubicBezTo>
                      <a:pt x="40" y="142"/>
                      <a:pt x="40" y="142"/>
                      <a:pt x="40" y="142"/>
                    </a:cubicBezTo>
                    <a:cubicBezTo>
                      <a:pt x="74" y="204"/>
                      <a:pt x="135" y="198"/>
                      <a:pt x="199" y="167"/>
                    </a:cubicBezTo>
                    <a:cubicBezTo>
                      <a:pt x="196" y="161"/>
                      <a:pt x="196" y="161"/>
                      <a:pt x="196" y="161"/>
                    </a:cubicBezTo>
                    <a:cubicBezTo>
                      <a:pt x="173" y="113"/>
                      <a:pt x="173" y="113"/>
                      <a:pt x="173" y="113"/>
                    </a:cubicBezTo>
                    <a:cubicBezTo>
                      <a:pt x="144" y="53"/>
                      <a:pt x="144" y="53"/>
                      <a:pt x="144" y="53"/>
                    </a:cubicBezTo>
                    <a:cubicBezTo>
                      <a:pt x="119" y="0"/>
                      <a:pt x="119" y="0"/>
                      <a:pt x="119" y="0"/>
                    </a:cubicBezTo>
                    <a:cubicBezTo>
                      <a:pt x="0" y="57"/>
                      <a:pt x="0" y="57"/>
                      <a:pt x="0" y="57"/>
                    </a:cubicBezTo>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69" name="Freeform 238"/>
              <p:cNvSpPr>
                <a:spLocks/>
              </p:cNvSpPr>
              <p:nvPr/>
            </p:nvSpPr>
            <p:spPr bwMode="auto">
              <a:xfrm>
                <a:off x="3046613" y="2457419"/>
                <a:ext cx="29911" cy="29911"/>
              </a:xfrm>
              <a:custGeom>
                <a:avLst/>
                <a:gdLst>
                  <a:gd name="T0" fmla="*/ 11 w 12"/>
                  <a:gd name="T1" fmla="*/ 3 h 12"/>
                  <a:gd name="T2" fmla="*/ 9 w 12"/>
                  <a:gd name="T3" fmla="*/ 10 h 12"/>
                  <a:gd name="T4" fmla="*/ 2 w 12"/>
                  <a:gd name="T5" fmla="*/ 8 h 12"/>
                  <a:gd name="T6" fmla="*/ 4 w 12"/>
                  <a:gd name="T7" fmla="*/ 1 h 12"/>
                  <a:gd name="T8" fmla="*/ 11 w 12"/>
                  <a:gd name="T9" fmla="*/ 3 h 12"/>
                </a:gdLst>
                <a:ahLst/>
                <a:cxnLst>
                  <a:cxn ang="0">
                    <a:pos x="T0" y="T1"/>
                  </a:cxn>
                  <a:cxn ang="0">
                    <a:pos x="T2" y="T3"/>
                  </a:cxn>
                  <a:cxn ang="0">
                    <a:pos x="T4" y="T5"/>
                  </a:cxn>
                  <a:cxn ang="0">
                    <a:pos x="T6" y="T7"/>
                  </a:cxn>
                  <a:cxn ang="0">
                    <a:pos x="T8" y="T9"/>
                  </a:cxn>
                </a:cxnLst>
                <a:rect l="0" t="0" r="r" b="b"/>
                <a:pathLst>
                  <a:path w="12" h="12">
                    <a:moveTo>
                      <a:pt x="11" y="3"/>
                    </a:moveTo>
                    <a:cubicBezTo>
                      <a:pt x="12" y="6"/>
                      <a:pt x="11" y="9"/>
                      <a:pt x="9" y="10"/>
                    </a:cubicBezTo>
                    <a:cubicBezTo>
                      <a:pt x="6" y="12"/>
                      <a:pt x="3" y="11"/>
                      <a:pt x="2" y="8"/>
                    </a:cubicBezTo>
                    <a:cubicBezTo>
                      <a:pt x="0" y="5"/>
                      <a:pt x="1" y="2"/>
                      <a:pt x="4" y="1"/>
                    </a:cubicBezTo>
                    <a:cubicBezTo>
                      <a:pt x="7" y="0"/>
                      <a:pt x="10" y="1"/>
                      <a:pt x="11" y="3"/>
                    </a:cubicBezTo>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70" name="Freeform 239"/>
              <p:cNvSpPr>
                <a:spLocks/>
              </p:cNvSpPr>
              <p:nvPr/>
            </p:nvSpPr>
            <p:spPr bwMode="auto">
              <a:xfrm>
                <a:off x="2648801" y="2179248"/>
                <a:ext cx="424733" cy="511475"/>
              </a:xfrm>
              <a:custGeom>
                <a:avLst/>
                <a:gdLst>
                  <a:gd name="T0" fmla="*/ 166 w 169"/>
                  <a:gd name="T1" fmla="*/ 37 h 203"/>
                  <a:gd name="T2" fmla="*/ 165 w 169"/>
                  <a:gd name="T3" fmla="*/ 37 h 203"/>
                  <a:gd name="T4" fmla="*/ 166 w 169"/>
                  <a:gd name="T5" fmla="*/ 37 h 203"/>
                  <a:gd name="T6" fmla="*/ 81 w 169"/>
                  <a:gd name="T7" fmla="*/ 28 h 203"/>
                  <a:gd name="T8" fmla="*/ 61 w 169"/>
                  <a:gd name="T9" fmla="*/ 45 h 203"/>
                  <a:gd name="T10" fmla="*/ 43 w 169"/>
                  <a:gd name="T11" fmla="*/ 59 h 203"/>
                  <a:gd name="T12" fmla="*/ 43 w 169"/>
                  <a:gd name="T13" fmla="*/ 85 h 203"/>
                  <a:gd name="T14" fmla="*/ 104 w 169"/>
                  <a:gd name="T15" fmla="*/ 203 h 203"/>
                  <a:gd name="T16" fmla="*/ 101 w 169"/>
                  <a:gd name="T17" fmla="*/ 118 h 203"/>
                  <a:gd name="T18" fmla="*/ 103 w 169"/>
                  <a:gd name="T19" fmla="*/ 114 h 203"/>
                  <a:gd name="T20" fmla="*/ 131 w 169"/>
                  <a:gd name="T21" fmla="*/ 91 h 203"/>
                  <a:gd name="T22" fmla="*/ 166 w 169"/>
                  <a:gd name="T23" fmla="*/ 37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9" h="203">
                    <a:moveTo>
                      <a:pt x="166" y="37"/>
                    </a:moveTo>
                    <a:cubicBezTo>
                      <a:pt x="165" y="37"/>
                      <a:pt x="165" y="37"/>
                      <a:pt x="165" y="37"/>
                    </a:cubicBezTo>
                    <a:cubicBezTo>
                      <a:pt x="166" y="37"/>
                      <a:pt x="166" y="37"/>
                      <a:pt x="166" y="37"/>
                    </a:cubicBezTo>
                    <a:cubicBezTo>
                      <a:pt x="152" y="4"/>
                      <a:pt x="99" y="0"/>
                      <a:pt x="81" y="28"/>
                    </a:cubicBezTo>
                    <a:cubicBezTo>
                      <a:pt x="75" y="36"/>
                      <a:pt x="70" y="40"/>
                      <a:pt x="61" y="45"/>
                    </a:cubicBezTo>
                    <a:cubicBezTo>
                      <a:pt x="53" y="49"/>
                      <a:pt x="48" y="52"/>
                      <a:pt x="43" y="59"/>
                    </a:cubicBezTo>
                    <a:cubicBezTo>
                      <a:pt x="39" y="65"/>
                      <a:pt x="40" y="76"/>
                      <a:pt x="43" y="85"/>
                    </a:cubicBezTo>
                    <a:cubicBezTo>
                      <a:pt x="0" y="111"/>
                      <a:pt x="104" y="203"/>
                      <a:pt x="104" y="203"/>
                    </a:cubicBezTo>
                    <a:cubicBezTo>
                      <a:pt x="126" y="167"/>
                      <a:pt x="101" y="118"/>
                      <a:pt x="101" y="118"/>
                    </a:cubicBezTo>
                    <a:cubicBezTo>
                      <a:pt x="102" y="117"/>
                      <a:pt x="103" y="115"/>
                      <a:pt x="103" y="114"/>
                    </a:cubicBezTo>
                    <a:cubicBezTo>
                      <a:pt x="109" y="99"/>
                      <a:pt x="117" y="98"/>
                      <a:pt x="131" y="91"/>
                    </a:cubicBezTo>
                    <a:cubicBezTo>
                      <a:pt x="147" y="82"/>
                      <a:pt x="169" y="57"/>
                      <a:pt x="166" y="37"/>
                    </a:cubicBezTo>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71" name="Freeform 240"/>
              <p:cNvSpPr>
                <a:spLocks/>
              </p:cNvSpPr>
              <p:nvPr/>
            </p:nvSpPr>
            <p:spPr bwMode="auto">
              <a:xfrm>
                <a:off x="4640858" y="2971884"/>
                <a:ext cx="98706" cy="158528"/>
              </a:xfrm>
              <a:custGeom>
                <a:avLst/>
                <a:gdLst>
                  <a:gd name="T0" fmla="*/ 12 w 39"/>
                  <a:gd name="T1" fmla="*/ 0 h 63"/>
                  <a:gd name="T2" fmla="*/ 36 w 39"/>
                  <a:gd name="T3" fmla="*/ 36 h 63"/>
                  <a:gd name="T4" fmla="*/ 0 w 39"/>
                  <a:gd name="T5" fmla="*/ 59 h 63"/>
                  <a:gd name="T6" fmla="*/ 12 w 39"/>
                  <a:gd name="T7" fmla="*/ 0 h 63"/>
                </a:gdLst>
                <a:ahLst/>
                <a:cxnLst>
                  <a:cxn ang="0">
                    <a:pos x="T0" y="T1"/>
                  </a:cxn>
                  <a:cxn ang="0">
                    <a:pos x="T2" y="T3"/>
                  </a:cxn>
                  <a:cxn ang="0">
                    <a:pos x="T4" y="T5"/>
                  </a:cxn>
                  <a:cxn ang="0">
                    <a:pos x="T6" y="T7"/>
                  </a:cxn>
                </a:cxnLst>
                <a:rect l="0" t="0" r="r" b="b"/>
                <a:pathLst>
                  <a:path w="39" h="63">
                    <a:moveTo>
                      <a:pt x="12" y="0"/>
                    </a:moveTo>
                    <a:cubicBezTo>
                      <a:pt x="29" y="4"/>
                      <a:pt x="39" y="20"/>
                      <a:pt x="36" y="36"/>
                    </a:cubicBezTo>
                    <a:cubicBezTo>
                      <a:pt x="32" y="52"/>
                      <a:pt x="16" y="63"/>
                      <a:pt x="0" y="59"/>
                    </a:cubicBezTo>
                    <a:cubicBezTo>
                      <a:pt x="12" y="0"/>
                      <a:pt x="12" y="0"/>
                      <a:pt x="12" y="0"/>
                    </a:cubicBezTo>
                  </a:path>
                </a:pathLst>
              </a:custGeom>
              <a:solidFill>
                <a:srgbClr val="FFFC9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72" name="Freeform 241"/>
              <p:cNvSpPr>
                <a:spLocks/>
              </p:cNvSpPr>
              <p:nvPr/>
            </p:nvSpPr>
            <p:spPr bwMode="auto">
              <a:xfrm>
                <a:off x="4646840" y="3010767"/>
                <a:ext cx="50849" cy="74778"/>
              </a:xfrm>
              <a:custGeom>
                <a:avLst/>
                <a:gdLst>
                  <a:gd name="T0" fmla="*/ 6 w 20"/>
                  <a:gd name="T1" fmla="*/ 0 h 30"/>
                  <a:gd name="T2" fmla="*/ 0 w 20"/>
                  <a:gd name="T3" fmla="*/ 30 h 30"/>
                  <a:gd name="T4" fmla="*/ 3 w 20"/>
                  <a:gd name="T5" fmla="*/ 30 h 30"/>
                  <a:gd name="T6" fmla="*/ 18 w 20"/>
                  <a:gd name="T7" fmla="*/ 18 h 30"/>
                  <a:gd name="T8" fmla="*/ 6 w 20"/>
                  <a:gd name="T9" fmla="*/ 0 h 30"/>
                </a:gdLst>
                <a:ahLst/>
                <a:cxnLst>
                  <a:cxn ang="0">
                    <a:pos x="T0" y="T1"/>
                  </a:cxn>
                  <a:cxn ang="0">
                    <a:pos x="T2" y="T3"/>
                  </a:cxn>
                  <a:cxn ang="0">
                    <a:pos x="T4" y="T5"/>
                  </a:cxn>
                  <a:cxn ang="0">
                    <a:pos x="T6" y="T7"/>
                  </a:cxn>
                  <a:cxn ang="0">
                    <a:pos x="T8" y="T9"/>
                  </a:cxn>
                </a:cxnLst>
                <a:rect l="0" t="0" r="r" b="b"/>
                <a:pathLst>
                  <a:path w="20" h="30">
                    <a:moveTo>
                      <a:pt x="6" y="0"/>
                    </a:moveTo>
                    <a:cubicBezTo>
                      <a:pt x="0" y="30"/>
                      <a:pt x="0" y="30"/>
                      <a:pt x="0" y="30"/>
                    </a:cubicBezTo>
                    <a:cubicBezTo>
                      <a:pt x="1" y="30"/>
                      <a:pt x="2" y="30"/>
                      <a:pt x="3" y="30"/>
                    </a:cubicBezTo>
                    <a:cubicBezTo>
                      <a:pt x="10" y="30"/>
                      <a:pt x="17" y="25"/>
                      <a:pt x="18" y="18"/>
                    </a:cubicBezTo>
                    <a:cubicBezTo>
                      <a:pt x="20" y="10"/>
                      <a:pt x="14" y="2"/>
                      <a:pt x="6" y="0"/>
                    </a:cubicBezTo>
                  </a:path>
                </a:pathLst>
              </a:custGeom>
              <a:solidFill>
                <a:srgbClr val="D9D68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73" name="Freeform 242"/>
              <p:cNvSpPr>
                <a:spLocks/>
              </p:cNvSpPr>
              <p:nvPr/>
            </p:nvSpPr>
            <p:spPr bwMode="auto">
              <a:xfrm>
                <a:off x="2852194" y="2475366"/>
                <a:ext cx="116653" cy="155536"/>
              </a:xfrm>
              <a:custGeom>
                <a:avLst/>
                <a:gdLst>
                  <a:gd name="T0" fmla="*/ 21 w 46"/>
                  <a:gd name="T1" fmla="*/ 0 h 61"/>
                  <a:gd name="T2" fmla="*/ 7 w 46"/>
                  <a:gd name="T3" fmla="*/ 40 h 61"/>
                  <a:gd name="T4" fmla="*/ 46 w 46"/>
                  <a:gd name="T5" fmla="*/ 53 h 61"/>
                  <a:gd name="T6" fmla="*/ 21 w 46"/>
                  <a:gd name="T7" fmla="*/ 0 h 61"/>
                </a:gdLst>
                <a:ahLst/>
                <a:cxnLst>
                  <a:cxn ang="0">
                    <a:pos x="T0" y="T1"/>
                  </a:cxn>
                  <a:cxn ang="0">
                    <a:pos x="T2" y="T3"/>
                  </a:cxn>
                  <a:cxn ang="0">
                    <a:pos x="T4" y="T5"/>
                  </a:cxn>
                  <a:cxn ang="0">
                    <a:pos x="T6" y="T7"/>
                  </a:cxn>
                </a:cxnLst>
                <a:rect l="0" t="0" r="r" b="b"/>
                <a:pathLst>
                  <a:path w="46" h="61">
                    <a:moveTo>
                      <a:pt x="21" y="0"/>
                    </a:moveTo>
                    <a:cubicBezTo>
                      <a:pt x="6" y="7"/>
                      <a:pt x="0" y="25"/>
                      <a:pt x="7" y="40"/>
                    </a:cubicBezTo>
                    <a:cubicBezTo>
                      <a:pt x="14" y="54"/>
                      <a:pt x="32" y="61"/>
                      <a:pt x="46" y="53"/>
                    </a:cubicBezTo>
                    <a:cubicBezTo>
                      <a:pt x="21" y="0"/>
                      <a:pt x="21" y="0"/>
                      <a:pt x="21" y="0"/>
                    </a:cubicBezTo>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74" name="Freeform 243"/>
              <p:cNvSpPr>
                <a:spLocks/>
              </p:cNvSpPr>
              <p:nvPr/>
            </p:nvSpPr>
            <p:spPr bwMode="auto">
              <a:xfrm>
                <a:off x="2920988" y="2508267"/>
                <a:ext cx="32903" cy="68796"/>
              </a:xfrm>
              <a:custGeom>
                <a:avLst/>
                <a:gdLst>
                  <a:gd name="T0" fmla="*/ 0 w 13"/>
                  <a:gd name="T1" fmla="*/ 0 h 27"/>
                  <a:gd name="T2" fmla="*/ 0 w 13"/>
                  <a:gd name="T3" fmla="*/ 0 h 27"/>
                  <a:gd name="T4" fmla="*/ 13 w 13"/>
                  <a:gd name="T5" fmla="*/ 27 h 27"/>
                  <a:gd name="T6" fmla="*/ 13 w 13"/>
                  <a:gd name="T7" fmla="*/ 27 h 27"/>
                  <a:gd name="T8" fmla="*/ 0 w 13"/>
                  <a:gd name="T9" fmla="*/ 0 h 27"/>
                </a:gdLst>
                <a:ahLst/>
                <a:cxnLst>
                  <a:cxn ang="0">
                    <a:pos x="T0" y="T1"/>
                  </a:cxn>
                  <a:cxn ang="0">
                    <a:pos x="T2" y="T3"/>
                  </a:cxn>
                  <a:cxn ang="0">
                    <a:pos x="T4" y="T5"/>
                  </a:cxn>
                  <a:cxn ang="0">
                    <a:pos x="T6" y="T7"/>
                  </a:cxn>
                  <a:cxn ang="0">
                    <a:pos x="T8" y="T9"/>
                  </a:cxn>
                </a:cxnLst>
                <a:rect l="0" t="0" r="r" b="b"/>
                <a:pathLst>
                  <a:path w="13" h="27">
                    <a:moveTo>
                      <a:pt x="0" y="0"/>
                    </a:moveTo>
                    <a:cubicBezTo>
                      <a:pt x="0" y="0"/>
                      <a:pt x="0" y="0"/>
                      <a:pt x="0" y="0"/>
                    </a:cubicBezTo>
                    <a:cubicBezTo>
                      <a:pt x="13" y="27"/>
                      <a:pt x="13" y="27"/>
                      <a:pt x="13" y="27"/>
                    </a:cubicBezTo>
                    <a:cubicBezTo>
                      <a:pt x="13" y="27"/>
                      <a:pt x="13" y="27"/>
                      <a:pt x="13" y="27"/>
                    </a:cubicBezTo>
                    <a:cubicBezTo>
                      <a:pt x="0" y="0"/>
                      <a:pt x="0" y="0"/>
                      <a:pt x="0" y="0"/>
                    </a:cubicBezTo>
                  </a:path>
                </a:pathLst>
              </a:custGeom>
              <a:solidFill>
                <a:srgbClr val="D977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75" name="Freeform 244"/>
              <p:cNvSpPr>
                <a:spLocks/>
              </p:cNvSpPr>
              <p:nvPr/>
            </p:nvSpPr>
            <p:spPr bwMode="auto">
              <a:xfrm>
                <a:off x="2894069" y="2508267"/>
                <a:ext cx="59822" cy="71786"/>
              </a:xfrm>
              <a:custGeom>
                <a:avLst/>
                <a:gdLst>
                  <a:gd name="T0" fmla="*/ 10 w 23"/>
                  <a:gd name="T1" fmla="*/ 0 h 28"/>
                  <a:gd name="T2" fmla="*/ 3 w 23"/>
                  <a:gd name="T3" fmla="*/ 20 h 28"/>
                  <a:gd name="T4" fmla="*/ 17 w 23"/>
                  <a:gd name="T5" fmla="*/ 28 h 28"/>
                  <a:gd name="T6" fmla="*/ 23 w 23"/>
                  <a:gd name="T7" fmla="*/ 27 h 28"/>
                  <a:gd name="T8" fmla="*/ 10 w 23"/>
                  <a:gd name="T9" fmla="*/ 0 h 28"/>
                </a:gdLst>
                <a:ahLst/>
                <a:cxnLst>
                  <a:cxn ang="0">
                    <a:pos x="T0" y="T1"/>
                  </a:cxn>
                  <a:cxn ang="0">
                    <a:pos x="T2" y="T3"/>
                  </a:cxn>
                  <a:cxn ang="0">
                    <a:pos x="T4" y="T5"/>
                  </a:cxn>
                  <a:cxn ang="0">
                    <a:pos x="T6" y="T7"/>
                  </a:cxn>
                  <a:cxn ang="0">
                    <a:pos x="T8" y="T9"/>
                  </a:cxn>
                </a:cxnLst>
                <a:rect l="0" t="0" r="r" b="b"/>
                <a:pathLst>
                  <a:path w="23" h="28">
                    <a:moveTo>
                      <a:pt x="10" y="0"/>
                    </a:moveTo>
                    <a:cubicBezTo>
                      <a:pt x="3" y="4"/>
                      <a:pt x="0" y="13"/>
                      <a:pt x="3" y="20"/>
                    </a:cubicBezTo>
                    <a:cubicBezTo>
                      <a:pt x="6" y="25"/>
                      <a:pt x="11" y="28"/>
                      <a:pt x="17" y="28"/>
                    </a:cubicBezTo>
                    <a:cubicBezTo>
                      <a:pt x="19" y="28"/>
                      <a:pt x="21" y="28"/>
                      <a:pt x="23" y="27"/>
                    </a:cubicBezTo>
                    <a:cubicBezTo>
                      <a:pt x="10" y="0"/>
                      <a:pt x="10" y="0"/>
                      <a:pt x="10" y="0"/>
                    </a:cubicBezTo>
                  </a:path>
                </a:pathLst>
              </a:custGeom>
              <a:solidFill>
                <a:srgbClr val="D977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76" name="Freeform 245"/>
              <p:cNvSpPr>
                <a:spLocks/>
              </p:cNvSpPr>
              <p:nvPr/>
            </p:nvSpPr>
            <p:spPr bwMode="auto">
              <a:xfrm>
                <a:off x="3794382" y="2035677"/>
                <a:ext cx="143572" cy="146564"/>
              </a:xfrm>
              <a:custGeom>
                <a:avLst/>
                <a:gdLst>
                  <a:gd name="T0" fmla="*/ 57 w 57"/>
                  <a:gd name="T1" fmla="*/ 32 h 59"/>
                  <a:gd name="T2" fmla="*/ 25 w 57"/>
                  <a:gd name="T3" fmla="*/ 0 h 59"/>
                  <a:gd name="T4" fmla="*/ 9 w 57"/>
                  <a:gd name="T5" fmla="*/ 4 h 59"/>
                  <a:gd name="T6" fmla="*/ 12 w 57"/>
                  <a:gd name="T7" fmla="*/ 46 h 59"/>
                  <a:gd name="T8" fmla="*/ 57 w 57"/>
                  <a:gd name="T9" fmla="*/ 46 h 59"/>
                  <a:gd name="T10" fmla="*/ 57 w 57"/>
                  <a:gd name="T11" fmla="*/ 33 h 59"/>
                  <a:gd name="T12" fmla="*/ 57 w 57"/>
                  <a:gd name="T13" fmla="*/ 33 h 59"/>
                  <a:gd name="T14" fmla="*/ 57 w 57"/>
                  <a:gd name="T15" fmla="*/ 32 h 5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7" h="59">
                    <a:moveTo>
                      <a:pt x="57" y="32"/>
                    </a:moveTo>
                    <a:cubicBezTo>
                      <a:pt x="57" y="14"/>
                      <a:pt x="43" y="0"/>
                      <a:pt x="25" y="0"/>
                    </a:cubicBezTo>
                    <a:cubicBezTo>
                      <a:pt x="19" y="0"/>
                      <a:pt x="14" y="1"/>
                      <a:pt x="9" y="4"/>
                    </a:cubicBezTo>
                    <a:cubicBezTo>
                      <a:pt x="0" y="17"/>
                      <a:pt x="1" y="34"/>
                      <a:pt x="12" y="46"/>
                    </a:cubicBezTo>
                    <a:cubicBezTo>
                      <a:pt x="24" y="58"/>
                      <a:pt x="45" y="59"/>
                      <a:pt x="57" y="46"/>
                    </a:cubicBezTo>
                    <a:cubicBezTo>
                      <a:pt x="57" y="33"/>
                      <a:pt x="57" y="33"/>
                      <a:pt x="57" y="33"/>
                    </a:cubicBezTo>
                    <a:cubicBezTo>
                      <a:pt x="57" y="33"/>
                      <a:pt x="57" y="33"/>
                      <a:pt x="57" y="33"/>
                    </a:cubicBezTo>
                    <a:cubicBezTo>
                      <a:pt x="57" y="33"/>
                      <a:pt x="57" y="32"/>
                      <a:pt x="57" y="32"/>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77" name="Freeform 246"/>
              <p:cNvSpPr>
                <a:spLocks/>
              </p:cNvSpPr>
              <p:nvPr/>
            </p:nvSpPr>
            <p:spPr bwMode="auto">
              <a:xfrm>
                <a:off x="1425449" y="2816348"/>
                <a:ext cx="397814" cy="490537"/>
              </a:xfrm>
              <a:custGeom>
                <a:avLst/>
                <a:gdLst>
                  <a:gd name="T0" fmla="*/ 18 w 158"/>
                  <a:gd name="T1" fmla="*/ 0 h 194"/>
                  <a:gd name="T2" fmla="*/ 1 w 158"/>
                  <a:gd name="T3" fmla="*/ 98 h 194"/>
                  <a:gd name="T4" fmla="*/ 1 w 158"/>
                  <a:gd name="T5" fmla="*/ 99 h 194"/>
                  <a:gd name="T6" fmla="*/ 0 w 158"/>
                  <a:gd name="T7" fmla="*/ 113 h 194"/>
                  <a:gd name="T8" fmla="*/ 25 w 158"/>
                  <a:gd name="T9" fmla="*/ 109 h 194"/>
                  <a:gd name="T10" fmla="*/ 38 w 158"/>
                  <a:gd name="T11" fmla="*/ 151 h 194"/>
                  <a:gd name="T12" fmla="*/ 128 w 158"/>
                  <a:gd name="T13" fmla="*/ 194 h 194"/>
                  <a:gd name="T14" fmla="*/ 134 w 158"/>
                  <a:gd name="T15" fmla="*/ 156 h 194"/>
                  <a:gd name="T16" fmla="*/ 147 w 158"/>
                  <a:gd name="T17" fmla="*/ 86 h 194"/>
                  <a:gd name="T18" fmla="*/ 158 w 158"/>
                  <a:gd name="T19" fmla="*/ 25 h 194"/>
                  <a:gd name="T20" fmla="*/ 18 w 158"/>
                  <a:gd name="T21" fmla="*/ 0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8" h="194">
                    <a:moveTo>
                      <a:pt x="18" y="0"/>
                    </a:moveTo>
                    <a:cubicBezTo>
                      <a:pt x="1" y="98"/>
                      <a:pt x="1" y="98"/>
                      <a:pt x="1" y="98"/>
                    </a:cubicBezTo>
                    <a:cubicBezTo>
                      <a:pt x="1" y="99"/>
                      <a:pt x="1" y="99"/>
                      <a:pt x="1" y="99"/>
                    </a:cubicBezTo>
                    <a:cubicBezTo>
                      <a:pt x="0" y="104"/>
                      <a:pt x="0" y="109"/>
                      <a:pt x="0" y="113"/>
                    </a:cubicBezTo>
                    <a:cubicBezTo>
                      <a:pt x="25" y="109"/>
                      <a:pt x="25" y="109"/>
                      <a:pt x="25" y="109"/>
                    </a:cubicBezTo>
                    <a:cubicBezTo>
                      <a:pt x="27" y="125"/>
                      <a:pt x="32" y="139"/>
                      <a:pt x="38" y="151"/>
                    </a:cubicBezTo>
                    <a:cubicBezTo>
                      <a:pt x="51" y="171"/>
                      <a:pt x="76" y="191"/>
                      <a:pt x="128" y="194"/>
                    </a:cubicBezTo>
                    <a:cubicBezTo>
                      <a:pt x="134" y="156"/>
                      <a:pt x="134" y="156"/>
                      <a:pt x="134" y="156"/>
                    </a:cubicBezTo>
                    <a:cubicBezTo>
                      <a:pt x="147" y="86"/>
                      <a:pt x="147" y="86"/>
                      <a:pt x="147" y="86"/>
                    </a:cubicBezTo>
                    <a:cubicBezTo>
                      <a:pt x="158" y="25"/>
                      <a:pt x="158" y="25"/>
                      <a:pt x="158" y="25"/>
                    </a:cubicBezTo>
                    <a:cubicBezTo>
                      <a:pt x="18" y="0"/>
                      <a:pt x="18" y="0"/>
                      <a:pt x="18" y="0"/>
                    </a:cubicBezTo>
                  </a:path>
                </a:pathLst>
              </a:custGeom>
              <a:solidFill>
                <a:srgbClr val="FFFC9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78" name="Freeform 247"/>
              <p:cNvSpPr>
                <a:spLocks/>
              </p:cNvSpPr>
              <p:nvPr/>
            </p:nvSpPr>
            <p:spPr bwMode="auto">
              <a:xfrm>
                <a:off x="1820271" y="2876170"/>
                <a:ext cx="0" cy="2992"/>
              </a:xfrm>
              <a:custGeom>
                <a:avLst/>
                <a:gdLst>
                  <a:gd name="T0" fmla="*/ 1 h 1"/>
                  <a:gd name="T1" fmla="*/ 0 h 1"/>
                  <a:gd name="T2" fmla="*/ 1 h 1"/>
                </a:gdLst>
                <a:ahLst/>
                <a:cxnLst>
                  <a:cxn ang="0">
                    <a:pos x="0" y="T0"/>
                  </a:cxn>
                  <a:cxn ang="0">
                    <a:pos x="0" y="T1"/>
                  </a:cxn>
                  <a:cxn ang="0">
                    <a:pos x="0" y="T2"/>
                  </a:cxn>
                </a:cxnLst>
                <a:rect l="0" t="0" r="r" b="b"/>
                <a:pathLst>
                  <a:path h="1">
                    <a:moveTo>
                      <a:pt x="0" y="1"/>
                    </a:moveTo>
                    <a:cubicBezTo>
                      <a:pt x="0" y="1"/>
                      <a:pt x="0" y="1"/>
                      <a:pt x="0" y="0"/>
                    </a:cubicBezTo>
                    <a:cubicBezTo>
                      <a:pt x="0" y="1"/>
                      <a:pt x="0" y="1"/>
                      <a:pt x="0" y="1"/>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79" name="Rectangle 248"/>
              <p:cNvSpPr>
                <a:spLocks noChangeArrowheads="1"/>
              </p:cNvSpPr>
              <p:nvPr/>
            </p:nvSpPr>
            <p:spPr bwMode="auto">
              <a:xfrm>
                <a:off x="1820271" y="2876170"/>
                <a:ext cx="2992" cy="2992"/>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80" name="Freeform 249"/>
              <p:cNvSpPr>
                <a:spLocks/>
              </p:cNvSpPr>
              <p:nvPr/>
            </p:nvSpPr>
            <p:spPr bwMode="auto">
              <a:xfrm>
                <a:off x="1817281" y="2879160"/>
                <a:ext cx="2992" cy="2992"/>
              </a:xfrm>
              <a:custGeom>
                <a:avLst/>
                <a:gdLst>
                  <a:gd name="T0" fmla="*/ 1 w 1"/>
                  <a:gd name="T1" fmla="*/ 1 h 1"/>
                  <a:gd name="T2" fmla="*/ 1 w 1"/>
                  <a:gd name="T3" fmla="*/ 0 h 1"/>
                  <a:gd name="T4" fmla="*/ 0 w 1"/>
                  <a:gd name="T5" fmla="*/ 0 h 1"/>
                  <a:gd name="T6" fmla="*/ 1 w 1"/>
                  <a:gd name="T7" fmla="*/ 1 h 1"/>
                </a:gdLst>
                <a:ahLst/>
                <a:cxnLst>
                  <a:cxn ang="0">
                    <a:pos x="T0" y="T1"/>
                  </a:cxn>
                  <a:cxn ang="0">
                    <a:pos x="T2" y="T3"/>
                  </a:cxn>
                  <a:cxn ang="0">
                    <a:pos x="T4" y="T5"/>
                  </a:cxn>
                  <a:cxn ang="0">
                    <a:pos x="T6" y="T7"/>
                  </a:cxn>
                </a:cxnLst>
                <a:rect l="0" t="0" r="r" b="b"/>
                <a:pathLst>
                  <a:path w="1" h="1">
                    <a:moveTo>
                      <a:pt x="1" y="1"/>
                    </a:moveTo>
                    <a:lnTo>
                      <a:pt x="1" y="0"/>
                    </a:lnTo>
                    <a:lnTo>
                      <a:pt x="0" y="0"/>
                    </a:lnTo>
                    <a:lnTo>
                      <a:pt x="1" y="1"/>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81" name="Freeform 250"/>
              <p:cNvSpPr>
                <a:spLocks/>
              </p:cNvSpPr>
              <p:nvPr/>
            </p:nvSpPr>
            <p:spPr bwMode="auto">
              <a:xfrm>
                <a:off x="1240002" y="2696705"/>
                <a:ext cx="598215" cy="508483"/>
              </a:xfrm>
              <a:custGeom>
                <a:avLst/>
                <a:gdLst>
                  <a:gd name="T0" fmla="*/ 162 w 237"/>
                  <a:gd name="T1" fmla="*/ 12 h 201"/>
                  <a:gd name="T2" fmla="*/ 134 w 237"/>
                  <a:gd name="T3" fmla="*/ 14 h 201"/>
                  <a:gd name="T4" fmla="*/ 110 w 237"/>
                  <a:gd name="T5" fmla="*/ 15 h 201"/>
                  <a:gd name="T6" fmla="*/ 93 w 237"/>
                  <a:gd name="T7" fmla="*/ 41 h 201"/>
                  <a:gd name="T8" fmla="*/ 17 w 237"/>
                  <a:gd name="T9" fmla="*/ 68 h 201"/>
                  <a:gd name="T10" fmla="*/ 39 w 237"/>
                  <a:gd name="T11" fmla="*/ 136 h 201"/>
                  <a:gd name="T12" fmla="*/ 88 w 237"/>
                  <a:gd name="T13" fmla="*/ 199 h 201"/>
                  <a:gd name="T14" fmla="*/ 109 w 237"/>
                  <a:gd name="T15" fmla="*/ 195 h 201"/>
                  <a:gd name="T16" fmla="*/ 98 w 237"/>
                  <a:gd name="T17" fmla="*/ 160 h 201"/>
                  <a:gd name="T18" fmla="*/ 121 w 237"/>
                  <a:gd name="T19" fmla="*/ 103 h 201"/>
                  <a:gd name="T20" fmla="*/ 127 w 237"/>
                  <a:gd name="T21" fmla="*/ 99 h 201"/>
                  <a:gd name="T22" fmla="*/ 133 w 237"/>
                  <a:gd name="T23" fmla="*/ 96 h 201"/>
                  <a:gd name="T24" fmla="*/ 166 w 237"/>
                  <a:gd name="T25" fmla="*/ 97 h 201"/>
                  <a:gd name="T26" fmla="*/ 230 w 237"/>
                  <a:gd name="T27" fmla="*/ 73 h 201"/>
                  <a:gd name="T28" fmla="*/ 229 w 237"/>
                  <a:gd name="T29" fmla="*/ 72 h 201"/>
                  <a:gd name="T30" fmla="*/ 230 w 237"/>
                  <a:gd name="T31" fmla="*/ 72 h 201"/>
                  <a:gd name="T32" fmla="*/ 230 w 237"/>
                  <a:gd name="T33" fmla="*/ 71 h 201"/>
                  <a:gd name="T34" fmla="*/ 230 w 237"/>
                  <a:gd name="T35" fmla="*/ 71 h 201"/>
                  <a:gd name="T36" fmla="*/ 162 w 237"/>
                  <a:gd name="T37" fmla="*/ 12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37" h="201">
                    <a:moveTo>
                      <a:pt x="162" y="12"/>
                    </a:moveTo>
                    <a:cubicBezTo>
                      <a:pt x="152" y="15"/>
                      <a:pt x="145" y="16"/>
                      <a:pt x="134" y="14"/>
                    </a:cubicBezTo>
                    <a:cubicBezTo>
                      <a:pt x="125" y="12"/>
                      <a:pt x="118" y="12"/>
                      <a:pt x="110" y="15"/>
                    </a:cubicBezTo>
                    <a:cubicBezTo>
                      <a:pt x="102" y="18"/>
                      <a:pt x="95" y="30"/>
                      <a:pt x="93" y="41"/>
                    </a:cubicBezTo>
                    <a:cubicBezTo>
                      <a:pt x="64" y="41"/>
                      <a:pt x="33" y="39"/>
                      <a:pt x="17" y="68"/>
                    </a:cubicBezTo>
                    <a:cubicBezTo>
                      <a:pt x="0" y="100"/>
                      <a:pt x="20" y="115"/>
                      <a:pt x="39" y="136"/>
                    </a:cubicBezTo>
                    <a:cubicBezTo>
                      <a:pt x="57" y="155"/>
                      <a:pt x="57" y="194"/>
                      <a:pt x="88" y="199"/>
                    </a:cubicBezTo>
                    <a:cubicBezTo>
                      <a:pt x="97" y="201"/>
                      <a:pt x="104" y="199"/>
                      <a:pt x="109" y="195"/>
                    </a:cubicBezTo>
                    <a:cubicBezTo>
                      <a:pt x="105" y="185"/>
                      <a:pt x="101" y="173"/>
                      <a:pt x="98" y="160"/>
                    </a:cubicBezTo>
                    <a:cubicBezTo>
                      <a:pt x="114" y="139"/>
                      <a:pt x="119" y="112"/>
                      <a:pt x="121" y="103"/>
                    </a:cubicBezTo>
                    <a:cubicBezTo>
                      <a:pt x="123" y="102"/>
                      <a:pt x="125" y="101"/>
                      <a:pt x="127" y="99"/>
                    </a:cubicBezTo>
                    <a:cubicBezTo>
                      <a:pt x="129" y="98"/>
                      <a:pt x="131" y="97"/>
                      <a:pt x="133" y="96"/>
                    </a:cubicBezTo>
                    <a:cubicBezTo>
                      <a:pt x="144" y="91"/>
                      <a:pt x="152" y="95"/>
                      <a:pt x="166" y="97"/>
                    </a:cubicBezTo>
                    <a:cubicBezTo>
                      <a:pt x="185" y="99"/>
                      <a:pt x="219" y="92"/>
                      <a:pt x="230" y="73"/>
                    </a:cubicBezTo>
                    <a:cubicBezTo>
                      <a:pt x="229" y="72"/>
                      <a:pt x="229" y="72"/>
                      <a:pt x="229" y="72"/>
                    </a:cubicBezTo>
                    <a:cubicBezTo>
                      <a:pt x="230" y="72"/>
                      <a:pt x="230" y="72"/>
                      <a:pt x="230" y="72"/>
                    </a:cubicBezTo>
                    <a:cubicBezTo>
                      <a:pt x="230" y="72"/>
                      <a:pt x="230" y="72"/>
                      <a:pt x="230" y="71"/>
                    </a:cubicBezTo>
                    <a:cubicBezTo>
                      <a:pt x="230" y="71"/>
                      <a:pt x="230" y="71"/>
                      <a:pt x="230" y="71"/>
                    </a:cubicBezTo>
                    <a:cubicBezTo>
                      <a:pt x="237" y="35"/>
                      <a:pt x="194" y="0"/>
                      <a:pt x="162" y="12"/>
                    </a:cubicBezTo>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82" name="Freeform 251"/>
              <p:cNvSpPr>
                <a:spLocks/>
              </p:cNvSpPr>
              <p:nvPr/>
            </p:nvSpPr>
            <p:spPr bwMode="auto">
              <a:xfrm>
                <a:off x="1461342" y="2944964"/>
                <a:ext cx="92724" cy="149554"/>
              </a:xfrm>
              <a:custGeom>
                <a:avLst/>
                <a:gdLst>
                  <a:gd name="T0" fmla="*/ 36 w 36"/>
                  <a:gd name="T1" fmla="*/ 3 h 59"/>
                  <a:gd name="T2" fmla="*/ 3 w 36"/>
                  <a:gd name="T3" fmla="*/ 26 h 59"/>
                  <a:gd name="T4" fmla="*/ 26 w 36"/>
                  <a:gd name="T5" fmla="*/ 59 h 59"/>
                  <a:gd name="T6" fmla="*/ 36 w 36"/>
                  <a:gd name="T7" fmla="*/ 3 h 59"/>
                </a:gdLst>
                <a:ahLst/>
                <a:cxnLst>
                  <a:cxn ang="0">
                    <a:pos x="T0" y="T1"/>
                  </a:cxn>
                  <a:cxn ang="0">
                    <a:pos x="T2" y="T3"/>
                  </a:cxn>
                  <a:cxn ang="0">
                    <a:pos x="T4" y="T5"/>
                  </a:cxn>
                  <a:cxn ang="0">
                    <a:pos x="T6" y="T7"/>
                  </a:cxn>
                </a:cxnLst>
                <a:rect l="0" t="0" r="r" b="b"/>
                <a:pathLst>
                  <a:path w="36" h="59">
                    <a:moveTo>
                      <a:pt x="36" y="3"/>
                    </a:moveTo>
                    <a:cubicBezTo>
                      <a:pt x="20" y="0"/>
                      <a:pt x="5" y="10"/>
                      <a:pt x="3" y="26"/>
                    </a:cubicBezTo>
                    <a:cubicBezTo>
                      <a:pt x="0" y="42"/>
                      <a:pt x="10" y="56"/>
                      <a:pt x="26" y="59"/>
                    </a:cubicBezTo>
                    <a:cubicBezTo>
                      <a:pt x="36" y="3"/>
                      <a:pt x="36" y="3"/>
                      <a:pt x="36" y="3"/>
                    </a:cubicBezTo>
                  </a:path>
                </a:pathLst>
              </a:custGeom>
              <a:solidFill>
                <a:srgbClr val="FFFC9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83" name="Freeform 252"/>
              <p:cNvSpPr>
                <a:spLocks/>
              </p:cNvSpPr>
              <p:nvPr/>
            </p:nvSpPr>
            <p:spPr bwMode="auto">
              <a:xfrm>
                <a:off x="1533128" y="2989831"/>
                <a:ext cx="11964" cy="68796"/>
              </a:xfrm>
              <a:custGeom>
                <a:avLst/>
                <a:gdLst>
                  <a:gd name="T0" fmla="*/ 5 w 5"/>
                  <a:gd name="T1" fmla="*/ 0 h 28"/>
                  <a:gd name="T2" fmla="*/ 0 w 5"/>
                  <a:gd name="T3" fmla="*/ 28 h 28"/>
                  <a:gd name="T4" fmla="*/ 0 w 5"/>
                  <a:gd name="T5" fmla="*/ 28 h 28"/>
                  <a:gd name="T6" fmla="*/ 5 w 5"/>
                  <a:gd name="T7" fmla="*/ 0 h 28"/>
                  <a:gd name="T8" fmla="*/ 5 w 5"/>
                  <a:gd name="T9" fmla="*/ 0 h 28"/>
                </a:gdLst>
                <a:ahLst/>
                <a:cxnLst>
                  <a:cxn ang="0">
                    <a:pos x="T0" y="T1"/>
                  </a:cxn>
                  <a:cxn ang="0">
                    <a:pos x="T2" y="T3"/>
                  </a:cxn>
                  <a:cxn ang="0">
                    <a:pos x="T4" y="T5"/>
                  </a:cxn>
                  <a:cxn ang="0">
                    <a:pos x="T6" y="T7"/>
                  </a:cxn>
                  <a:cxn ang="0">
                    <a:pos x="T8" y="T9"/>
                  </a:cxn>
                </a:cxnLst>
                <a:rect l="0" t="0" r="r" b="b"/>
                <a:pathLst>
                  <a:path w="5" h="28">
                    <a:moveTo>
                      <a:pt x="5" y="0"/>
                    </a:moveTo>
                    <a:cubicBezTo>
                      <a:pt x="0" y="28"/>
                      <a:pt x="0" y="28"/>
                      <a:pt x="0" y="28"/>
                    </a:cubicBezTo>
                    <a:cubicBezTo>
                      <a:pt x="0" y="28"/>
                      <a:pt x="0" y="28"/>
                      <a:pt x="0" y="28"/>
                    </a:cubicBezTo>
                    <a:cubicBezTo>
                      <a:pt x="5" y="0"/>
                      <a:pt x="5" y="0"/>
                      <a:pt x="5" y="0"/>
                    </a:cubicBezTo>
                    <a:cubicBezTo>
                      <a:pt x="5" y="0"/>
                      <a:pt x="5" y="0"/>
                      <a:pt x="5" y="0"/>
                    </a:cubicBezTo>
                  </a:path>
                </a:pathLst>
              </a:custGeom>
              <a:solidFill>
                <a:srgbClr val="D9D68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84" name="Freeform 253"/>
              <p:cNvSpPr>
                <a:spLocks/>
              </p:cNvSpPr>
              <p:nvPr/>
            </p:nvSpPr>
            <p:spPr bwMode="auto">
              <a:xfrm>
                <a:off x="1500227" y="2989831"/>
                <a:ext cx="44867" cy="68796"/>
              </a:xfrm>
              <a:custGeom>
                <a:avLst/>
                <a:gdLst>
                  <a:gd name="T0" fmla="*/ 16 w 18"/>
                  <a:gd name="T1" fmla="*/ 0 h 28"/>
                  <a:gd name="T2" fmla="*/ 2 w 18"/>
                  <a:gd name="T3" fmla="*/ 11 h 28"/>
                  <a:gd name="T4" fmla="*/ 13 w 18"/>
                  <a:gd name="T5" fmla="*/ 28 h 28"/>
                  <a:gd name="T6" fmla="*/ 18 w 18"/>
                  <a:gd name="T7" fmla="*/ 0 h 28"/>
                  <a:gd name="T8" fmla="*/ 16 w 18"/>
                  <a:gd name="T9" fmla="*/ 0 h 28"/>
                </a:gdLst>
                <a:ahLst/>
                <a:cxnLst>
                  <a:cxn ang="0">
                    <a:pos x="T0" y="T1"/>
                  </a:cxn>
                  <a:cxn ang="0">
                    <a:pos x="T2" y="T3"/>
                  </a:cxn>
                  <a:cxn ang="0">
                    <a:pos x="T4" y="T5"/>
                  </a:cxn>
                  <a:cxn ang="0">
                    <a:pos x="T6" y="T7"/>
                  </a:cxn>
                  <a:cxn ang="0">
                    <a:pos x="T8" y="T9"/>
                  </a:cxn>
                </a:cxnLst>
                <a:rect l="0" t="0" r="r" b="b"/>
                <a:pathLst>
                  <a:path w="18" h="28">
                    <a:moveTo>
                      <a:pt x="16" y="0"/>
                    </a:moveTo>
                    <a:cubicBezTo>
                      <a:pt x="9" y="0"/>
                      <a:pt x="3" y="4"/>
                      <a:pt x="2" y="11"/>
                    </a:cubicBezTo>
                    <a:cubicBezTo>
                      <a:pt x="0" y="19"/>
                      <a:pt x="6" y="27"/>
                      <a:pt x="13" y="28"/>
                    </a:cubicBezTo>
                    <a:cubicBezTo>
                      <a:pt x="18" y="0"/>
                      <a:pt x="18" y="0"/>
                      <a:pt x="18" y="0"/>
                    </a:cubicBezTo>
                    <a:cubicBezTo>
                      <a:pt x="18" y="0"/>
                      <a:pt x="17" y="0"/>
                      <a:pt x="16" y="0"/>
                    </a:cubicBezTo>
                  </a:path>
                </a:pathLst>
              </a:custGeom>
              <a:solidFill>
                <a:srgbClr val="D9D68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85" name="Freeform 254"/>
              <p:cNvSpPr>
                <a:spLocks/>
              </p:cNvSpPr>
              <p:nvPr/>
            </p:nvSpPr>
            <p:spPr bwMode="auto">
              <a:xfrm>
                <a:off x="1679692" y="3034696"/>
                <a:ext cx="29911" cy="29911"/>
              </a:xfrm>
              <a:custGeom>
                <a:avLst/>
                <a:gdLst>
                  <a:gd name="T0" fmla="*/ 12 w 12"/>
                  <a:gd name="T1" fmla="*/ 7 h 12"/>
                  <a:gd name="T2" fmla="*/ 5 w 12"/>
                  <a:gd name="T3" fmla="*/ 11 h 12"/>
                  <a:gd name="T4" fmla="*/ 1 w 12"/>
                  <a:gd name="T5" fmla="*/ 5 h 12"/>
                  <a:gd name="T6" fmla="*/ 7 w 12"/>
                  <a:gd name="T7" fmla="*/ 0 h 12"/>
                  <a:gd name="T8" fmla="*/ 12 w 12"/>
                  <a:gd name="T9" fmla="*/ 7 h 12"/>
                </a:gdLst>
                <a:ahLst/>
                <a:cxnLst>
                  <a:cxn ang="0">
                    <a:pos x="T0" y="T1"/>
                  </a:cxn>
                  <a:cxn ang="0">
                    <a:pos x="T2" y="T3"/>
                  </a:cxn>
                  <a:cxn ang="0">
                    <a:pos x="T4" y="T5"/>
                  </a:cxn>
                  <a:cxn ang="0">
                    <a:pos x="T6" y="T7"/>
                  </a:cxn>
                  <a:cxn ang="0">
                    <a:pos x="T8" y="T9"/>
                  </a:cxn>
                </a:cxnLst>
                <a:rect l="0" t="0" r="r" b="b"/>
                <a:pathLst>
                  <a:path w="12" h="12">
                    <a:moveTo>
                      <a:pt x="12" y="7"/>
                    </a:moveTo>
                    <a:cubicBezTo>
                      <a:pt x="11" y="10"/>
                      <a:pt x="8" y="12"/>
                      <a:pt x="5" y="11"/>
                    </a:cubicBezTo>
                    <a:cubicBezTo>
                      <a:pt x="2" y="11"/>
                      <a:pt x="0" y="8"/>
                      <a:pt x="1" y="5"/>
                    </a:cubicBezTo>
                    <a:cubicBezTo>
                      <a:pt x="1" y="2"/>
                      <a:pt x="4" y="0"/>
                      <a:pt x="7" y="0"/>
                    </a:cubicBezTo>
                    <a:cubicBezTo>
                      <a:pt x="10" y="1"/>
                      <a:pt x="12" y="4"/>
                      <a:pt x="12" y="7"/>
                    </a:cubicBezTo>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86" name="Freeform 255"/>
              <p:cNvSpPr>
                <a:spLocks/>
              </p:cNvSpPr>
              <p:nvPr/>
            </p:nvSpPr>
            <p:spPr bwMode="auto">
              <a:xfrm>
                <a:off x="4446437" y="3372689"/>
                <a:ext cx="251250" cy="104689"/>
              </a:xfrm>
              <a:custGeom>
                <a:avLst/>
                <a:gdLst>
                  <a:gd name="T0" fmla="*/ 31 w 99"/>
                  <a:gd name="T1" fmla="*/ 41 h 41"/>
                  <a:gd name="T2" fmla="*/ 0 w 99"/>
                  <a:gd name="T3" fmla="*/ 2 h 41"/>
                  <a:gd name="T4" fmla="*/ 0 w 99"/>
                  <a:gd name="T5" fmla="*/ 0 h 41"/>
                  <a:gd name="T6" fmla="*/ 1 w 99"/>
                  <a:gd name="T7" fmla="*/ 0 h 41"/>
                  <a:gd name="T8" fmla="*/ 32 w 99"/>
                  <a:gd name="T9" fmla="*/ 38 h 41"/>
                  <a:gd name="T10" fmla="*/ 44 w 99"/>
                  <a:gd name="T11" fmla="*/ 30 h 41"/>
                  <a:gd name="T12" fmla="*/ 57 w 99"/>
                  <a:gd name="T13" fmla="*/ 39 h 41"/>
                  <a:gd name="T14" fmla="*/ 97 w 99"/>
                  <a:gd name="T15" fmla="*/ 0 h 41"/>
                  <a:gd name="T16" fmla="*/ 99 w 99"/>
                  <a:gd name="T17" fmla="*/ 0 h 41"/>
                  <a:gd name="T18" fmla="*/ 99 w 99"/>
                  <a:gd name="T19" fmla="*/ 2 h 41"/>
                  <a:gd name="T20" fmla="*/ 58 w 99"/>
                  <a:gd name="T21" fmla="*/ 41 h 41"/>
                  <a:gd name="T22" fmla="*/ 44 w 99"/>
                  <a:gd name="T23" fmla="*/ 32 h 41"/>
                  <a:gd name="T24" fmla="*/ 31 w 99"/>
                  <a:gd name="T25"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9" h="41">
                    <a:moveTo>
                      <a:pt x="31" y="41"/>
                    </a:moveTo>
                    <a:cubicBezTo>
                      <a:pt x="0" y="2"/>
                      <a:pt x="0" y="2"/>
                      <a:pt x="0" y="2"/>
                    </a:cubicBezTo>
                    <a:cubicBezTo>
                      <a:pt x="0" y="1"/>
                      <a:pt x="0" y="0"/>
                      <a:pt x="0" y="0"/>
                    </a:cubicBezTo>
                    <a:cubicBezTo>
                      <a:pt x="0" y="0"/>
                      <a:pt x="1" y="0"/>
                      <a:pt x="1" y="0"/>
                    </a:cubicBezTo>
                    <a:cubicBezTo>
                      <a:pt x="32" y="38"/>
                      <a:pt x="32" y="38"/>
                      <a:pt x="32" y="38"/>
                    </a:cubicBezTo>
                    <a:cubicBezTo>
                      <a:pt x="44" y="30"/>
                      <a:pt x="44" y="30"/>
                      <a:pt x="44" y="30"/>
                    </a:cubicBezTo>
                    <a:cubicBezTo>
                      <a:pt x="57" y="39"/>
                      <a:pt x="57" y="39"/>
                      <a:pt x="57" y="39"/>
                    </a:cubicBezTo>
                    <a:cubicBezTo>
                      <a:pt x="97" y="0"/>
                      <a:pt x="97" y="0"/>
                      <a:pt x="97" y="0"/>
                    </a:cubicBezTo>
                    <a:cubicBezTo>
                      <a:pt x="98" y="0"/>
                      <a:pt x="98" y="0"/>
                      <a:pt x="99" y="0"/>
                    </a:cubicBezTo>
                    <a:cubicBezTo>
                      <a:pt x="99" y="1"/>
                      <a:pt x="99" y="1"/>
                      <a:pt x="99" y="2"/>
                    </a:cubicBezTo>
                    <a:cubicBezTo>
                      <a:pt x="58" y="41"/>
                      <a:pt x="58" y="41"/>
                      <a:pt x="58" y="41"/>
                    </a:cubicBezTo>
                    <a:cubicBezTo>
                      <a:pt x="44" y="32"/>
                      <a:pt x="44" y="32"/>
                      <a:pt x="44" y="32"/>
                    </a:cubicBezTo>
                    <a:lnTo>
                      <a:pt x="31" y="41"/>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87" name="Freeform 256"/>
              <p:cNvSpPr>
                <a:spLocks/>
              </p:cNvSpPr>
              <p:nvPr/>
            </p:nvSpPr>
            <p:spPr bwMode="auto">
              <a:xfrm>
                <a:off x="4554116" y="3450457"/>
                <a:ext cx="38885" cy="146564"/>
              </a:xfrm>
              <a:custGeom>
                <a:avLst/>
                <a:gdLst>
                  <a:gd name="T0" fmla="*/ 14 w 15"/>
                  <a:gd name="T1" fmla="*/ 59 h 59"/>
                  <a:gd name="T2" fmla="*/ 0 w 15"/>
                  <a:gd name="T3" fmla="*/ 59 h 59"/>
                  <a:gd name="T4" fmla="*/ 0 w 15"/>
                  <a:gd name="T5" fmla="*/ 1 h 59"/>
                  <a:gd name="T6" fmla="*/ 1 w 15"/>
                  <a:gd name="T7" fmla="*/ 0 h 59"/>
                  <a:gd name="T8" fmla="*/ 2 w 15"/>
                  <a:gd name="T9" fmla="*/ 1 h 59"/>
                  <a:gd name="T10" fmla="*/ 2 w 15"/>
                  <a:gd name="T11" fmla="*/ 57 h 59"/>
                  <a:gd name="T12" fmla="*/ 14 w 15"/>
                  <a:gd name="T13" fmla="*/ 57 h 59"/>
                  <a:gd name="T14" fmla="*/ 15 w 15"/>
                  <a:gd name="T15" fmla="*/ 58 h 59"/>
                  <a:gd name="T16" fmla="*/ 14 w 15"/>
                  <a:gd name="T17"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59">
                    <a:moveTo>
                      <a:pt x="14" y="59"/>
                    </a:moveTo>
                    <a:cubicBezTo>
                      <a:pt x="0" y="59"/>
                      <a:pt x="0" y="59"/>
                      <a:pt x="0" y="59"/>
                    </a:cubicBezTo>
                    <a:cubicBezTo>
                      <a:pt x="0" y="1"/>
                      <a:pt x="0" y="1"/>
                      <a:pt x="0" y="1"/>
                    </a:cubicBezTo>
                    <a:cubicBezTo>
                      <a:pt x="0" y="0"/>
                      <a:pt x="0" y="0"/>
                      <a:pt x="1" y="0"/>
                    </a:cubicBezTo>
                    <a:cubicBezTo>
                      <a:pt x="2" y="0"/>
                      <a:pt x="2" y="0"/>
                      <a:pt x="2" y="1"/>
                    </a:cubicBezTo>
                    <a:cubicBezTo>
                      <a:pt x="2" y="57"/>
                      <a:pt x="2" y="57"/>
                      <a:pt x="2" y="57"/>
                    </a:cubicBezTo>
                    <a:cubicBezTo>
                      <a:pt x="14" y="57"/>
                      <a:pt x="14" y="57"/>
                      <a:pt x="14" y="57"/>
                    </a:cubicBezTo>
                    <a:cubicBezTo>
                      <a:pt x="15" y="57"/>
                      <a:pt x="15" y="58"/>
                      <a:pt x="15" y="58"/>
                    </a:cubicBezTo>
                    <a:cubicBezTo>
                      <a:pt x="15" y="59"/>
                      <a:pt x="15" y="59"/>
                      <a:pt x="14" y="59"/>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88" name="Freeform 257"/>
              <p:cNvSpPr>
                <a:spLocks/>
              </p:cNvSpPr>
              <p:nvPr/>
            </p:nvSpPr>
            <p:spPr bwMode="auto">
              <a:xfrm>
                <a:off x="1362637" y="3360724"/>
                <a:ext cx="275179" cy="122635"/>
              </a:xfrm>
              <a:custGeom>
                <a:avLst/>
                <a:gdLst>
                  <a:gd name="T0" fmla="*/ 74 w 108"/>
                  <a:gd name="T1" fmla="*/ 48 h 48"/>
                  <a:gd name="T2" fmla="*/ 60 w 108"/>
                  <a:gd name="T3" fmla="*/ 34 h 48"/>
                  <a:gd name="T4" fmla="*/ 45 w 108"/>
                  <a:gd name="T5" fmla="*/ 48 h 48"/>
                  <a:gd name="T6" fmla="*/ 1 w 108"/>
                  <a:gd name="T7" fmla="*/ 1 h 48"/>
                  <a:gd name="T8" fmla="*/ 1 w 108"/>
                  <a:gd name="T9" fmla="*/ 0 h 48"/>
                  <a:gd name="T10" fmla="*/ 2 w 108"/>
                  <a:gd name="T11" fmla="*/ 0 h 48"/>
                  <a:gd name="T12" fmla="*/ 45 w 108"/>
                  <a:gd name="T13" fmla="*/ 45 h 48"/>
                  <a:gd name="T14" fmla="*/ 60 w 108"/>
                  <a:gd name="T15" fmla="*/ 31 h 48"/>
                  <a:gd name="T16" fmla="*/ 73 w 108"/>
                  <a:gd name="T17" fmla="*/ 45 h 48"/>
                  <a:gd name="T18" fmla="*/ 106 w 108"/>
                  <a:gd name="T19" fmla="*/ 0 h 48"/>
                  <a:gd name="T20" fmla="*/ 107 w 108"/>
                  <a:gd name="T21" fmla="*/ 0 h 48"/>
                  <a:gd name="T22" fmla="*/ 107 w 108"/>
                  <a:gd name="T23" fmla="*/ 1 h 48"/>
                  <a:gd name="T24" fmla="*/ 74 w 108"/>
                  <a:gd name="T25"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8" h="48">
                    <a:moveTo>
                      <a:pt x="74" y="48"/>
                    </a:moveTo>
                    <a:cubicBezTo>
                      <a:pt x="60" y="34"/>
                      <a:pt x="60" y="34"/>
                      <a:pt x="60" y="34"/>
                    </a:cubicBezTo>
                    <a:cubicBezTo>
                      <a:pt x="45" y="48"/>
                      <a:pt x="45" y="48"/>
                      <a:pt x="45" y="48"/>
                    </a:cubicBezTo>
                    <a:cubicBezTo>
                      <a:pt x="1" y="1"/>
                      <a:pt x="1" y="1"/>
                      <a:pt x="1" y="1"/>
                    </a:cubicBezTo>
                    <a:cubicBezTo>
                      <a:pt x="0" y="1"/>
                      <a:pt x="0" y="0"/>
                      <a:pt x="1" y="0"/>
                    </a:cubicBezTo>
                    <a:cubicBezTo>
                      <a:pt x="1" y="0"/>
                      <a:pt x="2" y="0"/>
                      <a:pt x="2" y="0"/>
                    </a:cubicBezTo>
                    <a:cubicBezTo>
                      <a:pt x="45" y="45"/>
                      <a:pt x="45" y="45"/>
                      <a:pt x="45" y="45"/>
                    </a:cubicBezTo>
                    <a:cubicBezTo>
                      <a:pt x="60" y="31"/>
                      <a:pt x="60" y="31"/>
                      <a:pt x="60" y="31"/>
                    </a:cubicBezTo>
                    <a:cubicBezTo>
                      <a:pt x="73" y="45"/>
                      <a:pt x="73" y="45"/>
                      <a:pt x="73" y="45"/>
                    </a:cubicBezTo>
                    <a:cubicBezTo>
                      <a:pt x="106" y="0"/>
                      <a:pt x="106" y="0"/>
                      <a:pt x="106" y="0"/>
                    </a:cubicBezTo>
                    <a:cubicBezTo>
                      <a:pt x="106" y="0"/>
                      <a:pt x="107" y="0"/>
                      <a:pt x="107" y="0"/>
                    </a:cubicBezTo>
                    <a:cubicBezTo>
                      <a:pt x="108" y="0"/>
                      <a:pt x="108" y="1"/>
                      <a:pt x="107" y="1"/>
                    </a:cubicBezTo>
                    <a:lnTo>
                      <a:pt x="74" y="48"/>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89" name="Freeform 258"/>
              <p:cNvSpPr>
                <a:spLocks/>
              </p:cNvSpPr>
              <p:nvPr/>
            </p:nvSpPr>
            <p:spPr bwMode="auto">
              <a:xfrm>
                <a:off x="1135316" y="3187242"/>
                <a:ext cx="367903" cy="364911"/>
              </a:xfrm>
              <a:custGeom>
                <a:avLst/>
                <a:gdLst>
                  <a:gd name="T0" fmla="*/ 134 w 146"/>
                  <a:gd name="T1" fmla="*/ 0 h 145"/>
                  <a:gd name="T2" fmla="*/ 12 w 146"/>
                  <a:gd name="T3" fmla="*/ 145 h 145"/>
                  <a:gd name="T4" fmla="*/ 134 w 146"/>
                  <a:gd name="T5" fmla="*/ 0 h 145"/>
                </a:gdLst>
                <a:ahLst/>
                <a:cxnLst>
                  <a:cxn ang="0">
                    <a:pos x="T0" y="T1"/>
                  </a:cxn>
                  <a:cxn ang="0">
                    <a:pos x="T2" y="T3"/>
                  </a:cxn>
                  <a:cxn ang="0">
                    <a:pos x="T4" y="T5"/>
                  </a:cxn>
                </a:cxnLst>
                <a:rect l="0" t="0" r="r" b="b"/>
                <a:pathLst>
                  <a:path w="146" h="145">
                    <a:moveTo>
                      <a:pt x="134" y="0"/>
                    </a:moveTo>
                    <a:cubicBezTo>
                      <a:pt x="134" y="0"/>
                      <a:pt x="0" y="11"/>
                      <a:pt x="12" y="145"/>
                    </a:cubicBezTo>
                    <a:cubicBezTo>
                      <a:pt x="12" y="145"/>
                      <a:pt x="146" y="134"/>
                      <a:pt x="134" y="0"/>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spTree>
    <p:extLst>
      <p:ext uri="{BB962C8B-B14F-4D97-AF65-F5344CB8AC3E}">
        <p14:creationId xmlns:p14="http://schemas.microsoft.com/office/powerpoint/2010/main" val="2726773065"/>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891"/>
                                        </p:tgtEl>
                                        <p:attrNameLst>
                                          <p:attrName>style.visibility</p:attrName>
                                        </p:attrNameLst>
                                      </p:cBhvr>
                                      <p:to>
                                        <p:strVal val="visible"/>
                                      </p:to>
                                    </p:set>
                                    <p:animEffect transition="in" filter="fade">
                                      <p:cBhvr>
                                        <p:cTn id="7" dur="1250"/>
                                        <p:tgtEl>
                                          <p:spTgt spid="891"/>
                                        </p:tgtEl>
                                      </p:cBhvr>
                                    </p:animEffect>
                                  </p:childTnLst>
                                </p:cTn>
                              </p:par>
                            </p:childTnLst>
                          </p:cTn>
                        </p:par>
                        <p:par>
                          <p:cTn id="8" fill="hold">
                            <p:stCondLst>
                              <p:cond delay="1250"/>
                            </p:stCondLst>
                            <p:childTnLst>
                              <p:par>
                                <p:cTn id="9" presetID="10" presetClass="entr" presetSubtype="0" fill="hold" nodeType="afterEffect">
                                  <p:stCondLst>
                                    <p:cond delay="0"/>
                                  </p:stCondLst>
                                  <p:childTnLst>
                                    <p:set>
                                      <p:cBhvr>
                                        <p:cTn id="10" dur="1" fill="hold">
                                          <p:stCondLst>
                                            <p:cond delay="0"/>
                                          </p:stCondLst>
                                        </p:cTn>
                                        <p:tgtEl>
                                          <p:spTgt spid="892"/>
                                        </p:tgtEl>
                                        <p:attrNameLst>
                                          <p:attrName>style.visibility</p:attrName>
                                        </p:attrNameLst>
                                      </p:cBhvr>
                                      <p:to>
                                        <p:strVal val="visible"/>
                                      </p:to>
                                    </p:set>
                                    <p:animEffect transition="in" filter="fade">
                                      <p:cBhvr>
                                        <p:cTn id="11" dur="1250"/>
                                        <p:tgtEl>
                                          <p:spTgt spid="892"/>
                                        </p:tgtEl>
                                      </p:cBhvr>
                                    </p:animEffect>
                                  </p:childTnLst>
                                </p:cTn>
                              </p:par>
                            </p:childTnLst>
                          </p:cTn>
                        </p:par>
                        <p:par>
                          <p:cTn id="12" fill="hold">
                            <p:stCondLst>
                              <p:cond delay="2500"/>
                            </p:stCondLst>
                            <p:childTnLst>
                              <p:par>
                                <p:cTn id="13" presetID="10" presetClass="entr" presetSubtype="0" fill="hold" nodeType="afterEffect">
                                  <p:stCondLst>
                                    <p:cond delay="0"/>
                                  </p:stCondLst>
                                  <p:childTnLst>
                                    <p:set>
                                      <p:cBhvr>
                                        <p:cTn id="14" dur="1" fill="hold">
                                          <p:stCondLst>
                                            <p:cond delay="0"/>
                                          </p:stCondLst>
                                        </p:cTn>
                                        <p:tgtEl>
                                          <p:spTgt spid="893"/>
                                        </p:tgtEl>
                                        <p:attrNameLst>
                                          <p:attrName>style.visibility</p:attrName>
                                        </p:attrNameLst>
                                      </p:cBhvr>
                                      <p:to>
                                        <p:strVal val="visible"/>
                                      </p:to>
                                    </p:set>
                                    <p:animEffect transition="in" filter="fade">
                                      <p:cBhvr>
                                        <p:cTn id="15" dur="1250"/>
                                        <p:tgtEl>
                                          <p:spTgt spid="893"/>
                                        </p:tgtEl>
                                      </p:cBhvr>
                                    </p:animEffect>
                                  </p:childTnLst>
                                </p:cTn>
                              </p:par>
                            </p:childTnLst>
                          </p:cTn>
                        </p:par>
                        <p:par>
                          <p:cTn id="16" fill="hold">
                            <p:stCondLst>
                              <p:cond delay="3750"/>
                            </p:stCondLst>
                            <p:childTnLst>
                              <p:par>
                                <p:cTn id="17" presetID="10" presetClass="entr" presetSubtype="0" fill="hold" nodeType="afterEffect">
                                  <p:stCondLst>
                                    <p:cond delay="0"/>
                                  </p:stCondLst>
                                  <p:childTnLst>
                                    <p:set>
                                      <p:cBhvr>
                                        <p:cTn id="18" dur="1" fill="hold">
                                          <p:stCondLst>
                                            <p:cond delay="0"/>
                                          </p:stCondLst>
                                        </p:cTn>
                                        <p:tgtEl>
                                          <p:spTgt spid="894"/>
                                        </p:tgtEl>
                                        <p:attrNameLst>
                                          <p:attrName>style.visibility</p:attrName>
                                        </p:attrNameLst>
                                      </p:cBhvr>
                                      <p:to>
                                        <p:strVal val="visible"/>
                                      </p:to>
                                    </p:set>
                                    <p:animEffect transition="in" filter="fade">
                                      <p:cBhvr>
                                        <p:cTn id="19" dur="1250"/>
                                        <p:tgtEl>
                                          <p:spTgt spid="894"/>
                                        </p:tgtEl>
                                      </p:cBhvr>
                                    </p:animEffect>
                                  </p:childTnLst>
                                </p:cTn>
                              </p:par>
                            </p:childTnLst>
                          </p:cTn>
                        </p:par>
                        <p:par>
                          <p:cTn id="20" fill="hold">
                            <p:stCondLst>
                              <p:cond delay="5000"/>
                            </p:stCondLst>
                            <p:childTnLst>
                              <p:par>
                                <p:cTn id="21" presetID="10" presetClass="entr" presetSubtype="0" fill="hold" nodeType="afterEffect">
                                  <p:stCondLst>
                                    <p:cond delay="0"/>
                                  </p:stCondLst>
                                  <p:childTnLst>
                                    <p:set>
                                      <p:cBhvr>
                                        <p:cTn id="22" dur="1" fill="hold">
                                          <p:stCondLst>
                                            <p:cond delay="0"/>
                                          </p:stCondLst>
                                        </p:cTn>
                                        <p:tgtEl>
                                          <p:spTgt spid="897"/>
                                        </p:tgtEl>
                                        <p:attrNameLst>
                                          <p:attrName>style.visibility</p:attrName>
                                        </p:attrNameLst>
                                      </p:cBhvr>
                                      <p:to>
                                        <p:strVal val="visible"/>
                                      </p:to>
                                    </p:set>
                                    <p:animEffect transition="in" filter="fade">
                                      <p:cBhvr>
                                        <p:cTn id="23" dur="1250"/>
                                        <p:tgtEl>
                                          <p:spTgt spid="897"/>
                                        </p:tgtEl>
                                      </p:cBhvr>
                                    </p:animEffect>
                                  </p:childTnLst>
                                </p:cTn>
                              </p:par>
                            </p:childTnLst>
                          </p:cTn>
                        </p:par>
                        <p:par>
                          <p:cTn id="24" fill="hold">
                            <p:stCondLst>
                              <p:cond delay="6250"/>
                            </p:stCondLst>
                            <p:childTnLst>
                              <p:par>
                                <p:cTn id="25" presetID="10" presetClass="entr" presetSubtype="0" fill="hold" nodeType="afterEffect">
                                  <p:stCondLst>
                                    <p:cond delay="0"/>
                                  </p:stCondLst>
                                  <p:childTnLst>
                                    <p:set>
                                      <p:cBhvr>
                                        <p:cTn id="26" dur="1" fill="hold">
                                          <p:stCondLst>
                                            <p:cond delay="0"/>
                                          </p:stCondLst>
                                        </p:cTn>
                                        <p:tgtEl>
                                          <p:spTgt spid="898"/>
                                        </p:tgtEl>
                                        <p:attrNameLst>
                                          <p:attrName>style.visibility</p:attrName>
                                        </p:attrNameLst>
                                      </p:cBhvr>
                                      <p:to>
                                        <p:strVal val="visible"/>
                                      </p:to>
                                    </p:set>
                                    <p:animEffect transition="in" filter="fade">
                                      <p:cBhvr>
                                        <p:cTn id="27" dur="1250"/>
                                        <p:tgtEl>
                                          <p:spTgt spid="898"/>
                                        </p:tgtEl>
                                      </p:cBhvr>
                                    </p:animEffect>
                                  </p:childTnLst>
                                </p:cTn>
                              </p:par>
                            </p:childTnLst>
                          </p:cTn>
                        </p:par>
                        <p:par>
                          <p:cTn id="28" fill="hold">
                            <p:stCondLst>
                              <p:cond delay="7500"/>
                            </p:stCondLst>
                            <p:childTnLst>
                              <p:par>
                                <p:cTn id="29" presetID="10" presetClass="entr" presetSubtype="0" fill="hold" nodeType="afterEffect">
                                  <p:stCondLst>
                                    <p:cond delay="0"/>
                                  </p:stCondLst>
                                  <p:childTnLst>
                                    <p:set>
                                      <p:cBhvr>
                                        <p:cTn id="30" dur="1" fill="hold">
                                          <p:stCondLst>
                                            <p:cond delay="0"/>
                                          </p:stCondLst>
                                        </p:cTn>
                                        <p:tgtEl>
                                          <p:spTgt spid="899"/>
                                        </p:tgtEl>
                                        <p:attrNameLst>
                                          <p:attrName>style.visibility</p:attrName>
                                        </p:attrNameLst>
                                      </p:cBhvr>
                                      <p:to>
                                        <p:strVal val="visible"/>
                                      </p:to>
                                    </p:set>
                                    <p:animEffect transition="in" filter="fade">
                                      <p:cBhvr>
                                        <p:cTn id="31" dur="1250"/>
                                        <p:tgtEl>
                                          <p:spTgt spid="899"/>
                                        </p:tgtEl>
                                      </p:cBhvr>
                                    </p:animEffect>
                                  </p:childTnLst>
                                </p:cTn>
                              </p:par>
                            </p:childTnLst>
                          </p:cTn>
                        </p:par>
                        <p:par>
                          <p:cTn id="32" fill="hold">
                            <p:stCondLst>
                              <p:cond delay="8750"/>
                            </p:stCondLst>
                            <p:childTnLst>
                              <p:par>
                                <p:cTn id="33" presetID="10" presetClass="entr" presetSubtype="0" fill="hold" nodeType="afterEffect">
                                  <p:stCondLst>
                                    <p:cond delay="0"/>
                                  </p:stCondLst>
                                  <p:childTnLst>
                                    <p:set>
                                      <p:cBhvr>
                                        <p:cTn id="34" dur="1" fill="hold">
                                          <p:stCondLst>
                                            <p:cond delay="0"/>
                                          </p:stCondLst>
                                        </p:cTn>
                                        <p:tgtEl>
                                          <p:spTgt spid="900"/>
                                        </p:tgtEl>
                                        <p:attrNameLst>
                                          <p:attrName>style.visibility</p:attrName>
                                        </p:attrNameLst>
                                      </p:cBhvr>
                                      <p:to>
                                        <p:strVal val="visible"/>
                                      </p:to>
                                    </p:set>
                                    <p:animEffect transition="in" filter="fade">
                                      <p:cBhvr>
                                        <p:cTn id="35" dur="1250"/>
                                        <p:tgtEl>
                                          <p:spTgt spid="90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zure Data Lake Store</a:t>
            </a:r>
            <a:br>
              <a:rPr lang="en-US" dirty="0"/>
            </a:br>
            <a:r>
              <a:rPr lang="en-US" dirty="0">
                <a:solidFill>
                  <a:schemeClr val="accent2"/>
                </a:solidFill>
              </a:rPr>
              <a:t>Overview </a:t>
            </a:r>
          </a:p>
        </p:txBody>
      </p:sp>
      <p:grpSp>
        <p:nvGrpSpPr>
          <p:cNvPr id="54" name="Group 53"/>
          <p:cNvGrpSpPr/>
          <p:nvPr/>
        </p:nvGrpSpPr>
        <p:grpSpPr>
          <a:xfrm flipH="1">
            <a:off x="9166974" y="2629426"/>
            <a:ext cx="3078822" cy="4228574"/>
            <a:chOff x="6994525" y="808038"/>
            <a:chExt cx="1398588" cy="1920875"/>
          </a:xfrm>
        </p:grpSpPr>
        <p:sp>
          <p:nvSpPr>
            <p:cNvPr id="8" name="Freeform 5"/>
            <p:cNvSpPr>
              <a:spLocks/>
            </p:cNvSpPr>
            <p:nvPr/>
          </p:nvSpPr>
          <p:spPr bwMode="auto">
            <a:xfrm>
              <a:off x="6994525" y="2319338"/>
              <a:ext cx="669925" cy="409575"/>
            </a:xfrm>
            <a:custGeom>
              <a:avLst/>
              <a:gdLst>
                <a:gd name="T0" fmla="*/ 170 w 422"/>
                <a:gd name="T1" fmla="*/ 44 h 258"/>
                <a:gd name="T2" fmla="*/ 170 w 422"/>
                <a:gd name="T3" fmla="*/ 0 h 258"/>
                <a:gd name="T4" fmla="*/ 60 w 422"/>
                <a:gd name="T5" fmla="*/ 0 h 258"/>
                <a:gd name="T6" fmla="*/ 60 w 422"/>
                <a:gd name="T7" fmla="*/ 44 h 258"/>
                <a:gd name="T8" fmla="*/ 0 w 422"/>
                <a:gd name="T9" fmla="*/ 44 h 258"/>
                <a:gd name="T10" fmla="*/ 0 w 422"/>
                <a:gd name="T11" fmla="*/ 55 h 258"/>
                <a:gd name="T12" fmla="*/ 14 w 422"/>
                <a:gd name="T13" fmla="*/ 55 h 258"/>
                <a:gd name="T14" fmla="*/ 14 w 422"/>
                <a:gd name="T15" fmla="*/ 258 h 258"/>
                <a:gd name="T16" fmla="*/ 105 w 422"/>
                <a:gd name="T17" fmla="*/ 258 h 258"/>
                <a:gd name="T18" fmla="*/ 142 w 422"/>
                <a:gd name="T19" fmla="*/ 258 h 258"/>
                <a:gd name="T20" fmla="*/ 170 w 422"/>
                <a:gd name="T21" fmla="*/ 258 h 258"/>
                <a:gd name="T22" fmla="*/ 318 w 422"/>
                <a:gd name="T23" fmla="*/ 258 h 258"/>
                <a:gd name="T24" fmla="*/ 408 w 422"/>
                <a:gd name="T25" fmla="*/ 258 h 258"/>
                <a:gd name="T26" fmla="*/ 408 w 422"/>
                <a:gd name="T27" fmla="*/ 55 h 258"/>
                <a:gd name="T28" fmla="*/ 422 w 422"/>
                <a:gd name="T29" fmla="*/ 55 h 258"/>
                <a:gd name="T30" fmla="*/ 422 w 422"/>
                <a:gd name="T31" fmla="*/ 44 h 258"/>
                <a:gd name="T32" fmla="*/ 170 w 422"/>
                <a:gd name="T33" fmla="*/ 44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2" h="258">
                  <a:moveTo>
                    <a:pt x="170" y="44"/>
                  </a:moveTo>
                  <a:lnTo>
                    <a:pt x="170" y="0"/>
                  </a:lnTo>
                  <a:lnTo>
                    <a:pt x="60" y="0"/>
                  </a:lnTo>
                  <a:lnTo>
                    <a:pt x="60" y="44"/>
                  </a:lnTo>
                  <a:lnTo>
                    <a:pt x="0" y="44"/>
                  </a:lnTo>
                  <a:lnTo>
                    <a:pt x="0" y="55"/>
                  </a:lnTo>
                  <a:lnTo>
                    <a:pt x="14" y="55"/>
                  </a:lnTo>
                  <a:lnTo>
                    <a:pt x="14" y="258"/>
                  </a:lnTo>
                  <a:lnTo>
                    <a:pt x="105" y="258"/>
                  </a:lnTo>
                  <a:lnTo>
                    <a:pt x="142" y="258"/>
                  </a:lnTo>
                  <a:lnTo>
                    <a:pt x="170" y="258"/>
                  </a:lnTo>
                  <a:lnTo>
                    <a:pt x="318" y="258"/>
                  </a:lnTo>
                  <a:lnTo>
                    <a:pt x="408" y="258"/>
                  </a:lnTo>
                  <a:lnTo>
                    <a:pt x="408" y="55"/>
                  </a:lnTo>
                  <a:lnTo>
                    <a:pt x="422" y="55"/>
                  </a:lnTo>
                  <a:lnTo>
                    <a:pt x="422" y="44"/>
                  </a:lnTo>
                  <a:lnTo>
                    <a:pt x="170" y="44"/>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 name="Freeform 6"/>
            <p:cNvSpPr>
              <a:spLocks/>
            </p:cNvSpPr>
            <p:nvPr/>
          </p:nvSpPr>
          <p:spPr bwMode="auto">
            <a:xfrm>
              <a:off x="7802563" y="2200275"/>
              <a:ext cx="550863" cy="528638"/>
            </a:xfrm>
            <a:custGeom>
              <a:avLst/>
              <a:gdLst>
                <a:gd name="T0" fmla="*/ 168 w 347"/>
                <a:gd name="T1" fmla="*/ 45 h 333"/>
                <a:gd name="T2" fmla="*/ 168 w 347"/>
                <a:gd name="T3" fmla="*/ 0 h 333"/>
                <a:gd name="T4" fmla="*/ 58 w 347"/>
                <a:gd name="T5" fmla="*/ 0 h 333"/>
                <a:gd name="T6" fmla="*/ 58 w 347"/>
                <a:gd name="T7" fmla="*/ 45 h 333"/>
                <a:gd name="T8" fmla="*/ 0 w 347"/>
                <a:gd name="T9" fmla="*/ 45 h 333"/>
                <a:gd name="T10" fmla="*/ 0 w 347"/>
                <a:gd name="T11" fmla="*/ 54 h 333"/>
                <a:gd name="T12" fmla="*/ 12 w 347"/>
                <a:gd name="T13" fmla="*/ 54 h 333"/>
                <a:gd name="T14" fmla="*/ 12 w 347"/>
                <a:gd name="T15" fmla="*/ 333 h 333"/>
                <a:gd name="T16" fmla="*/ 105 w 347"/>
                <a:gd name="T17" fmla="*/ 333 h 333"/>
                <a:gd name="T18" fmla="*/ 141 w 347"/>
                <a:gd name="T19" fmla="*/ 333 h 333"/>
                <a:gd name="T20" fmla="*/ 168 w 347"/>
                <a:gd name="T21" fmla="*/ 333 h 333"/>
                <a:gd name="T22" fmla="*/ 242 w 347"/>
                <a:gd name="T23" fmla="*/ 333 h 333"/>
                <a:gd name="T24" fmla="*/ 333 w 347"/>
                <a:gd name="T25" fmla="*/ 333 h 333"/>
                <a:gd name="T26" fmla="*/ 333 w 347"/>
                <a:gd name="T27" fmla="*/ 54 h 333"/>
                <a:gd name="T28" fmla="*/ 347 w 347"/>
                <a:gd name="T29" fmla="*/ 54 h 333"/>
                <a:gd name="T30" fmla="*/ 347 w 347"/>
                <a:gd name="T31" fmla="*/ 45 h 333"/>
                <a:gd name="T32" fmla="*/ 168 w 347"/>
                <a:gd name="T33" fmla="*/ 45 h 3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47" h="333">
                  <a:moveTo>
                    <a:pt x="168" y="45"/>
                  </a:moveTo>
                  <a:lnTo>
                    <a:pt x="168" y="0"/>
                  </a:lnTo>
                  <a:lnTo>
                    <a:pt x="58" y="0"/>
                  </a:lnTo>
                  <a:lnTo>
                    <a:pt x="58" y="45"/>
                  </a:lnTo>
                  <a:lnTo>
                    <a:pt x="0" y="45"/>
                  </a:lnTo>
                  <a:lnTo>
                    <a:pt x="0" y="54"/>
                  </a:lnTo>
                  <a:lnTo>
                    <a:pt x="12" y="54"/>
                  </a:lnTo>
                  <a:lnTo>
                    <a:pt x="12" y="333"/>
                  </a:lnTo>
                  <a:lnTo>
                    <a:pt x="105" y="333"/>
                  </a:lnTo>
                  <a:lnTo>
                    <a:pt x="141" y="333"/>
                  </a:lnTo>
                  <a:lnTo>
                    <a:pt x="168" y="333"/>
                  </a:lnTo>
                  <a:lnTo>
                    <a:pt x="242" y="333"/>
                  </a:lnTo>
                  <a:lnTo>
                    <a:pt x="333" y="333"/>
                  </a:lnTo>
                  <a:lnTo>
                    <a:pt x="333" y="54"/>
                  </a:lnTo>
                  <a:lnTo>
                    <a:pt x="347" y="54"/>
                  </a:lnTo>
                  <a:lnTo>
                    <a:pt x="347" y="45"/>
                  </a:lnTo>
                  <a:lnTo>
                    <a:pt x="168" y="45"/>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 name="Rectangle 7"/>
            <p:cNvSpPr>
              <a:spLocks noChangeArrowheads="1"/>
            </p:cNvSpPr>
            <p:nvPr/>
          </p:nvSpPr>
          <p:spPr bwMode="auto">
            <a:xfrm>
              <a:off x="7470775" y="2168525"/>
              <a:ext cx="449263" cy="560388"/>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 name="Rectangle 8"/>
            <p:cNvSpPr>
              <a:spLocks noChangeArrowheads="1"/>
            </p:cNvSpPr>
            <p:nvPr/>
          </p:nvSpPr>
          <p:spPr bwMode="auto">
            <a:xfrm>
              <a:off x="7448550" y="2151063"/>
              <a:ext cx="493713" cy="17463"/>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 name="Rectangle 9"/>
            <p:cNvSpPr>
              <a:spLocks noChangeArrowheads="1"/>
            </p:cNvSpPr>
            <p:nvPr/>
          </p:nvSpPr>
          <p:spPr bwMode="auto">
            <a:xfrm>
              <a:off x="7716838" y="2616200"/>
              <a:ext cx="58738" cy="112713"/>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Rectangle 10"/>
            <p:cNvSpPr>
              <a:spLocks noChangeArrowheads="1"/>
            </p:cNvSpPr>
            <p:nvPr/>
          </p:nvSpPr>
          <p:spPr bwMode="auto">
            <a:xfrm>
              <a:off x="7615238" y="2616200"/>
              <a:ext cx="60325" cy="112713"/>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 name="Rectangle 11"/>
            <p:cNvSpPr>
              <a:spLocks noChangeArrowheads="1"/>
            </p:cNvSpPr>
            <p:nvPr/>
          </p:nvSpPr>
          <p:spPr bwMode="auto">
            <a:xfrm>
              <a:off x="7515225" y="2219325"/>
              <a:ext cx="361950" cy="587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 name="Rectangle 12"/>
            <p:cNvSpPr>
              <a:spLocks noChangeArrowheads="1"/>
            </p:cNvSpPr>
            <p:nvPr/>
          </p:nvSpPr>
          <p:spPr bwMode="auto">
            <a:xfrm>
              <a:off x="7515225" y="2319338"/>
              <a:ext cx="361950" cy="587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 name="Rectangle 13"/>
            <p:cNvSpPr>
              <a:spLocks noChangeArrowheads="1"/>
            </p:cNvSpPr>
            <p:nvPr/>
          </p:nvSpPr>
          <p:spPr bwMode="auto">
            <a:xfrm>
              <a:off x="7515225" y="2419350"/>
              <a:ext cx="361950" cy="587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 name="Rectangle 14"/>
            <p:cNvSpPr>
              <a:spLocks noChangeArrowheads="1"/>
            </p:cNvSpPr>
            <p:nvPr/>
          </p:nvSpPr>
          <p:spPr bwMode="auto">
            <a:xfrm>
              <a:off x="7515225" y="2519363"/>
              <a:ext cx="361950" cy="60325"/>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 name="Rectangle 15"/>
            <p:cNvSpPr>
              <a:spLocks noChangeArrowheads="1"/>
            </p:cNvSpPr>
            <p:nvPr/>
          </p:nvSpPr>
          <p:spPr bwMode="auto">
            <a:xfrm>
              <a:off x="7543800" y="2082800"/>
              <a:ext cx="173038" cy="68263"/>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 name="Rectangle 28"/>
            <p:cNvSpPr>
              <a:spLocks noChangeArrowheads="1"/>
            </p:cNvSpPr>
            <p:nvPr/>
          </p:nvSpPr>
          <p:spPr bwMode="auto">
            <a:xfrm>
              <a:off x="7943850" y="2011363"/>
              <a:ext cx="88900" cy="128588"/>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2" name="Rectangle 29"/>
            <p:cNvSpPr>
              <a:spLocks noChangeArrowheads="1"/>
            </p:cNvSpPr>
            <p:nvPr/>
          </p:nvSpPr>
          <p:spPr bwMode="auto">
            <a:xfrm>
              <a:off x="8083550" y="2011363"/>
              <a:ext cx="276225" cy="128588"/>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3" name="Oval 30"/>
            <p:cNvSpPr>
              <a:spLocks noChangeArrowheads="1"/>
            </p:cNvSpPr>
            <p:nvPr/>
          </p:nvSpPr>
          <p:spPr bwMode="auto">
            <a:xfrm>
              <a:off x="7034213" y="1589088"/>
              <a:ext cx="936625" cy="935038"/>
            </a:xfrm>
            <a:prstGeom prst="ellipse">
              <a:avLst/>
            </a:pr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4" name="Oval 31"/>
            <p:cNvSpPr>
              <a:spLocks noChangeArrowheads="1"/>
            </p:cNvSpPr>
            <p:nvPr/>
          </p:nvSpPr>
          <p:spPr bwMode="auto">
            <a:xfrm>
              <a:off x="7078663" y="1633538"/>
              <a:ext cx="847725" cy="846138"/>
            </a:xfrm>
            <a:prstGeom prst="ellipse">
              <a:avLst/>
            </a:pr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5" name="Freeform 32"/>
            <p:cNvSpPr>
              <a:spLocks/>
            </p:cNvSpPr>
            <p:nvPr/>
          </p:nvSpPr>
          <p:spPr bwMode="auto">
            <a:xfrm>
              <a:off x="8032750" y="1960563"/>
              <a:ext cx="66675" cy="230188"/>
            </a:xfrm>
            <a:custGeom>
              <a:avLst/>
              <a:gdLst>
                <a:gd name="T0" fmla="*/ 0 w 30"/>
                <a:gd name="T1" fmla="*/ 15 h 104"/>
                <a:gd name="T2" fmla="*/ 0 w 30"/>
                <a:gd name="T3" fmla="*/ 89 h 104"/>
                <a:gd name="T4" fmla="*/ 15 w 30"/>
                <a:gd name="T5" fmla="*/ 104 h 104"/>
                <a:gd name="T6" fmla="*/ 30 w 30"/>
                <a:gd name="T7" fmla="*/ 89 h 104"/>
                <a:gd name="T8" fmla="*/ 30 w 30"/>
                <a:gd name="T9" fmla="*/ 15 h 104"/>
                <a:gd name="T10" fmla="*/ 15 w 30"/>
                <a:gd name="T11" fmla="*/ 0 h 104"/>
                <a:gd name="T12" fmla="*/ 0 w 30"/>
                <a:gd name="T13" fmla="*/ 15 h 104"/>
              </a:gdLst>
              <a:ahLst/>
              <a:cxnLst>
                <a:cxn ang="0">
                  <a:pos x="T0" y="T1"/>
                </a:cxn>
                <a:cxn ang="0">
                  <a:pos x="T2" y="T3"/>
                </a:cxn>
                <a:cxn ang="0">
                  <a:pos x="T4" y="T5"/>
                </a:cxn>
                <a:cxn ang="0">
                  <a:pos x="T6" y="T7"/>
                </a:cxn>
                <a:cxn ang="0">
                  <a:pos x="T8" y="T9"/>
                </a:cxn>
                <a:cxn ang="0">
                  <a:pos x="T10" y="T11"/>
                </a:cxn>
                <a:cxn ang="0">
                  <a:pos x="T12" y="T13"/>
                </a:cxn>
              </a:cxnLst>
              <a:rect l="0" t="0" r="r" b="b"/>
              <a:pathLst>
                <a:path w="30" h="104">
                  <a:moveTo>
                    <a:pt x="0" y="15"/>
                  </a:moveTo>
                  <a:cubicBezTo>
                    <a:pt x="0" y="89"/>
                    <a:pt x="0" y="89"/>
                    <a:pt x="0" y="89"/>
                  </a:cubicBezTo>
                  <a:cubicBezTo>
                    <a:pt x="0" y="98"/>
                    <a:pt x="6" y="104"/>
                    <a:pt x="15" y="104"/>
                  </a:cubicBezTo>
                  <a:cubicBezTo>
                    <a:pt x="23" y="104"/>
                    <a:pt x="30" y="98"/>
                    <a:pt x="30" y="89"/>
                  </a:cubicBezTo>
                  <a:cubicBezTo>
                    <a:pt x="30" y="15"/>
                    <a:pt x="30" y="15"/>
                    <a:pt x="30" y="15"/>
                  </a:cubicBezTo>
                  <a:cubicBezTo>
                    <a:pt x="30" y="7"/>
                    <a:pt x="23" y="0"/>
                    <a:pt x="15" y="0"/>
                  </a:cubicBezTo>
                  <a:cubicBezTo>
                    <a:pt x="6" y="0"/>
                    <a:pt x="0" y="7"/>
                    <a:pt x="0" y="15"/>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6" name="Freeform 33"/>
            <p:cNvSpPr>
              <a:spLocks/>
            </p:cNvSpPr>
            <p:nvPr/>
          </p:nvSpPr>
          <p:spPr bwMode="auto">
            <a:xfrm>
              <a:off x="8326438" y="1960563"/>
              <a:ext cx="66675" cy="230188"/>
            </a:xfrm>
            <a:custGeom>
              <a:avLst/>
              <a:gdLst>
                <a:gd name="T0" fmla="*/ 0 w 30"/>
                <a:gd name="T1" fmla="*/ 15 h 104"/>
                <a:gd name="T2" fmla="*/ 0 w 30"/>
                <a:gd name="T3" fmla="*/ 89 h 104"/>
                <a:gd name="T4" fmla="*/ 15 w 30"/>
                <a:gd name="T5" fmla="*/ 104 h 104"/>
                <a:gd name="T6" fmla="*/ 30 w 30"/>
                <a:gd name="T7" fmla="*/ 89 h 104"/>
                <a:gd name="T8" fmla="*/ 30 w 30"/>
                <a:gd name="T9" fmla="*/ 15 h 104"/>
                <a:gd name="T10" fmla="*/ 15 w 30"/>
                <a:gd name="T11" fmla="*/ 0 h 104"/>
                <a:gd name="T12" fmla="*/ 0 w 30"/>
                <a:gd name="T13" fmla="*/ 15 h 104"/>
              </a:gdLst>
              <a:ahLst/>
              <a:cxnLst>
                <a:cxn ang="0">
                  <a:pos x="T0" y="T1"/>
                </a:cxn>
                <a:cxn ang="0">
                  <a:pos x="T2" y="T3"/>
                </a:cxn>
                <a:cxn ang="0">
                  <a:pos x="T4" y="T5"/>
                </a:cxn>
                <a:cxn ang="0">
                  <a:pos x="T6" y="T7"/>
                </a:cxn>
                <a:cxn ang="0">
                  <a:pos x="T8" y="T9"/>
                </a:cxn>
                <a:cxn ang="0">
                  <a:pos x="T10" y="T11"/>
                </a:cxn>
                <a:cxn ang="0">
                  <a:pos x="T12" y="T13"/>
                </a:cxn>
              </a:cxnLst>
              <a:rect l="0" t="0" r="r" b="b"/>
              <a:pathLst>
                <a:path w="30" h="104">
                  <a:moveTo>
                    <a:pt x="0" y="15"/>
                  </a:moveTo>
                  <a:cubicBezTo>
                    <a:pt x="0" y="89"/>
                    <a:pt x="0" y="89"/>
                    <a:pt x="0" y="89"/>
                  </a:cubicBezTo>
                  <a:cubicBezTo>
                    <a:pt x="0" y="98"/>
                    <a:pt x="7" y="104"/>
                    <a:pt x="15" y="104"/>
                  </a:cubicBezTo>
                  <a:cubicBezTo>
                    <a:pt x="23" y="104"/>
                    <a:pt x="30" y="98"/>
                    <a:pt x="30" y="89"/>
                  </a:cubicBezTo>
                  <a:cubicBezTo>
                    <a:pt x="30" y="15"/>
                    <a:pt x="30" y="15"/>
                    <a:pt x="30" y="15"/>
                  </a:cubicBezTo>
                  <a:cubicBezTo>
                    <a:pt x="30" y="7"/>
                    <a:pt x="23" y="0"/>
                    <a:pt x="15" y="0"/>
                  </a:cubicBezTo>
                  <a:cubicBezTo>
                    <a:pt x="7" y="0"/>
                    <a:pt x="0" y="7"/>
                    <a:pt x="0" y="15"/>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7" name="Freeform 34"/>
            <p:cNvSpPr>
              <a:spLocks/>
            </p:cNvSpPr>
            <p:nvPr/>
          </p:nvSpPr>
          <p:spPr bwMode="auto">
            <a:xfrm>
              <a:off x="7315200" y="1670050"/>
              <a:ext cx="566738" cy="771525"/>
            </a:xfrm>
            <a:custGeom>
              <a:avLst/>
              <a:gdLst>
                <a:gd name="T0" fmla="*/ 65 w 255"/>
                <a:gd name="T1" fmla="*/ 277 h 347"/>
                <a:gd name="T2" fmla="*/ 226 w 255"/>
                <a:gd name="T3" fmla="*/ 277 h 347"/>
                <a:gd name="T4" fmla="*/ 255 w 255"/>
                <a:gd name="T5" fmla="*/ 214 h 347"/>
                <a:gd name="T6" fmla="*/ 65 w 255"/>
                <a:gd name="T7" fmla="*/ 214 h 347"/>
                <a:gd name="T8" fmla="*/ 65 w 255"/>
                <a:gd name="T9" fmla="*/ 128 h 347"/>
                <a:gd name="T10" fmla="*/ 254 w 255"/>
                <a:gd name="T11" fmla="*/ 128 h 347"/>
                <a:gd name="T12" fmla="*/ 223 w 255"/>
                <a:gd name="T13" fmla="*/ 66 h 347"/>
                <a:gd name="T14" fmla="*/ 65 w 255"/>
                <a:gd name="T15" fmla="*/ 66 h 347"/>
                <a:gd name="T16" fmla="*/ 65 w 255"/>
                <a:gd name="T17" fmla="*/ 0 h 347"/>
                <a:gd name="T18" fmla="*/ 0 w 255"/>
                <a:gd name="T19" fmla="*/ 21 h 347"/>
                <a:gd name="T20" fmla="*/ 0 w 255"/>
                <a:gd name="T21" fmla="*/ 326 h 347"/>
                <a:gd name="T22" fmla="*/ 65 w 255"/>
                <a:gd name="T23" fmla="*/ 347 h 347"/>
                <a:gd name="T24" fmla="*/ 65 w 255"/>
                <a:gd name="T25" fmla="*/ 277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55" h="347">
                  <a:moveTo>
                    <a:pt x="65" y="277"/>
                  </a:moveTo>
                  <a:cubicBezTo>
                    <a:pt x="226" y="277"/>
                    <a:pt x="226" y="277"/>
                    <a:pt x="226" y="277"/>
                  </a:cubicBezTo>
                  <a:cubicBezTo>
                    <a:pt x="240" y="258"/>
                    <a:pt x="250" y="237"/>
                    <a:pt x="255" y="214"/>
                  </a:cubicBezTo>
                  <a:cubicBezTo>
                    <a:pt x="65" y="214"/>
                    <a:pt x="65" y="214"/>
                    <a:pt x="65" y="214"/>
                  </a:cubicBezTo>
                  <a:cubicBezTo>
                    <a:pt x="65" y="128"/>
                    <a:pt x="65" y="128"/>
                    <a:pt x="65" y="128"/>
                  </a:cubicBezTo>
                  <a:cubicBezTo>
                    <a:pt x="254" y="128"/>
                    <a:pt x="254" y="128"/>
                    <a:pt x="254" y="128"/>
                  </a:cubicBezTo>
                  <a:cubicBezTo>
                    <a:pt x="248" y="105"/>
                    <a:pt x="237" y="84"/>
                    <a:pt x="223" y="66"/>
                  </a:cubicBezTo>
                  <a:cubicBezTo>
                    <a:pt x="65" y="66"/>
                    <a:pt x="65" y="66"/>
                    <a:pt x="65" y="66"/>
                  </a:cubicBezTo>
                  <a:cubicBezTo>
                    <a:pt x="65" y="0"/>
                    <a:pt x="65" y="0"/>
                    <a:pt x="65" y="0"/>
                  </a:cubicBezTo>
                  <a:cubicBezTo>
                    <a:pt x="42" y="3"/>
                    <a:pt x="20" y="10"/>
                    <a:pt x="0" y="21"/>
                  </a:cubicBezTo>
                  <a:cubicBezTo>
                    <a:pt x="0" y="326"/>
                    <a:pt x="0" y="326"/>
                    <a:pt x="0" y="326"/>
                  </a:cubicBezTo>
                  <a:cubicBezTo>
                    <a:pt x="20" y="337"/>
                    <a:pt x="42" y="344"/>
                    <a:pt x="65" y="347"/>
                  </a:cubicBezTo>
                  <a:cubicBezTo>
                    <a:pt x="65" y="277"/>
                    <a:pt x="65" y="277"/>
                    <a:pt x="65" y="277"/>
                  </a:cubicBezTo>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8" name="Freeform 35"/>
            <p:cNvSpPr>
              <a:spLocks/>
            </p:cNvSpPr>
            <p:nvPr/>
          </p:nvSpPr>
          <p:spPr bwMode="auto">
            <a:xfrm>
              <a:off x="7459663" y="1668463"/>
              <a:ext cx="350838" cy="149225"/>
            </a:xfrm>
            <a:custGeom>
              <a:avLst/>
              <a:gdLst>
                <a:gd name="T0" fmla="*/ 158 w 158"/>
                <a:gd name="T1" fmla="*/ 67 h 67"/>
                <a:gd name="T2" fmla="*/ 20 w 158"/>
                <a:gd name="T3" fmla="*/ 0 h 67"/>
                <a:gd name="T4" fmla="*/ 0 w 158"/>
                <a:gd name="T5" fmla="*/ 1 h 67"/>
                <a:gd name="T6" fmla="*/ 0 w 158"/>
                <a:gd name="T7" fmla="*/ 67 h 67"/>
                <a:gd name="T8" fmla="*/ 158 w 158"/>
                <a:gd name="T9" fmla="*/ 67 h 67"/>
              </a:gdLst>
              <a:ahLst/>
              <a:cxnLst>
                <a:cxn ang="0">
                  <a:pos x="T0" y="T1"/>
                </a:cxn>
                <a:cxn ang="0">
                  <a:pos x="T2" y="T3"/>
                </a:cxn>
                <a:cxn ang="0">
                  <a:pos x="T4" y="T5"/>
                </a:cxn>
                <a:cxn ang="0">
                  <a:pos x="T6" y="T7"/>
                </a:cxn>
                <a:cxn ang="0">
                  <a:pos x="T8" y="T9"/>
                </a:cxn>
              </a:cxnLst>
              <a:rect l="0" t="0" r="r" b="b"/>
              <a:pathLst>
                <a:path w="158" h="67">
                  <a:moveTo>
                    <a:pt x="158" y="67"/>
                  </a:moveTo>
                  <a:cubicBezTo>
                    <a:pt x="126" y="26"/>
                    <a:pt x="76" y="0"/>
                    <a:pt x="20" y="0"/>
                  </a:cubicBezTo>
                  <a:cubicBezTo>
                    <a:pt x="14" y="0"/>
                    <a:pt x="7" y="0"/>
                    <a:pt x="0" y="1"/>
                  </a:cubicBezTo>
                  <a:cubicBezTo>
                    <a:pt x="0" y="67"/>
                    <a:pt x="0" y="67"/>
                    <a:pt x="0" y="67"/>
                  </a:cubicBezTo>
                  <a:cubicBezTo>
                    <a:pt x="158" y="67"/>
                    <a:pt x="158" y="67"/>
                    <a:pt x="158" y="67"/>
                  </a:cubicBezTo>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9" name="Freeform 36"/>
            <p:cNvSpPr>
              <a:spLocks/>
            </p:cNvSpPr>
            <p:nvPr/>
          </p:nvSpPr>
          <p:spPr bwMode="auto">
            <a:xfrm>
              <a:off x="7459663" y="1955800"/>
              <a:ext cx="433388" cy="190500"/>
            </a:xfrm>
            <a:custGeom>
              <a:avLst/>
              <a:gdLst>
                <a:gd name="T0" fmla="*/ 0 w 195"/>
                <a:gd name="T1" fmla="*/ 86 h 86"/>
                <a:gd name="T2" fmla="*/ 190 w 195"/>
                <a:gd name="T3" fmla="*/ 86 h 86"/>
                <a:gd name="T4" fmla="*/ 195 w 195"/>
                <a:gd name="T5" fmla="*/ 45 h 86"/>
                <a:gd name="T6" fmla="*/ 189 w 195"/>
                <a:gd name="T7" fmla="*/ 0 h 86"/>
                <a:gd name="T8" fmla="*/ 0 w 195"/>
                <a:gd name="T9" fmla="*/ 0 h 86"/>
                <a:gd name="T10" fmla="*/ 0 w 195"/>
                <a:gd name="T11" fmla="*/ 86 h 86"/>
              </a:gdLst>
              <a:ahLst/>
              <a:cxnLst>
                <a:cxn ang="0">
                  <a:pos x="T0" y="T1"/>
                </a:cxn>
                <a:cxn ang="0">
                  <a:pos x="T2" y="T3"/>
                </a:cxn>
                <a:cxn ang="0">
                  <a:pos x="T4" y="T5"/>
                </a:cxn>
                <a:cxn ang="0">
                  <a:pos x="T6" y="T7"/>
                </a:cxn>
                <a:cxn ang="0">
                  <a:pos x="T8" y="T9"/>
                </a:cxn>
                <a:cxn ang="0">
                  <a:pos x="T10" y="T11"/>
                </a:cxn>
              </a:cxnLst>
              <a:rect l="0" t="0" r="r" b="b"/>
              <a:pathLst>
                <a:path w="195" h="86">
                  <a:moveTo>
                    <a:pt x="0" y="86"/>
                  </a:moveTo>
                  <a:cubicBezTo>
                    <a:pt x="190" y="86"/>
                    <a:pt x="190" y="86"/>
                    <a:pt x="190" y="86"/>
                  </a:cubicBezTo>
                  <a:cubicBezTo>
                    <a:pt x="193" y="73"/>
                    <a:pt x="195" y="59"/>
                    <a:pt x="195" y="45"/>
                  </a:cubicBezTo>
                  <a:cubicBezTo>
                    <a:pt x="195" y="30"/>
                    <a:pt x="193" y="15"/>
                    <a:pt x="189" y="0"/>
                  </a:cubicBezTo>
                  <a:cubicBezTo>
                    <a:pt x="0" y="0"/>
                    <a:pt x="0" y="0"/>
                    <a:pt x="0" y="0"/>
                  </a:cubicBezTo>
                  <a:cubicBezTo>
                    <a:pt x="0" y="86"/>
                    <a:pt x="0" y="86"/>
                    <a:pt x="0" y="86"/>
                  </a:cubicBezTo>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0" name="Freeform 37"/>
            <p:cNvSpPr>
              <a:spLocks/>
            </p:cNvSpPr>
            <p:nvPr/>
          </p:nvSpPr>
          <p:spPr bwMode="auto">
            <a:xfrm>
              <a:off x="7459663" y="2286000"/>
              <a:ext cx="357188" cy="158750"/>
            </a:xfrm>
            <a:custGeom>
              <a:avLst/>
              <a:gdLst>
                <a:gd name="T0" fmla="*/ 0 w 161"/>
                <a:gd name="T1" fmla="*/ 70 h 71"/>
                <a:gd name="T2" fmla="*/ 20 w 161"/>
                <a:gd name="T3" fmla="*/ 71 h 71"/>
                <a:gd name="T4" fmla="*/ 161 w 161"/>
                <a:gd name="T5" fmla="*/ 0 h 71"/>
                <a:gd name="T6" fmla="*/ 0 w 161"/>
                <a:gd name="T7" fmla="*/ 0 h 71"/>
                <a:gd name="T8" fmla="*/ 0 w 161"/>
                <a:gd name="T9" fmla="*/ 70 h 71"/>
              </a:gdLst>
              <a:ahLst/>
              <a:cxnLst>
                <a:cxn ang="0">
                  <a:pos x="T0" y="T1"/>
                </a:cxn>
                <a:cxn ang="0">
                  <a:pos x="T2" y="T3"/>
                </a:cxn>
                <a:cxn ang="0">
                  <a:pos x="T4" y="T5"/>
                </a:cxn>
                <a:cxn ang="0">
                  <a:pos x="T6" y="T7"/>
                </a:cxn>
                <a:cxn ang="0">
                  <a:pos x="T8" y="T9"/>
                </a:cxn>
              </a:cxnLst>
              <a:rect l="0" t="0" r="r" b="b"/>
              <a:pathLst>
                <a:path w="161" h="71">
                  <a:moveTo>
                    <a:pt x="0" y="70"/>
                  </a:moveTo>
                  <a:cubicBezTo>
                    <a:pt x="7" y="71"/>
                    <a:pt x="14" y="71"/>
                    <a:pt x="20" y="71"/>
                  </a:cubicBezTo>
                  <a:cubicBezTo>
                    <a:pt x="78" y="71"/>
                    <a:pt x="129" y="43"/>
                    <a:pt x="161" y="0"/>
                  </a:cubicBezTo>
                  <a:cubicBezTo>
                    <a:pt x="0" y="0"/>
                    <a:pt x="0" y="0"/>
                    <a:pt x="0" y="0"/>
                  </a:cubicBezTo>
                  <a:lnTo>
                    <a:pt x="0" y="7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1" name="Freeform 38"/>
            <p:cNvSpPr>
              <a:spLocks/>
            </p:cNvSpPr>
            <p:nvPr/>
          </p:nvSpPr>
          <p:spPr bwMode="auto">
            <a:xfrm>
              <a:off x="7148513" y="1741488"/>
              <a:ext cx="166688" cy="230188"/>
            </a:xfrm>
            <a:custGeom>
              <a:avLst/>
              <a:gdLst>
                <a:gd name="T0" fmla="*/ 75 w 75"/>
                <a:gd name="T1" fmla="*/ 0 h 103"/>
                <a:gd name="T2" fmla="*/ 0 w 75"/>
                <a:gd name="T3" fmla="*/ 103 h 103"/>
                <a:gd name="T4" fmla="*/ 75 w 75"/>
                <a:gd name="T5" fmla="*/ 67 h 103"/>
                <a:gd name="T6" fmla="*/ 75 w 75"/>
                <a:gd name="T7" fmla="*/ 0 h 103"/>
              </a:gdLst>
              <a:ahLst/>
              <a:cxnLst>
                <a:cxn ang="0">
                  <a:pos x="T0" y="T1"/>
                </a:cxn>
                <a:cxn ang="0">
                  <a:pos x="T2" y="T3"/>
                </a:cxn>
                <a:cxn ang="0">
                  <a:pos x="T4" y="T5"/>
                </a:cxn>
                <a:cxn ang="0">
                  <a:pos x="T6" y="T7"/>
                </a:cxn>
              </a:cxnLst>
              <a:rect l="0" t="0" r="r" b="b"/>
              <a:pathLst>
                <a:path w="75" h="103">
                  <a:moveTo>
                    <a:pt x="75" y="0"/>
                  </a:moveTo>
                  <a:cubicBezTo>
                    <a:pt x="38" y="23"/>
                    <a:pt x="10" y="59"/>
                    <a:pt x="0" y="103"/>
                  </a:cubicBezTo>
                  <a:cubicBezTo>
                    <a:pt x="21" y="88"/>
                    <a:pt x="47" y="75"/>
                    <a:pt x="75" y="67"/>
                  </a:cubicBezTo>
                  <a:cubicBezTo>
                    <a:pt x="75" y="0"/>
                    <a:pt x="75" y="0"/>
                    <a:pt x="75" y="0"/>
                  </a:cubicBezTo>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2" name="Freeform 39"/>
            <p:cNvSpPr>
              <a:spLocks/>
            </p:cNvSpPr>
            <p:nvPr/>
          </p:nvSpPr>
          <p:spPr bwMode="auto">
            <a:xfrm>
              <a:off x="7315200" y="1692275"/>
              <a:ext cx="539750" cy="263525"/>
            </a:xfrm>
            <a:custGeom>
              <a:avLst/>
              <a:gdLst>
                <a:gd name="T0" fmla="*/ 65 w 243"/>
                <a:gd name="T1" fmla="*/ 0 h 118"/>
                <a:gd name="T2" fmla="*/ 0 w 243"/>
                <a:gd name="T3" fmla="*/ 22 h 118"/>
                <a:gd name="T4" fmla="*/ 0 w 243"/>
                <a:gd name="T5" fmla="*/ 89 h 118"/>
                <a:gd name="T6" fmla="*/ 85 w 243"/>
                <a:gd name="T7" fmla="*/ 78 h 118"/>
                <a:gd name="T8" fmla="*/ 235 w 243"/>
                <a:gd name="T9" fmla="*/ 118 h 118"/>
                <a:gd name="T10" fmla="*/ 243 w 243"/>
                <a:gd name="T11" fmla="*/ 118 h 118"/>
                <a:gd name="T12" fmla="*/ 209 w 243"/>
                <a:gd name="T13" fmla="*/ 56 h 118"/>
                <a:gd name="T14" fmla="*/ 65 w 243"/>
                <a:gd name="T15" fmla="*/ 56 h 118"/>
                <a:gd name="T16" fmla="*/ 65 w 243"/>
                <a:gd name="T17"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3" h="118">
                  <a:moveTo>
                    <a:pt x="65" y="0"/>
                  </a:moveTo>
                  <a:cubicBezTo>
                    <a:pt x="42" y="3"/>
                    <a:pt x="20" y="11"/>
                    <a:pt x="0" y="22"/>
                  </a:cubicBezTo>
                  <a:cubicBezTo>
                    <a:pt x="0" y="89"/>
                    <a:pt x="0" y="89"/>
                    <a:pt x="0" y="89"/>
                  </a:cubicBezTo>
                  <a:cubicBezTo>
                    <a:pt x="26" y="82"/>
                    <a:pt x="55" y="78"/>
                    <a:pt x="85" y="78"/>
                  </a:cubicBezTo>
                  <a:cubicBezTo>
                    <a:pt x="143" y="78"/>
                    <a:pt x="196" y="93"/>
                    <a:pt x="235" y="118"/>
                  </a:cubicBezTo>
                  <a:cubicBezTo>
                    <a:pt x="243" y="118"/>
                    <a:pt x="243" y="118"/>
                    <a:pt x="243" y="118"/>
                  </a:cubicBezTo>
                  <a:cubicBezTo>
                    <a:pt x="236" y="95"/>
                    <a:pt x="224" y="74"/>
                    <a:pt x="209" y="56"/>
                  </a:cubicBezTo>
                  <a:cubicBezTo>
                    <a:pt x="65" y="56"/>
                    <a:pt x="65" y="56"/>
                    <a:pt x="65" y="56"/>
                  </a:cubicBezTo>
                  <a:cubicBezTo>
                    <a:pt x="65" y="0"/>
                    <a:pt x="65" y="0"/>
                    <a:pt x="65" y="0"/>
                  </a:cubicBezTo>
                </a:path>
              </a:pathLst>
            </a:custGeom>
            <a:solidFill>
              <a:srgbClr val="CDA7C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3" name="Freeform 40"/>
            <p:cNvSpPr>
              <a:spLocks/>
            </p:cNvSpPr>
            <p:nvPr/>
          </p:nvSpPr>
          <p:spPr bwMode="auto">
            <a:xfrm>
              <a:off x="7459663" y="1690688"/>
              <a:ext cx="320675" cy="127000"/>
            </a:xfrm>
            <a:custGeom>
              <a:avLst/>
              <a:gdLst>
                <a:gd name="T0" fmla="*/ 20 w 144"/>
                <a:gd name="T1" fmla="*/ 0 h 57"/>
                <a:gd name="T2" fmla="*/ 0 w 144"/>
                <a:gd name="T3" fmla="*/ 1 h 57"/>
                <a:gd name="T4" fmla="*/ 0 w 144"/>
                <a:gd name="T5" fmla="*/ 57 h 57"/>
                <a:gd name="T6" fmla="*/ 144 w 144"/>
                <a:gd name="T7" fmla="*/ 57 h 57"/>
                <a:gd name="T8" fmla="*/ 20 w 144"/>
                <a:gd name="T9" fmla="*/ 0 h 57"/>
              </a:gdLst>
              <a:ahLst/>
              <a:cxnLst>
                <a:cxn ang="0">
                  <a:pos x="T0" y="T1"/>
                </a:cxn>
                <a:cxn ang="0">
                  <a:pos x="T2" y="T3"/>
                </a:cxn>
                <a:cxn ang="0">
                  <a:pos x="T4" y="T5"/>
                </a:cxn>
                <a:cxn ang="0">
                  <a:pos x="T6" y="T7"/>
                </a:cxn>
                <a:cxn ang="0">
                  <a:pos x="T8" y="T9"/>
                </a:cxn>
              </a:cxnLst>
              <a:rect l="0" t="0" r="r" b="b"/>
              <a:pathLst>
                <a:path w="144" h="57">
                  <a:moveTo>
                    <a:pt x="20" y="0"/>
                  </a:moveTo>
                  <a:cubicBezTo>
                    <a:pt x="13" y="0"/>
                    <a:pt x="7" y="0"/>
                    <a:pt x="0" y="1"/>
                  </a:cubicBezTo>
                  <a:cubicBezTo>
                    <a:pt x="0" y="57"/>
                    <a:pt x="0" y="57"/>
                    <a:pt x="0" y="57"/>
                  </a:cubicBezTo>
                  <a:cubicBezTo>
                    <a:pt x="144" y="57"/>
                    <a:pt x="144" y="57"/>
                    <a:pt x="144" y="57"/>
                  </a:cubicBezTo>
                  <a:cubicBezTo>
                    <a:pt x="114" y="22"/>
                    <a:pt x="69" y="0"/>
                    <a:pt x="20" y="0"/>
                  </a:cubicBezTo>
                </a:path>
              </a:pathLst>
            </a:custGeom>
            <a:solidFill>
              <a:srgbClr val="B490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4" name="Freeform 41"/>
            <p:cNvSpPr>
              <a:spLocks/>
            </p:cNvSpPr>
            <p:nvPr/>
          </p:nvSpPr>
          <p:spPr bwMode="auto">
            <a:xfrm>
              <a:off x="7837488" y="1955800"/>
              <a:ext cx="20638" cy="15875"/>
            </a:xfrm>
            <a:custGeom>
              <a:avLst/>
              <a:gdLst>
                <a:gd name="T0" fmla="*/ 8 w 9"/>
                <a:gd name="T1" fmla="*/ 0 h 7"/>
                <a:gd name="T2" fmla="*/ 0 w 9"/>
                <a:gd name="T3" fmla="*/ 0 h 7"/>
                <a:gd name="T4" fmla="*/ 9 w 9"/>
                <a:gd name="T5" fmla="*/ 7 h 7"/>
                <a:gd name="T6" fmla="*/ 8 w 9"/>
                <a:gd name="T7" fmla="*/ 0 h 7"/>
              </a:gdLst>
              <a:ahLst/>
              <a:cxnLst>
                <a:cxn ang="0">
                  <a:pos x="T0" y="T1"/>
                </a:cxn>
                <a:cxn ang="0">
                  <a:pos x="T2" y="T3"/>
                </a:cxn>
                <a:cxn ang="0">
                  <a:pos x="T4" y="T5"/>
                </a:cxn>
                <a:cxn ang="0">
                  <a:pos x="T6" y="T7"/>
                </a:cxn>
              </a:cxnLst>
              <a:rect l="0" t="0" r="r" b="b"/>
              <a:pathLst>
                <a:path w="9" h="7">
                  <a:moveTo>
                    <a:pt x="8" y="0"/>
                  </a:moveTo>
                  <a:cubicBezTo>
                    <a:pt x="0" y="0"/>
                    <a:pt x="0" y="0"/>
                    <a:pt x="0" y="0"/>
                  </a:cubicBezTo>
                  <a:cubicBezTo>
                    <a:pt x="3" y="2"/>
                    <a:pt x="6" y="5"/>
                    <a:pt x="9" y="7"/>
                  </a:cubicBezTo>
                  <a:cubicBezTo>
                    <a:pt x="9" y="5"/>
                    <a:pt x="8" y="3"/>
                    <a:pt x="8" y="0"/>
                  </a:cubicBezTo>
                </a:path>
              </a:pathLst>
            </a:custGeom>
            <a:solidFill>
              <a:srgbClr val="B490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5" name="Freeform 42"/>
            <p:cNvSpPr>
              <a:spLocks/>
            </p:cNvSpPr>
            <p:nvPr/>
          </p:nvSpPr>
          <p:spPr bwMode="auto">
            <a:xfrm>
              <a:off x="7353300" y="1795463"/>
              <a:ext cx="301625" cy="301625"/>
            </a:xfrm>
            <a:custGeom>
              <a:avLst/>
              <a:gdLst>
                <a:gd name="T0" fmla="*/ 136 w 136"/>
                <a:gd name="T1" fmla="*/ 68 h 136"/>
                <a:gd name="T2" fmla="*/ 68 w 136"/>
                <a:gd name="T3" fmla="*/ 0 h 136"/>
                <a:gd name="T4" fmla="*/ 0 w 136"/>
                <a:gd name="T5" fmla="*/ 68 h 136"/>
                <a:gd name="T6" fmla="*/ 68 w 136"/>
                <a:gd name="T7" fmla="*/ 136 h 136"/>
                <a:gd name="T8" fmla="*/ 136 w 136"/>
                <a:gd name="T9" fmla="*/ 136 h 136"/>
                <a:gd name="T10" fmla="*/ 136 w 136"/>
                <a:gd name="T11" fmla="*/ 68 h 136"/>
              </a:gdLst>
              <a:ahLst/>
              <a:cxnLst>
                <a:cxn ang="0">
                  <a:pos x="T0" y="T1"/>
                </a:cxn>
                <a:cxn ang="0">
                  <a:pos x="T2" y="T3"/>
                </a:cxn>
                <a:cxn ang="0">
                  <a:pos x="T4" y="T5"/>
                </a:cxn>
                <a:cxn ang="0">
                  <a:pos x="T6" y="T7"/>
                </a:cxn>
                <a:cxn ang="0">
                  <a:pos x="T8" y="T9"/>
                </a:cxn>
                <a:cxn ang="0">
                  <a:pos x="T10" y="T11"/>
                </a:cxn>
              </a:cxnLst>
              <a:rect l="0" t="0" r="r" b="b"/>
              <a:pathLst>
                <a:path w="136" h="136">
                  <a:moveTo>
                    <a:pt x="136" y="68"/>
                  </a:moveTo>
                  <a:cubicBezTo>
                    <a:pt x="136" y="30"/>
                    <a:pt x="105" y="0"/>
                    <a:pt x="68" y="0"/>
                  </a:cubicBezTo>
                  <a:cubicBezTo>
                    <a:pt x="30" y="0"/>
                    <a:pt x="0" y="30"/>
                    <a:pt x="0" y="68"/>
                  </a:cubicBezTo>
                  <a:cubicBezTo>
                    <a:pt x="0" y="105"/>
                    <a:pt x="30" y="136"/>
                    <a:pt x="68" y="136"/>
                  </a:cubicBezTo>
                  <a:cubicBezTo>
                    <a:pt x="136" y="136"/>
                    <a:pt x="136" y="136"/>
                    <a:pt x="136" y="136"/>
                  </a:cubicBezTo>
                  <a:lnTo>
                    <a:pt x="136" y="68"/>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6" name="Freeform 43"/>
            <p:cNvSpPr>
              <a:spLocks noEditPoints="1"/>
            </p:cNvSpPr>
            <p:nvPr/>
          </p:nvSpPr>
          <p:spPr bwMode="auto">
            <a:xfrm>
              <a:off x="7426325" y="1879600"/>
              <a:ext cx="173038" cy="147638"/>
            </a:xfrm>
            <a:custGeom>
              <a:avLst/>
              <a:gdLst>
                <a:gd name="T0" fmla="*/ 74 w 78"/>
                <a:gd name="T1" fmla="*/ 62 h 66"/>
                <a:gd name="T2" fmla="*/ 0 w 78"/>
                <a:gd name="T3" fmla="*/ 12 h 66"/>
                <a:gd name="T4" fmla="*/ 0 w 78"/>
                <a:gd name="T5" fmla="*/ 66 h 66"/>
                <a:gd name="T6" fmla="*/ 78 w 78"/>
                <a:gd name="T7" fmla="*/ 0 h 66"/>
                <a:gd name="T8" fmla="*/ 0 w 78"/>
                <a:gd name="T9" fmla="*/ 0 h 66"/>
                <a:gd name="T10" fmla="*/ 45 w 78"/>
                <a:gd name="T11" fmla="*/ 37 h 66"/>
                <a:gd name="T12" fmla="*/ 43 w 78"/>
                <a:gd name="T13" fmla="*/ 33 h 66"/>
                <a:gd name="T14" fmla="*/ 40 w 78"/>
                <a:gd name="T15" fmla="*/ 31 h 66"/>
                <a:gd name="T16" fmla="*/ 36 w 78"/>
                <a:gd name="T17" fmla="*/ 29 h 66"/>
                <a:gd name="T18" fmla="*/ 33 w 78"/>
                <a:gd name="T19" fmla="*/ 29 h 66"/>
                <a:gd name="T20" fmla="*/ 29 w 78"/>
                <a:gd name="T21" fmla="*/ 31 h 66"/>
                <a:gd name="T22" fmla="*/ 26 w 78"/>
                <a:gd name="T23" fmla="*/ 33 h 66"/>
                <a:gd name="T24" fmla="*/ 24 w 78"/>
                <a:gd name="T25" fmla="*/ 37 h 66"/>
                <a:gd name="T26" fmla="*/ 23 w 78"/>
                <a:gd name="T27" fmla="*/ 41 h 66"/>
                <a:gd name="T28" fmla="*/ 24 w 78"/>
                <a:gd name="T29" fmla="*/ 45 h 66"/>
                <a:gd name="T30" fmla="*/ 26 w 78"/>
                <a:gd name="T31" fmla="*/ 48 h 66"/>
                <a:gd name="T32" fmla="*/ 29 w 78"/>
                <a:gd name="T33" fmla="*/ 51 h 66"/>
                <a:gd name="T34" fmla="*/ 32 w 78"/>
                <a:gd name="T35" fmla="*/ 52 h 66"/>
                <a:gd name="T36" fmla="*/ 35 w 78"/>
                <a:gd name="T37" fmla="*/ 49 h 66"/>
                <a:gd name="T38" fmla="*/ 39 w 78"/>
                <a:gd name="T39" fmla="*/ 52 h 66"/>
                <a:gd name="T40" fmla="*/ 40 w 78"/>
                <a:gd name="T41" fmla="*/ 47 h 66"/>
                <a:gd name="T42" fmla="*/ 45 w 78"/>
                <a:gd name="T43" fmla="*/ 46 h 66"/>
                <a:gd name="T44" fmla="*/ 43 w 78"/>
                <a:gd name="T45" fmla="*/ 42 h 66"/>
                <a:gd name="T46" fmla="*/ 39 w 78"/>
                <a:gd name="T47" fmla="*/ 41 h 66"/>
                <a:gd name="T48" fmla="*/ 31 w 78"/>
                <a:gd name="T49" fmla="*/ 44 h 66"/>
                <a:gd name="T50" fmla="*/ 34 w 78"/>
                <a:gd name="T51" fmla="*/ 36 h 66"/>
                <a:gd name="T52" fmla="*/ 32 w 78"/>
                <a:gd name="T53" fmla="*/ 41 h 66"/>
                <a:gd name="T54" fmla="*/ 34 w 78"/>
                <a:gd name="T55" fmla="*/ 43 h 66"/>
                <a:gd name="T56" fmla="*/ 53 w 78"/>
                <a:gd name="T57" fmla="*/ 33 h 66"/>
                <a:gd name="T58" fmla="*/ 55 w 78"/>
                <a:gd name="T59" fmla="*/ 30 h 66"/>
                <a:gd name="T60" fmla="*/ 54 w 78"/>
                <a:gd name="T61" fmla="*/ 29 h 66"/>
                <a:gd name="T62" fmla="*/ 50 w 78"/>
                <a:gd name="T63" fmla="*/ 28 h 66"/>
                <a:gd name="T64" fmla="*/ 48 w 78"/>
                <a:gd name="T65" fmla="*/ 26 h 66"/>
                <a:gd name="T66" fmla="*/ 46 w 78"/>
                <a:gd name="T67" fmla="*/ 29 h 66"/>
                <a:gd name="T68" fmla="*/ 44 w 78"/>
                <a:gd name="T69" fmla="*/ 29 h 66"/>
                <a:gd name="T70" fmla="*/ 43 w 78"/>
                <a:gd name="T71" fmla="*/ 31 h 66"/>
                <a:gd name="T72" fmla="*/ 44 w 78"/>
                <a:gd name="T73" fmla="*/ 33 h 66"/>
                <a:gd name="T74" fmla="*/ 43 w 78"/>
                <a:gd name="T75" fmla="*/ 35 h 66"/>
                <a:gd name="T76" fmla="*/ 44 w 78"/>
                <a:gd name="T77" fmla="*/ 37 h 66"/>
                <a:gd name="T78" fmla="*/ 48 w 78"/>
                <a:gd name="T79" fmla="*/ 39 h 66"/>
                <a:gd name="T80" fmla="*/ 50 w 78"/>
                <a:gd name="T81" fmla="*/ 39 h 66"/>
                <a:gd name="T82" fmla="*/ 53 w 78"/>
                <a:gd name="T83" fmla="*/ 37 h 66"/>
                <a:gd name="T84" fmla="*/ 55 w 78"/>
                <a:gd name="T85" fmla="*/ 35 h 66"/>
                <a:gd name="T86" fmla="*/ 53 w 78"/>
                <a:gd name="T87" fmla="*/ 33 h 66"/>
                <a:gd name="T88" fmla="*/ 47 w 78"/>
                <a:gd name="T89" fmla="*/ 33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78" h="66">
                  <a:moveTo>
                    <a:pt x="4" y="16"/>
                  </a:moveTo>
                  <a:cubicBezTo>
                    <a:pt x="4" y="62"/>
                    <a:pt x="4" y="62"/>
                    <a:pt x="4" y="62"/>
                  </a:cubicBezTo>
                  <a:cubicBezTo>
                    <a:pt x="74" y="62"/>
                    <a:pt x="74" y="62"/>
                    <a:pt x="74" y="62"/>
                  </a:cubicBezTo>
                  <a:cubicBezTo>
                    <a:pt x="74" y="16"/>
                    <a:pt x="74" y="16"/>
                    <a:pt x="74" y="16"/>
                  </a:cubicBezTo>
                  <a:cubicBezTo>
                    <a:pt x="4" y="16"/>
                    <a:pt x="4" y="16"/>
                    <a:pt x="4" y="16"/>
                  </a:cubicBezTo>
                  <a:close/>
                  <a:moveTo>
                    <a:pt x="0" y="12"/>
                  </a:moveTo>
                  <a:cubicBezTo>
                    <a:pt x="78" y="12"/>
                    <a:pt x="78" y="12"/>
                    <a:pt x="78" y="12"/>
                  </a:cubicBezTo>
                  <a:cubicBezTo>
                    <a:pt x="78" y="66"/>
                    <a:pt x="78" y="66"/>
                    <a:pt x="78" y="66"/>
                  </a:cubicBezTo>
                  <a:cubicBezTo>
                    <a:pt x="0" y="66"/>
                    <a:pt x="0" y="66"/>
                    <a:pt x="0" y="66"/>
                  </a:cubicBezTo>
                  <a:cubicBezTo>
                    <a:pt x="0" y="12"/>
                    <a:pt x="0" y="12"/>
                    <a:pt x="0" y="12"/>
                  </a:cubicBezTo>
                  <a:close/>
                  <a:moveTo>
                    <a:pt x="0" y="0"/>
                  </a:moveTo>
                  <a:cubicBezTo>
                    <a:pt x="78" y="0"/>
                    <a:pt x="78" y="0"/>
                    <a:pt x="78" y="0"/>
                  </a:cubicBezTo>
                  <a:cubicBezTo>
                    <a:pt x="78" y="8"/>
                    <a:pt x="78" y="8"/>
                    <a:pt x="78" y="8"/>
                  </a:cubicBezTo>
                  <a:cubicBezTo>
                    <a:pt x="0" y="8"/>
                    <a:pt x="0" y="8"/>
                    <a:pt x="0" y="8"/>
                  </a:cubicBezTo>
                  <a:cubicBezTo>
                    <a:pt x="0" y="0"/>
                    <a:pt x="0" y="0"/>
                    <a:pt x="0" y="0"/>
                  </a:cubicBezTo>
                  <a:close/>
                  <a:moveTo>
                    <a:pt x="46" y="40"/>
                  </a:moveTo>
                  <a:cubicBezTo>
                    <a:pt x="46" y="38"/>
                    <a:pt x="46" y="38"/>
                    <a:pt x="46" y="38"/>
                  </a:cubicBezTo>
                  <a:cubicBezTo>
                    <a:pt x="46" y="38"/>
                    <a:pt x="46" y="37"/>
                    <a:pt x="45" y="37"/>
                  </a:cubicBezTo>
                  <a:cubicBezTo>
                    <a:pt x="42" y="37"/>
                    <a:pt x="42" y="37"/>
                    <a:pt x="42" y="37"/>
                  </a:cubicBezTo>
                  <a:cubicBezTo>
                    <a:pt x="41" y="36"/>
                    <a:pt x="41" y="36"/>
                    <a:pt x="41" y="36"/>
                  </a:cubicBezTo>
                  <a:cubicBezTo>
                    <a:pt x="43" y="33"/>
                    <a:pt x="43" y="33"/>
                    <a:pt x="43" y="33"/>
                  </a:cubicBezTo>
                  <a:cubicBezTo>
                    <a:pt x="43" y="33"/>
                    <a:pt x="43" y="33"/>
                    <a:pt x="43" y="33"/>
                  </a:cubicBezTo>
                  <a:cubicBezTo>
                    <a:pt x="41" y="31"/>
                    <a:pt x="41" y="31"/>
                    <a:pt x="41" y="31"/>
                  </a:cubicBezTo>
                  <a:cubicBezTo>
                    <a:pt x="40" y="31"/>
                    <a:pt x="40" y="31"/>
                    <a:pt x="40" y="31"/>
                  </a:cubicBezTo>
                  <a:cubicBezTo>
                    <a:pt x="38" y="33"/>
                    <a:pt x="38" y="33"/>
                    <a:pt x="38" y="33"/>
                  </a:cubicBezTo>
                  <a:cubicBezTo>
                    <a:pt x="37" y="33"/>
                    <a:pt x="37" y="33"/>
                    <a:pt x="37" y="33"/>
                  </a:cubicBezTo>
                  <a:cubicBezTo>
                    <a:pt x="36" y="29"/>
                    <a:pt x="36" y="29"/>
                    <a:pt x="36" y="29"/>
                  </a:cubicBezTo>
                  <a:cubicBezTo>
                    <a:pt x="36" y="29"/>
                    <a:pt x="36" y="29"/>
                    <a:pt x="36" y="29"/>
                  </a:cubicBezTo>
                  <a:cubicBezTo>
                    <a:pt x="33" y="29"/>
                    <a:pt x="33" y="29"/>
                    <a:pt x="33" y="29"/>
                  </a:cubicBezTo>
                  <a:cubicBezTo>
                    <a:pt x="33" y="29"/>
                    <a:pt x="33" y="29"/>
                    <a:pt x="33" y="29"/>
                  </a:cubicBezTo>
                  <a:cubicBezTo>
                    <a:pt x="32" y="33"/>
                    <a:pt x="32" y="33"/>
                    <a:pt x="32" y="33"/>
                  </a:cubicBezTo>
                  <a:cubicBezTo>
                    <a:pt x="32" y="33"/>
                    <a:pt x="31" y="33"/>
                    <a:pt x="31" y="33"/>
                  </a:cubicBezTo>
                  <a:cubicBezTo>
                    <a:pt x="29" y="31"/>
                    <a:pt x="29" y="31"/>
                    <a:pt x="29" y="31"/>
                  </a:cubicBezTo>
                  <a:cubicBezTo>
                    <a:pt x="28" y="31"/>
                    <a:pt x="28" y="31"/>
                    <a:pt x="28" y="31"/>
                  </a:cubicBezTo>
                  <a:cubicBezTo>
                    <a:pt x="26" y="33"/>
                    <a:pt x="26" y="33"/>
                    <a:pt x="26" y="33"/>
                  </a:cubicBezTo>
                  <a:cubicBezTo>
                    <a:pt x="26" y="33"/>
                    <a:pt x="26" y="33"/>
                    <a:pt x="26" y="33"/>
                  </a:cubicBezTo>
                  <a:cubicBezTo>
                    <a:pt x="27" y="36"/>
                    <a:pt x="27" y="36"/>
                    <a:pt x="27" y="36"/>
                  </a:cubicBezTo>
                  <a:cubicBezTo>
                    <a:pt x="27" y="37"/>
                    <a:pt x="27" y="37"/>
                    <a:pt x="27" y="37"/>
                  </a:cubicBezTo>
                  <a:cubicBezTo>
                    <a:pt x="24" y="37"/>
                    <a:pt x="24" y="37"/>
                    <a:pt x="24" y="37"/>
                  </a:cubicBezTo>
                  <a:cubicBezTo>
                    <a:pt x="23" y="37"/>
                    <a:pt x="23" y="38"/>
                    <a:pt x="23" y="38"/>
                  </a:cubicBezTo>
                  <a:cubicBezTo>
                    <a:pt x="23" y="40"/>
                    <a:pt x="23" y="40"/>
                    <a:pt x="23" y="40"/>
                  </a:cubicBezTo>
                  <a:cubicBezTo>
                    <a:pt x="23" y="41"/>
                    <a:pt x="23" y="41"/>
                    <a:pt x="23" y="41"/>
                  </a:cubicBezTo>
                  <a:cubicBezTo>
                    <a:pt x="26" y="42"/>
                    <a:pt x="26" y="42"/>
                    <a:pt x="26" y="42"/>
                  </a:cubicBezTo>
                  <a:cubicBezTo>
                    <a:pt x="26" y="42"/>
                    <a:pt x="26" y="43"/>
                    <a:pt x="26" y="43"/>
                  </a:cubicBezTo>
                  <a:cubicBezTo>
                    <a:pt x="24" y="45"/>
                    <a:pt x="24" y="45"/>
                    <a:pt x="24" y="45"/>
                  </a:cubicBezTo>
                  <a:cubicBezTo>
                    <a:pt x="24" y="46"/>
                    <a:pt x="24" y="46"/>
                    <a:pt x="24" y="46"/>
                  </a:cubicBezTo>
                  <a:cubicBezTo>
                    <a:pt x="25" y="48"/>
                    <a:pt x="25" y="48"/>
                    <a:pt x="25" y="48"/>
                  </a:cubicBezTo>
                  <a:cubicBezTo>
                    <a:pt x="26" y="48"/>
                    <a:pt x="26" y="48"/>
                    <a:pt x="26" y="48"/>
                  </a:cubicBezTo>
                  <a:cubicBezTo>
                    <a:pt x="29" y="47"/>
                    <a:pt x="29" y="47"/>
                    <a:pt x="29" y="47"/>
                  </a:cubicBezTo>
                  <a:cubicBezTo>
                    <a:pt x="29" y="48"/>
                    <a:pt x="29" y="48"/>
                    <a:pt x="29" y="48"/>
                  </a:cubicBezTo>
                  <a:cubicBezTo>
                    <a:pt x="29" y="51"/>
                    <a:pt x="29" y="51"/>
                    <a:pt x="29" y="51"/>
                  </a:cubicBezTo>
                  <a:cubicBezTo>
                    <a:pt x="29" y="52"/>
                    <a:pt x="29" y="52"/>
                    <a:pt x="29" y="52"/>
                  </a:cubicBezTo>
                  <a:cubicBezTo>
                    <a:pt x="31" y="52"/>
                    <a:pt x="31" y="52"/>
                    <a:pt x="31" y="52"/>
                  </a:cubicBezTo>
                  <a:cubicBezTo>
                    <a:pt x="32" y="52"/>
                    <a:pt x="32" y="52"/>
                    <a:pt x="32" y="52"/>
                  </a:cubicBezTo>
                  <a:cubicBezTo>
                    <a:pt x="34" y="49"/>
                    <a:pt x="34" y="49"/>
                    <a:pt x="34" y="49"/>
                  </a:cubicBezTo>
                  <a:cubicBezTo>
                    <a:pt x="34" y="49"/>
                    <a:pt x="34" y="49"/>
                    <a:pt x="34" y="49"/>
                  </a:cubicBezTo>
                  <a:cubicBezTo>
                    <a:pt x="35" y="49"/>
                    <a:pt x="35" y="49"/>
                    <a:pt x="35" y="49"/>
                  </a:cubicBezTo>
                  <a:cubicBezTo>
                    <a:pt x="37" y="52"/>
                    <a:pt x="37" y="52"/>
                    <a:pt x="37" y="52"/>
                  </a:cubicBezTo>
                  <a:cubicBezTo>
                    <a:pt x="37" y="52"/>
                    <a:pt x="37" y="52"/>
                    <a:pt x="37" y="52"/>
                  </a:cubicBezTo>
                  <a:cubicBezTo>
                    <a:pt x="39" y="52"/>
                    <a:pt x="39" y="52"/>
                    <a:pt x="39" y="52"/>
                  </a:cubicBezTo>
                  <a:cubicBezTo>
                    <a:pt x="40" y="51"/>
                    <a:pt x="40" y="51"/>
                    <a:pt x="40" y="51"/>
                  </a:cubicBezTo>
                  <a:cubicBezTo>
                    <a:pt x="39" y="48"/>
                    <a:pt x="39" y="48"/>
                    <a:pt x="39" y="48"/>
                  </a:cubicBezTo>
                  <a:cubicBezTo>
                    <a:pt x="40" y="47"/>
                    <a:pt x="40" y="47"/>
                    <a:pt x="40" y="47"/>
                  </a:cubicBezTo>
                  <a:cubicBezTo>
                    <a:pt x="43" y="48"/>
                    <a:pt x="43" y="48"/>
                    <a:pt x="43" y="48"/>
                  </a:cubicBezTo>
                  <a:cubicBezTo>
                    <a:pt x="44" y="48"/>
                    <a:pt x="44" y="48"/>
                    <a:pt x="44" y="48"/>
                  </a:cubicBezTo>
                  <a:cubicBezTo>
                    <a:pt x="45" y="46"/>
                    <a:pt x="45" y="46"/>
                    <a:pt x="45" y="46"/>
                  </a:cubicBezTo>
                  <a:cubicBezTo>
                    <a:pt x="45" y="45"/>
                    <a:pt x="45" y="45"/>
                    <a:pt x="45" y="45"/>
                  </a:cubicBezTo>
                  <a:cubicBezTo>
                    <a:pt x="43" y="43"/>
                    <a:pt x="43" y="43"/>
                    <a:pt x="43" y="43"/>
                  </a:cubicBezTo>
                  <a:cubicBezTo>
                    <a:pt x="43" y="43"/>
                    <a:pt x="43" y="42"/>
                    <a:pt x="43" y="42"/>
                  </a:cubicBezTo>
                  <a:cubicBezTo>
                    <a:pt x="46" y="41"/>
                    <a:pt x="46" y="41"/>
                    <a:pt x="46" y="41"/>
                  </a:cubicBezTo>
                  <a:cubicBezTo>
                    <a:pt x="46" y="41"/>
                    <a:pt x="46" y="40"/>
                    <a:pt x="46" y="40"/>
                  </a:cubicBezTo>
                  <a:close/>
                  <a:moveTo>
                    <a:pt x="39" y="41"/>
                  </a:moveTo>
                  <a:cubicBezTo>
                    <a:pt x="39" y="42"/>
                    <a:pt x="39" y="43"/>
                    <a:pt x="38" y="44"/>
                  </a:cubicBezTo>
                  <a:cubicBezTo>
                    <a:pt x="37" y="45"/>
                    <a:pt x="36" y="46"/>
                    <a:pt x="34" y="46"/>
                  </a:cubicBezTo>
                  <a:cubicBezTo>
                    <a:pt x="33" y="46"/>
                    <a:pt x="32" y="45"/>
                    <a:pt x="31" y="44"/>
                  </a:cubicBezTo>
                  <a:cubicBezTo>
                    <a:pt x="30" y="43"/>
                    <a:pt x="30" y="42"/>
                    <a:pt x="30" y="41"/>
                  </a:cubicBezTo>
                  <a:cubicBezTo>
                    <a:pt x="30" y="40"/>
                    <a:pt x="30" y="39"/>
                    <a:pt x="31" y="38"/>
                  </a:cubicBezTo>
                  <a:cubicBezTo>
                    <a:pt x="32" y="37"/>
                    <a:pt x="33" y="36"/>
                    <a:pt x="34" y="36"/>
                  </a:cubicBezTo>
                  <a:cubicBezTo>
                    <a:pt x="36" y="36"/>
                    <a:pt x="37" y="37"/>
                    <a:pt x="38" y="38"/>
                  </a:cubicBezTo>
                  <a:cubicBezTo>
                    <a:pt x="39" y="39"/>
                    <a:pt x="39" y="40"/>
                    <a:pt x="39" y="41"/>
                  </a:cubicBezTo>
                  <a:close/>
                  <a:moveTo>
                    <a:pt x="32" y="41"/>
                  </a:moveTo>
                  <a:cubicBezTo>
                    <a:pt x="32" y="40"/>
                    <a:pt x="33" y="39"/>
                    <a:pt x="34" y="39"/>
                  </a:cubicBezTo>
                  <a:cubicBezTo>
                    <a:pt x="36" y="39"/>
                    <a:pt x="37" y="40"/>
                    <a:pt x="37" y="41"/>
                  </a:cubicBezTo>
                  <a:cubicBezTo>
                    <a:pt x="37" y="42"/>
                    <a:pt x="36" y="43"/>
                    <a:pt x="34" y="43"/>
                  </a:cubicBezTo>
                  <a:cubicBezTo>
                    <a:pt x="33" y="43"/>
                    <a:pt x="32" y="42"/>
                    <a:pt x="32" y="41"/>
                  </a:cubicBezTo>
                  <a:close/>
                  <a:moveTo>
                    <a:pt x="53" y="33"/>
                  </a:moveTo>
                  <a:cubicBezTo>
                    <a:pt x="53" y="33"/>
                    <a:pt x="53" y="33"/>
                    <a:pt x="53" y="33"/>
                  </a:cubicBezTo>
                  <a:cubicBezTo>
                    <a:pt x="53" y="32"/>
                    <a:pt x="53" y="32"/>
                    <a:pt x="53" y="32"/>
                  </a:cubicBezTo>
                  <a:cubicBezTo>
                    <a:pt x="54" y="31"/>
                    <a:pt x="54" y="31"/>
                    <a:pt x="54" y="31"/>
                  </a:cubicBezTo>
                  <a:cubicBezTo>
                    <a:pt x="55" y="30"/>
                    <a:pt x="55" y="30"/>
                    <a:pt x="55" y="30"/>
                  </a:cubicBezTo>
                  <a:cubicBezTo>
                    <a:pt x="55" y="30"/>
                    <a:pt x="55" y="30"/>
                    <a:pt x="55" y="30"/>
                  </a:cubicBezTo>
                  <a:cubicBezTo>
                    <a:pt x="54" y="29"/>
                    <a:pt x="54" y="29"/>
                    <a:pt x="54" y="29"/>
                  </a:cubicBezTo>
                  <a:cubicBezTo>
                    <a:pt x="54" y="29"/>
                    <a:pt x="54" y="29"/>
                    <a:pt x="54" y="29"/>
                  </a:cubicBezTo>
                  <a:cubicBezTo>
                    <a:pt x="53" y="29"/>
                    <a:pt x="53" y="29"/>
                    <a:pt x="53" y="29"/>
                  </a:cubicBezTo>
                  <a:cubicBezTo>
                    <a:pt x="52" y="29"/>
                    <a:pt x="52" y="29"/>
                    <a:pt x="52" y="29"/>
                  </a:cubicBezTo>
                  <a:cubicBezTo>
                    <a:pt x="51" y="29"/>
                    <a:pt x="51" y="29"/>
                    <a:pt x="50" y="28"/>
                  </a:cubicBezTo>
                  <a:cubicBezTo>
                    <a:pt x="50" y="27"/>
                    <a:pt x="50" y="27"/>
                    <a:pt x="50" y="27"/>
                  </a:cubicBezTo>
                  <a:cubicBezTo>
                    <a:pt x="49" y="26"/>
                    <a:pt x="49" y="26"/>
                    <a:pt x="49" y="26"/>
                  </a:cubicBezTo>
                  <a:cubicBezTo>
                    <a:pt x="48" y="26"/>
                    <a:pt x="48" y="26"/>
                    <a:pt x="48" y="26"/>
                  </a:cubicBezTo>
                  <a:cubicBezTo>
                    <a:pt x="48" y="27"/>
                    <a:pt x="48" y="27"/>
                    <a:pt x="48" y="27"/>
                  </a:cubicBezTo>
                  <a:cubicBezTo>
                    <a:pt x="47" y="28"/>
                    <a:pt x="47" y="28"/>
                    <a:pt x="47" y="28"/>
                  </a:cubicBezTo>
                  <a:cubicBezTo>
                    <a:pt x="47" y="29"/>
                    <a:pt x="46" y="29"/>
                    <a:pt x="46" y="29"/>
                  </a:cubicBezTo>
                  <a:cubicBezTo>
                    <a:pt x="44" y="29"/>
                    <a:pt x="44" y="29"/>
                    <a:pt x="44" y="29"/>
                  </a:cubicBezTo>
                  <a:cubicBezTo>
                    <a:pt x="44" y="29"/>
                    <a:pt x="44" y="29"/>
                    <a:pt x="44" y="29"/>
                  </a:cubicBezTo>
                  <a:cubicBezTo>
                    <a:pt x="44" y="29"/>
                    <a:pt x="44" y="29"/>
                    <a:pt x="44" y="29"/>
                  </a:cubicBezTo>
                  <a:cubicBezTo>
                    <a:pt x="43" y="30"/>
                    <a:pt x="43" y="30"/>
                    <a:pt x="43" y="30"/>
                  </a:cubicBezTo>
                  <a:cubicBezTo>
                    <a:pt x="43" y="30"/>
                    <a:pt x="43" y="30"/>
                    <a:pt x="43" y="30"/>
                  </a:cubicBezTo>
                  <a:cubicBezTo>
                    <a:pt x="43" y="31"/>
                    <a:pt x="43" y="31"/>
                    <a:pt x="43" y="31"/>
                  </a:cubicBezTo>
                  <a:cubicBezTo>
                    <a:pt x="44" y="32"/>
                    <a:pt x="44" y="32"/>
                    <a:pt x="44" y="32"/>
                  </a:cubicBezTo>
                  <a:cubicBezTo>
                    <a:pt x="44" y="33"/>
                    <a:pt x="44" y="33"/>
                    <a:pt x="44" y="33"/>
                  </a:cubicBezTo>
                  <a:cubicBezTo>
                    <a:pt x="44" y="33"/>
                    <a:pt x="44" y="33"/>
                    <a:pt x="44" y="33"/>
                  </a:cubicBezTo>
                  <a:cubicBezTo>
                    <a:pt x="43" y="35"/>
                    <a:pt x="43" y="35"/>
                    <a:pt x="43" y="35"/>
                  </a:cubicBezTo>
                  <a:cubicBezTo>
                    <a:pt x="43" y="35"/>
                    <a:pt x="43" y="35"/>
                    <a:pt x="43" y="35"/>
                  </a:cubicBezTo>
                  <a:cubicBezTo>
                    <a:pt x="43" y="35"/>
                    <a:pt x="43" y="35"/>
                    <a:pt x="43" y="35"/>
                  </a:cubicBezTo>
                  <a:cubicBezTo>
                    <a:pt x="44" y="36"/>
                    <a:pt x="44" y="36"/>
                    <a:pt x="44" y="36"/>
                  </a:cubicBezTo>
                  <a:cubicBezTo>
                    <a:pt x="44" y="37"/>
                    <a:pt x="44" y="37"/>
                    <a:pt x="44" y="37"/>
                  </a:cubicBezTo>
                  <a:cubicBezTo>
                    <a:pt x="44" y="37"/>
                    <a:pt x="44" y="37"/>
                    <a:pt x="44" y="37"/>
                  </a:cubicBezTo>
                  <a:cubicBezTo>
                    <a:pt x="46" y="36"/>
                    <a:pt x="46" y="36"/>
                    <a:pt x="46" y="36"/>
                  </a:cubicBezTo>
                  <a:cubicBezTo>
                    <a:pt x="46" y="36"/>
                    <a:pt x="47" y="37"/>
                    <a:pt x="47" y="37"/>
                  </a:cubicBezTo>
                  <a:cubicBezTo>
                    <a:pt x="48" y="39"/>
                    <a:pt x="48" y="39"/>
                    <a:pt x="48" y="39"/>
                  </a:cubicBezTo>
                  <a:cubicBezTo>
                    <a:pt x="48" y="39"/>
                    <a:pt x="48" y="39"/>
                    <a:pt x="48" y="39"/>
                  </a:cubicBezTo>
                  <a:cubicBezTo>
                    <a:pt x="49" y="39"/>
                    <a:pt x="49" y="39"/>
                    <a:pt x="49" y="39"/>
                  </a:cubicBezTo>
                  <a:cubicBezTo>
                    <a:pt x="50" y="39"/>
                    <a:pt x="50" y="39"/>
                    <a:pt x="50" y="39"/>
                  </a:cubicBezTo>
                  <a:cubicBezTo>
                    <a:pt x="50" y="37"/>
                    <a:pt x="50" y="37"/>
                    <a:pt x="50" y="37"/>
                  </a:cubicBezTo>
                  <a:cubicBezTo>
                    <a:pt x="51" y="37"/>
                    <a:pt x="51" y="36"/>
                    <a:pt x="52" y="36"/>
                  </a:cubicBezTo>
                  <a:cubicBezTo>
                    <a:pt x="53" y="37"/>
                    <a:pt x="53" y="37"/>
                    <a:pt x="53" y="37"/>
                  </a:cubicBezTo>
                  <a:cubicBezTo>
                    <a:pt x="54" y="37"/>
                    <a:pt x="54" y="37"/>
                    <a:pt x="54" y="37"/>
                  </a:cubicBezTo>
                  <a:cubicBezTo>
                    <a:pt x="54" y="36"/>
                    <a:pt x="54" y="36"/>
                    <a:pt x="54" y="36"/>
                  </a:cubicBezTo>
                  <a:cubicBezTo>
                    <a:pt x="55" y="35"/>
                    <a:pt x="55" y="35"/>
                    <a:pt x="55" y="35"/>
                  </a:cubicBezTo>
                  <a:cubicBezTo>
                    <a:pt x="55" y="35"/>
                    <a:pt x="55" y="35"/>
                    <a:pt x="55" y="35"/>
                  </a:cubicBezTo>
                  <a:cubicBezTo>
                    <a:pt x="54" y="35"/>
                    <a:pt x="54" y="35"/>
                    <a:pt x="54" y="35"/>
                  </a:cubicBezTo>
                  <a:cubicBezTo>
                    <a:pt x="53" y="33"/>
                    <a:pt x="53" y="33"/>
                    <a:pt x="53" y="33"/>
                  </a:cubicBezTo>
                  <a:close/>
                  <a:moveTo>
                    <a:pt x="51" y="33"/>
                  </a:moveTo>
                  <a:cubicBezTo>
                    <a:pt x="51" y="34"/>
                    <a:pt x="50" y="34"/>
                    <a:pt x="49" y="34"/>
                  </a:cubicBezTo>
                  <a:cubicBezTo>
                    <a:pt x="48" y="34"/>
                    <a:pt x="47" y="34"/>
                    <a:pt x="47" y="33"/>
                  </a:cubicBezTo>
                  <a:cubicBezTo>
                    <a:pt x="47" y="32"/>
                    <a:pt x="48" y="31"/>
                    <a:pt x="49" y="31"/>
                  </a:cubicBezTo>
                  <a:cubicBezTo>
                    <a:pt x="50" y="31"/>
                    <a:pt x="51" y="32"/>
                    <a:pt x="51" y="33"/>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7" name="Freeform 44"/>
            <p:cNvSpPr>
              <a:spLocks/>
            </p:cNvSpPr>
            <p:nvPr/>
          </p:nvSpPr>
          <p:spPr bwMode="auto">
            <a:xfrm>
              <a:off x="7512050" y="850900"/>
              <a:ext cx="409575" cy="268288"/>
            </a:xfrm>
            <a:custGeom>
              <a:avLst/>
              <a:gdLst>
                <a:gd name="T0" fmla="*/ 154 w 184"/>
                <a:gd name="T1" fmla="*/ 53 h 121"/>
                <a:gd name="T2" fmla="*/ 154 w 184"/>
                <a:gd name="T3" fmla="*/ 51 h 121"/>
                <a:gd name="T4" fmla="*/ 104 w 184"/>
                <a:gd name="T5" fmla="*/ 0 h 121"/>
                <a:gd name="T6" fmla="*/ 61 w 184"/>
                <a:gd name="T7" fmla="*/ 23 h 121"/>
                <a:gd name="T8" fmla="*/ 48 w 184"/>
                <a:gd name="T9" fmla="*/ 19 h 121"/>
                <a:gd name="T10" fmla="*/ 31 w 184"/>
                <a:gd name="T11" fmla="*/ 24 h 121"/>
                <a:gd name="T12" fmla="*/ 18 w 184"/>
                <a:gd name="T13" fmla="*/ 48 h 121"/>
                <a:gd name="T14" fmla="*/ 0 w 184"/>
                <a:gd name="T15" fmla="*/ 81 h 121"/>
                <a:gd name="T16" fmla="*/ 35 w 184"/>
                <a:gd name="T17" fmla="*/ 121 h 121"/>
                <a:gd name="T18" fmla="*/ 40 w 184"/>
                <a:gd name="T19" fmla="*/ 121 h 121"/>
                <a:gd name="T20" fmla="*/ 44 w 184"/>
                <a:gd name="T21" fmla="*/ 121 h 121"/>
                <a:gd name="T22" fmla="*/ 127 w 184"/>
                <a:gd name="T23" fmla="*/ 121 h 121"/>
                <a:gd name="T24" fmla="*/ 128 w 184"/>
                <a:gd name="T25" fmla="*/ 121 h 121"/>
                <a:gd name="T26" fmla="*/ 130 w 184"/>
                <a:gd name="T27" fmla="*/ 121 h 121"/>
                <a:gd name="T28" fmla="*/ 136 w 184"/>
                <a:gd name="T29" fmla="*/ 121 h 121"/>
                <a:gd name="T30" fmla="*/ 150 w 184"/>
                <a:gd name="T31" fmla="*/ 121 h 121"/>
                <a:gd name="T32" fmla="*/ 184 w 184"/>
                <a:gd name="T33" fmla="*/ 87 h 121"/>
                <a:gd name="T34" fmla="*/ 154 w 184"/>
                <a:gd name="T35" fmla="*/ 53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4" h="121">
                  <a:moveTo>
                    <a:pt x="154" y="53"/>
                  </a:moveTo>
                  <a:cubicBezTo>
                    <a:pt x="154" y="53"/>
                    <a:pt x="154" y="52"/>
                    <a:pt x="154" y="51"/>
                  </a:cubicBezTo>
                  <a:cubicBezTo>
                    <a:pt x="154" y="23"/>
                    <a:pt x="132" y="0"/>
                    <a:pt x="104" y="0"/>
                  </a:cubicBezTo>
                  <a:cubicBezTo>
                    <a:pt x="86" y="0"/>
                    <a:pt x="71" y="9"/>
                    <a:pt x="61" y="23"/>
                  </a:cubicBezTo>
                  <a:cubicBezTo>
                    <a:pt x="57" y="20"/>
                    <a:pt x="53" y="19"/>
                    <a:pt x="48" y="19"/>
                  </a:cubicBezTo>
                  <a:cubicBezTo>
                    <a:pt x="41" y="19"/>
                    <a:pt x="36" y="21"/>
                    <a:pt x="31" y="24"/>
                  </a:cubicBezTo>
                  <a:cubicBezTo>
                    <a:pt x="23" y="29"/>
                    <a:pt x="18" y="38"/>
                    <a:pt x="18" y="48"/>
                  </a:cubicBezTo>
                  <a:cubicBezTo>
                    <a:pt x="7" y="55"/>
                    <a:pt x="0" y="67"/>
                    <a:pt x="0" y="81"/>
                  </a:cubicBezTo>
                  <a:cubicBezTo>
                    <a:pt x="0" y="102"/>
                    <a:pt x="15" y="119"/>
                    <a:pt x="35" y="121"/>
                  </a:cubicBezTo>
                  <a:cubicBezTo>
                    <a:pt x="37" y="121"/>
                    <a:pt x="38" y="121"/>
                    <a:pt x="40" y="121"/>
                  </a:cubicBezTo>
                  <a:cubicBezTo>
                    <a:pt x="41" y="121"/>
                    <a:pt x="42" y="121"/>
                    <a:pt x="44" y="121"/>
                  </a:cubicBezTo>
                  <a:cubicBezTo>
                    <a:pt x="62" y="121"/>
                    <a:pt x="106" y="121"/>
                    <a:pt x="127" y="121"/>
                  </a:cubicBezTo>
                  <a:cubicBezTo>
                    <a:pt x="127" y="121"/>
                    <a:pt x="128" y="121"/>
                    <a:pt x="128" y="121"/>
                  </a:cubicBezTo>
                  <a:cubicBezTo>
                    <a:pt x="130" y="121"/>
                    <a:pt x="130" y="121"/>
                    <a:pt x="130" y="121"/>
                  </a:cubicBezTo>
                  <a:cubicBezTo>
                    <a:pt x="131" y="121"/>
                    <a:pt x="134" y="121"/>
                    <a:pt x="136" y="121"/>
                  </a:cubicBezTo>
                  <a:cubicBezTo>
                    <a:pt x="150" y="121"/>
                    <a:pt x="150" y="121"/>
                    <a:pt x="150" y="121"/>
                  </a:cubicBezTo>
                  <a:cubicBezTo>
                    <a:pt x="169" y="121"/>
                    <a:pt x="184" y="106"/>
                    <a:pt x="184" y="87"/>
                  </a:cubicBezTo>
                  <a:cubicBezTo>
                    <a:pt x="184" y="70"/>
                    <a:pt x="171" y="56"/>
                    <a:pt x="154" y="53"/>
                  </a:cubicBez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8" name="Freeform 45"/>
            <p:cNvSpPr>
              <a:spLocks/>
            </p:cNvSpPr>
            <p:nvPr/>
          </p:nvSpPr>
          <p:spPr bwMode="auto">
            <a:xfrm>
              <a:off x="7908925" y="808038"/>
              <a:ext cx="295275" cy="193675"/>
            </a:xfrm>
            <a:custGeom>
              <a:avLst/>
              <a:gdLst>
                <a:gd name="T0" fmla="*/ 112 w 133"/>
                <a:gd name="T1" fmla="*/ 38 h 87"/>
                <a:gd name="T2" fmla="*/ 112 w 133"/>
                <a:gd name="T3" fmla="*/ 36 h 87"/>
                <a:gd name="T4" fmla="*/ 75 w 133"/>
                <a:gd name="T5" fmla="*/ 0 h 87"/>
                <a:gd name="T6" fmla="*/ 45 w 133"/>
                <a:gd name="T7" fmla="*/ 16 h 87"/>
                <a:gd name="T8" fmla="*/ 35 w 133"/>
                <a:gd name="T9" fmla="*/ 13 h 87"/>
                <a:gd name="T10" fmla="*/ 23 w 133"/>
                <a:gd name="T11" fmla="*/ 17 h 87"/>
                <a:gd name="T12" fmla="*/ 14 w 133"/>
                <a:gd name="T13" fmla="*/ 34 h 87"/>
                <a:gd name="T14" fmla="*/ 0 w 133"/>
                <a:gd name="T15" fmla="*/ 58 h 87"/>
                <a:gd name="T16" fmla="*/ 26 w 133"/>
                <a:gd name="T17" fmla="*/ 87 h 87"/>
                <a:gd name="T18" fmla="*/ 29 w 133"/>
                <a:gd name="T19" fmla="*/ 87 h 87"/>
                <a:gd name="T20" fmla="*/ 32 w 133"/>
                <a:gd name="T21" fmla="*/ 87 h 87"/>
                <a:gd name="T22" fmla="*/ 92 w 133"/>
                <a:gd name="T23" fmla="*/ 87 h 87"/>
                <a:gd name="T24" fmla="*/ 93 w 133"/>
                <a:gd name="T25" fmla="*/ 87 h 87"/>
                <a:gd name="T26" fmla="*/ 95 w 133"/>
                <a:gd name="T27" fmla="*/ 87 h 87"/>
                <a:gd name="T28" fmla="*/ 99 w 133"/>
                <a:gd name="T29" fmla="*/ 87 h 87"/>
                <a:gd name="T30" fmla="*/ 108 w 133"/>
                <a:gd name="T31" fmla="*/ 87 h 87"/>
                <a:gd name="T32" fmla="*/ 133 w 133"/>
                <a:gd name="T33" fmla="*/ 62 h 87"/>
                <a:gd name="T34" fmla="*/ 112 w 133"/>
                <a:gd name="T35" fmla="*/ 38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3" h="87">
                  <a:moveTo>
                    <a:pt x="112" y="38"/>
                  </a:moveTo>
                  <a:cubicBezTo>
                    <a:pt x="112" y="37"/>
                    <a:pt x="112" y="37"/>
                    <a:pt x="112" y="36"/>
                  </a:cubicBezTo>
                  <a:cubicBezTo>
                    <a:pt x="112" y="16"/>
                    <a:pt x="96" y="0"/>
                    <a:pt x="75" y="0"/>
                  </a:cubicBezTo>
                  <a:cubicBezTo>
                    <a:pt x="63" y="0"/>
                    <a:pt x="51" y="6"/>
                    <a:pt x="45" y="16"/>
                  </a:cubicBezTo>
                  <a:cubicBezTo>
                    <a:pt x="42" y="14"/>
                    <a:pt x="39" y="13"/>
                    <a:pt x="35" y="13"/>
                  </a:cubicBezTo>
                  <a:cubicBezTo>
                    <a:pt x="30" y="13"/>
                    <a:pt x="26" y="15"/>
                    <a:pt x="23" y="17"/>
                  </a:cubicBezTo>
                  <a:cubicBezTo>
                    <a:pt x="17" y="20"/>
                    <a:pt x="14" y="27"/>
                    <a:pt x="14" y="34"/>
                  </a:cubicBezTo>
                  <a:cubicBezTo>
                    <a:pt x="6" y="39"/>
                    <a:pt x="0" y="48"/>
                    <a:pt x="0" y="58"/>
                  </a:cubicBezTo>
                  <a:cubicBezTo>
                    <a:pt x="0" y="73"/>
                    <a:pt x="12" y="85"/>
                    <a:pt x="26" y="87"/>
                  </a:cubicBezTo>
                  <a:cubicBezTo>
                    <a:pt x="27" y="87"/>
                    <a:pt x="28" y="87"/>
                    <a:pt x="29" y="87"/>
                  </a:cubicBezTo>
                  <a:cubicBezTo>
                    <a:pt x="30" y="87"/>
                    <a:pt x="31" y="87"/>
                    <a:pt x="32" y="87"/>
                  </a:cubicBezTo>
                  <a:cubicBezTo>
                    <a:pt x="46" y="87"/>
                    <a:pt x="77" y="87"/>
                    <a:pt x="92" y="87"/>
                  </a:cubicBezTo>
                  <a:cubicBezTo>
                    <a:pt x="92" y="87"/>
                    <a:pt x="93" y="87"/>
                    <a:pt x="93" y="87"/>
                  </a:cubicBezTo>
                  <a:cubicBezTo>
                    <a:pt x="95" y="87"/>
                    <a:pt x="95" y="87"/>
                    <a:pt x="95" y="87"/>
                  </a:cubicBezTo>
                  <a:cubicBezTo>
                    <a:pt x="95" y="87"/>
                    <a:pt x="98" y="87"/>
                    <a:pt x="99" y="87"/>
                  </a:cubicBezTo>
                  <a:cubicBezTo>
                    <a:pt x="108" y="87"/>
                    <a:pt x="108" y="87"/>
                    <a:pt x="108" y="87"/>
                  </a:cubicBezTo>
                  <a:cubicBezTo>
                    <a:pt x="122" y="87"/>
                    <a:pt x="133" y="76"/>
                    <a:pt x="133" y="62"/>
                  </a:cubicBezTo>
                  <a:cubicBezTo>
                    <a:pt x="133" y="50"/>
                    <a:pt x="124" y="40"/>
                    <a:pt x="112" y="38"/>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9" name="Freeform 46"/>
            <p:cNvSpPr>
              <a:spLocks/>
            </p:cNvSpPr>
            <p:nvPr/>
          </p:nvSpPr>
          <p:spPr bwMode="auto">
            <a:xfrm>
              <a:off x="7061200" y="896938"/>
              <a:ext cx="538163" cy="355600"/>
            </a:xfrm>
            <a:custGeom>
              <a:avLst/>
              <a:gdLst>
                <a:gd name="T0" fmla="*/ 203 w 242"/>
                <a:gd name="T1" fmla="*/ 70 h 160"/>
                <a:gd name="T2" fmla="*/ 203 w 242"/>
                <a:gd name="T3" fmla="*/ 67 h 160"/>
                <a:gd name="T4" fmla="*/ 136 w 242"/>
                <a:gd name="T5" fmla="*/ 0 h 160"/>
                <a:gd name="T6" fmla="*/ 81 w 242"/>
                <a:gd name="T7" fmla="*/ 30 h 160"/>
                <a:gd name="T8" fmla="*/ 62 w 242"/>
                <a:gd name="T9" fmla="*/ 25 h 160"/>
                <a:gd name="T10" fmla="*/ 24 w 242"/>
                <a:gd name="T11" fmla="*/ 63 h 160"/>
                <a:gd name="T12" fmla="*/ 0 w 242"/>
                <a:gd name="T13" fmla="*/ 107 h 160"/>
                <a:gd name="T14" fmla="*/ 46 w 242"/>
                <a:gd name="T15" fmla="*/ 160 h 160"/>
                <a:gd name="T16" fmla="*/ 52 w 242"/>
                <a:gd name="T17" fmla="*/ 160 h 160"/>
                <a:gd name="T18" fmla="*/ 57 w 242"/>
                <a:gd name="T19" fmla="*/ 160 h 160"/>
                <a:gd name="T20" fmla="*/ 166 w 242"/>
                <a:gd name="T21" fmla="*/ 160 h 160"/>
                <a:gd name="T22" fmla="*/ 171 w 242"/>
                <a:gd name="T23" fmla="*/ 160 h 160"/>
                <a:gd name="T24" fmla="*/ 179 w 242"/>
                <a:gd name="T25" fmla="*/ 160 h 160"/>
                <a:gd name="T26" fmla="*/ 197 w 242"/>
                <a:gd name="T27" fmla="*/ 160 h 160"/>
                <a:gd name="T28" fmla="*/ 242 w 242"/>
                <a:gd name="T29" fmla="*/ 115 h 160"/>
                <a:gd name="T30" fmla="*/ 203 w 242"/>
                <a:gd name="T31" fmla="*/ 7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2" h="160">
                  <a:moveTo>
                    <a:pt x="203" y="70"/>
                  </a:moveTo>
                  <a:cubicBezTo>
                    <a:pt x="203" y="69"/>
                    <a:pt x="203" y="68"/>
                    <a:pt x="203" y="67"/>
                  </a:cubicBezTo>
                  <a:cubicBezTo>
                    <a:pt x="203" y="30"/>
                    <a:pt x="173" y="0"/>
                    <a:pt x="136" y="0"/>
                  </a:cubicBezTo>
                  <a:cubicBezTo>
                    <a:pt x="113" y="0"/>
                    <a:pt x="93" y="12"/>
                    <a:pt x="81" y="30"/>
                  </a:cubicBezTo>
                  <a:cubicBezTo>
                    <a:pt x="75" y="27"/>
                    <a:pt x="69" y="25"/>
                    <a:pt x="62" y="25"/>
                  </a:cubicBezTo>
                  <a:cubicBezTo>
                    <a:pt x="41" y="25"/>
                    <a:pt x="24" y="42"/>
                    <a:pt x="24" y="63"/>
                  </a:cubicBezTo>
                  <a:cubicBezTo>
                    <a:pt x="9" y="73"/>
                    <a:pt x="0" y="89"/>
                    <a:pt x="0" y="107"/>
                  </a:cubicBezTo>
                  <a:cubicBezTo>
                    <a:pt x="0" y="135"/>
                    <a:pt x="20" y="157"/>
                    <a:pt x="46" y="160"/>
                  </a:cubicBezTo>
                  <a:cubicBezTo>
                    <a:pt x="48" y="160"/>
                    <a:pt x="50" y="160"/>
                    <a:pt x="52" y="160"/>
                  </a:cubicBezTo>
                  <a:cubicBezTo>
                    <a:pt x="54" y="160"/>
                    <a:pt x="56" y="160"/>
                    <a:pt x="57" y="160"/>
                  </a:cubicBezTo>
                  <a:cubicBezTo>
                    <a:pt x="82" y="160"/>
                    <a:pt x="139" y="160"/>
                    <a:pt x="166" y="160"/>
                  </a:cubicBezTo>
                  <a:cubicBezTo>
                    <a:pt x="171" y="160"/>
                    <a:pt x="171" y="160"/>
                    <a:pt x="171" y="160"/>
                  </a:cubicBezTo>
                  <a:cubicBezTo>
                    <a:pt x="173" y="160"/>
                    <a:pt x="177" y="160"/>
                    <a:pt x="179" y="160"/>
                  </a:cubicBezTo>
                  <a:cubicBezTo>
                    <a:pt x="197" y="160"/>
                    <a:pt x="197" y="160"/>
                    <a:pt x="197" y="160"/>
                  </a:cubicBezTo>
                  <a:cubicBezTo>
                    <a:pt x="222" y="160"/>
                    <a:pt x="242" y="139"/>
                    <a:pt x="242" y="115"/>
                  </a:cubicBezTo>
                  <a:cubicBezTo>
                    <a:pt x="242" y="92"/>
                    <a:pt x="225" y="73"/>
                    <a:pt x="203" y="70"/>
                  </a:cubicBezTo>
                </a:path>
              </a:pathLst>
            </a:custGeom>
            <a:solidFill>
              <a:srgbClr val="D9D9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0" name="Freeform 47"/>
            <p:cNvSpPr>
              <a:spLocks/>
            </p:cNvSpPr>
            <p:nvPr/>
          </p:nvSpPr>
          <p:spPr bwMode="auto">
            <a:xfrm>
              <a:off x="7593013" y="1392238"/>
              <a:ext cx="223838" cy="52388"/>
            </a:xfrm>
            <a:custGeom>
              <a:avLst/>
              <a:gdLst>
                <a:gd name="T0" fmla="*/ 73 w 101"/>
                <a:gd name="T1" fmla="*/ 0 h 23"/>
                <a:gd name="T2" fmla="*/ 55 w 101"/>
                <a:gd name="T3" fmla="*/ 5 h 23"/>
                <a:gd name="T4" fmla="*/ 36 w 101"/>
                <a:gd name="T5" fmla="*/ 0 h 23"/>
                <a:gd name="T6" fmla="*/ 0 w 101"/>
                <a:gd name="T7" fmla="*/ 23 h 23"/>
                <a:gd name="T8" fmla="*/ 36 w 101"/>
                <a:gd name="T9" fmla="*/ 9 h 23"/>
                <a:gd name="T10" fmla="*/ 49 w 101"/>
                <a:gd name="T11" fmla="*/ 11 h 23"/>
                <a:gd name="T12" fmla="*/ 45 w 101"/>
                <a:gd name="T13" fmla="*/ 18 h 23"/>
                <a:gd name="T14" fmla="*/ 53 w 101"/>
                <a:gd name="T15" fmla="*/ 12 h 23"/>
                <a:gd name="T16" fmla="*/ 61 w 101"/>
                <a:gd name="T17" fmla="*/ 9 h 23"/>
                <a:gd name="T18" fmla="*/ 73 w 101"/>
                <a:gd name="T19" fmla="*/ 7 h 23"/>
                <a:gd name="T20" fmla="*/ 101 w 101"/>
                <a:gd name="T21" fmla="*/ 18 h 23"/>
                <a:gd name="T22" fmla="*/ 73 w 101"/>
                <a:gd name="T23"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1" h="23">
                  <a:moveTo>
                    <a:pt x="73" y="0"/>
                  </a:moveTo>
                  <a:cubicBezTo>
                    <a:pt x="66" y="0"/>
                    <a:pt x="60" y="2"/>
                    <a:pt x="55" y="5"/>
                  </a:cubicBezTo>
                  <a:cubicBezTo>
                    <a:pt x="50" y="2"/>
                    <a:pt x="43" y="0"/>
                    <a:pt x="36" y="0"/>
                  </a:cubicBezTo>
                  <a:cubicBezTo>
                    <a:pt x="20" y="0"/>
                    <a:pt x="6" y="9"/>
                    <a:pt x="0" y="23"/>
                  </a:cubicBezTo>
                  <a:cubicBezTo>
                    <a:pt x="8" y="15"/>
                    <a:pt x="21" y="9"/>
                    <a:pt x="36" y="9"/>
                  </a:cubicBezTo>
                  <a:cubicBezTo>
                    <a:pt x="40" y="9"/>
                    <a:pt x="45" y="10"/>
                    <a:pt x="49" y="11"/>
                  </a:cubicBezTo>
                  <a:cubicBezTo>
                    <a:pt x="48" y="13"/>
                    <a:pt x="46" y="15"/>
                    <a:pt x="45" y="18"/>
                  </a:cubicBezTo>
                  <a:cubicBezTo>
                    <a:pt x="47" y="15"/>
                    <a:pt x="50" y="13"/>
                    <a:pt x="53" y="12"/>
                  </a:cubicBezTo>
                  <a:cubicBezTo>
                    <a:pt x="55" y="11"/>
                    <a:pt x="58" y="10"/>
                    <a:pt x="61" y="9"/>
                  </a:cubicBezTo>
                  <a:cubicBezTo>
                    <a:pt x="64" y="8"/>
                    <a:pt x="69" y="7"/>
                    <a:pt x="73" y="7"/>
                  </a:cubicBezTo>
                  <a:cubicBezTo>
                    <a:pt x="84" y="7"/>
                    <a:pt x="94" y="11"/>
                    <a:pt x="101" y="18"/>
                  </a:cubicBezTo>
                  <a:cubicBezTo>
                    <a:pt x="96" y="7"/>
                    <a:pt x="85" y="0"/>
                    <a:pt x="73" y="0"/>
                  </a:cubicBezTo>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1" name="Freeform 48"/>
            <p:cNvSpPr>
              <a:spLocks/>
            </p:cNvSpPr>
            <p:nvPr/>
          </p:nvSpPr>
          <p:spPr bwMode="auto">
            <a:xfrm>
              <a:off x="7772400" y="1301750"/>
              <a:ext cx="222250" cy="49213"/>
            </a:xfrm>
            <a:custGeom>
              <a:avLst/>
              <a:gdLst>
                <a:gd name="T0" fmla="*/ 72 w 100"/>
                <a:gd name="T1" fmla="*/ 0 h 22"/>
                <a:gd name="T2" fmla="*/ 55 w 100"/>
                <a:gd name="T3" fmla="*/ 5 h 22"/>
                <a:gd name="T4" fmla="*/ 35 w 100"/>
                <a:gd name="T5" fmla="*/ 0 h 22"/>
                <a:gd name="T6" fmla="*/ 0 w 100"/>
                <a:gd name="T7" fmla="*/ 22 h 22"/>
                <a:gd name="T8" fmla="*/ 35 w 100"/>
                <a:gd name="T9" fmla="*/ 9 h 22"/>
                <a:gd name="T10" fmla="*/ 49 w 100"/>
                <a:gd name="T11" fmla="*/ 11 h 22"/>
                <a:gd name="T12" fmla="*/ 45 w 100"/>
                <a:gd name="T13" fmla="*/ 17 h 22"/>
                <a:gd name="T14" fmla="*/ 53 w 100"/>
                <a:gd name="T15" fmla="*/ 12 h 22"/>
                <a:gd name="T16" fmla="*/ 60 w 100"/>
                <a:gd name="T17" fmla="*/ 9 h 22"/>
                <a:gd name="T18" fmla="*/ 72 w 100"/>
                <a:gd name="T19" fmla="*/ 7 h 22"/>
                <a:gd name="T20" fmla="*/ 100 w 100"/>
                <a:gd name="T21" fmla="*/ 17 h 22"/>
                <a:gd name="T22" fmla="*/ 72 w 100"/>
                <a:gd name="T23"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0" h="22">
                  <a:moveTo>
                    <a:pt x="72" y="0"/>
                  </a:moveTo>
                  <a:cubicBezTo>
                    <a:pt x="66" y="0"/>
                    <a:pt x="60" y="2"/>
                    <a:pt x="55" y="5"/>
                  </a:cubicBezTo>
                  <a:cubicBezTo>
                    <a:pt x="49" y="2"/>
                    <a:pt x="43" y="0"/>
                    <a:pt x="35" y="0"/>
                  </a:cubicBezTo>
                  <a:cubicBezTo>
                    <a:pt x="19" y="0"/>
                    <a:pt x="6" y="9"/>
                    <a:pt x="0" y="22"/>
                  </a:cubicBezTo>
                  <a:cubicBezTo>
                    <a:pt x="8" y="14"/>
                    <a:pt x="21" y="9"/>
                    <a:pt x="35" y="9"/>
                  </a:cubicBezTo>
                  <a:cubicBezTo>
                    <a:pt x="40" y="9"/>
                    <a:pt x="45" y="10"/>
                    <a:pt x="49" y="11"/>
                  </a:cubicBezTo>
                  <a:cubicBezTo>
                    <a:pt x="47" y="13"/>
                    <a:pt x="46" y="15"/>
                    <a:pt x="45" y="17"/>
                  </a:cubicBezTo>
                  <a:cubicBezTo>
                    <a:pt x="47" y="15"/>
                    <a:pt x="50" y="13"/>
                    <a:pt x="53" y="12"/>
                  </a:cubicBezTo>
                  <a:cubicBezTo>
                    <a:pt x="55" y="10"/>
                    <a:pt x="58" y="9"/>
                    <a:pt x="60" y="9"/>
                  </a:cubicBezTo>
                  <a:cubicBezTo>
                    <a:pt x="64" y="8"/>
                    <a:pt x="68" y="7"/>
                    <a:pt x="72" y="7"/>
                  </a:cubicBezTo>
                  <a:cubicBezTo>
                    <a:pt x="83" y="7"/>
                    <a:pt x="93" y="11"/>
                    <a:pt x="100" y="17"/>
                  </a:cubicBezTo>
                  <a:cubicBezTo>
                    <a:pt x="95" y="7"/>
                    <a:pt x="85" y="0"/>
                    <a:pt x="72" y="0"/>
                  </a:cubicBezTo>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2" name="Freeform 49"/>
            <p:cNvSpPr>
              <a:spLocks/>
            </p:cNvSpPr>
            <p:nvPr/>
          </p:nvSpPr>
          <p:spPr bwMode="auto">
            <a:xfrm>
              <a:off x="7877175" y="1373188"/>
              <a:ext cx="225425" cy="52388"/>
            </a:xfrm>
            <a:custGeom>
              <a:avLst/>
              <a:gdLst>
                <a:gd name="T0" fmla="*/ 73 w 101"/>
                <a:gd name="T1" fmla="*/ 0 h 24"/>
                <a:gd name="T2" fmla="*/ 56 w 101"/>
                <a:gd name="T3" fmla="*/ 6 h 24"/>
                <a:gd name="T4" fmla="*/ 36 w 101"/>
                <a:gd name="T5" fmla="*/ 0 h 24"/>
                <a:gd name="T6" fmla="*/ 0 w 101"/>
                <a:gd name="T7" fmla="*/ 24 h 24"/>
                <a:gd name="T8" fmla="*/ 36 w 101"/>
                <a:gd name="T9" fmla="*/ 10 h 24"/>
                <a:gd name="T10" fmla="*/ 49 w 101"/>
                <a:gd name="T11" fmla="*/ 12 h 24"/>
                <a:gd name="T12" fmla="*/ 45 w 101"/>
                <a:gd name="T13" fmla="*/ 19 h 24"/>
                <a:gd name="T14" fmla="*/ 53 w 101"/>
                <a:gd name="T15" fmla="*/ 13 h 24"/>
                <a:gd name="T16" fmla="*/ 61 w 101"/>
                <a:gd name="T17" fmla="*/ 9 h 24"/>
                <a:gd name="T18" fmla="*/ 73 w 101"/>
                <a:gd name="T19" fmla="*/ 8 h 24"/>
                <a:gd name="T20" fmla="*/ 101 w 101"/>
                <a:gd name="T21" fmla="*/ 19 h 24"/>
                <a:gd name="T22" fmla="*/ 73 w 101"/>
                <a:gd name="T23"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1" h="24">
                  <a:moveTo>
                    <a:pt x="73" y="0"/>
                  </a:moveTo>
                  <a:cubicBezTo>
                    <a:pt x="67" y="0"/>
                    <a:pt x="61" y="2"/>
                    <a:pt x="56" y="6"/>
                  </a:cubicBezTo>
                  <a:cubicBezTo>
                    <a:pt x="50" y="2"/>
                    <a:pt x="43" y="0"/>
                    <a:pt x="36" y="0"/>
                  </a:cubicBezTo>
                  <a:cubicBezTo>
                    <a:pt x="20" y="0"/>
                    <a:pt x="6" y="10"/>
                    <a:pt x="0" y="24"/>
                  </a:cubicBezTo>
                  <a:cubicBezTo>
                    <a:pt x="9" y="15"/>
                    <a:pt x="22" y="10"/>
                    <a:pt x="36" y="10"/>
                  </a:cubicBezTo>
                  <a:cubicBezTo>
                    <a:pt x="41" y="10"/>
                    <a:pt x="45" y="10"/>
                    <a:pt x="49" y="12"/>
                  </a:cubicBezTo>
                  <a:cubicBezTo>
                    <a:pt x="48" y="14"/>
                    <a:pt x="46" y="16"/>
                    <a:pt x="45" y="19"/>
                  </a:cubicBezTo>
                  <a:cubicBezTo>
                    <a:pt x="48" y="16"/>
                    <a:pt x="50" y="14"/>
                    <a:pt x="53" y="13"/>
                  </a:cubicBezTo>
                  <a:cubicBezTo>
                    <a:pt x="56" y="11"/>
                    <a:pt x="58" y="10"/>
                    <a:pt x="61" y="9"/>
                  </a:cubicBezTo>
                  <a:cubicBezTo>
                    <a:pt x="65" y="8"/>
                    <a:pt x="69" y="8"/>
                    <a:pt x="73" y="8"/>
                  </a:cubicBezTo>
                  <a:cubicBezTo>
                    <a:pt x="84" y="8"/>
                    <a:pt x="94" y="12"/>
                    <a:pt x="101" y="19"/>
                  </a:cubicBezTo>
                  <a:cubicBezTo>
                    <a:pt x="96" y="8"/>
                    <a:pt x="85" y="0"/>
                    <a:pt x="73" y="0"/>
                  </a:cubicBezTo>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3" name="Group 2"/>
          <p:cNvGrpSpPr/>
          <p:nvPr/>
        </p:nvGrpSpPr>
        <p:grpSpPr>
          <a:xfrm>
            <a:off x="6300458" y="6223697"/>
            <a:ext cx="1521257" cy="669759"/>
            <a:chOff x="4738358" y="6214172"/>
            <a:chExt cx="1521257" cy="669759"/>
          </a:xfrm>
        </p:grpSpPr>
        <p:grpSp>
          <p:nvGrpSpPr>
            <p:cNvPr id="149" name="Group 148"/>
            <p:cNvGrpSpPr/>
            <p:nvPr/>
          </p:nvGrpSpPr>
          <p:grpSpPr>
            <a:xfrm>
              <a:off x="4738358" y="6314741"/>
              <a:ext cx="872002" cy="536615"/>
              <a:chOff x="6670675" y="4275930"/>
              <a:chExt cx="1224064" cy="753270"/>
            </a:xfrm>
          </p:grpSpPr>
          <p:sp>
            <p:nvSpPr>
              <p:cNvPr id="230" name="Freeform 229"/>
              <p:cNvSpPr>
                <a:spLocks/>
              </p:cNvSpPr>
              <p:nvPr/>
            </p:nvSpPr>
            <p:spPr bwMode="auto">
              <a:xfrm>
                <a:off x="6670675" y="4534582"/>
                <a:ext cx="620540" cy="494617"/>
              </a:xfrm>
              <a:custGeom>
                <a:avLst/>
                <a:gdLst>
                  <a:gd name="T0" fmla="*/ 182 w 547"/>
                  <a:gd name="T1" fmla="*/ 47 h 436"/>
                  <a:gd name="T2" fmla="*/ 182 w 547"/>
                  <a:gd name="T3" fmla="*/ 0 h 436"/>
                  <a:gd name="T4" fmla="*/ 65 w 547"/>
                  <a:gd name="T5" fmla="*/ 0 h 436"/>
                  <a:gd name="T6" fmla="*/ 65 w 547"/>
                  <a:gd name="T7" fmla="*/ 47 h 436"/>
                  <a:gd name="T8" fmla="*/ 0 w 547"/>
                  <a:gd name="T9" fmla="*/ 47 h 436"/>
                  <a:gd name="T10" fmla="*/ 0 w 547"/>
                  <a:gd name="T11" fmla="*/ 59 h 436"/>
                  <a:gd name="T12" fmla="*/ 15 w 547"/>
                  <a:gd name="T13" fmla="*/ 59 h 436"/>
                  <a:gd name="T14" fmla="*/ 15 w 547"/>
                  <a:gd name="T15" fmla="*/ 436 h 436"/>
                  <a:gd name="T16" fmla="*/ 531 w 547"/>
                  <a:gd name="T17" fmla="*/ 436 h 436"/>
                  <a:gd name="T18" fmla="*/ 531 w 547"/>
                  <a:gd name="T19" fmla="*/ 59 h 436"/>
                  <a:gd name="T20" fmla="*/ 547 w 547"/>
                  <a:gd name="T21" fmla="*/ 59 h 436"/>
                  <a:gd name="T22" fmla="*/ 547 w 547"/>
                  <a:gd name="T23" fmla="*/ 47 h 436"/>
                  <a:gd name="T24" fmla="*/ 182 w 547"/>
                  <a:gd name="T25" fmla="*/ 47 h 4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7" h="436">
                    <a:moveTo>
                      <a:pt x="182" y="47"/>
                    </a:moveTo>
                    <a:lnTo>
                      <a:pt x="182" y="0"/>
                    </a:lnTo>
                    <a:lnTo>
                      <a:pt x="65" y="0"/>
                    </a:lnTo>
                    <a:lnTo>
                      <a:pt x="65" y="47"/>
                    </a:lnTo>
                    <a:lnTo>
                      <a:pt x="0" y="47"/>
                    </a:lnTo>
                    <a:lnTo>
                      <a:pt x="0" y="59"/>
                    </a:lnTo>
                    <a:lnTo>
                      <a:pt x="15" y="59"/>
                    </a:lnTo>
                    <a:lnTo>
                      <a:pt x="15" y="436"/>
                    </a:lnTo>
                    <a:lnTo>
                      <a:pt x="531" y="436"/>
                    </a:lnTo>
                    <a:lnTo>
                      <a:pt x="531" y="59"/>
                    </a:lnTo>
                    <a:lnTo>
                      <a:pt x="547" y="59"/>
                    </a:lnTo>
                    <a:lnTo>
                      <a:pt x="547" y="47"/>
                    </a:lnTo>
                    <a:lnTo>
                      <a:pt x="182" y="47"/>
                    </a:lnTo>
                    <a:close/>
                  </a:path>
                </a:pathLst>
              </a:custGeom>
              <a:solidFill>
                <a:srgbClr val="E6E6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505050"/>
                  </a:solidFill>
                  <a:effectLst/>
                  <a:uLnTx/>
                  <a:uFillTx/>
                </a:endParaRPr>
              </a:p>
            </p:txBody>
          </p:sp>
          <p:sp>
            <p:nvSpPr>
              <p:cNvPr id="231" name="Freeform 230"/>
              <p:cNvSpPr>
                <a:spLocks/>
              </p:cNvSpPr>
              <p:nvPr/>
            </p:nvSpPr>
            <p:spPr bwMode="auto">
              <a:xfrm>
                <a:off x="7363820" y="4606053"/>
                <a:ext cx="530919" cy="423147"/>
              </a:xfrm>
              <a:custGeom>
                <a:avLst/>
                <a:gdLst>
                  <a:gd name="T0" fmla="*/ 155 w 468"/>
                  <a:gd name="T1" fmla="*/ 40 h 373"/>
                  <a:gd name="T2" fmla="*/ 155 w 468"/>
                  <a:gd name="T3" fmla="*/ 0 h 373"/>
                  <a:gd name="T4" fmla="*/ 56 w 468"/>
                  <a:gd name="T5" fmla="*/ 0 h 373"/>
                  <a:gd name="T6" fmla="*/ 56 w 468"/>
                  <a:gd name="T7" fmla="*/ 40 h 373"/>
                  <a:gd name="T8" fmla="*/ 0 w 468"/>
                  <a:gd name="T9" fmla="*/ 40 h 373"/>
                  <a:gd name="T10" fmla="*/ 0 w 468"/>
                  <a:gd name="T11" fmla="*/ 50 h 373"/>
                  <a:gd name="T12" fmla="*/ 13 w 468"/>
                  <a:gd name="T13" fmla="*/ 50 h 373"/>
                  <a:gd name="T14" fmla="*/ 13 w 468"/>
                  <a:gd name="T15" fmla="*/ 373 h 373"/>
                  <a:gd name="T16" fmla="*/ 456 w 468"/>
                  <a:gd name="T17" fmla="*/ 373 h 373"/>
                  <a:gd name="T18" fmla="*/ 456 w 468"/>
                  <a:gd name="T19" fmla="*/ 50 h 373"/>
                  <a:gd name="T20" fmla="*/ 468 w 468"/>
                  <a:gd name="T21" fmla="*/ 50 h 373"/>
                  <a:gd name="T22" fmla="*/ 468 w 468"/>
                  <a:gd name="T23" fmla="*/ 40 h 373"/>
                  <a:gd name="T24" fmla="*/ 155 w 468"/>
                  <a:gd name="T25" fmla="*/ 40 h 3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8" h="373">
                    <a:moveTo>
                      <a:pt x="155" y="40"/>
                    </a:moveTo>
                    <a:lnTo>
                      <a:pt x="155" y="0"/>
                    </a:lnTo>
                    <a:lnTo>
                      <a:pt x="56" y="0"/>
                    </a:lnTo>
                    <a:lnTo>
                      <a:pt x="56" y="40"/>
                    </a:lnTo>
                    <a:lnTo>
                      <a:pt x="0" y="40"/>
                    </a:lnTo>
                    <a:lnTo>
                      <a:pt x="0" y="50"/>
                    </a:lnTo>
                    <a:lnTo>
                      <a:pt x="13" y="50"/>
                    </a:lnTo>
                    <a:lnTo>
                      <a:pt x="13" y="373"/>
                    </a:lnTo>
                    <a:lnTo>
                      <a:pt x="456" y="373"/>
                    </a:lnTo>
                    <a:lnTo>
                      <a:pt x="456" y="50"/>
                    </a:lnTo>
                    <a:lnTo>
                      <a:pt x="468" y="50"/>
                    </a:lnTo>
                    <a:lnTo>
                      <a:pt x="468" y="40"/>
                    </a:lnTo>
                    <a:lnTo>
                      <a:pt x="155" y="40"/>
                    </a:lnTo>
                    <a:close/>
                  </a:path>
                </a:pathLst>
              </a:custGeom>
              <a:solidFill>
                <a:srgbClr val="E6E6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505050"/>
                  </a:solidFill>
                  <a:effectLst/>
                  <a:uLnTx/>
                  <a:uFillTx/>
                </a:endParaRPr>
              </a:p>
            </p:txBody>
          </p:sp>
          <p:sp>
            <p:nvSpPr>
              <p:cNvPr id="232" name="Freeform 24"/>
              <p:cNvSpPr>
                <a:spLocks/>
              </p:cNvSpPr>
              <p:nvPr/>
            </p:nvSpPr>
            <p:spPr bwMode="auto">
              <a:xfrm>
                <a:off x="7016680" y="4275930"/>
                <a:ext cx="574028" cy="753270"/>
              </a:xfrm>
              <a:custGeom>
                <a:avLst/>
                <a:gdLst>
                  <a:gd name="T0" fmla="*/ 277 w 506"/>
                  <a:gd name="T1" fmla="*/ 71 h 664"/>
                  <a:gd name="T2" fmla="*/ 277 w 506"/>
                  <a:gd name="T3" fmla="*/ 0 h 664"/>
                  <a:gd name="T4" fmla="*/ 98 w 506"/>
                  <a:gd name="T5" fmla="*/ 0 h 664"/>
                  <a:gd name="T6" fmla="*/ 98 w 506"/>
                  <a:gd name="T7" fmla="*/ 71 h 664"/>
                  <a:gd name="T8" fmla="*/ 0 w 506"/>
                  <a:gd name="T9" fmla="*/ 71 h 664"/>
                  <a:gd name="T10" fmla="*/ 0 w 506"/>
                  <a:gd name="T11" fmla="*/ 89 h 664"/>
                  <a:gd name="T12" fmla="*/ 22 w 506"/>
                  <a:gd name="T13" fmla="*/ 89 h 664"/>
                  <a:gd name="T14" fmla="*/ 22 w 506"/>
                  <a:gd name="T15" fmla="*/ 664 h 664"/>
                  <a:gd name="T16" fmla="*/ 484 w 506"/>
                  <a:gd name="T17" fmla="*/ 664 h 664"/>
                  <a:gd name="T18" fmla="*/ 484 w 506"/>
                  <a:gd name="T19" fmla="*/ 89 h 664"/>
                  <a:gd name="T20" fmla="*/ 506 w 506"/>
                  <a:gd name="T21" fmla="*/ 89 h 664"/>
                  <a:gd name="T22" fmla="*/ 506 w 506"/>
                  <a:gd name="T23" fmla="*/ 71 h 664"/>
                  <a:gd name="T24" fmla="*/ 277 w 506"/>
                  <a:gd name="T25" fmla="*/ 71 h 6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06" h="664">
                    <a:moveTo>
                      <a:pt x="277" y="71"/>
                    </a:moveTo>
                    <a:lnTo>
                      <a:pt x="277" y="0"/>
                    </a:lnTo>
                    <a:lnTo>
                      <a:pt x="98" y="0"/>
                    </a:lnTo>
                    <a:lnTo>
                      <a:pt x="98" y="71"/>
                    </a:lnTo>
                    <a:lnTo>
                      <a:pt x="0" y="71"/>
                    </a:lnTo>
                    <a:lnTo>
                      <a:pt x="0" y="89"/>
                    </a:lnTo>
                    <a:lnTo>
                      <a:pt x="22" y="89"/>
                    </a:lnTo>
                    <a:lnTo>
                      <a:pt x="22" y="664"/>
                    </a:lnTo>
                    <a:lnTo>
                      <a:pt x="484" y="664"/>
                    </a:lnTo>
                    <a:lnTo>
                      <a:pt x="484" y="89"/>
                    </a:lnTo>
                    <a:lnTo>
                      <a:pt x="506" y="89"/>
                    </a:lnTo>
                    <a:lnTo>
                      <a:pt x="506" y="71"/>
                    </a:lnTo>
                    <a:lnTo>
                      <a:pt x="277" y="71"/>
                    </a:lnTo>
                    <a:close/>
                  </a:path>
                </a:pathLst>
              </a:custGeom>
              <a:solidFill>
                <a:srgbClr val="008D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505050"/>
                  </a:solidFill>
                  <a:effectLst/>
                  <a:uLnTx/>
                  <a:uFillTx/>
                </a:endParaRPr>
              </a:p>
            </p:txBody>
          </p:sp>
          <p:sp>
            <p:nvSpPr>
              <p:cNvPr id="233" name="Rectangle 25"/>
              <p:cNvSpPr>
                <a:spLocks noChangeArrowheads="1"/>
              </p:cNvSpPr>
              <p:nvPr/>
            </p:nvSpPr>
            <p:spPr bwMode="auto">
              <a:xfrm>
                <a:off x="7330920" y="4897604"/>
                <a:ext cx="68067" cy="131595"/>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505050"/>
                  </a:solidFill>
                  <a:effectLst/>
                  <a:uLnTx/>
                  <a:uFillTx/>
                </a:endParaRPr>
              </a:p>
            </p:txBody>
          </p:sp>
          <p:sp>
            <p:nvSpPr>
              <p:cNvPr id="234" name="Rectangle 26"/>
              <p:cNvSpPr>
                <a:spLocks noChangeArrowheads="1"/>
              </p:cNvSpPr>
              <p:nvPr/>
            </p:nvSpPr>
            <p:spPr bwMode="auto">
              <a:xfrm>
                <a:off x="7211804" y="4897604"/>
                <a:ext cx="68067" cy="131595"/>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505050"/>
                  </a:solidFill>
                  <a:effectLst/>
                  <a:uLnTx/>
                  <a:uFillTx/>
                </a:endParaRPr>
              </a:p>
            </p:txBody>
          </p:sp>
          <p:sp>
            <p:nvSpPr>
              <p:cNvPr id="235" name="Rectangle 27"/>
              <p:cNvSpPr>
                <a:spLocks noChangeArrowheads="1"/>
              </p:cNvSpPr>
              <p:nvPr/>
            </p:nvSpPr>
            <p:spPr bwMode="auto">
              <a:xfrm>
                <a:off x="7093822" y="4435886"/>
                <a:ext cx="422013" cy="66932"/>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505050"/>
                  </a:solidFill>
                  <a:effectLst/>
                  <a:uLnTx/>
                  <a:uFillTx/>
                </a:endParaRPr>
              </a:p>
            </p:txBody>
          </p:sp>
          <p:sp>
            <p:nvSpPr>
              <p:cNvPr id="236" name="Rectangle 28"/>
              <p:cNvSpPr>
                <a:spLocks noChangeArrowheads="1"/>
              </p:cNvSpPr>
              <p:nvPr/>
            </p:nvSpPr>
            <p:spPr bwMode="auto">
              <a:xfrm>
                <a:off x="7093822" y="4553868"/>
                <a:ext cx="422013" cy="65798"/>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505050"/>
                  </a:solidFill>
                  <a:effectLst/>
                  <a:uLnTx/>
                  <a:uFillTx/>
                </a:endParaRPr>
              </a:p>
            </p:txBody>
          </p:sp>
          <p:sp>
            <p:nvSpPr>
              <p:cNvPr id="237" name="Rectangle 29"/>
              <p:cNvSpPr>
                <a:spLocks noChangeArrowheads="1"/>
              </p:cNvSpPr>
              <p:nvPr/>
            </p:nvSpPr>
            <p:spPr bwMode="auto">
              <a:xfrm>
                <a:off x="7093822" y="4670716"/>
                <a:ext cx="422013" cy="68067"/>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505050"/>
                  </a:solidFill>
                  <a:effectLst/>
                  <a:uLnTx/>
                  <a:uFillTx/>
                </a:endParaRPr>
              </a:p>
            </p:txBody>
          </p:sp>
          <p:sp>
            <p:nvSpPr>
              <p:cNvPr id="238" name="Rectangle 30"/>
              <p:cNvSpPr>
                <a:spLocks noChangeArrowheads="1"/>
              </p:cNvSpPr>
              <p:nvPr/>
            </p:nvSpPr>
            <p:spPr bwMode="auto">
              <a:xfrm>
                <a:off x="7093822" y="4788698"/>
                <a:ext cx="422013" cy="68067"/>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505050"/>
                  </a:solidFill>
                  <a:effectLst/>
                  <a:uLnTx/>
                  <a:uFillTx/>
                </a:endParaRPr>
              </a:p>
            </p:txBody>
          </p:sp>
        </p:grpSp>
        <p:sp>
          <p:nvSpPr>
            <p:cNvPr id="168" name="Freeform 63"/>
            <p:cNvSpPr>
              <a:spLocks/>
            </p:cNvSpPr>
            <p:nvPr/>
          </p:nvSpPr>
          <p:spPr bwMode="auto">
            <a:xfrm>
              <a:off x="5874409" y="6553446"/>
              <a:ext cx="385206" cy="325703"/>
            </a:xfrm>
            <a:custGeom>
              <a:avLst/>
              <a:gdLst>
                <a:gd name="T0" fmla="*/ 166 w 369"/>
                <a:gd name="T1" fmla="*/ 53 h 312"/>
                <a:gd name="T2" fmla="*/ 166 w 369"/>
                <a:gd name="T3" fmla="*/ 0 h 312"/>
                <a:gd name="T4" fmla="*/ 126 w 369"/>
                <a:gd name="T5" fmla="*/ 0 h 312"/>
                <a:gd name="T6" fmla="*/ 126 w 369"/>
                <a:gd name="T7" fmla="*/ 53 h 312"/>
                <a:gd name="T8" fmla="*/ 112 w 369"/>
                <a:gd name="T9" fmla="*/ 53 h 312"/>
                <a:gd name="T10" fmla="*/ 112 w 369"/>
                <a:gd name="T11" fmla="*/ 0 h 312"/>
                <a:gd name="T12" fmla="*/ 73 w 369"/>
                <a:gd name="T13" fmla="*/ 0 h 312"/>
                <a:gd name="T14" fmla="*/ 73 w 369"/>
                <a:gd name="T15" fmla="*/ 53 h 312"/>
                <a:gd name="T16" fmla="*/ 0 w 369"/>
                <a:gd name="T17" fmla="*/ 53 h 312"/>
                <a:gd name="T18" fmla="*/ 0 w 369"/>
                <a:gd name="T19" fmla="*/ 65 h 312"/>
                <a:gd name="T20" fmla="*/ 17 w 369"/>
                <a:gd name="T21" fmla="*/ 65 h 312"/>
                <a:gd name="T22" fmla="*/ 17 w 369"/>
                <a:gd name="T23" fmla="*/ 312 h 312"/>
                <a:gd name="T24" fmla="*/ 353 w 369"/>
                <a:gd name="T25" fmla="*/ 312 h 312"/>
                <a:gd name="T26" fmla="*/ 353 w 369"/>
                <a:gd name="T27" fmla="*/ 65 h 312"/>
                <a:gd name="T28" fmla="*/ 369 w 369"/>
                <a:gd name="T29" fmla="*/ 65 h 312"/>
                <a:gd name="T30" fmla="*/ 369 w 369"/>
                <a:gd name="T31" fmla="*/ 53 h 312"/>
                <a:gd name="T32" fmla="*/ 166 w 369"/>
                <a:gd name="T33" fmla="*/ 53 h 3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69" h="312">
                  <a:moveTo>
                    <a:pt x="166" y="53"/>
                  </a:moveTo>
                  <a:lnTo>
                    <a:pt x="166" y="0"/>
                  </a:lnTo>
                  <a:lnTo>
                    <a:pt x="126" y="0"/>
                  </a:lnTo>
                  <a:lnTo>
                    <a:pt x="126" y="53"/>
                  </a:lnTo>
                  <a:lnTo>
                    <a:pt x="112" y="53"/>
                  </a:lnTo>
                  <a:lnTo>
                    <a:pt x="112" y="0"/>
                  </a:lnTo>
                  <a:lnTo>
                    <a:pt x="73" y="0"/>
                  </a:lnTo>
                  <a:lnTo>
                    <a:pt x="73" y="53"/>
                  </a:lnTo>
                  <a:lnTo>
                    <a:pt x="0" y="53"/>
                  </a:lnTo>
                  <a:lnTo>
                    <a:pt x="0" y="65"/>
                  </a:lnTo>
                  <a:lnTo>
                    <a:pt x="17" y="65"/>
                  </a:lnTo>
                  <a:lnTo>
                    <a:pt x="17" y="312"/>
                  </a:lnTo>
                  <a:lnTo>
                    <a:pt x="353" y="312"/>
                  </a:lnTo>
                  <a:lnTo>
                    <a:pt x="353" y="65"/>
                  </a:lnTo>
                  <a:lnTo>
                    <a:pt x="369" y="65"/>
                  </a:lnTo>
                  <a:lnTo>
                    <a:pt x="369" y="53"/>
                  </a:lnTo>
                  <a:lnTo>
                    <a:pt x="166" y="53"/>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505050"/>
                </a:solidFill>
                <a:effectLst/>
                <a:uLnTx/>
                <a:uFillTx/>
              </a:endParaRPr>
            </a:p>
          </p:txBody>
        </p:sp>
        <p:grpSp>
          <p:nvGrpSpPr>
            <p:cNvPr id="244" name="Group 243"/>
            <p:cNvGrpSpPr/>
            <p:nvPr/>
          </p:nvGrpSpPr>
          <p:grpSpPr>
            <a:xfrm>
              <a:off x="5408821" y="6368371"/>
              <a:ext cx="648274" cy="508389"/>
              <a:chOff x="5408821" y="6245296"/>
              <a:chExt cx="648274" cy="508389"/>
            </a:xfrm>
          </p:grpSpPr>
          <p:sp>
            <p:nvSpPr>
              <p:cNvPr id="167" name="Freeform 62"/>
              <p:cNvSpPr>
                <a:spLocks/>
              </p:cNvSpPr>
              <p:nvPr/>
            </p:nvSpPr>
            <p:spPr bwMode="auto">
              <a:xfrm>
                <a:off x="5670845" y="6427982"/>
                <a:ext cx="386250" cy="325703"/>
              </a:xfrm>
              <a:custGeom>
                <a:avLst/>
                <a:gdLst>
                  <a:gd name="T0" fmla="*/ 167 w 370"/>
                  <a:gd name="T1" fmla="*/ 53 h 312"/>
                  <a:gd name="T2" fmla="*/ 167 w 370"/>
                  <a:gd name="T3" fmla="*/ 0 h 312"/>
                  <a:gd name="T4" fmla="*/ 126 w 370"/>
                  <a:gd name="T5" fmla="*/ 0 h 312"/>
                  <a:gd name="T6" fmla="*/ 126 w 370"/>
                  <a:gd name="T7" fmla="*/ 53 h 312"/>
                  <a:gd name="T8" fmla="*/ 112 w 370"/>
                  <a:gd name="T9" fmla="*/ 53 h 312"/>
                  <a:gd name="T10" fmla="*/ 112 w 370"/>
                  <a:gd name="T11" fmla="*/ 0 h 312"/>
                  <a:gd name="T12" fmla="*/ 72 w 370"/>
                  <a:gd name="T13" fmla="*/ 0 h 312"/>
                  <a:gd name="T14" fmla="*/ 72 w 370"/>
                  <a:gd name="T15" fmla="*/ 53 h 312"/>
                  <a:gd name="T16" fmla="*/ 0 w 370"/>
                  <a:gd name="T17" fmla="*/ 53 h 312"/>
                  <a:gd name="T18" fmla="*/ 0 w 370"/>
                  <a:gd name="T19" fmla="*/ 65 h 312"/>
                  <a:gd name="T20" fmla="*/ 17 w 370"/>
                  <a:gd name="T21" fmla="*/ 65 h 312"/>
                  <a:gd name="T22" fmla="*/ 17 w 370"/>
                  <a:gd name="T23" fmla="*/ 312 h 312"/>
                  <a:gd name="T24" fmla="*/ 353 w 370"/>
                  <a:gd name="T25" fmla="*/ 312 h 312"/>
                  <a:gd name="T26" fmla="*/ 353 w 370"/>
                  <a:gd name="T27" fmla="*/ 65 h 312"/>
                  <a:gd name="T28" fmla="*/ 370 w 370"/>
                  <a:gd name="T29" fmla="*/ 65 h 312"/>
                  <a:gd name="T30" fmla="*/ 370 w 370"/>
                  <a:gd name="T31" fmla="*/ 53 h 312"/>
                  <a:gd name="T32" fmla="*/ 167 w 370"/>
                  <a:gd name="T33" fmla="*/ 53 h 3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70" h="312">
                    <a:moveTo>
                      <a:pt x="167" y="53"/>
                    </a:moveTo>
                    <a:lnTo>
                      <a:pt x="167" y="0"/>
                    </a:lnTo>
                    <a:lnTo>
                      <a:pt x="126" y="0"/>
                    </a:lnTo>
                    <a:lnTo>
                      <a:pt x="126" y="53"/>
                    </a:lnTo>
                    <a:lnTo>
                      <a:pt x="112" y="53"/>
                    </a:lnTo>
                    <a:lnTo>
                      <a:pt x="112" y="0"/>
                    </a:lnTo>
                    <a:lnTo>
                      <a:pt x="72" y="0"/>
                    </a:lnTo>
                    <a:lnTo>
                      <a:pt x="72" y="53"/>
                    </a:lnTo>
                    <a:lnTo>
                      <a:pt x="0" y="53"/>
                    </a:lnTo>
                    <a:lnTo>
                      <a:pt x="0" y="65"/>
                    </a:lnTo>
                    <a:lnTo>
                      <a:pt x="17" y="65"/>
                    </a:lnTo>
                    <a:lnTo>
                      <a:pt x="17" y="312"/>
                    </a:lnTo>
                    <a:lnTo>
                      <a:pt x="353" y="312"/>
                    </a:lnTo>
                    <a:lnTo>
                      <a:pt x="353" y="65"/>
                    </a:lnTo>
                    <a:lnTo>
                      <a:pt x="370" y="65"/>
                    </a:lnTo>
                    <a:lnTo>
                      <a:pt x="370" y="53"/>
                    </a:lnTo>
                    <a:lnTo>
                      <a:pt x="167" y="53"/>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505050"/>
                  </a:solidFill>
                  <a:effectLst/>
                  <a:uLnTx/>
                  <a:uFillTx/>
                </a:endParaRPr>
              </a:p>
            </p:txBody>
          </p:sp>
          <p:sp>
            <p:nvSpPr>
              <p:cNvPr id="169" name="Rectangle 65"/>
              <p:cNvSpPr>
                <a:spLocks noChangeArrowheads="1"/>
              </p:cNvSpPr>
              <p:nvPr/>
            </p:nvSpPr>
            <p:spPr bwMode="auto">
              <a:xfrm>
                <a:off x="5425524" y="6313151"/>
                <a:ext cx="349713" cy="440534"/>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505050"/>
                  </a:solidFill>
                  <a:effectLst/>
                  <a:uLnTx/>
                  <a:uFillTx/>
                </a:endParaRPr>
              </a:p>
            </p:txBody>
          </p:sp>
          <p:sp>
            <p:nvSpPr>
              <p:cNvPr id="170" name="Rectangle 66"/>
              <p:cNvSpPr>
                <a:spLocks noChangeArrowheads="1"/>
              </p:cNvSpPr>
              <p:nvPr/>
            </p:nvSpPr>
            <p:spPr bwMode="auto">
              <a:xfrm>
                <a:off x="5408821" y="6300624"/>
                <a:ext cx="384162" cy="12527"/>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505050"/>
                  </a:solidFill>
                  <a:effectLst/>
                  <a:uLnTx/>
                  <a:uFillTx/>
                </a:endParaRPr>
              </a:p>
            </p:txBody>
          </p:sp>
          <p:sp>
            <p:nvSpPr>
              <p:cNvPr id="171" name="Rectangle 67"/>
              <p:cNvSpPr>
                <a:spLocks noChangeArrowheads="1"/>
              </p:cNvSpPr>
              <p:nvPr/>
            </p:nvSpPr>
            <p:spPr bwMode="auto">
              <a:xfrm>
                <a:off x="5457886" y="6352820"/>
                <a:ext cx="45932" cy="46976"/>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505050"/>
                  </a:solidFill>
                  <a:effectLst/>
                  <a:uLnTx/>
                  <a:uFillTx/>
                </a:endParaRPr>
              </a:p>
            </p:txBody>
          </p:sp>
          <p:sp>
            <p:nvSpPr>
              <p:cNvPr id="172" name="Rectangle 68"/>
              <p:cNvSpPr>
                <a:spLocks noChangeArrowheads="1"/>
              </p:cNvSpPr>
              <p:nvPr/>
            </p:nvSpPr>
            <p:spPr bwMode="auto">
              <a:xfrm>
                <a:off x="5457886" y="6352820"/>
                <a:ext cx="45932" cy="2401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505050"/>
                  </a:solidFill>
                  <a:effectLst/>
                  <a:uLnTx/>
                  <a:uFillTx/>
                </a:endParaRPr>
              </a:p>
            </p:txBody>
          </p:sp>
          <p:sp>
            <p:nvSpPr>
              <p:cNvPr id="173" name="Rectangle 69"/>
              <p:cNvSpPr>
                <a:spLocks noChangeArrowheads="1"/>
              </p:cNvSpPr>
              <p:nvPr/>
            </p:nvSpPr>
            <p:spPr bwMode="auto">
              <a:xfrm>
                <a:off x="5537223" y="6352820"/>
                <a:ext cx="44889" cy="46976"/>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505050"/>
                  </a:solidFill>
                  <a:effectLst/>
                  <a:uLnTx/>
                  <a:uFillTx/>
                </a:endParaRPr>
              </a:p>
            </p:txBody>
          </p:sp>
          <p:sp>
            <p:nvSpPr>
              <p:cNvPr id="174" name="Rectangle 70"/>
              <p:cNvSpPr>
                <a:spLocks noChangeArrowheads="1"/>
              </p:cNvSpPr>
              <p:nvPr/>
            </p:nvSpPr>
            <p:spPr bwMode="auto">
              <a:xfrm>
                <a:off x="5615517" y="6352820"/>
                <a:ext cx="46977" cy="46976"/>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505050"/>
                  </a:solidFill>
                  <a:effectLst/>
                  <a:uLnTx/>
                  <a:uFillTx/>
                </a:endParaRPr>
              </a:p>
            </p:txBody>
          </p:sp>
          <p:sp>
            <p:nvSpPr>
              <p:cNvPr id="175" name="Rectangle 71"/>
              <p:cNvSpPr>
                <a:spLocks noChangeArrowheads="1"/>
              </p:cNvSpPr>
              <p:nvPr/>
            </p:nvSpPr>
            <p:spPr bwMode="auto">
              <a:xfrm>
                <a:off x="5537223" y="6663908"/>
                <a:ext cx="44889" cy="89777"/>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505050"/>
                  </a:solidFill>
                  <a:effectLst/>
                  <a:uLnTx/>
                  <a:uFillTx/>
                </a:endParaRPr>
              </a:p>
            </p:txBody>
          </p:sp>
          <p:sp>
            <p:nvSpPr>
              <p:cNvPr id="176" name="Rectangle 72"/>
              <p:cNvSpPr>
                <a:spLocks noChangeArrowheads="1"/>
              </p:cNvSpPr>
              <p:nvPr/>
            </p:nvSpPr>
            <p:spPr bwMode="auto">
              <a:xfrm>
                <a:off x="5615517" y="6663908"/>
                <a:ext cx="46977" cy="89777"/>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505050"/>
                  </a:solidFill>
                  <a:effectLst/>
                  <a:uLnTx/>
                  <a:uFillTx/>
                </a:endParaRPr>
              </a:p>
            </p:txBody>
          </p:sp>
          <p:sp>
            <p:nvSpPr>
              <p:cNvPr id="177" name="Rectangle 73"/>
              <p:cNvSpPr>
                <a:spLocks noChangeArrowheads="1"/>
              </p:cNvSpPr>
              <p:nvPr/>
            </p:nvSpPr>
            <p:spPr bwMode="auto">
              <a:xfrm>
                <a:off x="5695899" y="6352820"/>
                <a:ext cx="45932" cy="46976"/>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505050"/>
                  </a:solidFill>
                  <a:effectLst/>
                  <a:uLnTx/>
                  <a:uFillTx/>
                </a:endParaRPr>
              </a:p>
            </p:txBody>
          </p:sp>
          <p:sp>
            <p:nvSpPr>
              <p:cNvPr id="178" name="Rectangle 74"/>
              <p:cNvSpPr>
                <a:spLocks noChangeArrowheads="1"/>
              </p:cNvSpPr>
              <p:nvPr/>
            </p:nvSpPr>
            <p:spPr bwMode="auto">
              <a:xfrm>
                <a:off x="5457886" y="6432158"/>
                <a:ext cx="45932" cy="46976"/>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505050"/>
                  </a:solidFill>
                  <a:effectLst/>
                  <a:uLnTx/>
                  <a:uFillTx/>
                </a:endParaRPr>
              </a:p>
            </p:txBody>
          </p:sp>
          <p:sp>
            <p:nvSpPr>
              <p:cNvPr id="179" name="Rectangle 75"/>
              <p:cNvSpPr>
                <a:spLocks noChangeArrowheads="1"/>
              </p:cNvSpPr>
              <p:nvPr/>
            </p:nvSpPr>
            <p:spPr bwMode="auto">
              <a:xfrm>
                <a:off x="5537223" y="6432158"/>
                <a:ext cx="44889" cy="46976"/>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505050"/>
                  </a:solidFill>
                  <a:effectLst/>
                  <a:uLnTx/>
                  <a:uFillTx/>
                </a:endParaRPr>
              </a:p>
            </p:txBody>
          </p:sp>
          <p:sp>
            <p:nvSpPr>
              <p:cNvPr id="180" name="Rectangle 76"/>
              <p:cNvSpPr>
                <a:spLocks noChangeArrowheads="1"/>
              </p:cNvSpPr>
              <p:nvPr/>
            </p:nvSpPr>
            <p:spPr bwMode="auto">
              <a:xfrm>
                <a:off x="5615517" y="6432158"/>
                <a:ext cx="46977" cy="46976"/>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505050"/>
                  </a:solidFill>
                  <a:effectLst/>
                  <a:uLnTx/>
                  <a:uFillTx/>
                </a:endParaRPr>
              </a:p>
            </p:txBody>
          </p:sp>
          <p:sp>
            <p:nvSpPr>
              <p:cNvPr id="181" name="Rectangle 77"/>
              <p:cNvSpPr>
                <a:spLocks noChangeArrowheads="1"/>
              </p:cNvSpPr>
              <p:nvPr/>
            </p:nvSpPr>
            <p:spPr bwMode="auto">
              <a:xfrm>
                <a:off x="5695899" y="6432158"/>
                <a:ext cx="45932" cy="46976"/>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505050"/>
                  </a:solidFill>
                  <a:effectLst/>
                  <a:uLnTx/>
                  <a:uFillTx/>
                </a:endParaRPr>
              </a:p>
            </p:txBody>
          </p:sp>
          <p:sp>
            <p:nvSpPr>
              <p:cNvPr id="182" name="Rectangle 78"/>
              <p:cNvSpPr>
                <a:spLocks noChangeArrowheads="1"/>
              </p:cNvSpPr>
              <p:nvPr/>
            </p:nvSpPr>
            <p:spPr bwMode="auto">
              <a:xfrm>
                <a:off x="5457886" y="6512539"/>
                <a:ext cx="45932" cy="448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505050"/>
                  </a:solidFill>
                  <a:effectLst/>
                  <a:uLnTx/>
                  <a:uFillTx/>
                </a:endParaRPr>
              </a:p>
            </p:txBody>
          </p:sp>
          <p:sp>
            <p:nvSpPr>
              <p:cNvPr id="183" name="Rectangle 79"/>
              <p:cNvSpPr>
                <a:spLocks noChangeArrowheads="1"/>
              </p:cNvSpPr>
              <p:nvPr/>
            </p:nvSpPr>
            <p:spPr bwMode="auto">
              <a:xfrm>
                <a:off x="5537223" y="6512539"/>
                <a:ext cx="44889" cy="448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505050"/>
                  </a:solidFill>
                  <a:effectLst/>
                  <a:uLnTx/>
                  <a:uFillTx/>
                </a:endParaRPr>
              </a:p>
            </p:txBody>
          </p:sp>
          <p:sp>
            <p:nvSpPr>
              <p:cNvPr id="184" name="Rectangle 80"/>
              <p:cNvSpPr>
                <a:spLocks noChangeArrowheads="1"/>
              </p:cNvSpPr>
              <p:nvPr/>
            </p:nvSpPr>
            <p:spPr bwMode="auto">
              <a:xfrm>
                <a:off x="5615517" y="6512539"/>
                <a:ext cx="46977" cy="4488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505050"/>
                  </a:solidFill>
                  <a:effectLst/>
                  <a:uLnTx/>
                  <a:uFillTx/>
                </a:endParaRPr>
              </a:p>
            </p:txBody>
          </p:sp>
          <p:sp>
            <p:nvSpPr>
              <p:cNvPr id="185" name="Rectangle 81"/>
              <p:cNvSpPr>
                <a:spLocks noChangeArrowheads="1"/>
              </p:cNvSpPr>
              <p:nvPr/>
            </p:nvSpPr>
            <p:spPr bwMode="auto">
              <a:xfrm>
                <a:off x="5695899" y="6512539"/>
                <a:ext cx="45932" cy="448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505050"/>
                  </a:solidFill>
                  <a:effectLst/>
                  <a:uLnTx/>
                  <a:uFillTx/>
                </a:endParaRPr>
              </a:p>
            </p:txBody>
          </p:sp>
          <p:sp>
            <p:nvSpPr>
              <p:cNvPr id="186" name="Rectangle 82"/>
              <p:cNvSpPr>
                <a:spLocks noChangeArrowheads="1"/>
              </p:cNvSpPr>
              <p:nvPr/>
            </p:nvSpPr>
            <p:spPr bwMode="auto">
              <a:xfrm>
                <a:off x="5457886" y="6590834"/>
                <a:ext cx="45932" cy="45932"/>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505050"/>
                  </a:solidFill>
                  <a:effectLst/>
                  <a:uLnTx/>
                  <a:uFillTx/>
                </a:endParaRPr>
              </a:p>
            </p:txBody>
          </p:sp>
          <p:sp>
            <p:nvSpPr>
              <p:cNvPr id="187" name="Rectangle 83"/>
              <p:cNvSpPr>
                <a:spLocks noChangeArrowheads="1"/>
              </p:cNvSpPr>
              <p:nvPr/>
            </p:nvSpPr>
            <p:spPr bwMode="auto">
              <a:xfrm>
                <a:off x="5537223" y="6590834"/>
                <a:ext cx="44889" cy="45932"/>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505050"/>
                  </a:solidFill>
                  <a:effectLst/>
                  <a:uLnTx/>
                  <a:uFillTx/>
                </a:endParaRPr>
              </a:p>
            </p:txBody>
          </p:sp>
          <p:sp>
            <p:nvSpPr>
              <p:cNvPr id="188" name="Rectangle 84"/>
              <p:cNvSpPr>
                <a:spLocks noChangeArrowheads="1"/>
              </p:cNvSpPr>
              <p:nvPr/>
            </p:nvSpPr>
            <p:spPr bwMode="auto">
              <a:xfrm>
                <a:off x="5615517" y="6590834"/>
                <a:ext cx="46977" cy="45932"/>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505050"/>
                  </a:solidFill>
                  <a:effectLst/>
                  <a:uLnTx/>
                  <a:uFillTx/>
                </a:endParaRPr>
              </a:p>
            </p:txBody>
          </p:sp>
          <p:sp>
            <p:nvSpPr>
              <p:cNvPr id="189" name="Rectangle 85"/>
              <p:cNvSpPr>
                <a:spLocks noChangeArrowheads="1"/>
              </p:cNvSpPr>
              <p:nvPr/>
            </p:nvSpPr>
            <p:spPr bwMode="auto">
              <a:xfrm>
                <a:off x="5695899" y="6590834"/>
                <a:ext cx="45932" cy="45932"/>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505050"/>
                  </a:solidFill>
                  <a:effectLst/>
                  <a:uLnTx/>
                  <a:uFillTx/>
                </a:endParaRPr>
              </a:p>
            </p:txBody>
          </p:sp>
          <p:sp>
            <p:nvSpPr>
              <p:cNvPr id="190" name="Rectangle 86"/>
              <p:cNvSpPr>
                <a:spLocks noChangeArrowheads="1"/>
              </p:cNvSpPr>
              <p:nvPr/>
            </p:nvSpPr>
            <p:spPr bwMode="auto">
              <a:xfrm>
                <a:off x="5457886" y="6512539"/>
                <a:ext cx="45932" cy="21922"/>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505050"/>
                  </a:solidFill>
                  <a:effectLst/>
                  <a:uLnTx/>
                  <a:uFillTx/>
                </a:endParaRPr>
              </a:p>
            </p:txBody>
          </p:sp>
          <p:sp>
            <p:nvSpPr>
              <p:cNvPr id="191" name="Rectangle 87"/>
              <p:cNvSpPr>
                <a:spLocks noChangeArrowheads="1"/>
              </p:cNvSpPr>
              <p:nvPr/>
            </p:nvSpPr>
            <p:spPr bwMode="auto">
              <a:xfrm>
                <a:off x="5695899" y="6512539"/>
                <a:ext cx="45932" cy="21922"/>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505050"/>
                  </a:solidFill>
                  <a:effectLst/>
                  <a:uLnTx/>
                  <a:uFillTx/>
                </a:endParaRPr>
              </a:p>
            </p:txBody>
          </p:sp>
          <p:sp>
            <p:nvSpPr>
              <p:cNvPr id="192" name="Rectangle 88"/>
              <p:cNvSpPr>
                <a:spLocks noChangeArrowheads="1"/>
              </p:cNvSpPr>
              <p:nvPr/>
            </p:nvSpPr>
            <p:spPr bwMode="auto">
              <a:xfrm>
                <a:off x="5695899" y="6432158"/>
                <a:ext cx="45932" cy="22966"/>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505050"/>
                  </a:solidFill>
                  <a:effectLst/>
                  <a:uLnTx/>
                  <a:uFillTx/>
                </a:endParaRPr>
              </a:p>
            </p:txBody>
          </p:sp>
          <p:sp>
            <p:nvSpPr>
              <p:cNvPr id="193" name="Rectangle 96"/>
              <p:cNvSpPr>
                <a:spLocks noChangeArrowheads="1"/>
              </p:cNvSpPr>
              <p:nvPr/>
            </p:nvSpPr>
            <p:spPr bwMode="auto">
              <a:xfrm>
                <a:off x="5582111" y="6245296"/>
                <a:ext cx="135709" cy="55327"/>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505050"/>
                  </a:solidFill>
                  <a:effectLst/>
                  <a:uLnTx/>
                  <a:uFillTx/>
                </a:endParaRPr>
              </a:p>
            </p:txBody>
          </p:sp>
        </p:grpSp>
        <p:sp>
          <p:nvSpPr>
            <p:cNvPr id="194" name="Rectangle 112"/>
            <p:cNvSpPr>
              <a:spLocks noChangeArrowheads="1"/>
            </p:cNvSpPr>
            <p:nvPr/>
          </p:nvSpPr>
          <p:spPr bwMode="auto">
            <a:xfrm>
              <a:off x="5833219" y="6287853"/>
              <a:ext cx="349713" cy="596078"/>
            </a:xfrm>
            <a:prstGeom prst="rect">
              <a:avLst/>
            </a:prstGeom>
            <a:solidFill>
              <a:srgbClr val="0A5BB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505050"/>
                </a:solidFill>
                <a:effectLst/>
                <a:uLnTx/>
                <a:uFillTx/>
              </a:endParaRPr>
            </a:p>
          </p:txBody>
        </p:sp>
        <p:sp>
          <p:nvSpPr>
            <p:cNvPr id="195" name="Rectangle 113"/>
            <p:cNvSpPr>
              <a:spLocks noChangeArrowheads="1"/>
            </p:cNvSpPr>
            <p:nvPr/>
          </p:nvSpPr>
          <p:spPr bwMode="auto">
            <a:xfrm>
              <a:off x="5813705" y="6268456"/>
              <a:ext cx="384161" cy="14614"/>
            </a:xfrm>
            <a:prstGeom prst="rect">
              <a:avLst/>
            </a:prstGeom>
            <a:solidFill>
              <a:srgbClr val="002050">
                <a:lumMod val="90000"/>
                <a:lumOff val="1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505050"/>
                </a:solidFill>
                <a:effectLst/>
                <a:uLnTx/>
                <a:uFillTx/>
              </a:endParaRPr>
            </a:p>
          </p:txBody>
        </p:sp>
        <p:sp>
          <p:nvSpPr>
            <p:cNvPr id="196" name="Rectangle 114"/>
            <p:cNvSpPr>
              <a:spLocks noChangeArrowheads="1"/>
            </p:cNvSpPr>
            <p:nvPr/>
          </p:nvSpPr>
          <p:spPr bwMode="auto">
            <a:xfrm>
              <a:off x="5885892" y="6478284"/>
              <a:ext cx="45932" cy="46976"/>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505050"/>
                </a:solidFill>
                <a:effectLst/>
                <a:uLnTx/>
                <a:uFillTx/>
              </a:endParaRPr>
            </a:p>
          </p:txBody>
        </p:sp>
        <p:sp>
          <p:nvSpPr>
            <p:cNvPr id="197" name="Rectangle 115"/>
            <p:cNvSpPr>
              <a:spLocks noChangeArrowheads="1"/>
            </p:cNvSpPr>
            <p:nvPr/>
          </p:nvSpPr>
          <p:spPr bwMode="auto">
            <a:xfrm>
              <a:off x="5885892" y="6478284"/>
              <a:ext cx="45932" cy="2401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505050"/>
                </a:solidFill>
                <a:effectLst/>
                <a:uLnTx/>
                <a:uFillTx/>
              </a:endParaRPr>
            </a:p>
          </p:txBody>
        </p:sp>
        <p:sp>
          <p:nvSpPr>
            <p:cNvPr id="198" name="Rectangle 116"/>
            <p:cNvSpPr>
              <a:spLocks noChangeArrowheads="1"/>
            </p:cNvSpPr>
            <p:nvPr/>
          </p:nvSpPr>
          <p:spPr bwMode="auto">
            <a:xfrm>
              <a:off x="5965230" y="6478284"/>
              <a:ext cx="44889" cy="46976"/>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505050"/>
                </a:solidFill>
                <a:effectLst/>
                <a:uLnTx/>
                <a:uFillTx/>
              </a:endParaRPr>
            </a:p>
          </p:txBody>
        </p:sp>
        <p:sp>
          <p:nvSpPr>
            <p:cNvPr id="199" name="Rectangle 117"/>
            <p:cNvSpPr>
              <a:spLocks noChangeArrowheads="1"/>
            </p:cNvSpPr>
            <p:nvPr/>
          </p:nvSpPr>
          <p:spPr bwMode="auto">
            <a:xfrm>
              <a:off x="6043524" y="6478284"/>
              <a:ext cx="46977" cy="46976"/>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505050"/>
                </a:solidFill>
                <a:effectLst/>
                <a:uLnTx/>
                <a:uFillTx/>
              </a:endParaRPr>
            </a:p>
          </p:txBody>
        </p:sp>
        <p:sp>
          <p:nvSpPr>
            <p:cNvPr id="200" name="Rectangle 118"/>
            <p:cNvSpPr>
              <a:spLocks noChangeArrowheads="1"/>
            </p:cNvSpPr>
            <p:nvPr/>
          </p:nvSpPr>
          <p:spPr bwMode="auto">
            <a:xfrm>
              <a:off x="5965230" y="6789372"/>
              <a:ext cx="44889" cy="8977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505050"/>
                </a:solidFill>
                <a:effectLst/>
                <a:uLnTx/>
                <a:uFillTx/>
              </a:endParaRPr>
            </a:p>
          </p:txBody>
        </p:sp>
        <p:sp>
          <p:nvSpPr>
            <p:cNvPr id="201" name="Rectangle 119"/>
            <p:cNvSpPr>
              <a:spLocks noChangeArrowheads="1"/>
            </p:cNvSpPr>
            <p:nvPr/>
          </p:nvSpPr>
          <p:spPr bwMode="auto">
            <a:xfrm>
              <a:off x="6043524" y="6789372"/>
              <a:ext cx="46977" cy="8977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505050"/>
                </a:solidFill>
                <a:effectLst/>
                <a:uLnTx/>
                <a:uFillTx/>
              </a:endParaRPr>
            </a:p>
          </p:txBody>
        </p:sp>
        <p:sp>
          <p:nvSpPr>
            <p:cNvPr id="202" name="Rectangle 120"/>
            <p:cNvSpPr>
              <a:spLocks noChangeArrowheads="1"/>
            </p:cNvSpPr>
            <p:nvPr/>
          </p:nvSpPr>
          <p:spPr bwMode="auto">
            <a:xfrm>
              <a:off x="6123906" y="6478284"/>
              <a:ext cx="45932" cy="46976"/>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505050"/>
                </a:solidFill>
                <a:effectLst/>
                <a:uLnTx/>
                <a:uFillTx/>
              </a:endParaRPr>
            </a:p>
          </p:txBody>
        </p:sp>
        <p:sp>
          <p:nvSpPr>
            <p:cNvPr id="203" name="Rectangle 121"/>
            <p:cNvSpPr>
              <a:spLocks noChangeArrowheads="1"/>
            </p:cNvSpPr>
            <p:nvPr/>
          </p:nvSpPr>
          <p:spPr bwMode="auto">
            <a:xfrm>
              <a:off x="5885892" y="6557622"/>
              <a:ext cx="45932" cy="46976"/>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505050"/>
                </a:solidFill>
                <a:effectLst/>
                <a:uLnTx/>
                <a:uFillTx/>
              </a:endParaRPr>
            </a:p>
          </p:txBody>
        </p:sp>
        <p:sp>
          <p:nvSpPr>
            <p:cNvPr id="204" name="Rectangle 122"/>
            <p:cNvSpPr>
              <a:spLocks noChangeArrowheads="1"/>
            </p:cNvSpPr>
            <p:nvPr/>
          </p:nvSpPr>
          <p:spPr bwMode="auto">
            <a:xfrm>
              <a:off x="5965230" y="6557622"/>
              <a:ext cx="44889" cy="46976"/>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505050"/>
                </a:solidFill>
                <a:effectLst/>
                <a:uLnTx/>
                <a:uFillTx/>
              </a:endParaRPr>
            </a:p>
          </p:txBody>
        </p:sp>
        <p:sp>
          <p:nvSpPr>
            <p:cNvPr id="205" name="Rectangle 123"/>
            <p:cNvSpPr>
              <a:spLocks noChangeArrowheads="1"/>
            </p:cNvSpPr>
            <p:nvPr/>
          </p:nvSpPr>
          <p:spPr bwMode="auto">
            <a:xfrm>
              <a:off x="6043524" y="6557622"/>
              <a:ext cx="46977" cy="46976"/>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505050"/>
                </a:solidFill>
                <a:effectLst/>
                <a:uLnTx/>
                <a:uFillTx/>
              </a:endParaRPr>
            </a:p>
          </p:txBody>
        </p:sp>
        <p:sp>
          <p:nvSpPr>
            <p:cNvPr id="206" name="Rectangle 124"/>
            <p:cNvSpPr>
              <a:spLocks noChangeArrowheads="1"/>
            </p:cNvSpPr>
            <p:nvPr/>
          </p:nvSpPr>
          <p:spPr bwMode="auto">
            <a:xfrm>
              <a:off x="6123906" y="6557622"/>
              <a:ext cx="45932" cy="46976"/>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505050"/>
                </a:solidFill>
                <a:effectLst/>
                <a:uLnTx/>
                <a:uFillTx/>
              </a:endParaRPr>
            </a:p>
          </p:txBody>
        </p:sp>
        <p:sp>
          <p:nvSpPr>
            <p:cNvPr id="207" name="Rectangle 125"/>
            <p:cNvSpPr>
              <a:spLocks noChangeArrowheads="1"/>
            </p:cNvSpPr>
            <p:nvPr/>
          </p:nvSpPr>
          <p:spPr bwMode="auto">
            <a:xfrm>
              <a:off x="5885892" y="6638003"/>
              <a:ext cx="45932" cy="448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505050"/>
                </a:solidFill>
                <a:effectLst/>
                <a:uLnTx/>
                <a:uFillTx/>
              </a:endParaRPr>
            </a:p>
          </p:txBody>
        </p:sp>
        <p:sp>
          <p:nvSpPr>
            <p:cNvPr id="208" name="Rectangle 126"/>
            <p:cNvSpPr>
              <a:spLocks noChangeArrowheads="1"/>
            </p:cNvSpPr>
            <p:nvPr/>
          </p:nvSpPr>
          <p:spPr bwMode="auto">
            <a:xfrm>
              <a:off x="5965230" y="6638003"/>
              <a:ext cx="44889" cy="448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505050"/>
                </a:solidFill>
                <a:effectLst/>
                <a:uLnTx/>
                <a:uFillTx/>
              </a:endParaRPr>
            </a:p>
          </p:txBody>
        </p:sp>
        <p:sp>
          <p:nvSpPr>
            <p:cNvPr id="209" name="Rectangle 127"/>
            <p:cNvSpPr>
              <a:spLocks noChangeArrowheads="1"/>
            </p:cNvSpPr>
            <p:nvPr/>
          </p:nvSpPr>
          <p:spPr bwMode="auto">
            <a:xfrm>
              <a:off x="6043524" y="6638003"/>
              <a:ext cx="46977" cy="4488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505050"/>
                </a:solidFill>
                <a:effectLst/>
                <a:uLnTx/>
                <a:uFillTx/>
              </a:endParaRPr>
            </a:p>
          </p:txBody>
        </p:sp>
        <p:sp>
          <p:nvSpPr>
            <p:cNvPr id="210" name="Rectangle 128"/>
            <p:cNvSpPr>
              <a:spLocks noChangeArrowheads="1"/>
            </p:cNvSpPr>
            <p:nvPr/>
          </p:nvSpPr>
          <p:spPr bwMode="auto">
            <a:xfrm>
              <a:off x="6123906" y="6638003"/>
              <a:ext cx="45932" cy="448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505050"/>
                </a:solidFill>
                <a:effectLst/>
                <a:uLnTx/>
                <a:uFillTx/>
              </a:endParaRPr>
            </a:p>
          </p:txBody>
        </p:sp>
        <p:sp>
          <p:nvSpPr>
            <p:cNvPr id="211" name="Rectangle 129"/>
            <p:cNvSpPr>
              <a:spLocks noChangeArrowheads="1"/>
            </p:cNvSpPr>
            <p:nvPr/>
          </p:nvSpPr>
          <p:spPr bwMode="auto">
            <a:xfrm>
              <a:off x="5885892" y="6716298"/>
              <a:ext cx="45932" cy="45932"/>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505050"/>
                </a:solidFill>
                <a:effectLst/>
                <a:uLnTx/>
                <a:uFillTx/>
              </a:endParaRPr>
            </a:p>
          </p:txBody>
        </p:sp>
        <p:sp>
          <p:nvSpPr>
            <p:cNvPr id="212" name="Rectangle 130"/>
            <p:cNvSpPr>
              <a:spLocks noChangeArrowheads="1"/>
            </p:cNvSpPr>
            <p:nvPr/>
          </p:nvSpPr>
          <p:spPr bwMode="auto">
            <a:xfrm>
              <a:off x="5965230" y="6716298"/>
              <a:ext cx="44889" cy="45932"/>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505050"/>
                </a:solidFill>
                <a:effectLst/>
                <a:uLnTx/>
                <a:uFillTx/>
              </a:endParaRPr>
            </a:p>
          </p:txBody>
        </p:sp>
        <p:sp>
          <p:nvSpPr>
            <p:cNvPr id="213" name="Rectangle 131"/>
            <p:cNvSpPr>
              <a:spLocks noChangeArrowheads="1"/>
            </p:cNvSpPr>
            <p:nvPr/>
          </p:nvSpPr>
          <p:spPr bwMode="auto">
            <a:xfrm>
              <a:off x="6043524" y="6716298"/>
              <a:ext cx="46977" cy="45932"/>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505050"/>
                </a:solidFill>
                <a:effectLst/>
                <a:uLnTx/>
                <a:uFillTx/>
              </a:endParaRPr>
            </a:p>
          </p:txBody>
        </p:sp>
        <p:sp>
          <p:nvSpPr>
            <p:cNvPr id="214" name="Rectangle 132"/>
            <p:cNvSpPr>
              <a:spLocks noChangeArrowheads="1"/>
            </p:cNvSpPr>
            <p:nvPr/>
          </p:nvSpPr>
          <p:spPr bwMode="auto">
            <a:xfrm>
              <a:off x="6123906" y="6716298"/>
              <a:ext cx="45932" cy="45932"/>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505050"/>
                </a:solidFill>
                <a:effectLst/>
                <a:uLnTx/>
                <a:uFillTx/>
              </a:endParaRPr>
            </a:p>
          </p:txBody>
        </p:sp>
        <p:sp>
          <p:nvSpPr>
            <p:cNvPr id="215" name="Rectangle 133"/>
            <p:cNvSpPr>
              <a:spLocks noChangeArrowheads="1"/>
            </p:cNvSpPr>
            <p:nvPr/>
          </p:nvSpPr>
          <p:spPr bwMode="auto">
            <a:xfrm>
              <a:off x="5885892" y="6638003"/>
              <a:ext cx="45932" cy="21922"/>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505050"/>
                </a:solidFill>
                <a:effectLst/>
                <a:uLnTx/>
                <a:uFillTx/>
              </a:endParaRPr>
            </a:p>
          </p:txBody>
        </p:sp>
        <p:sp>
          <p:nvSpPr>
            <p:cNvPr id="216" name="Rectangle 134"/>
            <p:cNvSpPr>
              <a:spLocks noChangeArrowheads="1"/>
            </p:cNvSpPr>
            <p:nvPr/>
          </p:nvSpPr>
          <p:spPr bwMode="auto">
            <a:xfrm>
              <a:off x="6123906" y="6638003"/>
              <a:ext cx="45932" cy="21922"/>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505050"/>
                </a:solidFill>
                <a:effectLst/>
                <a:uLnTx/>
                <a:uFillTx/>
              </a:endParaRPr>
            </a:p>
          </p:txBody>
        </p:sp>
        <p:sp>
          <p:nvSpPr>
            <p:cNvPr id="217" name="Rectangle 135"/>
            <p:cNvSpPr>
              <a:spLocks noChangeArrowheads="1"/>
            </p:cNvSpPr>
            <p:nvPr/>
          </p:nvSpPr>
          <p:spPr bwMode="auto">
            <a:xfrm>
              <a:off x="6123906" y="6557622"/>
              <a:ext cx="45932" cy="22966"/>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505050"/>
                </a:solidFill>
                <a:effectLst/>
                <a:uLnTx/>
                <a:uFillTx/>
              </a:endParaRPr>
            </a:p>
          </p:txBody>
        </p:sp>
        <p:sp>
          <p:nvSpPr>
            <p:cNvPr id="218" name="Rectangle 136"/>
            <p:cNvSpPr>
              <a:spLocks noChangeArrowheads="1"/>
            </p:cNvSpPr>
            <p:nvPr/>
          </p:nvSpPr>
          <p:spPr bwMode="auto">
            <a:xfrm>
              <a:off x="5885892" y="6320652"/>
              <a:ext cx="45932" cy="448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505050"/>
                </a:solidFill>
                <a:effectLst/>
                <a:uLnTx/>
                <a:uFillTx/>
              </a:endParaRPr>
            </a:p>
          </p:txBody>
        </p:sp>
        <p:sp>
          <p:nvSpPr>
            <p:cNvPr id="219" name="Rectangle 137"/>
            <p:cNvSpPr>
              <a:spLocks noChangeArrowheads="1"/>
            </p:cNvSpPr>
            <p:nvPr/>
          </p:nvSpPr>
          <p:spPr bwMode="auto">
            <a:xfrm>
              <a:off x="5885892" y="6320652"/>
              <a:ext cx="45932" cy="22966"/>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505050"/>
                </a:solidFill>
                <a:effectLst/>
                <a:uLnTx/>
                <a:uFillTx/>
              </a:endParaRPr>
            </a:p>
          </p:txBody>
        </p:sp>
        <p:sp>
          <p:nvSpPr>
            <p:cNvPr id="220" name="Rectangle 138"/>
            <p:cNvSpPr>
              <a:spLocks noChangeArrowheads="1"/>
            </p:cNvSpPr>
            <p:nvPr/>
          </p:nvSpPr>
          <p:spPr bwMode="auto">
            <a:xfrm>
              <a:off x="5965230" y="6320652"/>
              <a:ext cx="44889" cy="4488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505050"/>
                </a:solidFill>
                <a:effectLst/>
                <a:uLnTx/>
                <a:uFillTx/>
              </a:endParaRPr>
            </a:p>
          </p:txBody>
        </p:sp>
        <p:sp>
          <p:nvSpPr>
            <p:cNvPr id="221" name="Rectangle 139"/>
            <p:cNvSpPr>
              <a:spLocks noChangeArrowheads="1"/>
            </p:cNvSpPr>
            <p:nvPr/>
          </p:nvSpPr>
          <p:spPr bwMode="auto">
            <a:xfrm>
              <a:off x="6043524" y="6320652"/>
              <a:ext cx="46977" cy="448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505050"/>
                </a:solidFill>
                <a:effectLst/>
                <a:uLnTx/>
                <a:uFillTx/>
              </a:endParaRPr>
            </a:p>
          </p:txBody>
        </p:sp>
        <p:sp>
          <p:nvSpPr>
            <p:cNvPr id="222" name="Rectangle 140"/>
            <p:cNvSpPr>
              <a:spLocks noChangeArrowheads="1"/>
            </p:cNvSpPr>
            <p:nvPr/>
          </p:nvSpPr>
          <p:spPr bwMode="auto">
            <a:xfrm>
              <a:off x="6123906" y="6320652"/>
              <a:ext cx="45932" cy="4488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505050"/>
                </a:solidFill>
                <a:effectLst/>
                <a:uLnTx/>
                <a:uFillTx/>
              </a:endParaRPr>
            </a:p>
          </p:txBody>
        </p:sp>
        <p:sp>
          <p:nvSpPr>
            <p:cNvPr id="223" name="Rectangle 141"/>
            <p:cNvSpPr>
              <a:spLocks noChangeArrowheads="1"/>
            </p:cNvSpPr>
            <p:nvPr/>
          </p:nvSpPr>
          <p:spPr bwMode="auto">
            <a:xfrm>
              <a:off x="5885892" y="6399990"/>
              <a:ext cx="45932" cy="448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505050"/>
                </a:solidFill>
                <a:effectLst/>
                <a:uLnTx/>
                <a:uFillTx/>
              </a:endParaRPr>
            </a:p>
          </p:txBody>
        </p:sp>
        <p:sp>
          <p:nvSpPr>
            <p:cNvPr id="224" name="Rectangle 142"/>
            <p:cNvSpPr>
              <a:spLocks noChangeArrowheads="1"/>
            </p:cNvSpPr>
            <p:nvPr/>
          </p:nvSpPr>
          <p:spPr bwMode="auto">
            <a:xfrm>
              <a:off x="5965230" y="6399990"/>
              <a:ext cx="44889" cy="4488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505050"/>
                </a:solidFill>
                <a:effectLst/>
                <a:uLnTx/>
                <a:uFillTx/>
              </a:endParaRPr>
            </a:p>
          </p:txBody>
        </p:sp>
        <p:sp>
          <p:nvSpPr>
            <p:cNvPr id="225" name="Rectangle 143"/>
            <p:cNvSpPr>
              <a:spLocks noChangeArrowheads="1"/>
            </p:cNvSpPr>
            <p:nvPr/>
          </p:nvSpPr>
          <p:spPr bwMode="auto">
            <a:xfrm>
              <a:off x="6043524" y="6399990"/>
              <a:ext cx="46977" cy="4488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505050"/>
                </a:solidFill>
                <a:effectLst/>
                <a:uLnTx/>
                <a:uFillTx/>
              </a:endParaRPr>
            </a:p>
          </p:txBody>
        </p:sp>
        <p:sp>
          <p:nvSpPr>
            <p:cNvPr id="226" name="Rectangle 144"/>
            <p:cNvSpPr>
              <a:spLocks noChangeArrowheads="1"/>
            </p:cNvSpPr>
            <p:nvPr/>
          </p:nvSpPr>
          <p:spPr bwMode="auto">
            <a:xfrm>
              <a:off x="6123906" y="6399990"/>
              <a:ext cx="45932" cy="448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505050"/>
                </a:solidFill>
                <a:effectLst/>
                <a:uLnTx/>
                <a:uFillTx/>
              </a:endParaRPr>
            </a:p>
          </p:txBody>
        </p:sp>
        <p:sp>
          <p:nvSpPr>
            <p:cNvPr id="227" name="Rectangle 145"/>
            <p:cNvSpPr>
              <a:spLocks noChangeArrowheads="1"/>
            </p:cNvSpPr>
            <p:nvPr/>
          </p:nvSpPr>
          <p:spPr bwMode="auto">
            <a:xfrm>
              <a:off x="6123906" y="6399990"/>
              <a:ext cx="45932" cy="22966"/>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505050"/>
                </a:solidFill>
                <a:effectLst/>
                <a:uLnTx/>
                <a:uFillTx/>
              </a:endParaRPr>
            </a:p>
          </p:txBody>
        </p:sp>
        <p:sp>
          <p:nvSpPr>
            <p:cNvPr id="228" name="Rectangle 146"/>
            <p:cNvSpPr>
              <a:spLocks noChangeArrowheads="1"/>
            </p:cNvSpPr>
            <p:nvPr/>
          </p:nvSpPr>
          <p:spPr bwMode="auto">
            <a:xfrm>
              <a:off x="5910946" y="6214172"/>
              <a:ext cx="41757" cy="54284"/>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505050"/>
                </a:solidFill>
                <a:effectLst/>
                <a:uLnTx/>
                <a:uFillTx/>
              </a:endParaRPr>
            </a:p>
          </p:txBody>
        </p:sp>
        <p:sp>
          <p:nvSpPr>
            <p:cNvPr id="229" name="Rectangle 147"/>
            <p:cNvSpPr>
              <a:spLocks noChangeArrowheads="1"/>
            </p:cNvSpPr>
            <p:nvPr/>
          </p:nvSpPr>
          <p:spPr bwMode="auto">
            <a:xfrm>
              <a:off x="5967318" y="6214172"/>
              <a:ext cx="41757" cy="54284"/>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505050"/>
                </a:solidFill>
                <a:effectLst/>
                <a:uLnTx/>
                <a:uFillTx/>
              </a:endParaRPr>
            </a:p>
          </p:txBody>
        </p:sp>
      </p:grpSp>
    </p:spTree>
    <p:extLst>
      <p:ext uri="{BB962C8B-B14F-4D97-AF65-F5344CB8AC3E}">
        <p14:creationId xmlns:p14="http://schemas.microsoft.com/office/powerpoint/2010/main" val="265410637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 name="Rectangle 367"/>
          <p:cNvSpPr/>
          <p:nvPr/>
        </p:nvSpPr>
        <p:spPr bwMode="auto">
          <a:xfrm>
            <a:off x="8005795" y="3328805"/>
            <a:ext cx="3799115" cy="3243262"/>
          </a:xfrm>
          <a:prstGeom prst="rect">
            <a:avLst/>
          </a:prstGeom>
          <a:solidFill>
            <a:schemeClr val="accent3">
              <a:alpha val="5000"/>
            </a:schemeClr>
          </a:solidFill>
          <a:ln>
            <a:solidFill>
              <a:schemeClr val="accent3"/>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14314"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rgbClr val="001A41"/>
                </a:solidFill>
                <a:effectLst/>
                <a:uLnTx/>
                <a:uFillTx/>
                <a:latin typeface="Segoe UI Semibold" panose="020B0702040204020203" pitchFamily="34" charset="0"/>
                <a:cs typeface="Segoe UI Semibold" panose="020B0702040204020203" pitchFamily="34" charset="0"/>
              </a:rPr>
              <a:t>HDInsight</a:t>
            </a:r>
          </a:p>
        </p:txBody>
      </p:sp>
      <p:sp>
        <p:nvSpPr>
          <p:cNvPr id="365" name="Rectangle 364"/>
          <p:cNvSpPr/>
          <p:nvPr/>
        </p:nvSpPr>
        <p:spPr bwMode="auto">
          <a:xfrm>
            <a:off x="8005794" y="1957711"/>
            <a:ext cx="3799115" cy="1251342"/>
          </a:xfrm>
          <a:prstGeom prst="rect">
            <a:avLst/>
          </a:prstGeom>
          <a:solidFill>
            <a:schemeClr val="accent3">
              <a:alpha val="5000"/>
            </a:schemeClr>
          </a:solidFill>
          <a:ln>
            <a:solidFill>
              <a:schemeClr val="accent3"/>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US" sz="1800" b="0" i="0" u="none" strike="noStrike" kern="0" cap="none" spc="0" normalizeH="0" baseline="0" noProof="0" dirty="0">
                <a:ln>
                  <a:noFill/>
                </a:ln>
                <a:solidFill>
                  <a:srgbClr val="001A41"/>
                </a:solidFill>
                <a:effectLst/>
                <a:uLnTx/>
                <a:uFillTx/>
                <a:latin typeface="Segoe UI Semibold" panose="020B0702040204020203" pitchFamily="34" charset="0"/>
                <a:cs typeface="Segoe UI Semibold" panose="020B0702040204020203" pitchFamily="34" charset="0"/>
              </a:rPr>
              <a:t>Azure Data Lake Analytics</a:t>
            </a:r>
          </a:p>
        </p:txBody>
      </p:sp>
      <p:sp>
        <p:nvSpPr>
          <p:cNvPr id="14" name="Title 13"/>
          <p:cNvSpPr>
            <a:spLocks noGrp="1"/>
          </p:cNvSpPr>
          <p:nvPr>
            <p:ph type="title"/>
          </p:nvPr>
        </p:nvSpPr>
        <p:spPr/>
        <p:txBody>
          <a:bodyPr/>
          <a:lstStyle/>
          <a:p>
            <a:r>
              <a:rPr lang="en-US" dirty="0"/>
              <a:t>Big Data analytics workloads</a:t>
            </a:r>
          </a:p>
        </p:txBody>
      </p:sp>
      <p:sp>
        <p:nvSpPr>
          <p:cNvPr id="77" name="Title 1"/>
          <p:cNvSpPr>
            <a:spLocks noGrp="1"/>
          </p:cNvSpPr>
          <p:nvPr/>
        </p:nvSpPr>
        <p:spPr>
          <a:xfrm>
            <a:off x="418643" y="1072324"/>
            <a:ext cx="11506438" cy="652235"/>
          </a:xfrm>
          <a:prstGeom prst="rect">
            <a:avLst/>
          </a:prstGeom>
        </p:spPr>
        <p:txBody>
          <a:bodyPr vert="horz" wrap="square" lIns="0" tIns="0" rIns="0" bIns="0" rtlCol="0" anchor="t">
            <a:noAutofit/>
          </a:bodyPr>
          <a:lstStyle>
            <a:lvl1pPr algn="l" defTabSz="913505" rtl="0" eaLnBrk="1" fontAlgn="base" hangingPunct="1">
              <a:lnSpc>
                <a:spcPct val="90000"/>
              </a:lnSpc>
              <a:spcBef>
                <a:spcPct val="0"/>
              </a:spcBef>
              <a:spcAft>
                <a:spcPct val="0"/>
              </a:spcAft>
              <a:defRPr lang="en-US" sz="5098" kern="1200" spc="-100">
                <a:ln w="3175">
                  <a:noFill/>
                </a:ln>
                <a:solidFill>
                  <a:schemeClr val="tx2"/>
                </a:solidFill>
                <a:latin typeface="+mj-lt"/>
                <a:ea typeface="ＭＳ Ｐゴシック" charset="0"/>
                <a:cs typeface="Segoe UI" pitchFamily="34" charset="0"/>
              </a:defRPr>
            </a:lvl1pPr>
            <a:lvl2pPr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2pPr>
            <a:lvl3pPr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3pPr>
            <a:lvl4pPr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4pPr>
            <a:lvl5pPr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5pPr>
            <a:lvl6pPr marL="448193"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6pPr>
            <a:lvl7pPr marL="896386"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7pPr>
            <a:lvl8pPr marL="1344579"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8pPr>
            <a:lvl9pPr marL="1792773"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9pPr>
          </a:lstStyle>
          <a:p>
            <a:pPr marL="0" marR="0" lvl="0" indent="0" algn="l" defTabSz="895509" rtl="0" eaLnBrk="1" fontAlgn="base" latinLnBrk="0" hangingPunct="1">
              <a:lnSpc>
                <a:spcPct val="90000"/>
              </a:lnSpc>
              <a:spcBef>
                <a:spcPct val="0"/>
              </a:spcBef>
              <a:spcAft>
                <a:spcPct val="0"/>
              </a:spcAft>
              <a:buClrTx/>
              <a:buSzTx/>
              <a:buFontTx/>
              <a:buNone/>
              <a:tabLst/>
              <a:defRPr/>
            </a:pPr>
            <a:r>
              <a:rPr kumimoji="0" lang="en-US" sz="2353" b="0" i="0" u="none" strike="noStrike" kern="1200" cap="none" spc="0" normalizeH="0" baseline="0" noProof="0" dirty="0">
                <a:ln w="3175">
                  <a:noFill/>
                </a:ln>
                <a:solidFill>
                  <a:schemeClr val="accent1"/>
                </a:solidFill>
                <a:effectLst/>
                <a:uLnTx/>
                <a:uFillTx/>
                <a:latin typeface="+mj-lt"/>
                <a:ea typeface="ＭＳ Ｐゴシック" charset="0"/>
                <a:cs typeface="Segoe UI" pitchFamily="34" charset="0"/>
              </a:rPr>
              <a:t>A highly scalable, distributed, parallel file system in the cloud </a:t>
            </a:r>
            <a:br>
              <a:rPr kumimoji="0" lang="en-US" sz="2353" b="0" i="0" u="none" strike="noStrike" kern="1200" cap="none" spc="0" normalizeH="0" baseline="0" noProof="0" dirty="0">
                <a:ln w="3175">
                  <a:noFill/>
                </a:ln>
                <a:solidFill>
                  <a:schemeClr val="accent1"/>
                </a:solidFill>
                <a:effectLst/>
                <a:uLnTx/>
                <a:uFillTx/>
                <a:latin typeface="+mj-lt"/>
                <a:ea typeface="ＭＳ Ｐゴシック" charset="0"/>
                <a:cs typeface="Segoe UI" pitchFamily="34" charset="0"/>
              </a:rPr>
            </a:br>
            <a:r>
              <a:rPr kumimoji="0" lang="en-US" sz="2353" b="0" i="0" u="none" strike="noStrike" kern="1200" cap="none" spc="0" normalizeH="0" baseline="0" noProof="0" dirty="0">
                <a:ln w="3175">
                  <a:noFill/>
                </a:ln>
                <a:solidFill>
                  <a:schemeClr val="accent1"/>
                </a:solidFill>
                <a:effectLst/>
                <a:uLnTx/>
                <a:uFillTx/>
                <a:latin typeface="+mj-lt"/>
                <a:ea typeface="ＭＳ Ｐゴシック" charset="0"/>
                <a:cs typeface="Segoe UI" pitchFamily="34" charset="0"/>
              </a:rPr>
              <a:t>specifically designed to work with a variety of big data analytics workloads</a:t>
            </a:r>
          </a:p>
        </p:txBody>
      </p:sp>
      <p:sp>
        <p:nvSpPr>
          <p:cNvPr id="83" name="TextBox 82"/>
          <p:cNvSpPr txBox="1"/>
          <p:nvPr/>
        </p:nvSpPr>
        <p:spPr>
          <a:xfrm>
            <a:off x="3904058" y="4700111"/>
            <a:ext cx="2702185" cy="566656"/>
          </a:xfrm>
          <a:prstGeom prst="rect">
            <a:avLst/>
          </a:prstGeom>
          <a:noFill/>
        </p:spPr>
        <p:txBody>
          <a:bodyPr wrap="square" lIns="179285" tIns="143428" rIns="179285" bIns="143428" rtlCol="0">
            <a:spAutoFit/>
          </a:bodyPr>
          <a:lstStyle/>
          <a:p>
            <a:pPr marL="0" marR="0" lvl="0" indent="0" algn="ctr" defTabSz="914314"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chemeClr val="accent1"/>
                </a:solidFill>
                <a:effectLst/>
                <a:uLnTx/>
                <a:uFillTx/>
                <a:latin typeface="Segoe UI Semibold" panose="020B0702040204020203" pitchFamily="34" charset="0"/>
                <a:cs typeface="Segoe UI Semibold" panose="020B0702040204020203" pitchFamily="34" charset="0"/>
              </a:rPr>
              <a:t>Azure Data Lake Store</a:t>
            </a:r>
          </a:p>
        </p:txBody>
      </p:sp>
      <p:pic>
        <p:nvPicPr>
          <p:cNvPr id="56" name="Picture 55"/>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10169628" y="2571391"/>
            <a:ext cx="334894" cy="334894"/>
          </a:xfrm>
          <a:prstGeom prst="rect">
            <a:avLst/>
          </a:prstGeom>
        </p:spPr>
      </p:pic>
      <p:pic>
        <p:nvPicPr>
          <p:cNvPr id="58" name="Picture 2" descr="http://www.ebaytechblog.com/wp-content/uploads/2014/05/spark_logo.png"/>
          <p:cNvPicPr>
            <a:picLocks noChangeAspect="1" noChangeArrowheads="1"/>
          </p:cNvPicPr>
          <p:nvPr/>
        </p:nvPicPr>
        <p:blipFill>
          <a:blip r:embed="rId12" cstate="print">
            <a:duotone>
              <a:schemeClr val="accent3">
                <a:shade val="45000"/>
                <a:satMod val="135000"/>
              </a:schemeClr>
              <a:prstClr val="white"/>
            </a:duotone>
            <a:extLst>
              <a:ext uri="{BEBA8EAE-BF5A-486C-A8C5-ECC9F3942E4B}">
                <a14:imgProps xmlns:a14="http://schemas.microsoft.com/office/drawing/2010/main">
                  <a14:imgLayer r:embed="rId13">
                    <a14:imgEffect>
                      <a14:brightnessContrast bright="-40000" contrast="-40000"/>
                    </a14:imgEffect>
                  </a14:imgLayer>
                </a14:imgProps>
              </a:ext>
              <a:ext uri="{28A0092B-C50C-407E-A947-70E740481C1C}">
                <a14:useLocalDpi xmlns:a14="http://schemas.microsoft.com/office/drawing/2010/main" val="0"/>
              </a:ext>
            </a:extLst>
          </a:blip>
          <a:srcRect/>
          <a:stretch>
            <a:fillRect/>
          </a:stretch>
        </p:blipFill>
        <p:spPr bwMode="auto">
          <a:xfrm>
            <a:off x="11068967" y="5085640"/>
            <a:ext cx="513039" cy="272390"/>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59" name="Picture 58"/>
          <p:cNvPicPr>
            <a:picLocks noChangeAspect="1"/>
          </p:cNvPicPr>
          <p:nvPr/>
        </p:nvPicPr>
        <p:blipFill>
          <a:blip r:embed="rId14"/>
          <a:stretch>
            <a:fillRect/>
          </a:stretch>
        </p:blipFill>
        <p:spPr>
          <a:xfrm>
            <a:off x="8964319" y="5877747"/>
            <a:ext cx="532092" cy="478880"/>
          </a:xfrm>
          <a:prstGeom prst="rect">
            <a:avLst/>
          </a:prstGeom>
        </p:spPr>
      </p:pic>
      <p:pic>
        <p:nvPicPr>
          <p:cNvPr id="60" name="Graphic 17"/>
          <p:cNvPicPr>
            <a:picLocks noChangeAspect="1"/>
          </p:cNvPicPr>
          <p:nvPr/>
        </p:nvPicPr>
        <p:blipFill rotWithShape="1">
          <a:blip r:embed="rId15">
            <a:extLst>
              <a:ext uri="{96DAC541-7B7A-43D3-8B79-37D633B846F1}">
                <asvg:svgBlip xmlns:asvg="http://schemas.microsoft.com/office/drawing/2016/SVG/main" r:embed="rId16"/>
              </a:ext>
            </a:extLst>
          </a:blip>
          <a:srcRect l="9019" t="29789" r="9019" b="29789"/>
          <a:stretch/>
        </p:blipFill>
        <p:spPr>
          <a:xfrm>
            <a:off x="10858129" y="4135371"/>
            <a:ext cx="824334" cy="314148"/>
          </a:xfrm>
          <a:prstGeom prst="rect">
            <a:avLst/>
          </a:prstGeom>
        </p:spPr>
      </p:pic>
      <p:pic>
        <p:nvPicPr>
          <p:cNvPr id="78" name="Picture 77"/>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11045823" y="5909113"/>
            <a:ext cx="564158" cy="416148"/>
          </a:xfrm>
          <a:prstGeom prst="rect">
            <a:avLst/>
          </a:prstGeom>
        </p:spPr>
      </p:pic>
      <p:sp>
        <p:nvSpPr>
          <p:cNvPr id="128" name="Rectangle 127"/>
          <p:cNvSpPr/>
          <p:nvPr>
            <p:custDataLst>
              <p:tags r:id="rId1"/>
            </p:custDataLst>
          </p:nvPr>
        </p:nvSpPr>
        <p:spPr bwMode="auto">
          <a:xfrm>
            <a:off x="415312" y="2534392"/>
            <a:ext cx="2090057" cy="546066"/>
          </a:xfrm>
          <a:prstGeom prst="rect">
            <a:avLst/>
          </a:prstGeom>
          <a:solidFill>
            <a:schemeClr val="accent3"/>
          </a:solidFill>
          <a:ln w="31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0" tIns="44814" rIns="67222" bIns="44814" numCol="1" spcCol="0" rtlCol="0" fromWordArt="0" anchor="ctr" anchorCtr="0" forceAA="0" compatLnSpc="1">
            <a:prstTxWarp prst="textNoShape">
              <a:avLst/>
            </a:prstTxWarp>
            <a:noAutofit/>
          </a:bodyPr>
          <a:lstStyle/>
          <a:p>
            <a:pPr marL="0" marR="0" lvl="0" indent="0" defTabSz="9322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0D163D"/>
                </a:solidFill>
                <a:effectLst/>
                <a:uLnTx/>
                <a:uFillTx/>
                <a:latin typeface="Segoe UI"/>
              </a:rPr>
              <a:t>LOB Applications</a:t>
            </a:r>
          </a:p>
        </p:txBody>
      </p:sp>
      <p:sp>
        <p:nvSpPr>
          <p:cNvPr id="119" name="Rectangle 118"/>
          <p:cNvSpPr/>
          <p:nvPr>
            <p:custDataLst>
              <p:tags r:id="rId2"/>
            </p:custDataLst>
          </p:nvPr>
        </p:nvSpPr>
        <p:spPr bwMode="auto">
          <a:xfrm>
            <a:off x="415312" y="4280197"/>
            <a:ext cx="2090057" cy="546066"/>
          </a:xfrm>
          <a:prstGeom prst="rect">
            <a:avLst/>
          </a:prstGeom>
          <a:solidFill>
            <a:schemeClr val="accent3"/>
          </a:solidFill>
          <a:ln w="31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0" tIns="44814" rIns="67222" bIns="44814" numCol="1" spcCol="0" rtlCol="0" fromWordArt="0" anchor="ctr" anchorCtr="0" forceAA="0" compatLnSpc="1">
            <a:prstTxWarp prst="textNoShape">
              <a:avLst/>
            </a:prstTxWarp>
            <a:noAutofit/>
          </a:bodyPr>
          <a:lstStyle/>
          <a:p>
            <a:pPr marL="0" marR="0" lvl="0" indent="0" defTabSz="9322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0D163D"/>
                </a:solidFill>
                <a:effectLst/>
                <a:uLnTx/>
                <a:uFillTx/>
                <a:latin typeface="Segoe UI"/>
              </a:rPr>
              <a:t>Social</a:t>
            </a:r>
          </a:p>
        </p:txBody>
      </p:sp>
      <p:sp>
        <p:nvSpPr>
          <p:cNvPr id="126" name="Rectangle 125"/>
          <p:cNvSpPr/>
          <p:nvPr>
            <p:custDataLst>
              <p:tags r:id="rId3"/>
            </p:custDataLst>
          </p:nvPr>
        </p:nvSpPr>
        <p:spPr bwMode="auto">
          <a:xfrm>
            <a:off x="415312" y="1952457"/>
            <a:ext cx="2090057" cy="546066"/>
          </a:xfrm>
          <a:prstGeom prst="rect">
            <a:avLst/>
          </a:prstGeom>
          <a:solidFill>
            <a:schemeClr val="accent3"/>
          </a:solidFill>
          <a:ln w="31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0" tIns="44814" rIns="67222" bIns="44814" numCol="1" spcCol="0" rtlCol="0" fromWordArt="0" anchor="ctr" anchorCtr="0" forceAA="0" compatLnSpc="1">
            <a:prstTxWarp prst="textNoShape">
              <a:avLst/>
            </a:prstTxWarp>
            <a:noAutofit/>
          </a:bodyPr>
          <a:lstStyle/>
          <a:p>
            <a:pPr marL="0" marR="0" lvl="0" indent="0" defTabSz="9322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0D163D"/>
                </a:solidFill>
                <a:effectLst/>
                <a:uLnTx/>
                <a:uFillTx/>
                <a:latin typeface="Segoe UI"/>
              </a:rPr>
              <a:t>Devices</a:t>
            </a:r>
          </a:p>
        </p:txBody>
      </p:sp>
      <p:sp>
        <p:nvSpPr>
          <p:cNvPr id="116" name="Rectangle 115"/>
          <p:cNvSpPr/>
          <p:nvPr>
            <p:custDataLst>
              <p:tags r:id="rId4"/>
            </p:custDataLst>
          </p:nvPr>
        </p:nvSpPr>
        <p:spPr bwMode="auto">
          <a:xfrm>
            <a:off x="415312" y="6026002"/>
            <a:ext cx="2090057" cy="546066"/>
          </a:xfrm>
          <a:prstGeom prst="rect">
            <a:avLst/>
          </a:prstGeom>
          <a:solidFill>
            <a:schemeClr val="accent3"/>
          </a:solidFill>
          <a:ln w="31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0" tIns="44814" rIns="67222" bIns="44814" numCol="1" spcCol="0" rtlCol="0" fromWordArt="0" anchor="ctr" anchorCtr="0" forceAA="0" compatLnSpc="1">
            <a:prstTxWarp prst="textNoShape">
              <a:avLst/>
            </a:prstTxWarp>
            <a:noAutofit/>
          </a:bodyPr>
          <a:lstStyle/>
          <a:p>
            <a:pPr marL="0" marR="0" lvl="0" indent="0" defTabSz="9322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0D163D"/>
                </a:solidFill>
                <a:effectLst/>
                <a:uLnTx/>
                <a:uFillTx/>
                <a:latin typeface="Segoe UI"/>
              </a:rPr>
              <a:t>Clickstream</a:t>
            </a:r>
          </a:p>
        </p:txBody>
      </p:sp>
      <p:sp>
        <p:nvSpPr>
          <p:cNvPr id="117" name="Rectangle 116"/>
          <p:cNvSpPr/>
          <p:nvPr>
            <p:custDataLst>
              <p:tags r:id="rId5"/>
            </p:custDataLst>
          </p:nvPr>
        </p:nvSpPr>
        <p:spPr bwMode="auto">
          <a:xfrm>
            <a:off x="415312" y="5444067"/>
            <a:ext cx="2090057" cy="546066"/>
          </a:xfrm>
          <a:prstGeom prst="rect">
            <a:avLst/>
          </a:prstGeom>
          <a:solidFill>
            <a:schemeClr val="accent3"/>
          </a:solidFill>
          <a:ln w="31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0" tIns="44814" rIns="67222" bIns="44814" numCol="1" spcCol="0" rtlCol="0" fromWordArt="0" anchor="ctr" anchorCtr="0" forceAA="0" compatLnSpc="1">
            <a:prstTxWarp prst="textNoShape">
              <a:avLst/>
            </a:prstTxWarp>
            <a:noAutofit/>
          </a:bodyPr>
          <a:lstStyle/>
          <a:p>
            <a:pPr marL="0" marR="0" lvl="0" indent="0" defTabSz="9322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0D163D"/>
                </a:solidFill>
                <a:effectLst/>
                <a:uLnTx/>
                <a:uFillTx/>
                <a:latin typeface="Segoe UI"/>
              </a:rPr>
              <a:t>Sensors</a:t>
            </a:r>
          </a:p>
        </p:txBody>
      </p:sp>
      <p:sp>
        <p:nvSpPr>
          <p:cNvPr id="118" name="Rectangle 117"/>
          <p:cNvSpPr/>
          <p:nvPr>
            <p:custDataLst>
              <p:tags r:id="rId6"/>
            </p:custDataLst>
          </p:nvPr>
        </p:nvSpPr>
        <p:spPr bwMode="auto">
          <a:xfrm>
            <a:off x="415312" y="4862132"/>
            <a:ext cx="2090057" cy="546066"/>
          </a:xfrm>
          <a:prstGeom prst="rect">
            <a:avLst/>
          </a:prstGeom>
          <a:solidFill>
            <a:schemeClr val="accent3"/>
          </a:solidFill>
          <a:ln w="31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0" tIns="44814" rIns="67222" bIns="44814" numCol="1" spcCol="0" rtlCol="0" fromWordArt="0" anchor="ctr" anchorCtr="0" forceAA="0" compatLnSpc="1">
            <a:prstTxWarp prst="textNoShape">
              <a:avLst/>
            </a:prstTxWarp>
            <a:noAutofit/>
          </a:bodyPr>
          <a:lstStyle/>
          <a:p>
            <a:pPr marL="0" marR="0" lvl="0" indent="0" defTabSz="9322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0D163D"/>
                </a:solidFill>
                <a:effectLst/>
                <a:uLnTx/>
                <a:uFillTx/>
                <a:latin typeface="Segoe UI"/>
              </a:rPr>
              <a:t>Video</a:t>
            </a:r>
          </a:p>
        </p:txBody>
      </p:sp>
      <p:sp>
        <p:nvSpPr>
          <p:cNvPr id="125" name="Rectangle 124"/>
          <p:cNvSpPr/>
          <p:nvPr>
            <p:custDataLst>
              <p:tags r:id="rId7"/>
            </p:custDataLst>
          </p:nvPr>
        </p:nvSpPr>
        <p:spPr bwMode="auto">
          <a:xfrm>
            <a:off x="415312" y="3116327"/>
            <a:ext cx="2090057" cy="546066"/>
          </a:xfrm>
          <a:prstGeom prst="rect">
            <a:avLst/>
          </a:prstGeom>
          <a:solidFill>
            <a:schemeClr val="accent3"/>
          </a:solidFill>
          <a:ln w="31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0" tIns="44814" rIns="67222" bIns="44814" numCol="1" spcCol="0" rtlCol="0" fromWordArt="0" anchor="ctr" anchorCtr="0" forceAA="0" compatLnSpc="1">
            <a:prstTxWarp prst="textNoShape">
              <a:avLst/>
            </a:prstTxWarp>
            <a:noAutofit/>
          </a:bodyPr>
          <a:lstStyle/>
          <a:p>
            <a:pPr marL="0" marR="0" lvl="0" indent="0" defTabSz="9322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0D163D"/>
                </a:solidFill>
                <a:effectLst/>
                <a:uLnTx/>
                <a:uFillTx/>
                <a:latin typeface="Segoe UI"/>
              </a:rPr>
              <a:t>Web</a:t>
            </a:r>
          </a:p>
        </p:txBody>
      </p:sp>
      <p:sp>
        <p:nvSpPr>
          <p:cNvPr id="127" name="Rectangle 126"/>
          <p:cNvSpPr/>
          <p:nvPr>
            <p:custDataLst>
              <p:tags r:id="rId8"/>
            </p:custDataLst>
          </p:nvPr>
        </p:nvSpPr>
        <p:spPr bwMode="auto">
          <a:xfrm>
            <a:off x="415312" y="3698262"/>
            <a:ext cx="2090057" cy="546066"/>
          </a:xfrm>
          <a:prstGeom prst="rect">
            <a:avLst/>
          </a:prstGeom>
          <a:solidFill>
            <a:schemeClr val="accent3"/>
          </a:solidFill>
          <a:ln w="31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0" tIns="44814" rIns="67222" bIns="44814" numCol="1" spcCol="0" rtlCol="0" fromWordArt="0" anchor="ctr" anchorCtr="0" forceAA="0" compatLnSpc="1">
            <a:prstTxWarp prst="textNoShape">
              <a:avLst/>
            </a:prstTxWarp>
            <a:noAutofit/>
          </a:bodyPr>
          <a:lstStyle/>
          <a:p>
            <a:pPr marL="0" marR="0" lvl="0" indent="0" defTabSz="9322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0D163D"/>
                </a:solidFill>
                <a:effectLst/>
                <a:uLnTx/>
                <a:uFillTx/>
                <a:latin typeface="Segoe UI"/>
              </a:rPr>
              <a:t>Relational</a:t>
            </a:r>
          </a:p>
        </p:txBody>
      </p:sp>
      <p:grpSp>
        <p:nvGrpSpPr>
          <p:cNvPr id="88" name="Group 87"/>
          <p:cNvGrpSpPr/>
          <p:nvPr/>
        </p:nvGrpSpPr>
        <p:grpSpPr>
          <a:xfrm>
            <a:off x="725882" y="4337139"/>
            <a:ext cx="279006" cy="441801"/>
            <a:chOff x="2754313" y="3259138"/>
            <a:chExt cx="903288" cy="1430338"/>
          </a:xfrm>
        </p:grpSpPr>
        <p:sp>
          <p:nvSpPr>
            <p:cNvPr id="89" name="Freeform 22"/>
            <p:cNvSpPr>
              <a:spLocks/>
            </p:cNvSpPr>
            <p:nvPr/>
          </p:nvSpPr>
          <p:spPr bwMode="auto">
            <a:xfrm>
              <a:off x="2760663" y="3265488"/>
              <a:ext cx="890588" cy="1417638"/>
            </a:xfrm>
            <a:custGeom>
              <a:avLst/>
              <a:gdLst>
                <a:gd name="T0" fmla="*/ 574 w 598"/>
                <a:gd name="T1" fmla="*/ 957 h 957"/>
                <a:gd name="T2" fmla="*/ 24 w 598"/>
                <a:gd name="T3" fmla="*/ 957 h 957"/>
                <a:gd name="T4" fmla="*/ 0 w 598"/>
                <a:gd name="T5" fmla="*/ 933 h 957"/>
                <a:gd name="T6" fmla="*/ 0 w 598"/>
                <a:gd name="T7" fmla="*/ 24 h 957"/>
                <a:gd name="T8" fmla="*/ 24 w 598"/>
                <a:gd name="T9" fmla="*/ 0 h 957"/>
                <a:gd name="T10" fmla="*/ 574 w 598"/>
                <a:gd name="T11" fmla="*/ 0 h 957"/>
                <a:gd name="T12" fmla="*/ 598 w 598"/>
                <a:gd name="T13" fmla="*/ 24 h 957"/>
                <a:gd name="T14" fmla="*/ 598 w 598"/>
                <a:gd name="T15" fmla="*/ 933 h 957"/>
                <a:gd name="T16" fmla="*/ 574 w 598"/>
                <a:gd name="T17" fmla="*/ 957 h 9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98" h="957">
                  <a:moveTo>
                    <a:pt x="574" y="957"/>
                  </a:moveTo>
                  <a:cubicBezTo>
                    <a:pt x="24" y="957"/>
                    <a:pt x="24" y="957"/>
                    <a:pt x="24" y="957"/>
                  </a:cubicBezTo>
                  <a:cubicBezTo>
                    <a:pt x="11" y="957"/>
                    <a:pt x="0" y="946"/>
                    <a:pt x="0" y="933"/>
                  </a:cubicBezTo>
                  <a:cubicBezTo>
                    <a:pt x="0" y="24"/>
                    <a:pt x="0" y="24"/>
                    <a:pt x="0" y="24"/>
                  </a:cubicBezTo>
                  <a:cubicBezTo>
                    <a:pt x="0" y="11"/>
                    <a:pt x="11" y="0"/>
                    <a:pt x="24" y="0"/>
                  </a:cubicBezTo>
                  <a:cubicBezTo>
                    <a:pt x="574" y="0"/>
                    <a:pt x="574" y="0"/>
                    <a:pt x="574" y="0"/>
                  </a:cubicBezTo>
                  <a:cubicBezTo>
                    <a:pt x="587" y="0"/>
                    <a:pt x="598" y="11"/>
                    <a:pt x="598" y="24"/>
                  </a:cubicBezTo>
                  <a:cubicBezTo>
                    <a:pt x="598" y="933"/>
                    <a:pt x="598" y="933"/>
                    <a:pt x="598" y="933"/>
                  </a:cubicBezTo>
                  <a:cubicBezTo>
                    <a:pt x="598" y="946"/>
                    <a:pt x="587" y="957"/>
                    <a:pt x="574" y="957"/>
                  </a:cubicBezTo>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90" name="Freeform 23"/>
            <p:cNvSpPr>
              <a:spLocks/>
            </p:cNvSpPr>
            <p:nvPr/>
          </p:nvSpPr>
          <p:spPr bwMode="auto">
            <a:xfrm>
              <a:off x="2754313" y="3259138"/>
              <a:ext cx="903288" cy="1430338"/>
            </a:xfrm>
            <a:custGeom>
              <a:avLst/>
              <a:gdLst>
                <a:gd name="T0" fmla="*/ 578 w 606"/>
                <a:gd name="T1" fmla="*/ 961 h 965"/>
                <a:gd name="T2" fmla="*/ 578 w 606"/>
                <a:gd name="T3" fmla="*/ 957 h 965"/>
                <a:gd name="T4" fmla="*/ 28 w 606"/>
                <a:gd name="T5" fmla="*/ 957 h 965"/>
                <a:gd name="T6" fmla="*/ 14 w 606"/>
                <a:gd name="T7" fmla="*/ 951 h 965"/>
                <a:gd name="T8" fmla="*/ 8 w 606"/>
                <a:gd name="T9" fmla="*/ 937 h 965"/>
                <a:gd name="T10" fmla="*/ 8 w 606"/>
                <a:gd name="T11" fmla="*/ 28 h 965"/>
                <a:gd name="T12" fmla="*/ 14 w 606"/>
                <a:gd name="T13" fmla="*/ 14 h 965"/>
                <a:gd name="T14" fmla="*/ 28 w 606"/>
                <a:gd name="T15" fmla="*/ 8 h 965"/>
                <a:gd name="T16" fmla="*/ 578 w 606"/>
                <a:gd name="T17" fmla="*/ 8 h 965"/>
                <a:gd name="T18" fmla="*/ 592 w 606"/>
                <a:gd name="T19" fmla="*/ 14 h 965"/>
                <a:gd name="T20" fmla="*/ 598 w 606"/>
                <a:gd name="T21" fmla="*/ 28 h 965"/>
                <a:gd name="T22" fmla="*/ 598 w 606"/>
                <a:gd name="T23" fmla="*/ 937 h 965"/>
                <a:gd name="T24" fmla="*/ 592 w 606"/>
                <a:gd name="T25" fmla="*/ 951 h 965"/>
                <a:gd name="T26" fmla="*/ 578 w 606"/>
                <a:gd name="T27" fmla="*/ 957 h 965"/>
                <a:gd name="T28" fmla="*/ 578 w 606"/>
                <a:gd name="T29" fmla="*/ 961 h 965"/>
                <a:gd name="T30" fmla="*/ 578 w 606"/>
                <a:gd name="T31" fmla="*/ 965 h 965"/>
                <a:gd name="T32" fmla="*/ 606 w 606"/>
                <a:gd name="T33" fmla="*/ 937 h 965"/>
                <a:gd name="T34" fmla="*/ 606 w 606"/>
                <a:gd name="T35" fmla="*/ 28 h 965"/>
                <a:gd name="T36" fmla="*/ 578 w 606"/>
                <a:gd name="T37" fmla="*/ 0 h 965"/>
                <a:gd name="T38" fmla="*/ 28 w 606"/>
                <a:gd name="T39" fmla="*/ 0 h 965"/>
                <a:gd name="T40" fmla="*/ 0 w 606"/>
                <a:gd name="T41" fmla="*/ 28 h 965"/>
                <a:gd name="T42" fmla="*/ 0 w 606"/>
                <a:gd name="T43" fmla="*/ 937 h 965"/>
                <a:gd name="T44" fmla="*/ 28 w 606"/>
                <a:gd name="T45" fmla="*/ 965 h 965"/>
                <a:gd name="T46" fmla="*/ 578 w 606"/>
                <a:gd name="T47" fmla="*/ 965 h 965"/>
                <a:gd name="T48" fmla="*/ 578 w 606"/>
                <a:gd name="T49" fmla="*/ 961 h 9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06" h="965">
                  <a:moveTo>
                    <a:pt x="578" y="961"/>
                  </a:moveTo>
                  <a:cubicBezTo>
                    <a:pt x="578" y="957"/>
                    <a:pt x="578" y="957"/>
                    <a:pt x="578" y="957"/>
                  </a:cubicBezTo>
                  <a:cubicBezTo>
                    <a:pt x="28" y="957"/>
                    <a:pt x="28" y="957"/>
                    <a:pt x="28" y="957"/>
                  </a:cubicBezTo>
                  <a:cubicBezTo>
                    <a:pt x="22" y="957"/>
                    <a:pt x="17" y="955"/>
                    <a:pt x="14" y="951"/>
                  </a:cubicBezTo>
                  <a:cubicBezTo>
                    <a:pt x="10" y="948"/>
                    <a:pt x="8" y="943"/>
                    <a:pt x="8" y="937"/>
                  </a:cubicBezTo>
                  <a:cubicBezTo>
                    <a:pt x="8" y="28"/>
                    <a:pt x="8" y="28"/>
                    <a:pt x="8" y="28"/>
                  </a:cubicBezTo>
                  <a:cubicBezTo>
                    <a:pt x="8" y="23"/>
                    <a:pt x="10" y="18"/>
                    <a:pt x="14" y="14"/>
                  </a:cubicBezTo>
                  <a:cubicBezTo>
                    <a:pt x="17" y="11"/>
                    <a:pt x="22" y="8"/>
                    <a:pt x="28" y="8"/>
                  </a:cubicBezTo>
                  <a:cubicBezTo>
                    <a:pt x="578" y="8"/>
                    <a:pt x="578" y="8"/>
                    <a:pt x="578" y="8"/>
                  </a:cubicBezTo>
                  <a:cubicBezTo>
                    <a:pt x="583" y="8"/>
                    <a:pt x="588" y="11"/>
                    <a:pt x="592" y="14"/>
                  </a:cubicBezTo>
                  <a:cubicBezTo>
                    <a:pt x="596" y="18"/>
                    <a:pt x="598" y="23"/>
                    <a:pt x="598" y="28"/>
                  </a:cubicBezTo>
                  <a:cubicBezTo>
                    <a:pt x="598" y="937"/>
                    <a:pt x="598" y="937"/>
                    <a:pt x="598" y="937"/>
                  </a:cubicBezTo>
                  <a:cubicBezTo>
                    <a:pt x="598" y="943"/>
                    <a:pt x="596" y="948"/>
                    <a:pt x="592" y="951"/>
                  </a:cubicBezTo>
                  <a:cubicBezTo>
                    <a:pt x="588" y="955"/>
                    <a:pt x="583" y="957"/>
                    <a:pt x="578" y="957"/>
                  </a:cubicBezTo>
                  <a:cubicBezTo>
                    <a:pt x="578" y="961"/>
                    <a:pt x="578" y="961"/>
                    <a:pt x="578" y="961"/>
                  </a:cubicBezTo>
                  <a:cubicBezTo>
                    <a:pt x="578" y="965"/>
                    <a:pt x="578" y="965"/>
                    <a:pt x="578" y="965"/>
                  </a:cubicBezTo>
                  <a:cubicBezTo>
                    <a:pt x="593" y="965"/>
                    <a:pt x="606" y="953"/>
                    <a:pt x="606" y="937"/>
                  </a:cubicBezTo>
                  <a:cubicBezTo>
                    <a:pt x="606" y="28"/>
                    <a:pt x="606" y="28"/>
                    <a:pt x="606" y="28"/>
                  </a:cubicBezTo>
                  <a:cubicBezTo>
                    <a:pt x="606" y="13"/>
                    <a:pt x="593" y="0"/>
                    <a:pt x="578" y="0"/>
                  </a:cubicBezTo>
                  <a:cubicBezTo>
                    <a:pt x="28" y="0"/>
                    <a:pt x="28" y="0"/>
                    <a:pt x="28" y="0"/>
                  </a:cubicBezTo>
                  <a:cubicBezTo>
                    <a:pt x="12" y="0"/>
                    <a:pt x="0" y="13"/>
                    <a:pt x="0" y="28"/>
                  </a:cubicBezTo>
                  <a:cubicBezTo>
                    <a:pt x="0" y="937"/>
                    <a:pt x="0" y="937"/>
                    <a:pt x="0" y="937"/>
                  </a:cubicBezTo>
                  <a:cubicBezTo>
                    <a:pt x="0" y="953"/>
                    <a:pt x="12" y="965"/>
                    <a:pt x="28" y="965"/>
                  </a:cubicBezTo>
                  <a:cubicBezTo>
                    <a:pt x="578" y="965"/>
                    <a:pt x="578" y="965"/>
                    <a:pt x="578" y="965"/>
                  </a:cubicBezTo>
                  <a:cubicBezTo>
                    <a:pt x="578" y="961"/>
                    <a:pt x="578" y="961"/>
                    <a:pt x="578" y="961"/>
                  </a:cubicBezTo>
                </a:path>
              </a:pathLst>
            </a:custGeom>
            <a:solidFill>
              <a:srgbClr val="9E9E9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91" name="Freeform 24"/>
            <p:cNvSpPr>
              <a:spLocks/>
            </p:cNvSpPr>
            <p:nvPr/>
          </p:nvSpPr>
          <p:spPr bwMode="auto">
            <a:xfrm>
              <a:off x="2767013" y="3270250"/>
              <a:ext cx="879475" cy="1406525"/>
            </a:xfrm>
            <a:custGeom>
              <a:avLst/>
              <a:gdLst>
                <a:gd name="T0" fmla="*/ 570 w 590"/>
                <a:gd name="T1" fmla="*/ 0 h 949"/>
                <a:gd name="T2" fmla="*/ 20 w 590"/>
                <a:gd name="T3" fmla="*/ 0 h 949"/>
                <a:gd name="T4" fmla="*/ 6 w 590"/>
                <a:gd name="T5" fmla="*/ 6 h 949"/>
                <a:gd name="T6" fmla="*/ 0 w 590"/>
                <a:gd name="T7" fmla="*/ 20 h 949"/>
                <a:gd name="T8" fmla="*/ 0 w 590"/>
                <a:gd name="T9" fmla="*/ 929 h 949"/>
                <a:gd name="T10" fmla="*/ 6 w 590"/>
                <a:gd name="T11" fmla="*/ 943 h 949"/>
                <a:gd name="T12" fmla="*/ 20 w 590"/>
                <a:gd name="T13" fmla="*/ 949 h 949"/>
                <a:gd name="T14" fmla="*/ 570 w 590"/>
                <a:gd name="T15" fmla="*/ 949 h 949"/>
                <a:gd name="T16" fmla="*/ 584 w 590"/>
                <a:gd name="T17" fmla="*/ 943 h 949"/>
                <a:gd name="T18" fmla="*/ 590 w 590"/>
                <a:gd name="T19" fmla="*/ 929 h 949"/>
                <a:gd name="T20" fmla="*/ 590 w 590"/>
                <a:gd name="T21" fmla="*/ 20 h 949"/>
                <a:gd name="T22" fmla="*/ 584 w 590"/>
                <a:gd name="T23" fmla="*/ 6 h 949"/>
                <a:gd name="T24" fmla="*/ 570 w 590"/>
                <a:gd name="T25" fmla="*/ 0 h 9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90" h="949">
                  <a:moveTo>
                    <a:pt x="570" y="0"/>
                  </a:moveTo>
                  <a:cubicBezTo>
                    <a:pt x="20" y="0"/>
                    <a:pt x="20" y="0"/>
                    <a:pt x="20" y="0"/>
                  </a:cubicBezTo>
                  <a:cubicBezTo>
                    <a:pt x="14" y="0"/>
                    <a:pt x="9" y="3"/>
                    <a:pt x="6" y="6"/>
                  </a:cubicBezTo>
                  <a:cubicBezTo>
                    <a:pt x="2" y="10"/>
                    <a:pt x="0" y="15"/>
                    <a:pt x="0" y="20"/>
                  </a:cubicBezTo>
                  <a:cubicBezTo>
                    <a:pt x="0" y="929"/>
                    <a:pt x="0" y="929"/>
                    <a:pt x="0" y="929"/>
                  </a:cubicBezTo>
                  <a:cubicBezTo>
                    <a:pt x="0" y="935"/>
                    <a:pt x="2" y="940"/>
                    <a:pt x="6" y="943"/>
                  </a:cubicBezTo>
                  <a:cubicBezTo>
                    <a:pt x="9" y="947"/>
                    <a:pt x="14" y="949"/>
                    <a:pt x="20" y="949"/>
                  </a:cubicBezTo>
                  <a:cubicBezTo>
                    <a:pt x="570" y="949"/>
                    <a:pt x="570" y="949"/>
                    <a:pt x="570" y="949"/>
                  </a:cubicBezTo>
                  <a:cubicBezTo>
                    <a:pt x="575" y="949"/>
                    <a:pt x="580" y="947"/>
                    <a:pt x="584" y="943"/>
                  </a:cubicBezTo>
                  <a:cubicBezTo>
                    <a:pt x="588" y="940"/>
                    <a:pt x="590" y="935"/>
                    <a:pt x="590" y="929"/>
                  </a:cubicBezTo>
                  <a:cubicBezTo>
                    <a:pt x="590" y="20"/>
                    <a:pt x="590" y="20"/>
                    <a:pt x="590" y="20"/>
                  </a:cubicBezTo>
                  <a:cubicBezTo>
                    <a:pt x="590" y="15"/>
                    <a:pt x="588" y="10"/>
                    <a:pt x="584" y="6"/>
                  </a:cubicBezTo>
                  <a:cubicBezTo>
                    <a:pt x="580" y="3"/>
                    <a:pt x="575" y="0"/>
                    <a:pt x="570" y="0"/>
                  </a:cubicBezTo>
                </a:path>
              </a:pathLst>
            </a:custGeom>
            <a:solidFill>
              <a:srgbClr val="0034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92" name="Freeform 25"/>
            <p:cNvSpPr>
              <a:spLocks noEditPoints="1"/>
            </p:cNvSpPr>
            <p:nvPr/>
          </p:nvSpPr>
          <p:spPr bwMode="auto">
            <a:xfrm>
              <a:off x="2760663" y="3265488"/>
              <a:ext cx="890588" cy="1417638"/>
            </a:xfrm>
            <a:custGeom>
              <a:avLst/>
              <a:gdLst>
                <a:gd name="T0" fmla="*/ 24 w 598"/>
                <a:gd name="T1" fmla="*/ 953 h 957"/>
                <a:gd name="T2" fmla="*/ 10 w 598"/>
                <a:gd name="T3" fmla="*/ 947 h 957"/>
                <a:gd name="T4" fmla="*/ 4 w 598"/>
                <a:gd name="T5" fmla="*/ 933 h 957"/>
                <a:gd name="T6" fmla="*/ 4 w 598"/>
                <a:gd name="T7" fmla="*/ 24 h 957"/>
                <a:gd name="T8" fmla="*/ 10 w 598"/>
                <a:gd name="T9" fmla="*/ 10 h 957"/>
                <a:gd name="T10" fmla="*/ 24 w 598"/>
                <a:gd name="T11" fmla="*/ 4 h 957"/>
                <a:gd name="T12" fmla="*/ 574 w 598"/>
                <a:gd name="T13" fmla="*/ 4 h 957"/>
                <a:gd name="T14" fmla="*/ 588 w 598"/>
                <a:gd name="T15" fmla="*/ 10 h 957"/>
                <a:gd name="T16" fmla="*/ 594 w 598"/>
                <a:gd name="T17" fmla="*/ 24 h 957"/>
                <a:gd name="T18" fmla="*/ 594 w 598"/>
                <a:gd name="T19" fmla="*/ 933 h 957"/>
                <a:gd name="T20" fmla="*/ 588 w 598"/>
                <a:gd name="T21" fmla="*/ 947 h 957"/>
                <a:gd name="T22" fmla="*/ 574 w 598"/>
                <a:gd name="T23" fmla="*/ 953 h 957"/>
                <a:gd name="T24" fmla="*/ 574 w 598"/>
                <a:gd name="T25" fmla="*/ 953 h 957"/>
                <a:gd name="T26" fmla="*/ 24 w 598"/>
                <a:gd name="T27" fmla="*/ 953 h 957"/>
                <a:gd name="T28" fmla="*/ 574 w 598"/>
                <a:gd name="T29" fmla="*/ 0 h 957"/>
                <a:gd name="T30" fmla="*/ 24 w 598"/>
                <a:gd name="T31" fmla="*/ 0 h 957"/>
                <a:gd name="T32" fmla="*/ 0 w 598"/>
                <a:gd name="T33" fmla="*/ 24 h 957"/>
                <a:gd name="T34" fmla="*/ 0 w 598"/>
                <a:gd name="T35" fmla="*/ 933 h 957"/>
                <a:gd name="T36" fmla="*/ 24 w 598"/>
                <a:gd name="T37" fmla="*/ 957 h 957"/>
                <a:gd name="T38" fmla="*/ 574 w 598"/>
                <a:gd name="T39" fmla="*/ 957 h 957"/>
                <a:gd name="T40" fmla="*/ 598 w 598"/>
                <a:gd name="T41" fmla="*/ 933 h 957"/>
                <a:gd name="T42" fmla="*/ 598 w 598"/>
                <a:gd name="T43" fmla="*/ 24 h 957"/>
                <a:gd name="T44" fmla="*/ 574 w 598"/>
                <a:gd name="T45" fmla="*/ 0 h 9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98" h="957">
                  <a:moveTo>
                    <a:pt x="24" y="953"/>
                  </a:moveTo>
                  <a:cubicBezTo>
                    <a:pt x="18" y="953"/>
                    <a:pt x="13" y="951"/>
                    <a:pt x="10" y="947"/>
                  </a:cubicBezTo>
                  <a:cubicBezTo>
                    <a:pt x="6" y="944"/>
                    <a:pt x="4" y="939"/>
                    <a:pt x="4" y="933"/>
                  </a:cubicBezTo>
                  <a:cubicBezTo>
                    <a:pt x="4" y="24"/>
                    <a:pt x="4" y="24"/>
                    <a:pt x="4" y="24"/>
                  </a:cubicBezTo>
                  <a:cubicBezTo>
                    <a:pt x="4" y="19"/>
                    <a:pt x="6" y="14"/>
                    <a:pt x="10" y="10"/>
                  </a:cubicBezTo>
                  <a:cubicBezTo>
                    <a:pt x="13" y="7"/>
                    <a:pt x="18" y="4"/>
                    <a:pt x="24" y="4"/>
                  </a:cubicBezTo>
                  <a:cubicBezTo>
                    <a:pt x="574" y="4"/>
                    <a:pt x="574" y="4"/>
                    <a:pt x="574" y="4"/>
                  </a:cubicBezTo>
                  <a:cubicBezTo>
                    <a:pt x="579" y="4"/>
                    <a:pt x="584" y="7"/>
                    <a:pt x="588" y="10"/>
                  </a:cubicBezTo>
                  <a:cubicBezTo>
                    <a:pt x="592" y="14"/>
                    <a:pt x="594" y="19"/>
                    <a:pt x="594" y="24"/>
                  </a:cubicBezTo>
                  <a:cubicBezTo>
                    <a:pt x="594" y="933"/>
                    <a:pt x="594" y="933"/>
                    <a:pt x="594" y="933"/>
                  </a:cubicBezTo>
                  <a:cubicBezTo>
                    <a:pt x="594" y="939"/>
                    <a:pt x="592" y="944"/>
                    <a:pt x="588" y="947"/>
                  </a:cubicBezTo>
                  <a:cubicBezTo>
                    <a:pt x="584" y="951"/>
                    <a:pt x="579" y="953"/>
                    <a:pt x="574" y="953"/>
                  </a:cubicBezTo>
                  <a:cubicBezTo>
                    <a:pt x="574" y="953"/>
                    <a:pt x="574" y="953"/>
                    <a:pt x="574" y="953"/>
                  </a:cubicBezTo>
                  <a:cubicBezTo>
                    <a:pt x="24" y="953"/>
                    <a:pt x="24" y="953"/>
                    <a:pt x="24" y="953"/>
                  </a:cubicBezTo>
                  <a:moveTo>
                    <a:pt x="574" y="0"/>
                  </a:moveTo>
                  <a:cubicBezTo>
                    <a:pt x="24" y="0"/>
                    <a:pt x="24" y="0"/>
                    <a:pt x="24" y="0"/>
                  </a:cubicBezTo>
                  <a:cubicBezTo>
                    <a:pt x="11" y="0"/>
                    <a:pt x="0" y="11"/>
                    <a:pt x="0" y="24"/>
                  </a:cubicBezTo>
                  <a:cubicBezTo>
                    <a:pt x="0" y="933"/>
                    <a:pt x="0" y="933"/>
                    <a:pt x="0" y="933"/>
                  </a:cubicBezTo>
                  <a:cubicBezTo>
                    <a:pt x="0" y="946"/>
                    <a:pt x="11" y="957"/>
                    <a:pt x="24" y="957"/>
                  </a:cubicBezTo>
                  <a:cubicBezTo>
                    <a:pt x="574" y="957"/>
                    <a:pt x="574" y="957"/>
                    <a:pt x="574" y="957"/>
                  </a:cubicBezTo>
                  <a:cubicBezTo>
                    <a:pt x="587" y="957"/>
                    <a:pt x="598" y="946"/>
                    <a:pt x="598" y="933"/>
                  </a:cubicBezTo>
                  <a:cubicBezTo>
                    <a:pt x="598" y="24"/>
                    <a:pt x="598" y="24"/>
                    <a:pt x="598" y="24"/>
                  </a:cubicBezTo>
                  <a:cubicBezTo>
                    <a:pt x="598" y="11"/>
                    <a:pt x="587" y="0"/>
                    <a:pt x="574" y="0"/>
                  </a:cubicBezTo>
                </a:path>
              </a:pathLst>
            </a:custGeom>
            <a:solidFill>
              <a:srgbClr val="6E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93" name="Rectangle 92"/>
            <p:cNvSpPr>
              <a:spLocks noChangeArrowheads="1"/>
            </p:cNvSpPr>
            <p:nvPr/>
          </p:nvSpPr>
          <p:spPr bwMode="auto">
            <a:xfrm>
              <a:off x="2832100" y="3336925"/>
              <a:ext cx="747713" cy="127476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94" name="Rectangle 93"/>
            <p:cNvSpPr>
              <a:spLocks noChangeArrowheads="1"/>
            </p:cNvSpPr>
            <p:nvPr/>
          </p:nvSpPr>
          <p:spPr bwMode="auto">
            <a:xfrm>
              <a:off x="2832100" y="3336925"/>
              <a:ext cx="747713" cy="168275"/>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95" name="Rectangle 94"/>
            <p:cNvSpPr>
              <a:spLocks noChangeArrowheads="1"/>
            </p:cNvSpPr>
            <p:nvPr/>
          </p:nvSpPr>
          <p:spPr bwMode="auto">
            <a:xfrm>
              <a:off x="2882900" y="4056063"/>
              <a:ext cx="249238" cy="19050"/>
            </a:xfrm>
            <a:prstGeom prst="rect">
              <a:avLst/>
            </a:prstGeom>
            <a:solidFill>
              <a:srgbClr val="5C2D9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96" name="Rectangle 95"/>
            <p:cNvSpPr>
              <a:spLocks noChangeArrowheads="1"/>
            </p:cNvSpPr>
            <p:nvPr/>
          </p:nvSpPr>
          <p:spPr bwMode="auto">
            <a:xfrm>
              <a:off x="3132138" y="4056063"/>
              <a:ext cx="381000" cy="19050"/>
            </a:xfrm>
            <a:prstGeom prst="rect">
              <a:avLst/>
            </a:prstGeom>
            <a:solidFill>
              <a:srgbClr val="DDDDD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97" name="Rectangle 96"/>
            <p:cNvSpPr>
              <a:spLocks noChangeArrowheads="1"/>
            </p:cNvSpPr>
            <p:nvPr/>
          </p:nvSpPr>
          <p:spPr bwMode="auto">
            <a:xfrm>
              <a:off x="2882900" y="4135438"/>
              <a:ext cx="630238" cy="17463"/>
            </a:xfrm>
            <a:prstGeom prst="rect">
              <a:avLst/>
            </a:prstGeom>
            <a:solidFill>
              <a:srgbClr val="DDDDD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98" name="Rectangle 97"/>
            <p:cNvSpPr>
              <a:spLocks noChangeArrowheads="1"/>
            </p:cNvSpPr>
            <p:nvPr/>
          </p:nvSpPr>
          <p:spPr bwMode="auto">
            <a:xfrm>
              <a:off x="2882900" y="4211638"/>
              <a:ext cx="630238" cy="17463"/>
            </a:xfrm>
            <a:prstGeom prst="rect">
              <a:avLst/>
            </a:prstGeom>
            <a:solidFill>
              <a:srgbClr val="DDDDD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99" name="Rectangle 98"/>
            <p:cNvSpPr>
              <a:spLocks noChangeArrowheads="1"/>
            </p:cNvSpPr>
            <p:nvPr/>
          </p:nvSpPr>
          <p:spPr bwMode="auto">
            <a:xfrm>
              <a:off x="2882900" y="4289425"/>
              <a:ext cx="630238" cy="17463"/>
            </a:xfrm>
            <a:prstGeom prst="rect">
              <a:avLst/>
            </a:prstGeom>
            <a:solidFill>
              <a:srgbClr val="DDDDD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00" name="Rectangle 99"/>
            <p:cNvSpPr>
              <a:spLocks noChangeArrowheads="1"/>
            </p:cNvSpPr>
            <p:nvPr/>
          </p:nvSpPr>
          <p:spPr bwMode="auto">
            <a:xfrm>
              <a:off x="3230563" y="4289425"/>
              <a:ext cx="282575" cy="19050"/>
            </a:xfrm>
            <a:prstGeom prst="rect">
              <a:avLst/>
            </a:prstGeom>
            <a:solidFill>
              <a:srgbClr val="40C5A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01" name="Rectangle 100"/>
            <p:cNvSpPr>
              <a:spLocks noChangeArrowheads="1"/>
            </p:cNvSpPr>
            <p:nvPr/>
          </p:nvSpPr>
          <p:spPr bwMode="auto">
            <a:xfrm>
              <a:off x="2882900" y="4365625"/>
              <a:ext cx="630238" cy="19050"/>
            </a:xfrm>
            <a:prstGeom prst="rect">
              <a:avLst/>
            </a:prstGeom>
            <a:solidFill>
              <a:srgbClr val="DDDDD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02" name="Rectangle 101"/>
            <p:cNvSpPr>
              <a:spLocks noChangeArrowheads="1"/>
            </p:cNvSpPr>
            <p:nvPr/>
          </p:nvSpPr>
          <p:spPr bwMode="auto">
            <a:xfrm>
              <a:off x="2882900" y="4443413"/>
              <a:ext cx="630238" cy="17463"/>
            </a:xfrm>
            <a:prstGeom prst="rect">
              <a:avLst/>
            </a:prstGeom>
            <a:solidFill>
              <a:srgbClr val="DDDDD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03" name="Rectangle 102"/>
            <p:cNvSpPr>
              <a:spLocks noChangeArrowheads="1"/>
            </p:cNvSpPr>
            <p:nvPr/>
          </p:nvSpPr>
          <p:spPr bwMode="auto">
            <a:xfrm>
              <a:off x="2882900" y="4443413"/>
              <a:ext cx="347663" cy="17463"/>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04" name="Freeform 45"/>
            <p:cNvSpPr>
              <a:spLocks/>
            </p:cNvSpPr>
            <p:nvPr/>
          </p:nvSpPr>
          <p:spPr bwMode="auto">
            <a:xfrm>
              <a:off x="2863850" y="3722688"/>
              <a:ext cx="287338" cy="339725"/>
            </a:xfrm>
            <a:custGeom>
              <a:avLst/>
              <a:gdLst>
                <a:gd name="T0" fmla="*/ 164 w 193"/>
                <a:gd name="T1" fmla="*/ 113 h 229"/>
                <a:gd name="T2" fmla="*/ 97 w 193"/>
                <a:gd name="T3" fmla="*/ 229 h 229"/>
                <a:gd name="T4" fmla="*/ 30 w 193"/>
                <a:gd name="T5" fmla="*/ 113 h 229"/>
                <a:gd name="T6" fmla="*/ 95 w 193"/>
                <a:gd name="T7" fmla="*/ 0 h 229"/>
                <a:gd name="T8" fmla="*/ 98 w 193"/>
                <a:gd name="T9" fmla="*/ 0 h 229"/>
                <a:gd name="T10" fmla="*/ 164 w 193"/>
                <a:gd name="T11" fmla="*/ 113 h 229"/>
              </a:gdLst>
              <a:ahLst/>
              <a:cxnLst>
                <a:cxn ang="0">
                  <a:pos x="T0" y="T1"/>
                </a:cxn>
                <a:cxn ang="0">
                  <a:pos x="T2" y="T3"/>
                </a:cxn>
                <a:cxn ang="0">
                  <a:pos x="T4" y="T5"/>
                </a:cxn>
                <a:cxn ang="0">
                  <a:pos x="T6" y="T7"/>
                </a:cxn>
                <a:cxn ang="0">
                  <a:pos x="T8" y="T9"/>
                </a:cxn>
                <a:cxn ang="0">
                  <a:pos x="T10" y="T11"/>
                </a:cxn>
              </a:cxnLst>
              <a:rect l="0" t="0" r="r" b="b"/>
              <a:pathLst>
                <a:path w="193" h="229">
                  <a:moveTo>
                    <a:pt x="164" y="113"/>
                  </a:moveTo>
                  <a:cubicBezTo>
                    <a:pt x="97" y="229"/>
                    <a:pt x="97" y="229"/>
                    <a:pt x="97" y="229"/>
                  </a:cubicBezTo>
                  <a:cubicBezTo>
                    <a:pt x="30" y="113"/>
                    <a:pt x="30" y="113"/>
                    <a:pt x="30" y="113"/>
                  </a:cubicBezTo>
                  <a:cubicBezTo>
                    <a:pt x="0" y="63"/>
                    <a:pt x="37" y="0"/>
                    <a:pt x="95" y="0"/>
                  </a:cubicBezTo>
                  <a:cubicBezTo>
                    <a:pt x="98" y="0"/>
                    <a:pt x="98" y="0"/>
                    <a:pt x="98" y="0"/>
                  </a:cubicBezTo>
                  <a:cubicBezTo>
                    <a:pt x="156" y="0"/>
                    <a:pt x="193" y="63"/>
                    <a:pt x="164" y="113"/>
                  </a:cubicBezTo>
                  <a:close/>
                </a:path>
              </a:pathLst>
            </a:custGeom>
            <a:solidFill>
              <a:srgbClr val="5C2D9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05" name="Freeform 46"/>
            <p:cNvSpPr>
              <a:spLocks/>
            </p:cNvSpPr>
            <p:nvPr/>
          </p:nvSpPr>
          <p:spPr bwMode="auto">
            <a:xfrm>
              <a:off x="2946400" y="3759200"/>
              <a:ext cx="120650" cy="217488"/>
            </a:xfrm>
            <a:custGeom>
              <a:avLst/>
              <a:gdLst>
                <a:gd name="T0" fmla="*/ 81 w 81"/>
                <a:gd name="T1" fmla="*/ 78 h 147"/>
                <a:gd name="T2" fmla="*/ 78 w 81"/>
                <a:gd name="T3" fmla="*/ 71 h 147"/>
                <a:gd name="T4" fmla="*/ 78 w 81"/>
                <a:gd name="T5" fmla="*/ 64 h 147"/>
                <a:gd name="T6" fmla="*/ 78 w 81"/>
                <a:gd name="T7" fmla="*/ 57 h 147"/>
                <a:gd name="T8" fmla="*/ 58 w 81"/>
                <a:gd name="T9" fmla="*/ 24 h 147"/>
                <a:gd name="T10" fmla="*/ 59 w 81"/>
                <a:gd name="T11" fmla="*/ 18 h 147"/>
                <a:gd name="T12" fmla="*/ 41 w 81"/>
                <a:gd name="T13" fmla="*/ 0 h 147"/>
                <a:gd name="T14" fmla="*/ 23 w 81"/>
                <a:gd name="T15" fmla="*/ 18 h 147"/>
                <a:gd name="T16" fmla="*/ 23 w 81"/>
                <a:gd name="T17" fmla="*/ 24 h 147"/>
                <a:gd name="T18" fmla="*/ 3 w 81"/>
                <a:gd name="T19" fmla="*/ 57 h 147"/>
                <a:gd name="T20" fmla="*/ 3 w 81"/>
                <a:gd name="T21" fmla="*/ 64 h 147"/>
                <a:gd name="T22" fmla="*/ 3 w 81"/>
                <a:gd name="T23" fmla="*/ 72 h 147"/>
                <a:gd name="T24" fmla="*/ 0 w 81"/>
                <a:gd name="T25" fmla="*/ 78 h 147"/>
                <a:gd name="T26" fmla="*/ 3 w 81"/>
                <a:gd name="T27" fmla="*/ 84 h 147"/>
                <a:gd name="T28" fmla="*/ 3 w 81"/>
                <a:gd name="T29" fmla="*/ 96 h 147"/>
                <a:gd name="T30" fmla="*/ 8 w 81"/>
                <a:gd name="T31" fmla="*/ 110 h 147"/>
                <a:gd name="T32" fmla="*/ 8 w 81"/>
                <a:gd name="T33" fmla="*/ 110 h 147"/>
                <a:gd name="T34" fmla="*/ 8 w 81"/>
                <a:gd name="T35" fmla="*/ 92 h 147"/>
                <a:gd name="T36" fmla="*/ 24 w 81"/>
                <a:gd name="T37" fmla="*/ 111 h 147"/>
                <a:gd name="T38" fmla="*/ 24 w 81"/>
                <a:gd name="T39" fmla="*/ 122 h 147"/>
                <a:gd name="T40" fmla="*/ 15 w 81"/>
                <a:gd name="T41" fmla="*/ 122 h 147"/>
                <a:gd name="T42" fmla="*/ 41 w 81"/>
                <a:gd name="T43" fmla="*/ 147 h 147"/>
                <a:gd name="T44" fmla="*/ 66 w 81"/>
                <a:gd name="T45" fmla="*/ 122 h 147"/>
                <a:gd name="T46" fmla="*/ 58 w 81"/>
                <a:gd name="T47" fmla="*/ 122 h 147"/>
                <a:gd name="T48" fmla="*/ 58 w 81"/>
                <a:gd name="T49" fmla="*/ 111 h 147"/>
                <a:gd name="T50" fmla="*/ 73 w 81"/>
                <a:gd name="T51" fmla="*/ 92 h 147"/>
                <a:gd name="T52" fmla="*/ 73 w 81"/>
                <a:gd name="T53" fmla="*/ 110 h 147"/>
                <a:gd name="T54" fmla="*/ 73 w 81"/>
                <a:gd name="T55" fmla="*/ 110 h 147"/>
                <a:gd name="T56" fmla="*/ 78 w 81"/>
                <a:gd name="T57" fmla="*/ 96 h 147"/>
                <a:gd name="T58" fmla="*/ 78 w 81"/>
                <a:gd name="T59" fmla="*/ 84 h 147"/>
                <a:gd name="T60" fmla="*/ 81 w 81"/>
                <a:gd name="T61" fmla="*/ 78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81" h="147">
                  <a:moveTo>
                    <a:pt x="81" y="78"/>
                  </a:moveTo>
                  <a:cubicBezTo>
                    <a:pt x="81" y="75"/>
                    <a:pt x="80" y="73"/>
                    <a:pt x="78" y="71"/>
                  </a:cubicBezTo>
                  <a:cubicBezTo>
                    <a:pt x="78" y="64"/>
                    <a:pt x="78" y="64"/>
                    <a:pt x="78" y="64"/>
                  </a:cubicBezTo>
                  <a:cubicBezTo>
                    <a:pt x="78" y="57"/>
                    <a:pt x="78" y="57"/>
                    <a:pt x="78" y="57"/>
                  </a:cubicBezTo>
                  <a:cubicBezTo>
                    <a:pt x="78" y="42"/>
                    <a:pt x="70" y="30"/>
                    <a:pt x="58" y="24"/>
                  </a:cubicBezTo>
                  <a:cubicBezTo>
                    <a:pt x="58" y="22"/>
                    <a:pt x="59" y="20"/>
                    <a:pt x="59" y="18"/>
                  </a:cubicBezTo>
                  <a:cubicBezTo>
                    <a:pt x="59" y="8"/>
                    <a:pt x="51" y="0"/>
                    <a:pt x="41" y="0"/>
                  </a:cubicBezTo>
                  <a:cubicBezTo>
                    <a:pt x="31" y="0"/>
                    <a:pt x="23" y="8"/>
                    <a:pt x="23" y="18"/>
                  </a:cubicBezTo>
                  <a:cubicBezTo>
                    <a:pt x="23" y="20"/>
                    <a:pt x="23" y="22"/>
                    <a:pt x="23" y="24"/>
                  </a:cubicBezTo>
                  <a:cubicBezTo>
                    <a:pt x="11" y="30"/>
                    <a:pt x="3" y="42"/>
                    <a:pt x="3" y="57"/>
                  </a:cubicBezTo>
                  <a:cubicBezTo>
                    <a:pt x="3" y="64"/>
                    <a:pt x="3" y="64"/>
                    <a:pt x="3" y="64"/>
                  </a:cubicBezTo>
                  <a:cubicBezTo>
                    <a:pt x="3" y="72"/>
                    <a:pt x="3" y="72"/>
                    <a:pt x="3" y="72"/>
                  </a:cubicBezTo>
                  <a:cubicBezTo>
                    <a:pt x="1" y="73"/>
                    <a:pt x="0" y="75"/>
                    <a:pt x="0" y="78"/>
                  </a:cubicBezTo>
                  <a:cubicBezTo>
                    <a:pt x="0" y="80"/>
                    <a:pt x="1" y="83"/>
                    <a:pt x="3" y="84"/>
                  </a:cubicBezTo>
                  <a:cubicBezTo>
                    <a:pt x="3" y="96"/>
                    <a:pt x="3" y="96"/>
                    <a:pt x="3" y="96"/>
                  </a:cubicBezTo>
                  <a:cubicBezTo>
                    <a:pt x="3" y="101"/>
                    <a:pt x="5" y="106"/>
                    <a:pt x="8" y="110"/>
                  </a:cubicBezTo>
                  <a:cubicBezTo>
                    <a:pt x="8" y="110"/>
                    <a:pt x="8" y="110"/>
                    <a:pt x="8" y="110"/>
                  </a:cubicBezTo>
                  <a:cubicBezTo>
                    <a:pt x="8" y="92"/>
                    <a:pt x="8" y="92"/>
                    <a:pt x="8" y="92"/>
                  </a:cubicBezTo>
                  <a:cubicBezTo>
                    <a:pt x="11" y="100"/>
                    <a:pt x="16" y="107"/>
                    <a:pt x="24" y="111"/>
                  </a:cubicBezTo>
                  <a:cubicBezTo>
                    <a:pt x="24" y="122"/>
                    <a:pt x="24" y="122"/>
                    <a:pt x="24" y="122"/>
                  </a:cubicBezTo>
                  <a:cubicBezTo>
                    <a:pt x="15" y="122"/>
                    <a:pt x="15" y="122"/>
                    <a:pt x="15" y="122"/>
                  </a:cubicBezTo>
                  <a:cubicBezTo>
                    <a:pt x="15" y="136"/>
                    <a:pt x="27" y="147"/>
                    <a:pt x="41" y="147"/>
                  </a:cubicBezTo>
                  <a:cubicBezTo>
                    <a:pt x="55" y="147"/>
                    <a:pt x="66" y="136"/>
                    <a:pt x="66" y="122"/>
                  </a:cubicBezTo>
                  <a:cubicBezTo>
                    <a:pt x="58" y="122"/>
                    <a:pt x="58" y="122"/>
                    <a:pt x="58" y="122"/>
                  </a:cubicBezTo>
                  <a:cubicBezTo>
                    <a:pt x="58" y="111"/>
                    <a:pt x="58" y="111"/>
                    <a:pt x="58" y="111"/>
                  </a:cubicBezTo>
                  <a:cubicBezTo>
                    <a:pt x="65" y="107"/>
                    <a:pt x="70" y="100"/>
                    <a:pt x="73" y="92"/>
                  </a:cubicBezTo>
                  <a:cubicBezTo>
                    <a:pt x="73" y="110"/>
                    <a:pt x="73" y="110"/>
                    <a:pt x="73" y="110"/>
                  </a:cubicBezTo>
                  <a:cubicBezTo>
                    <a:pt x="73" y="110"/>
                    <a:pt x="73" y="110"/>
                    <a:pt x="73" y="110"/>
                  </a:cubicBezTo>
                  <a:cubicBezTo>
                    <a:pt x="76" y="106"/>
                    <a:pt x="78" y="101"/>
                    <a:pt x="78" y="96"/>
                  </a:cubicBezTo>
                  <a:cubicBezTo>
                    <a:pt x="78" y="84"/>
                    <a:pt x="78" y="84"/>
                    <a:pt x="78" y="84"/>
                  </a:cubicBezTo>
                  <a:cubicBezTo>
                    <a:pt x="80" y="83"/>
                    <a:pt x="81" y="80"/>
                    <a:pt x="81" y="7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06" name="Freeform 47"/>
            <p:cNvSpPr>
              <a:spLocks/>
            </p:cNvSpPr>
            <p:nvPr/>
          </p:nvSpPr>
          <p:spPr bwMode="auto">
            <a:xfrm>
              <a:off x="3228975" y="3956050"/>
              <a:ext cx="285750" cy="339725"/>
            </a:xfrm>
            <a:custGeom>
              <a:avLst/>
              <a:gdLst>
                <a:gd name="T0" fmla="*/ 163 w 192"/>
                <a:gd name="T1" fmla="*/ 114 h 230"/>
                <a:gd name="T2" fmla="*/ 96 w 192"/>
                <a:gd name="T3" fmla="*/ 230 h 230"/>
                <a:gd name="T4" fmla="*/ 29 w 192"/>
                <a:gd name="T5" fmla="*/ 114 h 230"/>
                <a:gd name="T6" fmla="*/ 95 w 192"/>
                <a:gd name="T7" fmla="*/ 0 h 230"/>
                <a:gd name="T8" fmla="*/ 97 w 192"/>
                <a:gd name="T9" fmla="*/ 0 h 230"/>
                <a:gd name="T10" fmla="*/ 163 w 192"/>
                <a:gd name="T11" fmla="*/ 114 h 230"/>
              </a:gdLst>
              <a:ahLst/>
              <a:cxnLst>
                <a:cxn ang="0">
                  <a:pos x="T0" y="T1"/>
                </a:cxn>
                <a:cxn ang="0">
                  <a:pos x="T2" y="T3"/>
                </a:cxn>
                <a:cxn ang="0">
                  <a:pos x="T4" y="T5"/>
                </a:cxn>
                <a:cxn ang="0">
                  <a:pos x="T6" y="T7"/>
                </a:cxn>
                <a:cxn ang="0">
                  <a:pos x="T8" y="T9"/>
                </a:cxn>
                <a:cxn ang="0">
                  <a:pos x="T10" y="T11"/>
                </a:cxn>
              </a:cxnLst>
              <a:rect l="0" t="0" r="r" b="b"/>
              <a:pathLst>
                <a:path w="192" h="230">
                  <a:moveTo>
                    <a:pt x="163" y="114"/>
                  </a:moveTo>
                  <a:cubicBezTo>
                    <a:pt x="96" y="230"/>
                    <a:pt x="96" y="230"/>
                    <a:pt x="96" y="230"/>
                  </a:cubicBezTo>
                  <a:cubicBezTo>
                    <a:pt x="29" y="114"/>
                    <a:pt x="29" y="114"/>
                    <a:pt x="29" y="114"/>
                  </a:cubicBezTo>
                  <a:cubicBezTo>
                    <a:pt x="0" y="64"/>
                    <a:pt x="36" y="0"/>
                    <a:pt x="95" y="0"/>
                  </a:cubicBezTo>
                  <a:cubicBezTo>
                    <a:pt x="97" y="0"/>
                    <a:pt x="97" y="0"/>
                    <a:pt x="97" y="0"/>
                  </a:cubicBezTo>
                  <a:cubicBezTo>
                    <a:pt x="156" y="0"/>
                    <a:pt x="192" y="63"/>
                    <a:pt x="163" y="114"/>
                  </a:cubicBezTo>
                  <a:close/>
                </a:path>
              </a:pathLst>
            </a:custGeom>
            <a:solidFill>
              <a:srgbClr val="40C5A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07" name="Freeform 48"/>
            <p:cNvSpPr>
              <a:spLocks/>
            </p:cNvSpPr>
            <p:nvPr/>
          </p:nvSpPr>
          <p:spPr bwMode="auto">
            <a:xfrm>
              <a:off x="2913063" y="4111625"/>
              <a:ext cx="285750" cy="339725"/>
            </a:xfrm>
            <a:custGeom>
              <a:avLst/>
              <a:gdLst>
                <a:gd name="T0" fmla="*/ 163 w 192"/>
                <a:gd name="T1" fmla="*/ 114 h 230"/>
                <a:gd name="T2" fmla="*/ 96 w 192"/>
                <a:gd name="T3" fmla="*/ 230 h 230"/>
                <a:gd name="T4" fmla="*/ 29 w 192"/>
                <a:gd name="T5" fmla="*/ 114 h 230"/>
                <a:gd name="T6" fmla="*/ 94 w 192"/>
                <a:gd name="T7" fmla="*/ 0 h 230"/>
                <a:gd name="T8" fmla="*/ 97 w 192"/>
                <a:gd name="T9" fmla="*/ 0 h 230"/>
                <a:gd name="T10" fmla="*/ 163 w 192"/>
                <a:gd name="T11" fmla="*/ 114 h 230"/>
              </a:gdLst>
              <a:ahLst/>
              <a:cxnLst>
                <a:cxn ang="0">
                  <a:pos x="T0" y="T1"/>
                </a:cxn>
                <a:cxn ang="0">
                  <a:pos x="T2" y="T3"/>
                </a:cxn>
                <a:cxn ang="0">
                  <a:pos x="T4" y="T5"/>
                </a:cxn>
                <a:cxn ang="0">
                  <a:pos x="T6" y="T7"/>
                </a:cxn>
                <a:cxn ang="0">
                  <a:pos x="T8" y="T9"/>
                </a:cxn>
                <a:cxn ang="0">
                  <a:pos x="T10" y="T11"/>
                </a:cxn>
              </a:cxnLst>
              <a:rect l="0" t="0" r="r" b="b"/>
              <a:pathLst>
                <a:path w="192" h="230">
                  <a:moveTo>
                    <a:pt x="163" y="114"/>
                  </a:moveTo>
                  <a:cubicBezTo>
                    <a:pt x="96" y="230"/>
                    <a:pt x="96" y="230"/>
                    <a:pt x="96" y="230"/>
                  </a:cubicBezTo>
                  <a:cubicBezTo>
                    <a:pt x="29" y="114"/>
                    <a:pt x="29" y="114"/>
                    <a:pt x="29" y="114"/>
                  </a:cubicBezTo>
                  <a:cubicBezTo>
                    <a:pt x="0" y="64"/>
                    <a:pt x="36" y="0"/>
                    <a:pt x="94" y="0"/>
                  </a:cubicBezTo>
                  <a:cubicBezTo>
                    <a:pt x="97" y="0"/>
                    <a:pt x="97" y="0"/>
                    <a:pt x="97" y="0"/>
                  </a:cubicBezTo>
                  <a:cubicBezTo>
                    <a:pt x="155" y="0"/>
                    <a:pt x="192" y="64"/>
                    <a:pt x="163" y="114"/>
                  </a:cubicBez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08" name="Freeform 51"/>
            <p:cNvSpPr>
              <a:spLocks/>
            </p:cNvSpPr>
            <p:nvPr/>
          </p:nvSpPr>
          <p:spPr bwMode="auto">
            <a:xfrm>
              <a:off x="3308350" y="3992563"/>
              <a:ext cx="127000" cy="201613"/>
            </a:xfrm>
            <a:custGeom>
              <a:avLst/>
              <a:gdLst>
                <a:gd name="T0" fmla="*/ 86 w 86"/>
                <a:gd name="T1" fmla="*/ 62 h 136"/>
                <a:gd name="T2" fmla="*/ 84 w 86"/>
                <a:gd name="T3" fmla="*/ 57 h 136"/>
                <a:gd name="T4" fmla="*/ 84 w 86"/>
                <a:gd name="T5" fmla="*/ 40 h 136"/>
                <a:gd name="T6" fmla="*/ 43 w 86"/>
                <a:gd name="T7" fmla="*/ 0 h 136"/>
                <a:gd name="T8" fmla="*/ 42 w 86"/>
                <a:gd name="T9" fmla="*/ 0 h 136"/>
                <a:gd name="T10" fmla="*/ 2 w 86"/>
                <a:gd name="T11" fmla="*/ 40 h 136"/>
                <a:gd name="T12" fmla="*/ 2 w 86"/>
                <a:gd name="T13" fmla="*/ 57 h 136"/>
                <a:gd name="T14" fmla="*/ 0 w 86"/>
                <a:gd name="T15" fmla="*/ 62 h 136"/>
                <a:gd name="T16" fmla="*/ 2 w 86"/>
                <a:gd name="T17" fmla="*/ 68 h 136"/>
                <a:gd name="T18" fmla="*/ 2 w 86"/>
                <a:gd name="T19" fmla="*/ 102 h 136"/>
                <a:gd name="T20" fmla="*/ 3 w 86"/>
                <a:gd name="T21" fmla="*/ 102 h 136"/>
                <a:gd name="T22" fmla="*/ 23 w 86"/>
                <a:gd name="T23" fmla="*/ 96 h 136"/>
                <a:gd name="T24" fmla="*/ 25 w 86"/>
                <a:gd name="T25" fmla="*/ 97 h 136"/>
                <a:gd name="T26" fmla="*/ 25 w 86"/>
                <a:gd name="T27" fmla="*/ 109 h 136"/>
                <a:gd name="T28" fmla="*/ 16 w 86"/>
                <a:gd name="T29" fmla="*/ 109 h 136"/>
                <a:gd name="T30" fmla="*/ 43 w 86"/>
                <a:gd name="T31" fmla="*/ 136 h 136"/>
                <a:gd name="T32" fmla="*/ 70 w 86"/>
                <a:gd name="T33" fmla="*/ 109 h 136"/>
                <a:gd name="T34" fmla="*/ 61 w 86"/>
                <a:gd name="T35" fmla="*/ 109 h 136"/>
                <a:gd name="T36" fmla="*/ 61 w 86"/>
                <a:gd name="T37" fmla="*/ 97 h 136"/>
                <a:gd name="T38" fmla="*/ 63 w 86"/>
                <a:gd name="T39" fmla="*/ 96 h 136"/>
                <a:gd name="T40" fmla="*/ 83 w 86"/>
                <a:gd name="T41" fmla="*/ 102 h 136"/>
                <a:gd name="T42" fmla="*/ 84 w 86"/>
                <a:gd name="T43" fmla="*/ 102 h 136"/>
                <a:gd name="T44" fmla="*/ 84 w 86"/>
                <a:gd name="T45" fmla="*/ 68 h 136"/>
                <a:gd name="T46" fmla="*/ 86 w 86"/>
                <a:gd name="T47" fmla="*/ 62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6" h="136">
                  <a:moveTo>
                    <a:pt x="86" y="62"/>
                  </a:moveTo>
                  <a:cubicBezTo>
                    <a:pt x="86" y="60"/>
                    <a:pt x="85" y="58"/>
                    <a:pt x="84" y="57"/>
                  </a:cubicBezTo>
                  <a:cubicBezTo>
                    <a:pt x="84" y="40"/>
                    <a:pt x="84" y="40"/>
                    <a:pt x="84" y="40"/>
                  </a:cubicBezTo>
                  <a:cubicBezTo>
                    <a:pt x="84" y="18"/>
                    <a:pt x="66" y="0"/>
                    <a:pt x="43" y="0"/>
                  </a:cubicBezTo>
                  <a:cubicBezTo>
                    <a:pt x="42" y="0"/>
                    <a:pt x="42" y="0"/>
                    <a:pt x="42" y="0"/>
                  </a:cubicBezTo>
                  <a:cubicBezTo>
                    <a:pt x="20" y="0"/>
                    <a:pt x="2" y="18"/>
                    <a:pt x="2" y="40"/>
                  </a:cubicBezTo>
                  <a:cubicBezTo>
                    <a:pt x="2" y="57"/>
                    <a:pt x="2" y="57"/>
                    <a:pt x="2" y="57"/>
                  </a:cubicBezTo>
                  <a:cubicBezTo>
                    <a:pt x="1" y="58"/>
                    <a:pt x="0" y="60"/>
                    <a:pt x="0" y="62"/>
                  </a:cubicBezTo>
                  <a:cubicBezTo>
                    <a:pt x="0" y="64"/>
                    <a:pt x="1" y="66"/>
                    <a:pt x="2" y="68"/>
                  </a:cubicBezTo>
                  <a:cubicBezTo>
                    <a:pt x="2" y="102"/>
                    <a:pt x="2" y="102"/>
                    <a:pt x="2" y="102"/>
                  </a:cubicBezTo>
                  <a:cubicBezTo>
                    <a:pt x="3" y="102"/>
                    <a:pt x="3" y="102"/>
                    <a:pt x="3" y="102"/>
                  </a:cubicBezTo>
                  <a:cubicBezTo>
                    <a:pt x="10" y="102"/>
                    <a:pt x="17" y="100"/>
                    <a:pt x="23" y="96"/>
                  </a:cubicBezTo>
                  <a:cubicBezTo>
                    <a:pt x="24" y="97"/>
                    <a:pt x="24" y="97"/>
                    <a:pt x="25" y="97"/>
                  </a:cubicBezTo>
                  <a:cubicBezTo>
                    <a:pt x="25" y="109"/>
                    <a:pt x="25" y="109"/>
                    <a:pt x="25" y="109"/>
                  </a:cubicBezTo>
                  <a:cubicBezTo>
                    <a:pt x="16" y="109"/>
                    <a:pt x="16" y="109"/>
                    <a:pt x="16" y="109"/>
                  </a:cubicBezTo>
                  <a:cubicBezTo>
                    <a:pt x="16" y="124"/>
                    <a:pt x="28" y="136"/>
                    <a:pt x="43" y="136"/>
                  </a:cubicBezTo>
                  <a:cubicBezTo>
                    <a:pt x="58" y="136"/>
                    <a:pt x="70" y="124"/>
                    <a:pt x="70" y="109"/>
                  </a:cubicBezTo>
                  <a:cubicBezTo>
                    <a:pt x="61" y="109"/>
                    <a:pt x="61" y="109"/>
                    <a:pt x="61" y="109"/>
                  </a:cubicBezTo>
                  <a:cubicBezTo>
                    <a:pt x="61" y="97"/>
                    <a:pt x="61" y="97"/>
                    <a:pt x="61" y="97"/>
                  </a:cubicBezTo>
                  <a:cubicBezTo>
                    <a:pt x="61" y="97"/>
                    <a:pt x="62" y="97"/>
                    <a:pt x="63" y="96"/>
                  </a:cubicBezTo>
                  <a:cubicBezTo>
                    <a:pt x="69" y="100"/>
                    <a:pt x="76" y="102"/>
                    <a:pt x="83" y="102"/>
                  </a:cubicBezTo>
                  <a:cubicBezTo>
                    <a:pt x="84" y="102"/>
                    <a:pt x="84" y="102"/>
                    <a:pt x="84" y="102"/>
                  </a:cubicBezTo>
                  <a:cubicBezTo>
                    <a:pt x="84" y="68"/>
                    <a:pt x="84" y="68"/>
                    <a:pt x="84" y="68"/>
                  </a:cubicBezTo>
                  <a:cubicBezTo>
                    <a:pt x="85" y="66"/>
                    <a:pt x="86" y="64"/>
                    <a:pt x="86" y="6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10" name="Rectangle 109"/>
            <p:cNvSpPr>
              <a:spLocks noChangeArrowheads="1"/>
            </p:cNvSpPr>
            <p:nvPr/>
          </p:nvSpPr>
          <p:spPr bwMode="auto">
            <a:xfrm>
              <a:off x="3127375" y="3576638"/>
              <a:ext cx="396875" cy="22225"/>
            </a:xfrm>
            <a:prstGeom prst="rect">
              <a:avLst/>
            </a:prstGeom>
            <a:solidFill>
              <a:srgbClr val="C4C4C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11" name="Rectangle 110"/>
            <p:cNvSpPr>
              <a:spLocks noChangeArrowheads="1"/>
            </p:cNvSpPr>
            <p:nvPr/>
          </p:nvSpPr>
          <p:spPr bwMode="auto">
            <a:xfrm>
              <a:off x="2889250" y="3576638"/>
              <a:ext cx="79375" cy="22225"/>
            </a:xfrm>
            <a:prstGeom prst="rect">
              <a:avLst/>
            </a:prstGeom>
            <a:solidFill>
              <a:srgbClr val="C4C4C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12" name="Rectangle 111"/>
            <p:cNvSpPr>
              <a:spLocks noChangeArrowheads="1"/>
            </p:cNvSpPr>
            <p:nvPr/>
          </p:nvSpPr>
          <p:spPr bwMode="auto">
            <a:xfrm>
              <a:off x="3008313" y="3576638"/>
              <a:ext cx="80963" cy="22225"/>
            </a:xfrm>
            <a:prstGeom prst="rect">
              <a:avLst/>
            </a:prstGeom>
            <a:solidFill>
              <a:srgbClr val="C4C4C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13" name="Rectangle 112"/>
            <p:cNvSpPr>
              <a:spLocks noChangeArrowheads="1"/>
            </p:cNvSpPr>
            <p:nvPr/>
          </p:nvSpPr>
          <p:spPr bwMode="auto">
            <a:xfrm>
              <a:off x="3467100" y="3394075"/>
              <a:ext cx="73025" cy="635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14" name="Freeform 59"/>
            <p:cNvSpPr>
              <a:spLocks/>
            </p:cNvSpPr>
            <p:nvPr/>
          </p:nvSpPr>
          <p:spPr bwMode="auto">
            <a:xfrm>
              <a:off x="3467100" y="3394075"/>
              <a:ext cx="73025" cy="6350"/>
            </a:xfrm>
            <a:custGeom>
              <a:avLst/>
              <a:gdLst>
                <a:gd name="T0" fmla="*/ 0 w 46"/>
                <a:gd name="T1" fmla="*/ 4 h 4"/>
                <a:gd name="T2" fmla="*/ 46 w 46"/>
                <a:gd name="T3" fmla="*/ 4 h 4"/>
                <a:gd name="T4" fmla="*/ 46 w 46"/>
                <a:gd name="T5" fmla="*/ 0 h 4"/>
                <a:gd name="T6" fmla="*/ 0 w 46"/>
                <a:gd name="T7" fmla="*/ 0 h 4"/>
              </a:gdLst>
              <a:ahLst/>
              <a:cxnLst>
                <a:cxn ang="0">
                  <a:pos x="T0" y="T1"/>
                </a:cxn>
                <a:cxn ang="0">
                  <a:pos x="T2" y="T3"/>
                </a:cxn>
                <a:cxn ang="0">
                  <a:pos x="T4" y="T5"/>
                </a:cxn>
                <a:cxn ang="0">
                  <a:pos x="T6" y="T7"/>
                </a:cxn>
              </a:cxnLst>
              <a:rect l="0" t="0" r="r" b="b"/>
              <a:pathLst>
                <a:path w="46" h="4">
                  <a:moveTo>
                    <a:pt x="0" y="4"/>
                  </a:moveTo>
                  <a:lnTo>
                    <a:pt x="46" y="4"/>
                  </a:lnTo>
                  <a:lnTo>
                    <a:pt x="46"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15" name="Rectangle 114"/>
            <p:cNvSpPr>
              <a:spLocks noChangeArrowheads="1"/>
            </p:cNvSpPr>
            <p:nvPr/>
          </p:nvSpPr>
          <p:spPr bwMode="auto">
            <a:xfrm>
              <a:off x="3467100" y="3414713"/>
              <a:ext cx="73025" cy="635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34" name="Freeform 61"/>
            <p:cNvSpPr>
              <a:spLocks/>
            </p:cNvSpPr>
            <p:nvPr/>
          </p:nvSpPr>
          <p:spPr bwMode="auto">
            <a:xfrm>
              <a:off x="3467100" y="3414713"/>
              <a:ext cx="73025" cy="6350"/>
            </a:xfrm>
            <a:custGeom>
              <a:avLst/>
              <a:gdLst>
                <a:gd name="T0" fmla="*/ 0 w 46"/>
                <a:gd name="T1" fmla="*/ 4 h 4"/>
                <a:gd name="T2" fmla="*/ 46 w 46"/>
                <a:gd name="T3" fmla="*/ 4 h 4"/>
                <a:gd name="T4" fmla="*/ 46 w 46"/>
                <a:gd name="T5" fmla="*/ 0 h 4"/>
                <a:gd name="T6" fmla="*/ 0 w 46"/>
                <a:gd name="T7" fmla="*/ 0 h 4"/>
              </a:gdLst>
              <a:ahLst/>
              <a:cxnLst>
                <a:cxn ang="0">
                  <a:pos x="T0" y="T1"/>
                </a:cxn>
                <a:cxn ang="0">
                  <a:pos x="T2" y="T3"/>
                </a:cxn>
                <a:cxn ang="0">
                  <a:pos x="T4" y="T5"/>
                </a:cxn>
                <a:cxn ang="0">
                  <a:pos x="T6" y="T7"/>
                </a:cxn>
              </a:cxnLst>
              <a:rect l="0" t="0" r="r" b="b"/>
              <a:pathLst>
                <a:path w="46" h="4">
                  <a:moveTo>
                    <a:pt x="0" y="4"/>
                  </a:moveTo>
                  <a:lnTo>
                    <a:pt x="46" y="4"/>
                  </a:lnTo>
                  <a:lnTo>
                    <a:pt x="46"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35" name="Rectangle 134"/>
            <p:cNvSpPr>
              <a:spLocks noChangeArrowheads="1"/>
            </p:cNvSpPr>
            <p:nvPr/>
          </p:nvSpPr>
          <p:spPr bwMode="auto">
            <a:xfrm>
              <a:off x="3467100" y="3435350"/>
              <a:ext cx="73025" cy="635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36" name="Freeform 63"/>
            <p:cNvSpPr>
              <a:spLocks/>
            </p:cNvSpPr>
            <p:nvPr/>
          </p:nvSpPr>
          <p:spPr bwMode="auto">
            <a:xfrm>
              <a:off x="3467100" y="3435350"/>
              <a:ext cx="73025" cy="6350"/>
            </a:xfrm>
            <a:custGeom>
              <a:avLst/>
              <a:gdLst>
                <a:gd name="T0" fmla="*/ 0 w 46"/>
                <a:gd name="T1" fmla="*/ 4 h 4"/>
                <a:gd name="T2" fmla="*/ 46 w 46"/>
                <a:gd name="T3" fmla="*/ 4 h 4"/>
                <a:gd name="T4" fmla="*/ 46 w 46"/>
                <a:gd name="T5" fmla="*/ 0 h 4"/>
                <a:gd name="T6" fmla="*/ 0 w 46"/>
                <a:gd name="T7" fmla="*/ 0 h 4"/>
              </a:gdLst>
              <a:ahLst/>
              <a:cxnLst>
                <a:cxn ang="0">
                  <a:pos x="T0" y="T1"/>
                </a:cxn>
                <a:cxn ang="0">
                  <a:pos x="T2" y="T3"/>
                </a:cxn>
                <a:cxn ang="0">
                  <a:pos x="T4" y="T5"/>
                </a:cxn>
                <a:cxn ang="0">
                  <a:pos x="T6" y="T7"/>
                </a:cxn>
              </a:cxnLst>
              <a:rect l="0" t="0" r="r" b="b"/>
              <a:pathLst>
                <a:path w="46" h="4">
                  <a:moveTo>
                    <a:pt x="0" y="4"/>
                  </a:moveTo>
                  <a:lnTo>
                    <a:pt x="46" y="4"/>
                  </a:lnTo>
                  <a:lnTo>
                    <a:pt x="46"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37" name="Freeform 64"/>
            <p:cNvSpPr>
              <a:spLocks/>
            </p:cNvSpPr>
            <p:nvPr/>
          </p:nvSpPr>
          <p:spPr bwMode="auto">
            <a:xfrm>
              <a:off x="2984500" y="4151313"/>
              <a:ext cx="141288" cy="214313"/>
            </a:xfrm>
            <a:custGeom>
              <a:avLst/>
              <a:gdLst>
                <a:gd name="T0" fmla="*/ 95 w 95"/>
                <a:gd name="T1" fmla="*/ 69 h 145"/>
                <a:gd name="T2" fmla="*/ 93 w 95"/>
                <a:gd name="T3" fmla="*/ 63 h 145"/>
                <a:gd name="T4" fmla="*/ 93 w 95"/>
                <a:gd name="T5" fmla="*/ 45 h 145"/>
                <a:gd name="T6" fmla="*/ 48 w 95"/>
                <a:gd name="T7" fmla="*/ 0 h 145"/>
                <a:gd name="T8" fmla="*/ 47 w 95"/>
                <a:gd name="T9" fmla="*/ 0 h 145"/>
                <a:gd name="T10" fmla="*/ 3 w 95"/>
                <a:gd name="T11" fmla="*/ 45 h 145"/>
                <a:gd name="T12" fmla="*/ 3 w 95"/>
                <a:gd name="T13" fmla="*/ 63 h 145"/>
                <a:gd name="T14" fmla="*/ 0 w 95"/>
                <a:gd name="T15" fmla="*/ 69 h 145"/>
                <a:gd name="T16" fmla="*/ 9 w 95"/>
                <a:gd name="T17" fmla="*/ 78 h 145"/>
                <a:gd name="T18" fmla="*/ 9 w 95"/>
                <a:gd name="T19" fmla="*/ 80 h 145"/>
                <a:gd name="T20" fmla="*/ 24 w 95"/>
                <a:gd name="T21" fmla="*/ 112 h 145"/>
                <a:gd name="T22" fmla="*/ 24 w 95"/>
                <a:gd name="T23" fmla="*/ 121 h 145"/>
                <a:gd name="T24" fmla="*/ 48 w 95"/>
                <a:gd name="T25" fmla="*/ 145 h 145"/>
                <a:gd name="T26" fmla="*/ 48 w 95"/>
                <a:gd name="T27" fmla="*/ 145 h 145"/>
                <a:gd name="T28" fmla="*/ 72 w 95"/>
                <a:gd name="T29" fmla="*/ 121 h 145"/>
                <a:gd name="T30" fmla="*/ 72 w 95"/>
                <a:gd name="T31" fmla="*/ 112 h 145"/>
                <a:gd name="T32" fmla="*/ 87 w 95"/>
                <a:gd name="T33" fmla="*/ 80 h 145"/>
                <a:gd name="T34" fmla="*/ 87 w 95"/>
                <a:gd name="T35" fmla="*/ 78 h 145"/>
                <a:gd name="T36" fmla="*/ 95 w 95"/>
                <a:gd name="T37" fmla="*/ 69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95" h="145">
                  <a:moveTo>
                    <a:pt x="95" y="69"/>
                  </a:moveTo>
                  <a:cubicBezTo>
                    <a:pt x="95" y="67"/>
                    <a:pt x="94" y="65"/>
                    <a:pt x="93" y="63"/>
                  </a:cubicBezTo>
                  <a:cubicBezTo>
                    <a:pt x="93" y="45"/>
                    <a:pt x="93" y="45"/>
                    <a:pt x="93" y="45"/>
                  </a:cubicBezTo>
                  <a:cubicBezTo>
                    <a:pt x="93" y="20"/>
                    <a:pt x="73" y="0"/>
                    <a:pt x="48" y="0"/>
                  </a:cubicBezTo>
                  <a:cubicBezTo>
                    <a:pt x="47" y="0"/>
                    <a:pt x="47" y="0"/>
                    <a:pt x="47" y="0"/>
                  </a:cubicBezTo>
                  <a:cubicBezTo>
                    <a:pt x="23" y="0"/>
                    <a:pt x="3" y="20"/>
                    <a:pt x="3" y="45"/>
                  </a:cubicBezTo>
                  <a:cubicBezTo>
                    <a:pt x="3" y="63"/>
                    <a:pt x="3" y="63"/>
                    <a:pt x="3" y="63"/>
                  </a:cubicBezTo>
                  <a:cubicBezTo>
                    <a:pt x="1" y="65"/>
                    <a:pt x="0" y="67"/>
                    <a:pt x="0" y="69"/>
                  </a:cubicBezTo>
                  <a:cubicBezTo>
                    <a:pt x="0" y="74"/>
                    <a:pt x="4" y="78"/>
                    <a:pt x="9" y="78"/>
                  </a:cubicBezTo>
                  <a:cubicBezTo>
                    <a:pt x="9" y="80"/>
                    <a:pt x="9" y="80"/>
                    <a:pt x="9" y="80"/>
                  </a:cubicBezTo>
                  <a:cubicBezTo>
                    <a:pt x="8" y="93"/>
                    <a:pt x="14" y="105"/>
                    <a:pt x="24" y="112"/>
                  </a:cubicBezTo>
                  <a:cubicBezTo>
                    <a:pt x="24" y="121"/>
                    <a:pt x="24" y="121"/>
                    <a:pt x="24" y="121"/>
                  </a:cubicBezTo>
                  <a:cubicBezTo>
                    <a:pt x="24" y="134"/>
                    <a:pt x="34" y="145"/>
                    <a:pt x="48" y="145"/>
                  </a:cubicBezTo>
                  <a:cubicBezTo>
                    <a:pt x="48" y="145"/>
                    <a:pt x="48" y="145"/>
                    <a:pt x="48" y="145"/>
                  </a:cubicBezTo>
                  <a:cubicBezTo>
                    <a:pt x="61" y="145"/>
                    <a:pt x="72" y="134"/>
                    <a:pt x="72" y="121"/>
                  </a:cubicBezTo>
                  <a:cubicBezTo>
                    <a:pt x="72" y="112"/>
                    <a:pt x="72" y="112"/>
                    <a:pt x="72" y="112"/>
                  </a:cubicBezTo>
                  <a:cubicBezTo>
                    <a:pt x="82" y="105"/>
                    <a:pt x="88" y="93"/>
                    <a:pt x="87" y="80"/>
                  </a:cubicBezTo>
                  <a:cubicBezTo>
                    <a:pt x="87" y="78"/>
                    <a:pt x="87" y="78"/>
                    <a:pt x="87" y="78"/>
                  </a:cubicBezTo>
                  <a:cubicBezTo>
                    <a:pt x="92" y="78"/>
                    <a:pt x="95" y="74"/>
                    <a:pt x="95" y="6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pic>
        <p:nvPicPr>
          <p:cNvPr id="147" name="Picture 146"/>
          <p:cNvPicPr>
            <a:picLocks noChangeAspect="1"/>
          </p:cNvPicPr>
          <p:nvPr/>
        </p:nvPicPr>
        <p:blipFill>
          <a:blip r:embed="rId18"/>
          <a:stretch>
            <a:fillRect/>
          </a:stretch>
        </p:blipFill>
        <p:spPr>
          <a:xfrm>
            <a:off x="615941" y="5023153"/>
            <a:ext cx="510718" cy="230532"/>
          </a:xfrm>
          <a:prstGeom prst="rect">
            <a:avLst/>
          </a:prstGeom>
        </p:spPr>
      </p:pic>
      <p:pic>
        <p:nvPicPr>
          <p:cNvPr id="149" name="Picture 148"/>
          <p:cNvPicPr>
            <a:picLocks noChangeAspect="1"/>
          </p:cNvPicPr>
          <p:nvPr/>
        </p:nvPicPr>
        <p:blipFill>
          <a:blip r:embed="rId19"/>
          <a:stretch>
            <a:fillRect/>
          </a:stretch>
        </p:blipFill>
        <p:spPr>
          <a:xfrm>
            <a:off x="650394" y="3209053"/>
            <a:ext cx="327488" cy="379886"/>
          </a:xfrm>
          <a:prstGeom prst="rect">
            <a:avLst/>
          </a:prstGeom>
        </p:spPr>
      </p:pic>
      <p:pic>
        <p:nvPicPr>
          <p:cNvPr id="150" name="Picture 149"/>
          <p:cNvPicPr>
            <a:picLocks noChangeAspect="1"/>
          </p:cNvPicPr>
          <p:nvPr/>
        </p:nvPicPr>
        <p:blipFill>
          <a:blip r:embed="rId20"/>
          <a:stretch>
            <a:fillRect/>
          </a:stretch>
        </p:blipFill>
        <p:spPr>
          <a:xfrm>
            <a:off x="546436" y="6164943"/>
            <a:ext cx="514824" cy="289588"/>
          </a:xfrm>
          <a:prstGeom prst="rect">
            <a:avLst/>
          </a:prstGeom>
        </p:spPr>
      </p:pic>
      <p:pic>
        <p:nvPicPr>
          <p:cNvPr id="152" name="Picture 151"/>
          <p:cNvPicPr>
            <a:picLocks noChangeAspect="1"/>
          </p:cNvPicPr>
          <p:nvPr/>
        </p:nvPicPr>
        <p:blipFill>
          <a:blip r:embed="rId21"/>
          <a:stretch>
            <a:fillRect/>
          </a:stretch>
        </p:blipFill>
        <p:spPr>
          <a:xfrm>
            <a:off x="615535" y="5590171"/>
            <a:ext cx="471891" cy="304764"/>
          </a:xfrm>
          <a:prstGeom prst="rect">
            <a:avLst/>
          </a:prstGeom>
        </p:spPr>
      </p:pic>
      <p:grpSp>
        <p:nvGrpSpPr>
          <p:cNvPr id="257" name="Group 256"/>
          <p:cNvGrpSpPr/>
          <p:nvPr/>
        </p:nvGrpSpPr>
        <p:grpSpPr>
          <a:xfrm>
            <a:off x="582771" y="2533623"/>
            <a:ext cx="434402" cy="495296"/>
            <a:chOff x="9326946" y="4815560"/>
            <a:chExt cx="1438275" cy="1639889"/>
          </a:xfrm>
        </p:grpSpPr>
        <p:sp>
          <p:nvSpPr>
            <p:cNvPr id="242" name="Freeform 6"/>
            <p:cNvSpPr>
              <a:spLocks/>
            </p:cNvSpPr>
            <p:nvPr/>
          </p:nvSpPr>
          <p:spPr bwMode="auto">
            <a:xfrm>
              <a:off x="9842883" y="5331498"/>
              <a:ext cx="411162" cy="188913"/>
            </a:xfrm>
            <a:custGeom>
              <a:avLst/>
              <a:gdLst>
                <a:gd name="T0" fmla="*/ 70 w 409"/>
                <a:gd name="T1" fmla="*/ 189 h 189"/>
                <a:gd name="T2" fmla="*/ 70 w 409"/>
                <a:gd name="T3" fmla="*/ 66 h 189"/>
                <a:gd name="T4" fmla="*/ 339 w 409"/>
                <a:gd name="T5" fmla="*/ 66 h 189"/>
                <a:gd name="T6" fmla="*/ 339 w 409"/>
                <a:gd name="T7" fmla="*/ 189 h 189"/>
                <a:gd name="T8" fmla="*/ 409 w 409"/>
                <a:gd name="T9" fmla="*/ 189 h 189"/>
                <a:gd name="T10" fmla="*/ 409 w 409"/>
                <a:gd name="T11" fmla="*/ 35 h 189"/>
                <a:gd name="T12" fmla="*/ 374 w 409"/>
                <a:gd name="T13" fmla="*/ 0 h 189"/>
                <a:gd name="T14" fmla="*/ 35 w 409"/>
                <a:gd name="T15" fmla="*/ 0 h 189"/>
                <a:gd name="T16" fmla="*/ 0 w 409"/>
                <a:gd name="T17" fmla="*/ 35 h 189"/>
                <a:gd name="T18" fmla="*/ 0 w 409"/>
                <a:gd name="T19" fmla="*/ 189 h 189"/>
                <a:gd name="T20" fmla="*/ 70 w 409"/>
                <a:gd name="T21" fmla="*/ 189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09" h="189">
                  <a:moveTo>
                    <a:pt x="70" y="189"/>
                  </a:moveTo>
                  <a:cubicBezTo>
                    <a:pt x="70" y="66"/>
                    <a:pt x="70" y="66"/>
                    <a:pt x="70" y="66"/>
                  </a:cubicBezTo>
                  <a:cubicBezTo>
                    <a:pt x="339" y="66"/>
                    <a:pt x="339" y="66"/>
                    <a:pt x="339" y="66"/>
                  </a:cubicBezTo>
                  <a:cubicBezTo>
                    <a:pt x="339" y="189"/>
                    <a:pt x="339" y="189"/>
                    <a:pt x="339" y="189"/>
                  </a:cubicBezTo>
                  <a:cubicBezTo>
                    <a:pt x="409" y="189"/>
                    <a:pt x="409" y="189"/>
                    <a:pt x="409" y="189"/>
                  </a:cubicBezTo>
                  <a:cubicBezTo>
                    <a:pt x="409" y="35"/>
                    <a:pt x="409" y="35"/>
                    <a:pt x="409" y="35"/>
                  </a:cubicBezTo>
                  <a:cubicBezTo>
                    <a:pt x="409" y="15"/>
                    <a:pt x="394" y="0"/>
                    <a:pt x="374" y="0"/>
                  </a:cubicBezTo>
                  <a:cubicBezTo>
                    <a:pt x="35" y="0"/>
                    <a:pt x="35" y="0"/>
                    <a:pt x="35" y="0"/>
                  </a:cubicBezTo>
                  <a:cubicBezTo>
                    <a:pt x="15" y="0"/>
                    <a:pt x="0" y="15"/>
                    <a:pt x="0" y="35"/>
                  </a:cubicBezTo>
                  <a:cubicBezTo>
                    <a:pt x="0" y="189"/>
                    <a:pt x="0" y="189"/>
                    <a:pt x="0" y="189"/>
                  </a:cubicBezTo>
                  <a:lnTo>
                    <a:pt x="70" y="189"/>
                  </a:ln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44" name="Freeform 8"/>
            <p:cNvSpPr>
              <a:spLocks/>
            </p:cNvSpPr>
            <p:nvPr/>
          </p:nvSpPr>
          <p:spPr bwMode="auto">
            <a:xfrm>
              <a:off x="9461883" y="5518823"/>
              <a:ext cx="1168400" cy="719138"/>
            </a:xfrm>
            <a:custGeom>
              <a:avLst/>
              <a:gdLst>
                <a:gd name="T0" fmla="*/ 1161 w 1161"/>
                <a:gd name="T1" fmla="*/ 711 h 721"/>
                <a:gd name="T2" fmla="*/ 1151 w 1161"/>
                <a:gd name="T3" fmla="*/ 721 h 721"/>
                <a:gd name="T4" fmla="*/ 10 w 1161"/>
                <a:gd name="T5" fmla="*/ 721 h 721"/>
                <a:gd name="T6" fmla="*/ 0 w 1161"/>
                <a:gd name="T7" fmla="*/ 711 h 721"/>
                <a:gd name="T8" fmla="*/ 0 w 1161"/>
                <a:gd name="T9" fmla="*/ 10 h 721"/>
                <a:gd name="T10" fmla="*/ 10 w 1161"/>
                <a:gd name="T11" fmla="*/ 0 h 721"/>
                <a:gd name="T12" fmla="*/ 1151 w 1161"/>
                <a:gd name="T13" fmla="*/ 0 h 721"/>
                <a:gd name="T14" fmla="*/ 1161 w 1161"/>
                <a:gd name="T15" fmla="*/ 10 h 721"/>
                <a:gd name="T16" fmla="*/ 1161 w 1161"/>
                <a:gd name="T17" fmla="*/ 711 h 7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61" h="721">
                  <a:moveTo>
                    <a:pt x="1161" y="711"/>
                  </a:moveTo>
                  <a:cubicBezTo>
                    <a:pt x="1161" y="716"/>
                    <a:pt x="1157" y="721"/>
                    <a:pt x="1151" y="721"/>
                  </a:cubicBezTo>
                  <a:cubicBezTo>
                    <a:pt x="10" y="721"/>
                    <a:pt x="10" y="721"/>
                    <a:pt x="10" y="721"/>
                  </a:cubicBezTo>
                  <a:cubicBezTo>
                    <a:pt x="4" y="721"/>
                    <a:pt x="0" y="716"/>
                    <a:pt x="0" y="711"/>
                  </a:cubicBezTo>
                  <a:cubicBezTo>
                    <a:pt x="0" y="10"/>
                    <a:pt x="0" y="10"/>
                    <a:pt x="0" y="10"/>
                  </a:cubicBezTo>
                  <a:cubicBezTo>
                    <a:pt x="0" y="4"/>
                    <a:pt x="4" y="0"/>
                    <a:pt x="10" y="0"/>
                  </a:cubicBezTo>
                  <a:cubicBezTo>
                    <a:pt x="1151" y="0"/>
                    <a:pt x="1151" y="0"/>
                    <a:pt x="1151" y="0"/>
                  </a:cubicBezTo>
                  <a:cubicBezTo>
                    <a:pt x="1157" y="0"/>
                    <a:pt x="1161" y="4"/>
                    <a:pt x="1161" y="10"/>
                  </a:cubicBezTo>
                  <a:lnTo>
                    <a:pt x="1161" y="71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45" name="Freeform 9"/>
            <p:cNvSpPr>
              <a:spLocks/>
            </p:cNvSpPr>
            <p:nvPr/>
          </p:nvSpPr>
          <p:spPr bwMode="auto">
            <a:xfrm>
              <a:off x="9552371" y="5610898"/>
              <a:ext cx="987425" cy="541338"/>
            </a:xfrm>
            <a:custGeom>
              <a:avLst/>
              <a:gdLst>
                <a:gd name="T0" fmla="*/ 980 w 980"/>
                <a:gd name="T1" fmla="*/ 530 h 543"/>
                <a:gd name="T2" fmla="*/ 967 w 980"/>
                <a:gd name="T3" fmla="*/ 543 h 543"/>
                <a:gd name="T4" fmla="*/ 14 w 980"/>
                <a:gd name="T5" fmla="*/ 543 h 543"/>
                <a:gd name="T6" fmla="*/ 0 w 980"/>
                <a:gd name="T7" fmla="*/ 530 h 543"/>
                <a:gd name="T8" fmla="*/ 0 w 980"/>
                <a:gd name="T9" fmla="*/ 13 h 543"/>
                <a:gd name="T10" fmla="*/ 14 w 980"/>
                <a:gd name="T11" fmla="*/ 0 h 543"/>
                <a:gd name="T12" fmla="*/ 967 w 980"/>
                <a:gd name="T13" fmla="*/ 0 h 543"/>
                <a:gd name="T14" fmla="*/ 980 w 980"/>
                <a:gd name="T15" fmla="*/ 13 h 543"/>
                <a:gd name="T16" fmla="*/ 980 w 980"/>
                <a:gd name="T17" fmla="*/ 530 h 5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80" h="543">
                  <a:moveTo>
                    <a:pt x="980" y="530"/>
                  </a:moveTo>
                  <a:cubicBezTo>
                    <a:pt x="980" y="537"/>
                    <a:pt x="974" y="543"/>
                    <a:pt x="967" y="543"/>
                  </a:cubicBezTo>
                  <a:cubicBezTo>
                    <a:pt x="14" y="543"/>
                    <a:pt x="14" y="543"/>
                    <a:pt x="14" y="543"/>
                  </a:cubicBezTo>
                  <a:cubicBezTo>
                    <a:pt x="6" y="543"/>
                    <a:pt x="0" y="537"/>
                    <a:pt x="0" y="530"/>
                  </a:cubicBezTo>
                  <a:cubicBezTo>
                    <a:pt x="0" y="13"/>
                    <a:pt x="0" y="13"/>
                    <a:pt x="0" y="13"/>
                  </a:cubicBezTo>
                  <a:cubicBezTo>
                    <a:pt x="0" y="6"/>
                    <a:pt x="6" y="0"/>
                    <a:pt x="14" y="0"/>
                  </a:cubicBezTo>
                  <a:cubicBezTo>
                    <a:pt x="967" y="0"/>
                    <a:pt x="967" y="0"/>
                    <a:pt x="967" y="0"/>
                  </a:cubicBezTo>
                  <a:cubicBezTo>
                    <a:pt x="974" y="0"/>
                    <a:pt x="980" y="6"/>
                    <a:pt x="980" y="13"/>
                  </a:cubicBezTo>
                  <a:lnTo>
                    <a:pt x="980" y="530"/>
                  </a:ln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46" name="Freeform 10"/>
            <p:cNvSpPr>
              <a:spLocks/>
            </p:cNvSpPr>
            <p:nvPr/>
          </p:nvSpPr>
          <p:spPr bwMode="auto">
            <a:xfrm>
              <a:off x="9552371" y="5774411"/>
              <a:ext cx="987425" cy="377825"/>
            </a:xfrm>
            <a:custGeom>
              <a:avLst/>
              <a:gdLst>
                <a:gd name="T0" fmla="*/ 490 w 980"/>
                <a:gd name="T1" fmla="*/ 148 h 379"/>
                <a:gd name="T2" fmla="*/ 0 w 980"/>
                <a:gd name="T3" fmla="*/ 0 h 379"/>
                <a:gd name="T4" fmla="*/ 0 w 980"/>
                <a:gd name="T5" fmla="*/ 366 h 379"/>
                <a:gd name="T6" fmla="*/ 14 w 980"/>
                <a:gd name="T7" fmla="*/ 379 h 379"/>
                <a:gd name="T8" fmla="*/ 967 w 980"/>
                <a:gd name="T9" fmla="*/ 379 h 379"/>
                <a:gd name="T10" fmla="*/ 980 w 980"/>
                <a:gd name="T11" fmla="*/ 366 h 379"/>
                <a:gd name="T12" fmla="*/ 980 w 980"/>
                <a:gd name="T13" fmla="*/ 0 h 379"/>
                <a:gd name="T14" fmla="*/ 490 w 980"/>
                <a:gd name="T15" fmla="*/ 148 h 37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80" h="379">
                  <a:moveTo>
                    <a:pt x="490" y="148"/>
                  </a:moveTo>
                  <a:cubicBezTo>
                    <a:pt x="202" y="148"/>
                    <a:pt x="31" y="24"/>
                    <a:pt x="0" y="0"/>
                  </a:cubicBezTo>
                  <a:cubicBezTo>
                    <a:pt x="0" y="366"/>
                    <a:pt x="0" y="366"/>
                    <a:pt x="0" y="366"/>
                  </a:cubicBezTo>
                  <a:cubicBezTo>
                    <a:pt x="0" y="373"/>
                    <a:pt x="6" y="379"/>
                    <a:pt x="14" y="379"/>
                  </a:cubicBezTo>
                  <a:cubicBezTo>
                    <a:pt x="967" y="379"/>
                    <a:pt x="967" y="379"/>
                    <a:pt x="967" y="379"/>
                  </a:cubicBezTo>
                  <a:cubicBezTo>
                    <a:pt x="974" y="379"/>
                    <a:pt x="980" y="373"/>
                    <a:pt x="980" y="366"/>
                  </a:cubicBezTo>
                  <a:cubicBezTo>
                    <a:pt x="980" y="0"/>
                    <a:pt x="980" y="0"/>
                    <a:pt x="980" y="0"/>
                  </a:cubicBezTo>
                  <a:cubicBezTo>
                    <a:pt x="950" y="24"/>
                    <a:pt x="778" y="148"/>
                    <a:pt x="490" y="148"/>
                  </a:cubicBezTo>
                  <a:close/>
                </a:path>
              </a:pathLst>
            </a:custGeom>
            <a:solidFill>
              <a:srgbClr val="BA11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47" name="Freeform 11"/>
            <p:cNvSpPr>
              <a:spLocks/>
            </p:cNvSpPr>
            <p:nvPr/>
          </p:nvSpPr>
          <p:spPr bwMode="auto">
            <a:xfrm>
              <a:off x="9939721" y="5110836"/>
              <a:ext cx="257175" cy="244475"/>
            </a:xfrm>
            <a:custGeom>
              <a:avLst/>
              <a:gdLst>
                <a:gd name="T0" fmla="*/ 216 w 255"/>
                <a:gd name="T1" fmla="*/ 245 h 245"/>
                <a:gd name="T2" fmla="*/ 0 w 255"/>
                <a:gd name="T3" fmla="*/ 230 h 245"/>
                <a:gd name="T4" fmla="*/ 12 w 255"/>
                <a:gd name="T5" fmla="*/ 111 h 245"/>
                <a:gd name="T6" fmla="*/ 43 w 255"/>
                <a:gd name="T7" fmla="*/ 12 h 245"/>
                <a:gd name="T8" fmla="*/ 207 w 255"/>
                <a:gd name="T9" fmla="*/ 0 h 245"/>
                <a:gd name="T10" fmla="*/ 216 w 255"/>
                <a:gd name="T11" fmla="*/ 245 h 245"/>
              </a:gdLst>
              <a:ahLst/>
              <a:cxnLst>
                <a:cxn ang="0">
                  <a:pos x="T0" y="T1"/>
                </a:cxn>
                <a:cxn ang="0">
                  <a:pos x="T2" y="T3"/>
                </a:cxn>
                <a:cxn ang="0">
                  <a:pos x="T4" y="T5"/>
                </a:cxn>
                <a:cxn ang="0">
                  <a:pos x="T6" y="T7"/>
                </a:cxn>
                <a:cxn ang="0">
                  <a:pos x="T8" y="T9"/>
                </a:cxn>
                <a:cxn ang="0">
                  <a:pos x="T10" y="T11"/>
                </a:cxn>
              </a:cxnLst>
              <a:rect l="0" t="0" r="r" b="b"/>
              <a:pathLst>
                <a:path w="255" h="245">
                  <a:moveTo>
                    <a:pt x="216" y="245"/>
                  </a:moveTo>
                  <a:cubicBezTo>
                    <a:pt x="0" y="230"/>
                    <a:pt x="0" y="230"/>
                    <a:pt x="0" y="230"/>
                  </a:cubicBezTo>
                  <a:cubicBezTo>
                    <a:pt x="12" y="111"/>
                    <a:pt x="12" y="111"/>
                    <a:pt x="12" y="111"/>
                  </a:cubicBezTo>
                  <a:cubicBezTo>
                    <a:pt x="43" y="12"/>
                    <a:pt x="43" y="12"/>
                    <a:pt x="43" y="12"/>
                  </a:cubicBezTo>
                  <a:cubicBezTo>
                    <a:pt x="207" y="0"/>
                    <a:pt x="207" y="0"/>
                    <a:pt x="207" y="0"/>
                  </a:cubicBezTo>
                  <a:cubicBezTo>
                    <a:pt x="255" y="143"/>
                    <a:pt x="216" y="245"/>
                    <a:pt x="216" y="245"/>
                  </a:cubicBez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48" name="Freeform 12"/>
            <p:cNvSpPr>
              <a:spLocks/>
            </p:cNvSpPr>
            <p:nvPr/>
          </p:nvSpPr>
          <p:spPr bwMode="auto">
            <a:xfrm>
              <a:off x="9842883" y="5331498"/>
              <a:ext cx="411162" cy="69850"/>
            </a:xfrm>
            <a:custGeom>
              <a:avLst/>
              <a:gdLst>
                <a:gd name="T0" fmla="*/ 374 w 409"/>
                <a:gd name="T1" fmla="*/ 0 h 70"/>
                <a:gd name="T2" fmla="*/ 35 w 409"/>
                <a:gd name="T3" fmla="*/ 0 h 70"/>
                <a:gd name="T4" fmla="*/ 0 w 409"/>
                <a:gd name="T5" fmla="*/ 35 h 70"/>
                <a:gd name="T6" fmla="*/ 0 w 409"/>
                <a:gd name="T7" fmla="*/ 70 h 70"/>
                <a:gd name="T8" fmla="*/ 35 w 409"/>
                <a:gd name="T9" fmla="*/ 35 h 70"/>
                <a:gd name="T10" fmla="*/ 374 w 409"/>
                <a:gd name="T11" fmla="*/ 35 h 70"/>
                <a:gd name="T12" fmla="*/ 409 w 409"/>
                <a:gd name="T13" fmla="*/ 70 h 70"/>
                <a:gd name="T14" fmla="*/ 409 w 409"/>
                <a:gd name="T15" fmla="*/ 35 h 70"/>
                <a:gd name="T16" fmla="*/ 374 w 409"/>
                <a:gd name="T17"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9" h="70">
                  <a:moveTo>
                    <a:pt x="374" y="0"/>
                  </a:moveTo>
                  <a:cubicBezTo>
                    <a:pt x="35" y="0"/>
                    <a:pt x="35" y="0"/>
                    <a:pt x="35" y="0"/>
                  </a:cubicBezTo>
                  <a:cubicBezTo>
                    <a:pt x="15" y="0"/>
                    <a:pt x="0" y="15"/>
                    <a:pt x="0" y="35"/>
                  </a:cubicBezTo>
                  <a:cubicBezTo>
                    <a:pt x="0" y="70"/>
                    <a:pt x="0" y="70"/>
                    <a:pt x="0" y="70"/>
                  </a:cubicBezTo>
                  <a:cubicBezTo>
                    <a:pt x="0" y="51"/>
                    <a:pt x="15" y="35"/>
                    <a:pt x="35" y="35"/>
                  </a:cubicBezTo>
                  <a:cubicBezTo>
                    <a:pt x="374" y="35"/>
                    <a:pt x="374" y="35"/>
                    <a:pt x="374" y="35"/>
                  </a:cubicBezTo>
                  <a:cubicBezTo>
                    <a:pt x="394" y="35"/>
                    <a:pt x="409" y="51"/>
                    <a:pt x="409" y="70"/>
                  </a:cubicBezTo>
                  <a:cubicBezTo>
                    <a:pt x="409" y="35"/>
                    <a:pt x="409" y="35"/>
                    <a:pt x="409" y="35"/>
                  </a:cubicBezTo>
                  <a:cubicBezTo>
                    <a:pt x="409" y="15"/>
                    <a:pt x="394" y="0"/>
                    <a:pt x="374" y="0"/>
                  </a:cubicBezTo>
                  <a:close/>
                </a:path>
              </a:pathLst>
            </a:custGeom>
            <a:solidFill>
              <a:srgbClr val="BA11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49" name="Freeform 13"/>
            <p:cNvSpPr>
              <a:spLocks/>
            </p:cNvSpPr>
            <p:nvPr/>
          </p:nvSpPr>
          <p:spPr bwMode="auto">
            <a:xfrm>
              <a:off x="9939721" y="5326736"/>
              <a:ext cx="57150" cy="93663"/>
            </a:xfrm>
            <a:custGeom>
              <a:avLst/>
              <a:gdLst>
                <a:gd name="T0" fmla="*/ 28 w 56"/>
                <a:gd name="T1" fmla="*/ 93 h 93"/>
                <a:gd name="T2" fmla="*/ 0 w 56"/>
                <a:gd name="T3" fmla="*/ 65 h 93"/>
                <a:gd name="T4" fmla="*/ 0 w 56"/>
                <a:gd name="T5" fmla="*/ 28 h 93"/>
                <a:gd name="T6" fmla="*/ 28 w 56"/>
                <a:gd name="T7" fmla="*/ 0 h 93"/>
                <a:gd name="T8" fmla="*/ 56 w 56"/>
                <a:gd name="T9" fmla="*/ 28 h 93"/>
                <a:gd name="T10" fmla="*/ 56 w 56"/>
                <a:gd name="T11" fmla="*/ 65 h 93"/>
                <a:gd name="T12" fmla="*/ 28 w 56"/>
                <a:gd name="T13" fmla="*/ 93 h 93"/>
              </a:gdLst>
              <a:ahLst/>
              <a:cxnLst>
                <a:cxn ang="0">
                  <a:pos x="T0" y="T1"/>
                </a:cxn>
                <a:cxn ang="0">
                  <a:pos x="T2" y="T3"/>
                </a:cxn>
                <a:cxn ang="0">
                  <a:pos x="T4" y="T5"/>
                </a:cxn>
                <a:cxn ang="0">
                  <a:pos x="T6" y="T7"/>
                </a:cxn>
                <a:cxn ang="0">
                  <a:pos x="T8" y="T9"/>
                </a:cxn>
                <a:cxn ang="0">
                  <a:pos x="T10" y="T11"/>
                </a:cxn>
                <a:cxn ang="0">
                  <a:pos x="T12" y="T13"/>
                </a:cxn>
              </a:cxnLst>
              <a:rect l="0" t="0" r="r" b="b"/>
              <a:pathLst>
                <a:path w="56" h="93">
                  <a:moveTo>
                    <a:pt x="28" y="93"/>
                  </a:moveTo>
                  <a:cubicBezTo>
                    <a:pt x="12" y="93"/>
                    <a:pt x="0" y="80"/>
                    <a:pt x="0" y="65"/>
                  </a:cubicBezTo>
                  <a:cubicBezTo>
                    <a:pt x="0" y="28"/>
                    <a:pt x="0" y="28"/>
                    <a:pt x="0" y="28"/>
                  </a:cubicBezTo>
                  <a:cubicBezTo>
                    <a:pt x="0" y="12"/>
                    <a:pt x="12" y="0"/>
                    <a:pt x="28" y="0"/>
                  </a:cubicBezTo>
                  <a:cubicBezTo>
                    <a:pt x="44" y="0"/>
                    <a:pt x="56" y="12"/>
                    <a:pt x="56" y="28"/>
                  </a:cubicBezTo>
                  <a:cubicBezTo>
                    <a:pt x="56" y="65"/>
                    <a:pt x="56" y="65"/>
                    <a:pt x="56" y="65"/>
                  </a:cubicBezTo>
                  <a:cubicBezTo>
                    <a:pt x="56" y="80"/>
                    <a:pt x="44" y="93"/>
                    <a:pt x="28" y="93"/>
                  </a:cubicBezTo>
                  <a:close/>
                </a:path>
              </a:pathLst>
            </a:custGeom>
            <a:solidFill>
              <a:srgbClr val="8C5E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50" name="Freeform 14"/>
            <p:cNvSpPr>
              <a:spLocks/>
            </p:cNvSpPr>
            <p:nvPr/>
          </p:nvSpPr>
          <p:spPr bwMode="auto">
            <a:xfrm>
              <a:off x="10050846" y="5326736"/>
              <a:ext cx="57150" cy="93663"/>
            </a:xfrm>
            <a:custGeom>
              <a:avLst/>
              <a:gdLst>
                <a:gd name="T0" fmla="*/ 28 w 56"/>
                <a:gd name="T1" fmla="*/ 93 h 93"/>
                <a:gd name="T2" fmla="*/ 0 w 56"/>
                <a:gd name="T3" fmla="*/ 65 h 93"/>
                <a:gd name="T4" fmla="*/ 0 w 56"/>
                <a:gd name="T5" fmla="*/ 28 h 93"/>
                <a:gd name="T6" fmla="*/ 28 w 56"/>
                <a:gd name="T7" fmla="*/ 0 h 93"/>
                <a:gd name="T8" fmla="*/ 56 w 56"/>
                <a:gd name="T9" fmla="*/ 28 h 93"/>
                <a:gd name="T10" fmla="*/ 56 w 56"/>
                <a:gd name="T11" fmla="*/ 65 h 93"/>
                <a:gd name="T12" fmla="*/ 28 w 56"/>
                <a:gd name="T13" fmla="*/ 93 h 93"/>
              </a:gdLst>
              <a:ahLst/>
              <a:cxnLst>
                <a:cxn ang="0">
                  <a:pos x="T0" y="T1"/>
                </a:cxn>
                <a:cxn ang="0">
                  <a:pos x="T2" y="T3"/>
                </a:cxn>
                <a:cxn ang="0">
                  <a:pos x="T4" y="T5"/>
                </a:cxn>
                <a:cxn ang="0">
                  <a:pos x="T6" y="T7"/>
                </a:cxn>
                <a:cxn ang="0">
                  <a:pos x="T8" y="T9"/>
                </a:cxn>
                <a:cxn ang="0">
                  <a:pos x="T10" y="T11"/>
                </a:cxn>
                <a:cxn ang="0">
                  <a:pos x="T12" y="T13"/>
                </a:cxn>
              </a:cxnLst>
              <a:rect l="0" t="0" r="r" b="b"/>
              <a:pathLst>
                <a:path w="56" h="93">
                  <a:moveTo>
                    <a:pt x="28" y="93"/>
                  </a:moveTo>
                  <a:cubicBezTo>
                    <a:pt x="12" y="93"/>
                    <a:pt x="0" y="80"/>
                    <a:pt x="0" y="65"/>
                  </a:cubicBezTo>
                  <a:cubicBezTo>
                    <a:pt x="0" y="28"/>
                    <a:pt x="0" y="28"/>
                    <a:pt x="0" y="28"/>
                  </a:cubicBezTo>
                  <a:cubicBezTo>
                    <a:pt x="0" y="12"/>
                    <a:pt x="12" y="0"/>
                    <a:pt x="28" y="0"/>
                  </a:cubicBezTo>
                  <a:cubicBezTo>
                    <a:pt x="44" y="0"/>
                    <a:pt x="56" y="12"/>
                    <a:pt x="56" y="28"/>
                  </a:cubicBezTo>
                  <a:cubicBezTo>
                    <a:pt x="56" y="65"/>
                    <a:pt x="56" y="65"/>
                    <a:pt x="56" y="65"/>
                  </a:cubicBezTo>
                  <a:cubicBezTo>
                    <a:pt x="56" y="80"/>
                    <a:pt x="44" y="93"/>
                    <a:pt x="28" y="93"/>
                  </a:cubicBezTo>
                  <a:close/>
                </a:path>
              </a:pathLst>
            </a:custGeom>
            <a:solidFill>
              <a:srgbClr val="8C5E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51" name="Freeform 15"/>
            <p:cNvSpPr>
              <a:spLocks/>
            </p:cNvSpPr>
            <p:nvPr/>
          </p:nvSpPr>
          <p:spPr bwMode="auto">
            <a:xfrm>
              <a:off x="10106408" y="5334673"/>
              <a:ext cx="57150" cy="76200"/>
            </a:xfrm>
            <a:custGeom>
              <a:avLst/>
              <a:gdLst>
                <a:gd name="T0" fmla="*/ 28 w 56"/>
                <a:gd name="T1" fmla="*/ 77 h 77"/>
                <a:gd name="T2" fmla="*/ 0 w 56"/>
                <a:gd name="T3" fmla="*/ 49 h 77"/>
                <a:gd name="T4" fmla="*/ 0 w 56"/>
                <a:gd name="T5" fmla="*/ 29 h 77"/>
                <a:gd name="T6" fmla="*/ 28 w 56"/>
                <a:gd name="T7" fmla="*/ 0 h 77"/>
                <a:gd name="T8" fmla="*/ 56 w 56"/>
                <a:gd name="T9" fmla="*/ 29 h 77"/>
                <a:gd name="T10" fmla="*/ 56 w 56"/>
                <a:gd name="T11" fmla="*/ 49 h 77"/>
                <a:gd name="T12" fmla="*/ 28 w 56"/>
                <a:gd name="T13" fmla="*/ 77 h 77"/>
              </a:gdLst>
              <a:ahLst/>
              <a:cxnLst>
                <a:cxn ang="0">
                  <a:pos x="T0" y="T1"/>
                </a:cxn>
                <a:cxn ang="0">
                  <a:pos x="T2" y="T3"/>
                </a:cxn>
                <a:cxn ang="0">
                  <a:pos x="T4" y="T5"/>
                </a:cxn>
                <a:cxn ang="0">
                  <a:pos x="T6" y="T7"/>
                </a:cxn>
                <a:cxn ang="0">
                  <a:pos x="T8" y="T9"/>
                </a:cxn>
                <a:cxn ang="0">
                  <a:pos x="T10" y="T11"/>
                </a:cxn>
                <a:cxn ang="0">
                  <a:pos x="T12" y="T13"/>
                </a:cxn>
              </a:cxnLst>
              <a:rect l="0" t="0" r="r" b="b"/>
              <a:pathLst>
                <a:path w="56" h="77">
                  <a:moveTo>
                    <a:pt x="28" y="77"/>
                  </a:moveTo>
                  <a:cubicBezTo>
                    <a:pt x="12" y="77"/>
                    <a:pt x="0" y="64"/>
                    <a:pt x="0" y="49"/>
                  </a:cubicBezTo>
                  <a:cubicBezTo>
                    <a:pt x="0" y="29"/>
                    <a:pt x="0" y="29"/>
                    <a:pt x="0" y="29"/>
                  </a:cubicBezTo>
                  <a:cubicBezTo>
                    <a:pt x="0" y="13"/>
                    <a:pt x="12" y="0"/>
                    <a:pt x="28" y="0"/>
                  </a:cubicBezTo>
                  <a:cubicBezTo>
                    <a:pt x="44" y="0"/>
                    <a:pt x="56" y="13"/>
                    <a:pt x="56" y="29"/>
                  </a:cubicBezTo>
                  <a:cubicBezTo>
                    <a:pt x="56" y="49"/>
                    <a:pt x="56" y="49"/>
                    <a:pt x="56" y="49"/>
                  </a:cubicBezTo>
                  <a:cubicBezTo>
                    <a:pt x="56" y="64"/>
                    <a:pt x="44" y="77"/>
                    <a:pt x="28" y="77"/>
                  </a:cubicBezTo>
                  <a:close/>
                </a:path>
              </a:pathLst>
            </a:custGeom>
            <a:solidFill>
              <a:srgbClr val="8C5E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52" name="Freeform 16"/>
            <p:cNvSpPr>
              <a:spLocks/>
            </p:cNvSpPr>
            <p:nvPr/>
          </p:nvSpPr>
          <p:spPr bwMode="auto">
            <a:xfrm>
              <a:off x="9995283" y="5314036"/>
              <a:ext cx="57150" cy="112713"/>
            </a:xfrm>
            <a:custGeom>
              <a:avLst/>
              <a:gdLst>
                <a:gd name="T0" fmla="*/ 28 w 56"/>
                <a:gd name="T1" fmla="*/ 113 h 113"/>
                <a:gd name="T2" fmla="*/ 0 w 56"/>
                <a:gd name="T3" fmla="*/ 85 h 113"/>
                <a:gd name="T4" fmla="*/ 0 w 56"/>
                <a:gd name="T5" fmla="*/ 28 h 113"/>
                <a:gd name="T6" fmla="*/ 28 w 56"/>
                <a:gd name="T7" fmla="*/ 0 h 113"/>
                <a:gd name="T8" fmla="*/ 56 w 56"/>
                <a:gd name="T9" fmla="*/ 28 h 113"/>
                <a:gd name="T10" fmla="*/ 56 w 56"/>
                <a:gd name="T11" fmla="*/ 85 h 113"/>
                <a:gd name="T12" fmla="*/ 28 w 56"/>
                <a:gd name="T13" fmla="*/ 113 h 113"/>
              </a:gdLst>
              <a:ahLst/>
              <a:cxnLst>
                <a:cxn ang="0">
                  <a:pos x="T0" y="T1"/>
                </a:cxn>
                <a:cxn ang="0">
                  <a:pos x="T2" y="T3"/>
                </a:cxn>
                <a:cxn ang="0">
                  <a:pos x="T4" y="T5"/>
                </a:cxn>
                <a:cxn ang="0">
                  <a:pos x="T6" y="T7"/>
                </a:cxn>
                <a:cxn ang="0">
                  <a:pos x="T8" y="T9"/>
                </a:cxn>
                <a:cxn ang="0">
                  <a:pos x="T10" y="T11"/>
                </a:cxn>
                <a:cxn ang="0">
                  <a:pos x="T12" y="T13"/>
                </a:cxn>
              </a:cxnLst>
              <a:rect l="0" t="0" r="r" b="b"/>
              <a:pathLst>
                <a:path w="56" h="113">
                  <a:moveTo>
                    <a:pt x="28" y="113"/>
                  </a:moveTo>
                  <a:cubicBezTo>
                    <a:pt x="12" y="113"/>
                    <a:pt x="0" y="101"/>
                    <a:pt x="0" y="85"/>
                  </a:cubicBezTo>
                  <a:cubicBezTo>
                    <a:pt x="0" y="28"/>
                    <a:pt x="0" y="28"/>
                    <a:pt x="0" y="28"/>
                  </a:cubicBezTo>
                  <a:cubicBezTo>
                    <a:pt x="0" y="13"/>
                    <a:pt x="12" y="0"/>
                    <a:pt x="28" y="0"/>
                  </a:cubicBezTo>
                  <a:cubicBezTo>
                    <a:pt x="44" y="0"/>
                    <a:pt x="56" y="13"/>
                    <a:pt x="56" y="28"/>
                  </a:cubicBezTo>
                  <a:cubicBezTo>
                    <a:pt x="56" y="85"/>
                    <a:pt x="56" y="85"/>
                    <a:pt x="56" y="85"/>
                  </a:cubicBezTo>
                  <a:cubicBezTo>
                    <a:pt x="56" y="101"/>
                    <a:pt x="44" y="113"/>
                    <a:pt x="28" y="113"/>
                  </a:cubicBezTo>
                  <a:close/>
                </a:path>
              </a:pathLst>
            </a:custGeom>
            <a:solidFill>
              <a:srgbClr val="8C5E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53" name="Freeform 17"/>
            <p:cNvSpPr>
              <a:spLocks/>
            </p:cNvSpPr>
            <p:nvPr/>
          </p:nvSpPr>
          <p:spPr bwMode="auto">
            <a:xfrm>
              <a:off x="9939721" y="5374361"/>
              <a:ext cx="223837" cy="52388"/>
            </a:xfrm>
            <a:custGeom>
              <a:avLst/>
              <a:gdLst>
                <a:gd name="T0" fmla="*/ 193 w 221"/>
                <a:gd name="T1" fmla="*/ 29 h 52"/>
                <a:gd name="T2" fmla="*/ 166 w 221"/>
                <a:gd name="T3" fmla="*/ 10 h 52"/>
                <a:gd name="T4" fmla="*/ 138 w 221"/>
                <a:gd name="T5" fmla="*/ 38 h 52"/>
                <a:gd name="T6" fmla="*/ 111 w 221"/>
                <a:gd name="T7" fmla="*/ 18 h 52"/>
                <a:gd name="T8" fmla="*/ 83 w 221"/>
                <a:gd name="T9" fmla="*/ 44 h 52"/>
                <a:gd name="T10" fmla="*/ 55 w 221"/>
                <a:gd name="T11" fmla="*/ 18 h 52"/>
                <a:gd name="T12" fmla="*/ 28 w 221"/>
                <a:gd name="T13" fmla="*/ 38 h 52"/>
                <a:gd name="T14" fmla="*/ 0 w 221"/>
                <a:gd name="T15" fmla="*/ 9 h 52"/>
                <a:gd name="T16" fmla="*/ 0 w 221"/>
                <a:gd name="T17" fmla="*/ 18 h 52"/>
                <a:gd name="T18" fmla="*/ 28 w 221"/>
                <a:gd name="T19" fmla="*/ 46 h 52"/>
                <a:gd name="T20" fmla="*/ 55 w 221"/>
                <a:gd name="T21" fmla="*/ 27 h 52"/>
                <a:gd name="T22" fmla="*/ 83 w 221"/>
                <a:gd name="T23" fmla="*/ 52 h 52"/>
                <a:gd name="T24" fmla="*/ 111 w 221"/>
                <a:gd name="T25" fmla="*/ 27 h 52"/>
                <a:gd name="T26" fmla="*/ 138 w 221"/>
                <a:gd name="T27" fmla="*/ 46 h 52"/>
                <a:gd name="T28" fmla="*/ 166 w 221"/>
                <a:gd name="T29" fmla="*/ 18 h 52"/>
                <a:gd name="T30" fmla="*/ 193 w 221"/>
                <a:gd name="T31" fmla="*/ 37 h 52"/>
                <a:gd name="T32" fmla="*/ 221 w 221"/>
                <a:gd name="T33" fmla="*/ 9 h 52"/>
                <a:gd name="T34" fmla="*/ 221 w 221"/>
                <a:gd name="T35" fmla="*/ 0 h 52"/>
                <a:gd name="T36" fmla="*/ 193 w 221"/>
                <a:gd name="T37" fmla="*/ 29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21" h="52">
                  <a:moveTo>
                    <a:pt x="193" y="29"/>
                  </a:moveTo>
                  <a:cubicBezTo>
                    <a:pt x="181" y="29"/>
                    <a:pt x="170" y="21"/>
                    <a:pt x="166" y="10"/>
                  </a:cubicBezTo>
                  <a:cubicBezTo>
                    <a:pt x="166" y="25"/>
                    <a:pt x="154" y="38"/>
                    <a:pt x="138" y="38"/>
                  </a:cubicBezTo>
                  <a:cubicBezTo>
                    <a:pt x="125" y="38"/>
                    <a:pt x="115" y="30"/>
                    <a:pt x="111" y="18"/>
                  </a:cubicBezTo>
                  <a:cubicBezTo>
                    <a:pt x="110" y="33"/>
                    <a:pt x="98" y="44"/>
                    <a:pt x="83" y="44"/>
                  </a:cubicBezTo>
                  <a:cubicBezTo>
                    <a:pt x="68" y="44"/>
                    <a:pt x="56" y="33"/>
                    <a:pt x="55" y="18"/>
                  </a:cubicBezTo>
                  <a:cubicBezTo>
                    <a:pt x="51" y="30"/>
                    <a:pt x="40" y="38"/>
                    <a:pt x="28" y="38"/>
                  </a:cubicBezTo>
                  <a:cubicBezTo>
                    <a:pt x="12" y="38"/>
                    <a:pt x="0" y="25"/>
                    <a:pt x="0" y="9"/>
                  </a:cubicBezTo>
                  <a:cubicBezTo>
                    <a:pt x="0" y="18"/>
                    <a:pt x="0" y="18"/>
                    <a:pt x="0" y="18"/>
                  </a:cubicBezTo>
                  <a:cubicBezTo>
                    <a:pt x="0" y="33"/>
                    <a:pt x="12" y="46"/>
                    <a:pt x="28" y="46"/>
                  </a:cubicBezTo>
                  <a:cubicBezTo>
                    <a:pt x="40" y="46"/>
                    <a:pt x="51" y="38"/>
                    <a:pt x="55" y="27"/>
                  </a:cubicBezTo>
                  <a:cubicBezTo>
                    <a:pt x="56" y="41"/>
                    <a:pt x="68" y="52"/>
                    <a:pt x="83" y="52"/>
                  </a:cubicBezTo>
                  <a:cubicBezTo>
                    <a:pt x="98" y="52"/>
                    <a:pt x="110" y="41"/>
                    <a:pt x="111" y="27"/>
                  </a:cubicBezTo>
                  <a:cubicBezTo>
                    <a:pt x="115" y="38"/>
                    <a:pt x="125" y="46"/>
                    <a:pt x="138" y="46"/>
                  </a:cubicBezTo>
                  <a:cubicBezTo>
                    <a:pt x="154" y="46"/>
                    <a:pt x="166" y="33"/>
                    <a:pt x="166" y="18"/>
                  </a:cubicBezTo>
                  <a:cubicBezTo>
                    <a:pt x="170" y="29"/>
                    <a:pt x="181" y="37"/>
                    <a:pt x="193" y="37"/>
                  </a:cubicBezTo>
                  <a:cubicBezTo>
                    <a:pt x="209" y="37"/>
                    <a:pt x="221" y="24"/>
                    <a:pt x="221" y="9"/>
                  </a:cubicBezTo>
                  <a:cubicBezTo>
                    <a:pt x="221" y="0"/>
                    <a:pt x="221" y="0"/>
                    <a:pt x="221" y="0"/>
                  </a:cubicBezTo>
                  <a:cubicBezTo>
                    <a:pt x="221" y="16"/>
                    <a:pt x="209" y="29"/>
                    <a:pt x="193" y="29"/>
                  </a:cubicBez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54" name="Freeform 18"/>
            <p:cNvSpPr>
              <a:spLocks/>
            </p:cNvSpPr>
            <p:nvPr/>
          </p:nvSpPr>
          <p:spPr bwMode="auto">
            <a:xfrm>
              <a:off x="9873046" y="5123536"/>
              <a:ext cx="182562" cy="304800"/>
            </a:xfrm>
            <a:custGeom>
              <a:avLst/>
              <a:gdLst>
                <a:gd name="T0" fmla="*/ 78 w 181"/>
                <a:gd name="T1" fmla="*/ 167 h 306"/>
                <a:gd name="T2" fmla="*/ 75 w 181"/>
                <a:gd name="T3" fmla="*/ 252 h 306"/>
                <a:gd name="T4" fmla="*/ 12 w 181"/>
                <a:gd name="T5" fmla="*/ 282 h 306"/>
                <a:gd name="T6" fmla="*/ 9 w 181"/>
                <a:gd name="T7" fmla="*/ 94 h 306"/>
                <a:gd name="T8" fmla="*/ 106 w 181"/>
                <a:gd name="T9" fmla="*/ 11 h 306"/>
                <a:gd name="T10" fmla="*/ 181 w 181"/>
                <a:gd name="T11" fmla="*/ 17 h 306"/>
                <a:gd name="T12" fmla="*/ 78 w 181"/>
                <a:gd name="T13" fmla="*/ 167 h 306"/>
              </a:gdLst>
              <a:ahLst/>
              <a:cxnLst>
                <a:cxn ang="0">
                  <a:pos x="T0" y="T1"/>
                </a:cxn>
                <a:cxn ang="0">
                  <a:pos x="T2" y="T3"/>
                </a:cxn>
                <a:cxn ang="0">
                  <a:pos x="T4" y="T5"/>
                </a:cxn>
                <a:cxn ang="0">
                  <a:pos x="T6" y="T7"/>
                </a:cxn>
                <a:cxn ang="0">
                  <a:pos x="T8" y="T9"/>
                </a:cxn>
                <a:cxn ang="0">
                  <a:pos x="T10" y="T11"/>
                </a:cxn>
                <a:cxn ang="0">
                  <a:pos x="T12" y="T13"/>
                </a:cxn>
              </a:cxnLst>
              <a:rect l="0" t="0" r="r" b="b"/>
              <a:pathLst>
                <a:path w="181" h="306">
                  <a:moveTo>
                    <a:pt x="78" y="167"/>
                  </a:moveTo>
                  <a:cubicBezTo>
                    <a:pt x="75" y="252"/>
                    <a:pt x="75" y="252"/>
                    <a:pt x="75" y="252"/>
                  </a:cubicBezTo>
                  <a:cubicBezTo>
                    <a:pt x="75" y="252"/>
                    <a:pt x="52" y="306"/>
                    <a:pt x="12" y="282"/>
                  </a:cubicBezTo>
                  <a:cubicBezTo>
                    <a:pt x="20" y="135"/>
                    <a:pt x="0" y="143"/>
                    <a:pt x="9" y="94"/>
                  </a:cubicBezTo>
                  <a:cubicBezTo>
                    <a:pt x="18" y="44"/>
                    <a:pt x="41" y="14"/>
                    <a:pt x="106" y="11"/>
                  </a:cubicBezTo>
                  <a:cubicBezTo>
                    <a:pt x="130" y="0"/>
                    <a:pt x="176" y="10"/>
                    <a:pt x="181" y="17"/>
                  </a:cubicBezTo>
                  <a:cubicBezTo>
                    <a:pt x="177" y="150"/>
                    <a:pt x="78" y="167"/>
                    <a:pt x="78" y="167"/>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55" name="Freeform 19"/>
            <p:cNvSpPr>
              <a:spLocks/>
            </p:cNvSpPr>
            <p:nvPr/>
          </p:nvSpPr>
          <p:spPr bwMode="auto">
            <a:xfrm>
              <a:off x="9923846" y="4815560"/>
              <a:ext cx="257175" cy="257175"/>
            </a:xfrm>
            <a:custGeom>
              <a:avLst/>
              <a:gdLst>
                <a:gd name="T0" fmla="*/ 0 w 162"/>
                <a:gd name="T1" fmla="*/ 0 h 162"/>
                <a:gd name="T2" fmla="*/ 162 w 162"/>
                <a:gd name="T3" fmla="*/ 0 h 162"/>
                <a:gd name="T4" fmla="*/ 156 w 162"/>
                <a:gd name="T5" fmla="*/ 162 h 162"/>
                <a:gd name="T6" fmla="*/ 9 w 162"/>
                <a:gd name="T7" fmla="*/ 162 h 162"/>
                <a:gd name="T8" fmla="*/ 0 w 162"/>
                <a:gd name="T9" fmla="*/ 0 h 162"/>
              </a:gdLst>
              <a:ahLst/>
              <a:cxnLst>
                <a:cxn ang="0">
                  <a:pos x="T0" y="T1"/>
                </a:cxn>
                <a:cxn ang="0">
                  <a:pos x="T2" y="T3"/>
                </a:cxn>
                <a:cxn ang="0">
                  <a:pos x="T4" y="T5"/>
                </a:cxn>
                <a:cxn ang="0">
                  <a:pos x="T6" y="T7"/>
                </a:cxn>
                <a:cxn ang="0">
                  <a:pos x="T8" y="T9"/>
                </a:cxn>
              </a:cxnLst>
              <a:rect l="0" t="0" r="r" b="b"/>
              <a:pathLst>
                <a:path w="162" h="162">
                  <a:moveTo>
                    <a:pt x="0" y="0"/>
                  </a:moveTo>
                  <a:lnTo>
                    <a:pt x="162" y="0"/>
                  </a:lnTo>
                  <a:lnTo>
                    <a:pt x="156" y="162"/>
                  </a:lnTo>
                  <a:lnTo>
                    <a:pt x="9" y="162"/>
                  </a:lnTo>
                  <a:lnTo>
                    <a:pt x="0" y="0"/>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2" name="Freeform 20"/>
            <p:cNvSpPr>
              <a:spLocks/>
            </p:cNvSpPr>
            <p:nvPr/>
          </p:nvSpPr>
          <p:spPr bwMode="auto">
            <a:xfrm>
              <a:off x="9923846" y="4815560"/>
              <a:ext cx="257175" cy="257175"/>
            </a:xfrm>
            <a:custGeom>
              <a:avLst/>
              <a:gdLst>
                <a:gd name="T0" fmla="*/ 0 w 162"/>
                <a:gd name="T1" fmla="*/ 0 h 162"/>
                <a:gd name="T2" fmla="*/ 162 w 162"/>
                <a:gd name="T3" fmla="*/ 0 h 162"/>
                <a:gd name="T4" fmla="*/ 156 w 162"/>
                <a:gd name="T5" fmla="*/ 162 h 162"/>
                <a:gd name="T6" fmla="*/ 9 w 162"/>
                <a:gd name="T7" fmla="*/ 162 h 162"/>
                <a:gd name="T8" fmla="*/ 0 w 162"/>
                <a:gd name="T9" fmla="*/ 0 h 162"/>
              </a:gdLst>
              <a:ahLst/>
              <a:cxnLst>
                <a:cxn ang="0">
                  <a:pos x="T0" y="T1"/>
                </a:cxn>
                <a:cxn ang="0">
                  <a:pos x="T2" y="T3"/>
                </a:cxn>
                <a:cxn ang="0">
                  <a:pos x="T4" y="T5"/>
                </a:cxn>
                <a:cxn ang="0">
                  <a:pos x="T6" y="T7"/>
                </a:cxn>
                <a:cxn ang="0">
                  <a:pos x="T8" y="T9"/>
                </a:cxn>
              </a:cxnLst>
              <a:rect l="0" t="0" r="r" b="b"/>
              <a:pathLst>
                <a:path w="162" h="162">
                  <a:moveTo>
                    <a:pt x="0" y="0"/>
                  </a:moveTo>
                  <a:lnTo>
                    <a:pt x="162" y="0"/>
                  </a:lnTo>
                  <a:lnTo>
                    <a:pt x="156" y="162"/>
                  </a:lnTo>
                  <a:lnTo>
                    <a:pt x="9" y="162"/>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4" name="Freeform 21"/>
            <p:cNvSpPr>
              <a:spLocks/>
            </p:cNvSpPr>
            <p:nvPr/>
          </p:nvSpPr>
          <p:spPr bwMode="auto">
            <a:xfrm>
              <a:off x="9938133" y="5071148"/>
              <a:ext cx="233362" cy="65088"/>
            </a:xfrm>
            <a:custGeom>
              <a:avLst/>
              <a:gdLst>
                <a:gd name="T0" fmla="*/ 0 w 233"/>
                <a:gd name="T1" fmla="*/ 65 h 65"/>
                <a:gd name="T2" fmla="*/ 0 w 233"/>
                <a:gd name="T3" fmla="*/ 0 h 65"/>
                <a:gd name="T4" fmla="*/ 193 w 233"/>
                <a:gd name="T5" fmla="*/ 0 h 65"/>
                <a:gd name="T6" fmla="*/ 233 w 233"/>
                <a:gd name="T7" fmla="*/ 0 h 65"/>
                <a:gd name="T8" fmla="*/ 169 w 233"/>
                <a:gd name="T9" fmla="*/ 65 h 65"/>
                <a:gd name="T10" fmla="*/ 0 w 233"/>
                <a:gd name="T11" fmla="*/ 65 h 65"/>
              </a:gdLst>
              <a:ahLst/>
              <a:cxnLst>
                <a:cxn ang="0">
                  <a:pos x="T0" y="T1"/>
                </a:cxn>
                <a:cxn ang="0">
                  <a:pos x="T2" y="T3"/>
                </a:cxn>
                <a:cxn ang="0">
                  <a:pos x="T4" y="T5"/>
                </a:cxn>
                <a:cxn ang="0">
                  <a:pos x="T6" y="T7"/>
                </a:cxn>
                <a:cxn ang="0">
                  <a:pos x="T8" y="T9"/>
                </a:cxn>
                <a:cxn ang="0">
                  <a:pos x="T10" y="T11"/>
                </a:cxn>
              </a:cxnLst>
              <a:rect l="0" t="0" r="r" b="b"/>
              <a:pathLst>
                <a:path w="233" h="65">
                  <a:moveTo>
                    <a:pt x="0" y="65"/>
                  </a:moveTo>
                  <a:cubicBezTo>
                    <a:pt x="0" y="0"/>
                    <a:pt x="0" y="0"/>
                    <a:pt x="0" y="0"/>
                  </a:cubicBezTo>
                  <a:cubicBezTo>
                    <a:pt x="193" y="0"/>
                    <a:pt x="193" y="0"/>
                    <a:pt x="193" y="0"/>
                  </a:cubicBezTo>
                  <a:cubicBezTo>
                    <a:pt x="233" y="0"/>
                    <a:pt x="233" y="0"/>
                    <a:pt x="233" y="0"/>
                  </a:cubicBezTo>
                  <a:cubicBezTo>
                    <a:pt x="233" y="36"/>
                    <a:pt x="205" y="65"/>
                    <a:pt x="169" y="65"/>
                  </a:cubicBezTo>
                  <a:cubicBezTo>
                    <a:pt x="0" y="65"/>
                    <a:pt x="0" y="65"/>
                    <a:pt x="0" y="6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5" name="Freeform 22"/>
            <p:cNvSpPr>
              <a:spLocks/>
            </p:cNvSpPr>
            <p:nvPr/>
          </p:nvSpPr>
          <p:spPr bwMode="auto">
            <a:xfrm>
              <a:off x="9923846" y="4815560"/>
              <a:ext cx="77787" cy="257175"/>
            </a:xfrm>
            <a:custGeom>
              <a:avLst/>
              <a:gdLst>
                <a:gd name="T0" fmla="*/ 49 w 49"/>
                <a:gd name="T1" fmla="*/ 0 h 162"/>
                <a:gd name="T2" fmla="*/ 0 w 49"/>
                <a:gd name="T3" fmla="*/ 0 h 162"/>
                <a:gd name="T4" fmla="*/ 9 w 49"/>
                <a:gd name="T5" fmla="*/ 162 h 162"/>
                <a:gd name="T6" fmla="*/ 9 w 49"/>
                <a:gd name="T7" fmla="*/ 161 h 162"/>
                <a:gd name="T8" fmla="*/ 49 w 49"/>
                <a:gd name="T9" fmla="*/ 161 h 162"/>
                <a:gd name="T10" fmla="*/ 49 w 49"/>
                <a:gd name="T11" fmla="*/ 0 h 162"/>
              </a:gdLst>
              <a:ahLst/>
              <a:cxnLst>
                <a:cxn ang="0">
                  <a:pos x="T0" y="T1"/>
                </a:cxn>
                <a:cxn ang="0">
                  <a:pos x="T2" y="T3"/>
                </a:cxn>
                <a:cxn ang="0">
                  <a:pos x="T4" y="T5"/>
                </a:cxn>
                <a:cxn ang="0">
                  <a:pos x="T6" y="T7"/>
                </a:cxn>
                <a:cxn ang="0">
                  <a:pos x="T8" y="T9"/>
                </a:cxn>
                <a:cxn ang="0">
                  <a:pos x="T10" y="T11"/>
                </a:cxn>
              </a:cxnLst>
              <a:rect l="0" t="0" r="r" b="b"/>
              <a:pathLst>
                <a:path w="49" h="162">
                  <a:moveTo>
                    <a:pt x="49" y="0"/>
                  </a:moveTo>
                  <a:lnTo>
                    <a:pt x="0" y="0"/>
                  </a:lnTo>
                  <a:lnTo>
                    <a:pt x="9" y="162"/>
                  </a:lnTo>
                  <a:lnTo>
                    <a:pt x="9" y="161"/>
                  </a:lnTo>
                  <a:lnTo>
                    <a:pt x="49" y="161"/>
                  </a:lnTo>
                  <a:lnTo>
                    <a:pt x="49" y="0"/>
                  </a:ln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7" name="Freeform 23"/>
            <p:cNvSpPr>
              <a:spLocks/>
            </p:cNvSpPr>
            <p:nvPr/>
          </p:nvSpPr>
          <p:spPr bwMode="auto">
            <a:xfrm>
              <a:off x="9923846" y="4815560"/>
              <a:ext cx="77787" cy="257175"/>
            </a:xfrm>
            <a:custGeom>
              <a:avLst/>
              <a:gdLst>
                <a:gd name="T0" fmla="*/ 49 w 49"/>
                <a:gd name="T1" fmla="*/ 0 h 162"/>
                <a:gd name="T2" fmla="*/ 0 w 49"/>
                <a:gd name="T3" fmla="*/ 0 h 162"/>
                <a:gd name="T4" fmla="*/ 9 w 49"/>
                <a:gd name="T5" fmla="*/ 162 h 162"/>
                <a:gd name="T6" fmla="*/ 9 w 49"/>
                <a:gd name="T7" fmla="*/ 161 h 162"/>
                <a:gd name="T8" fmla="*/ 49 w 49"/>
                <a:gd name="T9" fmla="*/ 161 h 162"/>
                <a:gd name="T10" fmla="*/ 49 w 49"/>
                <a:gd name="T11" fmla="*/ 0 h 162"/>
              </a:gdLst>
              <a:ahLst/>
              <a:cxnLst>
                <a:cxn ang="0">
                  <a:pos x="T0" y="T1"/>
                </a:cxn>
                <a:cxn ang="0">
                  <a:pos x="T2" y="T3"/>
                </a:cxn>
                <a:cxn ang="0">
                  <a:pos x="T4" y="T5"/>
                </a:cxn>
                <a:cxn ang="0">
                  <a:pos x="T6" y="T7"/>
                </a:cxn>
                <a:cxn ang="0">
                  <a:pos x="T8" y="T9"/>
                </a:cxn>
                <a:cxn ang="0">
                  <a:pos x="T10" y="T11"/>
                </a:cxn>
              </a:cxnLst>
              <a:rect l="0" t="0" r="r" b="b"/>
              <a:pathLst>
                <a:path w="49" h="162">
                  <a:moveTo>
                    <a:pt x="49" y="0"/>
                  </a:moveTo>
                  <a:lnTo>
                    <a:pt x="0" y="0"/>
                  </a:lnTo>
                  <a:lnTo>
                    <a:pt x="9" y="162"/>
                  </a:lnTo>
                  <a:lnTo>
                    <a:pt x="9" y="161"/>
                  </a:lnTo>
                  <a:lnTo>
                    <a:pt x="49" y="161"/>
                  </a:lnTo>
                  <a:lnTo>
                    <a:pt x="4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8" name="Freeform 24"/>
            <p:cNvSpPr>
              <a:spLocks/>
            </p:cNvSpPr>
            <p:nvPr/>
          </p:nvSpPr>
          <p:spPr bwMode="auto">
            <a:xfrm>
              <a:off x="9938133" y="5071148"/>
              <a:ext cx="63500" cy="65088"/>
            </a:xfrm>
            <a:custGeom>
              <a:avLst/>
              <a:gdLst>
                <a:gd name="T0" fmla="*/ 40 w 40"/>
                <a:gd name="T1" fmla="*/ 0 h 41"/>
                <a:gd name="T2" fmla="*/ 0 w 40"/>
                <a:gd name="T3" fmla="*/ 0 h 41"/>
                <a:gd name="T4" fmla="*/ 0 w 40"/>
                <a:gd name="T5" fmla="*/ 1 h 41"/>
                <a:gd name="T6" fmla="*/ 0 w 40"/>
                <a:gd name="T7" fmla="*/ 41 h 41"/>
                <a:gd name="T8" fmla="*/ 40 w 40"/>
                <a:gd name="T9" fmla="*/ 41 h 41"/>
                <a:gd name="T10" fmla="*/ 40 w 40"/>
                <a:gd name="T11" fmla="*/ 0 h 41"/>
              </a:gdLst>
              <a:ahLst/>
              <a:cxnLst>
                <a:cxn ang="0">
                  <a:pos x="T0" y="T1"/>
                </a:cxn>
                <a:cxn ang="0">
                  <a:pos x="T2" y="T3"/>
                </a:cxn>
                <a:cxn ang="0">
                  <a:pos x="T4" y="T5"/>
                </a:cxn>
                <a:cxn ang="0">
                  <a:pos x="T6" y="T7"/>
                </a:cxn>
                <a:cxn ang="0">
                  <a:pos x="T8" y="T9"/>
                </a:cxn>
                <a:cxn ang="0">
                  <a:pos x="T10" y="T11"/>
                </a:cxn>
              </a:cxnLst>
              <a:rect l="0" t="0" r="r" b="b"/>
              <a:pathLst>
                <a:path w="40" h="41">
                  <a:moveTo>
                    <a:pt x="40" y="0"/>
                  </a:moveTo>
                  <a:lnTo>
                    <a:pt x="0" y="0"/>
                  </a:lnTo>
                  <a:lnTo>
                    <a:pt x="0" y="1"/>
                  </a:lnTo>
                  <a:lnTo>
                    <a:pt x="0" y="41"/>
                  </a:lnTo>
                  <a:lnTo>
                    <a:pt x="40" y="41"/>
                  </a:lnTo>
                  <a:lnTo>
                    <a:pt x="40" y="0"/>
                  </a:ln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9" name="Freeform 25"/>
            <p:cNvSpPr>
              <a:spLocks/>
            </p:cNvSpPr>
            <p:nvPr/>
          </p:nvSpPr>
          <p:spPr bwMode="auto">
            <a:xfrm>
              <a:off x="9938133" y="5071148"/>
              <a:ext cx="63500" cy="65088"/>
            </a:xfrm>
            <a:custGeom>
              <a:avLst/>
              <a:gdLst>
                <a:gd name="T0" fmla="*/ 40 w 40"/>
                <a:gd name="T1" fmla="*/ 0 h 41"/>
                <a:gd name="T2" fmla="*/ 0 w 40"/>
                <a:gd name="T3" fmla="*/ 0 h 41"/>
                <a:gd name="T4" fmla="*/ 0 w 40"/>
                <a:gd name="T5" fmla="*/ 1 h 41"/>
                <a:gd name="T6" fmla="*/ 0 w 40"/>
                <a:gd name="T7" fmla="*/ 41 h 41"/>
                <a:gd name="T8" fmla="*/ 40 w 40"/>
                <a:gd name="T9" fmla="*/ 41 h 41"/>
                <a:gd name="T10" fmla="*/ 40 w 40"/>
                <a:gd name="T11" fmla="*/ 0 h 41"/>
              </a:gdLst>
              <a:ahLst/>
              <a:cxnLst>
                <a:cxn ang="0">
                  <a:pos x="T0" y="T1"/>
                </a:cxn>
                <a:cxn ang="0">
                  <a:pos x="T2" y="T3"/>
                </a:cxn>
                <a:cxn ang="0">
                  <a:pos x="T4" y="T5"/>
                </a:cxn>
                <a:cxn ang="0">
                  <a:pos x="T6" y="T7"/>
                </a:cxn>
                <a:cxn ang="0">
                  <a:pos x="T8" y="T9"/>
                </a:cxn>
                <a:cxn ang="0">
                  <a:pos x="T10" y="T11"/>
                </a:cxn>
              </a:cxnLst>
              <a:rect l="0" t="0" r="r" b="b"/>
              <a:pathLst>
                <a:path w="40" h="41">
                  <a:moveTo>
                    <a:pt x="40" y="0"/>
                  </a:moveTo>
                  <a:lnTo>
                    <a:pt x="0" y="0"/>
                  </a:lnTo>
                  <a:lnTo>
                    <a:pt x="0" y="1"/>
                  </a:lnTo>
                  <a:lnTo>
                    <a:pt x="0" y="41"/>
                  </a:lnTo>
                  <a:lnTo>
                    <a:pt x="40" y="41"/>
                  </a:lnTo>
                  <a:lnTo>
                    <a:pt x="4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1" name="Rectangle 26"/>
            <p:cNvSpPr>
              <a:spLocks noChangeArrowheads="1"/>
            </p:cNvSpPr>
            <p:nvPr/>
          </p:nvSpPr>
          <p:spPr bwMode="auto">
            <a:xfrm>
              <a:off x="9536496" y="6237961"/>
              <a:ext cx="1019175" cy="23813"/>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2" name="Rectangle 27"/>
            <p:cNvSpPr>
              <a:spLocks noChangeArrowheads="1"/>
            </p:cNvSpPr>
            <p:nvPr/>
          </p:nvSpPr>
          <p:spPr bwMode="auto">
            <a:xfrm>
              <a:off x="9536496" y="6237961"/>
              <a:ext cx="1019175" cy="23813"/>
            </a:xfrm>
            <a:prstGeom prst="rect">
              <a:avLst/>
            </a:prstGeom>
            <a:solidFill>
              <a:srgbClr val="0063B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3" name="Freeform 28"/>
            <p:cNvSpPr>
              <a:spLocks/>
            </p:cNvSpPr>
            <p:nvPr/>
          </p:nvSpPr>
          <p:spPr bwMode="auto">
            <a:xfrm>
              <a:off x="9330121" y="6437986"/>
              <a:ext cx="1433512" cy="17463"/>
            </a:xfrm>
            <a:custGeom>
              <a:avLst/>
              <a:gdLst>
                <a:gd name="T0" fmla="*/ 1425 w 1425"/>
                <a:gd name="T1" fmla="*/ 0 h 17"/>
                <a:gd name="T2" fmla="*/ 1419 w 1425"/>
                <a:gd name="T3" fmla="*/ 0 h 17"/>
                <a:gd name="T4" fmla="*/ 6 w 1425"/>
                <a:gd name="T5" fmla="*/ 0 h 17"/>
                <a:gd name="T6" fmla="*/ 0 w 1425"/>
                <a:gd name="T7" fmla="*/ 0 h 17"/>
                <a:gd name="T8" fmla="*/ 0 w 1425"/>
                <a:gd name="T9" fmla="*/ 11 h 17"/>
                <a:gd name="T10" fmla="*/ 0 w 1425"/>
                <a:gd name="T11" fmla="*/ 11 h 17"/>
                <a:gd name="T12" fmla="*/ 8 w 1425"/>
                <a:gd name="T13" fmla="*/ 17 h 17"/>
                <a:gd name="T14" fmla="*/ 1417 w 1425"/>
                <a:gd name="T15" fmla="*/ 17 h 17"/>
                <a:gd name="T16" fmla="*/ 1425 w 1425"/>
                <a:gd name="T17" fmla="*/ 11 h 17"/>
                <a:gd name="T18" fmla="*/ 1425 w 1425"/>
                <a:gd name="T19" fmla="*/ 11 h 17"/>
                <a:gd name="T20" fmla="*/ 1425 w 1425"/>
                <a:gd name="T21"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25" h="17">
                  <a:moveTo>
                    <a:pt x="1425" y="0"/>
                  </a:moveTo>
                  <a:cubicBezTo>
                    <a:pt x="1419" y="0"/>
                    <a:pt x="1419" y="0"/>
                    <a:pt x="1419" y="0"/>
                  </a:cubicBezTo>
                  <a:cubicBezTo>
                    <a:pt x="6" y="0"/>
                    <a:pt x="6" y="0"/>
                    <a:pt x="6" y="0"/>
                  </a:cubicBezTo>
                  <a:cubicBezTo>
                    <a:pt x="0" y="0"/>
                    <a:pt x="0" y="0"/>
                    <a:pt x="0" y="0"/>
                  </a:cubicBezTo>
                  <a:cubicBezTo>
                    <a:pt x="0" y="11"/>
                    <a:pt x="0" y="11"/>
                    <a:pt x="0" y="11"/>
                  </a:cubicBezTo>
                  <a:cubicBezTo>
                    <a:pt x="0" y="11"/>
                    <a:pt x="0" y="11"/>
                    <a:pt x="0" y="11"/>
                  </a:cubicBezTo>
                  <a:cubicBezTo>
                    <a:pt x="0" y="15"/>
                    <a:pt x="3" y="17"/>
                    <a:pt x="8" y="17"/>
                  </a:cubicBezTo>
                  <a:cubicBezTo>
                    <a:pt x="1417" y="17"/>
                    <a:pt x="1417" y="17"/>
                    <a:pt x="1417" y="17"/>
                  </a:cubicBezTo>
                  <a:cubicBezTo>
                    <a:pt x="1422" y="17"/>
                    <a:pt x="1425" y="15"/>
                    <a:pt x="1425" y="11"/>
                  </a:cubicBezTo>
                  <a:cubicBezTo>
                    <a:pt x="1425" y="11"/>
                    <a:pt x="1425" y="11"/>
                    <a:pt x="1425" y="11"/>
                  </a:cubicBezTo>
                  <a:lnTo>
                    <a:pt x="1425" y="0"/>
                  </a:ln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4" name="Freeform 29"/>
            <p:cNvSpPr>
              <a:spLocks/>
            </p:cNvSpPr>
            <p:nvPr/>
          </p:nvSpPr>
          <p:spPr bwMode="auto">
            <a:xfrm>
              <a:off x="9326946" y="6253836"/>
              <a:ext cx="1438275" cy="190500"/>
            </a:xfrm>
            <a:custGeom>
              <a:avLst/>
              <a:gdLst>
                <a:gd name="T0" fmla="*/ 1426 w 1430"/>
                <a:gd name="T1" fmla="*/ 180 h 191"/>
                <a:gd name="T2" fmla="*/ 1297 w 1430"/>
                <a:gd name="T3" fmla="*/ 11 h 191"/>
                <a:gd name="T4" fmla="*/ 1274 w 1430"/>
                <a:gd name="T5" fmla="*/ 0 h 191"/>
                <a:gd name="T6" fmla="*/ 157 w 1430"/>
                <a:gd name="T7" fmla="*/ 0 h 191"/>
                <a:gd name="T8" fmla="*/ 134 w 1430"/>
                <a:gd name="T9" fmla="*/ 11 h 191"/>
                <a:gd name="T10" fmla="*/ 5 w 1430"/>
                <a:gd name="T11" fmla="*/ 180 h 191"/>
                <a:gd name="T12" fmla="*/ 11 w 1430"/>
                <a:gd name="T13" fmla="*/ 191 h 191"/>
                <a:gd name="T14" fmla="*/ 1420 w 1430"/>
                <a:gd name="T15" fmla="*/ 191 h 191"/>
                <a:gd name="T16" fmla="*/ 1426 w 1430"/>
                <a:gd name="T17" fmla="*/ 180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30" h="191">
                  <a:moveTo>
                    <a:pt x="1426" y="180"/>
                  </a:moveTo>
                  <a:cubicBezTo>
                    <a:pt x="1297" y="11"/>
                    <a:pt x="1297" y="11"/>
                    <a:pt x="1297" y="11"/>
                  </a:cubicBezTo>
                  <a:cubicBezTo>
                    <a:pt x="1292" y="5"/>
                    <a:pt x="1282" y="0"/>
                    <a:pt x="1274" y="0"/>
                  </a:cubicBezTo>
                  <a:cubicBezTo>
                    <a:pt x="157" y="0"/>
                    <a:pt x="157" y="0"/>
                    <a:pt x="157" y="0"/>
                  </a:cubicBezTo>
                  <a:cubicBezTo>
                    <a:pt x="149" y="0"/>
                    <a:pt x="139" y="5"/>
                    <a:pt x="134" y="11"/>
                  </a:cubicBezTo>
                  <a:cubicBezTo>
                    <a:pt x="5" y="180"/>
                    <a:pt x="5" y="180"/>
                    <a:pt x="5" y="180"/>
                  </a:cubicBezTo>
                  <a:cubicBezTo>
                    <a:pt x="0" y="186"/>
                    <a:pt x="3" y="191"/>
                    <a:pt x="11" y="191"/>
                  </a:cubicBezTo>
                  <a:cubicBezTo>
                    <a:pt x="1420" y="191"/>
                    <a:pt x="1420" y="191"/>
                    <a:pt x="1420" y="191"/>
                  </a:cubicBezTo>
                  <a:cubicBezTo>
                    <a:pt x="1428" y="191"/>
                    <a:pt x="1430" y="186"/>
                    <a:pt x="1426" y="180"/>
                  </a:cubicBez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6" name="Freeform 30"/>
            <p:cNvSpPr>
              <a:spLocks/>
            </p:cNvSpPr>
            <p:nvPr/>
          </p:nvSpPr>
          <p:spPr bwMode="auto">
            <a:xfrm>
              <a:off x="9763508" y="5610898"/>
              <a:ext cx="53975" cy="414338"/>
            </a:xfrm>
            <a:custGeom>
              <a:avLst/>
              <a:gdLst>
                <a:gd name="T0" fmla="*/ 0 w 53"/>
                <a:gd name="T1" fmla="*/ 0 h 415"/>
                <a:gd name="T2" fmla="*/ 0 w 53"/>
                <a:gd name="T3" fmla="*/ 388 h 415"/>
                <a:gd name="T4" fmla="*/ 26 w 53"/>
                <a:gd name="T5" fmla="*/ 415 h 415"/>
                <a:gd name="T6" fmla="*/ 53 w 53"/>
                <a:gd name="T7" fmla="*/ 388 h 415"/>
                <a:gd name="T8" fmla="*/ 53 w 53"/>
                <a:gd name="T9" fmla="*/ 0 h 415"/>
                <a:gd name="T10" fmla="*/ 0 w 53"/>
                <a:gd name="T11" fmla="*/ 0 h 415"/>
              </a:gdLst>
              <a:ahLst/>
              <a:cxnLst>
                <a:cxn ang="0">
                  <a:pos x="T0" y="T1"/>
                </a:cxn>
                <a:cxn ang="0">
                  <a:pos x="T2" y="T3"/>
                </a:cxn>
                <a:cxn ang="0">
                  <a:pos x="T4" y="T5"/>
                </a:cxn>
                <a:cxn ang="0">
                  <a:pos x="T6" y="T7"/>
                </a:cxn>
                <a:cxn ang="0">
                  <a:pos x="T8" y="T9"/>
                </a:cxn>
                <a:cxn ang="0">
                  <a:pos x="T10" y="T11"/>
                </a:cxn>
              </a:cxnLst>
              <a:rect l="0" t="0" r="r" b="b"/>
              <a:pathLst>
                <a:path w="53" h="415">
                  <a:moveTo>
                    <a:pt x="0" y="0"/>
                  </a:moveTo>
                  <a:cubicBezTo>
                    <a:pt x="0" y="388"/>
                    <a:pt x="0" y="388"/>
                    <a:pt x="0" y="388"/>
                  </a:cubicBezTo>
                  <a:cubicBezTo>
                    <a:pt x="0" y="403"/>
                    <a:pt x="12" y="415"/>
                    <a:pt x="26" y="415"/>
                  </a:cubicBezTo>
                  <a:cubicBezTo>
                    <a:pt x="41" y="415"/>
                    <a:pt x="53" y="403"/>
                    <a:pt x="53" y="388"/>
                  </a:cubicBezTo>
                  <a:cubicBezTo>
                    <a:pt x="53" y="0"/>
                    <a:pt x="53" y="0"/>
                    <a:pt x="53" y="0"/>
                  </a:cubicBezTo>
                  <a:lnTo>
                    <a:pt x="0" y="0"/>
                  </a:lnTo>
                  <a:close/>
                </a:path>
              </a:pathLst>
            </a:custGeom>
            <a:solidFill>
              <a:srgbClr val="A8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7" name="Freeform 31"/>
            <p:cNvSpPr>
              <a:spLocks/>
            </p:cNvSpPr>
            <p:nvPr/>
          </p:nvSpPr>
          <p:spPr bwMode="auto">
            <a:xfrm>
              <a:off x="9769858" y="5610898"/>
              <a:ext cx="47625" cy="414338"/>
            </a:xfrm>
            <a:custGeom>
              <a:avLst/>
              <a:gdLst>
                <a:gd name="T0" fmla="*/ 33 w 47"/>
                <a:gd name="T1" fmla="*/ 0 h 415"/>
                <a:gd name="T2" fmla="*/ 33 w 47"/>
                <a:gd name="T3" fmla="*/ 379 h 415"/>
                <a:gd name="T4" fmla="*/ 6 w 47"/>
                <a:gd name="T5" fmla="*/ 406 h 415"/>
                <a:gd name="T6" fmla="*/ 0 w 47"/>
                <a:gd name="T7" fmla="*/ 406 h 415"/>
                <a:gd name="T8" fmla="*/ 20 w 47"/>
                <a:gd name="T9" fmla="*/ 415 h 415"/>
                <a:gd name="T10" fmla="*/ 47 w 47"/>
                <a:gd name="T11" fmla="*/ 388 h 415"/>
                <a:gd name="T12" fmla="*/ 47 w 47"/>
                <a:gd name="T13" fmla="*/ 0 h 415"/>
                <a:gd name="T14" fmla="*/ 33 w 47"/>
                <a:gd name="T15" fmla="*/ 0 h 4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7" h="415">
                  <a:moveTo>
                    <a:pt x="33" y="0"/>
                  </a:moveTo>
                  <a:cubicBezTo>
                    <a:pt x="33" y="379"/>
                    <a:pt x="33" y="379"/>
                    <a:pt x="33" y="379"/>
                  </a:cubicBezTo>
                  <a:cubicBezTo>
                    <a:pt x="33" y="394"/>
                    <a:pt x="21" y="406"/>
                    <a:pt x="6" y="406"/>
                  </a:cubicBezTo>
                  <a:cubicBezTo>
                    <a:pt x="4" y="406"/>
                    <a:pt x="2" y="406"/>
                    <a:pt x="0" y="406"/>
                  </a:cubicBezTo>
                  <a:cubicBezTo>
                    <a:pt x="5" y="411"/>
                    <a:pt x="12" y="415"/>
                    <a:pt x="20" y="415"/>
                  </a:cubicBezTo>
                  <a:cubicBezTo>
                    <a:pt x="35" y="415"/>
                    <a:pt x="47" y="403"/>
                    <a:pt x="47" y="388"/>
                  </a:cubicBezTo>
                  <a:cubicBezTo>
                    <a:pt x="47" y="0"/>
                    <a:pt x="47" y="0"/>
                    <a:pt x="47" y="0"/>
                  </a:cubicBezTo>
                  <a:lnTo>
                    <a:pt x="33" y="0"/>
                  </a:lnTo>
                  <a:close/>
                </a:path>
              </a:pathLst>
            </a:custGeom>
            <a:solidFill>
              <a:srgbClr val="8A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9" name="Freeform 32"/>
            <p:cNvSpPr>
              <a:spLocks/>
            </p:cNvSpPr>
            <p:nvPr/>
          </p:nvSpPr>
          <p:spPr bwMode="auto">
            <a:xfrm>
              <a:off x="9750808" y="5839498"/>
              <a:ext cx="77787" cy="85725"/>
            </a:xfrm>
            <a:custGeom>
              <a:avLst/>
              <a:gdLst>
                <a:gd name="T0" fmla="*/ 71 w 77"/>
                <a:gd name="T1" fmla="*/ 86 h 86"/>
                <a:gd name="T2" fmla="*/ 65 w 77"/>
                <a:gd name="T3" fmla="*/ 80 h 86"/>
                <a:gd name="T4" fmla="*/ 65 w 77"/>
                <a:gd name="T5" fmla="*/ 11 h 86"/>
                <a:gd name="T6" fmla="*/ 11 w 77"/>
                <a:gd name="T7" fmla="*/ 11 h 86"/>
                <a:gd name="T8" fmla="*/ 11 w 77"/>
                <a:gd name="T9" fmla="*/ 80 h 86"/>
                <a:gd name="T10" fmla="*/ 6 w 77"/>
                <a:gd name="T11" fmla="*/ 86 h 86"/>
                <a:gd name="T12" fmla="*/ 0 w 77"/>
                <a:gd name="T13" fmla="*/ 80 h 86"/>
                <a:gd name="T14" fmla="*/ 0 w 77"/>
                <a:gd name="T15" fmla="*/ 6 h 86"/>
                <a:gd name="T16" fmla="*/ 6 w 77"/>
                <a:gd name="T17" fmla="*/ 0 h 86"/>
                <a:gd name="T18" fmla="*/ 71 w 77"/>
                <a:gd name="T19" fmla="*/ 0 h 86"/>
                <a:gd name="T20" fmla="*/ 77 w 77"/>
                <a:gd name="T21" fmla="*/ 6 h 86"/>
                <a:gd name="T22" fmla="*/ 77 w 77"/>
                <a:gd name="T23" fmla="*/ 80 h 86"/>
                <a:gd name="T24" fmla="*/ 71 w 77"/>
                <a:gd name="T25" fmla="*/ 86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7" h="86">
                  <a:moveTo>
                    <a:pt x="71" y="86"/>
                  </a:moveTo>
                  <a:cubicBezTo>
                    <a:pt x="68" y="86"/>
                    <a:pt x="65" y="83"/>
                    <a:pt x="65" y="80"/>
                  </a:cubicBezTo>
                  <a:cubicBezTo>
                    <a:pt x="65" y="11"/>
                    <a:pt x="65" y="11"/>
                    <a:pt x="65" y="11"/>
                  </a:cubicBezTo>
                  <a:cubicBezTo>
                    <a:pt x="11" y="11"/>
                    <a:pt x="11" y="11"/>
                    <a:pt x="11" y="11"/>
                  </a:cubicBezTo>
                  <a:cubicBezTo>
                    <a:pt x="11" y="80"/>
                    <a:pt x="11" y="80"/>
                    <a:pt x="11" y="80"/>
                  </a:cubicBezTo>
                  <a:cubicBezTo>
                    <a:pt x="11" y="83"/>
                    <a:pt x="9" y="86"/>
                    <a:pt x="6" y="86"/>
                  </a:cubicBezTo>
                  <a:cubicBezTo>
                    <a:pt x="3" y="86"/>
                    <a:pt x="0" y="83"/>
                    <a:pt x="0" y="80"/>
                  </a:cubicBezTo>
                  <a:cubicBezTo>
                    <a:pt x="0" y="6"/>
                    <a:pt x="0" y="6"/>
                    <a:pt x="0" y="6"/>
                  </a:cubicBezTo>
                  <a:cubicBezTo>
                    <a:pt x="0" y="3"/>
                    <a:pt x="3" y="0"/>
                    <a:pt x="6" y="0"/>
                  </a:cubicBezTo>
                  <a:cubicBezTo>
                    <a:pt x="71" y="0"/>
                    <a:pt x="71" y="0"/>
                    <a:pt x="71" y="0"/>
                  </a:cubicBezTo>
                  <a:cubicBezTo>
                    <a:pt x="74" y="0"/>
                    <a:pt x="77" y="3"/>
                    <a:pt x="77" y="6"/>
                  </a:cubicBezTo>
                  <a:cubicBezTo>
                    <a:pt x="77" y="80"/>
                    <a:pt x="77" y="80"/>
                    <a:pt x="77" y="80"/>
                  </a:cubicBezTo>
                  <a:cubicBezTo>
                    <a:pt x="77" y="83"/>
                    <a:pt x="74" y="86"/>
                    <a:pt x="71" y="86"/>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0" name="Freeform 33"/>
            <p:cNvSpPr>
              <a:spLocks/>
            </p:cNvSpPr>
            <p:nvPr/>
          </p:nvSpPr>
          <p:spPr bwMode="auto">
            <a:xfrm>
              <a:off x="9784146" y="5828386"/>
              <a:ext cx="11112" cy="53975"/>
            </a:xfrm>
            <a:custGeom>
              <a:avLst/>
              <a:gdLst>
                <a:gd name="T0" fmla="*/ 5 w 11"/>
                <a:gd name="T1" fmla="*/ 53 h 53"/>
                <a:gd name="T2" fmla="*/ 0 w 11"/>
                <a:gd name="T3" fmla="*/ 47 h 53"/>
                <a:gd name="T4" fmla="*/ 0 w 11"/>
                <a:gd name="T5" fmla="*/ 5 h 53"/>
                <a:gd name="T6" fmla="*/ 5 w 11"/>
                <a:gd name="T7" fmla="*/ 0 h 53"/>
                <a:gd name="T8" fmla="*/ 11 w 11"/>
                <a:gd name="T9" fmla="*/ 5 h 53"/>
                <a:gd name="T10" fmla="*/ 11 w 11"/>
                <a:gd name="T11" fmla="*/ 47 h 53"/>
                <a:gd name="T12" fmla="*/ 5 w 11"/>
                <a:gd name="T13" fmla="*/ 53 h 53"/>
              </a:gdLst>
              <a:ahLst/>
              <a:cxnLst>
                <a:cxn ang="0">
                  <a:pos x="T0" y="T1"/>
                </a:cxn>
                <a:cxn ang="0">
                  <a:pos x="T2" y="T3"/>
                </a:cxn>
                <a:cxn ang="0">
                  <a:pos x="T4" y="T5"/>
                </a:cxn>
                <a:cxn ang="0">
                  <a:pos x="T6" y="T7"/>
                </a:cxn>
                <a:cxn ang="0">
                  <a:pos x="T8" y="T9"/>
                </a:cxn>
                <a:cxn ang="0">
                  <a:pos x="T10" y="T11"/>
                </a:cxn>
                <a:cxn ang="0">
                  <a:pos x="T12" y="T13"/>
                </a:cxn>
              </a:cxnLst>
              <a:rect l="0" t="0" r="r" b="b"/>
              <a:pathLst>
                <a:path w="11" h="53">
                  <a:moveTo>
                    <a:pt x="5" y="53"/>
                  </a:moveTo>
                  <a:cubicBezTo>
                    <a:pt x="2" y="53"/>
                    <a:pt x="0" y="50"/>
                    <a:pt x="0" y="47"/>
                  </a:cubicBezTo>
                  <a:cubicBezTo>
                    <a:pt x="0" y="5"/>
                    <a:pt x="0" y="5"/>
                    <a:pt x="0" y="5"/>
                  </a:cubicBezTo>
                  <a:cubicBezTo>
                    <a:pt x="0" y="2"/>
                    <a:pt x="2" y="0"/>
                    <a:pt x="5" y="0"/>
                  </a:cubicBezTo>
                  <a:cubicBezTo>
                    <a:pt x="9" y="0"/>
                    <a:pt x="11" y="2"/>
                    <a:pt x="11" y="5"/>
                  </a:cubicBezTo>
                  <a:cubicBezTo>
                    <a:pt x="11" y="47"/>
                    <a:pt x="11" y="47"/>
                    <a:pt x="11" y="47"/>
                  </a:cubicBezTo>
                  <a:cubicBezTo>
                    <a:pt x="11" y="50"/>
                    <a:pt x="9" y="53"/>
                    <a:pt x="5" y="53"/>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1" name="Freeform 34"/>
            <p:cNvSpPr>
              <a:spLocks/>
            </p:cNvSpPr>
            <p:nvPr/>
          </p:nvSpPr>
          <p:spPr bwMode="auto">
            <a:xfrm>
              <a:off x="10265158" y="5610898"/>
              <a:ext cx="53975" cy="414338"/>
            </a:xfrm>
            <a:custGeom>
              <a:avLst/>
              <a:gdLst>
                <a:gd name="T0" fmla="*/ 0 w 53"/>
                <a:gd name="T1" fmla="*/ 0 h 415"/>
                <a:gd name="T2" fmla="*/ 0 w 53"/>
                <a:gd name="T3" fmla="*/ 388 h 415"/>
                <a:gd name="T4" fmla="*/ 27 w 53"/>
                <a:gd name="T5" fmla="*/ 415 h 415"/>
                <a:gd name="T6" fmla="*/ 53 w 53"/>
                <a:gd name="T7" fmla="*/ 388 h 415"/>
                <a:gd name="T8" fmla="*/ 53 w 53"/>
                <a:gd name="T9" fmla="*/ 0 h 415"/>
                <a:gd name="T10" fmla="*/ 0 w 53"/>
                <a:gd name="T11" fmla="*/ 0 h 415"/>
              </a:gdLst>
              <a:ahLst/>
              <a:cxnLst>
                <a:cxn ang="0">
                  <a:pos x="T0" y="T1"/>
                </a:cxn>
                <a:cxn ang="0">
                  <a:pos x="T2" y="T3"/>
                </a:cxn>
                <a:cxn ang="0">
                  <a:pos x="T4" y="T5"/>
                </a:cxn>
                <a:cxn ang="0">
                  <a:pos x="T6" y="T7"/>
                </a:cxn>
                <a:cxn ang="0">
                  <a:pos x="T8" y="T9"/>
                </a:cxn>
                <a:cxn ang="0">
                  <a:pos x="T10" y="T11"/>
                </a:cxn>
              </a:cxnLst>
              <a:rect l="0" t="0" r="r" b="b"/>
              <a:pathLst>
                <a:path w="53" h="415">
                  <a:moveTo>
                    <a:pt x="0" y="0"/>
                  </a:moveTo>
                  <a:cubicBezTo>
                    <a:pt x="0" y="388"/>
                    <a:pt x="0" y="388"/>
                    <a:pt x="0" y="388"/>
                  </a:cubicBezTo>
                  <a:cubicBezTo>
                    <a:pt x="0" y="403"/>
                    <a:pt x="12" y="415"/>
                    <a:pt x="27" y="415"/>
                  </a:cubicBezTo>
                  <a:cubicBezTo>
                    <a:pt x="41" y="415"/>
                    <a:pt x="53" y="403"/>
                    <a:pt x="53" y="388"/>
                  </a:cubicBezTo>
                  <a:cubicBezTo>
                    <a:pt x="53" y="0"/>
                    <a:pt x="53" y="0"/>
                    <a:pt x="53" y="0"/>
                  </a:cubicBezTo>
                  <a:lnTo>
                    <a:pt x="0" y="0"/>
                  </a:lnTo>
                  <a:close/>
                </a:path>
              </a:pathLst>
            </a:custGeom>
            <a:solidFill>
              <a:srgbClr val="A8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2" name="Freeform 35"/>
            <p:cNvSpPr>
              <a:spLocks/>
            </p:cNvSpPr>
            <p:nvPr/>
          </p:nvSpPr>
          <p:spPr bwMode="auto">
            <a:xfrm>
              <a:off x="10271508" y="5610898"/>
              <a:ext cx="47625" cy="414338"/>
            </a:xfrm>
            <a:custGeom>
              <a:avLst/>
              <a:gdLst>
                <a:gd name="T0" fmla="*/ 33 w 47"/>
                <a:gd name="T1" fmla="*/ 0 h 415"/>
                <a:gd name="T2" fmla="*/ 33 w 47"/>
                <a:gd name="T3" fmla="*/ 379 h 415"/>
                <a:gd name="T4" fmla="*/ 6 w 47"/>
                <a:gd name="T5" fmla="*/ 406 h 415"/>
                <a:gd name="T6" fmla="*/ 0 w 47"/>
                <a:gd name="T7" fmla="*/ 406 h 415"/>
                <a:gd name="T8" fmla="*/ 21 w 47"/>
                <a:gd name="T9" fmla="*/ 415 h 415"/>
                <a:gd name="T10" fmla="*/ 47 w 47"/>
                <a:gd name="T11" fmla="*/ 388 h 415"/>
                <a:gd name="T12" fmla="*/ 47 w 47"/>
                <a:gd name="T13" fmla="*/ 0 h 415"/>
                <a:gd name="T14" fmla="*/ 33 w 47"/>
                <a:gd name="T15" fmla="*/ 0 h 4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7" h="415">
                  <a:moveTo>
                    <a:pt x="33" y="0"/>
                  </a:moveTo>
                  <a:cubicBezTo>
                    <a:pt x="33" y="379"/>
                    <a:pt x="33" y="379"/>
                    <a:pt x="33" y="379"/>
                  </a:cubicBezTo>
                  <a:cubicBezTo>
                    <a:pt x="33" y="394"/>
                    <a:pt x="21" y="406"/>
                    <a:pt x="6" y="406"/>
                  </a:cubicBezTo>
                  <a:cubicBezTo>
                    <a:pt x="4" y="406"/>
                    <a:pt x="2" y="406"/>
                    <a:pt x="0" y="406"/>
                  </a:cubicBezTo>
                  <a:cubicBezTo>
                    <a:pt x="5" y="411"/>
                    <a:pt x="12" y="415"/>
                    <a:pt x="21" y="415"/>
                  </a:cubicBezTo>
                  <a:cubicBezTo>
                    <a:pt x="35" y="415"/>
                    <a:pt x="47" y="403"/>
                    <a:pt x="47" y="388"/>
                  </a:cubicBezTo>
                  <a:cubicBezTo>
                    <a:pt x="47" y="0"/>
                    <a:pt x="47" y="0"/>
                    <a:pt x="47" y="0"/>
                  </a:cubicBezTo>
                  <a:lnTo>
                    <a:pt x="33" y="0"/>
                  </a:lnTo>
                  <a:close/>
                </a:path>
              </a:pathLst>
            </a:custGeom>
            <a:solidFill>
              <a:srgbClr val="8A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4" name="Freeform 36"/>
            <p:cNvSpPr>
              <a:spLocks/>
            </p:cNvSpPr>
            <p:nvPr/>
          </p:nvSpPr>
          <p:spPr bwMode="auto">
            <a:xfrm>
              <a:off x="10254046" y="5839498"/>
              <a:ext cx="76200" cy="85725"/>
            </a:xfrm>
            <a:custGeom>
              <a:avLst/>
              <a:gdLst>
                <a:gd name="T0" fmla="*/ 71 w 77"/>
                <a:gd name="T1" fmla="*/ 86 h 86"/>
                <a:gd name="T2" fmla="*/ 66 w 77"/>
                <a:gd name="T3" fmla="*/ 80 h 86"/>
                <a:gd name="T4" fmla="*/ 66 w 77"/>
                <a:gd name="T5" fmla="*/ 11 h 86"/>
                <a:gd name="T6" fmla="*/ 12 w 77"/>
                <a:gd name="T7" fmla="*/ 11 h 86"/>
                <a:gd name="T8" fmla="*/ 12 w 77"/>
                <a:gd name="T9" fmla="*/ 80 h 86"/>
                <a:gd name="T10" fmla="*/ 6 w 77"/>
                <a:gd name="T11" fmla="*/ 86 h 86"/>
                <a:gd name="T12" fmla="*/ 0 w 77"/>
                <a:gd name="T13" fmla="*/ 80 h 86"/>
                <a:gd name="T14" fmla="*/ 0 w 77"/>
                <a:gd name="T15" fmla="*/ 6 h 86"/>
                <a:gd name="T16" fmla="*/ 6 w 77"/>
                <a:gd name="T17" fmla="*/ 0 h 86"/>
                <a:gd name="T18" fmla="*/ 71 w 77"/>
                <a:gd name="T19" fmla="*/ 0 h 86"/>
                <a:gd name="T20" fmla="*/ 77 w 77"/>
                <a:gd name="T21" fmla="*/ 6 h 86"/>
                <a:gd name="T22" fmla="*/ 77 w 77"/>
                <a:gd name="T23" fmla="*/ 80 h 86"/>
                <a:gd name="T24" fmla="*/ 71 w 77"/>
                <a:gd name="T25" fmla="*/ 86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7" h="86">
                  <a:moveTo>
                    <a:pt x="71" y="86"/>
                  </a:moveTo>
                  <a:cubicBezTo>
                    <a:pt x="68" y="86"/>
                    <a:pt x="66" y="83"/>
                    <a:pt x="66" y="80"/>
                  </a:cubicBezTo>
                  <a:cubicBezTo>
                    <a:pt x="66" y="11"/>
                    <a:pt x="66" y="11"/>
                    <a:pt x="66" y="11"/>
                  </a:cubicBezTo>
                  <a:cubicBezTo>
                    <a:pt x="12" y="11"/>
                    <a:pt x="12" y="11"/>
                    <a:pt x="12" y="11"/>
                  </a:cubicBezTo>
                  <a:cubicBezTo>
                    <a:pt x="12" y="80"/>
                    <a:pt x="12" y="80"/>
                    <a:pt x="12" y="80"/>
                  </a:cubicBezTo>
                  <a:cubicBezTo>
                    <a:pt x="12" y="83"/>
                    <a:pt x="9" y="86"/>
                    <a:pt x="6" y="86"/>
                  </a:cubicBezTo>
                  <a:cubicBezTo>
                    <a:pt x="3" y="86"/>
                    <a:pt x="0" y="83"/>
                    <a:pt x="0" y="80"/>
                  </a:cubicBezTo>
                  <a:cubicBezTo>
                    <a:pt x="0" y="6"/>
                    <a:pt x="0" y="6"/>
                    <a:pt x="0" y="6"/>
                  </a:cubicBezTo>
                  <a:cubicBezTo>
                    <a:pt x="0" y="3"/>
                    <a:pt x="3" y="0"/>
                    <a:pt x="6" y="0"/>
                  </a:cubicBezTo>
                  <a:cubicBezTo>
                    <a:pt x="71" y="0"/>
                    <a:pt x="71" y="0"/>
                    <a:pt x="71" y="0"/>
                  </a:cubicBezTo>
                  <a:cubicBezTo>
                    <a:pt x="74" y="0"/>
                    <a:pt x="77" y="3"/>
                    <a:pt x="77" y="6"/>
                  </a:cubicBezTo>
                  <a:cubicBezTo>
                    <a:pt x="77" y="80"/>
                    <a:pt x="77" y="80"/>
                    <a:pt x="77" y="80"/>
                  </a:cubicBezTo>
                  <a:cubicBezTo>
                    <a:pt x="77" y="83"/>
                    <a:pt x="74" y="86"/>
                    <a:pt x="71" y="86"/>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7" name="Freeform 37"/>
            <p:cNvSpPr>
              <a:spLocks/>
            </p:cNvSpPr>
            <p:nvPr/>
          </p:nvSpPr>
          <p:spPr bwMode="auto">
            <a:xfrm>
              <a:off x="10287383" y="5828386"/>
              <a:ext cx="9525" cy="53975"/>
            </a:xfrm>
            <a:custGeom>
              <a:avLst/>
              <a:gdLst>
                <a:gd name="T0" fmla="*/ 6 w 11"/>
                <a:gd name="T1" fmla="*/ 53 h 53"/>
                <a:gd name="T2" fmla="*/ 0 w 11"/>
                <a:gd name="T3" fmla="*/ 47 h 53"/>
                <a:gd name="T4" fmla="*/ 0 w 11"/>
                <a:gd name="T5" fmla="*/ 5 h 53"/>
                <a:gd name="T6" fmla="*/ 6 w 11"/>
                <a:gd name="T7" fmla="*/ 0 h 53"/>
                <a:gd name="T8" fmla="*/ 11 w 11"/>
                <a:gd name="T9" fmla="*/ 5 h 53"/>
                <a:gd name="T10" fmla="*/ 11 w 11"/>
                <a:gd name="T11" fmla="*/ 47 h 53"/>
                <a:gd name="T12" fmla="*/ 6 w 11"/>
                <a:gd name="T13" fmla="*/ 53 h 53"/>
              </a:gdLst>
              <a:ahLst/>
              <a:cxnLst>
                <a:cxn ang="0">
                  <a:pos x="T0" y="T1"/>
                </a:cxn>
                <a:cxn ang="0">
                  <a:pos x="T2" y="T3"/>
                </a:cxn>
                <a:cxn ang="0">
                  <a:pos x="T4" y="T5"/>
                </a:cxn>
                <a:cxn ang="0">
                  <a:pos x="T6" y="T7"/>
                </a:cxn>
                <a:cxn ang="0">
                  <a:pos x="T8" y="T9"/>
                </a:cxn>
                <a:cxn ang="0">
                  <a:pos x="T10" y="T11"/>
                </a:cxn>
                <a:cxn ang="0">
                  <a:pos x="T12" y="T13"/>
                </a:cxn>
              </a:cxnLst>
              <a:rect l="0" t="0" r="r" b="b"/>
              <a:pathLst>
                <a:path w="11" h="53">
                  <a:moveTo>
                    <a:pt x="6" y="53"/>
                  </a:moveTo>
                  <a:cubicBezTo>
                    <a:pt x="2" y="53"/>
                    <a:pt x="0" y="50"/>
                    <a:pt x="0" y="47"/>
                  </a:cubicBezTo>
                  <a:cubicBezTo>
                    <a:pt x="0" y="5"/>
                    <a:pt x="0" y="5"/>
                    <a:pt x="0" y="5"/>
                  </a:cubicBezTo>
                  <a:cubicBezTo>
                    <a:pt x="0" y="2"/>
                    <a:pt x="2" y="0"/>
                    <a:pt x="6" y="0"/>
                  </a:cubicBezTo>
                  <a:cubicBezTo>
                    <a:pt x="9" y="0"/>
                    <a:pt x="11" y="2"/>
                    <a:pt x="11" y="5"/>
                  </a:cubicBezTo>
                  <a:cubicBezTo>
                    <a:pt x="11" y="47"/>
                    <a:pt x="11" y="47"/>
                    <a:pt x="11" y="47"/>
                  </a:cubicBezTo>
                  <a:cubicBezTo>
                    <a:pt x="11" y="50"/>
                    <a:pt x="9" y="53"/>
                    <a:pt x="6" y="53"/>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61" name="Freeform 38"/>
            <p:cNvSpPr>
              <a:spLocks/>
            </p:cNvSpPr>
            <p:nvPr/>
          </p:nvSpPr>
          <p:spPr bwMode="auto">
            <a:xfrm>
              <a:off x="9482521" y="6283998"/>
              <a:ext cx="1128712" cy="4763"/>
            </a:xfrm>
            <a:custGeom>
              <a:avLst/>
              <a:gdLst>
                <a:gd name="T0" fmla="*/ 1119 w 1121"/>
                <a:gd name="T1" fmla="*/ 4 h 4"/>
                <a:gd name="T2" fmla="*/ 2 w 1121"/>
                <a:gd name="T3" fmla="*/ 4 h 4"/>
                <a:gd name="T4" fmla="*/ 0 w 1121"/>
                <a:gd name="T5" fmla="*/ 2 h 4"/>
                <a:gd name="T6" fmla="*/ 2 w 1121"/>
                <a:gd name="T7" fmla="*/ 0 h 4"/>
                <a:gd name="T8" fmla="*/ 1119 w 1121"/>
                <a:gd name="T9" fmla="*/ 0 h 4"/>
                <a:gd name="T10" fmla="*/ 1121 w 1121"/>
                <a:gd name="T11" fmla="*/ 2 h 4"/>
                <a:gd name="T12" fmla="*/ 1119 w 1121"/>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1121" h="4">
                  <a:moveTo>
                    <a:pt x="1119" y="4"/>
                  </a:moveTo>
                  <a:cubicBezTo>
                    <a:pt x="2" y="4"/>
                    <a:pt x="2" y="4"/>
                    <a:pt x="2" y="4"/>
                  </a:cubicBezTo>
                  <a:cubicBezTo>
                    <a:pt x="1" y="4"/>
                    <a:pt x="0" y="3"/>
                    <a:pt x="0" y="2"/>
                  </a:cubicBezTo>
                  <a:cubicBezTo>
                    <a:pt x="0" y="1"/>
                    <a:pt x="1" y="0"/>
                    <a:pt x="2" y="0"/>
                  </a:cubicBezTo>
                  <a:cubicBezTo>
                    <a:pt x="1119" y="0"/>
                    <a:pt x="1119" y="0"/>
                    <a:pt x="1119" y="0"/>
                  </a:cubicBezTo>
                  <a:cubicBezTo>
                    <a:pt x="1120" y="0"/>
                    <a:pt x="1121" y="1"/>
                    <a:pt x="1121" y="2"/>
                  </a:cubicBezTo>
                  <a:cubicBezTo>
                    <a:pt x="1121" y="3"/>
                    <a:pt x="1120" y="4"/>
                    <a:pt x="1119" y="4"/>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9" name="Freeform 39"/>
            <p:cNvSpPr>
              <a:spLocks/>
            </p:cNvSpPr>
            <p:nvPr/>
          </p:nvSpPr>
          <p:spPr bwMode="auto">
            <a:xfrm>
              <a:off x="9468233" y="6307811"/>
              <a:ext cx="1157287" cy="4763"/>
            </a:xfrm>
            <a:custGeom>
              <a:avLst/>
              <a:gdLst>
                <a:gd name="T0" fmla="*/ 1149 w 1151"/>
                <a:gd name="T1" fmla="*/ 4 h 4"/>
                <a:gd name="T2" fmla="*/ 2 w 1151"/>
                <a:gd name="T3" fmla="*/ 4 h 4"/>
                <a:gd name="T4" fmla="*/ 0 w 1151"/>
                <a:gd name="T5" fmla="*/ 2 h 4"/>
                <a:gd name="T6" fmla="*/ 2 w 1151"/>
                <a:gd name="T7" fmla="*/ 0 h 4"/>
                <a:gd name="T8" fmla="*/ 1149 w 1151"/>
                <a:gd name="T9" fmla="*/ 0 h 4"/>
                <a:gd name="T10" fmla="*/ 1151 w 1151"/>
                <a:gd name="T11" fmla="*/ 2 h 4"/>
                <a:gd name="T12" fmla="*/ 1149 w 1151"/>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1151" h="4">
                  <a:moveTo>
                    <a:pt x="1149" y="4"/>
                  </a:moveTo>
                  <a:cubicBezTo>
                    <a:pt x="2" y="4"/>
                    <a:pt x="2" y="4"/>
                    <a:pt x="2" y="4"/>
                  </a:cubicBezTo>
                  <a:cubicBezTo>
                    <a:pt x="1" y="4"/>
                    <a:pt x="0" y="3"/>
                    <a:pt x="0" y="2"/>
                  </a:cubicBezTo>
                  <a:cubicBezTo>
                    <a:pt x="0" y="1"/>
                    <a:pt x="1" y="0"/>
                    <a:pt x="2" y="0"/>
                  </a:cubicBezTo>
                  <a:cubicBezTo>
                    <a:pt x="1149" y="0"/>
                    <a:pt x="1149" y="0"/>
                    <a:pt x="1149" y="0"/>
                  </a:cubicBezTo>
                  <a:cubicBezTo>
                    <a:pt x="1150" y="0"/>
                    <a:pt x="1151" y="1"/>
                    <a:pt x="1151" y="2"/>
                  </a:cubicBezTo>
                  <a:cubicBezTo>
                    <a:pt x="1151" y="3"/>
                    <a:pt x="1150" y="4"/>
                    <a:pt x="1149" y="4"/>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82" name="Freeform 40"/>
            <p:cNvSpPr>
              <a:spLocks/>
            </p:cNvSpPr>
            <p:nvPr/>
          </p:nvSpPr>
          <p:spPr bwMode="auto">
            <a:xfrm>
              <a:off x="9449183" y="6331623"/>
              <a:ext cx="1195387" cy="3175"/>
            </a:xfrm>
            <a:custGeom>
              <a:avLst/>
              <a:gdLst>
                <a:gd name="T0" fmla="*/ 1186 w 1188"/>
                <a:gd name="T1" fmla="*/ 4 h 4"/>
                <a:gd name="T2" fmla="*/ 2 w 1188"/>
                <a:gd name="T3" fmla="*/ 4 h 4"/>
                <a:gd name="T4" fmla="*/ 0 w 1188"/>
                <a:gd name="T5" fmla="*/ 2 h 4"/>
                <a:gd name="T6" fmla="*/ 2 w 1188"/>
                <a:gd name="T7" fmla="*/ 0 h 4"/>
                <a:gd name="T8" fmla="*/ 1186 w 1188"/>
                <a:gd name="T9" fmla="*/ 0 h 4"/>
                <a:gd name="T10" fmla="*/ 1188 w 1188"/>
                <a:gd name="T11" fmla="*/ 2 h 4"/>
                <a:gd name="T12" fmla="*/ 1186 w 1188"/>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1188" h="4">
                  <a:moveTo>
                    <a:pt x="1186" y="4"/>
                  </a:moveTo>
                  <a:cubicBezTo>
                    <a:pt x="2" y="4"/>
                    <a:pt x="2" y="4"/>
                    <a:pt x="2" y="4"/>
                  </a:cubicBezTo>
                  <a:cubicBezTo>
                    <a:pt x="1" y="4"/>
                    <a:pt x="0" y="3"/>
                    <a:pt x="0" y="2"/>
                  </a:cubicBezTo>
                  <a:cubicBezTo>
                    <a:pt x="0" y="1"/>
                    <a:pt x="1" y="0"/>
                    <a:pt x="2" y="0"/>
                  </a:cubicBezTo>
                  <a:cubicBezTo>
                    <a:pt x="1186" y="0"/>
                    <a:pt x="1186" y="0"/>
                    <a:pt x="1186" y="0"/>
                  </a:cubicBezTo>
                  <a:cubicBezTo>
                    <a:pt x="1187" y="0"/>
                    <a:pt x="1188" y="1"/>
                    <a:pt x="1188" y="2"/>
                  </a:cubicBezTo>
                  <a:cubicBezTo>
                    <a:pt x="1188" y="3"/>
                    <a:pt x="1187" y="4"/>
                    <a:pt x="1186" y="4"/>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84" name="Freeform 41"/>
            <p:cNvSpPr>
              <a:spLocks noEditPoints="1"/>
            </p:cNvSpPr>
            <p:nvPr/>
          </p:nvSpPr>
          <p:spPr bwMode="auto">
            <a:xfrm>
              <a:off x="9893683" y="6366548"/>
              <a:ext cx="304800" cy="42863"/>
            </a:xfrm>
            <a:custGeom>
              <a:avLst/>
              <a:gdLst>
                <a:gd name="T0" fmla="*/ 192 w 192"/>
                <a:gd name="T1" fmla="*/ 27 h 27"/>
                <a:gd name="T2" fmla="*/ 0 w 192"/>
                <a:gd name="T3" fmla="*/ 27 h 27"/>
                <a:gd name="T4" fmla="*/ 21 w 192"/>
                <a:gd name="T5" fmla="*/ 0 h 27"/>
                <a:gd name="T6" fmla="*/ 171 w 192"/>
                <a:gd name="T7" fmla="*/ 0 h 27"/>
                <a:gd name="T8" fmla="*/ 192 w 192"/>
                <a:gd name="T9" fmla="*/ 27 h 27"/>
                <a:gd name="T10" fmla="*/ 5 w 192"/>
                <a:gd name="T11" fmla="*/ 24 h 27"/>
                <a:gd name="T12" fmla="*/ 187 w 192"/>
                <a:gd name="T13" fmla="*/ 24 h 27"/>
                <a:gd name="T14" fmla="*/ 170 w 192"/>
                <a:gd name="T15" fmla="*/ 2 h 27"/>
                <a:gd name="T16" fmla="*/ 23 w 192"/>
                <a:gd name="T17" fmla="*/ 2 h 27"/>
                <a:gd name="T18" fmla="*/ 5 w 192"/>
                <a:gd name="T19" fmla="*/ 24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2" h="27">
                  <a:moveTo>
                    <a:pt x="192" y="27"/>
                  </a:moveTo>
                  <a:lnTo>
                    <a:pt x="0" y="27"/>
                  </a:lnTo>
                  <a:lnTo>
                    <a:pt x="21" y="0"/>
                  </a:lnTo>
                  <a:lnTo>
                    <a:pt x="171" y="0"/>
                  </a:lnTo>
                  <a:lnTo>
                    <a:pt x="192" y="27"/>
                  </a:lnTo>
                  <a:close/>
                  <a:moveTo>
                    <a:pt x="5" y="24"/>
                  </a:moveTo>
                  <a:lnTo>
                    <a:pt x="187" y="24"/>
                  </a:lnTo>
                  <a:lnTo>
                    <a:pt x="170" y="2"/>
                  </a:lnTo>
                  <a:lnTo>
                    <a:pt x="23" y="2"/>
                  </a:lnTo>
                  <a:lnTo>
                    <a:pt x="5" y="24"/>
                  </a:ln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86" name="Freeform 42"/>
            <p:cNvSpPr>
              <a:spLocks/>
            </p:cNvSpPr>
            <p:nvPr/>
          </p:nvSpPr>
          <p:spPr bwMode="auto">
            <a:xfrm>
              <a:off x="10562021" y="5844261"/>
              <a:ext cx="44450" cy="42863"/>
            </a:xfrm>
            <a:custGeom>
              <a:avLst/>
              <a:gdLst>
                <a:gd name="T0" fmla="*/ 0 w 28"/>
                <a:gd name="T1" fmla="*/ 3 h 27"/>
                <a:gd name="T2" fmla="*/ 0 w 28"/>
                <a:gd name="T3" fmla="*/ 23 h 27"/>
                <a:gd name="T4" fmla="*/ 28 w 28"/>
                <a:gd name="T5" fmla="*/ 27 h 27"/>
                <a:gd name="T6" fmla="*/ 28 w 28"/>
                <a:gd name="T7" fmla="*/ 0 h 27"/>
                <a:gd name="T8" fmla="*/ 0 w 28"/>
                <a:gd name="T9" fmla="*/ 3 h 27"/>
              </a:gdLst>
              <a:ahLst/>
              <a:cxnLst>
                <a:cxn ang="0">
                  <a:pos x="T0" y="T1"/>
                </a:cxn>
                <a:cxn ang="0">
                  <a:pos x="T2" y="T3"/>
                </a:cxn>
                <a:cxn ang="0">
                  <a:pos x="T4" y="T5"/>
                </a:cxn>
                <a:cxn ang="0">
                  <a:pos x="T6" y="T7"/>
                </a:cxn>
                <a:cxn ang="0">
                  <a:pos x="T8" y="T9"/>
                </a:cxn>
              </a:cxnLst>
              <a:rect l="0" t="0" r="r" b="b"/>
              <a:pathLst>
                <a:path w="28" h="27">
                  <a:moveTo>
                    <a:pt x="0" y="3"/>
                  </a:moveTo>
                  <a:lnTo>
                    <a:pt x="0" y="23"/>
                  </a:lnTo>
                  <a:lnTo>
                    <a:pt x="28" y="27"/>
                  </a:lnTo>
                  <a:lnTo>
                    <a:pt x="28" y="0"/>
                  </a:lnTo>
                  <a:lnTo>
                    <a:pt x="0" y="3"/>
                  </a:lnTo>
                  <a:close/>
                </a:path>
              </a:pathLst>
            </a:custGeom>
            <a:solidFill>
              <a:srgbClr val="9494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87" name="Rectangle 43"/>
            <p:cNvSpPr>
              <a:spLocks noChangeArrowheads="1"/>
            </p:cNvSpPr>
            <p:nvPr/>
          </p:nvSpPr>
          <p:spPr bwMode="auto">
            <a:xfrm>
              <a:off x="10184196" y="5495011"/>
              <a:ext cx="69850" cy="19050"/>
            </a:xfrm>
            <a:prstGeom prst="rect">
              <a:avLst/>
            </a:prstGeom>
            <a:solidFill>
              <a:srgbClr val="BA112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56" name="Rectangle 44"/>
            <p:cNvSpPr>
              <a:spLocks noChangeArrowheads="1"/>
            </p:cNvSpPr>
            <p:nvPr/>
          </p:nvSpPr>
          <p:spPr bwMode="auto">
            <a:xfrm>
              <a:off x="9842883" y="5495011"/>
              <a:ext cx="69850" cy="19050"/>
            </a:xfrm>
            <a:prstGeom prst="rect">
              <a:avLst/>
            </a:prstGeom>
            <a:solidFill>
              <a:srgbClr val="BA112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grpSp>
        <p:nvGrpSpPr>
          <p:cNvPr id="258" name="Group 257"/>
          <p:cNvGrpSpPr/>
          <p:nvPr/>
        </p:nvGrpSpPr>
        <p:grpSpPr>
          <a:xfrm>
            <a:off x="506398" y="3789131"/>
            <a:ext cx="726083" cy="456511"/>
            <a:chOff x="3175001" y="2908300"/>
            <a:chExt cx="2552700" cy="1604963"/>
          </a:xfrm>
        </p:grpSpPr>
        <p:sp>
          <p:nvSpPr>
            <p:cNvPr id="259" name="Freeform 7"/>
            <p:cNvSpPr>
              <a:spLocks/>
            </p:cNvSpPr>
            <p:nvPr/>
          </p:nvSpPr>
          <p:spPr bwMode="auto">
            <a:xfrm>
              <a:off x="3797301" y="2913063"/>
              <a:ext cx="1314450" cy="838200"/>
            </a:xfrm>
            <a:custGeom>
              <a:avLst/>
              <a:gdLst>
                <a:gd name="T0" fmla="*/ 1207 w 1227"/>
                <a:gd name="T1" fmla="*/ 0 h 788"/>
                <a:gd name="T2" fmla="*/ 20 w 1227"/>
                <a:gd name="T3" fmla="*/ 0 h 788"/>
                <a:gd name="T4" fmla="*/ 0 w 1227"/>
                <a:gd name="T5" fmla="*/ 21 h 788"/>
                <a:gd name="T6" fmla="*/ 0 w 1227"/>
                <a:gd name="T7" fmla="*/ 788 h 788"/>
                <a:gd name="T8" fmla="*/ 1227 w 1227"/>
                <a:gd name="T9" fmla="*/ 788 h 788"/>
                <a:gd name="T10" fmla="*/ 1227 w 1227"/>
                <a:gd name="T11" fmla="*/ 21 h 788"/>
                <a:gd name="T12" fmla="*/ 1207 w 1227"/>
                <a:gd name="T13" fmla="*/ 0 h 788"/>
              </a:gdLst>
              <a:ahLst/>
              <a:cxnLst>
                <a:cxn ang="0">
                  <a:pos x="T0" y="T1"/>
                </a:cxn>
                <a:cxn ang="0">
                  <a:pos x="T2" y="T3"/>
                </a:cxn>
                <a:cxn ang="0">
                  <a:pos x="T4" y="T5"/>
                </a:cxn>
                <a:cxn ang="0">
                  <a:pos x="T6" y="T7"/>
                </a:cxn>
                <a:cxn ang="0">
                  <a:pos x="T8" y="T9"/>
                </a:cxn>
                <a:cxn ang="0">
                  <a:pos x="T10" y="T11"/>
                </a:cxn>
                <a:cxn ang="0">
                  <a:pos x="T12" y="T13"/>
                </a:cxn>
              </a:cxnLst>
              <a:rect l="0" t="0" r="r" b="b"/>
              <a:pathLst>
                <a:path w="1227" h="788">
                  <a:moveTo>
                    <a:pt x="1207" y="0"/>
                  </a:moveTo>
                  <a:cubicBezTo>
                    <a:pt x="20" y="0"/>
                    <a:pt x="20" y="0"/>
                    <a:pt x="20" y="0"/>
                  </a:cubicBezTo>
                  <a:cubicBezTo>
                    <a:pt x="9" y="0"/>
                    <a:pt x="0" y="10"/>
                    <a:pt x="0" y="21"/>
                  </a:cubicBezTo>
                  <a:cubicBezTo>
                    <a:pt x="0" y="788"/>
                    <a:pt x="0" y="788"/>
                    <a:pt x="0" y="788"/>
                  </a:cubicBezTo>
                  <a:cubicBezTo>
                    <a:pt x="1227" y="788"/>
                    <a:pt x="1227" y="788"/>
                    <a:pt x="1227" y="788"/>
                  </a:cubicBezTo>
                  <a:cubicBezTo>
                    <a:pt x="1227" y="21"/>
                    <a:pt x="1227" y="21"/>
                    <a:pt x="1227" y="21"/>
                  </a:cubicBezTo>
                  <a:cubicBezTo>
                    <a:pt x="1227" y="10"/>
                    <a:pt x="1218" y="0"/>
                    <a:pt x="1207" y="0"/>
                  </a:cubicBezTo>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60" name="Freeform 8"/>
            <p:cNvSpPr>
              <a:spLocks/>
            </p:cNvSpPr>
            <p:nvPr/>
          </p:nvSpPr>
          <p:spPr bwMode="auto">
            <a:xfrm>
              <a:off x="3792538" y="2908300"/>
              <a:ext cx="1323975" cy="847725"/>
            </a:xfrm>
            <a:custGeom>
              <a:avLst/>
              <a:gdLst>
                <a:gd name="T0" fmla="*/ 1211 w 1235"/>
                <a:gd name="T1" fmla="*/ 4 h 796"/>
                <a:gd name="T2" fmla="*/ 1211 w 1235"/>
                <a:gd name="T3" fmla="*/ 0 h 796"/>
                <a:gd name="T4" fmla="*/ 24 w 1235"/>
                <a:gd name="T5" fmla="*/ 0 h 796"/>
                <a:gd name="T6" fmla="*/ 7 w 1235"/>
                <a:gd name="T7" fmla="*/ 8 h 796"/>
                <a:gd name="T8" fmla="*/ 0 w 1235"/>
                <a:gd name="T9" fmla="*/ 25 h 796"/>
                <a:gd name="T10" fmla="*/ 0 w 1235"/>
                <a:gd name="T11" fmla="*/ 796 h 796"/>
                <a:gd name="T12" fmla="*/ 1235 w 1235"/>
                <a:gd name="T13" fmla="*/ 796 h 796"/>
                <a:gd name="T14" fmla="*/ 1235 w 1235"/>
                <a:gd name="T15" fmla="*/ 25 h 796"/>
                <a:gd name="T16" fmla="*/ 1228 w 1235"/>
                <a:gd name="T17" fmla="*/ 8 h 796"/>
                <a:gd name="T18" fmla="*/ 1211 w 1235"/>
                <a:gd name="T19" fmla="*/ 0 h 796"/>
                <a:gd name="T20" fmla="*/ 1211 w 1235"/>
                <a:gd name="T21" fmla="*/ 4 h 796"/>
                <a:gd name="T22" fmla="*/ 1211 w 1235"/>
                <a:gd name="T23" fmla="*/ 9 h 796"/>
                <a:gd name="T24" fmla="*/ 1222 w 1235"/>
                <a:gd name="T25" fmla="*/ 13 h 796"/>
                <a:gd name="T26" fmla="*/ 1227 w 1235"/>
                <a:gd name="T27" fmla="*/ 25 h 796"/>
                <a:gd name="T28" fmla="*/ 1227 w 1235"/>
                <a:gd name="T29" fmla="*/ 788 h 796"/>
                <a:gd name="T30" fmla="*/ 8 w 1235"/>
                <a:gd name="T31" fmla="*/ 788 h 796"/>
                <a:gd name="T32" fmla="*/ 8 w 1235"/>
                <a:gd name="T33" fmla="*/ 25 h 796"/>
                <a:gd name="T34" fmla="*/ 13 w 1235"/>
                <a:gd name="T35" fmla="*/ 13 h 796"/>
                <a:gd name="T36" fmla="*/ 24 w 1235"/>
                <a:gd name="T37" fmla="*/ 9 h 796"/>
                <a:gd name="T38" fmla="*/ 1211 w 1235"/>
                <a:gd name="T39" fmla="*/ 9 h 796"/>
                <a:gd name="T40" fmla="*/ 1211 w 1235"/>
                <a:gd name="T41" fmla="*/ 4 h 7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35" h="796">
                  <a:moveTo>
                    <a:pt x="1211" y="4"/>
                  </a:moveTo>
                  <a:cubicBezTo>
                    <a:pt x="1211" y="0"/>
                    <a:pt x="1211" y="0"/>
                    <a:pt x="1211" y="0"/>
                  </a:cubicBezTo>
                  <a:cubicBezTo>
                    <a:pt x="24" y="0"/>
                    <a:pt x="24" y="0"/>
                    <a:pt x="24" y="0"/>
                  </a:cubicBezTo>
                  <a:cubicBezTo>
                    <a:pt x="17" y="0"/>
                    <a:pt x="11" y="3"/>
                    <a:pt x="7" y="8"/>
                  </a:cubicBezTo>
                  <a:cubicBezTo>
                    <a:pt x="3" y="12"/>
                    <a:pt x="0" y="18"/>
                    <a:pt x="0" y="25"/>
                  </a:cubicBezTo>
                  <a:cubicBezTo>
                    <a:pt x="0" y="796"/>
                    <a:pt x="0" y="796"/>
                    <a:pt x="0" y="796"/>
                  </a:cubicBezTo>
                  <a:cubicBezTo>
                    <a:pt x="1235" y="796"/>
                    <a:pt x="1235" y="796"/>
                    <a:pt x="1235" y="796"/>
                  </a:cubicBezTo>
                  <a:cubicBezTo>
                    <a:pt x="1235" y="25"/>
                    <a:pt x="1235" y="25"/>
                    <a:pt x="1235" y="25"/>
                  </a:cubicBezTo>
                  <a:cubicBezTo>
                    <a:pt x="1235" y="18"/>
                    <a:pt x="1232" y="12"/>
                    <a:pt x="1228" y="8"/>
                  </a:cubicBezTo>
                  <a:cubicBezTo>
                    <a:pt x="1224" y="3"/>
                    <a:pt x="1218" y="0"/>
                    <a:pt x="1211" y="0"/>
                  </a:cubicBezTo>
                  <a:cubicBezTo>
                    <a:pt x="1211" y="4"/>
                    <a:pt x="1211" y="4"/>
                    <a:pt x="1211" y="4"/>
                  </a:cubicBezTo>
                  <a:cubicBezTo>
                    <a:pt x="1211" y="9"/>
                    <a:pt x="1211" y="9"/>
                    <a:pt x="1211" y="9"/>
                  </a:cubicBezTo>
                  <a:cubicBezTo>
                    <a:pt x="1215" y="9"/>
                    <a:pt x="1219" y="10"/>
                    <a:pt x="1222" y="13"/>
                  </a:cubicBezTo>
                  <a:cubicBezTo>
                    <a:pt x="1225" y="16"/>
                    <a:pt x="1227" y="21"/>
                    <a:pt x="1227" y="25"/>
                  </a:cubicBezTo>
                  <a:cubicBezTo>
                    <a:pt x="1227" y="788"/>
                    <a:pt x="1227" y="788"/>
                    <a:pt x="1227" y="788"/>
                  </a:cubicBezTo>
                  <a:cubicBezTo>
                    <a:pt x="8" y="788"/>
                    <a:pt x="8" y="788"/>
                    <a:pt x="8" y="788"/>
                  </a:cubicBezTo>
                  <a:cubicBezTo>
                    <a:pt x="8" y="25"/>
                    <a:pt x="8" y="25"/>
                    <a:pt x="8" y="25"/>
                  </a:cubicBezTo>
                  <a:cubicBezTo>
                    <a:pt x="8" y="21"/>
                    <a:pt x="10" y="16"/>
                    <a:pt x="13" y="13"/>
                  </a:cubicBezTo>
                  <a:cubicBezTo>
                    <a:pt x="16" y="10"/>
                    <a:pt x="20" y="9"/>
                    <a:pt x="24" y="9"/>
                  </a:cubicBezTo>
                  <a:cubicBezTo>
                    <a:pt x="1211" y="9"/>
                    <a:pt x="1211" y="9"/>
                    <a:pt x="1211" y="9"/>
                  </a:cubicBezTo>
                  <a:cubicBezTo>
                    <a:pt x="1211" y="4"/>
                    <a:pt x="1211" y="4"/>
                    <a:pt x="1211" y="4"/>
                  </a:cubicBezTo>
                </a:path>
              </a:pathLst>
            </a:custGeom>
            <a:solidFill>
              <a:srgbClr val="9E9E9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61" name="Rectangle 260"/>
            <p:cNvSpPr>
              <a:spLocks noChangeArrowheads="1"/>
            </p:cNvSpPr>
            <p:nvPr/>
          </p:nvSpPr>
          <p:spPr bwMode="auto">
            <a:xfrm>
              <a:off x="3860801" y="2978150"/>
              <a:ext cx="1187450" cy="731838"/>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62" name="Rectangle 261"/>
            <p:cNvSpPr>
              <a:spLocks noChangeArrowheads="1"/>
            </p:cNvSpPr>
            <p:nvPr/>
          </p:nvSpPr>
          <p:spPr bwMode="auto">
            <a:xfrm>
              <a:off x="3860801" y="2978150"/>
              <a:ext cx="1187450" cy="731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63" name="Freeform 11"/>
            <p:cNvSpPr>
              <a:spLocks/>
            </p:cNvSpPr>
            <p:nvPr/>
          </p:nvSpPr>
          <p:spPr bwMode="auto">
            <a:xfrm>
              <a:off x="3670301" y="3709988"/>
              <a:ext cx="1568450" cy="320675"/>
            </a:xfrm>
            <a:custGeom>
              <a:avLst/>
              <a:gdLst>
                <a:gd name="T0" fmla="*/ 910 w 988"/>
                <a:gd name="T1" fmla="*/ 0 h 202"/>
                <a:gd name="T2" fmla="*/ 78 w 988"/>
                <a:gd name="T3" fmla="*/ 0 h 202"/>
                <a:gd name="T4" fmla="*/ 0 w 988"/>
                <a:gd name="T5" fmla="*/ 202 h 202"/>
                <a:gd name="T6" fmla="*/ 988 w 988"/>
                <a:gd name="T7" fmla="*/ 202 h 202"/>
                <a:gd name="T8" fmla="*/ 910 w 988"/>
                <a:gd name="T9" fmla="*/ 0 h 202"/>
              </a:gdLst>
              <a:ahLst/>
              <a:cxnLst>
                <a:cxn ang="0">
                  <a:pos x="T0" y="T1"/>
                </a:cxn>
                <a:cxn ang="0">
                  <a:pos x="T2" y="T3"/>
                </a:cxn>
                <a:cxn ang="0">
                  <a:pos x="T4" y="T5"/>
                </a:cxn>
                <a:cxn ang="0">
                  <a:pos x="T6" y="T7"/>
                </a:cxn>
                <a:cxn ang="0">
                  <a:pos x="T8" y="T9"/>
                </a:cxn>
              </a:cxnLst>
              <a:rect l="0" t="0" r="r" b="b"/>
              <a:pathLst>
                <a:path w="988" h="202">
                  <a:moveTo>
                    <a:pt x="910" y="0"/>
                  </a:moveTo>
                  <a:lnTo>
                    <a:pt x="78" y="0"/>
                  </a:lnTo>
                  <a:lnTo>
                    <a:pt x="0" y="202"/>
                  </a:lnTo>
                  <a:lnTo>
                    <a:pt x="988" y="202"/>
                  </a:lnTo>
                  <a:lnTo>
                    <a:pt x="910" y="0"/>
                  </a:lnTo>
                  <a:close/>
                </a:path>
              </a:pathLst>
            </a:custGeom>
            <a:solidFill>
              <a:srgbClr val="40CD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64" name="Freeform 12"/>
            <p:cNvSpPr>
              <a:spLocks/>
            </p:cNvSpPr>
            <p:nvPr/>
          </p:nvSpPr>
          <p:spPr bwMode="auto">
            <a:xfrm>
              <a:off x="3670301" y="3709988"/>
              <a:ext cx="1568450" cy="320675"/>
            </a:xfrm>
            <a:custGeom>
              <a:avLst/>
              <a:gdLst>
                <a:gd name="T0" fmla="*/ 910 w 988"/>
                <a:gd name="T1" fmla="*/ 0 h 202"/>
                <a:gd name="T2" fmla="*/ 78 w 988"/>
                <a:gd name="T3" fmla="*/ 0 h 202"/>
                <a:gd name="T4" fmla="*/ 0 w 988"/>
                <a:gd name="T5" fmla="*/ 202 h 202"/>
                <a:gd name="T6" fmla="*/ 988 w 988"/>
                <a:gd name="T7" fmla="*/ 202 h 202"/>
                <a:gd name="T8" fmla="*/ 910 w 988"/>
                <a:gd name="T9" fmla="*/ 0 h 202"/>
              </a:gdLst>
              <a:ahLst/>
              <a:cxnLst>
                <a:cxn ang="0">
                  <a:pos x="T0" y="T1"/>
                </a:cxn>
                <a:cxn ang="0">
                  <a:pos x="T2" y="T3"/>
                </a:cxn>
                <a:cxn ang="0">
                  <a:pos x="T4" y="T5"/>
                </a:cxn>
                <a:cxn ang="0">
                  <a:pos x="T6" y="T7"/>
                </a:cxn>
                <a:cxn ang="0">
                  <a:pos x="T8" y="T9"/>
                </a:cxn>
              </a:cxnLst>
              <a:rect l="0" t="0" r="r" b="b"/>
              <a:pathLst>
                <a:path w="988" h="202">
                  <a:moveTo>
                    <a:pt x="910" y="0"/>
                  </a:moveTo>
                  <a:lnTo>
                    <a:pt x="78" y="0"/>
                  </a:lnTo>
                  <a:lnTo>
                    <a:pt x="0" y="202"/>
                  </a:lnTo>
                  <a:lnTo>
                    <a:pt x="988" y="202"/>
                  </a:lnTo>
                  <a:lnTo>
                    <a:pt x="9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65" name="Freeform 13"/>
            <p:cNvSpPr>
              <a:spLocks/>
            </p:cNvSpPr>
            <p:nvPr/>
          </p:nvSpPr>
          <p:spPr bwMode="auto">
            <a:xfrm>
              <a:off x="4178301" y="3897313"/>
              <a:ext cx="547688" cy="119063"/>
            </a:xfrm>
            <a:custGeom>
              <a:avLst/>
              <a:gdLst>
                <a:gd name="T0" fmla="*/ 511 w 511"/>
                <a:gd name="T1" fmla="*/ 98 h 111"/>
                <a:gd name="T2" fmla="*/ 501 w 511"/>
                <a:gd name="T3" fmla="*/ 10 h 111"/>
                <a:gd name="T4" fmla="*/ 489 w 511"/>
                <a:gd name="T5" fmla="*/ 0 h 111"/>
                <a:gd name="T6" fmla="*/ 28 w 511"/>
                <a:gd name="T7" fmla="*/ 0 h 111"/>
                <a:gd name="T8" fmla="*/ 16 w 511"/>
                <a:gd name="T9" fmla="*/ 10 h 111"/>
                <a:gd name="T10" fmla="*/ 1 w 511"/>
                <a:gd name="T11" fmla="*/ 98 h 111"/>
                <a:gd name="T12" fmla="*/ 13 w 511"/>
                <a:gd name="T13" fmla="*/ 111 h 111"/>
                <a:gd name="T14" fmla="*/ 499 w 511"/>
                <a:gd name="T15" fmla="*/ 111 h 111"/>
                <a:gd name="T16" fmla="*/ 511 w 511"/>
                <a:gd name="T17" fmla="*/ 98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11" h="111">
                  <a:moveTo>
                    <a:pt x="511" y="98"/>
                  </a:moveTo>
                  <a:cubicBezTo>
                    <a:pt x="501" y="10"/>
                    <a:pt x="501" y="10"/>
                    <a:pt x="501" y="10"/>
                  </a:cubicBezTo>
                  <a:cubicBezTo>
                    <a:pt x="500" y="4"/>
                    <a:pt x="495" y="0"/>
                    <a:pt x="489" y="0"/>
                  </a:cubicBezTo>
                  <a:cubicBezTo>
                    <a:pt x="28" y="0"/>
                    <a:pt x="28" y="0"/>
                    <a:pt x="28" y="0"/>
                  </a:cubicBezTo>
                  <a:cubicBezTo>
                    <a:pt x="22" y="0"/>
                    <a:pt x="17" y="4"/>
                    <a:pt x="16" y="10"/>
                  </a:cubicBezTo>
                  <a:cubicBezTo>
                    <a:pt x="1" y="98"/>
                    <a:pt x="1" y="98"/>
                    <a:pt x="1" y="98"/>
                  </a:cubicBezTo>
                  <a:cubicBezTo>
                    <a:pt x="0" y="105"/>
                    <a:pt x="5" y="111"/>
                    <a:pt x="13" y="111"/>
                  </a:cubicBezTo>
                  <a:cubicBezTo>
                    <a:pt x="499" y="111"/>
                    <a:pt x="499" y="111"/>
                    <a:pt x="499" y="111"/>
                  </a:cubicBezTo>
                  <a:cubicBezTo>
                    <a:pt x="506" y="111"/>
                    <a:pt x="511" y="105"/>
                    <a:pt x="511" y="98"/>
                  </a:cubicBez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66" name="Freeform 14"/>
            <p:cNvSpPr>
              <a:spLocks/>
            </p:cNvSpPr>
            <p:nvPr/>
          </p:nvSpPr>
          <p:spPr bwMode="auto">
            <a:xfrm>
              <a:off x="3670301" y="4030663"/>
              <a:ext cx="1568450" cy="14288"/>
            </a:xfrm>
            <a:custGeom>
              <a:avLst/>
              <a:gdLst>
                <a:gd name="T0" fmla="*/ 1421 w 1465"/>
                <a:gd name="T1" fmla="*/ 14 h 14"/>
                <a:gd name="T2" fmla="*/ 45 w 1465"/>
                <a:gd name="T3" fmla="*/ 14 h 14"/>
                <a:gd name="T4" fmla="*/ 0 w 1465"/>
                <a:gd name="T5" fmla="*/ 0 h 14"/>
                <a:gd name="T6" fmla="*/ 0 w 1465"/>
                <a:gd name="T7" fmla="*/ 0 h 14"/>
                <a:gd name="T8" fmla="*/ 1465 w 1465"/>
                <a:gd name="T9" fmla="*/ 0 h 14"/>
                <a:gd name="T10" fmla="*/ 1465 w 1465"/>
                <a:gd name="T11" fmla="*/ 0 h 14"/>
                <a:gd name="T12" fmla="*/ 1421 w 1465"/>
                <a:gd name="T13" fmla="*/ 14 h 14"/>
              </a:gdLst>
              <a:ahLst/>
              <a:cxnLst>
                <a:cxn ang="0">
                  <a:pos x="T0" y="T1"/>
                </a:cxn>
                <a:cxn ang="0">
                  <a:pos x="T2" y="T3"/>
                </a:cxn>
                <a:cxn ang="0">
                  <a:pos x="T4" y="T5"/>
                </a:cxn>
                <a:cxn ang="0">
                  <a:pos x="T6" y="T7"/>
                </a:cxn>
                <a:cxn ang="0">
                  <a:pos x="T8" y="T9"/>
                </a:cxn>
                <a:cxn ang="0">
                  <a:pos x="T10" y="T11"/>
                </a:cxn>
                <a:cxn ang="0">
                  <a:pos x="T12" y="T13"/>
                </a:cxn>
              </a:cxnLst>
              <a:rect l="0" t="0" r="r" b="b"/>
              <a:pathLst>
                <a:path w="1465" h="14">
                  <a:moveTo>
                    <a:pt x="1421" y="14"/>
                  </a:moveTo>
                  <a:cubicBezTo>
                    <a:pt x="45" y="14"/>
                    <a:pt x="45" y="14"/>
                    <a:pt x="45" y="14"/>
                  </a:cubicBezTo>
                  <a:cubicBezTo>
                    <a:pt x="20" y="14"/>
                    <a:pt x="0" y="8"/>
                    <a:pt x="0" y="0"/>
                  </a:cubicBezTo>
                  <a:cubicBezTo>
                    <a:pt x="0" y="0"/>
                    <a:pt x="0" y="0"/>
                    <a:pt x="0" y="0"/>
                  </a:cubicBezTo>
                  <a:cubicBezTo>
                    <a:pt x="1465" y="0"/>
                    <a:pt x="1465" y="0"/>
                    <a:pt x="1465" y="0"/>
                  </a:cubicBezTo>
                  <a:cubicBezTo>
                    <a:pt x="1465" y="0"/>
                    <a:pt x="1465" y="0"/>
                    <a:pt x="1465" y="0"/>
                  </a:cubicBezTo>
                  <a:cubicBezTo>
                    <a:pt x="1465" y="8"/>
                    <a:pt x="1445" y="14"/>
                    <a:pt x="1421" y="14"/>
                  </a:cubicBezTo>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67" name="Freeform 15"/>
            <p:cNvSpPr>
              <a:spLocks/>
            </p:cNvSpPr>
            <p:nvPr/>
          </p:nvSpPr>
          <p:spPr bwMode="auto">
            <a:xfrm>
              <a:off x="4279901" y="3781425"/>
              <a:ext cx="65088" cy="44450"/>
            </a:xfrm>
            <a:custGeom>
              <a:avLst/>
              <a:gdLst>
                <a:gd name="T0" fmla="*/ 0 w 41"/>
                <a:gd name="T1" fmla="*/ 28 h 28"/>
                <a:gd name="T2" fmla="*/ 40 w 41"/>
                <a:gd name="T3" fmla="*/ 28 h 28"/>
                <a:gd name="T4" fmla="*/ 41 w 41"/>
                <a:gd name="T5" fmla="*/ 0 h 28"/>
                <a:gd name="T6" fmla="*/ 2 w 41"/>
                <a:gd name="T7" fmla="*/ 0 h 28"/>
                <a:gd name="T8" fmla="*/ 0 w 41"/>
                <a:gd name="T9" fmla="*/ 28 h 28"/>
              </a:gdLst>
              <a:ahLst/>
              <a:cxnLst>
                <a:cxn ang="0">
                  <a:pos x="T0" y="T1"/>
                </a:cxn>
                <a:cxn ang="0">
                  <a:pos x="T2" y="T3"/>
                </a:cxn>
                <a:cxn ang="0">
                  <a:pos x="T4" y="T5"/>
                </a:cxn>
                <a:cxn ang="0">
                  <a:pos x="T6" y="T7"/>
                </a:cxn>
                <a:cxn ang="0">
                  <a:pos x="T8" y="T9"/>
                </a:cxn>
              </a:cxnLst>
              <a:rect l="0" t="0" r="r" b="b"/>
              <a:pathLst>
                <a:path w="41" h="28">
                  <a:moveTo>
                    <a:pt x="0" y="28"/>
                  </a:moveTo>
                  <a:lnTo>
                    <a:pt x="40" y="28"/>
                  </a:lnTo>
                  <a:lnTo>
                    <a:pt x="41" y="0"/>
                  </a:lnTo>
                  <a:lnTo>
                    <a:pt x="2" y="0"/>
                  </a:lnTo>
                  <a:lnTo>
                    <a:pt x="0" y="28"/>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68" name="Freeform 16"/>
            <p:cNvSpPr>
              <a:spLocks/>
            </p:cNvSpPr>
            <p:nvPr/>
          </p:nvSpPr>
          <p:spPr bwMode="auto">
            <a:xfrm>
              <a:off x="4284663" y="3730625"/>
              <a:ext cx="61913" cy="41275"/>
            </a:xfrm>
            <a:custGeom>
              <a:avLst/>
              <a:gdLst>
                <a:gd name="T0" fmla="*/ 39 w 39"/>
                <a:gd name="T1" fmla="*/ 0 h 26"/>
                <a:gd name="T2" fmla="*/ 2 w 39"/>
                <a:gd name="T3" fmla="*/ 0 h 26"/>
                <a:gd name="T4" fmla="*/ 0 w 39"/>
                <a:gd name="T5" fmla="*/ 26 h 26"/>
                <a:gd name="T6" fmla="*/ 39 w 39"/>
                <a:gd name="T7" fmla="*/ 26 h 26"/>
                <a:gd name="T8" fmla="*/ 39 w 39"/>
                <a:gd name="T9" fmla="*/ 0 h 26"/>
              </a:gdLst>
              <a:ahLst/>
              <a:cxnLst>
                <a:cxn ang="0">
                  <a:pos x="T0" y="T1"/>
                </a:cxn>
                <a:cxn ang="0">
                  <a:pos x="T2" y="T3"/>
                </a:cxn>
                <a:cxn ang="0">
                  <a:pos x="T4" y="T5"/>
                </a:cxn>
                <a:cxn ang="0">
                  <a:pos x="T6" y="T7"/>
                </a:cxn>
                <a:cxn ang="0">
                  <a:pos x="T8" y="T9"/>
                </a:cxn>
              </a:cxnLst>
              <a:rect l="0" t="0" r="r" b="b"/>
              <a:pathLst>
                <a:path w="39" h="26">
                  <a:moveTo>
                    <a:pt x="39" y="0"/>
                  </a:moveTo>
                  <a:lnTo>
                    <a:pt x="2" y="0"/>
                  </a:lnTo>
                  <a:lnTo>
                    <a:pt x="0" y="26"/>
                  </a:lnTo>
                  <a:lnTo>
                    <a:pt x="39" y="26"/>
                  </a:lnTo>
                  <a:lnTo>
                    <a:pt x="39" y="0"/>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69" name="Freeform 17"/>
            <p:cNvSpPr>
              <a:spLocks/>
            </p:cNvSpPr>
            <p:nvPr/>
          </p:nvSpPr>
          <p:spPr bwMode="auto">
            <a:xfrm>
              <a:off x="4494213" y="3781425"/>
              <a:ext cx="63500" cy="44450"/>
            </a:xfrm>
            <a:custGeom>
              <a:avLst/>
              <a:gdLst>
                <a:gd name="T0" fmla="*/ 0 w 40"/>
                <a:gd name="T1" fmla="*/ 28 h 28"/>
                <a:gd name="T2" fmla="*/ 40 w 40"/>
                <a:gd name="T3" fmla="*/ 28 h 28"/>
                <a:gd name="T4" fmla="*/ 39 w 40"/>
                <a:gd name="T5" fmla="*/ 0 h 28"/>
                <a:gd name="T6" fmla="*/ 0 w 40"/>
                <a:gd name="T7" fmla="*/ 0 h 28"/>
                <a:gd name="T8" fmla="*/ 0 w 40"/>
                <a:gd name="T9" fmla="*/ 28 h 28"/>
              </a:gdLst>
              <a:ahLst/>
              <a:cxnLst>
                <a:cxn ang="0">
                  <a:pos x="T0" y="T1"/>
                </a:cxn>
                <a:cxn ang="0">
                  <a:pos x="T2" y="T3"/>
                </a:cxn>
                <a:cxn ang="0">
                  <a:pos x="T4" y="T5"/>
                </a:cxn>
                <a:cxn ang="0">
                  <a:pos x="T6" y="T7"/>
                </a:cxn>
                <a:cxn ang="0">
                  <a:pos x="T8" y="T9"/>
                </a:cxn>
              </a:cxnLst>
              <a:rect l="0" t="0" r="r" b="b"/>
              <a:pathLst>
                <a:path w="40" h="28">
                  <a:moveTo>
                    <a:pt x="0" y="28"/>
                  </a:moveTo>
                  <a:lnTo>
                    <a:pt x="40" y="28"/>
                  </a:lnTo>
                  <a:lnTo>
                    <a:pt x="39" y="0"/>
                  </a:lnTo>
                  <a:lnTo>
                    <a:pt x="0" y="0"/>
                  </a:lnTo>
                  <a:lnTo>
                    <a:pt x="0" y="28"/>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70" name="Freeform 18"/>
            <p:cNvSpPr>
              <a:spLocks/>
            </p:cNvSpPr>
            <p:nvPr/>
          </p:nvSpPr>
          <p:spPr bwMode="auto">
            <a:xfrm>
              <a:off x="4494213" y="3730625"/>
              <a:ext cx="61913" cy="41275"/>
            </a:xfrm>
            <a:custGeom>
              <a:avLst/>
              <a:gdLst>
                <a:gd name="T0" fmla="*/ 0 w 39"/>
                <a:gd name="T1" fmla="*/ 26 h 26"/>
                <a:gd name="T2" fmla="*/ 39 w 39"/>
                <a:gd name="T3" fmla="*/ 26 h 26"/>
                <a:gd name="T4" fmla="*/ 37 w 39"/>
                <a:gd name="T5" fmla="*/ 0 h 26"/>
                <a:gd name="T6" fmla="*/ 0 w 39"/>
                <a:gd name="T7" fmla="*/ 0 h 26"/>
                <a:gd name="T8" fmla="*/ 0 w 39"/>
                <a:gd name="T9" fmla="*/ 26 h 26"/>
              </a:gdLst>
              <a:ahLst/>
              <a:cxnLst>
                <a:cxn ang="0">
                  <a:pos x="T0" y="T1"/>
                </a:cxn>
                <a:cxn ang="0">
                  <a:pos x="T2" y="T3"/>
                </a:cxn>
                <a:cxn ang="0">
                  <a:pos x="T4" y="T5"/>
                </a:cxn>
                <a:cxn ang="0">
                  <a:pos x="T6" y="T7"/>
                </a:cxn>
                <a:cxn ang="0">
                  <a:pos x="T8" y="T9"/>
                </a:cxn>
              </a:cxnLst>
              <a:rect l="0" t="0" r="r" b="b"/>
              <a:pathLst>
                <a:path w="39" h="26">
                  <a:moveTo>
                    <a:pt x="0" y="26"/>
                  </a:moveTo>
                  <a:lnTo>
                    <a:pt x="39" y="26"/>
                  </a:lnTo>
                  <a:lnTo>
                    <a:pt x="37" y="0"/>
                  </a:lnTo>
                  <a:lnTo>
                    <a:pt x="0" y="0"/>
                  </a:lnTo>
                  <a:lnTo>
                    <a:pt x="0" y="26"/>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71" name="Freeform 19"/>
            <p:cNvSpPr>
              <a:spLocks/>
            </p:cNvSpPr>
            <p:nvPr/>
          </p:nvSpPr>
          <p:spPr bwMode="auto">
            <a:xfrm>
              <a:off x="4562476" y="3730625"/>
              <a:ext cx="63500" cy="41275"/>
            </a:xfrm>
            <a:custGeom>
              <a:avLst/>
              <a:gdLst>
                <a:gd name="T0" fmla="*/ 1 w 40"/>
                <a:gd name="T1" fmla="*/ 26 h 26"/>
                <a:gd name="T2" fmla="*/ 40 w 40"/>
                <a:gd name="T3" fmla="*/ 26 h 26"/>
                <a:gd name="T4" fmla="*/ 37 w 40"/>
                <a:gd name="T5" fmla="*/ 0 h 26"/>
                <a:gd name="T6" fmla="*/ 0 w 40"/>
                <a:gd name="T7" fmla="*/ 0 h 26"/>
                <a:gd name="T8" fmla="*/ 1 w 40"/>
                <a:gd name="T9" fmla="*/ 26 h 26"/>
              </a:gdLst>
              <a:ahLst/>
              <a:cxnLst>
                <a:cxn ang="0">
                  <a:pos x="T0" y="T1"/>
                </a:cxn>
                <a:cxn ang="0">
                  <a:pos x="T2" y="T3"/>
                </a:cxn>
                <a:cxn ang="0">
                  <a:pos x="T4" y="T5"/>
                </a:cxn>
                <a:cxn ang="0">
                  <a:pos x="T6" y="T7"/>
                </a:cxn>
                <a:cxn ang="0">
                  <a:pos x="T8" y="T9"/>
                </a:cxn>
              </a:cxnLst>
              <a:rect l="0" t="0" r="r" b="b"/>
              <a:pathLst>
                <a:path w="40" h="26">
                  <a:moveTo>
                    <a:pt x="1" y="26"/>
                  </a:moveTo>
                  <a:lnTo>
                    <a:pt x="40" y="26"/>
                  </a:lnTo>
                  <a:lnTo>
                    <a:pt x="37" y="0"/>
                  </a:lnTo>
                  <a:lnTo>
                    <a:pt x="0" y="0"/>
                  </a:lnTo>
                  <a:lnTo>
                    <a:pt x="1" y="26"/>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72" name="Freeform 20"/>
            <p:cNvSpPr>
              <a:spLocks/>
            </p:cNvSpPr>
            <p:nvPr/>
          </p:nvSpPr>
          <p:spPr bwMode="auto">
            <a:xfrm>
              <a:off x="4214813" y="3730625"/>
              <a:ext cx="65088" cy="41275"/>
            </a:xfrm>
            <a:custGeom>
              <a:avLst/>
              <a:gdLst>
                <a:gd name="T0" fmla="*/ 41 w 41"/>
                <a:gd name="T1" fmla="*/ 0 h 26"/>
                <a:gd name="T2" fmla="*/ 4 w 41"/>
                <a:gd name="T3" fmla="*/ 0 h 26"/>
                <a:gd name="T4" fmla="*/ 0 w 41"/>
                <a:gd name="T5" fmla="*/ 26 h 26"/>
                <a:gd name="T6" fmla="*/ 39 w 41"/>
                <a:gd name="T7" fmla="*/ 26 h 26"/>
                <a:gd name="T8" fmla="*/ 41 w 41"/>
                <a:gd name="T9" fmla="*/ 0 h 26"/>
              </a:gdLst>
              <a:ahLst/>
              <a:cxnLst>
                <a:cxn ang="0">
                  <a:pos x="T0" y="T1"/>
                </a:cxn>
                <a:cxn ang="0">
                  <a:pos x="T2" y="T3"/>
                </a:cxn>
                <a:cxn ang="0">
                  <a:pos x="T4" y="T5"/>
                </a:cxn>
                <a:cxn ang="0">
                  <a:pos x="T6" y="T7"/>
                </a:cxn>
                <a:cxn ang="0">
                  <a:pos x="T8" y="T9"/>
                </a:cxn>
              </a:cxnLst>
              <a:rect l="0" t="0" r="r" b="b"/>
              <a:pathLst>
                <a:path w="41" h="26">
                  <a:moveTo>
                    <a:pt x="41" y="0"/>
                  </a:moveTo>
                  <a:lnTo>
                    <a:pt x="4" y="0"/>
                  </a:lnTo>
                  <a:lnTo>
                    <a:pt x="0" y="26"/>
                  </a:lnTo>
                  <a:lnTo>
                    <a:pt x="39" y="26"/>
                  </a:lnTo>
                  <a:lnTo>
                    <a:pt x="41" y="0"/>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73" name="Freeform 21"/>
            <p:cNvSpPr>
              <a:spLocks/>
            </p:cNvSpPr>
            <p:nvPr/>
          </p:nvSpPr>
          <p:spPr bwMode="auto">
            <a:xfrm>
              <a:off x="4135438" y="3781425"/>
              <a:ext cx="69850" cy="44450"/>
            </a:xfrm>
            <a:custGeom>
              <a:avLst/>
              <a:gdLst>
                <a:gd name="T0" fmla="*/ 0 w 44"/>
                <a:gd name="T1" fmla="*/ 28 h 28"/>
                <a:gd name="T2" fmla="*/ 40 w 44"/>
                <a:gd name="T3" fmla="*/ 28 h 28"/>
                <a:gd name="T4" fmla="*/ 44 w 44"/>
                <a:gd name="T5" fmla="*/ 0 h 28"/>
                <a:gd name="T6" fmla="*/ 6 w 44"/>
                <a:gd name="T7" fmla="*/ 0 h 28"/>
                <a:gd name="T8" fmla="*/ 0 w 44"/>
                <a:gd name="T9" fmla="*/ 28 h 28"/>
              </a:gdLst>
              <a:ahLst/>
              <a:cxnLst>
                <a:cxn ang="0">
                  <a:pos x="T0" y="T1"/>
                </a:cxn>
                <a:cxn ang="0">
                  <a:pos x="T2" y="T3"/>
                </a:cxn>
                <a:cxn ang="0">
                  <a:pos x="T4" y="T5"/>
                </a:cxn>
                <a:cxn ang="0">
                  <a:pos x="T6" y="T7"/>
                </a:cxn>
                <a:cxn ang="0">
                  <a:pos x="T8" y="T9"/>
                </a:cxn>
              </a:cxnLst>
              <a:rect l="0" t="0" r="r" b="b"/>
              <a:pathLst>
                <a:path w="44" h="28">
                  <a:moveTo>
                    <a:pt x="0" y="28"/>
                  </a:moveTo>
                  <a:lnTo>
                    <a:pt x="40" y="28"/>
                  </a:lnTo>
                  <a:lnTo>
                    <a:pt x="44" y="0"/>
                  </a:lnTo>
                  <a:lnTo>
                    <a:pt x="6" y="0"/>
                  </a:lnTo>
                  <a:lnTo>
                    <a:pt x="0" y="28"/>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74" name="Freeform 22"/>
            <p:cNvSpPr>
              <a:spLocks/>
            </p:cNvSpPr>
            <p:nvPr/>
          </p:nvSpPr>
          <p:spPr bwMode="auto">
            <a:xfrm>
              <a:off x="3992563" y="3781425"/>
              <a:ext cx="73025" cy="44450"/>
            </a:xfrm>
            <a:custGeom>
              <a:avLst/>
              <a:gdLst>
                <a:gd name="T0" fmla="*/ 46 w 46"/>
                <a:gd name="T1" fmla="*/ 0 h 28"/>
                <a:gd name="T2" fmla="*/ 7 w 46"/>
                <a:gd name="T3" fmla="*/ 0 h 28"/>
                <a:gd name="T4" fmla="*/ 0 w 46"/>
                <a:gd name="T5" fmla="*/ 28 h 28"/>
                <a:gd name="T6" fmla="*/ 40 w 46"/>
                <a:gd name="T7" fmla="*/ 28 h 28"/>
                <a:gd name="T8" fmla="*/ 46 w 46"/>
                <a:gd name="T9" fmla="*/ 0 h 28"/>
              </a:gdLst>
              <a:ahLst/>
              <a:cxnLst>
                <a:cxn ang="0">
                  <a:pos x="T0" y="T1"/>
                </a:cxn>
                <a:cxn ang="0">
                  <a:pos x="T2" y="T3"/>
                </a:cxn>
                <a:cxn ang="0">
                  <a:pos x="T4" y="T5"/>
                </a:cxn>
                <a:cxn ang="0">
                  <a:pos x="T6" y="T7"/>
                </a:cxn>
                <a:cxn ang="0">
                  <a:pos x="T8" y="T9"/>
                </a:cxn>
              </a:cxnLst>
              <a:rect l="0" t="0" r="r" b="b"/>
              <a:pathLst>
                <a:path w="46" h="28">
                  <a:moveTo>
                    <a:pt x="46" y="0"/>
                  </a:moveTo>
                  <a:lnTo>
                    <a:pt x="7" y="0"/>
                  </a:lnTo>
                  <a:lnTo>
                    <a:pt x="0" y="28"/>
                  </a:lnTo>
                  <a:lnTo>
                    <a:pt x="40" y="28"/>
                  </a:lnTo>
                  <a:lnTo>
                    <a:pt x="46" y="0"/>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75" name="Freeform 23"/>
            <p:cNvSpPr>
              <a:spLocks/>
            </p:cNvSpPr>
            <p:nvPr/>
          </p:nvSpPr>
          <p:spPr bwMode="auto">
            <a:xfrm>
              <a:off x="4075113" y="3730625"/>
              <a:ext cx="69850" cy="41275"/>
            </a:xfrm>
            <a:custGeom>
              <a:avLst/>
              <a:gdLst>
                <a:gd name="T0" fmla="*/ 0 w 44"/>
                <a:gd name="T1" fmla="*/ 26 h 26"/>
                <a:gd name="T2" fmla="*/ 39 w 44"/>
                <a:gd name="T3" fmla="*/ 26 h 26"/>
                <a:gd name="T4" fmla="*/ 44 w 44"/>
                <a:gd name="T5" fmla="*/ 0 h 26"/>
                <a:gd name="T6" fmla="*/ 6 w 44"/>
                <a:gd name="T7" fmla="*/ 0 h 26"/>
                <a:gd name="T8" fmla="*/ 0 w 44"/>
                <a:gd name="T9" fmla="*/ 26 h 26"/>
              </a:gdLst>
              <a:ahLst/>
              <a:cxnLst>
                <a:cxn ang="0">
                  <a:pos x="T0" y="T1"/>
                </a:cxn>
                <a:cxn ang="0">
                  <a:pos x="T2" y="T3"/>
                </a:cxn>
                <a:cxn ang="0">
                  <a:pos x="T4" y="T5"/>
                </a:cxn>
                <a:cxn ang="0">
                  <a:pos x="T6" y="T7"/>
                </a:cxn>
                <a:cxn ang="0">
                  <a:pos x="T8" y="T9"/>
                </a:cxn>
              </a:cxnLst>
              <a:rect l="0" t="0" r="r" b="b"/>
              <a:pathLst>
                <a:path w="44" h="26">
                  <a:moveTo>
                    <a:pt x="0" y="26"/>
                  </a:moveTo>
                  <a:lnTo>
                    <a:pt x="39" y="26"/>
                  </a:lnTo>
                  <a:lnTo>
                    <a:pt x="44" y="0"/>
                  </a:lnTo>
                  <a:lnTo>
                    <a:pt x="6" y="0"/>
                  </a:lnTo>
                  <a:lnTo>
                    <a:pt x="0" y="26"/>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76" name="Freeform 24"/>
            <p:cNvSpPr>
              <a:spLocks/>
            </p:cNvSpPr>
            <p:nvPr/>
          </p:nvSpPr>
          <p:spPr bwMode="auto">
            <a:xfrm>
              <a:off x="4206876" y="3781425"/>
              <a:ext cx="68263" cy="44450"/>
            </a:xfrm>
            <a:custGeom>
              <a:avLst/>
              <a:gdLst>
                <a:gd name="T0" fmla="*/ 0 w 43"/>
                <a:gd name="T1" fmla="*/ 28 h 28"/>
                <a:gd name="T2" fmla="*/ 40 w 43"/>
                <a:gd name="T3" fmla="*/ 28 h 28"/>
                <a:gd name="T4" fmla="*/ 43 w 43"/>
                <a:gd name="T5" fmla="*/ 0 h 28"/>
                <a:gd name="T6" fmla="*/ 4 w 43"/>
                <a:gd name="T7" fmla="*/ 0 h 28"/>
                <a:gd name="T8" fmla="*/ 0 w 43"/>
                <a:gd name="T9" fmla="*/ 28 h 28"/>
              </a:gdLst>
              <a:ahLst/>
              <a:cxnLst>
                <a:cxn ang="0">
                  <a:pos x="T0" y="T1"/>
                </a:cxn>
                <a:cxn ang="0">
                  <a:pos x="T2" y="T3"/>
                </a:cxn>
                <a:cxn ang="0">
                  <a:pos x="T4" y="T5"/>
                </a:cxn>
                <a:cxn ang="0">
                  <a:pos x="T6" y="T7"/>
                </a:cxn>
                <a:cxn ang="0">
                  <a:pos x="T8" y="T9"/>
                </a:cxn>
              </a:cxnLst>
              <a:rect l="0" t="0" r="r" b="b"/>
              <a:pathLst>
                <a:path w="43" h="28">
                  <a:moveTo>
                    <a:pt x="0" y="28"/>
                  </a:moveTo>
                  <a:lnTo>
                    <a:pt x="40" y="28"/>
                  </a:lnTo>
                  <a:lnTo>
                    <a:pt x="43" y="0"/>
                  </a:lnTo>
                  <a:lnTo>
                    <a:pt x="4" y="0"/>
                  </a:lnTo>
                  <a:lnTo>
                    <a:pt x="0" y="28"/>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77" name="Freeform 25"/>
            <p:cNvSpPr>
              <a:spLocks/>
            </p:cNvSpPr>
            <p:nvPr/>
          </p:nvSpPr>
          <p:spPr bwMode="auto">
            <a:xfrm>
              <a:off x="4144963" y="3730625"/>
              <a:ext cx="66675" cy="41275"/>
            </a:xfrm>
            <a:custGeom>
              <a:avLst/>
              <a:gdLst>
                <a:gd name="T0" fmla="*/ 0 w 42"/>
                <a:gd name="T1" fmla="*/ 26 h 26"/>
                <a:gd name="T2" fmla="*/ 39 w 42"/>
                <a:gd name="T3" fmla="*/ 26 h 26"/>
                <a:gd name="T4" fmla="*/ 42 w 42"/>
                <a:gd name="T5" fmla="*/ 0 h 26"/>
                <a:gd name="T6" fmla="*/ 5 w 42"/>
                <a:gd name="T7" fmla="*/ 0 h 26"/>
                <a:gd name="T8" fmla="*/ 0 w 42"/>
                <a:gd name="T9" fmla="*/ 26 h 26"/>
              </a:gdLst>
              <a:ahLst/>
              <a:cxnLst>
                <a:cxn ang="0">
                  <a:pos x="T0" y="T1"/>
                </a:cxn>
                <a:cxn ang="0">
                  <a:pos x="T2" y="T3"/>
                </a:cxn>
                <a:cxn ang="0">
                  <a:pos x="T4" y="T5"/>
                </a:cxn>
                <a:cxn ang="0">
                  <a:pos x="T6" y="T7"/>
                </a:cxn>
                <a:cxn ang="0">
                  <a:pos x="T8" y="T9"/>
                </a:cxn>
              </a:cxnLst>
              <a:rect l="0" t="0" r="r" b="b"/>
              <a:pathLst>
                <a:path w="42" h="26">
                  <a:moveTo>
                    <a:pt x="0" y="26"/>
                  </a:moveTo>
                  <a:lnTo>
                    <a:pt x="39" y="26"/>
                  </a:lnTo>
                  <a:lnTo>
                    <a:pt x="42" y="0"/>
                  </a:lnTo>
                  <a:lnTo>
                    <a:pt x="5" y="0"/>
                  </a:lnTo>
                  <a:lnTo>
                    <a:pt x="0" y="26"/>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78" name="Freeform 26"/>
            <p:cNvSpPr>
              <a:spLocks/>
            </p:cNvSpPr>
            <p:nvPr/>
          </p:nvSpPr>
          <p:spPr bwMode="auto">
            <a:xfrm>
              <a:off x="4914901" y="3781425"/>
              <a:ext cx="187325" cy="44450"/>
            </a:xfrm>
            <a:custGeom>
              <a:avLst/>
              <a:gdLst>
                <a:gd name="T0" fmla="*/ 118 w 118"/>
                <a:gd name="T1" fmla="*/ 28 h 28"/>
                <a:gd name="T2" fmla="*/ 109 w 118"/>
                <a:gd name="T3" fmla="*/ 0 h 28"/>
                <a:gd name="T4" fmla="*/ 0 w 118"/>
                <a:gd name="T5" fmla="*/ 0 h 28"/>
                <a:gd name="T6" fmla="*/ 7 w 118"/>
                <a:gd name="T7" fmla="*/ 28 h 28"/>
                <a:gd name="T8" fmla="*/ 118 w 118"/>
                <a:gd name="T9" fmla="*/ 28 h 28"/>
              </a:gdLst>
              <a:ahLst/>
              <a:cxnLst>
                <a:cxn ang="0">
                  <a:pos x="T0" y="T1"/>
                </a:cxn>
                <a:cxn ang="0">
                  <a:pos x="T2" y="T3"/>
                </a:cxn>
                <a:cxn ang="0">
                  <a:pos x="T4" y="T5"/>
                </a:cxn>
                <a:cxn ang="0">
                  <a:pos x="T6" y="T7"/>
                </a:cxn>
                <a:cxn ang="0">
                  <a:pos x="T8" y="T9"/>
                </a:cxn>
              </a:cxnLst>
              <a:rect l="0" t="0" r="r" b="b"/>
              <a:pathLst>
                <a:path w="118" h="28">
                  <a:moveTo>
                    <a:pt x="118" y="28"/>
                  </a:moveTo>
                  <a:lnTo>
                    <a:pt x="109" y="0"/>
                  </a:lnTo>
                  <a:lnTo>
                    <a:pt x="0" y="0"/>
                  </a:lnTo>
                  <a:lnTo>
                    <a:pt x="7" y="28"/>
                  </a:lnTo>
                  <a:lnTo>
                    <a:pt x="118" y="28"/>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79" name="Freeform 27"/>
            <p:cNvSpPr>
              <a:spLocks/>
            </p:cNvSpPr>
            <p:nvPr/>
          </p:nvSpPr>
          <p:spPr bwMode="auto">
            <a:xfrm>
              <a:off x="4902201" y="3730625"/>
              <a:ext cx="69850" cy="41275"/>
            </a:xfrm>
            <a:custGeom>
              <a:avLst/>
              <a:gdLst>
                <a:gd name="T0" fmla="*/ 7 w 44"/>
                <a:gd name="T1" fmla="*/ 26 h 26"/>
                <a:gd name="T2" fmla="*/ 44 w 44"/>
                <a:gd name="T3" fmla="*/ 26 h 26"/>
                <a:gd name="T4" fmla="*/ 37 w 44"/>
                <a:gd name="T5" fmla="*/ 0 h 26"/>
                <a:gd name="T6" fmla="*/ 0 w 44"/>
                <a:gd name="T7" fmla="*/ 0 h 26"/>
                <a:gd name="T8" fmla="*/ 7 w 44"/>
                <a:gd name="T9" fmla="*/ 26 h 26"/>
              </a:gdLst>
              <a:ahLst/>
              <a:cxnLst>
                <a:cxn ang="0">
                  <a:pos x="T0" y="T1"/>
                </a:cxn>
                <a:cxn ang="0">
                  <a:pos x="T2" y="T3"/>
                </a:cxn>
                <a:cxn ang="0">
                  <a:pos x="T4" y="T5"/>
                </a:cxn>
                <a:cxn ang="0">
                  <a:pos x="T6" y="T7"/>
                </a:cxn>
                <a:cxn ang="0">
                  <a:pos x="T8" y="T9"/>
                </a:cxn>
              </a:cxnLst>
              <a:rect l="0" t="0" r="r" b="b"/>
              <a:pathLst>
                <a:path w="44" h="26">
                  <a:moveTo>
                    <a:pt x="7" y="26"/>
                  </a:moveTo>
                  <a:lnTo>
                    <a:pt x="44" y="26"/>
                  </a:lnTo>
                  <a:lnTo>
                    <a:pt x="37" y="0"/>
                  </a:lnTo>
                  <a:lnTo>
                    <a:pt x="0" y="0"/>
                  </a:lnTo>
                  <a:lnTo>
                    <a:pt x="7" y="26"/>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80" name="Freeform 28"/>
            <p:cNvSpPr>
              <a:spLocks/>
            </p:cNvSpPr>
            <p:nvPr/>
          </p:nvSpPr>
          <p:spPr bwMode="auto">
            <a:xfrm>
              <a:off x="3921126" y="3781425"/>
              <a:ext cx="74613" cy="44450"/>
            </a:xfrm>
            <a:custGeom>
              <a:avLst/>
              <a:gdLst>
                <a:gd name="T0" fmla="*/ 0 w 47"/>
                <a:gd name="T1" fmla="*/ 28 h 28"/>
                <a:gd name="T2" fmla="*/ 39 w 47"/>
                <a:gd name="T3" fmla="*/ 28 h 28"/>
                <a:gd name="T4" fmla="*/ 47 w 47"/>
                <a:gd name="T5" fmla="*/ 0 h 28"/>
                <a:gd name="T6" fmla="*/ 8 w 47"/>
                <a:gd name="T7" fmla="*/ 0 h 28"/>
                <a:gd name="T8" fmla="*/ 0 w 47"/>
                <a:gd name="T9" fmla="*/ 28 h 28"/>
              </a:gdLst>
              <a:ahLst/>
              <a:cxnLst>
                <a:cxn ang="0">
                  <a:pos x="T0" y="T1"/>
                </a:cxn>
                <a:cxn ang="0">
                  <a:pos x="T2" y="T3"/>
                </a:cxn>
                <a:cxn ang="0">
                  <a:pos x="T4" y="T5"/>
                </a:cxn>
                <a:cxn ang="0">
                  <a:pos x="T6" y="T7"/>
                </a:cxn>
                <a:cxn ang="0">
                  <a:pos x="T8" y="T9"/>
                </a:cxn>
              </a:cxnLst>
              <a:rect l="0" t="0" r="r" b="b"/>
              <a:pathLst>
                <a:path w="47" h="28">
                  <a:moveTo>
                    <a:pt x="0" y="28"/>
                  </a:moveTo>
                  <a:lnTo>
                    <a:pt x="39" y="28"/>
                  </a:lnTo>
                  <a:lnTo>
                    <a:pt x="47" y="0"/>
                  </a:lnTo>
                  <a:lnTo>
                    <a:pt x="8" y="0"/>
                  </a:lnTo>
                  <a:lnTo>
                    <a:pt x="0" y="28"/>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81" name="Freeform 29"/>
            <p:cNvSpPr>
              <a:spLocks/>
            </p:cNvSpPr>
            <p:nvPr/>
          </p:nvSpPr>
          <p:spPr bwMode="auto">
            <a:xfrm>
              <a:off x="4968876" y="3730625"/>
              <a:ext cx="73025" cy="41275"/>
            </a:xfrm>
            <a:custGeom>
              <a:avLst/>
              <a:gdLst>
                <a:gd name="T0" fmla="*/ 0 w 46"/>
                <a:gd name="T1" fmla="*/ 0 h 26"/>
                <a:gd name="T2" fmla="*/ 8 w 46"/>
                <a:gd name="T3" fmla="*/ 26 h 26"/>
                <a:gd name="T4" fmla="*/ 46 w 46"/>
                <a:gd name="T5" fmla="*/ 26 h 26"/>
                <a:gd name="T6" fmla="*/ 37 w 46"/>
                <a:gd name="T7" fmla="*/ 0 h 26"/>
                <a:gd name="T8" fmla="*/ 0 w 46"/>
                <a:gd name="T9" fmla="*/ 0 h 26"/>
              </a:gdLst>
              <a:ahLst/>
              <a:cxnLst>
                <a:cxn ang="0">
                  <a:pos x="T0" y="T1"/>
                </a:cxn>
                <a:cxn ang="0">
                  <a:pos x="T2" y="T3"/>
                </a:cxn>
                <a:cxn ang="0">
                  <a:pos x="T4" y="T5"/>
                </a:cxn>
                <a:cxn ang="0">
                  <a:pos x="T6" y="T7"/>
                </a:cxn>
                <a:cxn ang="0">
                  <a:pos x="T8" y="T9"/>
                </a:cxn>
              </a:cxnLst>
              <a:rect l="0" t="0" r="r" b="b"/>
              <a:pathLst>
                <a:path w="46" h="26">
                  <a:moveTo>
                    <a:pt x="0" y="0"/>
                  </a:moveTo>
                  <a:lnTo>
                    <a:pt x="8" y="26"/>
                  </a:lnTo>
                  <a:lnTo>
                    <a:pt x="46" y="26"/>
                  </a:lnTo>
                  <a:lnTo>
                    <a:pt x="37" y="0"/>
                  </a:lnTo>
                  <a:lnTo>
                    <a:pt x="0" y="0"/>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82" name="Freeform 30"/>
            <p:cNvSpPr>
              <a:spLocks/>
            </p:cNvSpPr>
            <p:nvPr/>
          </p:nvSpPr>
          <p:spPr bwMode="auto">
            <a:xfrm>
              <a:off x="4984751" y="3781425"/>
              <a:ext cx="76200" cy="44450"/>
            </a:xfrm>
            <a:custGeom>
              <a:avLst/>
              <a:gdLst>
                <a:gd name="T0" fmla="*/ 48 w 48"/>
                <a:gd name="T1" fmla="*/ 28 h 28"/>
                <a:gd name="T2" fmla="*/ 38 w 48"/>
                <a:gd name="T3" fmla="*/ 0 h 28"/>
                <a:gd name="T4" fmla="*/ 0 w 48"/>
                <a:gd name="T5" fmla="*/ 0 h 28"/>
                <a:gd name="T6" fmla="*/ 9 w 48"/>
                <a:gd name="T7" fmla="*/ 28 h 28"/>
                <a:gd name="T8" fmla="*/ 48 w 48"/>
                <a:gd name="T9" fmla="*/ 28 h 28"/>
              </a:gdLst>
              <a:ahLst/>
              <a:cxnLst>
                <a:cxn ang="0">
                  <a:pos x="T0" y="T1"/>
                </a:cxn>
                <a:cxn ang="0">
                  <a:pos x="T2" y="T3"/>
                </a:cxn>
                <a:cxn ang="0">
                  <a:pos x="T4" y="T5"/>
                </a:cxn>
                <a:cxn ang="0">
                  <a:pos x="T6" y="T7"/>
                </a:cxn>
                <a:cxn ang="0">
                  <a:pos x="T8" y="T9"/>
                </a:cxn>
              </a:cxnLst>
              <a:rect l="0" t="0" r="r" b="b"/>
              <a:pathLst>
                <a:path w="48" h="28">
                  <a:moveTo>
                    <a:pt x="48" y="28"/>
                  </a:moveTo>
                  <a:lnTo>
                    <a:pt x="38" y="0"/>
                  </a:lnTo>
                  <a:lnTo>
                    <a:pt x="0" y="0"/>
                  </a:lnTo>
                  <a:lnTo>
                    <a:pt x="9" y="28"/>
                  </a:lnTo>
                  <a:lnTo>
                    <a:pt x="48" y="28"/>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83" name="Freeform 31"/>
            <p:cNvSpPr>
              <a:spLocks/>
            </p:cNvSpPr>
            <p:nvPr/>
          </p:nvSpPr>
          <p:spPr bwMode="auto">
            <a:xfrm>
              <a:off x="4775201" y="3781425"/>
              <a:ext cx="71438" cy="44450"/>
            </a:xfrm>
            <a:custGeom>
              <a:avLst/>
              <a:gdLst>
                <a:gd name="T0" fmla="*/ 0 w 45"/>
                <a:gd name="T1" fmla="*/ 0 h 28"/>
                <a:gd name="T2" fmla="*/ 5 w 45"/>
                <a:gd name="T3" fmla="*/ 28 h 28"/>
                <a:gd name="T4" fmla="*/ 45 w 45"/>
                <a:gd name="T5" fmla="*/ 28 h 28"/>
                <a:gd name="T6" fmla="*/ 38 w 45"/>
                <a:gd name="T7" fmla="*/ 0 h 28"/>
                <a:gd name="T8" fmla="*/ 0 w 45"/>
                <a:gd name="T9" fmla="*/ 0 h 28"/>
              </a:gdLst>
              <a:ahLst/>
              <a:cxnLst>
                <a:cxn ang="0">
                  <a:pos x="T0" y="T1"/>
                </a:cxn>
                <a:cxn ang="0">
                  <a:pos x="T2" y="T3"/>
                </a:cxn>
                <a:cxn ang="0">
                  <a:pos x="T4" y="T5"/>
                </a:cxn>
                <a:cxn ang="0">
                  <a:pos x="T6" y="T7"/>
                </a:cxn>
                <a:cxn ang="0">
                  <a:pos x="T8" y="T9"/>
                </a:cxn>
              </a:cxnLst>
              <a:rect l="0" t="0" r="r" b="b"/>
              <a:pathLst>
                <a:path w="45" h="28">
                  <a:moveTo>
                    <a:pt x="0" y="0"/>
                  </a:moveTo>
                  <a:lnTo>
                    <a:pt x="5" y="28"/>
                  </a:lnTo>
                  <a:lnTo>
                    <a:pt x="45" y="28"/>
                  </a:lnTo>
                  <a:lnTo>
                    <a:pt x="38" y="0"/>
                  </a:lnTo>
                  <a:lnTo>
                    <a:pt x="0" y="0"/>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84" name="Freeform 32"/>
            <p:cNvSpPr>
              <a:spLocks/>
            </p:cNvSpPr>
            <p:nvPr/>
          </p:nvSpPr>
          <p:spPr bwMode="auto">
            <a:xfrm>
              <a:off x="4845051" y="3781425"/>
              <a:ext cx="73025" cy="44450"/>
            </a:xfrm>
            <a:custGeom>
              <a:avLst/>
              <a:gdLst>
                <a:gd name="T0" fmla="*/ 46 w 46"/>
                <a:gd name="T1" fmla="*/ 28 h 28"/>
                <a:gd name="T2" fmla="*/ 39 w 46"/>
                <a:gd name="T3" fmla="*/ 0 h 28"/>
                <a:gd name="T4" fmla="*/ 0 w 46"/>
                <a:gd name="T5" fmla="*/ 0 h 28"/>
                <a:gd name="T6" fmla="*/ 6 w 46"/>
                <a:gd name="T7" fmla="*/ 28 h 28"/>
                <a:gd name="T8" fmla="*/ 46 w 46"/>
                <a:gd name="T9" fmla="*/ 28 h 28"/>
              </a:gdLst>
              <a:ahLst/>
              <a:cxnLst>
                <a:cxn ang="0">
                  <a:pos x="T0" y="T1"/>
                </a:cxn>
                <a:cxn ang="0">
                  <a:pos x="T2" y="T3"/>
                </a:cxn>
                <a:cxn ang="0">
                  <a:pos x="T4" y="T5"/>
                </a:cxn>
                <a:cxn ang="0">
                  <a:pos x="T6" y="T7"/>
                </a:cxn>
                <a:cxn ang="0">
                  <a:pos x="T8" y="T9"/>
                </a:cxn>
              </a:cxnLst>
              <a:rect l="0" t="0" r="r" b="b"/>
              <a:pathLst>
                <a:path w="46" h="28">
                  <a:moveTo>
                    <a:pt x="46" y="28"/>
                  </a:moveTo>
                  <a:lnTo>
                    <a:pt x="39" y="0"/>
                  </a:lnTo>
                  <a:lnTo>
                    <a:pt x="0" y="0"/>
                  </a:lnTo>
                  <a:lnTo>
                    <a:pt x="6" y="28"/>
                  </a:lnTo>
                  <a:lnTo>
                    <a:pt x="46" y="28"/>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85" name="Freeform 33"/>
            <p:cNvSpPr>
              <a:spLocks/>
            </p:cNvSpPr>
            <p:nvPr/>
          </p:nvSpPr>
          <p:spPr bwMode="auto">
            <a:xfrm>
              <a:off x="4705351" y="3781425"/>
              <a:ext cx="68263" cy="44450"/>
            </a:xfrm>
            <a:custGeom>
              <a:avLst/>
              <a:gdLst>
                <a:gd name="T0" fmla="*/ 0 w 43"/>
                <a:gd name="T1" fmla="*/ 0 h 28"/>
                <a:gd name="T2" fmla="*/ 3 w 43"/>
                <a:gd name="T3" fmla="*/ 28 h 28"/>
                <a:gd name="T4" fmla="*/ 43 w 43"/>
                <a:gd name="T5" fmla="*/ 28 h 28"/>
                <a:gd name="T6" fmla="*/ 38 w 43"/>
                <a:gd name="T7" fmla="*/ 0 h 28"/>
                <a:gd name="T8" fmla="*/ 0 w 43"/>
                <a:gd name="T9" fmla="*/ 0 h 28"/>
              </a:gdLst>
              <a:ahLst/>
              <a:cxnLst>
                <a:cxn ang="0">
                  <a:pos x="T0" y="T1"/>
                </a:cxn>
                <a:cxn ang="0">
                  <a:pos x="T2" y="T3"/>
                </a:cxn>
                <a:cxn ang="0">
                  <a:pos x="T4" y="T5"/>
                </a:cxn>
                <a:cxn ang="0">
                  <a:pos x="T6" y="T7"/>
                </a:cxn>
                <a:cxn ang="0">
                  <a:pos x="T8" y="T9"/>
                </a:cxn>
              </a:cxnLst>
              <a:rect l="0" t="0" r="r" b="b"/>
              <a:pathLst>
                <a:path w="43" h="28">
                  <a:moveTo>
                    <a:pt x="0" y="0"/>
                  </a:moveTo>
                  <a:lnTo>
                    <a:pt x="3" y="28"/>
                  </a:lnTo>
                  <a:lnTo>
                    <a:pt x="43" y="28"/>
                  </a:lnTo>
                  <a:lnTo>
                    <a:pt x="38" y="0"/>
                  </a:lnTo>
                  <a:lnTo>
                    <a:pt x="0" y="0"/>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86" name="Freeform 34"/>
            <p:cNvSpPr>
              <a:spLocks/>
            </p:cNvSpPr>
            <p:nvPr/>
          </p:nvSpPr>
          <p:spPr bwMode="auto">
            <a:xfrm>
              <a:off x="4833938" y="3730625"/>
              <a:ext cx="69850" cy="41275"/>
            </a:xfrm>
            <a:custGeom>
              <a:avLst/>
              <a:gdLst>
                <a:gd name="T0" fmla="*/ 6 w 44"/>
                <a:gd name="T1" fmla="*/ 26 h 26"/>
                <a:gd name="T2" fmla="*/ 44 w 44"/>
                <a:gd name="T3" fmla="*/ 26 h 26"/>
                <a:gd name="T4" fmla="*/ 37 w 44"/>
                <a:gd name="T5" fmla="*/ 0 h 26"/>
                <a:gd name="T6" fmla="*/ 0 w 44"/>
                <a:gd name="T7" fmla="*/ 0 h 26"/>
                <a:gd name="T8" fmla="*/ 6 w 44"/>
                <a:gd name="T9" fmla="*/ 26 h 26"/>
              </a:gdLst>
              <a:ahLst/>
              <a:cxnLst>
                <a:cxn ang="0">
                  <a:pos x="T0" y="T1"/>
                </a:cxn>
                <a:cxn ang="0">
                  <a:pos x="T2" y="T3"/>
                </a:cxn>
                <a:cxn ang="0">
                  <a:pos x="T4" y="T5"/>
                </a:cxn>
                <a:cxn ang="0">
                  <a:pos x="T6" y="T7"/>
                </a:cxn>
                <a:cxn ang="0">
                  <a:pos x="T8" y="T9"/>
                </a:cxn>
              </a:cxnLst>
              <a:rect l="0" t="0" r="r" b="b"/>
              <a:pathLst>
                <a:path w="44" h="26">
                  <a:moveTo>
                    <a:pt x="6" y="26"/>
                  </a:moveTo>
                  <a:lnTo>
                    <a:pt x="44" y="26"/>
                  </a:lnTo>
                  <a:lnTo>
                    <a:pt x="37" y="0"/>
                  </a:lnTo>
                  <a:lnTo>
                    <a:pt x="0" y="0"/>
                  </a:lnTo>
                  <a:lnTo>
                    <a:pt x="6" y="26"/>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87" name="Freeform 35"/>
            <p:cNvSpPr>
              <a:spLocks/>
            </p:cNvSpPr>
            <p:nvPr/>
          </p:nvSpPr>
          <p:spPr bwMode="auto">
            <a:xfrm>
              <a:off x="4699001" y="3730625"/>
              <a:ext cx="65088" cy="41275"/>
            </a:xfrm>
            <a:custGeom>
              <a:avLst/>
              <a:gdLst>
                <a:gd name="T0" fmla="*/ 3 w 41"/>
                <a:gd name="T1" fmla="*/ 26 h 26"/>
                <a:gd name="T2" fmla="*/ 41 w 41"/>
                <a:gd name="T3" fmla="*/ 26 h 26"/>
                <a:gd name="T4" fmla="*/ 37 w 41"/>
                <a:gd name="T5" fmla="*/ 0 h 26"/>
                <a:gd name="T6" fmla="*/ 0 w 41"/>
                <a:gd name="T7" fmla="*/ 0 h 26"/>
                <a:gd name="T8" fmla="*/ 3 w 41"/>
                <a:gd name="T9" fmla="*/ 26 h 26"/>
              </a:gdLst>
              <a:ahLst/>
              <a:cxnLst>
                <a:cxn ang="0">
                  <a:pos x="T0" y="T1"/>
                </a:cxn>
                <a:cxn ang="0">
                  <a:pos x="T2" y="T3"/>
                </a:cxn>
                <a:cxn ang="0">
                  <a:pos x="T4" y="T5"/>
                </a:cxn>
                <a:cxn ang="0">
                  <a:pos x="T6" y="T7"/>
                </a:cxn>
                <a:cxn ang="0">
                  <a:pos x="T8" y="T9"/>
                </a:cxn>
              </a:cxnLst>
              <a:rect l="0" t="0" r="r" b="b"/>
              <a:pathLst>
                <a:path w="41" h="26">
                  <a:moveTo>
                    <a:pt x="3" y="26"/>
                  </a:moveTo>
                  <a:lnTo>
                    <a:pt x="41" y="26"/>
                  </a:lnTo>
                  <a:lnTo>
                    <a:pt x="37" y="0"/>
                  </a:lnTo>
                  <a:lnTo>
                    <a:pt x="0" y="0"/>
                  </a:lnTo>
                  <a:lnTo>
                    <a:pt x="3" y="26"/>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88" name="Freeform 36"/>
            <p:cNvSpPr>
              <a:spLocks/>
            </p:cNvSpPr>
            <p:nvPr/>
          </p:nvSpPr>
          <p:spPr bwMode="auto">
            <a:xfrm>
              <a:off x="4629151" y="3730625"/>
              <a:ext cx="66675" cy="41275"/>
            </a:xfrm>
            <a:custGeom>
              <a:avLst/>
              <a:gdLst>
                <a:gd name="T0" fmla="*/ 3 w 42"/>
                <a:gd name="T1" fmla="*/ 26 h 26"/>
                <a:gd name="T2" fmla="*/ 42 w 42"/>
                <a:gd name="T3" fmla="*/ 26 h 26"/>
                <a:gd name="T4" fmla="*/ 38 w 42"/>
                <a:gd name="T5" fmla="*/ 0 h 26"/>
                <a:gd name="T6" fmla="*/ 0 w 42"/>
                <a:gd name="T7" fmla="*/ 0 h 26"/>
                <a:gd name="T8" fmla="*/ 3 w 42"/>
                <a:gd name="T9" fmla="*/ 26 h 26"/>
              </a:gdLst>
              <a:ahLst/>
              <a:cxnLst>
                <a:cxn ang="0">
                  <a:pos x="T0" y="T1"/>
                </a:cxn>
                <a:cxn ang="0">
                  <a:pos x="T2" y="T3"/>
                </a:cxn>
                <a:cxn ang="0">
                  <a:pos x="T4" y="T5"/>
                </a:cxn>
                <a:cxn ang="0">
                  <a:pos x="T6" y="T7"/>
                </a:cxn>
                <a:cxn ang="0">
                  <a:pos x="T8" y="T9"/>
                </a:cxn>
              </a:cxnLst>
              <a:rect l="0" t="0" r="r" b="b"/>
              <a:pathLst>
                <a:path w="42" h="26">
                  <a:moveTo>
                    <a:pt x="3" y="26"/>
                  </a:moveTo>
                  <a:lnTo>
                    <a:pt x="42" y="26"/>
                  </a:lnTo>
                  <a:lnTo>
                    <a:pt x="38" y="0"/>
                  </a:lnTo>
                  <a:lnTo>
                    <a:pt x="0" y="0"/>
                  </a:lnTo>
                  <a:lnTo>
                    <a:pt x="3" y="26"/>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89" name="Freeform 37"/>
            <p:cNvSpPr>
              <a:spLocks/>
            </p:cNvSpPr>
            <p:nvPr/>
          </p:nvSpPr>
          <p:spPr bwMode="auto">
            <a:xfrm>
              <a:off x="4635501" y="3781425"/>
              <a:ext cx="66675" cy="44450"/>
            </a:xfrm>
            <a:custGeom>
              <a:avLst/>
              <a:gdLst>
                <a:gd name="T0" fmla="*/ 2 w 42"/>
                <a:gd name="T1" fmla="*/ 28 h 28"/>
                <a:gd name="T2" fmla="*/ 42 w 42"/>
                <a:gd name="T3" fmla="*/ 28 h 28"/>
                <a:gd name="T4" fmla="*/ 38 w 42"/>
                <a:gd name="T5" fmla="*/ 0 h 28"/>
                <a:gd name="T6" fmla="*/ 0 w 42"/>
                <a:gd name="T7" fmla="*/ 0 h 28"/>
                <a:gd name="T8" fmla="*/ 2 w 42"/>
                <a:gd name="T9" fmla="*/ 28 h 28"/>
              </a:gdLst>
              <a:ahLst/>
              <a:cxnLst>
                <a:cxn ang="0">
                  <a:pos x="T0" y="T1"/>
                </a:cxn>
                <a:cxn ang="0">
                  <a:pos x="T2" y="T3"/>
                </a:cxn>
                <a:cxn ang="0">
                  <a:pos x="T4" y="T5"/>
                </a:cxn>
                <a:cxn ang="0">
                  <a:pos x="T6" y="T7"/>
                </a:cxn>
                <a:cxn ang="0">
                  <a:pos x="T8" y="T9"/>
                </a:cxn>
              </a:cxnLst>
              <a:rect l="0" t="0" r="r" b="b"/>
              <a:pathLst>
                <a:path w="42" h="28">
                  <a:moveTo>
                    <a:pt x="2" y="28"/>
                  </a:moveTo>
                  <a:lnTo>
                    <a:pt x="42" y="28"/>
                  </a:lnTo>
                  <a:lnTo>
                    <a:pt x="38" y="0"/>
                  </a:lnTo>
                  <a:lnTo>
                    <a:pt x="0" y="0"/>
                  </a:lnTo>
                  <a:lnTo>
                    <a:pt x="2" y="28"/>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90" name="Freeform 38"/>
            <p:cNvSpPr>
              <a:spLocks/>
            </p:cNvSpPr>
            <p:nvPr/>
          </p:nvSpPr>
          <p:spPr bwMode="auto">
            <a:xfrm>
              <a:off x="4564063" y="3781425"/>
              <a:ext cx="65088" cy="44450"/>
            </a:xfrm>
            <a:custGeom>
              <a:avLst/>
              <a:gdLst>
                <a:gd name="T0" fmla="*/ 2 w 41"/>
                <a:gd name="T1" fmla="*/ 28 h 28"/>
                <a:gd name="T2" fmla="*/ 41 w 41"/>
                <a:gd name="T3" fmla="*/ 28 h 28"/>
                <a:gd name="T4" fmla="*/ 39 w 41"/>
                <a:gd name="T5" fmla="*/ 0 h 28"/>
                <a:gd name="T6" fmla="*/ 0 w 41"/>
                <a:gd name="T7" fmla="*/ 0 h 28"/>
                <a:gd name="T8" fmla="*/ 2 w 41"/>
                <a:gd name="T9" fmla="*/ 28 h 28"/>
              </a:gdLst>
              <a:ahLst/>
              <a:cxnLst>
                <a:cxn ang="0">
                  <a:pos x="T0" y="T1"/>
                </a:cxn>
                <a:cxn ang="0">
                  <a:pos x="T2" y="T3"/>
                </a:cxn>
                <a:cxn ang="0">
                  <a:pos x="T4" y="T5"/>
                </a:cxn>
                <a:cxn ang="0">
                  <a:pos x="T6" y="T7"/>
                </a:cxn>
                <a:cxn ang="0">
                  <a:pos x="T8" y="T9"/>
                </a:cxn>
              </a:cxnLst>
              <a:rect l="0" t="0" r="r" b="b"/>
              <a:pathLst>
                <a:path w="41" h="28">
                  <a:moveTo>
                    <a:pt x="2" y="28"/>
                  </a:moveTo>
                  <a:lnTo>
                    <a:pt x="41" y="28"/>
                  </a:lnTo>
                  <a:lnTo>
                    <a:pt x="39" y="0"/>
                  </a:lnTo>
                  <a:lnTo>
                    <a:pt x="0" y="0"/>
                  </a:lnTo>
                  <a:lnTo>
                    <a:pt x="2" y="28"/>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91" name="Freeform 39"/>
            <p:cNvSpPr>
              <a:spLocks/>
            </p:cNvSpPr>
            <p:nvPr/>
          </p:nvSpPr>
          <p:spPr bwMode="auto">
            <a:xfrm>
              <a:off x="4765676" y="3730625"/>
              <a:ext cx="68263" cy="41275"/>
            </a:xfrm>
            <a:custGeom>
              <a:avLst/>
              <a:gdLst>
                <a:gd name="T0" fmla="*/ 5 w 43"/>
                <a:gd name="T1" fmla="*/ 26 h 26"/>
                <a:gd name="T2" fmla="*/ 43 w 43"/>
                <a:gd name="T3" fmla="*/ 26 h 26"/>
                <a:gd name="T4" fmla="*/ 37 w 43"/>
                <a:gd name="T5" fmla="*/ 0 h 26"/>
                <a:gd name="T6" fmla="*/ 0 w 43"/>
                <a:gd name="T7" fmla="*/ 0 h 26"/>
                <a:gd name="T8" fmla="*/ 5 w 43"/>
                <a:gd name="T9" fmla="*/ 26 h 26"/>
              </a:gdLst>
              <a:ahLst/>
              <a:cxnLst>
                <a:cxn ang="0">
                  <a:pos x="T0" y="T1"/>
                </a:cxn>
                <a:cxn ang="0">
                  <a:pos x="T2" y="T3"/>
                </a:cxn>
                <a:cxn ang="0">
                  <a:pos x="T4" y="T5"/>
                </a:cxn>
                <a:cxn ang="0">
                  <a:pos x="T6" y="T7"/>
                </a:cxn>
                <a:cxn ang="0">
                  <a:pos x="T8" y="T9"/>
                </a:cxn>
              </a:cxnLst>
              <a:rect l="0" t="0" r="r" b="b"/>
              <a:pathLst>
                <a:path w="43" h="26">
                  <a:moveTo>
                    <a:pt x="5" y="26"/>
                  </a:moveTo>
                  <a:lnTo>
                    <a:pt x="43" y="26"/>
                  </a:lnTo>
                  <a:lnTo>
                    <a:pt x="37" y="0"/>
                  </a:lnTo>
                  <a:lnTo>
                    <a:pt x="0" y="0"/>
                  </a:lnTo>
                  <a:lnTo>
                    <a:pt x="5" y="26"/>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92" name="Freeform 40"/>
            <p:cNvSpPr>
              <a:spLocks/>
            </p:cNvSpPr>
            <p:nvPr/>
          </p:nvSpPr>
          <p:spPr bwMode="auto">
            <a:xfrm>
              <a:off x="5037138" y="3730625"/>
              <a:ext cx="76200" cy="41275"/>
            </a:xfrm>
            <a:custGeom>
              <a:avLst/>
              <a:gdLst>
                <a:gd name="T0" fmla="*/ 9 w 48"/>
                <a:gd name="T1" fmla="*/ 26 h 26"/>
                <a:gd name="T2" fmla="*/ 48 w 48"/>
                <a:gd name="T3" fmla="*/ 26 h 26"/>
                <a:gd name="T4" fmla="*/ 38 w 48"/>
                <a:gd name="T5" fmla="*/ 0 h 26"/>
                <a:gd name="T6" fmla="*/ 0 w 48"/>
                <a:gd name="T7" fmla="*/ 0 h 26"/>
                <a:gd name="T8" fmla="*/ 9 w 48"/>
                <a:gd name="T9" fmla="*/ 26 h 26"/>
              </a:gdLst>
              <a:ahLst/>
              <a:cxnLst>
                <a:cxn ang="0">
                  <a:pos x="T0" y="T1"/>
                </a:cxn>
                <a:cxn ang="0">
                  <a:pos x="T2" y="T3"/>
                </a:cxn>
                <a:cxn ang="0">
                  <a:pos x="T4" y="T5"/>
                </a:cxn>
                <a:cxn ang="0">
                  <a:pos x="T6" y="T7"/>
                </a:cxn>
                <a:cxn ang="0">
                  <a:pos x="T8" y="T9"/>
                </a:cxn>
              </a:cxnLst>
              <a:rect l="0" t="0" r="r" b="b"/>
              <a:pathLst>
                <a:path w="48" h="26">
                  <a:moveTo>
                    <a:pt x="9" y="26"/>
                  </a:moveTo>
                  <a:lnTo>
                    <a:pt x="48" y="26"/>
                  </a:lnTo>
                  <a:lnTo>
                    <a:pt x="38" y="0"/>
                  </a:lnTo>
                  <a:lnTo>
                    <a:pt x="0" y="0"/>
                  </a:lnTo>
                  <a:lnTo>
                    <a:pt x="9" y="26"/>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93" name="Freeform 41"/>
            <p:cNvSpPr>
              <a:spLocks/>
            </p:cNvSpPr>
            <p:nvPr/>
          </p:nvSpPr>
          <p:spPr bwMode="auto">
            <a:xfrm>
              <a:off x="4349751" y="3835400"/>
              <a:ext cx="136525" cy="46038"/>
            </a:xfrm>
            <a:custGeom>
              <a:avLst/>
              <a:gdLst>
                <a:gd name="T0" fmla="*/ 86 w 86"/>
                <a:gd name="T1" fmla="*/ 0 h 29"/>
                <a:gd name="T2" fmla="*/ 1 w 86"/>
                <a:gd name="T3" fmla="*/ 0 h 29"/>
                <a:gd name="T4" fmla="*/ 0 w 86"/>
                <a:gd name="T5" fmla="*/ 29 h 29"/>
                <a:gd name="T6" fmla="*/ 86 w 86"/>
                <a:gd name="T7" fmla="*/ 29 h 29"/>
                <a:gd name="T8" fmla="*/ 86 w 86"/>
                <a:gd name="T9" fmla="*/ 0 h 29"/>
              </a:gdLst>
              <a:ahLst/>
              <a:cxnLst>
                <a:cxn ang="0">
                  <a:pos x="T0" y="T1"/>
                </a:cxn>
                <a:cxn ang="0">
                  <a:pos x="T2" y="T3"/>
                </a:cxn>
                <a:cxn ang="0">
                  <a:pos x="T4" y="T5"/>
                </a:cxn>
                <a:cxn ang="0">
                  <a:pos x="T6" y="T7"/>
                </a:cxn>
                <a:cxn ang="0">
                  <a:pos x="T8" y="T9"/>
                </a:cxn>
              </a:cxnLst>
              <a:rect l="0" t="0" r="r" b="b"/>
              <a:pathLst>
                <a:path w="86" h="29">
                  <a:moveTo>
                    <a:pt x="86" y="0"/>
                  </a:moveTo>
                  <a:lnTo>
                    <a:pt x="1" y="0"/>
                  </a:lnTo>
                  <a:lnTo>
                    <a:pt x="0" y="29"/>
                  </a:lnTo>
                  <a:lnTo>
                    <a:pt x="86" y="29"/>
                  </a:lnTo>
                  <a:lnTo>
                    <a:pt x="86" y="0"/>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94" name="Freeform 42"/>
            <p:cNvSpPr>
              <a:spLocks/>
            </p:cNvSpPr>
            <p:nvPr/>
          </p:nvSpPr>
          <p:spPr bwMode="auto">
            <a:xfrm>
              <a:off x="4638676" y="3835400"/>
              <a:ext cx="69850" cy="46038"/>
            </a:xfrm>
            <a:custGeom>
              <a:avLst/>
              <a:gdLst>
                <a:gd name="T0" fmla="*/ 40 w 44"/>
                <a:gd name="T1" fmla="*/ 0 h 29"/>
                <a:gd name="T2" fmla="*/ 0 w 44"/>
                <a:gd name="T3" fmla="*/ 0 h 29"/>
                <a:gd name="T4" fmla="*/ 3 w 44"/>
                <a:gd name="T5" fmla="*/ 29 h 29"/>
                <a:gd name="T6" fmla="*/ 44 w 44"/>
                <a:gd name="T7" fmla="*/ 29 h 29"/>
                <a:gd name="T8" fmla="*/ 40 w 44"/>
                <a:gd name="T9" fmla="*/ 0 h 29"/>
              </a:gdLst>
              <a:ahLst/>
              <a:cxnLst>
                <a:cxn ang="0">
                  <a:pos x="T0" y="T1"/>
                </a:cxn>
                <a:cxn ang="0">
                  <a:pos x="T2" y="T3"/>
                </a:cxn>
                <a:cxn ang="0">
                  <a:pos x="T4" y="T5"/>
                </a:cxn>
                <a:cxn ang="0">
                  <a:pos x="T6" y="T7"/>
                </a:cxn>
                <a:cxn ang="0">
                  <a:pos x="T8" y="T9"/>
                </a:cxn>
              </a:cxnLst>
              <a:rect l="0" t="0" r="r" b="b"/>
              <a:pathLst>
                <a:path w="44" h="29">
                  <a:moveTo>
                    <a:pt x="40" y="0"/>
                  </a:moveTo>
                  <a:lnTo>
                    <a:pt x="0" y="0"/>
                  </a:lnTo>
                  <a:lnTo>
                    <a:pt x="3" y="29"/>
                  </a:lnTo>
                  <a:lnTo>
                    <a:pt x="44" y="29"/>
                  </a:lnTo>
                  <a:lnTo>
                    <a:pt x="40" y="0"/>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95" name="Freeform 43"/>
            <p:cNvSpPr>
              <a:spLocks/>
            </p:cNvSpPr>
            <p:nvPr/>
          </p:nvSpPr>
          <p:spPr bwMode="auto">
            <a:xfrm>
              <a:off x="4784726" y="3835400"/>
              <a:ext cx="73025" cy="46038"/>
            </a:xfrm>
            <a:custGeom>
              <a:avLst/>
              <a:gdLst>
                <a:gd name="T0" fmla="*/ 39 w 46"/>
                <a:gd name="T1" fmla="*/ 0 h 29"/>
                <a:gd name="T2" fmla="*/ 0 w 46"/>
                <a:gd name="T3" fmla="*/ 0 h 29"/>
                <a:gd name="T4" fmla="*/ 5 w 46"/>
                <a:gd name="T5" fmla="*/ 29 h 29"/>
                <a:gd name="T6" fmla="*/ 46 w 46"/>
                <a:gd name="T7" fmla="*/ 29 h 29"/>
                <a:gd name="T8" fmla="*/ 39 w 46"/>
                <a:gd name="T9" fmla="*/ 0 h 29"/>
              </a:gdLst>
              <a:ahLst/>
              <a:cxnLst>
                <a:cxn ang="0">
                  <a:pos x="T0" y="T1"/>
                </a:cxn>
                <a:cxn ang="0">
                  <a:pos x="T2" y="T3"/>
                </a:cxn>
                <a:cxn ang="0">
                  <a:pos x="T4" y="T5"/>
                </a:cxn>
                <a:cxn ang="0">
                  <a:pos x="T6" y="T7"/>
                </a:cxn>
                <a:cxn ang="0">
                  <a:pos x="T8" y="T9"/>
                </a:cxn>
              </a:cxnLst>
              <a:rect l="0" t="0" r="r" b="b"/>
              <a:pathLst>
                <a:path w="46" h="29">
                  <a:moveTo>
                    <a:pt x="39" y="0"/>
                  </a:moveTo>
                  <a:lnTo>
                    <a:pt x="0" y="0"/>
                  </a:lnTo>
                  <a:lnTo>
                    <a:pt x="5" y="29"/>
                  </a:lnTo>
                  <a:lnTo>
                    <a:pt x="46" y="29"/>
                  </a:lnTo>
                  <a:lnTo>
                    <a:pt x="39" y="0"/>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96" name="Freeform 44"/>
            <p:cNvSpPr>
              <a:spLocks/>
            </p:cNvSpPr>
            <p:nvPr/>
          </p:nvSpPr>
          <p:spPr bwMode="auto">
            <a:xfrm>
              <a:off x="4494213" y="3835400"/>
              <a:ext cx="66675" cy="46038"/>
            </a:xfrm>
            <a:custGeom>
              <a:avLst/>
              <a:gdLst>
                <a:gd name="T0" fmla="*/ 40 w 42"/>
                <a:gd name="T1" fmla="*/ 0 h 29"/>
                <a:gd name="T2" fmla="*/ 0 w 42"/>
                <a:gd name="T3" fmla="*/ 0 h 29"/>
                <a:gd name="T4" fmla="*/ 0 w 42"/>
                <a:gd name="T5" fmla="*/ 29 h 29"/>
                <a:gd name="T6" fmla="*/ 42 w 42"/>
                <a:gd name="T7" fmla="*/ 29 h 29"/>
                <a:gd name="T8" fmla="*/ 40 w 42"/>
                <a:gd name="T9" fmla="*/ 0 h 29"/>
              </a:gdLst>
              <a:ahLst/>
              <a:cxnLst>
                <a:cxn ang="0">
                  <a:pos x="T0" y="T1"/>
                </a:cxn>
                <a:cxn ang="0">
                  <a:pos x="T2" y="T3"/>
                </a:cxn>
                <a:cxn ang="0">
                  <a:pos x="T4" y="T5"/>
                </a:cxn>
                <a:cxn ang="0">
                  <a:pos x="T6" y="T7"/>
                </a:cxn>
                <a:cxn ang="0">
                  <a:pos x="T8" y="T9"/>
                </a:cxn>
              </a:cxnLst>
              <a:rect l="0" t="0" r="r" b="b"/>
              <a:pathLst>
                <a:path w="42" h="29">
                  <a:moveTo>
                    <a:pt x="40" y="0"/>
                  </a:moveTo>
                  <a:lnTo>
                    <a:pt x="0" y="0"/>
                  </a:lnTo>
                  <a:lnTo>
                    <a:pt x="0" y="29"/>
                  </a:lnTo>
                  <a:lnTo>
                    <a:pt x="42" y="29"/>
                  </a:lnTo>
                  <a:lnTo>
                    <a:pt x="40" y="0"/>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97" name="Freeform 45"/>
            <p:cNvSpPr>
              <a:spLocks/>
            </p:cNvSpPr>
            <p:nvPr/>
          </p:nvSpPr>
          <p:spPr bwMode="auto">
            <a:xfrm>
              <a:off x="4567238" y="3835400"/>
              <a:ext cx="68263" cy="46038"/>
            </a:xfrm>
            <a:custGeom>
              <a:avLst/>
              <a:gdLst>
                <a:gd name="T0" fmla="*/ 40 w 43"/>
                <a:gd name="T1" fmla="*/ 0 h 29"/>
                <a:gd name="T2" fmla="*/ 0 w 43"/>
                <a:gd name="T3" fmla="*/ 0 h 29"/>
                <a:gd name="T4" fmla="*/ 1 w 43"/>
                <a:gd name="T5" fmla="*/ 29 h 29"/>
                <a:gd name="T6" fmla="*/ 43 w 43"/>
                <a:gd name="T7" fmla="*/ 29 h 29"/>
                <a:gd name="T8" fmla="*/ 40 w 43"/>
                <a:gd name="T9" fmla="*/ 0 h 29"/>
              </a:gdLst>
              <a:ahLst/>
              <a:cxnLst>
                <a:cxn ang="0">
                  <a:pos x="T0" y="T1"/>
                </a:cxn>
                <a:cxn ang="0">
                  <a:pos x="T2" y="T3"/>
                </a:cxn>
                <a:cxn ang="0">
                  <a:pos x="T4" y="T5"/>
                </a:cxn>
                <a:cxn ang="0">
                  <a:pos x="T6" y="T7"/>
                </a:cxn>
                <a:cxn ang="0">
                  <a:pos x="T8" y="T9"/>
                </a:cxn>
              </a:cxnLst>
              <a:rect l="0" t="0" r="r" b="b"/>
              <a:pathLst>
                <a:path w="43" h="29">
                  <a:moveTo>
                    <a:pt x="40" y="0"/>
                  </a:moveTo>
                  <a:lnTo>
                    <a:pt x="0" y="0"/>
                  </a:lnTo>
                  <a:lnTo>
                    <a:pt x="1" y="29"/>
                  </a:lnTo>
                  <a:lnTo>
                    <a:pt x="43" y="29"/>
                  </a:lnTo>
                  <a:lnTo>
                    <a:pt x="40" y="0"/>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98" name="Freeform 46"/>
            <p:cNvSpPr>
              <a:spLocks/>
            </p:cNvSpPr>
            <p:nvPr/>
          </p:nvSpPr>
          <p:spPr bwMode="auto">
            <a:xfrm>
              <a:off x="4856163" y="3835400"/>
              <a:ext cx="76200" cy="46038"/>
            </a:xfrm>
            <a:custGeom>
              <a:avLst/>
              <a:gdLst>
                <a:gd name="T0" fmla="*/ 40 w 48"/>
                <a:gd name="T1" fmla="*/ 0 h 29"/>
                <a:gd name="T2" fmla="*/ 0 w 48"/>
                <a:gd name="T3" fmla="*/ 0 h 29"/>
                <a:gd name="T4" fmla="*/ 7 w 48"/>
                <a:gd name="T5" fmla="*/ 29 h 29"/>
                <a:gd name="T6" fmla="*/ 48 w 48"/>
                <a:gd name="T7" fmla="*/ 29 h 29"/>
                <a:gd name="T8" fmla="*/ 40 w 48"/>
                <a:gd name="T9" fmla="*/ 0 h 29"/>
              </a:gdLst>
              <a:ahLst/>
              <a:cxnLst>
                <a:cxn ang="0">
                  <a:pos x="T0" y="T1"/>
                </a:cxn>
                <a:cxn ang="0">
                  <a:pos x="T2" y="T3"/>
                </a:cxn>
                <a:cxn ang="0">
                  <a:pos x="T4" y="T5"/>
                </a:cxn>
                <a:cxn ang="0">
                  <a:pos x="T6" y="T7"/>
                </a:cxn>
                <a:cxn ang="0">
                  <a:pos x="T8" y="T9"/>
                </a:cxn>
              </a:cxnLst>
              <a:rect l="0" t="0" r="r" b="b"/>
              <a:pathLst>
                <a:path w="48" h="29">
                  <a:moveTo>
                    <a:pt x="40" y="0"/>
                  </a:moveTo>
                  <a:lnTo>
                    <a:pt x="0" y="0"/>
                  </a:lnTo>
                  <a:lnTo>
                    <a:pt x="7" y="29"/>
                  </a:lnTo>
                  <a:lnTo>
                    <a:pt x="48" y="29"/>
                  </a:lnTo>
                  <a:lnTo>
                    <a:pt x="40" y="0"/>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99" name="Freeform 47"/>
            <p:cNvSpPr>
              <a:spLocks/>
            </p:cNvSpPr>
            <p:nvPr/>
          </p:nvSpPr>
          <p:spPr bwMode="auto">
            <a:xfrm>
              <a:off x="4711701" y="3835400"/>
              <a:ext cx="71438" cy="46038"/>
            </a:xfrm>
            <a:custGeom>
              <a:avLst/>
              <a:gdLst>
                <a:gd name="T0" fmla="*/ 40 w 45"/>
                <a:gd name="T1" fmla="*/ 0 h 29"/>
                <a:gd name="T2" fmla="*/ 0 w 45"/>
                <a:gd name="T3" fmla="*/ 0 h 29"/>
                <a:gd name="T4" fmla="*/ 4 w 45"/>
                <a:gd name="T5" fmla="*/ 29 h 29"/>
                <a:gd name="T6" fmla="*/ 45 w 45"/>
                <a:gd name="T7" fmla="*/ 29 h 29"/>
                <a:gd name="T8" fmla="*/ 40 w 45"/>
                <a:gd name="T9" fmla="*/ 0 h 29"/>
              </a:gdLst>
              <a:ahLst/>
              <a:cxnLst>
                <a:cxn ang="0">
                  <a:pos x="T0" y="T1"/>
                </a:cxn>
                <a:cxn ang="0">
                  <a:pos x="T2" y="T3"/>
                </a:cxn>
                <a:cxn ang="0">
                  <a:pos x="T4" y="T5"/>
                </a:cxn>
                <a:cxn ang="0">
                  <a:pos x="T6" y="T7"/>
                </a:cxn>
                <a:cxn ang="0">
                  <a:pos x="T8" y="T9"/>
                </a:cxn>
              </a:cxnLst>
              <a:rect l="0" t="0" r="r" b="b"/>
              <a:pathLst>
                <a:path w="45" h="29">
                  <a:moveTo>
                    <a:pt x="40" y="0"/>
                  </a:moveTo>
                  <a:lnTo>
                    <a:pt x="0" y="0"/>
                  </a:lnTo>
                  <a:lnTo>
                    <a:pt x="4" y="29"/>
                  </a:lnTo>
                  <a:lnTo>
                    <a:pt x="45" y="29"/>
                  </a:lnTo>
                  <a:lnTo>
                    <a:pt x="40" y="0"/>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00" name="Freeform 48"/>
            <p:cNvSpPr>
              <a:spLocks/>
            </p:cNvSpPr>
            <p:nvPr/>
          </p:nvSpPr>
          <p:spPr bwMode="auto">
            <a:xfrm>
              <a:off x="3741738" y="3835400"/>
              <a:ext cx="93663" cy="46038"/>
            </a:xfrm>
            <a:custGeom>
              <a:avLst/>
              <a:gdLst>
                <a:gd name="T0" fmla="*/ 59 w 59"/>
                <a:gd name="T1" fmla="*/ 0 h 29"/>
                <a:gd name="T2" fmla="*/ 12 w 59"/>
                <a:gd name="T3" fmla="*/ 0 h 29"/>
                <a:gd name="T4" fmla="*/ 0 w 59"/>
                <a:gd name="T5" fmla="*/ 29 h 29"/>
                <a:gd name="T6" fmla="*/ 49 w 59"/>
                <a:gd name="T7" fmla="*/ 29 h 29"/>
                <a:gd name="T8" fmla="*/ 59 w 59"/>
                <a:gd name="T9" fmla="*/ 0 h 29"/>
              </a:gdLst>
              <a:ahLst/>
              <a:cxnLst>
                <a:cxn ang="0">
                  <a:pos x="T0" y="T1"/>
                </a:cxn>
                <a:cxn ang="0">
                  <a:pos x="T2" y="T3"/>
                </a:cxn>
                <a:cxn ang="0">
                  <a:pos x="T4" y="T5"/>
                </a:cxn>
                <a:cxn ang="0">
                  <a:pos x="T6" y="T7"/>
                </a:cxn>
                <a:cxn ang="0">
                  <a:pos x="T8" y="T9"/>
                </a:cxn>
              </a:cxnLst>
              <a:rect l="0" t="0" r="r" b="b"/>
              <a:pathLst>
                <a:path w="59" h="29">
                  <a:moveTo>
                    <a:pt x="59" y="0"/>
                  </a:moveTo>
                  <a:lnTo>
                    <a:pt x="12" y="0"/>
                  </a:lnTo>
                  <a:lnTo>
                    <a:pt x="0" y="29"/>
                  </a:lnTo>
                  <a:lnTo>
                    <a:pt x="49" y="29"/>
                  </a:lnTo>
                  <a:lnTo>
                    <a:pt x="59" y="0"/>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01" name="Freeform 49"/>
            <p:cNvSpPr>
              <a:spLocks/>
            </p:cNvSpPr>
            <p:nvPr/>
          </p:nvSpPr>
          <p:spPr bwMode="auto">
            <a:xfrm>
              <a:off x="4929188" y="3835400"/>
              <a:ext cx="77788" cy="46038"/>
            </a:xfrm>
            <a:custGeom>
              <a:avLst/>
              <a:gdLst>
                <a:gd name="T0" fmla="*/ 40 w 49"/>
                <a:gd name="T1" fmla="*/ 0 h 29"/>
                <a:gd name="T2" fmla="*/ 0 w 49"/>
                <a:gd name="T3" fmla="*/ 0 h 29"/>
                <a:gd name="T4" fmla="*/ 8 w 49"/>
                <a:gd name="T5" fmla="*/ 29 h 29"/>
                <a:gd name="T6" fmla="*/ 49 w 49"/>
                <a:gd name="T7" fmla="*/ 29 h 29"/>
                <a:gd name="T8" fmla="*/ 40 w 49"/>
                <a:gd name="T9" fmla="*/ 0 h 29"/>
              </a:gdLst>
              <a:ahLst/>
              <a:cxnLst>
                <a:cxn ang="0">
                  <a:pos x="T0" y="T1"/>
                </a:cxn>
                <a:cxn ang="0">
                  <a:pos x="T2" y="T3"/>
                </a:cxn>
                <a:cxn ang="0">
                  <a:pos x="T4" y="T5"/>
                </a:cxn>
                <a:cxn ang="0">
                  <a:pos x="T6" y="T7"/>
                </a:cxn>
                <a:cxn ang="0">
                  <a:pos x="T8" y="T9"/>
                </a:cxn>
              </a:cxnLst>
              <a:rect l="0" t="0" r="r" b="b"/>
              <a:pathLst>
                <a:path w="49" h="29">
                  <a:moveTo>
                    <a:pt x="40" y="0"/>
                  </a:moveTo>
                  <a:lnTo>
                    <a:pt x="0" y="0"/>
                  </a:lnTo>
                  <a:lnTo>
                    <a:pt x="8" y="29"/>
                  </a:lnTo>
                  <a:lnTo>
                    <a:pt x="49" y="29"/>
                  </a:lnTo>
                  <a:lnTo>
                    <a:pt x="40" y="0"/>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02" name="Freeform 50"/>
            <p:cNvSpPr>
              <a:spLocks/>
            </p:cNvSpPr>
            <p:nvPr/>
          </p:nvSpPr>
          <p:spPr bwMode="auto">
            <a:xfrm>
              <a:off x="5073651" y="3835400"/>
              <a:ext cx="82550" cy="46038"/>
            </a:xfrm>
            <a:custGeom>
              <a:avLst/>
              <a:gdLst>
                <a:gd name="T0" fmla="*/ 0 w 52"/>
                <a:gd name="T1" fmla="*/ 0 h 29"/>
                <a:gd name="T2" fmla="*/ 11 w 52"/>
                <a:gd name="T3" fmla="*/ 29 h 29"/>
                <a:gd name="T4" fmla="*/ 52 w 52"/>
                <a:gd name="T5" fmla="*/ 29 h 29"/>
                <a:gd name="T6" fmla="*/ 41 w 52"/>
                <a:gd name="T7" fmla="*/ 0 h 29"/>
                <a:gd name="T8" fmla="*/ 0 w 52"/>
                <a:gd name="T9" fmla="*/ 0 h 29"/>
              </a:gdLst>
              <a:ahLst/>
              <a:cxnLst>
                <a:cxn ang="0">
                  <a:pos x="T0" y="T1"/>
                </a:cxn>
                <a:cxn ang="0">
                  <a:pos x="T2" y="T3"/>
                </a:cxn>
                <a:cxn ang="0">
                  <a:pos x="T4" y="T5"/>
                </a:cxn>
                <a:cxn ang="0">
                  <a:pos x="T6" y="T7"/>
                </a:cxn>
                <a:cxn ang="0">
                  <a:pos x="T8" y="T9"/>
                </a:cxn>
              </a:cxnLst>
              <a:rect l="0" t="0" r="r" b="b"/>
              <a:pathLst>
                <a:path w="52" h="29">
                  <a:moveTo>
                    <a:pt x="0" y="0"/>
                  </a:moveTo>
                  <a:lnTo>
                    <a:pt x="11" y="29"/>
                  </a:lnTo>
                  <a:lnTo>
                    <a:pt x="52" y="29"/>
                  </a:lnTo>
                  <a:lnTo>
                    <a:pt x="41" y="0"/>
                  </a:lnTo>
                  <a:lnTo>
                    <a:pt x="0" y="0"/>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03" name="Freeform 51"/>
            <p:cNvSpPr>
              <a:spLocks/>
            </p:cNvSpPr>
            <p:nvPr/>
          </p:nvSpPr>
          <p:spPr bwMode="auto">
            <a:xfrm>
              <a:off x="3795713" y="3730625"/>
              <a:ext cx="76200" cy="41275"/>
            </a:xfrm>
            <a:custGeom>
              <a:avLst/>
              <a:gdLst>
                <a:gd name="T0" fmla="*/ 39 w 48"/>
                <a:gd name="T1" fmla="*/ 26 h 26"/>
                <a:gd name="T2" fmla="*/ 48 w 48"/>
                <a:gd name="T3" fmla="*/ 0 h 26"/>
                <a:gd name="T4" fmla="*/ 10 w 48"/>
                <a:gd name="T5" fmla="*/ 0 h 26"/>
                <a:gd name="T6" fmla="*/ 0 w 48"/>
                <a:gd name="T7" fmla="*/ 26 h 26"/>
                <a:gd name="T8" fmla="*/ 39 w 48"/>
                <a:gd name="T9" fmla="*/ 26 h 26"/>
              </a:gdLst>
              <a:ahLst/>
              <a:cxnLst>
                <a:cxn ang="0">
                  <a:pos x="T0" y="T1"/>
                </a:cxn>
                <a:cxn ang="0">
                  <a:pos x="T2" y="T3"/>
                </a:cxn>
                <a:cxn ang="0">
                  <a:pos x="T4" y="T5"/>
                </a:cxn>
                <a:cxn ang="0">
                  <a:pos x="T6" y="T7"/>
                </a:cxn>
                <a:cxn ang="0">
                  <a:pos x="T8" y="T9"/>
                </a:cxn>
              </a:cxnLst>
              <a:rect l="0" t="0" r="r" b="b"/>
              <a:pathLst>
                <a:path w="48" h="26">
                  <a:moveTo>
                    <a:pt x="39" y="26"/>
                  </a:moveTo>
                  <a:lnTo>
                    <a:pt x="48" y="0"/>
                  </a:lnTo>
                  <a:lnTo>
                    <a:pt x="10" y="0"/>
                  </a:lnTo>
                  <a:lnTo>
                    <a:pt x="0" y="26"/>
                  </a:lnTo>
                  <a:lnTo>
                    <a:pt x="39" y="26"/>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04" name="Freeform 52"/>
            <p:cNvSpPr>
              <a:spLocks/>
            </p:cNvSpPr>
            <p:nvPr/>
          </p:nvSpPr>
          <p:spPr bwMode="auto">
            <a:xfrm>
              <a:off x="5054601" y="3781425"/>
              <a:ext cx="80963" cy="44450"/>
            </a:xfrm>
            <a:custGeom>
              <a:avLst/>
              <a:gdLst>
                <a:gd name="T0" fmla="*/ 40 w 51"/>
                <a:gd name="T1" fmla="*/ 0 h 28"/>
                <a:gd name="T2" fmla="*/ 0 w 51"/>
                <a:gd name="T3" fmla="*/ 0 h 28"/>
                <a:gd name="T4" fmla="*/ 10 w 51"/>
                <a:gd name="T5" fmla="*/ 28 h 28"/>
                <a:gd name="T6" fmla="*/ 51 w 51"/>
                <a:gd name="T7" fmla="*/ 28 h 28"/>
                <a:gd name="T8" fmla="*/ 40 w 51"/>
                <a:gd name="T9" fmla="*/ 0 h 28"/>
              </a:gdLst>
              <a:ahLst/>
              <a:cxnLst>
                <a:cxn ang="0">
                  <a:pos x="T0" y="T1"/>
                </a:cxn>
                <a:cxn ang="0">
                  <a:pos x="T2" y="T3"/>
                </a:cxn>
                <a:cxn ang="0">
                  <a:pos x="T4" y="T5"/>
                </a:cxn>
                <a:cxn ang="0">
                  <a:pos x="T6" y="T7"/>
                </a:cxn>
                <a:cxn ang="0">
                  <a:pos x="T8" y="T9"/>
                </a:cxn>
              </a:cxnLst>
              <a:rect l="0" t="0" r="r" b="b"/>
              <a:pathLst>
                <a:path w="51" h="28">
                  <a:moveTo>
                    <a:pt x="40" y="0"/>
                  </a:moveTo>
                  <a:lnTo>
                    <a:pt x="0" y="0"/>
                  </a:lnTo>
                  <a:lnTo>
                    <a:pt x="10" y="28"/>
                  </a:lnTo>
                  <a:lnTo>
                    <a:pt x="51" y="28"/>
                  </a:lnTo>
                  <a:lnTo>
                    <a:pt x="40" y="0"/>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05" name="Freeform 53"/>
            <p:cNvSpPr>
              <a:spLocks/>
            </p:cNvSpPr>
            <p:nvPr/>
          </p:nvSpPr>
          <p:spPr bwMode="auto">
            <a:xfrm>
              <a:off x="5002213" y="3835400"/>
              <a:ext cx="79375" cy="46038"/>
            </a:xfrm>
            <a:custGeom>
              <a:avLst/>
              <a:gdLst>
                <a:gd name="T0" fmla="*/ 39 w 50"/>
                <a:gd name="T1" fmla="*/ 0 h 29"/>
                <a:gd name="T2" fmla="*/ 0 w 50"/>
                <a:gd name="T3" fmla="*/ 0 h 29"/>
                <a:gd name="T4" fmla="*/ 8 w 50"/>
                <a:gd name="T5" fmla="*/ 29 h 29"/>
                <a:gd name="T6" fmla="*/ 50 w 50"/>
                <a:gd name="T7" fmla="*/ 29 h 29"/>
                <a:gd name="T8" fmla="*/ 39 w 50"/>
                <a:gd name="T9" fmla="*/ 0 h 29"/>
              </a:gdLst>
              <a:ahLst/>
              <a:cxnLst>
                <a:cxn ang="0">
                  <a:pos x="T0" y="T1"/>
                </a:cxn>
                <a:cxn ang="0">
                  <a:pos x="T2" y="T3"/>
                </a:cxn>
                <a:cxn ang="0">
                  <a:pos x="T4" y="T5"/>
                </a:cxn>
                <a:cxn ang="0">
                  <a:pos x="T6" y="T7"/>
                </a:cxn>
                <a:cxn ang="0">
                  <a:pos x="T8" y="T9"/>
                </a:cxn>
              </a:cxnLst>
              <a:rect l="0" t="0" r="r" b="b"/>
              <a:pathLst>
                <a:path w="50" h="29">
                  <a:moveTo>
                    <a:pt x="39" y="0"/>
                  </a:moveTo>
                  <a:lnTo>
                    <a:pt x="0" y="0"/>
                  </a:lnTo>
                  <a:lnTo>
                    <a:pt x="8" y="29"/>
                  </a:lnTo>
                  <a:lnTo>
                    <a:pt x="50" y="29"/>
                  </a:lnTo>
                  <a:lnTo>
                    <a:pt x="39" y="0"/>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06" name="Freeform 54"/>
            <p:cNvSpPr>
              <a:spLocks/>
            </p:cNvSpPr>
            <p:nvPr/>
          </p:nvSpPr>
          <p:spPr bwMode="auto">
            <a:xfrm>
              <a:off x="4064001" y="3781425"/>
              <a:ext cx="71438" cy="44450"/>
            </a:xfrm>
            <a:custGeom>
              <a:avLst/>
              <a:gdLst>
                <a:gd name="T0" fmla="*/ 45 w 45"/>
                <a:gd name="T1" fmla="*/ 0 h 28"/>
                <a:gd name="T2" fmla="*/ 6 w 45"/>
                <a:gd name="T3" fmla="*/ 0 h 28"/>
                <a:gd name="T4" fmla="*/ 0 w 45"/>
                <a:gd name="T5" fmla="*/ 28 h 28"/>
                <a:gd name="T6" fmla="*/ 40 w 45"/>
                <a:gd name="T7" fmla="*/ 28 h 28"/>
                <a:gd name="T8" fmla="*/ 45 w 45"/>
                <a:gd name="T9" fmla="*/ 0 h 28"/>
              </a:gdLst>
              <a:ahLst/>
              <a:cxnLst>
                <a:cxn ang="0">
                  <a:pos x="T0" y="T1"/>
                </a:cxn>
                <a:cxn ang="0">
                  <a:pos x="T2" y="T3"/>
                </a:cxn>
                <a:cxn ang="0">
                  <a:pos x="T4" y="T5"/>
                </a:cxn>
                <a:cxn ang="0">
                  <a:pos x="T6" y="T7"/>
                </a:cxn>
                <a:cxn ang="0">
                  <a:pos x="T8" y="T9"/>
                </a:cxn>
              </a:cxnLst>
              <a:rect l="0" t="0" r="r" b="b"/>
              <a:pathLst>
                <a:path w="45" h="28">
                  <a:moveTo>
                    <a:pt x="45" y="0"/>
                  </a:moveTo>
                  <a:lnTo>
                    <a:pt x="6" y="0"/>
                  </a:lnTo>
                  <a:lnTo>
                    <a:pt x="0" y="28"/>
                  </a:lnTo>
                  <a:lnTo>
                    <a:pt x="40" y="28"/>
                  </a:lnTo>
                  <a:lnTo>
                    <a:pt x="45" y="0"/>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07" name="Freeform 55"/>
            <p:cNvSpPr>
              <a:spLocks/>
            </p:cNvSpPr>
            <p:nvPr/>
          </p:nvSpPr>
          <p:spPr bwMode="auto">
            <a:xfrm>
              <a:off x="3848101" y="3781425"/>
              <a:ext cx="76200" cy="44450"/>
            </a:xfrm>
            <a:custGeom>
              <a:avLst/>
              <a:gdLst>
                <a:gd name="T0" fmla="*/ 0 w 48"/>
                <a:gd name="T1" fmla="*/ 28 h 28"/>
                <a:gd name="T2" fmla="*/ 39 w 48"/>
                <a:gd name="T3" fmla="*/ 28 h 28"/>
                <a:gd name="T4" fmla="*/ 48 w 48"/>
                <a:gd name="T5" fmla="*/ 0 h 28"/>
                <a:gd name="T6" fmla="*/ 10 w 48"/>
                <a:gd name="T7" fmla="*/ 0 h 28"/>
                <a:gd name="T8" fmla="*/ 0 w 48"/>
                <a:gd name="T9" fmla="*/ 28 h 28"/>
              </a:gdLst>
              <a:ahLst/>
              <a:cxnLst>
                <a:cxn ang="0">
                  <a:pos x="T0" y="T1"/>
                </a:cxn>
                <a:cxn ang="0">
                  <a:pos x="T2" y="T3"/>
                </a:cxn>
                <a:cxn ang="0">
                  <a:pos x="T4" y="T5"/>
                </a:cxn>
                <a:cxn ang="0">
                  <a:pos x="T6" y="T7"/>
                </a:cxn>
                <a:cxn ang="0">
                  <a:pos x="T8" y="T9"/>
                </a:cxn>
              </a:cxnLst>
              <a:rect l="0" t="0" r="r" b="b"/>
              <a:pathLst>
                <a:path w="48" h="28">
                  <a:moveTo>
                    <a:pt x="0" y="28"/>
                  </a:moveTo>
                  <a:lnTo>
                    <a:pt x="39" y="28"/>
                  </a:lnTo>
                  <a:lnTo>
                    <a:pt x="48" y="0"/>
                  </a:lnTo>
                  <a:lnTo>
                    <a:pt x="10" y="0"/>
                  </a:lnTo>
                  <a:lnTo>
                    <a:pt x="0" y="28"/>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08" name="Freeform 56"/>
            <p:cNvSpPr>
              <a:spLocks/>
            </p:cNvSpPr>
            <p:nvPr/>
          </p:nvSpPr>
          <p:spPr bwMode="auto">
            <a:xfrm>
              <a:off x="4275138" y="3835400"/>
              <a:ext cx="66675" cy="46038"/>
            </a:xfrm>
            <a:custGeom>
              <a:avLst/>
              <a:gdLst>
                <a:gd name="T0" fmla="*/ 42 w 42"/>
                <a:gd name="T1" fmla="*/ 0 h 29"/>
                <a:gd name="T2" fmla="*/ 3 w 42"/>
                <a:gd name="T3" fmla="*/ 0 h 29"/>
                <a:gd name="T4" fmla="*/ 0 w 42"/>
                <a:gd name="T5" fmla="*/ 29 h 29"/>
                <a:gd name="T6" fmla="*/ 41 w 42"/>
                <a:gd name="T7" fmla="*/ 29 h 29"/>
                <a:gd name="T8" fmla="*/ 42 w 42"/>
                <a:gd name="T9" fmla="*/ 0 h 29"/>
              </a:gdLst>
              <a:ahLst/>
              <a:cxnLst>
                <a:cxn ang="0">
                  <a:pos x="T0" y="T1"/>
                </a:cxn>
                <a:cxn ang="0">
                  <a:pos x="T2" y="T3"/>
                </a:cxn>
                <a:cxn ang="0">
                  <a:pos x="T4" y="T5"/>
                </a:cxn>
                <a:cxn ang="0">
                  <a:pos x="T6" y="T7"/>
                </a:cxn>
                <a:cxn ang="0">
                  <a:pos x="T8" y="T9"/>
                </a:cxn>
              </a:cxnLst>
              <a:rect l="0" t="0" r="r" b="b"/>
              <a:pathLst>
                <a:path w="42" h="29">
                  <a:moveTo>
                    <a:pt x="42" y="0"/>
                  </a:moveTo>
                  <a:lnTo>
                    <a:pt x="3" y="0"/>
                  </a:lnTo>
                  <a:lnTo>
                    <a:pt x="0" y="29"/>
                  </a:lnTo>
                  <a:lnTo>
                    <a:pt x="41" y="29"/>
                  </a:lnTo>
                  <a:lnTo>
                    <a:pt x="42" y="0"/>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09" name="Freeform 57"/>
            <p:cNvSpPr>
              <a:spLocks/>
            </p:cNvSpPr>
            <p:nvPr/>
          </p:nvSpPr>
          <p:spPr bwMode="auto">
            <a:xfrm>
              <a:off x="3773488" y="3781425"/>
              <a:ext cx="80963" cy="44450"/>
            </a:xfrm>
            <a:custGeom>
              <a:avLst/>
              <a:gdLst>
                <a:gd name="T0" fmla="*/ 0 w 51"/>
                <a:gd name="T1" fmla="*/ 28 h 28"/>
                <a:gd name="T2" fmla="*/ 41 w 51"/>
                <a:gd name="T3" fmla="*/ 28 h 28"/>
                <a:gd name="T4" fmla="*/ 51 w 51"/>
                <a:gd name="T5" fmla="*/ 0 h 28"/>
                <a:gd name="T6" fmla="*/ 11 w 51"/>
                <a:gd name="T7" fmla="*/ 0 h 28"/>
                <a:gd name="T8" fmla="*/ 0 w 51"/>
                <a:gd name="T9" fmla="*/ 28 h 28"/>
              </a:gdLst>
              <a:ahLst/>
              <a:cxnLst>
                <a:cxn ang="0">
                  <a:pos x="T0" y="T1"/>
                </a:cxn>
                <a:cxn ang="0">
                  <a:pos x="T2" y="T3"/>
                </a:cxn>
                <a:cxn ang="0">
                  <a:pos x="T4" y="T5"/>
                </a:cxn>
                <a:cxn ang="0">
                  <a:pos x="T6" y="T7"/>
                </a:cxn>
                <a:cxn ang="0">
                  <a:pos x="T8" y="T9"/>
                </a:cxn>
              </a:cxnLst>
              <a:rect l="0" t="0" r="r" b="b"/>
              <a:pathLst>
                <a:path w="51" h="28">
                  <a:moveTo>
                    <a:pt x="0" y="28"/>
                  </a:moveTo>
                  <a:lnTo>
                    <a:pt x="41" y="28"/>
                  </a:lnTo>
                  <a:lnTo>
                    <a:pt x="51" y="0"/>
                  </a:lnTo>
                  <a:lnTo>
                    <a:pt x="11" y="0"/>
                  </a:lnTo>
                  <a:lnTo>
                    <a:pt x="0" y="28"/>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10" name="Freeform 58"/>
            <p:cNvSpPr>
              <a:spLocks/>
            </p:cNvSpPr>
            <p:nvPr/>
          </p:nvSpPr>
          <p:spPr bwMode="auto">
            <a:xfrm>
              <a:off x="4006851" y="3730625"/>
              <a:ext cx="68263" cy="41275"/>
            </a:xfrm>
            <a:custGeom>
              <a:avLst/>
              <a:gdLst>
                <a:gd name="T0" fmla="*/ 0 w 43"/>
                <a:gd name="T1" fmla="*/ 26 h 26"/>
                <a:gd name="T2" fmla="*/ 38 w 43"/>
                <a:gd name="T3" fmla="*/ 26 h 26"/>
                <a:gd name="T4" fmla="*/ 43 w 43"/>
                <a:gd name="T5" fmla="*/ 0 h 26"/>
                <a:gd name="T6" fmla="*/ 6 w 43"/>
                <a:gd name="T7" fmla="*/ 0 h 26"/>
                <a:gd name="T8" fmla="*/ 0 w 43"/>
                <a:gd name="T9" fmla="*/ 26 h 26"/>
              </a:gdLst>
              <a:ahLst/>
              <a:cxnLst>
                <a:cxn ang="0">
                  <a:pos x="T0" y="T1"/>
                </a:cxn>
                <a:cxn ang="0">
                  <a:pos x="T2" y="T3"/>
                </a:cxn>
                <a:cxn ang="0">
                  <a:pos x="T4" y="T5"/>
                </a:cxn>
                <a:cxn ang="0">
                  <a:pos x="T6" y="T7"/>
                </a:cxn>
                <a:cxn ang="0">
                  <a:pos x="T8" y="T9"/>
                </a:cxn>
              </a:cxnLst>
              <a:rect l="0" t="0" r="r" b="b"/>
              <a:pathLst>
                <a:path w="43" h="26">
                  <a:moveTo>
                    <a:pt x="0" y="26"/>
                  </a:moveTo>
                  <a:lnTo>
                    <a:pt x="38" y="26"/>
                  </a:lnTo>
                  <a:lnTo>
                    <a:pt x="43" y="0"/>
                  </a:lnTo>
                  <a:lnTo>
                    <a:pt x="6" y="0"/>
                  </a:lnTo>
                  <a:lnTo>
                    <a:pt x="0" y="26"/>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11" name="Freeform 59"/>
            <p:cNvSpPr>
              <a:spLocks/>
            </p:cNvSpPr>
            <p:nvPr/>
          </p:nvSpPr>
          <p:spPr bwMode="auto">
            <a:xfrm>
              <a:off x="3829051" y="3835400"/>
              <a:ext cx="79375" cy="46038"/>
            </a:xfrm>
            <a:custGeom>
              <a:avLst/>
              <a:gdLst>
                <a:gd name="T0" fmla="*/ 41 w 50"/>
                <a:gd name="T1" fmla="*/ 29 h 29"/>
                <a:gd name="T2" fmla="*/ 50 w 50"/>
                <a:gd name="T3" fmla="*/ 0 h 29"/>
                <a:gd name="T4" fmla="*/ 10 w 50"/>
                <a:gd name="T5" fmla="*/ 0 h 29"/>
                <a:gd name="T6" fmla="*/ 0 w 50"/>
                <a:gd name="T7" fmla="*/ 29 h 29"/>
                <a:gd name="T8" fmla="*/ 41 w 50"/>
                <a:gd name="T9" fmla="*/ 29 h 29"/>
              </a:gdLst>
              <a:ahLst/>
              <a:cxnLst>
                <a:cxn ang="0">
                  <a:pos x="T0" y="T1"/>
                </a:cxn>
                <a:cxn ang="0">
                  <a:pos x="T2" y="T3"/>
                </a:cxn>
                <a:cxn ang="0">
                  <a:pos x="T4" y="T5"/>
                </a:cxn>
                <a:cxn ang="0">
                  <a:pos x="T6" y="T7"/>
                </a:cxn>
                <a:cxn ang="0">
                  <a:pos x="T8" y="T9"/>
                </a:cxn>
              </a:cxnLst>
              <a:rect l="0" t="0" r="r" b="b"/>
              <a:pathLst>
                <a:path w="50" h="29">
                  <a:moveTo>
                    <a:pt x="41" y="29"/>
                  </a:moveTo>
                  <a:lnTo>
                    <a:pt x="50" y="0"/>
                  </a:lnTo>
                  <a:lnTo>
                    <a:pt x="10" y="0"/>
                  </a:lnTo>
                  <a:lnTo>
                    <a:pt x="0" y="29"/>
                  </a:lnTo>
                  <a:lnTo>
                    <a:pt x="41" y="29"/>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12" name="Freeform 60"/>
            <p:cNvSpPr>
              <a:spLocks/>
            </p:cNvSpPr>
            <p:nvPr/>
          </p:nvSpPr>
          <p:spPr bwMode="auto">
            <a:xfrm>
              <a:off x="3937001" y="3730625"/>
              <a:ext cx="71438" cy="41275"/>
            </a:xfrm>
            <a:custGeom>
              <a:avLst/>
              <a:gdLst>
                <a:gd name="T0" fmla="*/ 0 w 45"/>
                <a:gd name="T1" fmla="*/ 26 h 26"/>
                <a:gd name="T2" fmla="*/ 38 w 45"/>
                <a:gd name="T3" fmla="*/ 26 h 26"/>
                <a:gd name="T4" fmla="*/ 45 w 45"/>
                <a:gd name="T5" fmla="*/ 0 h 26"/>
                <a:gd name="T6" fmla="*/ 8 w 45"/>
                <a:gd name="T7" fmla="*/ 0 h 26"/>
                <a:gd name="T8" fmla="*/ 0 w 45"/>
                <a:gd name="T9" fmla="*/ 26 h 26"/>
              </a:gdLst>
              <a:ahLst/>
              <a:cxnLst>
                <a:cxn ang="0">
                  <a:pos x="T0" y="T1"/>
                </a:cxn>
                <a:cxn ang="0">
                  <a:pos x="T2" y="T3"/>
                </a:cxn>
                <a:cxn ang="0">
                  <a:pos x="T4" y="T5"/>
                </a:cxn>
                <a:cxn ang="0">
                  <a:pos x="T6" y="T7"/>
                </a:cxn>
                <a:cxn ang="0">
                  <a:pos x="T8" y="T9"/>
                </a:cxn>
              </a:cxnLst>
              <a:rect l="0" t="0" r="r" b="b"/>
              <a:pathLst>
                <a:path w="45" h="26">
                  <a:moveTo>
                    <a:pt x="0" y="26"/>
                  </a:moveTo>
                  <a:lnTo>
                    <a:pt x="38" y="26"/>
                  </a:lnTo>
                  <a:lnTo>
                    <a:pt x="45" y="0"/>
                  </a:lnTo>
                  <a:lnTo>
                    <a:pt x="8" y="0"/>
                  </a:lnTo>
                  <a:lnTo>
                    <a:pt x="0" y="26"/>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13" name="Freeform 61"/>
            <p:cNvSpPr>
              <a:spLocks/>
            </p:cNvSpPr>
            <p:nvPr/>
          </p:nvSpPr>
          <p:spPr bwMode="auto">
            <a:xfrm>
              <a:off x="3867151" y="3730625"/>
              <a:ext cx="73025" cy="41275"/>
            </a:xfrm>
            <a:custGeom>
              <a:avLst/>
              <a:gdLst>
                <a:gd name="T0" fmla="*/ 0 w 46"/>
                <a:gd name="T1" fmla="*/ 26 h 26"/>
                <a:gd name="T2" fmla="*/ 38 w 46"/>
                <a:gd name="T3" fmla="*/ 26 h 26"/>
                <a:gd name="T4" fmla="*/ 46 w 46"/>
                <a:gd name="T5" fmla="*/ 0 h 26"/>
                <a:gd name="T6" fmla="*/ 9 w 46"/>
                <a:gd name="T7" fmla="*/ 0 h 26"/>
                <a:gd name="T8" fmla="*/ 0 w 46"/>
                <a:gd name="T9" fmla="*/ 26 h 26"/>
              </a:gdLst>
              <a:ahLst/>
              <a:cxnLst>
                <a:cxn ang="0">
                  <a:pos x="T0" y="T1"/>
                </a:cxn>
                <a:cxn ang="0">
                  <a:pos x="T2" y="T3"/>
                </a:cxn>
                <a:cxn ang="0">
                  <a:pos x="T4" y="T5"/>
                </a:cxn>
                <a:cxn ang="0">
                  <a:pos x="T6" y="T7"/>
                </a:cxn>
                <a:cxn ang="0">
                  <a:pos x="T8" y="T9"/>
                </a:cxn>
              </a:cxnLst>
              <a:rect l="0" t="0" r="r" b="b"/>
              <a:pathLst>
                <a:path w="46" h="26">
                  <a:moveTo>
                    <a:pt x="0" y="26"/>
                  </a:moveTo>
                  <a:lnTo>
                    <a:pt x="38" y="26"/>
                  </a:lnTo>
                  <a:lnTo>
                    <a:pt x="46" y="0"/>
                  </a:lnTo>
                  <a:lnTo>
                    <a:pt x="9" y="0"/>
                  </a:lnTo>
                  <a:lnTo>
                    <a:pt x="0" y="26"/>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14" name="Freeform 62"/>
            <p:cNvSpPr>
              <a:spLocks/>
            </p:cNvSpPr>
            <p:nvPr/>
          </p:nvSpPr>
          <p:spPr bwMode="auto">
            <a:xfrm>
              <a:off x="4125913" y="3835400"/>
              <a:ext cx="71438" cy="46038"/>
            </a:xfrm>
            <a:custGeom>
              <a:avLst/>
              <a:gdLst>
                <a:gd name="T0" fmla="*/ 45 w 45"/>
                <a:gd name="T1" fmla="*/ 0 h 29"/>
                <a:gd name="T2" fmla="*/ 6 w 45"/>
                <a:gd name="T3" fmla="*/ 0 h 29"/>
                <a:gd name="T4" fmla="*/ 0 w 45"/>
                <a:gd name="T5" fmla="*/ 29 h 29"/>
                <a:gd name="T6" fmla="*/ 41 w 45"/>
                <a:gd name="T7" fmla="*/ 29 h 29"/>
                <a:gd name="T8" fmla="*/ 45 w 45"/>
                <a:gd name="T9" fmla="*/ 0 h 29"/>
              </a:gdLst>
              <a:ahLst/>
              <a:cxnLst>
                <a:cxn ang="0">
                  <a:pos x="T0" y="T1"/>
                </a:cxn>
                <a:cxn ang="0">
                  <a:pos x="T2" y="T3"/>
                </a:cxn>
                <a:cxn ang="0">
                  <a:pos x="T4" y="T5"/>
                </a:cxn>
                <a:cxn ang="0">
                  <a:pos x="T6" y="T7"/>
                </a:cxn>
                <a:cxn ang="0">
                  <a:pos x="T8" y="T9"/>
                </a:cxn>
              </a:cxnLst>
              <a:rect l="0" t="0" r="r" b="b"/>
              <a:pathLst>
                <a:path w="45" h="29">
                  <a:moveTo>
                    <a:pt x="45" y="0"/>
                  </a:moveTo>
                  <a:lnTo>
                    <a:pt x="6" y="0"/>
                  </a:lnTo>
                  <a:lnTo>
                    <a:pt x="0" y="29"/>
                  </a:lnTo>
                  <a:lnTo>
                    <a:pt x="41" y="29"/>
                  </a:lnTo>
                  <a:lnTo>
                    <a:pt x="45" y="0"/>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15" name="Freeform 63"/>
            <p:cNvSpPr>
              <a:spLocks/>
            </p:cNvSpPr>
            <p:nvPr/>
          </p:nvSpPr>
          <p:spPr bwMode="auto">
            <a:xfrm>
              <a:off x="4200526" y="3835400"/>
              <a:ext cx="474663" cy="46038"/>
            </a:xfrm>
            <a:custGeom>
              <a:avLst/>
              <a:gdLst>
                <a:gd name="T0" fmla="*/ 299 w 299"/>
                <a:gd name="T1" fmla="*/ 0 h 29"/>
                <a:gd name="T2" fmla="*/ 4 w 299"/>
                <a:gd name="T3" fmla="*/ 0 h 29"/>
                <a:gd name="T4" fmla="*/ 0 w 299"/>
                <a:gd name="T5" fmla="*/ 29 h 29"/>
                <a:gd name="T6" fmla="*/ 297 w 299"/>
                <a:gd name="T7" fmla="*/ 29 h 29"/>
                <a:gd name="T8" fmla="*/ 299 w 299"/>
                <a:gd name="T9" fmla="*/ 0 h 29"/>
              </a:gdLst>
              <a:ahLst/>
              <a:cxnLst>
                <a:cxn ang="0">
                  <a:pos x="T0" y="T1"/>
                </a:cxn>
                <a:cxn ang="0">
                  <a:pos x="T2" y="T3"/>
                </a:cxn>
                <a:cxn ang="0">
                  <a:pos x="T4" y="T5"/>
                </a:cxn>
                <a:cxn ang="0">
                  <a:pos x="T6" y="T7"/>
                </a:cxn>
                <a:cxn ang="0">
                  <a:pos x="T8" y="T9"/>
                </a:cxn>
              </a:cxnLst>
              <a:rect l="0" t="0" r="r" b="b"/>
              <a:pathLst>
                <a:path w="299" h="29">
                  <a:moveTo>
                    <a:pt x="299" y="0"/>
                  </a:moveTo>
                  <a:lnTo>
                    <a:pt x="4" y="0"/>
                  </a:lnTo>
                  <a:lnTo>
                    <a:pt x="0" y="29"/>
                  </a:lnTo>
                  <a:lnTo>
                    <a:pt x="297" y="29"/>
                  </a:lnTo>
                  <a:lnTo>
                    <a:pt x="299" y="0"/>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16" name="Freeform 64"/>
            <p:cNvSpPr>
              <a:spLocks/>
            </p:cNvSpPr>
            <p:nvPr/>
          </p:nvSpPr>
          <p:spPr bwMode="auto">
            <a:xfrm>
              <a:off x="3976688" y="3835400"/>
              <a:ext cx="76200" cy="46038"/>
            </a:xfrm>
            <a:custGeom>
              <a:avLst/>
              <a:gdLst>
                <a:gd name="T0" fmla="*/ 48 w 48"/>
                <a:gd name="T1" fmla="*/ 0 h 29"/>
                <a:gd name="T2" fmla="*/ 8 w 48"/>
                <a:gd name="T3" fmla="*/ 0 h 29"/>
                <a:gd name="T4" fmla="*/ 0 w 48"/>
                <a:gd name="T5" fmla="*/ 29 h 29"/>
                <a:gd name="T6" fmla="*/ 41 w 48"/>
                <a:gd name="T7" fmla="*/ 29 h 29"/>
                <a:gd name="T8" fmla="*/ 48 w 48"/>
                <a:gd name="T9" fmla="*/ 0 h 29"/>
              </a:gdLst>
              <a:ahLst/>
              <a:cxnLst>
                <a:cxn ang="0">
                  <a:pos x="T0" y="T1"/>
                </a:cxn>
                <a:cxn ang="0">
                  <a:pos x="T2" y="T3"/>
                </a:cxn>
                <a:cxn ang="0">
                  <a:pos x="T4" y="T5"/>
                </a:cxn>
                <a:cxn ang="0">
                  <a:pos x="T6" y="T7"/>
                </a:cxn>
                <a:cxn ang="0">
                  <a:pos x="T8" y="T9"/>
                </a:cxn>
              </a:cxnLst>
              <a:rect l="0" t="0" r="r" b="b"/>
              <a:pathLst>
                <a:path w="48" h="29">
                  <a:moveTo>
                    <a:pt x="48" y="0"/>
                  </a:moveTo>
                  <a:lnTo>
                    <a:pt x="8" y="0"/>
                  </a:lnTo>
                  <a:lnTo>
                    <a:pt x="0" y="29"/>
                  </a:lnTo>
                  <a:lnTo>
                    <a:pt x="41" y="29"/>
                  </a:lnTo>
                  <a:lnTo>
                    <a:pt x="48" y="0"/>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17" name="Freeform 65"/>
            <p:cNvSpPr>
              <a:spLocks/>
            </p:cNvSpPr>
            <p:nvPr/>
          </p:nvSpPr>
          <p:spPr bwMode="auto">
            <a:xfrm>
              <a:off x="3903663" y="3835400"/>
              <a:ext cx="76200" cy="46038"/>
            </a:xfrm>
            <a:custGeom>
              <a:avLst/>
              <a:gdLst>
                <a:gd name="T0" fmla="*/ 48 w 48"/>
                <a:gd name="T1" fmla="*/ 0 h 29"/>
                <a:gd name="T2" fmla="*/ 9 w 48"/>
                <a:gd name="T3" fmla="*/ 0 h 29"/>
                <a:gd name="T4" fmla="*/ 0 w 48"/>
                <a:gd name="T5" fmla="*/ 29 h 29"/>
                <a:gd name="T6" fmla="*/ 41 w 48"/>
                <a:gd name="T7" fmla="*/ 29 h 29"/>
                <a:gd name="T8" fmla="*/ 48 w 48"/>
                <a:gd name="T9" fmla="*/ 0 h 29"/>
              </a:gdLst>
              <a:ahLst/>
              <a:cxnLst>
                <a:cxn ang="0">
                  <a:pos x="T0" y="T1"/>
                </a:cxn>
                <a:cxn ang="0">
                  <a:pos x="T2" y="T3"/>
                </a:cxn>
                <a:cxn ang="0">
                  <a:pos x="T4" y="T5"/>
                </a:cxn>
                <a:cxn ang="0">
                  <a:pos x="T6" y="T7"/>
                </a:cxn>
                <a:cxn ang="0">
                  <a:pos x="T8" y="T9"/>
                </a:cxn>
              </a:cxnLst>
              <a:rect l="0" t="0" r="r" b="b"/>
              <a:pathLst>
                <a:path w="48" h="29">
                  <a:moveTo>
                    <a:pt x="48" y="0"/>
                  </a:moveTo>
                  <a:lnTo>
                    <a:pt x="9" y="0"/>
                  </a:lnTo>
                  <a:lnTo>
                    <a:pt x="0" y="29"/>
                  </a:lnTo>
                  <a:lnTo>
                    <a:pt x="41" y="29"/>
                  </a:lnTo>
                  <a:lnTo>
                    <a:pt x="48" y="0"/>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18" name="Freeform 66"/>
            <p:cNvSpPr>
              <a:spLocks/>
            </p:cNvSpPr>
            <p:nvPr/>
          </p:nvSpPr>
          <p:spPr bwMode="auto">
            <a:xfrm>
              <a:off x="4052888" y="3835400"/>
              <a:ext cx="71438" cy="46038"/>
            </a:xfrm>
            <a:custGeom>
              <a:avLst/>
              <a:gdLst>
                <a:gd name="T0" fmla="*/ 45 w 45"/>
                <a:gd name="T1" fmla="*/ 0 h 29"/>
                <a:gd name="T2" fmla="*/ 6 w 45"/>
                <a:gd name="T3" fmla="*/ 0 h 29"/>
                <a:gd name="T4" fmla="*/ 0 w 45"/>
                <a:gd name="T5" fmla="*/ 29 h 29"/>
                <a:gd name="T6" fmla="*/ 41 w 45"/>
                <a:gd name="T7" fmla="*/ 29 h 29"/>
                <a:gd name="T8" fmla="*/ 45 w 45"/>
                <a:gd name="T9" fmla="*/ 0 h 29"/>
              </a:gdLst>
              <a:ahLst/>
              <a:cxnLst>
                <a:cxn ang="0">
                  <a:pos x="T0" y="T1"/>
                </a:cxn>
                <a:cxn ang="0">
                  <a:pos x="T2" y="T3"/>
                </a:cxn>
                <a:cxn ang="0">
                  <a:pos x="T4" y="T5"/>
                </a:cxn>
                <a:cxn ang="0">
                  <a:pos x="T6" y="T7"/>
                </a:cxn>
                <a:cxn ang="0">
                  <a:pos x="T8" y="T9"/>
                </a:cxn>
              </a:cxnLst>
              <a:rect l="0" t="0" r="r" b="b"/>
              <a:pathLst>
                <a:path w="45" h="29">
                  <a:moveTo>
                    <a:pt x="45" y="0"/>
                  </a:moveTo>
                  <a:lnTo>
                    <a:pt x="6" y="0"/>
                  </a:lnTo>
                  <a:lnTo>
                    <a:pt x="0" y="29"/>
                  </a:lnTo>
                  <a:lnTo>
                    <a:pt x="41" y="29"/>
                  </a:lnTo>
                  <a:lnTo>
                    <a:pt x="45" y="0"/>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19" name="Freeform 67"/>
            <p:cNvSpPr>
              <a:spLocks/>
            </p:cNvSpPr>
            <p:nvPr/>
          </p:nvSpPr>
          <p:spPr bwMode="auto">
            <a:xfrm>
              <a:off x="4354513" y="3730625"/>
              <a:ext cx="60325" cy="41275"/>
            </a:xfrm>
            <a:custGeom>
              <a:avLst/>
              <a:gdLst>
                <a:gd name="T0" fmla="*/ 38 w 38"/>
                <a:gd name="T1" fmla="*/ 0 h 26"/>
                <a:gd name="T2" fmla="*/ 1 w 38"/>
                <a:gd name="T3" fmla="*/ 0 h 26"/>
                <a:gd name="T4" fmla="*/ 0 w 38"/>
                <a:gd name="T5" fmla="*/ 26 h 26"/>
                <a:gd name="T6" fmla="*/ 38 w 38"/>
                <a:gd name="T7" fmla="*/ 26 h 26"/>
                <a:gd name="T8" fmla="*/ 38 w 38"/>
                <a:gd name="T9" fmla="*/ 0 h 26"/>
              </a:gdLst>
              <a:ahLst/>
              <a:cxnLst>
                <a:cxn ang="0">
                  <a:pos x="T0" y="T1"/>
                </a:cxn>
                <a:cxn ang="0">
                  <a:pos x="T2" y="T3"/>
                </a:cxn>
                <a:cxn ang="0">
                  <a:pos x="T4" y="T5"/>
                </a:cxn>
                <a:cxn ang="0">
                  <a:pos x="T6" y="T7"/>
                </a:cxn>
                <a:cxn ang="0">
                  <a:pos x="T8" y="T9"/>
                </a:cxn>
              </a:cxnLst>
              <a:rect l="0" t="0" r="r" b="b"/>
              <a:pathLst>
                <a:path w="38" h="26">
                  <a:moveTo>
                    <a:pt x="38" y="0"/>
                  </a:moveTo>
                  <a:lnTo>
                    <a:pt x="1" y="0"/>
                  </a:lnTo>
                  <a:lnTo>
                    <a:pt x="0" y="26"/>
                  </a:lnTo>
                  <a:lnTo>
                    <a:pt x="38" y="26"/>
                  </a:lnTo>
                  <a:lnTo>
                    <a:pt x="38" y="0"/>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20" name="Rectangle 319"/>
            <p:cNvSpPr>
              <a:spLocks noChangeArrowheads="1"/>
            </p:cNvSpPr>
            <p:nvPr/>
          </p:nvSpPr>
          <p:spPr bwMode="auto">
            <a:xfrm>
              <a:off x="4422776" y="3730625"/>
              <a:ext cx="63500" cy="41275"/>
            </a:xfrm>
            <a:prstGeom prst="rect">
              <a:avLst/>
            </a:prstGeom>
            <a:solidFill>
              <a:srgbClr val="006FC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21" name="Freeform 69"/>
            <p:cNvSpPr>
              <a:spLocks/>
            </p:cNvSpPr>
            <p:nvPr/>
          </p:nvSpPr>
          <p:spPr bwMode="auto">
            <a:xfrm>
              <a:off x="4352926" y="3781425"/>
              <a:ext cx="133350" cy="44450"/>
            </a:xfrm>
            <a:custGeom>
              <a:avLst/>
              <a:gdLst>
                <a:gd name="T0" fmla="*/ 44 w 84"/>
                <a:gd name="T1" fmla="*/ 0 h 28"/>
                <a:gd name="T2" fmla="*/ 44 w 84"/>
                <a:gd name="T3" fmla="*/ 28 h 28"/>
                <a:gd name="T4" fmla="*/ 39 w 84"/>
                <a:gd name="T5" fmla="*/ 28 h 28"/>
                <a:gd name="T6" fmla="*/ 39 w 84"/>
                <a:gd name="T7" fmla="*/ 0 h 28"/>
                <a:gd name="T8" fmla="*/ 0 w 84"/>
                <a:gd name="T9" fmla="*/ 0 h 28"/>
                <a:gd name="T10" fmla="*/ 0 w 84"/>
                <a:gd name="T11" fmla="*/ 28 h 28"/>
                <a:gd name="T12" fmla="*/ 84 w 84"/>
                <a:gd name="T13" fmla="*/ 28 h 28"/>
                <a:gd name="T14" fmla="*/ 84 w 84"/>
                <a:gd name="T15" fmla="*/ 0 h 28"/>
                <a:gd name="T16" fmla="*/ 44 w 84"/>
                <a:gd name="T17"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4" h="28">
                  <a:moveTo>
                    <a:pt x="44" y="0"/>
                  </a:moveTo>
                  <a:lnTo>
                    <a:pt x="44" y="28"/>
                  </a:lnTo>
                  <a:lnTo>
                    <a:pt x="39" y="28"/>
                  </a:lnTo>
                  <a:lnTo>
                    <a:pt x="39" y="0"/>
                  </a:lnTo>
                  <a:lnTo>
                    <a:pt x="0" y="0"/>
                  </a:lnTo>
                  <a:lnTo>
                    <a:pt x="0" y="28"/>
                  </a:lnTo>
                  <a:lnTo>
                    <a:pt x="84" y="28"/>
                  </a:lnTo>
                  <a:lnTo>
                    <a:pt x="84" y="0"/>
                  </a:lnTo>
                  <a:lnTo>
                    <a:pt x="44" y="0"/>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22" name="Freeform 70"/>
            <p:cNvSpPr>
              <a:spLocks noEditPoints="1"/>
            </p:cNvSpPr>
            <p:nvPr/>
          </p:nvSpPr>
          <p:spPr bwMode="auto">
            <a:xfrm>
              <a:off x="4230688" y="3176588"/>
              <a:ext cx="447675" cy="446088"/>
            </a:xfrm>
            <a:custGeom>
              <a:avLst/>
              <a:gdLst>
                <a:gd name="T0" fmla="*/ 0 w 282"/>
                <a:gd name="T1" fmla="*/ 0 h 281"/>
                <a:gd name="T2" fmla="*/ 0 w 282"/>
                <a:gd name="T3" fmla="*/ 281 h 281"/>
                <a:gd name="T4" fmla="*/ 282 w 282"/>
                <a:gd name="T5" fmla="*/ 281 h 281"/>
                <a:gd name="T6" fmla="*/ 282 w 282"/>
                <a:gd name="T7" fmla="*/ 0 h 281"/>
                <a:gd name="T8" fmla="*/ 0 w 282"/>
                <a:gd name="T9" fmla="*/ 0 h 281"/>
                <a:gd name="T10" fmla="*/ 265 w 282"/>
                <a:gd name="T11" fmla="*/ 240 h 281"/>
                <a:gd name="T12" fmla="*/ 17 w 282"/>
                <a:gd name="T13" fmla="*/ 240 h 281"/>
                <a:gd name="T14" fmla="*/ 17 w 282"/>
                <a:gd name="T15" fmla="*/ 18 h 281"/>
                <a:gd name="T16" fmla="*/ 265 w 282"/>
                <a:gd name="T17" fmla="*/ 18 h 281"/>
                <a:gd name="T18" fmla="*/ 265 w 282"/>
                <a:gd name="T19" fmla="*/ 240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2" h="281">
                  <a:moveTo>
                    <a:pt x="0" y="0"/>
                  </a:moveTo>
                  <a:lnTo>
                    <a:pt x="0" y="281"/>
                  </a:lnTo>
                  <a:lnTo>
                    <a:pt x="282" y="281"/>
                  </a:lnTo>
                  <a:lnTo>
                    <a:pt x="282" y="0"/>
                  </a:lnTo>
                  <a:lnTo>
                    <a:pt x="0" y="0"/>
                  </a:lnTo>
                  <a:close/>
                  <a:moveTo>
                    <a:pt x="265" y="240"/>
                  </a:moveTo>
                  <a:lnTo>
                    <a:pt x="17" y="240"/>
                  </a:lnTo>
                  <a:lnTo>
                    <a:pt x="17" y="18"/>
                  </a:lnTo>
                  <a:lnTo>
                    <a:pt x="265" y="18"/>
                  </a:lnTo>
                  <a:lnTo>
                    <a:pt x="265" y="24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23" name="Freeform 71"/>
            <p:cNvSpPr>
              <a:spLocks noEditPoints="1"/>
            </p:cNvSpPr>
            <p:nvPr/>
          </p:nvSpPr>
          <p:spPr bwMode="auto">
            <a:xfrm>
              <a:off x="4230688" y="3176588"/>
              <a:ext cx="447675" cy="446088"/>
            </a:xfrm>
            <a:custGeom>
              <a:avLst/>
              <a:gdLst>
                <a:gd name="T0" fmla="*/ 0 w 282"/>
                <a:gd name="T1" fmla="*/ 0 h 281"/>
                <a:gd name="T2" fmla="*/ 0 w 282"/>
                <a:gd name="T3" fmla="*/ 281 h 281"/>
                <a:gd name="T4" fmla="*/ 282 w 282"/>
                <a:gd name="T5" fmla="*/ 281 h 281"/>
                <a:gd name="T6" fmla="*/ 282 w 282"/>
                <a:gd name="T7" fmla="*/ 0 h 281"/>
                <a:gd name="T8" fmla="*/ 0 w 282"/>
                <a:gd name="T9" fmla="*/ 0 h 281"/>
                <a:gd name="T10" fmla="*/ 265 w 282"/>
                <a:gd name="T11" fmla="*/ 240 h 281"/>
                <a:gd name="T12" fmla="*/ 17 w 282"/>
                <a:gd name="T13" fmla="*/ 240 h 281"/>
                <a:gd name="T14" fmla="*/ 17 w 282"/>
                <a:gd name="T15" fmla="*/ 18 h 281"/>
                <a:gd name="T16" fmla="*/ 265 w 282"/>
                <a:gd name="T17" fmla="*/ 18 h 281"/>
                <a:gd name="T18" fmla="*/ 265 w 282"/>
                <a:gd name="T19" fmla="*/ 240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2" h="281">
                  <a:moveTo>
                    <a:pt x="0" y="0"/>
                  </a:moveTo>
                  <a:lnTo>
                    <a:pt x="0" y="281"/>
                  </a:lnTo>
                  <a:lnTo>
                    <a:pt x="282" y="281"/>
                  </a:lnTo>
                  <a:lnTo>
                    <a:pt x="282" y="0"/>
                  </a:lnTo>
                  <a:lnTo>
                    <a:pt x="0" y="0"/>
                  </a:lnTo>
                  <a:moveTo>
                    <a:pt x="265" y="240"/>
                  </a:moveTo>
                  <a:lnTo>
                    <a:pt x="17" y="240"/>
                  </a:lnTo>
                  <a:lnTo>
                    <a:pt x="17" y="18"/>
                  </a:lnTo>
                  <a:lnTo>
                    <a:pt x="265" y="18"/>
                  </a:lnTo>
                  <a:lnTo>
                    <a:pt x="265" y="24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24" name="Freeform 72"/>
            <p:cNvSpPr>
              <a:spLocks/>
            </p:cNvSpPr>
            <p:nvPr/>
          </p:nvSpPr>
          <p:spPr bwMode="auto">
            <a:xfrm>
              <a:off x="4275138" y="3327400"/>
              <a:ext cx="358775" cy="214313"/>
            </a:xfrm>
            <a:custGeom>
              <a:avLst/>
              <a:gdLst>
                <a:gd name="T0" fmla="*/ 201 w 226"/>
                <a:gd name="T1" fmla="*/ 105 h 135"/>
                <a:gd name="T2" fmla="*/ 133 w 226"/>
                <a:gd name="T3" fmla="*/ 5 h 135"/>
                <a:gd name="T4" fmla="*/ 113 w 226"/>
                <a:gd name="T5" fmla="*/ 39 h 135"/>
                <a:gd name="T6" fmla="*/ 90 w 226"/>
                <a:gd name="T7" fmla="*/ 0 h 135"/>
                <a:gd name="T8" fmla="*/ 43 w 226"/>
                <a:gd name="T9" fmla="*/ 82 h 135"/>
                <a:gd name="T10" fmla="*/ 0 w 226"/>
                <a:gd name="T11" fmla="*/ 8 h 135"/>
                <a:gd name="T12" fmla="*/ 0 w 226"/>
                <a:gd name="T13" fmla="*/ 135 h 135"/>
                <a:gd name="T14" fmla="*/ 226 w 226"/>
                <a:gd name="T15" fmla="*/ 135 h 135"/>
                <a:gd name="T16" fmla="*/ 226 w 226"/>
                <a:gd name="T17" fmla="*/ 62 h 135"/>
                <a:gd name="T18" fmla="*/ 201 w 226"/>
                <a:gd name="T19" fmla="*/ 105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6" h="135">
                  <a:moveTo>
                    <a:pt x="201" y="105"/>
                  </a:moveTo>
                  <a:lnTo>
                    <a:pt x="133" y="5"/>
                  </a:lnTo>
                  <a:lnTo>
                    <a:pt x="113" y="39"/>
                  </a:lnTo>
                  <a:lnTo>
                    <a:pt x="90" y="0"/>
                  </a:lnTo>
                  <a:lnTo>
                    <a:pt x="43" y="82"/>
                  </a:lnTo>
                  <a:lnTo>
                    <a:pt x="0" y="8"/>
                  </a:lnTo>
                  <a:lnTo>
                    <a:pt x="0" y="135"/>
                  </a:lnTo>
                  <a:lnTo>
                    <a:pt x="226" y="135"/>
                  </a:lnTo>
                  <a:lnTo>
                    <a:pt x="226" y="62"/>
                  </a:lnTo>
                  <a:lnTo>
                    <a:pt x="201" y="10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25" name="Oval 324"/>
            <p:cNvSpPr>
              <a:spLocks noChangeArrowheads="1"/>
            </p:cNvSpPr>
            <p:nvPr/>
          </p:nvSpPr>
          <p:spPr bwMode="auto">
            <a:xfrm>
              <a:off x="4527551" y="3248025"/>
              <a:ext cx="85725" cy="84138"/>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26" name="Freeform 74"/>
            <p:cNvSpPr>
              <a:spLocks noEditPoints="1"/>
            </p:cNvSpPr>
            <p:nvPr/>
          </p:nvSpPr>
          <p:spPr bwMode="auto">
            <a:xfrm>
              <a:off x="3992563" y="2979738"/>
              <a:ext cx="1052513" cy="590550"/>
            </a:xfrm>
            <a:custGeom>
              <a:avLst/>
              <a:gdLst>
                <a:gd name="T0" fmla="*/ 652 w 981"/>
                <a:gd name="T1" fmla="*/ 280 h 556"/>
                <a:gd name="T2" fmla="*/ 648 w 981"/>
                <a:gd name="T3" fmla="*/ 289 h 556"/>
                <a:gd name="T4" fmla="*/ 640 w 981"/>
                <a:gd name="T5" fmla="*/ 302 h 556"/>
                <a:gd name="T6" fmla="*/ 640 w 981"/>
                <a:gd name="T7" fmla="*/ 410 h 556"/>
                <a:gd name="T8" fmla="*/ 688 w 981"/>
                <a:gd name="T9" fmla="*/ 440 h 556"/>
                <a:gd name="T10" fmla="*/ 695 w 981"/>
                <a:gd name="T11" fmla="*/ 373 h 556"/>
                <a:gd name="T12" fmla="*/ 694 w 981"/>
                <a:gd name="T13" fmla="*/ 365 h 556"/>
                <a:gd name="T14" fmla="*/ 681 w 981"/>
                <a:gd name="T15" fmla="*/ 328 h 556"/>
                <a:gd name="T16" fmla="*/ 677 w 981"/>
                <a:gd name="T17" fmla="*/ 329 h 556"/>
                <a:gd name="T18" fmla="*/ 675 w 981"/>
                <a:gd name="T19" fmla="*/ 328 h 556"/>
                <a:gd name="T20" fmla="*/ 674 w 981"/>
                <a:gd name="T21" fmla="*/ 328 h 556"/>
                <a:gd name="T22" fmla="*/ 645 w 981"/>
                <a:gd name="T23" fmla="*/ 316 h 556"/>
                <a:gd name="T24" fmla="*/ 645 w 981"/>
                <a:gd name="T25" fmla="*/ 316 h 556"/>
                <a:gd name="T26" fmla="*/ 663 w 981"/>
                <a:gd name="T27" fmla="*/ 297 h 556"/>
                <a:gd name="T28" fmla="*/ 658 w 981"/>
                <a:gd name="T29" fmla="*/ 288 h 556"/>
                <a:gd name="T30" fmla="*/ 652 w 981"/>
                <a:gd name="T31" fmla="*/ 280 h 556"/>
                <a:gd name="T32" fmla="*/ 523 w 981"/>
                <a:gd name="T33" fmla="*/ 213 h 556"/>
                <a:gd name="T34" fmla="*/ 340 w 981"/>
                <a:gd name="T35" fmla="*/ 213 h 556"/>
                <a:gd name="T36" fmla="*/ 359 w 981"/>
                <a:gd name="T37" fmla="*/ 230 h 556"/>
                <a:gd name="T38" fmla="*/ 614 w 981"/>
                <a:gd name="T39" fmla="*/ 393 h 556"/>
                <a:gd name="T40" fmla="*/ 614 w 981"/>
                <a:gd name="T41" fmla="*/ 315 h 556"/>
                <a:gd name="T42" fmla="*/ 610 w 981"/>
                <a:gd name="T43" fmla="*/ 315 h 556"/>
                <a:gd name="T44" fmla="*/ 594 w 981"/>
                <a:gd name="T45" fmla="*/ 312 h 556"/>
                <a:gd name="T46" fmla="*/ 593 w 981"/>
                <a:gd name="T47" fmla="*/ 312 h 556"/>
                <a:gd name="T48" fmla="*/ 614 w 981"/>
                <a:gd name="T49" fmla="*/ 262 h 556"/>
                <a:gd name="T50" fmla="*/ 614 w 981"/>
                <a:gd name="T51" fmla="*/ 256 h 556"/>
                <a:gd name="T52" fmla="*/ 610 w 981"/>
                <a:gd name="T53" fmla="*/ 256 h 556"/>
                <a:gd name="T54" fmla="*/ 598 w 981"/>
                <a:gd name="T55" fmla="*/ 278 h 556"/>
                <a:gd name="T56" fmla="*/ 578 w 981"/>
                <a:gd name="T57" fmla="*/ 297 h 556"/>
                <a:gd name="T58" fmla="*/ 538 w 981"/>
                <a:gd name="T59" fmla="*/ 331 h 556"/>
                <a:gd name="T60" fmla="*/ 499 w 981"/>
                <a:gd name="T61" fmla="*/ 292 h 556"/>
                <a:gd name="T62" fmla="*/ 499 w 981"/>
                <a:gd name="T63" fmla="*/ 290 h 556"/>
                <a:gd name="T64" fmla="*/ 488 w 981"/>
                <a:gd name="T65" fmla="*/ 291 h 556"/>
                <a:gd name="T66" fmla="*/ 469 w 981"/>
                <a:gd name="T67" fmla="*/ 267 h 556"/>
                <a:gd name="T68" fmla="*/ 523 w 981"/>
                <a:gd name="T69" fmla="*/ 213 h 556"/>
                <a:gd name="T70" fmla="*/ 981 w 981"/>
                <a:gd name="T71" fmla="*/ 0 h 556"/>
                <a:gd name="T72" fmla="*/ 0 w 981"/>
                <a:gd name="T73" fmla="*/ 0 h 556"/>
                <a:gd name="T74" fmla="*/ 291 w 981"/>
                <a:gd name="T75" fmla="*/ 186 h 556"/>
                <a:gd name="T76" fmla="*/ 640 w 981"/>
                <a:gd name="T77" fmla="*/ 186 h 556"/>
                <a:gd name="T78" fmla="*/ 640 w 981"/>
                <a:gd name="T79" fmla="*/ 187 h 556"/>
                <a:gd name="T80" fmla="*/ 656 w 981"/>
                <a:gd name="T81" fmla="*/ 194 h 556"/>
                <a:gd name="T82" fmla="*/ 780 w 981"/>
                <a:gd name="T83" fmla="*/ 267 h 556"/>
                <a:gd name="T84" fmla="*/ 813 w 981"/>
                <a:gd name="T85" fmla="*/ 293 h 556"/>
                <a:gd name="T86" fmla="*/ 833 w 981"/>
                <a:gd name="T87" fmla="*/ 318 h 556"/>
                <a:gd name="T88" fmla="*/ 948 w 981"/>
                <a:gd name="T89" fmla="*/ 513 h 556"/>
                <a:gd name="T90" fmla="*/ 981 w 981"/>
                <a:gd name="T91" fmla="*/ 556 h 556"/>
                <a:gd name="T92" fmla="*/ 981 w 981"/>
                <a:gd name="T93" fmla="*/ 0 h 5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981" h="556">
                  <a:moveTo>
                    <a:pt x="652" y="280"/>
                  </a:moveTo>
                  <a:cubicBezTo>
                    <a:pt x="648" y="289"/>
                    <a:pt x="648" y="289"/>
                    <a:pt x="648" y="289"/>
                  </a:cubicBezTo>
                  <a:cubicBezTo>
                    <a:pt x="646" y="294"/>
                    <a:pt x="643" y="298"/>
                    <a:pt x="640" y="302"/>
                  </a:cubicBezTo>
                  <a:cubicBezTo>
                    <a:pt x="640" y="410"/>
                    <a:pt x="640" y="410"/>
                    <a:pt x="640" y="410"/>
                  </a:cubicBezTo>
                  <a:cubicBezTo>
                    <a:pt x="688" y="440"/>
                    <a:pt x="688" y="440"/>
                    <a:pt x="688" y="440"/>
                  </a:cubicBezTo>
                  <a:cubicBezTo>
                    <a:pt x="696" y="420"/>
                    <a:pt x="699" y="396"/>
                    <a:pt x="695" y="373"/>
                  </a:cubicBezTo>
                  <a:cubicBezTo>
                    <a:pt x="695" y="370"/>
                    <a:pt x="694" y="368"/>
                    <a:pt x="694" y="365"/>
                  </a:cubicBezTo>
                  <a:cubicBezTo>
                    <a:pt x="691" y="351"/>
                    <a:pt x="687" y="340"/>
                    <a:pt x="681" y="328"/>
                  </a:cubicBezTo>
                  <a:cubicBezTo>
                    <a:pt x="680" y="328"/>
                    <a:pt x="678" y="329"/>
                    <a:pt x="677" y="329"/>
                  </a:cubicBezTo>
                  <a:cubicBezTo>
                    <a:pt x="676" y="329"/>
                    <a:pt x="676" y="328"/>
                    <a:pt x="675" y="328"/>
                  </a:cubicBezTo>
                  <a:cubicBezTo>
                    <a:pt x="675" y="328"/>
                    <a:pt x="675" y="328"/>
                    <a:pt x="674" y="328"/>
                  </a:cubicBezTo>
                  <a:cubicBezTo>
                    <a:pt x="664" y="328"/>
                    <a:pt x="653" y="324"/>
                    <a:pt x="645" y="316"/>
                  </a:cubicBezTo>
                  <a:cubicBezTo>
                    <a:pt x="645" y="316"/>
                    <a:pt x="645" y="316"/>
                    <a:pt x="645" y="316"/>
                  </a:cubicBezTo>
                  <a:cubicBezTo>
                    <a:pt x="663" y="297"/>
                    <a:pt x="663" y="297"/>
                    <a:pt x="663" y="297"/>
                  </a:cubicBezTo>
                  <a:cubicBezTo>
                    <a:pt x="662" y="294"/>
                    <a:pt x="660" y="292"/>
                    <a:pt x="658" y="288"/>
                  </a:cubicBezTo>
                  <a:cubicBezTo>
                    <a:pt x="656" y="285"/>
                    <a:pt x="654" y="282"/>
                    <a:pt x="652" y="280"/>
                  </a:cubicBezTo>
                  <a:moveTo>
                    <a:pt x="523" y="213"/>
                  </a:moveTo>
                  <a:cubicBezTo>
                    <a:pt x="340" y="213"/>
                    <a:pt x="340" y="213"/>
                    <a:pt x="340" y="213"/>
                  </a:cubicBezTo>
                  <a:cubicBezTo>
                    <a:pt x="346" y="217"/>
                    <a:pt x="352" y="223"/>
                    <a:pt x="359" y="230"/>
                  </a:cubicBezTo>
                  <a:cubicBezTo>
                    <a:pt x="614" y="393"/>
                    <a:pt x="614" y="393"/>
                    <a:pt x="614" y="393"/>
                  </a:cubicBezTo>
                  <a:cubicBezTo>
                    <a:pt x="614" y="315"/>
                    <a:pt x="614" y="315"/>
                    <a:pt x="614" y="315"/>
                  </a:cubicBezTo>
                  <a:cubicBezTo>
                    <a:pt x="612" y="315"/>
                    <a:pt x="611" y="315"/>
                    <a:pt x="610" y="315"/>
                  </a:cubicBezTo>
                  <a:cubicBezTo>
                    <a:pt x="604" y="315"/>
                    <a:pt x="599" y="314"/>
                    <a:pt x="594" y="312"/>
                  </a:cubicBezTo>
                  <a:cubicBezTo>
                    <a:pt x="593" y="312"/>
                    <a:pt x="593" y="312"/>
                    <a:pt x="593" y="312"/>
                  </a:cubicBezTo>
                  <a:cubicBezTo>
                    <a:pt x="614" y="262"/>
                    <a:pt x="614" y="262"/>
                    <a:pt x="614" y="262"/>
                  </a:cubicBezTo>
                  <a:cubicBezTo>
                    <a:pt x="614" y="256"/>
                    <a:pt x="614" y="256"/>
                    <a:pt x="614" y="256"/>
                  </a:cubicBezTo>
                  <a:cubicBezTo>
                    <a:pt x="613" y="256"/>
                    <a:pt x="611" y="256"/>
                    <a:pt x="610" y="256"/>
                  </a:cubicBezTo>
                  <a:cubicBezTo>
                    <a:pt x="598" y="278"/>
                    <a:pt x="598" y="278"/>
                    <a:pt x="598" y="278"/>
                  </a:cubicBezTo>
                  <a:cubicBezTo>
                    <a:pt x="593" y="286"/>
                    <a:pt x="586" y="293"/>
                    <a:pt x="578" y="297"/>
                  </a:cubicBezTo>
                  <a:cubicBezTo>
                    <a:pt x="575" y="317"/>
                    <a:pt x="558" y="331"/>
                    <a:pt x="538" y="331"/>
                  </a:cubicBezTo>
                  <a:cubicBezTo>
                    <a:pt x="517" y="331"/>
                    <a:pt x="499" y="314"/>
                    <a:pt x="499" y="292"/>
                  </a:cubicBezTo>
                  <a:cubicBezTo>
                    <a:pt x="499" y="291"/>
                    <a:pt x="499" y="290"/>
                    <a:pt x="499" y="290"/>
                  </a:cubicBezTo>
                  <a:cubicBezTo>
                    <a:pt x="495" y="290"/>
                    <a:pt x="491" y="291"/>
                    <a:pt x="488" y="291"/>
                  </a:cubicBezTo>
                  <a:cubicBezTo>
                    <a:pt x="469" y="291"/>
                    <a:pt x="455" y="281"/>
                    <a:pt x="469" y="267"/>
                  </a:cubicBezTo>
                  <a:cubicBezTo>
                    <a:pt x="476" y="259"/>
                    <a:pt x="503" y="229"/>
                    <a:pt x="523" y="213"/>
                  </a:cubicBezTo>
                  <a:moveTo>
                    <a:pt x="981" y="0"/>
                  </a:moveTo>
                  <a:cubicBezTo>
                    <a:pt x="0" y="0"/>
                    <a:pt x="0" y="0"/>
                    <a:pt x="0" y="0"/>
                  </a:cubicBezTo>
                  <a:cubicBezTo>
                    <a:pt x="291" y="186"/>
                    <a:pt x="291" y="186"/>
                    <a:pt x="291" y="186"/>
                  </a:cubicBezTo>
                  <a:cubicBezTo>
                    <a:pt x="640" y="186"/>
                    <a:pt x="640" y="186"/>
                    <a:pt x="640" y="186"/>
                  </a:cubicBezTo>
                  <a:cubicBezTo>
                    <a:pt x="640" y="187"/>
                    <a:pt x="640" y="187"/>
                    <a:pt x="640" y="187"/>
                  </a:cubicBezTo>
                  <a:cubicBezTo>
                    <a:pt x="646" y="189"/>
                    <a:pt x="651" y="191"/>
                    <a:pt x="656" y="194"/>
                  </a:cubicBezTo>
                  <a:cubicBezTo>
                    <a:pt x="780" y="267"/>
                    <a:pt x="780" y="267"/>
                    <a:pt x="780" y="267"/>
                  </a:cubicBezTo>
                  <a:cubicBezTo>
                    <a:pt x="792" y="274"/>
                    <a:pt x="803" y="283"/>
                    <a:pt x="813" y="293"/>
                  </a:cubicBezTo>
                  <a:cubicBezTo>
                    <a:pt x="821" y="300"/>
                    <a:pt x="828" y="309"/>
                    <a:pt x="833" y="318"/>
                  </a:cubicBezTo>
                  <a:cubicBezTo>
                    <a:pt x="948" y="513"/>
                    <a:pt x="948" y="513"/>
                    <a:pt x="948" y="513"/>
                  </a:cubicBezTo>
                  <a:cubicBezTo>
                    <a:pt x="981" y="556"/>
                    <a:pt x="981" y="556"/>
                    <a:pt x="981" y="556"/>
                  </a:cubicBezTo>
                  <a:cubicBezTo>
                    <a:pt x="981" y="0"/>
                    <a:pt x="981" y="0"/>
                    <a:pt x="981" y="0"/>
                  </a:cubicBezTo>
                </a:path>
              </a:pathLst>
            </a:custGeom>
            <a:solidFill>
              <a:srgbClr val="1A86D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27" name="Freeform 75"/>
            <p:cNvSpPr>
              <a:spLocks noEditPoints="1"/>
            </p:cNvSpPr>
            <p:nvPr/>
          </p:nvSpPr>
          <p:spPr bwMode="auto">
            <a:xfrm>
              <a:off x="4305301" y="3176588"/>
              <a:ext cx="373063" cy="239713"/>
            </a:xfrm>
            <a:custGeom>
              <a:avLst/>
              <a:gdLst>
                <a:gd name="T0" fmla="*/ 349 w 349"/>
                <a:gd name="T1" fmla="*/ 116 h 224"/>
                <a:gd name="T2" fmla="*/ 323 w 349"/>
                <a:gd name="T3" fmla="*/ 129 h 224"/>
                <a:gd name="T4" fmla="*/ 323 w 349"/>
                <a:gd name="T5" fmla="*/ 207 h 224"/>
                <a:gd name="T6" fmla="*/ 349 w 349"/>
                <a:gd name="T7" fmla="*/ 224 h 224"/>
                <a:gd name="T8" fmla="*/ 349 w 349"/>
                <a:gd name="T9" fmla="*/ 116 h 224"/>
                <a:gd name="T10" fmla="*/ 323 w 349"/>
                <a:gd name="T11" fmla="*/ 70 h 224"/>
                <a:gd name="T12" fmla="*/ 323 w 349"/>
                <a:gd name="T13" fmla="*/ 76 h 224"/>
                <a:gd name="T14" fmla="*/ 325 w 349"/>
                <a:gd name="T15" fmla="*/ 70 h 224"/>
                <a:gd name="T16" fmla="*/ 323 w 349"/>
                <a:gd name="T17" fmla="*/ 70 h 224"/>
                <a:gd name="T18" fmla="*/ 349 w 349"/>
                <a:gd name="T19" fmla="*/ 0 h 224"/>
                <a:gd name="T20" fmla="*/ 0 w 349"/>
                <a:gd name="T21" fmla="*/ 0 h 224"/>
                <a:gd name="T22" fmla="*/ 23 w 349"/>
                <a:gd name="T23" fmla="*/ 15 h 224"/>
                <a:gd name="T24" fmla="*/ 35 w 349"/>
                <a:gd name="T25" fmla="*/ 17 h 224"/>
                <a:gd name="T26" fmla="*/ 49 w 349"/>
                <a:gd name="T27" fmla="*/ 27 h 224"/>
                <a:gd name="T28" fmla="*/ 232 w 349"/>
                <a:gd name="T29" fmla="*/ 27 h 224"/>
                <a:gd name="T30" fmla="*/ 246 w 349"/>
                <a:gd name="T31" fmla="*/ 17 h 224"/>
                <a:gd name="T32" fmla="*/ 325 w 349"/>
                <a:gd name="T33" fmla="*/ 3 h 224"/>
                <a:gd name="T34" fmla="*/ 340 w 349"/>
                <a:gd name="T35" fmla="*/ 0 h 224"/>
                <a:gd name="T36" fmla="*/ 349 w 349"/>
                <a:gd name="T37" fmla="*/ 1 h 224"/>
                <a:gd name="T38" fmla="*/ 349 w 349"/>
                <a:gd name="T39" fmla="*/ 0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49" h="224">
                  <a:moveTo>
                    <a:pt x="349" y="116"/>
                  </a:moveTo>
                  <a:cubicBezTo>
                    <a:pt x="342" y="123"/>
                    <a:pt x="333" y="128"/>
                    <a:pt x="323" y="129"/>
                  </a:cubicBezTo>
                  <a:cubicBezTo>
                    <a:pt x="323" y="207"/>
                    <a:pt x="323" y="207"/>
                    <a:pt x="323" y="207"/>
                  </a:cubicBezTo>
                  <a:cubicBezTo>
                    <a:pt x="349" y="224"/>
                    <a:pt x="349" y="224"/>
                    <a:pt x="349" y="224"/>
                  </a:cubicBezTo>
                  <a:cubicBezTo>
                    <a:pt x="349" y="116"/>
                    <a:pt x="349" y="116"/>
                    <a:pt x="349" y="116"/>
                  </a:cubicBezTo>
                  <a:moveTo>
                    <a:pt x="323" y="70"/>
                  </a:moveTo>
                  <a:cubicBezTo>
                    <a:pt x="323" y="76"/>
                    <a:pt x="323" y="76"/>
                    <a:pt x="323" y="76"/>
                  </a:cubicBezTo>
                  <a:cubicBezTo>
                    <a:pt x="325" y="70"/>
                    <a:pt x="325" y="70"/>
                    <a:pt x="325" y="70"/>
                  </a:cubicBezTo>
                  <a:cubicBezTo>
                    <a:pt x="324" y="70"/>
                    <a:pt x="324" y="70"/>
                    <a:pt x="323" y="70"/>
                  </a:cubicBezTo>
                  <a:moveTo>
                    <a:pt x="349" y="0"/>
                  </a:moveTo>
                  <a:cubicBezTo>
                    <a:pt x="0" y="0"/>
                    <a:pt x="0" y="0"/>
                    <a:pt x="0" y="0"/>
                  </a:cubicBezTo>
                  <a:cubicBezTo>
                    <a:pt x="23" y="15"/>
                    <a:pt x="23" y="15"/>
                    <a:pt x="23" y="15"/>
                  </a:cubicBezTo>
                  <a:cubicBezTo>
                    <a:pt x="35" y="17"/>
                    <a:pt x="35" y="17"/>
                    <a:pt x="35" y="17"/>
                  </a:cubicBezTo>
                  <a:cubicBezTo>
                    <a:pt x="39" y="19"/>
                    <a:pt x="44" y="22"/>
                    <a:pt x="49" y="27"/>
                  </a:cubicBezTo>
                  <a:cubicBezTo>
                    <a:pt x="232" y="27"/>
                    <a:pt x="232" y="27"/>
                    <a:pt x="232" y="27"/>
                  </a:cubicBezTo>
                  <a:cubicBezTo>
                    <a:pt x="237" y="22"/>
                    <a:pt x="242" y="19"/>
                    <a:pt x="246" y="17"/>
                  </a:cubicBezTo>
                  <a:cubicBezTo>
                    <a:pt x="325" y="3"/>
                    <a:pt x="325" y="3"/>
                    <a:pt x="325" y="3"/>
                  </a:cubicBezTo>
                  <a:cubicBezTo>
                    <a:pt x="330" y="1"/>
                    <a:pt x="335" y="0"/>
                    <a:pt x="340" y="0"/>
                  </a:cubicBezTo>
                  <a:cubicBezTo>
                    <a:pt x="343" y="0"/>
                    <a:pt x="346" y="1"/>
                    <a:pt x="349" y="1"/>
                  </a:cubicBezTo>
                  <a:cubicBezTo>
                    <a:pt x="349" y="0"/>
                    <a:pt x="349" y="0"/>
                    <a:pt x="349"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28" name="Freeform 76"/>
            <p:cNvSpPr>
              <a:spLocks/>
            </p:cNvSpPr>
            <p:nvPr/>
          </p:nvSpPr>
          <p:spPr bwMode="auto">
            <a:xfrm>
              <a:off x="4527551" y="3255963"/>
              <a:ext cx="85725" cy="76200"/>
            </a:xfrm>
            <a:custGeom>
              <a:avLst/>
              <a:gdLst>
                <a:gd name="T0" fmla="*/ 49 w 79"/>
                <a:gd name="T1" fmla="*/ 0 h 71"/>
                <a:gd name="T2" fmla="*/ 30 w 79"/>
                <a:gd name="T3" fmla="*/ 14 h 71"/>
                <a:gd name="T4" fmla="*/ 0 w 79"/>
                <a:gd name="T5" fmla="*/ 30 h 71"/>
                <a:gd name="T6" fmla="*/ 0 w 79"/>
                <a:gd name="T7" fmla="*/ 32 h 71"/>
                <a:gd name="T8" fmla="*/ 39 w 79"/>
                <a:gd name="T9" fmla="*/ 71 h 71"/>
                <a:gd name="T10" fmla="*/ 79 w 79"/>
                <a:gd name="T11" fmla="*/ 37 h 71"/>
                <a:gd name="T12" fmla="*/ 54 w 79"/>
                <a:gd name="T13" fmla="*/ 44 h 71"/>
                <a:gd name="T14" fmla="*/ 28 w 79"/>
                <a:gd name="T15" fmla="*/ 37 h 71"/>
                <a:gd name="T16" fmla="*/ 28 w 79"/>
                <a:gd name="T17" fmla="*/ 37 h 71"/>
                <a:gd name="T18" fmla="*/ 49 w 79"/>
                <a:gd name="T19"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9" h="71">
                  <a:moveTo>
                    <a:pt x="49" y="0"/>
                  </a:moveTo>
                  <a:cubicBezTo>
                    <a:pt x="44" y="2"/>
                    <a:pt x="39" y="6"/>
                    <a:pt x="30" y="14"/>
                  </a:cubicBezTo>
                  <a:cubicBezTo>
                    <a:pt x="22" y="23"/>
                    <a:pt x="11" y="28"/>
                    <a:pt x="0" y="30"/>
                  </a:cubicBezTo>
                  <a:cubicBezTo>
                    <a:pt x="0" y="30"/>
                    <a:pt x="0" y="31"/>
                    <a:pt x="0" y="32"/>
                  </a:cubicBezTo>
                  <a:cubicBezTo>
                    <a:pt x="0" y="54"/>
                    <a:pt x="18" y="71"/>
                    <a:pt x="39" y="71"/>
                  </a:cubicBezTo>
                  <a:cubicBezTo>
                    <a:pt x="59" y="71"/>
                    <a:pt x="76" y="57"/>
                    <a:pt x="79" y="37"/>
                  </a:cubicBezTo>
                  <a:cubicBezTo>
                    <a:pt x="71" y="42"/>
                    <a:pt x="62" y="44"/>
                    <a:pt x="54" y="44"/>
                  </a:cubicBezTo>
                  <a:cubicBezTo>
                    <a:pt x="45" y="44"/>
                    <a:pt x="36" y="42"/>
                    <a:pt x="28" y="37"/>
                  </a:cubicBezTo>
                  <a:cubicBezTo>
                    <a:pt x="28" y="37"/>
                    <a:pt x="28" y="37"/>
                    <a:pt x="28" y="37"/>
                  </a:cubicBezTo>
                  <a:cubicBezTo>
                    <a:pt x="49" y="0"/>
                    <a:pt x="49" y="0"/>
                    <a:pt x="49"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29" name="Freeform 77"/>
            <p:cNvSpPr>
              <a:spLocks/>
            </p:cNvSpPr>
            <p:nvPr/>
          </p:nvSpPr>
          <p:spPr bwMode="auto">
            <a:xfrm>
              <a:off x="4629151" y="3238500"/>
              <a:ext cx="71438" cy="82550"/>
            </a:xfrm>
            <a:custGeom>
              <a:avLst/>
              <a:gdLst>
                <a:gd name="T0" fmla="*/ 1 w 67"/>
                <a:gd name="T1" fmla="*/ 68 h 77"/>
                <a:gd name="T2" fmla="*/ 0 w 67"/>
                <a:gd name="T3" fmla="*/ 68 h 77"/>
                <a:gd name="T4" fmla="*/ 28 w 67"/>
                <a:gd name="T5" fmla="*/ 0 h 77"/>
                <a:gd name="T6" fmla="*/ 67 w 67"/>
                <a:gd name="T7" fmla="*/ 16 h 77"/>
                <a:gd name="T8" fmla="*/ 55 w 67"/>
                <a:gd name="T9" fmla="*/ 45 h 77"/>
                <a:gd name="T10" fmla="*/ 1 w 67"/>
                <a:gd name="T11" fmla="*/ 68 h 77"/>
              </a:gdLst>
              <a:ahLst/>
              <a:cxnLst>
                <a:cxn ang="0">
                  <a:pos x="T0" y="T1"/>
                </a:cxn>
                <a:cxn ang="0">
                  <a:pos x="T2" y="T3"/>
                </a:cxn>
                <a:cxn ang="0">
                  <a:pos x="T4" y="T5"/>
                </a:cxn>
                <a:cxn ang="0">
                  <a:pos x="T6" y="T7"/>
                </a:cxn>
                <a:cxn ang="0">
                  <a:pos x="T8" y="T9"/>
                </a:cxn>
                <a:cxn ang="0">
                  <a:pos x="T10" y="T11"/>
                </a:cxn>
              </a:cxnLst>
              <a:rect l="0" t="0" r="r" b="b"/>
              <a:pathLst>
                <a:path w="67" h="77">
                  <a:moveTo>
                    <a:pt x="1" y="68"/>
                  </a:moveTo>
                  <a:cubicBezTo>
                    <a:pt x="0" y="68"/>
                    <a:pt x="0" y="68"/>
                    <a:pt x="0" y="68"/>
                  </a:cubicBezTo>
                  <a:cubicBezTo>
                    <a:pt x="28" y="0"/>
                    <a:pt x="28" y="0"/>
                    <a:pt x="28" y="0"/>
                  </a:cubicBezTo>
                  <a:cubicBezTo>
                    <a:pt x="67" y="16"/>
                    <a:pt x="67" y="16"/>
                    <a:pt x="67" y="16"/>
                  </a:cubicBezTo>
                  <a:cubicBezTo>
                    <a:pt x="55" y="45"/>
                    <a:pt x="55" y="45"/>
                    <a:pt x="55" y="45"/>
                  </a:cubicBezTo>
                  <a:cubicBezTo>
                    <a:pt x="46" y="67"/>
                    <a:pt x="22" y="77"/>
                    <a:pt x="1" y="68"/>
                  </a:cubicBezTo>
                </a:path>
              </a:pathLst>
            </a:custGeom>
            <a:solidFill>
              <a:srgbClr val="AF886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30" name="Freeform 78"/>
            <p:cNvSpPr>
              <a:spLocks/>
            </p:cNvSpPr>
            <p:nvPr/>
          </p:nvSpPr>
          <p:spPr bwMode="auto">
            <a:xfrm>
              <a:off x="4684713" y="3260725"/>
              <a:ext cx="85725" cy="71438"/>
            </a:xfrm>
            <a:custGeom>
              <a:avLst/>
              <a:gdLst>
                <a:gd name="T0" fmla="*/ 0 w 81"/>
                <a:gd name="T1" fmla="*/ 52 h 68"/>
                <a:gd name="T2" fmla="*/ 0 w 81"/>
                <a:gd name="T3" fmla="*/ 52 h 68"/>
                <a:gd name="T4" fmla="*/ 52 w 81"/>
                <a:gd name="T5" fmla="*/ 0 h 68"/>
                <a:gd name="T6" fmla="*/ 81 w 81"/>
                <a:gd name="T7" fmla="*/ 30 h 68"/>
                <a:gd name="T8" fmla="*/ 59 w 81"/>
                <a:gd name="T9" fmla="*/ 52 h 68"/>
                <a:gd name="T10" fmla="*/ 0 w 81"/>
                <a:gd name="T11" fmla="*/ 52 h 68"/>
              </a:gdLst>
              <a:ahLst/>
              <a:cxnLst>
                <a:cxn ang="0">
                  <a:pos x="T0" y="T1"/>
                </a:cxn>
                <a:cxn ang="0">
                  <a:pos x="T2" y="T3"/>
                </a:cxn>
                <a:cxn ang="0">
                  <a:pos x="T4" y="T5"/>
                </a:cxn>
                <a:cxn ang="0">
                  <a:pos x="T6" y="T7"/>
                </a:cxn>
                <a:cxn ang="0">
                  <a:pos x="T8" y="T9"/>
                </a:cxn>
                <a:cxn ang="0">
                  <a:pos x="T10" y="T11"/>
                </a:cxn>
              </a:cxnLst>
              <a:rect l="0" t="0" r="r" b="b"/>
              <a:pathLst>
                <a:path w="81" h="68">
                  <a:moveTo>
                    <a:pt x="0" y="52"/>
                  </a:moveTo>
                  <a:cubicBezTo>
                    <a:pt x="0" y="52"/>
                    <a:pt x="0" y="52"/>
                    <a:pt x="0" y="52"/>
                  </a:cubicBezTo>
                  <a:cubicBezTo>
                    <a:pt x="52" y="0"/>
                    <a:pt x="52" y="0"/>
                    <a:pt x="52" y="0"/>
                  </a:cubicBezTo>
                  <a:cubicBezTo>
                    <a:pt x="81" y="30"/>
                    <a:pt x="81" y="30"/>
                    <a:pt x="81" y="30"/>
                  </a:cubicBezTo>
                  <a:cubicBezTo>
                    <a:pt x="59" y="52"/>
                    <a:pt x="59" y="52"/>
                    <a:pt x="59" y="52"/>
                  </a:cubicBezTo>
                  <a:cubicBezTo>
                    <a:pt x="43" y="68"/>
                    <a:pt x="16" y="68"/>
                    <a:pt x="0" y="52"/>
                  </a:cubicBezTo>
                </a:path>
              </a:pathLst>
            </a:custGeom>
            <a:solidFill>
              <a:srgbClr val="9B745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31" name="Freeform 79"/>
            <p:cNvSpPr>
              <a:spLocks/>
            </p:cNvSpPr>
            <p:nvPr/>
          </p:nvSpPr>
          <p:spPr bwMode="auto">
            <a:xfrm>
              <a:off x="4557713" y="3211513"/>
              <a:ext cx="96838" cy="98425"/>
            </a:xfrm>
            <a:custGeom>
              <a:avLst/>
              <a:gdLst>
                <a:gd name="T0" fmla="*/ 0 w 90"/>
                <a:gd name="T1" fmla="*/ 79 h 93"/>
                <a:gd name="T2" fmla="*/ 0 w 90"/>
                <a:gd name="T3" fmla="*/ 79 h 93"/>
                <a:gd name="T4" fmla="*/ 45 w 90"/>
                <a:gd name="T5" fmla="*/ 0 h 93"/>
                <a:gd name="T6" fmla="*/ 90 w 90"/>
                <a:gd name="T7" fmla="*/ 25 h 93"/>
                <a:gd name="T8" fmla="*/ 71 w 90"/>
                <a:gd name="T9" fmla="*/ 60 h 93"/>
                <a:gd name="T10" fmla="*/ 0 w 90"/>
                <a:gd name="T11" fmla="*/ 79 h 93"/>
              </a:gdLst>
              <a:ahLst/>
              <a:cxnLst>
                <a:cxn ang="0">
                  <a:pos x="T0" y="T1"/>
                </a:cxn>
                <a:cxn ang="0">
                  <a:pos x="T2" y="T3"/>
                </a:cxn>
                <a:cxn ang="0">
                  <a:pos x="T4" y="T5"/>
                </a:cxn>
                <a:cxn ang="0">
                  <a:pos x="T6" y="T7"/>
                </a:cxn>
                <a:cxn ang="0">
                  <a:pos x="T8" y="T9"/>
                </a:cxn>
                <a:cxn ang="0">
                  <a:pos x="T10" y="T11"/>
                </a:cxn>
              </a:cxnLst>
              <a:rect l="0" t="0" r="r" b="b"/>
              <a:pathLst>
                <a:path w="90" h="93">
                  <a:moveTo>
                    <a:pt x="0" y="79"/>
                  </a:moveTo>
                  <a:cubicBezTo>
                    <a:pt x="0" y="79"/>
                    <a:pt x="0" y="79"/>
                    <a:pt x="0" y="79"/>
                  </a:cubicBezTo>
                  <a:cubicBezTo>
                    <a:pt x="45" y="0"/>
                    <a:pt x="45" y="0"/>
                    <a:pt x="45" y="0"/>
                  </a:cubicBezTo>
                  <a:cubicBezTo>
                    <a:pt x="90" y="25"/>
                    <a:pt x="90" y="25"/>
                    <a:pt x="90" y="25"/>
                  </a:cubicBezTo>
                  <a:cubicBezTo>
                    <a:pt x="71" y="60"/>
                    <a:pt x="71" y="60"/>
                    <a:pt x="71" y="60"/>
                  </a:cubicBezTo>
                  <a:cubicBezTo>
                    <a:pt x="57" y="84"/>
                    <a:pt x="25" y="93"/>
                    <a:pt x="0" y="79"/>
                  </a:cubicBezTo>
                </a:path>
              </a:pathLst>
            </a:custGeom>
            <a:solidFill>
              <a:srgbClr val="C69C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32" name="Freeform 80"/>
            <p:cNvSpPr>
              <a:spLocks/>
            </p:cNvSpPr>
            <p:nvPr/>
          </p:nvSpPr>
          <p:spPr bwMode="auto">
            <a:xfrm>
              <a:off x="4557713" y="3251200"/>
              <a:ext cx="88900" cy="47625"/>
            </a:xfrm>
            <a:custGeom>
              <a:avLst/>
              <a:gdLst>
                <a:gd name="T0" fmla="*/ 75 w 83"/>
                <a:gd name="T1" fmla="*/ 0 h 44"/>
                <a:gd name="T2" fmla="*/ 48 w 83"/>
                <a:gd name="T3" fmla="*/ 1 h 44"/>
                <a:gd name="T4" fmla="*/ 21 w 83"/>
                <a:gd name="T5" fmla="*/ 4 h 44"/>
                <a:gd name="T6" fmla="*/ 0 w 83"/>
                <a:gd name="T7" fmla="*/ 41 h 44"/>
                <a:gd name="T8" fmla="*/ 0 w 83"/>
                <a:gd name="T9" fmla="*/ 41 h 44"/>
                <a:gd name="T10" fmla="*/ 7 w 83"/>
                <a:gd name="T11" fmla="*/ 44 h 44"/>
                <a:gd name="T12" fmla="*/ 17 w 83"/>
                <a:gd name="T13" fmla="*/ 27 h 44"/>
                <a:gd name="T14" fmla="*/ 43 w 83"/>
                <a:gd name="T15" fmla="*/ 10 h 44"/>
                <a:gd name="T16" fmla="*/ 43 w 83"/>
                <a:gd name="T17" fmla="*/ 10 h 44"/>
                <a:gd name="T18" fmla="*/ 44 w 83"/>
                <a:gd name="T19" fmla="*/ 9 h 44"/>
                <a:gd name="T20" fmla="*/ 54 w 83"/>
                <a:gd name="T21" fmla="*/ 9 h 44"/>
                <a:gd name="T22" fmla="*/ 76 w 83"/>
                <a:gd name="T23" fmla="*/ 11 h 44"/>
                <a:gd name="T24" fmla="*/ 83 w 83"/>
                <a:gd name="T25" fmla="*/ 0 h 44"/>
                <a:gd name="T26" fmla="*/ 75 w 83"/>
                <a:gd name="T27"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3" h="44">
                  <a:moveTo>
                    <a:pt x="75" y="0"/>
                  </a:moveTo>
                  <a:cubicBezTo>
                    <a:pt x="68" y="0"/>
                    <a:pt x="59" y="0"/>
                    <a:pt x="48" y="1"/>
                  </a:cubicBezTo>
                  <a:cubicBezTo>
                    <a:pt x="32" y="3"/>
                    <a:pt x="27" y="2"/>
                    <a:pt x="21" y="4"/>
                  </a:cubicBezTo>
                  <a:cubicBezTo>
                    <a:pt x="0" y="41"/>
                    <a:pt x="0" y="41"/>
                    <a:pt x="0" y="41"/>
                  </a:cubicBezTo>
                  <a:cubicBezTo>
                    <a:pt x="0" y="41"/>
                    <a:pt x="0" y="41"/>
                    <a:pt x="0" y="41"/>
                  </a:cubicBezTo>
                  <a:cubicBezTo>
                    <a:pt x="3" y="42"/>
                    <a:pt x="5" y="43"/>
                    <a:pt x="7" y="44"/>
                  </a:cubicBezTo>
                  <a:cubicBezTo>
                    <a:pt x="17" y="27"/>
                    <a:pt x="17" y="27"/>
                    <a:pt x="17" y="27"/>
                  </a:cubicBezTo>
                  <a:cubicBezTo>
                    <a:pt x="22" y="18"/>
                    <a:pt x="32" y="11"/>
                    <a:pt x="43" y="10"/>
                  </a:cubicBezTo>
                  <a:cubicBezTo>
                    <a:pt x="43" y="10"/>
                    <a:pt x="43" y="10"/>
                    <a:pt x="43" y="10"/>
                  </a:cubicBezTo>
                  <a:cubicBezTo>
                    <a:pt x="44" y="9"/>
                    <a:pt x="44" y="9"/>
                    <a:pt x="44" y="9"/>
                  </a:cubicBezTo>
                  <a:cubicBezTo>
                    <a:pt x="47" y="9"/>
                    <a:pt x="51" y="9"/>
                    <a:pt x="54" y="9"/>
                  </a:cubicBezTo>
                  <a:cubicBezTo>
                    <a:pt x="62" y="9"/>
                    <a:pt x="69" y="10"/>
                    <a:pt x="76" y="11"/>
                  </a:cubicBezTo>
                  <a:cubicBezTo>
                    <a:pt x="83" y="0"/>
                    <a:pt x="83" y="0"/>
                    <a:pt x="83" y="0"/>
                  </a:cubicBezTo>
                  <a:cubicBezTo>
                    <a:pt x="80" y="0"/>
                    <a:pt x="78" y="0"/>
                    <a:pt x="75" y="0"/>
                  </a:cubicBezTo>
                </a:path>
              </a:pathLst>
            </a:custGeom>
            <a:solidFill>
              <a:srgbClr val="B28C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33" name="Freeform 81"/>
            <p:cNvSpPr>
              <a:spLocks/>
            </p:cNvSpPr>
            <p:nvPr/>
          </p:nvSpPr>
          <p:spPr bwMode="auto">
            <a:xfrm>
              <a:off x="4629151" y="3251200"/>
              <a:ext cx="63500" cy="61913"/>
            </a:xfrm>
            <a:custGeom>
              <a:avLst/>
              <a:gdLst>
                <a:gd name="T0" fmla="*/ 23 w 59"/>
                <a:gd name="T1" fmla="*/ 0 h 58"/>
                <a:gd name="T2" fmla="*/ 0 w 59"/>
                <a:gd name="T3" fmla="*/ 56 h 58"/>
                <a:gd name="T4" fmla="*/ 1 w 59"/>
                <a:gd name="T5" fmla="*/ 56 h 58"/>
                <a:gd name="T6" fmla="*/ 6 w 59"/>
                <a:gd name="T7" fmla="*/ 58 h 58"/>
                <a:gd name="T8" fmla="*/ 19 w 59"/>
                <a:gd name="T9" fmla="*/ 27 h 58"/>
                <a:gd name="T10" fmla="*/ 29 w 59"/>
                <a:gd name="T11" fmla="*/ 19 h 58"/>
                <a:gd name="T12" fmla="*/ 35 w 59"/>
                <a:gd name="T13" fmla="*/ 21 h 58"/>
                <a:gd name="T14" fmla="*/ 54 w 59"/>
                <a:gd name="T15" fmla="*/ 35 h 58"/>
                <a:gd name="T16" fmla="*/ 54 w 59"/>
                <a:gd name="T17" fmla="*/ 36 h 58"/>
                <a:gd name="T18" fmla="*/ 55 w 59"/>
                <a:gd name="T19" fmla="*/ 33 h 58"/>
                <a:gd name="T20" fmla="*/ 59 w 59"/>
                <a:gd name="T21" fmla="*/ 24 h 58"/>
                <a:gd name="T22" fmla="*/ 23 w 59"/>
                <a:gd name="T23"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9" h="58">
                  <a:moveTo>
                    <a:pt x="23" y="0"/>
                  </a:moveTo>
                  <a:cubicBezTo>
                    <a:pt x="0" y="56"/>
                    <a:pt x="0" y="56"/>
                    <a:pt x="0" y="56"/>
                  </a:cubicBezTo>
                  <a:cubicBezTo>
                    <a:pt x="1" y="56"/>
                    <a:pt x="1" y="56"/>
                    <a:pt x="1" y="56"/>
                  </a:cubicBezTo>
                  <a:cubicBezTo>
                    <a:pt x="2" y="57"/>
                    <a:pt x="4" y="57"/>
                    <a:pt x="6" y="58"/>
                  </a:cubicBezTo>
                  <a:cubicBezTo>
                    <a:pt x="19" y="27"/>
                    <a:pt x="19" y="27"/>
                    <a:pt x="19" y="27"/>
                  </a:cubicBezTo>
                  <a:cubicBezTo>
                    <a:pt x="21" y="22"/>
                    <a:pt x="25" y="19"/>
                    <a:pt x="29" y="19"/>
                  </a:cubicBezTo>
                  <a:cubicBezTo>
                    <a:pt x="31" y="19"/>
                    <a:pt x="34" y="20"/>
                    <a:pt x="35" y="21"/>
                  </a:cubicBezTo>
                  <a:cubicBezTo>
                    <a:pt x="42" y="25"/>
                    <a:pt x="48" y="30"/>
                    <a:pt x="54" y="35"/>
                  </a:cubicBezTo>
                  <a:cubicBezTo>
                    <a:pt x="54" y="36"/>
                    <a:pt x="54" y="36"/>
                    <a:pt x="54" y="36"/>
                  </a:cubicBezTo>
                  <a:cubicBezTo>
                    <a:pt x="54" y="35"/>
                    <a:pt x="55" y="34"/>
                    <a:pt x="55" y="33"/>
                  </a:cubicBezTo>
                  <a:cubicBezTo>
                    <a:pt x="59" y="24"/>
                    <a:pt x="59" y="24"/>
                    <a:pt x="59" y="24"/>
                  </a:cubicBezTo>
                  <a:cubicBezTo>
                    <a:pt x="48" y="9"/>
                    <a:pt x="38" y="2"/>
                    <a:pt x="23" y="0"/>
                  </a:cubicBezTo>
                </a:path>
              </a:pathLst>
            </a:custGeom>
            <a:solidFill>
              <a:srgbClr val="9D7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34" name="Freeform 82"/>
            <p:cNvSpPr>
              <a:spLocks/>
            </p:cNvSpPr>
            <p:nvPr/>
          </p:nvSpPr>
          <p:spPr bwMode="auto">
            <a:xfrm>
              <a:off x="4716463" y="3328988"/>
              <a:ext cx="6350" cy="0"/>
            </a:xfrm>
            <a:custGeom>
              <a:avLst/>
              <a:gdLst>
                <a:gd name="T0" fmla="*/ 6 w 6"/>
                <a:gd name="T1" fmla="*/ 0 h 1"/>
                <a:gd name="T2" fmla="*/ 0 w 6"/>
                <a:gd name="T3" fmla="*/ 0 h 1"/>
                <a:gd name="T4" fmla="*/ 2 w 6"/>
                <a:gd name="T5" fmla="*/ 1 h 1"/>
                <a:gd name="T6" fmla="*/ 6 w 6"/>
                <a:gd name="T7" fmla="*/ 0 h 1"/>
                <a:gd name="T8" fmla="*/ 6 w 6"/>
                <a:gd name="T9" fmla="*/ 0 h 1"/>
              </a:gdLst>
              <a:ahLst/>
              <a:cxnLst>
                <a:cxn ang="0">
                  <a:pos x="T0" y="T1"/>
                </a:cxn>
                <a:cxn ang="0">
                  <a:pos x="T2" y="T3"/>
                </a:cxn>
                <a:cxn ang="0">
                  <a:pos x="T4" y="T5"/>
                </a:cxn>
                <a:cxn ang="0">
                  <a:pos x="T6" y="T7"/>
                </a:cxn>
                <a:cxn ang="0">
                  <a:pos x="T8" y="T9"/>
                </a:cxn>
              </a:cxnLst>
              <a:rect l="0" t="0" r="r" b="b"/>
              <a:pathLst>
                <a:path w="6" h="1">
                  <a:moveTo>
                    <a:pt x="6" y="0"/>
                  </a:moveTo>
                  <a:cubicBezTo>
                    <a:pt x="4" y="0"/>
                    <a:pt x="2" y="0"/>
                    <a:pt x="0" y="0"/>
                  </a:cubicBezTo>
                  <a:cubicBezTo>
                    <a:pt x="1" y="0"/>
                    <a:pt x="1" y="1"/>
                    <a:pt x="2" y="1"/>
                  </a:cubicBezTo>
                  <a:cubicBezTo>
                    <a:pt x="3" y="1"/>
                    <a:pt x="5" y="0"/>
                    <a:pt x="6" y="0"/>
                  </a:cubicBezTo>
                  <a:cubicBezTo>
                    <a:pt x="6" y="0"/>
                    <a:pt x="6" y="0"/>
                    <a:pt x="6" y="0"/>
                  </a:cubicBezTo>
                </a:path>
              </a:pathLst>
            </a:custGeom>
            <a:solidFill>
              <a:srgbClr val="1778C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35" name="Freeform 83"/>
            <p:cNvSpPr>
              <a:spLocks/>
            </p:cNvSpPr>
            <p:nvPr/>
          </p:nvSpPr>
          <p:spPr bwMode="auto">
            <a:xfrm>
              <a:off x="4684713" y="3295650"/>
              <a:ext cx="38100" cy="33338"/>
            </a:xfrm>
            <a:custGeom>
              <a:avLst/>
              <a:gdLst>
                <a:gd name="T0" fmla="*/ 18 w 36"/>
                <a:gd name="T1" fmla="*/ 0 h 31"/>
                <a:gd name="T2" fmla="*/ 0 w 36"/>
                <a:gd name="T3" fmla="*/ 19 h 31"/>
                <a:gd name="T4" fmla="*/ 0 w 36"/>
                <a:gd name="T5" fmla="*/ 19 h 31"/>
                <a:gd name="T6" fmla="*/ 4 w 36"/>
                <a:gd name="T7" fmla="*/ 23 h 31"/>
                <a:gd name="T8" fmla="*/ 9 w 36"/>
                <a:gd name="T9" fmla="*/ 18 h 31"/>
                <a:gd name="T10" fmla="*/ 14 w 36"/>
                <a:gd name="T11" fmla="*/ 16 h 31"/>
                <a:gd name="T12" fmla="*/ 19 w 36"/>
                <a:gd name="T13" fmla="*/ 18 h 31"/>
                <a:gd name="T14" fmla="*/ 29 w 36"/>
                <a:gd name="T15" fmla="*/ 31 h 31"/>
                <a:gd name="T16" fmla="*/ 30 w 36"/>
                <a:gd name="T17" fmla="*/ 31 h 31"/>
                <a:gd name="T18" fmla="*/ 36 w 36"/>
                <a:gd name="T19" fmla="*/ 31 h 31"/>
                <a:gd name="T20" fmla="*/ 18 w 36"/>
                <a:gd name="T21"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 h="31">
                  <a:moveTo>
                    <a:pt x="18" y="0"/>
                  </a:moveTo>
                  <a:cubicBezTo>
                    <a:pt x="0" y="19"/>
                    <a:pt x="0" y="19"/>
                    <a:pt x="0" y="19"/>
                  </a:cubicBezTo>
                  <a:cubicBezTo>
                    <a:pt x="0" y="19"/>
                    <a:pt x="0" y="19"/>
                    <a:pt x="0" y="19"/>
                  </a:cubicBezTo>
                  <a:cubicBezTo>
                    <a:pt x="1" y="21"/>
                    <a:pt x="3" y="22"/>
                    <a:pt x="4" y="23"/>
                  </a:cubicBezTo>
                  <a:cubicBezTo>
                    <a:pt x="9" y="18"/>
                    <a:pt x="9" y="18"/>
                    <a:pt x="9" y="18"/>
                  </a:cubicBezTo>
                  <a:cubicBezTo>
                    <a:pt x="10" y="17"/>
                    <a:pt x="12" y="16"/>
                    <a:pt x="14" y="16"/>
                  </a:cubicBezTo>
                  <a:cubicBezTo>
                    <a:pt x="16" y="16"/>
                    <a:pt x="18" y="17"/>
                    <a:pt x="19" y="18"/>
                  </a:cubicBezTo>
                  <a:cubicBezTo>
                    <a:pt x="23" y="23"/>
                    <a:pt x="27" y="27"/>
                    <a:pt x="29" y="31"/>
                  </a:cubicBezTo>
                  <a:cubicBezTo>
                    <a:pt x="29" y="31"/>
                    <a:pt x="30" y="31"/>
                    <a:pt x="30" y="31"/>
                  </a:cubicBezTo>
                  <a:cubicBezTo>
                    <a:pt x="32" y="31"/>
                    <a:pt x="34" y="31"/>
                    <a:pt x="36" y="31"/>
                  </a:cubicBezTo>
                  <a:cubicBezTo>
                    <a:pt x="31" y="22"/>
                    <a:pt x="26" y="12"/>
                    <a:pt x="18" y="0"/>
                  </a:cubicBezTo>
                </a:path>
              </a:pathLst>
            </a:custGeom>
            <a:solidFill>
              <a:srgbClr val="8B685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36" name="Freeform 84"/>
            <p:cNvSpPr>
              <a:spLocks/>
            </p:cNvSpPr>
            <p:nvPr/>
          </p:nvSpPr>
          <p:spPr bwMode="auto">
            <a:xfrm>
              <a:off x="4467226" y="3175000"/>
              <a:ext cx="968375" cy="912813"/>
            </a:xfrm>
            <a:custGeom>
              <a:avLst/>
              <a:gdLst>
                <a:gd name="T0" fmla="*/ 904 w 904"/>
                <a:gd name="T1" fmla="*/ 855 h 858"/>
                <a:gd name="T2" fmla="*/ 506 w 904"/>
                <a:gd name="T3" fmla="*/ 329 h 858"/>
                <a:gd name="T4" fmla="*/ 391 w 904"/>
                <a:gd name="T5" fmla="*/ 134 h 858"/>
                <a:gd name="T6" fmla="*/ 371 w 904"/>
                <a:gd name="T7" fmla="*/ 109 h 858"/>
                <a:gd name="T8" fmla="*/ 338 w 904"/>
                <a:gd name="T9" fmla="*/ 83 h 858"/>
                <a:gd name="T10" fmla="*/ 214 w 904"/>
                <a:gd name="T11" fmla="*/ 10 h 858"/>
                <a:gd name="T12" fmla="*/ 174 w 904"/>
                <a:gd name="T13" fmla="*/ 5 h 858"/>
                <a:gd name="T14" fmla="*/ 95 w 904"/>
                <a:gd name="T15" fmla="*/ 19 h 858"/>
                <a:gd name="T16" fmla="*/ 27 w 904"/>
                <a:gd name="T17" fmla="*/ 83 h 858"/>
                <a:gd name="T18" fmla="*/ 87 w 904"/>
                <a:gd name="T19" fmla="*/ 90 h 858"/>
                <a:gd name="T20" fmla="*/ 133 w 904"/>
                <a:gd name="T21" fmla="*/ 73 h 858"/>
                <a:gd name="T22" fmla="*/ 216 w 904"/>
                <a:gd name="T23" fmla="*/ 104 h 858"/>
                <a:gd name="T24" fmla="*/ 252 w 904"/>
                <a:gd name="T25" fmla="*/ 181 h 858"/>
                <a:gd name="T26" fmla="*/ 253 w 904"/>
                <a:gd name="T27" fmla="*/ 189 h 858"/>
                <a:gd name="T28" fmla="*/ 151 w 904"/>
                <a:gd name="T29" fmla="*/ 335 h 858"/>
                <a:gd name="T30" fmla="*/ 93 w 904"/>
                <a:gd name="T31" fmla="*/ 346 h 858"/>
                <a:gd name="T32" fmla="*/ 1 w 904"/>
                <a:gd name="T33" fmla="*/ 434 h 858"/>
                <a:gd name="T34" fmla="*/ 18 w 904"/>
                <a:gd name="T35" fmla="*/ 446 h 858"/>
                <a:gd name="T36" fmla="*/ 144 w 904"/>
                <a:gd name="T37" fmla="*/ 402 h 858"/>
                <a:gd name="T38" fmla="*/ 252 w 904"/>
                <a:gd name="T39" fmla="*/ 421 h 858"/>
                <a:gd name="T40" fmla="*/ 308 w 904"/>
                <a:gd name="T41" fmla="*/ 444 h 858"/>
                <a:gd name="T42" fmla="*/ 360 w 904"/>
                <a:gd name="T43" fmla="*/ 451 h 858"/>
                <a:gd name="T44" fmla="*/ 413 w 904"/>
                <a:gd name="T45" fmla="*/ 477 h 858"/>
                <a:gd name="T46" fmla="*/ 623 w 904"/>
                <a:gd name="T47" fmla="*/ 858 h 858"/>
                <a:gd name="T48" fmla="*/ 904 w 904"/>
                <a:gd name="T49" fmla="*/ 855 h 8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904" h="858">
                  <a:moveTo>
                    <a:pt x="904" y="855"/>
                  </a:moveTo>
                  <a:cubicBezTo>
                    <a:pt x="506" y="329"/>
                    <a:pt x="506" y="329"/>
                    <a:pt x="506" y="329"/>
                  </a:cubicBezTo>
                  <a:cubicBezTo>
                    <a:pt x="391" y="134"/>
                    <a:pt x="391" y="134"/>
                    <a:pt x="391" y="134"/>
                  </a:cubicBezTo>
                  <a:cubicBezTo>
                    <a:pt x="386" y="125"/>
                    <a:pt x="379" y="116"/>
                    <a:pt x="371" y="109"/>
                  </a:cubicBezTo>
                  <a:cubicBezTo>
                    <a:pt x="361" y="99"/>
                    <a:pt x="350" y="90"/>
                    <a:pt x="338" y="83"/>
                  </a:cubicBezTo>
                  <a:cubicBezTo>
                    <a:pt x="214" y="10"/>
                    <a:pt x="214" y="10"/>
                    <a:pt x="214" y="10"/>
                  </a:cubicBezTo>
                  <a:cubicBezTo>
                    <a:pt x="202" y="2"/>
                    <a:pt x="187" y="0"/>
                    <a:pt x="174" y="5"/>
                  </a:cubicBezTo>
                  <a:cubicBezTo>
                    <a:pt x="95" y="19"/>
                    <a:pt x="95" y="19"/>
                    <a:pt x="95" y="19"/>
                  </a:cubicBezTo>
                  <a:cubicBezTo>
                    <a:pt x="78" y="26"/>
                    <a:pt x="35" y="73"/>
                    <a:pt x="27" y="83"/>
                  </a:cubicBezTo>
                  <a:cubicBezTo>
                    <a:pt x="2" y="108"/>
                    <a:pt x="62" y="118"/>
                    <a:pt x="87" y="90"/>
                  </a:cubicBezTo>
                  <a:cubicBezTo>
                    <a:pt x="110" y="70"/>
                    <a:pt x="106" y="77"/>
                    <a:pt x="133" y="73"/>
                  </a:cubicBezTo>
                  <a:cubicBezTo>
                    <a:pt x="180" y="70"/>
                    <a:pt x="194" y="70"/>
                    <a:pt x="216" y="104"/>
                  </a:cubicBezTo>
                  <a:cubicBezTo>
                    <a:pt x="237" y="138"/>
                    <a:pt x="246" y="154"/>
                    <a:pt x="252" y="181"/>
                  </a:cubicBezTo>
                  <a:cubicBezTo>
                    <a:pt x="252" y="184"/>
                    <a:pt x="253" y="186"/>
                    <a:pt x="253" y="189"/>
                  </a:cubicBezTo>
                  <a:cubicBezTo>
                    <a:pt x="265" y="257"/>
                    <a:pt x="219" y="322"/>
                    <a:pt x="151" y="335"/>
                  </a:cubicBezTo>
                  <a:cubicBezTo>
                    <a:pt x="93" y="346"/>
                    <a:pt x="93" y="346"/>
                    <a:pt x="93" y="346"/>
                  </a:cubicBezTo>
                  <a:cubicBezTo>
                    <a:pt x="18" y="370"/>
                    <a:pt x="3" y="410"/>
                    <a:pt x="1" y="434"/>
                  </a:cubicBezTo>
                  <a:cubicBezTo>
                    <a:pt x="0" y="443"/>
                    <a:pt x="10" y="450"/>
                    <a:pt x="18" y="446"/>
                  </a:cubicBezTo>
                  <a:cubicBezTo>
                    <a:pt x="62" y="424"/>
                    <a:pt x="104" y="410"/>
                    <a:pt x="144" y="402"/>
                  </a:cubicBezTo>
                  <a:cubicBezTo>
                    <a:pt x="181" y="395"/>
                    <a:pt x="220" y="402"/>
                    <a:pt x="252" y="421"/>
                  </a:cubicBezTo>
                  <a:cubicBezTo>
                    <a:pt x="268" y="431"/>
                    <a:pt x="287" y="439"/>
                    <a:pt x="308" y="444"/>
                  </a:cubicBezTo>
                  <a:cubicBezTo>
                    <a:pt x="326" y="449"/>
                    <a:pt x="344" y="451"/>
                    <a:pt x="360" y="451"/>
                  </a:cubicBezTo>
                  <a:cubicBezTo>
                    <a:pt x="381" y="452"/>
                    <a:pt x="400" y="461"/>
                    <a:pt x="413" y="477"/>
                  </a:cubicBezTo>
                  <a:cubicBezTo>
                    <a:pt x="508" y="600"/>
                    <a:pt x="623" y="858"/>
                    <a:pt x="623" y="858"/>
                  </a:cubicBezTo>
                  <a:cubicBezTo>
                    <a:pt x="904" y="855"/>
                    <a:pt x="904" y="855"/>
                    <a:pt x="904" y="855"/>
                  </a:cubicBezTo>
                </a:path>
              </a:pathLst>
            </a:custGeom>
            <a:solidFill>
              <a:srgbClr val="D8B0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37" name="Freeform 85"/>
            <p:cNvSpPr>
              <a:spLocks noEditPoints="1"/>
            </p:cNvSpPr>
            <p:nvPr/>
          </p:nvSpPr>
          <p:spPr bwMode="auto">
            <a:xfrm>
              <a:off x="4859338" y="3656013"/>
              <a:ext cx="50800" cy="28575"/>
            </a:xfrm>
            <a:custGeom>
              <a:avLst/>
              <a:gdLst>
                <a:gd name="T0" fmla="*/ 48 w 48"/>
                <a:gd name="T1" fmla="*/ 26 h 27"/>
                <a:gd name="T2" fmla="*/ 48 w 48"/>
                <a:gd name="T3" fmla="*/ 27 h 27"/>
                <a:gd name="T4" fmla="*/ 48 w 48"/>
                <a:gd name="T5" fmla="*/ 27 h 27"/>
                <a:gd name="T6" fmla="*/ 48 w 48"/>
                <a:gd name="T7" fmla="*/ 26 h 27"/>
                <a:gd name="T8" fmla="*/ 0 w 48"/>
                <a:gd name="T9" fmla="*/ 0 h 27"/>
                <a:gd name="T10" fmla="*/ 0 w 48"/>
                <a:gd name="T11" fmla="*/ 0 h 27"/>
                <a:gd name="T12" fmla="*/ 0 w 48"/>
                <a:gd name="T13" fmla="*/ 0 h 27"/>
                <a:gd name="T14" fmla="*/ 0 w 48"/>
                <a:gd name="T15" fmla="*/ 0 h 2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27">
                  <a:moveTo>
                    <a:pt x="48" y="26"/>
                  </a:moveTo>
                  <a:cubicBezTo>
                    <a:pt x="48" y="27"/>
                    <a:pt x="48" y="27"/>
                    <a:pt x="48" y="27"/>
                  </a:cubicBezTo>
                  <a:cubicBezTo>
                    <a:pt x="48" y="27"/>
                    <a:pt x="48" y="27"/>
                    <a:pt x="48" y="27"/>
                  </a:cubicBezTo>
                  <a:cubicBezTo>
                    <a:pt x="48" y="27"/>
                    <a:pt x="48" y="27"/>
                    <a:pt x="48" y="26"/>
                  </a:cubicBezTo>
                  <a:moveTo>
                    <a:pt x="0" y="0"/>
                  </a:moveTo>
                  <a:cubicBezTo>
                    <a:pt x="0" y="0"/>
                    <a:pt x="0" y="0"/>
                    <a:pt x="0" y="0"/>
                  </a:cubicBezTo>
                  <a:cubicBezTo>
                    <a:pt x="0" y="0"/>
                    <a:pt x="0" y="0"/>
                    <a:pt x="0" y="0"/>
                  </a:cubicBezTo>
                  <a:cubicBezTo>
                    <a:pt x="0" y="0"/>
                    <a:pt x="0" y="0"/>
                    <a:pt x="0" y="0"/>
                  </a:cubicBezTo>
                </a:path>
              </a:pathLst>
            </a:custGeom>
            <a:solidFill>
              <a:srgbClr val="006CC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38" name="Freeform 86"/>
            <p:cNvSpPr>
              <a:spLocks/>
            </p:cNvSpPr>
            <p:nvPr/>
          </p:nvSpPr>
          <p:spPr bwMode="auto">
            <a:xfrm>
              <a:off x="4859338" y="3625850"/>
              <a:ext cx="103188" cy="58738"/>
            </a:xfrm>
            <a:custGeom>
              <a:avLst/>
              <a:gdLst>
                <a:gd name="T0" fmla="*/ 97 w 97"/>
                <a:gd name="T1" fmla="*/ 0 h 55"/>
                <a:gd name="T2" fmla="*/ 0 w 97"/>
                <a:gd name="T3" fmla="*/ 28 h 55"/>
                <a:gd name="T4" fmla="*/ 0 w 97"/>
                <a:gd name="T5" fmla="*/ 28 h 55"/>
                <a:gd name="T6" fmla="*/ 48 w 97"/>
                <a:gd name="T7" fmla="*/ 54 h 55"/>
                <a:gd name="T8" fmla="*/ 48 w 97"/>
                <a:gd name="T9" fmla="*/ 55 h 55"/>
                <a:gd name="T10" fmla="*/ 97 w 97"/>
                <a:gd name="T11" fmla="*/ 0 h 55"/>
              </a:gdLst>
              <a:ahLst/>
              <a:cxnLst>
                <a:cxn ang="0">
                  <a:pos x="T0" y="T1"/>
                </a:cxn>
                <a:cxn ang="0">
                  <a:pos x="T2" y="T3"/>
                </a:cxn>
                <a:cxn ang="0">
                  <a:pos x="T4" y="T5"/>
                </a:cxn>
                <a:cxn ang="0">
                  <a:pos x="T6" y="T7"/>
                </a:cxn>
                <a:cxn ang="0">
                  <a:pos x="T8" y="T9"/>
                </a:cxn>
                <a:cxn ang="0">
                  <a:pos x="T10" y="T11"/>
                </a:cxn>
              </a:cxnLst>
              <a:rect l="0" t="0" r="r" b="b"/>
              <a:pathLst>
                <a:path w="97" h="55">
                  <a:moveTo>
                    <a:pt x="97" y="0"/>
                  </a:moveTo>
                  <a:cubicBezTo>
                    <a:pt x="76" y="19"/>
                    <a:pt x="48" y="23"/>
                    <a:pt x="0" y="28"/>
                  </a:cubicBezTo>
                  <a:cubicBezTo>
                    <a:pt x="0" y="28"/>
                    <a:pt x="0" y="28"/>
                    <a:pt x="0" y="28"/>
                  </a:cubicBezTo>
                  <a:cubicBezTo>
                    <a:pt x="32" y="30"/>
                    <a:pt x="47" y="54"/>
                    <a:pt x="48" y="54"/>
                  </a:cubicBezTo>
                  <a:cubicBezTo>
                    <a:pt x="48" y="55"/>
                    <a:pt x="48" y="55"/>
                    <a:pt x="48" y="55"/>
                  </a:cubicBezTo>
                  <a:cubicBezTo>
                    <a:pt x="80" y="38"/>
                    <a:pt x="97" y="0"/>
                    <a:pt x="97" y="0"/>
                  </a:cubicBezTo>
                </a:path>
              </a:pathLst>
            </a:custGeom>
            <a:solidFill>
              <a:srgbClr val="C29E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39" name="Freeform 87"/>
            <p:cNvSpPr>
              <a:spLocks/>
            </p:cNvSpPr>
            <p:nvPr/>
          </p:nvSpPr>
          <p:spPr bwMode="auto">
            <a:xfrm>
              <a:off x="5075238" y="3868738"/>
              <a:ext cx="230188" cy="138113"/>
            </a:xfrm>
            <a:custGeom>
              <a:avLst/>
              <a:gdLst>
                <a:gd name="T0" fmla="*/ 215 w 215"/>
                <a:gd name="T1" fmla="*/ 27 h 130"/>
                <a:gd name="T2" fmla="*/ 162 w 215"/>
                <a:gd name="T3" fmla="*/ 9 h 130"/>
                <a:gd name="T4" fmla="*/ 144 w 215"/>
                <a:gd name="T5" fmla="*/ 29 h 130"/>
                <a:gd name="T6" fmla="*/ 117 w 215"/>
                <a:gd name="T7" fmla="*/ 32 h 130"/>
                <a:gd name="T8" fmla="*/ 99 w 215"/>
                <a:gd name="T9" fmla="*/ 51 h 130"/>
                <a:gd name="T10" fmla="*/ 72 w 215"/>
                <a:gd name="T11" fmla="*/ 54 h 130"/>
                <a:gd name="T12" fmla="*/ 54 w 215"/>
                <a:gd name="T13" fmla="*/ 74 h 130"/>
                <a:gd name="T14" fmla="*/ 27 w 215"/>
                <a:gd name="T15" fmla="*/ 77 h 130"/>
                <a:gd name="T16" fmla="*/ 10 w 215"/>
                <a:gd name="T17" fmla="*/ 130 h 130"/>
                <a:gd name="T18" fmla="*/ 215 w 215"/>
                <a:gd name="T19" fmla="*/ 27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5" h="130">
                  <a:moveTo>
                    <a:pt x="215" y="27"/>
                  </a:moveTo>
                  <a:cubicBezTo>
                    <a:pt x="205" y="7"/>
                    <a:pt x="182" y="0"/>
                    <a:pt x="162" y="9"/>
                  </a:cubicBezTo>
                  <a:cubicBezTo>
                    <a:pt x="154" y="14"/>
                    <a:pt x="147" y="21"/>
                    <a:pt x="144" y="29"/>
                  </a:cubicBezTo>
                  <a:cubicBezTo>
                    <a:pt x="135" y="27"/>
                    <a:pt x="126" y="28"/>
                    <a:pt x="117" y="32"/>
                  </a:cubicBezTo>
                  <a:cubicBezTo>
                    <a:pt x="109" y="36"/>
                    <a:pt x="102" y="43"/>
                    <a:pt x="99" y="51"/>
                  </a:cubicBezTo>
                  <a:cubicBezTo>
                    <a:pt x="90" y="49"/>
                    <a:pt x="81" y="50"/>
                    <a:pt x="72" y="54"/>
                  </a:cubicBezTo>
                  <a:cubicBezTo>
                    <a:pt x="64" y="59"/>
                    <a:pt x="57" y="66"/>
                    <a:pt x="54" y="74"/>
                  </a:cubicBezTo>
                  <a:cubicBezTo>
                    <a:pt x="45" y="72"/>
                    <a:pt x="36" y="73"/>
                    <a:pt x="27" y="77"/>
                  </a:cubicBezTo>
                  <a:cubicBezTo>
                    <a:pt x="8" y="87"/>
                    <a:pt x="0" y="111"/>
                    <a:pt x="10" y="130"/>
                  </a:cubicBezTo>
                  <a:cubicBezTo>
                    <a:pt x="215" y="27"/>
                    <a:pt x="215" y="27"/>
                    <a:pt x="215" y="27"/>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40" name="Freeform 88"/>
            <p:cNvSpPr>
              <a:spLocks/>
            </p:cNvSpPr>
            <p:nvPr/>
          </p:nvSpPr>
          <p:spPr bwMode="auto">
            <a:xfrm>
              <a:off x="4210051" y="3238500"/>
              <a:ext cx="73025" cy="82550"/>
            </a:xfrm>
            <a:custGeom>
              <a:avLst/>
              <a:gdLst>
                <a:gd name="T0" fmla="*/ 66 w 67"/>
                <a:gd name="T1" fmla="*/ 68 h 77"/>
                <a:gd name="T2" fmla="*/ 67 w 67"/>
                <a:gd name="T3" fmla="*/ 68 h 77"/>
                <a:gd name="T4" fmla="*/ 39 w 67"/>
                <a:gd name="T5" fmla="*/ 0 h 77"/>
                <a:gd name="T6" fmla="*/ 0 w 67"/>
                <a:gd name="T7" fmla="*/ 16 h 77"/>
                <a:gd name="T8" fmla="*/ 12 w 67"/>
                <a:gd name="T9" fmla="*/ 45 h 77"/>
                <a:gd name="T10" fmla="*/ 66 w 67"/>
                <a:gd name="T11" fmla="*/ 68 h 77"/>
              </a:gdLst>
              <a:ahLst/>
              <a:cxnLst>
                <a:cxn ang="0">
                  <a:pos x="T0" y="T1"/>
                </a:cxn>
                <a:cxn ang="0">
                  <a:pos x="T2" y="T3"/>
                </a:cxn>
                <a:cxn ang="0">
                  <a:pos x="T4" y="T5"/>
                </a:cxn>
                <a:cxn ang="0">
                  <a:pos x="T6" y="T7"/>
                </a:cxn>
                <a:cxn ang="0">
                  <a:pos x="T8" y="T9"/>
                </a:cxn>
                <a:cxn ang="0">
                  <a:pos x="T10" y="T11"/>
                </a:cxn>
              </a:cxnLst>
              <a:rect l="0" t="0" r="r" b="b"/>
              <a:pathLst>
                <a:path w="67" h="77">
                  <a:moveTo>
                    <a:pt x="66" y="68"/>
                  </a:moveTo>
                  <a:cubicBezTo>
                    <a:pt x="67" y="68"/>
                    <a:pt x="67" y="68"/>
                    <a:pt x="67" y="68"/>
                  </a:cubicBezTo>
                  <a:cubicBezTo>
                    <a:pt x="39" y="0"/>
                    <a:pt x="39" y="0"/>
                    <a:pt x="39" y="0"/>
                  </a:cubicBezTo>
                  <a:cubicBezTo>
                    <a:pt x="0" y="16"/>
                    <a:pt x="0" y="16"/>
                    <a:pt x="0" y="16"/>
                  </a:cubicBezTo>
                  <a:cubicBezTo>
                    <a:pt x="12" y="45"/>
                    <a:pt x="12" y="45"/>
                    <a:pt x="12" y="45"/>
                  </a:cubicBezTo>
                  <a:cubicBezTo>
                    <a:pt x="21" y="67"/>
                    <a:pt x="45" y="77"/>
                    <a:pt x="66" y="68"/>
                  </a:cubicBezTo>
                </a:path>
              </a:pathLst>
            </a:custGeom>
            <a:solidFill>
              <a:srgbClr val="AF886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41" name="Freeform 89"/>
            <p:cNvSpPr>
              <a:spLocks/>
            </p:cNvSpPr>
            <p:nvPr/>
          </p:nvSpPr>
          <p:spPr bwMode="auto">
            <a:xfrm>
              <a:off x="4140201" y="3260725"/>
              <a:ext cx="87313" cy="71438"/>
            </a:xfrm>
            <a:custGeom>
              <a:avLst/>
              <a:gdLst>
                <a:gd name="T0" fmla="*/ 81 w 81"/>
                <a:gd name="T1" fmla="*/ 52 h 68"/>
                <a:gd name="T2" fmla="*/ 81 w 81"/>
                <a:gd name="T3" fmla="*/ 52 h 68"/>
                <a:gd name="T4" fmla="*/ 30 w 81"/>
                <a:gd name="T5" fmla="*/ 0 h 68"/>
                <a:gd name="T6" fmla="*/ 0 w 81"/>
                <a:gd name="T7" fmla="*/ 30 h 68"/>
                <a:gd name="T8" fmla="*/ 22 w 81"/>
                <a:gd name="T9" fmla="*/ 52 h 68"/>
                <a:gd name="T10" fmla="*/ 81 w 81"/>
                <a:gd name="T11" fmla="*/ 52 h 68"/>
              </a:gdLst>
              <a:ahLst/>
              <a:cxnLst>
                <a:cxn ang="0">
                  <a:pos x="T0" y="T1"/>
                </a:cxn>
                <a:cxn ang="0">
                  <a:pos x="T2" y="T3"/>
                </a:cxn>
                <a:cxn ang="0">
                  <a:pos x="T4" y="T5"/>
                </a:cxn>
                <a:cxn ang="0">
                  <a:pos x="T6" y="T7"/>
                </a:cxn>
                <a:cxn ang="0">
                  <a:pos x="T8" y="T9"/>
                </a:cxn>
                <a:cxn ang="0">
                  <a:pos x="T10" y="T11"/>
                </a:cxn>
              </a:cxnLst>
              <a:rect l="0" t="0" r="r" b="b"/>
              <a:pathLst>
                <a:path w="81" h="68">
                  <a:moveTo>
                    <a:pt x="81" y="52"/>
                  </a:moveTo>
                  <a:cubicBezTo>
                    <a:pt x="81" y="52"/>
                    <a:pt x="81" y="52"/>
                    <a:pt x="81" y="52"/>
                  </a:cubicBezTo>
                  <a:cubicBezTo>
                    <a:pt x="30" y="0"/>
                    <a:pt x="30" y="0"/>
                    <a:pt x="30" y="0"/>
                  </a:cubicBezTo>
                  <a:cubicBezTo>
                    <a:pt x="0" y="30"/>
                    <a:pt x="0" y="30"/>
                    <a:pt x="0" y="30"/>
                  </a:cubicBezTo>
                  <a:cubicBezTo>
                    <a:pt x="22" y="52"/>
                    <a:pt x="22" y="52"/>
                    <a:pt x="22" y="52"/>
                  </a:cubicBezTo>
                  <a:cubicBezTo>
                    <a:pt x="39" y="68"/>
                    <a:pt x="65" y="68"/>
                    <a:pt x="81" y="52"/>
                  </a:cubicBezTo>
                </a:path>
              </a:pathLst>
            </a:custGeom>
            <a:solidFill>
              <a:srgbClr val="9B745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42" name="Freeform 90"/>
            <p:cNvSpPr>
              <a:spLocks/>
            </p:cNvSpPr>
            <p:nvPr/>
          </p:nvSpPr>
          <p:spPr bwMode="auto">
            <a:xfrm>
              <a:off x="4256088" y="3211513"/>
              <a:ext cx="96838" cy="98425"/>
            </a:xfrm>
            <a:custGeom>
              <a:avLst/>
              <a:gdLst>
                <a:gd name="T0" fmla="*/ 90 w 90"/>
                <a:gd name="T1" fmla="*/ 79 h 93"/>
                <a:gd name="T2" fmla="*/ 90 w 90"/>
                <a:gd name="T3" fmla="*/ 79 h 93"/>
                <a:gd name="T4" fmla="*/ 45 w 90"/>
                <a:gd name="T5" fmla="*/ 0 h 93"/>
                <a:gd name="T6" fmla="*/ 0 w 90"/>
                <a:gd name="T7" fmla="*/ 25 h 93"/>
                <a:gd name="T8" fmla="*/ 20 w 90"/>
                <a:gd name="T9" fmla="*/ 60 h 93"/>
                <a:gd name="T10" fmla="*/ 90 w 90"/>
                <a:gd name="T11" fmla="*/ 79 h 93"/>
              </a:gdLst>
              <a:ahLst/>
              <a:cxnLst>
                <a:cxn ang="0">
                  <a:pos x="T0" y="T1"/>
                </a:cxn>
                <a:cxn ang="0">
                  <a:pos x="T2" y="T3"/>
                </a:cxn>
                <a:cxn ang="0">
                  <a:pos x="T4" y="T5"/>
                </a:cxn>
                <a:cxn ang="0">
                  <a:pos x="T6" y="T7"/>
                </a:cxn>
                <a:cxn ang="0">
                  <a:pos x="T8" y="T9"/>
                </a:cxn>
                <a:cxn ang="0">
                  <a:pos x="T10" y="T11"/>
                </a:cxn>
              </a:cxnLst>
              <a:rect l="0" t="0" r="r" b="b"/>
              <a:pathLst>
                <a:path w="90" h="93">
                  <a:moveTo>
                    <a:pt x="90" y="79"/>
                  </a:moveTo>
                  <a:cubicBezTo>
                    <a:pt x="90" y="79"/>
                    <a:pt x="90" y="79"/>
                    <a:pt x="90" y="79"/>
                  </a:cubicBezTo>
                  <a:cubicBezTo>
                    <a:pt x="45" y="0"/>
                    <a:pt x="45" y="0"/>
                    <a:pt x="45" y="0"/>
                  </a:cubicBezTo>
                  <a:cubicBezTo>
                    <a:pt x="0" y="25"/>
                    <a:pt x="0" y="25"/>
                    <a:pt x="0" y="25"/>
                  </a:cubicBezTo>
                  <a:cubicBezTo>
                    <a:pt x="20" y="60"/>
                    <a:pt x="20" y="60"/>
                    <a:pt x="20" y="60"/>
                  </a:cubicBezTo>
                  <a:cubicBezTo>
                    <a:pt x="34" y="84"/>
                    <a:pt x="65" y="93"/>
                    <a:pt x="90" y="79"/>
                  </a:cubicBezTo>
                </a:path>
              </a:pathLst>
            </a:custGeom>
            <a:solidFill>
              <a:srgbClr val="C69C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43" name="Freeform 91"/>
            <p:cNvSpPr>
              <a:spLocks/>
            </p:cNvSpPr>
            <p:nvPr/>
          </p:nvSpPr>
          <p:spPr bwMode="auto">
            <a:xfrm>
              <a:off x="4264026" y="3251200"/>
              <a:ext cx="88900" cy="47625"/>
            </a:xfrm>
            <a:custGeom>
              <a:avLst/>
              <a:gdLst>
                <a:gd name="T0" fmla="*/ 8 w 83"/>
                <a:gd name="T1" fmla="*/ 0 h 44"/>
                <a:gd name="T2" fmla="*/ 0 w 83"/>
                <a:gd name="T3" fmla="*/ 0 h 44"/>
                <a:gd name="T4" fmla="*/ 7 w 83"/>
                <a:gd name="T5" fmla="*/ 11 h 44"/>
                <a:gd name="T6" fmla="*/ 29 w 83"/>
                <a:gd name="T7" fmla="*/ 9 h 44"/>
                <a:gd name="T8" fmla="*/ 40 w 83"/>
                <a:gd name="T9" fmla="*/ 9 h 44"/>
                <a:gd name="T10" fmla="*/ 40 w 83"/>
                <a:gd name="T11" fmla="*/ 10 h 44"/>
                <a:gd name="T12" fmla="*/ 41 w 83"/>
                <a:gd name="T13" fmla="*/ 10 h 44"/>
                <a:gd name="T14" fmla="*/ 67 w 83"/>
                <a:gd name="T15" fmla="*/ 27 h 44"/>
                <a:gd name="T16" fmla="*/ 76 w 83"/>
                <a:gd name="T17" fmla="*/ 44 h 44"/>
                <a:gd name="T18" fmla="*/ 83 w 83"/>
                <a:gd name="T19" fmla="*/ 41 h 44"/>
                <a:gd name="T20" fmla="*/ 83 w 83"/>
                <a:gd name="T21" fmla="*/ 41 h 44"/>
                <a:gd name="T22" fmla="*/ 62 w 83"/>
                <a:gd name="T23" fmla="*/ 4 h 44"/>
                <a:gd name="T24" fmla="*/ 35 w 83"/>
                <a:gd name="T25" fmla="*/ 1 h 44"/>
                <a:gd name="T26" fmla="*/ 8 w 83"/>
                <a:gd name="T27"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3" h="44">
                  <a:moveTo>
                    <a:pt x="8" y="0"/>
                  </a:moveTo>
                  <a:cubicBezTo>
                    <a:pt x="5" y="0"/>
                    <a:pt x="3" y="0"/>
                    <a:pt x="0" y="0"/>
                  </a:cubicBezTo>
                  <a:cubicBezTo>
                    <a:pt x="7" y="11"/>
                    <a:pt x="7" y="11"/>
                    <a:pt x="7" y="11"/>
                  </a:cubicBezTo>
                  <a:cubicBezTo>
                    <a:pt x="14" y="10"/>
                    <a:pt x="21" y="9"/>
                    <a:pt x="29" y="9"/>
                  </a:cubicBezTo>
                  <a:cubicBezTo>
                    <a:pt x="32" y="9"/>
                    <a:pt x="36" y="9"/>
                    <a:pt x="40" y="9"/>
                  </a:cubicBezTo>
                  <a:cubicBezTo>
                    <a:pt x="40" y="10"/>
                    <a:pt x="40" y="10"/>
                    <a:pt x="40" y="10"/>
                  </a:cubicBezTo>
                  <a:cubicBezTo>
                    <a:pt x="41" y="10"/>
                    <a:pt x="41" y="10"/>
                    <a:pt x="41" y="10"/>
                  </a:cubicBezTo>
                  <a:cubicBezTo>
                    <a:pt x="51" y="11"/>
                    <a:pt x="61" y="18"/>
                    <a:pt x="67" y="27"/>
                  </a:cubicBezTo>
                  <a:cubicBezTo>
                    <a:pt x="76" y="44"/>
                    <a:pt x="76" y="44"/>
                    <a:pt x="76" y="44"/>
                  </a:cubicBezTo>
                  <a:cubicBezTo>
                    <a:pt x="78" y="43"/>
                    <a:pt x="81" y="42"/>
                    <a:pt x="83" y="41"/>
                  </a:cubicBezTo>
                  <a:cubicBezTo>
                    <a:pt x="83" y="41"/>
                    <a:pt x="83" y="41"/>
                    <a:pt x="83" y="41"/>
                  </a:cubicBezTo>
                  <a:cubicBezTo>
                    <a:pt x="62" y="4"/>
                    <a:pt x="62" y="4"/>
                    <a:pt x="62" y="4"/>
                  </a:cubicBezTo>
                  <a:cubicBezTo>
                    <a:pt x="56" y="2"/>
                    <a:pt x="51" y="3"/>
                    <a:pt x="35" y="1"/>
                  </a:cubicBezTo>
                  <a:cubicBezTo>
                    <a:pt x="24" y="0"/>
                    <a:pt x="15" y="0"/>
                    <a:pt x="8" y="0"/>
                  </a:cubicBezTo>
                </a:path>
              </a:pathLst>
            </a:custGeom>
            <a:solidFill>
              <a:srgbClr val="B28C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44" name="Freeform 92"/>
            <p:cNvSpPr>
              <a:spLocks/>
            </p:cNvSpPr>
            <p:nvPr/>
          </p:nvSpPr>
          <p:spPr bwMode="auto">
            <a:xfrm>
              <a:off x="4219576" y="3251200"/>
              <a:ext cx="63500" cy="61913"/>
            </a:xfrm>
            <a:custGeom>
              <a:avLst/>
              <a:gdLst>
                <a:gd name="T0" fmla="*/ 36 w 59"/>
                <a:gd name="T1" fmla="*/ 0 h 58"/>
                <a:gd name="T2" fmla="*/ 0 w 59"/>
                <a:gd name="T3" fmla="*/ 24 h 58"/>
                <a:gd name="T4" fmla="*/ 4 w 59"/>
                <a:gd name="T5" fmla="*/ 33 h 58"/>
                <a:gd name="T6" fmla="*/ 5 w 59"/>
                <a:gd name="T7" fmla="*/ 36 h 58"/>
                <a:gd name="T8" fmla="*/ 6 w 59"/>
                <a:gd name="T9" fmla="*/ 35 h 58"/>
                <a:gd name="T10" fmla="*/ 24 w 59"/>
                <a:gd name="T11" fmla="*/ 21 h 58"/>
                <a:gd name="T12" fmla="*/ 30 w 59"/>
                <a:gd name="T13" fmla="*/ 19 h 58"/>
                <a:gd name="T14" fmla="*/ 40 w 59"/>
                <a:gd name="T15" fmla="*/ 27 h 58"/>
                <a:gd name="T16" fmla="*/ 53 w 59"/>
                <a:gd name="T17" fmla="*/ 58 h 58"/>
                <a:gd name="T18" fmla="*/ 58 w 59"/>
                <a:gd name="T19" fmla="*/ 56 h 58"/>
                <a:gd name="T20" fmla="*/ 58 w 59"/>
                <a:gd name="T21" fmla="*/ 56 h 58"/>
                <a:gd name="T22" fmla="*/ 58 w 59"/>
                <a:gd name="T23" fmla="*/ 56 h 58"/>
                <a:gd name="T24" fmla="*/ 59 w 59"/>
                <a:gd name="T25" fmla="*/ 56 h 58"/>
                <a:gd name="T26" fmla="*/ 36 w 59"/>
                <a:gd name="T27"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 h="58">
                  <a:moveTo>
                    <a:pt x="36" y="0"/>
                  </a:moveTo>
                  <a:cubicBezTo>
                    <a:pt x="21" y="2"/>
                    <a:pt x="11" y="9"/>
                    <a:pt x="0" y="24"/>
                  </a:cubicBezTo>
                  <a:cubicBezTo>
                    <a:pt x="4" y="33"/>
                    <a:pt x="4" y="33"/>
                    <a:pt x="4" y="33"/>
                  </a:cubicBezTo>
                  <a:cubicBezTo>
                    <a:pt x="4" y="34"/>
                    <a:pt x="5" y="35"/>
                    <a:pt x="5" y="36"/>
                  </a:cubicBezTo>
                  <a:cubicBezTo>
                    <a:pt x="6" y="35"/>
                    <a:pt x="6" y="35"/>
                    <a:pt x="6" y="35"/>
                  </a:cubicBezTo>
                  <a:cubicBezTo>
                    <a:pt x="11" y="30"/>
                    <a:pt x="17" y="25"/>
                    <a:pt x="24" y="21"/>
                  </a:cubicBezTo>
                  <a:cubicBezTo>
                    <a:pt x="26" y="20"/>
                    <a:pt x="28" y="19"/>
                    <a:pt x="30" y="19"/>
                  </a:cubicBezTo>
                  <a:cubicBezTo>
                    <a:pt x="34" y="19"/>
                    <a:pt x="39" y="22"/>
                    <a:pt x="40" y="27"/>
                  </a:cubicBezTo>
                  <a:cubicBezTo>
                    <a:pt x="53" y="58"/>
                    <a:pt x="53" y="58"/>
                    <a:pt x="53" y="58"/>
                  </a:cubicBezTo>
                  <a:cubicBezTo>
                    <a:pt x="55" y="57"/>
                    <a:pt x="57" y="57"/>
                    <a:pt x="58" y="56"/>
                  </a:cubicBezTo>
                  <a:cubicBezTo>
                    <a:pt x="58" y="56"/>
                    <a:pt x="58" y="56"/>
                    <a:pt x="58" y="56"/>
                  </a:cubicBezTo>
                  <a:cubicBezTo>
                    <a:pt x="58" y="56"/>
                    <a:pt x="58" y="56"/>
                    <a:pt x="58" y="56"/>
                  </a:cubicBezTo>
                  <a:cubicBezTo>
                    <a:pt x="59" y="56"/>
                    <a:pt x="59" y="56"/>
                    <a:pt x="59" y="56"/>
                  </a:cubicBezTo>
                  <a:cubicBezTo>
                    <a:pt x="36" y="0"/>
                    <a:pt x="36" y="0"/>
                    <a:pt x="36" y="0"/>
                  </a:cubicBezTo>
                </a:path>
              </a:pathLst>
            </a:custGeom>
            <a:solidFill>
              <a:srgbClr val="9D7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45" name="Freeform 93"/>
            <p:cNvSpPr>
              <a:spLocks noEditPoints="1"/>
            </p:cNvSpPr>
            <p:nvPr/>
          </p:nvSpPr>
          <p:spPr bwMode="auto">
            <a:xfrm>
              <a:off x="4187826" y="3295650"/>
              <a:ext cx="39688" cy="33338"/>
            </a:xfrm>
            <a:custGeom>
              <a:avLst/>
              <a:gdLst>
                <a:gd name="T0" fmla="*/ 0 w 36"/>
                <a:gd name="T1" fmla="*/ 31 h 32"/>
                <a:gd name="T2" fmla="*/ 0 w 36"/>
                <a:gd name="T3" fmla="*/ 31 h 32"/>
                <a:gd name="T4" fmla="*/ 4 w 36"/>
                <a:gd name="T5" fmla="*/ 32 h 32"/>
                <a:gd name="T6" fmla="*/ 6 w 36"/>
                <a:gd name="T7" fmla="*/ 31 h 32"/>
                <a:gd name="T8" fmla="*/ 0 w 36"/>
                <a:gd name="T9" fmla="*/ 31 h 32"/>
                <a:gd name="T10" fmla="*/ 18 w 36"/>
                <a:gd name="T11" fmla="*/ 0 h 32"/>
                <a:gd name="T12" fmla="*/ 18 w 36"/>
                <a:gd name="T13" fmla="*/ 0 h 32"/>
                <a:gd name="T14" fmla="*/ 36 w 36"/>
                <a:gd name="T15" fmla="*/ 19 h 32"/>
                <a:gd name="T16" fmla="*/ 18 w 36"/>
                <a:gd name="T17"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 h="32">
                  <a:moveTo>
                    <a:pt x="0" y="31"/>
                  </a:moveTo>
                  <a:cubicBezTo>
                    <a:pt x="0" y="31"/>
                    <a:pt x="0" y="31"/>
                    <a:pt x="0" y="31"/>
                  </a:cubicBezTo>
                  <a:cubicBezTo>
                    <a:pt x="1" y="31"/>
                    <a:pt x="3" y="32"/>
                    <a:pt x="4" y="32"/>
                  </a:cubicBezTo>
                  <a:cubicBezTo>
                    <a:pt x="5" y="32"/>
                    <a:pt x="5" y="31"/>
                    <a:pt x="6" y="31"/>
                  </a:cubicBezTo>
                  <a:cubicBezTo>
                    <a:pt x="4" y="31"/>
                    <a:pt x="2" y="31"/>
                    <a:pt x="0" y="31"/>
                  </a:cubicBezTo>
                  <a:moveTo>
                    <a:pt x="18" y="0"/>
                  </a:moveTo>
                  <a:cubicBezTo>
                    <a:pt x="18" y="0"/>
                    <a:pt x="18" y="0"/>
                    <a:pt x="18" y="0"/>
                  </a:cubicBezTo>
                  <a:cubicBezTo>
                    <a:pt x="36" y="19"/>
                    <a:pt x="36" y="19"/>
                    <a:pt x="36" y="19"/>
                  </a:cubicBezTo>
                  <a:cubicBezTo>
                    <a:pt x="18" y="0"/>
                    <a:pt x="18" y="0"/>
                    <a:pt x="18" y="0"/>
                  </a:cubicBezTo>
                </a:path>
              </a:pathLst>
            </a:custGeom>
            <a:solidFill>
              <a:srgbClr val="006CC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46" name="Freeform 94"/>
            <p:cNvSpPr>
              <a:spLocks/>
            </p:cNvSpPr>
            <p:nvPr/>
          </p:nvSpPr>
          <p:spPr bwMode="auto">
            <a:xfrm>
              <a:off x="4187826" y="3295650"/>
              <a:ext cx="39688" cy="33338"/>
            </a:xfrm>
            <a:custGeom>
              <a:avLst/>
              <a:gdLst>
                <a:gd name="T0" fmla="*/ 18 w 36"/>
                <a:gd name="T1" fmla="*/ 0 h 31"/>
                <a:gd name="T2" fmla="*/ 0 w 36"/>
                <a:gd name="T3" fmla="*/ 31 h 31"/>
                <a:gd name="T4" fmla="*/ 6 w 36"/>
                <a:gd name="T5" fmla="*/ 31 h 31"/>
                <a:gd name="T6" fmla="*/ 7 w 36"/>
                <a:gd name="T7" fmla="*/ 31 h 31"/>
                <a:gd name="T8" fmla="*/ 17 w 36"/>
                <a:gd name="T9" fmla="*/ 18 h 31"/>
                <a:gd name="T10" fmla="*/ 22 w 36"/>
                <a:gd name="T11" fmla="*/ 16 h 31"/>
                <a:gd name="T12" fmla="*/ 27 w 36"/>
                <a:gd name="T13" fmla="*/ 18 h 31"/>
                <a:gd name="T14" fmla="*/ 32 w 36"/>
                <a:gd name="T15" fmla="*/ 23 h 31"/>
                <a:gd name="T16" fmla="*/ 36 w 36"/>
                <a:gd name="T17" fmla="*/ 19 h 31"/>
                <a:gd name="T18" fmla="*/ 36 w 36"/>
                <a:gd name="T19" fmla="*/ 19 h 31"/>
                <a:gd name="T20" fmla="*/ 18 w 36"/>
                <a:gd name="T21"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 h="31">
                  <a:moveTo>
                    <a:pt x="18" y="0"/>
                  </a:moveTo>
                  <a:cubicBezTo>
                    <a:pt x="10" y="12"/>
                    <a:pt x="5" y="22"/>
                    <a:pt x="0" y="31"/>
                  </a:cubicBezTo>
                  <a:cubicBezTo>
                    <a:pt x="2" y="31"/>
                    <a:pt x="4" y="31"/>
                    <a:pt x="6" y="31"/>
                  </a:cubicBezTo>
                  <a:cubicBezTo>
                    <a:pt x="6" y="31"/>
                    <a:pt x="7" y="31"/>
                    <a:pt x="7" y="31"/>
                  </a:cubicBezTo>
                  <a:cubicBezTo>
                    <a:pt x="9" y="27"/>
                    <a:pt x="13" y="23"/>
                    <a:pt x="17" y="18"/>
                  </a:cubicBezTo>
                  <a:cubicBezTo>
                    <a:pt x="18" y="17"/>
                    <a:pt x="20" y="16"/>
                    <a:pt x="22" y="16"/>
                  </a:cubicBezTo>
                  <a:cubicBezTo>
                    <a:pt x="24" y="16"/>
                    <a:pt x="26" y="17"/>
                    <a:pt x="27" y="18"/>
                  </a:cubicBezTo>
                  <a:cubicBezTo>
                    <a:pt x="32" y="23"/>
                    <a:pt x="32" y="23"/>
                    <a:pt x="32" y="23"/>
                  </a:cubicBezTo>
                  <a:cubicBezTo>
                    <a:pt x="33" y="22"/>
                    <a:pt x="35" y="21"/>
                    <a:pt x="36" y="19"/>
                  </a:cubicBezTo>
                  <a:cubicBezTo>
                    <a:pt x="36" y="19"/>
                    <a:pt x="36" y="19"/>
                    <a:pt x="36" y="19"/>
                  </a:cubicBezTo>
                  <a:cubicBezTo>
                    <a:pt x="18" y="0"/>
                    <a:pt x="18" y="0"/>
                    <a:pt x="18" y="0"/>
                  </a:cubicBezTo>
                </a:path>
              </a:pathLst>
            </a:custGeom>
            <a:solidFill>
              <a:srgbClr val="8B685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47" name="Freeform 95"/>
            <p:cNvSpPr>
              <a:spLocks/>
            </p:cNvSpPr>
            <p:nvPr/>
          </p:nvSpPr>
          <p:spPr bwMode="auto">
            <a:xfrm>
              <a:off x="3475038" y="3175000"/>
              <a:ext cx="969963" cy="912813"/>
            </a:xfrm>
            <a:custGeom>
              <a:avLst/>
              <a:gdLst>
                <a:gd name="T0" fmla="*/ 0 w 904"/>
                <a:gd name="T1" fmla="*/ 855 h 858"/>
                <a:gd name="T2" fmla="*/ 398 w 904"/>
                <a:gd name="T3" fmla="*/ 329 h 858"/>
                <a:gd name="T4" fmla="*/ 513 w 904"/>
                <a:gd name="T5" fmla="*/ 134 h 858"/>
                <a:gd name="T6" fmla="*/ 533 w 904"/>
                <a:gd name="T7" fmla="*/ 109 h 858"/>
                <a:gd name="T8" fmla="*/ 566 w 904"/>
                <a:gd name="T9" fmla="*/ 83 h 858"/>
                <a:gd name="T10" fmla="*/ 690 w 904"/>
                <a:gd name="T11" fmla="*/ 10 h 858"/>
                <a:gd name="T12" fmla="*/ 730 w 904"/>
                <a:gd name="T13" fmla="*/ 5 h 858"/>
                <a:gd name="T14" fmla="*/ 809 w 904"/>
                <a:gd name="T15" fmla="*/ 19 h 858"/>
                <a:gd name="T16" fmla="*/ 877 w 904"/>
                <a:gd name="T17" fmla="*/ 83 h 858"/>
                <a:gd name="T18" fmla="*/ 817 w 904"/>
                <a:gd name="T19" fmla="*/ 90 h 858"/>
                <a:gd name="T20" fmla="*/ 771 w 904"/>
                <a:gd name="T21" fmla="*/ 73 h 858"/>
                <a:gd name="T22" fmla="*/ 688 w 904"/>
                <a:gd name="T23" fmla="*/ 104 h 858"/>
                <a:gd name="T24" fmla="*/ 652 w 904"/>
                <a:gd name="T25" fmla="*/ 181 h 858"/>
                <a:gd name="T26" fmla="*/ 651 w 904"/>
                <a:gd name="T27" fmla="*/ 189 h 858"/>
                <a:gd name="T28" fmla="*/ 753 w 904"/>
                <a:gd name="T29" fmla="*/ 335 h 858"/>
                <a:gd name="T30" fmla="*/ 811 w 904"/>
                <a:gd name="T31" fmla="*/ 346 h 858"/>
                <a:gd name="T32" fmla="*/ 903 w 904"/>
                <a:gd name="T33" fmla="*/ 434 h 858"/>
                <a:gd name="T34" fmla="*/ 886 w 904"/>
                <a:gd name="T35" fmla="*/ 446 h 858"/>
                <a:gd name="T36" fmla="*/ 760 w 904"/>
                <a:gd name="T37" fmla="*/ 402 h 858"/>
                <a:gd name="T38" fmla="*/ 652 w 904"/>
                <a:gd name="T39" fmla="*/ 421 h 858"/>
                <a:gd name="T40" fmla="*/ 596 w 904"/>
                <a:gd name="T41" fmla="*/ 444 h 858"/>
                <a:gd name="T42" fmla="*/ 544 w 904"/>
                <a:gd name="T43" fmla="*/ 451 h 858"/>
                <a:gd name="T44" fmla="*/ 492 w 904"/>
                <a:gd name="T45" fmla="*/ 477 h 858"/>
                <a:gd name="T46" fmla="*/ 281 w 904"/>
                <a:gd name="T47" fmla="*/ 858 h 858"/>
                <a:gd name="T48" fmla="*/ 0 w 904"/>
                <a:gd name="T49" fmla="*/ 855 h 8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904" h="858">
                  <a:moveTo>
                    <a:pt x="0" y="855"/>
                  </a:moveTo>
                  <a:cubicBezTo>
                    <a:pt x="398" y="329"/>
                    <a:pt x="398" y="329"/>
                    <a:pt x="398" y="329"/>
                  </a:cubicBezTo>
                  <a:cubicBezTo>
                    <a:pt x="513" y="134"/>
                    <a:pt x="513" y="134"/>
                    <a:pt x="513" y="134"/>
                  </a:cubicBezTo>
                  <a:cubicBezTo>
                    <a:pt x="518" y="125"/>
                    <a:pt x="525" y="116"/>
                    <a:pt x="533" y="109"/>
                  </a:cubicBezTo>
                  <a:cubicBezTo>
                    <a:pt x="543" y="99"/>
                    <a:pt x="554" y="90"/>
                    <a:pt x="566" y="83"/>
                  </a:cubicBezTo>
                  <a:cubicBezTo>
                    <a:pt x="690" y="10"/>
                    <a:pt x="690" y="10"/>
                    <a:pt x="690" y="10"/>
                  </a:cubicBezTo>
                  <a:cubicBezTo>
                    <a:pt x="702" y="2"/>
                    <a:pt x="717" y="0"/>
                    <a:pt x="730" y="5"/>
                  </a:cubicBezTo>
                  <a:cubicBezTo>
                    <a:pt x="809" y="19"/>
                    <a:pt x="809" y="19"/>
                    <a:pt x="809" y="19"/>
                  </a:cubicBezTo>
                  <a:cubicBezTo>
                    <a:pt x="826" y="26"/>
                    <a:pt x="869" y="73"/>
                    <a:pt x="877" y="83"/>
                  </a:cubicBezTo>
                  <a:cubicBezTo>
                    <a:pt x="902" y="108"/>
                    <a:pt x="842" y="118"/>
                    <a:pt x="817" y="90"/>
                  </a:cubicBezTo>
                  <a:cubicBezTo>
                    <a:pt x="794" y="70"/>
                    <a:pt x="798" y="77"/>
                    <a:pt x="771" y="73"/>
                  </a:cubicBezTo>
                  <a:cubicBezTo>
                    <a:pt x="724" y="70"/>
                    <a:pt x="710" y="70"/>
                    <a:pt x="688" y="104"/>
                  </a:cubicBezTo>
                  <a:cubicBezTo>
                    <a:pt x="667" y="138"/>
                    <a:pt x="658" y="154"/>
                    <a:pt x="652" y="181"/>
                  </a:cubicBezTo>
                  <a:cubicBezTo>
                    <a:pt x="652" y="184"/>
                    <a:pt x="651" y="186"/>
                    <a:pt x="651" y="189"/>
                  </a:cubicBezTo>
                  <a:cubicBezTo>
                    <a:pt x="639" y="257"/>
                    <a:pt x="685" y="322"/>
                    <a:pt x="753" y="335"/>
                  </a:cubicBezTo>
                  <a:cubicBezTo>
                    <a:pt x="811" y="346"/>
                    <a:pt x="811" y="346"/>
                    <a:pt x="811" y="346"/>
                  </a:cubicBezTo>
                  <a:cubicBezTo>
                    <a:pt x="886" y="370"/>
                    <a:pt x="901" y="410"/>
                    <a:pt x="903" y="434"/>
                  </a:cubicBezTo>
                  <a:cubicBezTo>
                    <a:pt x="904" y="443"/>
                    <a:pt x="894" y="450"/>
                    <a:pt x="886" y="446"/>
                  </a:cubicBezTo>
                  <a:cubicBezTo>
                    <a:pt x="842" y="424"/>
                    <a:pt x="800" y="410"/>
                    <a:pt x="760" y="402"/>
                  </a:cubicBezTo>
                  <a:cubicBezTo>
                    <a:pt x="723" y="395"/>
                    <a:pt x="684" y="402"/>
                    <a:pt x="652" y="421"/>
                  </a:cubicBezTo>
                  <a:cubicBezTo>
                    <a:pt x="636" y="431"/>
                    <a:pt x="617" y="439"/>
                    <a:pt x="596" y="444"/>
                  </a:cubicBezTo>
                  <a:cubicBezTo>
                    <a:pt x="578" y="449"/>
                    <a:pt x="560" y="451"/>
                    <a:pt x="544" y="451"/>
                  </a:cubicBezTo>
                  <a:cubicBezTo>
                    <a:pt x="523" y="452"/>
                    <a:pt x="504" y="461"/>
                    <a:pt x="492" y="477"/>
                  </a:cubicBezTo>
                  <a:cubicBezTo>
                    <a:pt x="396" y="600"/>
                    <a:pt x="281" y="858"/>
                    <a:pt x="281" y="858"/>
                  </a:cubicBezTo>
                  <a:cubicBezTo>
                    <a:pt x="0" y="855"/>
                    <a:pt x="0" y="855"/>
                    <a:pt x="0" y="855"/>
                  </a:cubicBezTo>
                </a:path>
              </a:pathLst>
            </a:custGeom>
            <a:solidFill>
              <a:srgbClr val="D8B0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48" name="Freeform 96"/>
            <p:cNvSpPr>
              <a:spLocks/>
            </p:cNvSpPr>
            <p:nvPr/>
          </p:nvSpPr>
          <p:spPr bwMode="auto">
            <a:xfrm>
              <a:off x="3605213" y="3868738"/>
              <a:ext cx="230188" cy="138113"/>
            </a:xfrm>
            <a:custGeom>
              <a:avLst/>
              <a:gdLst>
                <a:gd name="T0" fmla="*/ 0 w 215"/>
                <a:gd name="T1" fmla="*/ 27 h 130"/>
                <a:gd name="T2" fmla="*/ 53 w 215"/>
                <a:gd name="T3" fmla="*/ 9 h 130"/>
                <a:gd name="T4" fmla="*/ 71 w 215"/>
                <a:gd name="T5" fmla="*/ 29 h 130"/>
                <a:gd name="T6" fmla="*/ 98 w 215"/>
                <a:gd name="T7" fmla="*/ 32 h 130"/>
                <a:gd name="T8" fmla="*/ 116 w 215"/>
                <a:gd name="T9" fmla="*/ 51 h 130"/>
                <a:gd name="T10" fmla="*/ 143 w 215"/>
                <a:gd name="T11" fmla="*/ 54 h 130"/>
                <a:gd name="T12" fmla="*/ 161 w 215"/>
                <a:gd name="T13" fmla="*/ 74 h 130"/>
                <a:gd name="T14" fmla="*/ 188 w 215"/>
                <a:gd name="T15" fmla="*/ 77 h 130"/>
                <a:gd name="T16" fmla="*/ 206 w 215"/>
                <a:gd name="T17" fmla="*/ 130 h 130"/>
                <a:gd name="T18" fmla="*/ 0 w 215"/>
                <a:gd name="T19" fmla="*/ 27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5" h="130">
                  <a:moveTo>
                    <a:pt x="0" y="27"/>
                  </a:moveTo>
                  <a:cubicBezTo>
                    <a:pt x="10" y="7"/>
                    <a:pt x="33" y="0"/>
                    <a:pt x="53" y="9"/>
                  </a:cubicBezTo>
                  <a:cubicBezTo>
                    <a:pt x="62" y="14"/>
                    <a:pt x="68" y="21"/>
                    <a:pt x="71" y="29"/>
                  </a:cubicBezTo>
                  <a:cubicBezTo>
                    <a:pt x="80" y="27"/>
                    <a:pt x="89" y="28"/>
                    <a:pt x="98" y="32"/>
                  </a:cubicBezTo>
                  <a:cubicBezTo>
                    <a:pt x="107" y="36"/>
                    <a:pt x="113" y="43"/>
                    <a:pt x="116" y="51"/>
                  </a:cubicBezTo>
                  <a:cubicBezTo>
                    <a:pt x="125" y="49"/>
                    <a:pt x="134" y="50"/>
                    <a:pt x="143" y="54"/>
                  </a:cubicBezTo>
                  <a:cubicBezTo>
                    <a:pt x="151" y="59"/>
                    <a:pt x="158" y="66"/>
                    <a:pt x="161" y="74"/>
                  </a:cubicBezTo>
                  <a:cubicBezTo>
                    <a:pt x="170" y="72"/>
                    <a:pt x="179" y="73"/>
                    <a:pt x="188" y="77"/>
                  </a:cubicBezTo>
                  <a:cubicBezTo>
                    <a:pt x="207" y="87"/>
                    <a:pt x="215" y="111"/>
                    <a:pt x="206" y="130"/>
                  </a:cubicBezTo>
                  <a:cubicBezTo>
                    <a:pt x="0" y="27"/>
                    <a:pt x="0" y="27"/>
                    <a:pt x="0" y="27"/>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49" name="Freeform 97"/>
            <p:cNvSpPr>
              <a:spLocks/>
            </p:cNvSpPr>
            <p:nvPr/>
          </p:nvSpPr>
          <p:spPr bwMode="auto">
            <a:xfrm>
              <a:off x="5057776" y="3875088"/>
              <a:ext cx="669925" cy="638175"/>
            </a:xfrm>
            <a:custGeom>
              <a:avLst/>
              <a:gdLst>
                <a:gd name="T0" fmla="*/ 626 w 626"/>
                <a:gd name="T1" fmla="*/ 599 h 599"/>
                <a:gd name="T2" fmla="*/ 273 w 626"/>
                <a:gd name="T3" fmla="*/ 599 h 599"/>
                <a:gd name="T4" fmla="*/ 4 w 626"/>
                <a:gd name="T5" fmla="*/ 165 h 599"/>
                <a:gd name="T6" fmla="*/ 2 w 626"/>
                <a:gd name="T7" fmla="*/ 159 h 599"/>
                <a:gd name="T8" fmla="*/ 0 w 626"/>
                <a:gd name="T9" fmla="*/ 145 h 599"/>
                <a:gd name="T10" fmla="*/ 21 w 626"/>
                <a:gd name="T11" fmla="*/ 113 h 599"/>
                <a:gd name="T12" fmla="*/ 23 w 626"/>
                <a:gd name="T13" fmla="*/ 112 h 599"/>
                <a:gd name="T14" fmla="*/ 29 w 626"/>
                <a:gd name="T15" fmla="*/ 109 h 599"/>
                <a:gd name="T16" fmla="*/ 46 w 626"/>
                <a:gd name="T17" fmla="*/ 100 h 599"/>
                <a:gd name="T18" fmla="*/ 46 w 626"/>
                <a:gd name="T19" fmla="*/ 100 h 599"/>
                <a:gd name="T20" fmla="*/ 136 w 626"/>
                <a:gd name="T21" fmla="*/ 55 h 599"/>
                <a:gd name="T22" fmla="*/ 216 w 626"/>
                <a:gd name="T23" fmla="*/ 15 h 599"/>
                <a:gd name="T24" fmla="*/ 224 w 626"/>
                <a:gd name="T25" fmla="*/ 11 h 599"/>
                <a:gd name="T26" fmla="*/ 225 w 626"/>
                <a:gd name="T27" fmla="*/ 10 h 599"/>
                <a:gd name="T28" fmla="*/ 225 w 626"/>
                <a:gd name="T29" fmla="*/ 10 h 599"/>
                <a:gd name="T30" fmla="*/ 227 w 626"/>
                <a:gd name="T31" fmla="*/ 10 h 599"/>
                <a:gd name="T32" fmla="*/ 279 w 626"/>
                <a:gd name="T33" fmla="*/ 27 h 599"/>
                <a:gd name="T34" fmla="*/ 626 w 626"/>
                <a:gd name="T35" fmla="*/ 599 h 5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26" h="599">
                  <a:moveTo>
                    <a:pt x="626" y="599"/>
                  </a:moveTo>
                  <a:cubicBezTo>
                    <a:pt x="273" y="599"/>
                    <a:pt x="273" y="599"/>
                    <a:pt x="273" y="599"/>
                  </a:cubicBezTo>
                  <a:cubicBezTo>
                    <a:pt x="4" y="165"/>
                    <a:pt x="4" y="165"/>
                    <a:pt x="4" y="165"/>
                  </a:cubicBezTo>
                  <a:cubicBezTo>
                    <a:pt x="3" y="163"/>
                    <a:pt x="2" y="161"/>
                    <a:pt x="2" y="159"/>
                  </a:cubicBezTo>
                  <a:cubicBezTo>
                    <a:pt x="0" y="155"/>
                    <a:pt x="0" y="150"/>
                    <a:pt x="0" y="145"/>
                  </a:cubicBezTo>
                  <a:cubicBezTo>
                    <a:pt x="1" y="131"/>
                    <a:pt x="9" y="119"/>
                    <a:pt x="21" y="113"/>
                  </a:cubicBezTo>
                  <a:cubicBezTo>
                    <a:pt x="23" y="112"/>
                    <a:pt x="23" y="112"/>
                    <a:pt x="23" y="112"/>
                  </a:cubicBezTo>
                  <a:cubicBezTo>
                    <a:pt x="29" y="109"/>
                    <a:pt x="29" y="109"/>
                    <a:pt x="29" y="109"/>
                  </a:cubicBezTo>
                  <a:cubicBezTo>
                    <a:pt x="46" y="100"/>
                    <a:pt x="46" y="100"/>
                    <a:pt x="46" y="100"/>
                  </a:cubicBezTo>
                  <a:cubicBezTo>
                    <a:pt x="46" y="100"/>
                    <a:pt x="46" y="100"/>
                    <a:pt x="46" y="100"/>
                  </a:cubicBezTo>
                  <a:cubicBezTo>
                    <a:pt x="136" y="55"/>
                    <a:pt x="136" y="55"/>
                    <a:pt x="136" y="55"/>
                  </a:cubicBezTo>
                  <a:cubicBezTo>
                    <a:pt x="216" y="15"/>
                    <a:pt x="216" y="15"/>
                    <a:pt x="216" y="15"/>
                  </a:cubicBezTo>
                  <a:cubicBezTo>
                    <a:pt x="224" y="11"/>
                    <a:pt x="224" y="11"/>
                    <a:pt x="224" y="11"/>
                  </a:cubicBezTo>
                  <a:cubicBezTo>
                    <a:pt x="225" y="10"/>
                    <a:pt x="225" y="10"/>
                    <a:pt x="225" y="10"/>
                  </a:cubicBezTo>
                  <a:cubicBezTo>
                    <a:pt x="225" y="10"/>
                    <a:pt x="225" y="10"/>
                    <a:pt x="225" y="10"/>
                  </a:cubicBezTo>
                  <a:cubicBezTo>
                    <a:pt x="227" y="10"/>
                    <a:pt x="227" y="10"/>
                    <a:pt x="227" y="10"/>
                  </a:cubicBezTo>
                  <a:cubicBezTo>
                    <a:pt x="246" y="0"/>
                    <a:pt x="270" y="8"/>
                    <a:pt x="279" y="27"/>
                  </a:cubicBezTo>
                  <a:cubicBezTo>
                    <a:pt x="626" y="599"/>
                    <a:pt x="626" y="599"/>
                    <a:pt x="626" y="599"/>
                  </a:cubicBezTo>
                </a:path>
              </a:pathLst>
            </a:custGeom>
            <a:solidFill>
              <a:srgbClr val="40CD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50" name="Freeform 98"/>
            <p:cNvSpPr>
              <a:spLocks/>
            </p:cNvSpPr>
            <p:nvPr/>
          </p:nvSpPr>
          <p:spPr bwMode="auto">
            <a:xfrm>
              <a:off x="5297488" y="3881438"/>
              <a:ext cx="430213" cy="631825"/>
            </a:xfrm>
            <a:custGeom>
              <a:avLst/>
              <a:gdLst>
                <a:gd name="T0" fmla="*/ 20 w 402"/>
                <a:gd name="T1" fmla="*/ 0 h 594"/>
                <a:gd name="T2" fmla="*/ 3 w 402"/>
                <a:gd name="T3" fmla="*/ 5 h 594"/>
                <a:gd name="T4" fmla="*/ 1 w 402"/>
                <a:gd name="T5" fmla="*/ 5 h 594"/>
                <a:gd name="T6" fmla="*/ 1 w 402"/>
                <a:gd name="T7" fmla="*/ 5 h 594"/>
                <a:gd name="T8" fmla="*/ 1 w 402"/>
                <a:gd name="T9" fmla="*/ 5 h 594"/>
                <a:gd name="T10" fmla="*/ 0 w 402"/>
                <a:gd name="T11" fmla="*/ 6 h 594"/>
                <a:gd name="T12" fmla="*/ 4 w 402"/>
                <a:gd name="T13" fmla="*/ 8 h 594"/>
                <a:gd name="T14" fmla="*/ 19 w 402"/>
                <a:gd name="T15" fmla="*/ 25 h 594"/>
                <a:gd name="T16" fmla="*/ 83 w 402"/>
                <a:gd name="T17" fmla="*/ 131 h 594"/>
                <a:gd name="T18" fmla="*/ 120 w 402"/>
                <a:gd name="T19" fmla="*/ 192 h 594"/>
                <a:gd name="T20" fmla="*/ 364 w 402"/>
                <a:gd name="T21" fmla="*/ 594 h 594"/>
                <a:gd name="T22" fmla="*/ 402 w 402"/>
                <a:gd name="T23" fmla="*/ 594 h 594"/>
                <a:gd name="T24" fmla="*/ 55 w 402"/>
                <a:gd name="T25" fmla="*/ 22 h 594"/>
                <a:gd name="T26" fmla="*/ 20 w 402"/>
                <a:gd name="T27" fmla="*/ 0 h 5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2" h="594">
                  <a:moveTo>
                    <a:pt x="20" y="0"/>
                  </a:moveTo>
                  <a:cubicBezTo>
                    <a:pt x="15" y="0"/>
                    <a:pt x="9" y="2"/>
                    <a:pt x="3" y="5"/>
                  </a:cubicBezTo>
                  <a:cubicBezTo>
                    <a:pt x="1" y="5"/>
                    <a:pt x="1" y="5"/>
                    <a:pt x="1" y="5"/>
                  </a:cubicBezTo>
                  <a:cubicBezTo>
                    <a:pt x="1" y="5"/>
                    <a:pt x="1" y="5"/>
                    <a:pt x="1" y="5"/>
                  </a:cubicBezTo>
                  <a:cubicBezTo>
                    <a:pt x="1" y="5"/>
                    <a:pt x="1" y="5"/>
                    <a:pt x="1" y="5"/>
                  </a:cubicBezTo>
                  <a:cubicBezTo>
                    <a:pt x="0" y="6"/>
                    <a:pt x="0" y="6"/>
                    <a:pt x="0" y="6"/>
                  </a:cubicBezTo>
                  <a:cubicBezTo>
                    <a:pt x="1" y="6"/>
                    <a:pt x="3" y="7"/>
                    <a:pt x="4" y="8"/>
                  </a:cubicBezTo>
                  <a:cubicBezTo>
                    <a:pt x="10" y="12"/>
                    <a:pt x="15" y="18"/>
                    <a:pt x="19" y="25"/>
                  </a:cubicBezTo>
                  <a:cubicBezTo>
                    <a:pt x="83" y="131"/>
                    <a:pt x="83" y="131"/>
                    <a:pt x="83" y="131"/>
                  </a:cubicBezTo>
                  <a:cubicBezTo>
                    <a:pt x="120" y="192"/>
                    <a:pt x="120" y="192"/>
                    <a:pt x="120" y="192"/>
                  </a:cubicBezTo>
                  <a:cubicBezTo>
                    <a:pt x="364" y="594"/>
                    <a:pt x="364" y="594"/>
                    <a:pt x="364" y="594"/>
                  </a:cubicBezTo>
                  <a:cubicBezTo>
                    <a:pt x="402" y="594"/>
                    <a:pt x="402" y="594"/>
                    <a:pt x="402" y="594"/>
                  </a:cubicBezTo>
                  <a:cubicBezTo>
                    <a:pt x="55" y="22"/>
                    <a:pt x="55" y="22"/>
                    <a:pt x="55" y="22"/>
                  </a:cubicBezTo>
                  <a:cubicBezTo>
                    <a:pt x="49" y="8"/>
                    <a:pt x="35" y="0"/>
                    <a:pt x="20" y="0"/>
                  </a:cubicBezTo>
                </a:path>
              </a:pathLst>
            </a:custGeom>
            <a:solidFill>
              <a:srgbClr val="66D7F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51" name="Freeform 99"/>
            <p:cNvSpPr>
              <a:spLocks/>
            </p:cNvSpPr>
            <p:nvPr/>
          </p:nvSpPr>
          <p:spPr bwMode="auto">
            <a:xfrm>
              <a:off x="5081588" y="3981450"/>
              <a:ext cx="25400" cy="12700"/>
            </a:xfrm>
            <a:custGeom>
              <a:avLst/>
              <a:gdLst>
                <a:gd name="T0" fmla="*/ 16 w 16"/>
                <a:gd name="T1" fmla="*/ 0 h 8"/>
                <a:gd name="T2" fmla="*/ 4 w 16"/>
                <a:gd name="T3" fmla="*/ 6 h 8"/>
                <a:gd name="T4" fmla="*/ 4 w 16"/>
                <a:gd name="T5" fmla="*/ 6 h 8"/>
                <a:gd name="T6" fmla="*/ 0 w 16"/>
                <a:gd name="T7" fmla="*/ 8 h 8"/>
                <a:gd name="T8" fmla="*/ 0 w 16"/>
                <a:gd name="T9" fmla="*/ 8 h 8"/>
                <a:gd name="T10" fmla="*/ 0 w 16"/>
                <a:gd name="T11" fmla="*/ 8 h 8"/>
                <a:gd name="T12" fmla="*/ 0 w 16"/>
                <a:gd name="T13" fmla="*/ 8 h 8"/>
                <a:gd name="T14" fmla="*/ 4 w 16"/>
                <a:gd name="T15" fmla="*/ 6 h 8"/>
                <a:gd name="T16" fmla="*/ 16 w 16"/>
                <a:gd name="T17" fmla="*/ 0 h 8"/>
                <a:gd name="T18" fmla="*/ 16 w 16"/>
                <a:gd name="T19"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 h="8">
                  <a:moveTo>
                    <a:pt x="16" y="0"/>
                  </a:moveTo>
                  <a:lnTo>
                    <a:pt x="4" y="6"/>
                  </a:lnTo>
                  <a:lnTo>
                    <a:pt x="4" y="6"/>
                  </a:lnTo>
                  <a:lnTo>
                    <a:pt x="0" y="8"/>
                  </a:lnTo>
                  <a:lnTo>
                    <a:pt x="0" y="8"/>
                  </a:lnTo>
                  <a:lnTo>
                    <a:pt x="0" y="8"/>
                  </a:lnTo>
                  <a:lnTo>
                    <a:pt x="0" y="8"/>
                  </a:lnTo>
                  <a:lnTo>
                    <a:pt x="4" y="6"/>
                  </a:lnTo>
                  <a:lnTo>
                    <a:pt x="16" y="0"/>
                  </a:lnTo>
                  <a:lnTo>
                    <a:pt x="16" y="0"/>
                  </a:lnTo>
                  <a:close/>
                </a:path>
              </a:pathLst>
            </a:custGeom>
            <a:solidFill>
              <a:srgbClr val="E5E5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52" name="Freeform 100"/>
            <p:cNvSpPr>
              <a:spLocks/>
            </p:cNvSpPr>
            <p:nvPr/>
          </p:nvSpPr>
          <p:spPr bwMode="auto">
            <a:xfrm>
              <a:off x="5081588" y="3981450"/>
              <a:ext cx="25400" cy="12700"/>
            </a:xfrm>
            <a:custGeom>
              <a:avLst/>
              <a:gdLst>
                <a:gd name="T0" fmla="*/ 16 w 16"/>
                <a:gd name="T1" fmla="*/ 0 h 8"/>
                <a:gd name="T2" fmla="*/ 4 w 16"/>
                <a:gd name="T3" fmla="*/ 6 h 8"/>
                <a:gd name="T4" fmla="*/ 4 w 16"/>
                <a:gd name="T5" fmla="*/ 6 h 8"/>
                <a:gd name="T6" fmla="*/ 0 w 16"/>
                <a:gd name="T7" fmla="*/ 8 h 8"/>
                <a:gd name="T8" fmla="*/ 0 w 16"/>
                <a:gd name="T9" fmla="*/ 8 h 8"/>
                <a:gd name="T10" fmla="*/ 0 w 16"/>
                <a:gd name="T11" fmla="*/ 8 h 8"/>
                <a:gd name="T12" fmla="*/ 0 w 16"/>
                <a:gd name="T13" fmla="*/ 8 h 8"/>
                <a:gd name="T14" fmla="*/ 4 w 16"/>
                <a:gd name="T15" fmla="*/ 6 h 8"/>
                <a:gd name="T16" fmla="*/ 16 w 16"/>
                <a:gd name="T17" fmla="*/ 0 h 8"/>
                <a:gd name="T18" fmla="*/ 16 w 16"/>
                <a:gd name="T19"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 h="8">
                  <a:moveTo>
                    <a:pt x="16" y="0"/>
                  </a:moveTo>
                  <a:lnTo>
                    <a:pt x="4" y="6"/>
                  </a:lnTo>
                  <a:lnTo>
                    <a:pt x="4" y="6"/>
                  </a:lnTo>
                  <a:lnTo>
                    <a:pt x="0" y="8"/>
                  </a:lnTo>
                  <a:lnTo>
                    <a:pt x="0" y="8"/>
                  </a:lnTo>
                  <a:lnTo>
                    <a:pt x="0" y="8"/>
                  </a:lnTo>
                  <a:lnTo>
                    <a:pt x="0" y="8"/>
                  </a:lnTo>
                  <a:lnTo>
                    <a:pt x="4" y="6"/>
                  </a:lnTo>
                  <a:lnTo>
                    <a:pt x="16"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53" name="Freeform 101"/>
            <p:cNvSpPr>
              <a:spLocks/>
            </p:cNvSpPr>
            <p:nvPr/>
          </p:nvSpPr>
          <p:spPr bwMode="auto">
            <a:xfrm>
              <a:off x="5057776" y="3981450"/>
              <a:ext cx="339725" cy="531813"/>
            </a:xfrm>
            <a:custGeom>
              <a:avLst/>
              <a:gdLst>
                <a:gd name="T0" fmla="*/ 46 w 317"/>
                <a:gd name="T1" fmla="*/ 0 h 499"/>
                <a:gd name="T2" fmla="*/ 29 w 317"/>
                <a:gd name="T3" fmla="*/ 9 h 499"/>
                <a:gd name="T4" fmla="*/ 23 w 317"/>
                <a:gd name="T5" fmla="*/ 12 h 499"/>
                <a:gd name="T6" fmla="*/ 23 w 317"/>
                <a:gd name="T7" fmla="*/ 12 h 499"/>
                <a:gd name="T8" fmla="*/ 21 w 317"/>
                <a:gd name="T9" fmla="*/ 13 h 499"/>
                <a:gd name="T10" fmla="*/ 0 w 317"/>
                <a:gd name="T11" fmla="*/ 45 h 499"/>
                <a:gd name="T12" fmla="*/ 0 w 317"/>
                <a:gd name="T13" fmla="*/ 48 h 499"/>
                <a:gd name="T14" fmla="*/ 2 w 317"/>
                <a:gd name="T15" fmla="*/ 59 h 499"/>
                <a:gd name="T16" fmla="*/ 4 w 317"/>
                <a:gd name="T17" fmla="*/ 65 h 499"/>
                <a:gd name="T18" fmla="*/ 273 w 317"/>
                <a:gd name="T19" fmla="*/ 499 h 499"/>
                <a:gd name="T20" fmla="*/ 317 w 317"/>
                <a:gd name="T21" fmla="*/ 499 h 499"/>
                <a:gd name="T22" fmla="*/ 45 w 317"/>
                <a:gd name="T23" fmla="*/ 59 h 499"/>
                <a:gd name="T24" fmla="*/ 38 w 317"/>
                <a:gd name="T25" fmla="*/ 49 h 499"/>
                <a:gd name="T26" fmla="*/ 36 w 317"/>
                <a:gd name="T27" fmla="*/ 45 h 499"/>
                <a:gd name="T28" fmla="*/ 35 w 317"/>
                <a:gd name="T29" fmla="*/ 21 h 499"/>
                <a:gd name="T30" fmla="*/ 35 w 317"/>
                <a:gd name="T31" fmla="*/ 19 h 499"/>
                <a:gd name="T32" fmla="*/ 46 w 317"/>
                <a:gd name="T33" fmla="*/ 0 h 4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7" h="499">
                  <a:moveTo>
                    <a:pt x="46" y="0"/>
                  </a:moveTo>
                  <a:cubicBezTo>
                    <a:pt x="29" y="9"/>
                    <a:pt x="29" y="9"/>
                    <a:pt x="29" y="9"/>
                  </a:cubicBezTo>
                  <a:cubicBezTo>
                    <a:pt x="23" y="12"/>
                    <a:pt x="23" y="12"/>
                    <a:pt x="23" y="12"/>
                  </a:cubicBezTo>
                  <a:cubicBezTo>
                    <a:pt x="23" y="12"/>
                    <a:pt x="23" y="12"/>
                    <a:pt x="23" y="12"/>
                  </a:cubicBezTo>
                  <a:cubicBezTo>
                    <a:pt x="21" y="13"/>
                    <a:pt x="21" y="13"/>
                    <a:pt x="21" y="13"/>
                  </a:cubicBezTo>
                  <a:cubicBezTo>
                    <a:pt x="9" y="19"/>
                    <a:pt x="1" y="31"/>
                    <a:pt x="0" y="45"/>
                  </a:cubicBezTo>
                  <a:cubicBezTo>
                    <a:pt x="0" y="46"/>
                    <a:pt x="0" y="47"/>
                    <a:pt x="0" y="48"/>
                  </a:cubicBezTo>
                  <a:cubicBezTo>
                    <a:pt x="0" y="52"/>
                    <a:pt x="0" y="55"/>
                    <a:pt x="2" y="59"/>
                  </a:cubicBezTo>
                  <a:cubicBezTo>
                    <a:pt x="2" y="61"/>
                    <a:pt x="3" y="63"/>
                    <a:pt x="4" y="65"/>
                  </a:cubicBezTo>
                  <a:cubicBezTo>
                    <a:pt x="273" y="499"/>
                    <a:pt x="273" y="499"/>
                    <a:pt x="273" y="499"/>
                  </a:cubicBezTo>
                  <a:cubicBezTo>
                    <a:pt x="317" y="499"/>
                    <a:pt x="317" y="499"/>
                    <a:pt x="317" y="499"/>
                  </a:cubicBezTo>
                  <a:cubicBezTo>
                    <a:pt x="45" y="59"/>
                    <a:pt x="45" y="59"/>
                    <a:pt x="45" y="59"/>
                  </a:cubicBezTo>
                  <a:cubicBezTo>
                    <a:pt x="38" y="49"/>
                    <a:pt x="38" y="49"/>
                    <a:pt x="38" y="49"/>
                  </a:cubicBezTo>
                  <a:cubicBezTo>
                    <a:pt x="38" y="48"/>
                    <a:pt x="37" y="46"/>
                    <a:pt x="36" y="45"/>
                  </a:cubicBezTo>
                  <a:cubicBezTo>
                    <a:pt x="34" y="37"/>
                    <a:pt x="33" y="29"/>
                    <a:pt x="35" y="21"/>
                  </a:cubicBezTo>
                  <a:cubicBezTo>
                    <a:pt x="35" y="20"/>
                    <a:pt x="35" y="19"/>
                    <a:pt x="35" y="19"/>
                  </a:cubicBezTo>
                  <a:cubicBezTo>
                    <a:pt x="37" y="12"/>
                    <a:pt x="41" y="6"/>
                    <a:pt x="46" y="0"/>
                  </a:cubicBezTo>
                </a:path>
              </a:pathLst>
            </a:custGeom>
            <a:solidFill>
              <a:srgbClr val="39B8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54" name="Freeform 102"/>
            <p:cNvSpPr>
              <a:spLocks/>
            </p:cNvSpPr>
            <p:nvPr/>
          </p:nvSpPr>
          <p:spPr bwMode="auto">
            <a:xfrm>
              <a:off x="3175001" y="3875088"/>
              <a:ext cx="679450" cy="638175"/>
            </a:xfrm>
            <a:custGeom>
              <a:avLst/>
              <a:gdLst>
                <a:gd name="T0" fmla="*/ 632 w 634"/>
                <a:gd name="T1" fmla="*/ 159 h 599"/>
                <a:gd name="T2" fmla="*/ 629 w 634"/>
                <a:gd name="T3" fmla="*/ 165 h 599"/>
                <a:gd name="T4" fmla="*/ 355 w 634"/>
                <a:gd name="T5" fmla="*/ 599 h 599"/>
                <a:gd name="T6" fmla="*/ 0 w 634"/>
                <a:gd name="T7" fmla="*/ 599 h 599"/>
                <a:gd name="T8" fmla="*/ 354 w 634"/>
                <a:gd name="T9" fmla="*/ 27 h 599"/>
                <a:gd name="T10" fmla="*/ 406 w 634"/>
                <a:gd name="T11" fmla="*/ 10 h 599"/>
                <a:gd name="T12" fmla="*/ 408 w 634"/>
                <a:gd name="T13" fmla="*/ 10 h 599"/>
                <a:gd name="T14" fmla="*/ 408 w 634"/>
                <a:gd name="T15" fmla="*/ 10 h 599"/>
                <a:gd name="T16" fmla="*/ 409 w 634"/>
                <a:gd name="T17" fmla="*/ 11 h 599"/>
                <a:gd name="T18" fmla="*/ 417 w 634"/>
                <a:gd name="T19" fmla="*/ 15 h 599"/>
                <a:gd name="T20" fmla="*/ 496 w 634"/>
                <a:gd name="T21" fmla="*/ 54 h 599"/>
                <a:gd name="T22" fmla="*/ 587 w 634"/>
                <a:gd name="T23" fmla="*/ 100 h 599"/>
                <a:gd name="T24" fmla="*/ 587 w 634"/>
                <a:gd name="T25" fmla="*/ 100 h 599"/>
                <a:gd name="T26" fmla="*/ 604 w 634"/>
                <a:gd name="T27" fmla="*/ 109 h 599"/>
                <a:gd name="T28" fmla="*/ 610 w 634"/>
                <a:gd name="T29" fmla="*/ 112 h 599"/>
                <a:gd name="T30" fmla="*/ 612 w 634"/>
                <a:gd name="T31" fmla="*/ 113 h 599"/>
                <a:gd name="T32" fmla="*/ 633 w 634"/>
                <a:gd name="T33" fmla="*/ 145 h 599"/>
                <a:gd name="T34" fmla="*/ 632 w 634"/>
                <a:gd name="T35" fmla="*/ 159 h 5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34" h="599">
                  <a:moveTo>
                    <a:pt x="632" y="159"/>
                  </a:moveTo>
                  <a:cubicBezTo>
                    <a:pt x="631" y="161"/>
                    <a:pt x="630" y="163"/>
                    <a:pt x="629" y="165"/>
                  </a:cubicBezTo>
                  <a:cubicBezTo>
                    <a:pt x="355" y="599"/>
                    <a:pt x="355" y="599"/>
                    <a:pt x="355" y="599"/>
                  </a:cubicBezTo>
                  <a:cubicBezTo>
                    <a:pt x="0" y="599"/>
                    <a:pt x="0" y="599"/>
                    <a:pt x="0" y="599"/>
                  </a:cubicBezTo>
                  <a:cubicBezTo>
                    <a:pt x="354" y="27"/>
                    <a:pt x="354" y="27"/>
                    <a:pt x="354" y="27"/>
                  </a:cubicBezTo>
                  <a:cubicBezTo>
                    <a:pt x="363" y="8"/>
                    <a:pt x="387" y="0"/>
                    <a:pt x="406" y="10"/>
                  </a:cubicBezTo>
                  <a:cubicBezTo>
                    <a:pt x="408" y="10"/>
                    <a:pt x="408" y="10"/>
                    <a:pt x="408" y="10"/>
                  </a:cubicBezTo>
                  <a:cubicBezTo>
                    <a:pt x="408" y="10"/>
                    <a:pt x="408" y="10"/>
                    <a:pt x="408" y="10"/>
                  </a:cubicBezTo>
                  <a:cubicBezTo>
                    <a:pt x="409" y="11"/>
                    <a:pt x="409" y="11"/>
                    <a:pt x="409" y="11"/>
                  </a:cubicBezTo>
                  <a:cubicBezTo>
                    <a:pt x="417" y="15"/>
                    <a:pt x="417" y="15"/>
                    <a:pt x="417" y="15"/>
                  </a:cubicBezTo>
                  <a:cubicBezTo>
                    <a:pt x="496" y="54"/>
                    <a:pt x="496" y="54"/>
                    <a:pt x="496" y="54"/>
                  </a:cubicBezTo>
                  <a:cubicBezTo>
                    <a:pt x="587" y="100"/>
                    <a:pt x="587" y="100"/>
                    <a:pt x="587" y="100"/>
                  </a:cubicBezTo>
                  <a:cubicBezTo>
                    <a:pt x="587" y="100"/>
                    <a:pt x="587" y="100"/>
                    <a:pt x="587" y="100"/>
                  </a:cubicBezTo>
                  <a:cubicBezTo>
                    <a:pt x="604" y="109"/>
                    <a:pt x="604" y="109"/>
                    <a:pt x="604" y="109"/>
                  </a:cubicBezTo>
                  <a:cubicBezTo>
                    <a:pt x="610" y="112"/>
                    <a:pt x="610" y="112"/>
                    <a:pt x="610" y="112"/>
                  </a:cubicBezTo>
                  <a:cubicBezTo>
                    <a:pt x="612" y="113"/>
                    <a:pt x="612" y="113"/>
                    <a:pt x="612" y="113"/>
                  </a:cubicBezTo>
                  <a:cubicBezTo>
                    <a:pt x="625" y="119"/>
                    <a:pt x="632" y="131"/>
                    <a:pt x="633" y="145"/>
                  </a:cubicBezTo>
                  <a:cubicBezTo>
                    <a:pt x="634" y="150"/>
                    <a:pt x="633" y="155"/>
                    <a:pt x="632" y="159"/>
                  </a:cubicBezTo>
                </a:path>
              </a:pathLst>
            </a:custGeom>
            <a:solidFill>
              <a:srgbClr val="40CD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55" name="Freeform 103"/>
            <p:cNvSpPr>
              <a:spLocks/>
            </p:cNvSpPr>
            <p:nvPr/>
          </p:nvSpPr>
          <p:spPr bwMode="auto">
            <a:xfrm>
              <a:off x="3175001" y="3881438"/>
              <a:ext cx="438150" cy="631825"/>
            </a:xfrm>
            <a:custGeom>
              <a:avLst/>
              <a:gdLst>
                <a:gd name="T0" fmla="*/ 389 w 409"/>
                <a:gd name="T1" fmla="*/ 0 h 594"/>
                <a:gd name="T2" fmla="*/ 354 w 409"/>
                <a:gd name="T3" fmla="*/ 22 h 594"/>
                <a:gd name="T4" fmla="*/ 0 w 409"/>
                <a:gd name="T5" fmla="*/ 594 h 594"/>
                <a:gd name="T6" fmla="*/ 40 w 409"/>
                <a:gd name="T7" fmla="*/ 594 h 594"/>
                <a:gd name="T8" fmla="*/ 287 w 409"/>
                <a:gd name="T9" fmla="*/ 192 h 594"/>
                <a:gd name="T10" fmla="*/ 320 w 409"/>
                <a:gd name="T11" fmla="*/ 138 h 594"/>
                <a:gd name="T12" fmla="*/ 391 w 409"/>
                <a:gd name="T13" fmla="*/ 25 h 594"/>
                <a:gd name="T14" fmla="*/ 405 w 409"/>
                <a:gd name="T15" fmla="*/ 8 h 594"/>
                <a:gd name="T16" fmla="*/ 409 w 409"/>
                <a:gd name="T17" fmla="*/ 6 h 594"/>
                <a:gd name="T18" fmla="*/ 408 w 409"/>
                <a:gd name="T19" fmla="*/ 5 h 594"/>
                <a:gd name="T20" fmla="*/ 408 w 409"/>
                <a:gd name="T21" fmla="*/ 5 h 594"/>
                <a:gd name="T22" fmla="*/ 408 w 409"/>
                <a:gd name="T23" fmla="*/ 5 h 594"/>
                <a:gd name="T24" fmla="*/ 406 w 409"/>
                <a:gd name="T25" fmla="*/ 5 h 594"/>
                <a:gd name="T26" fmla="*/ 389 w 409"/>
                <a:gd name="T27" fmla="*/ 0 h 5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9" h="594">
                  <a:moveTo>
                    <a:pt x="389" y="0"/>
                  </a:moveTo>
                  <a:cubicBezTo>
                    <a:pt x="374" y="0"/>
                    <a:pt x="361" y="8"/>
                    <a:pt x="354" y="22"/>
                  </a:cubicBezTo>
                  <a:cubicBezTo>
                    <a:pt x="0" y="594"/>
                    <a:pt x="0" y="594"/>
                    <a:pt x="0" y="594"/>
                  </a:cubicBezTo>
                  <a:cubicBezTo>
                    <a:pt x="40" y="594"/>
                    <a:pt x="40" y="594"/>
                    <a:pt x="40" y="594"/>
                  </a:cubicBezTo>
                  <a:cubicBezTo>
                    <a:pt x="287" y="192"/>
                    <a:pt x="287" y="192"/>
                    <a:pt x="287" y="192"/>
                  </a:cubicBezTo>
                  <a:cubicBezTo>
                    <a:pt x="320" y="138"/>
                    <a:pt x="320" y="138"/>
                    <a:pt x="320" y="138"/>
                  </a:cubicBezTo>
                  <a:cubicBezTo>
                    <a:pt x="391" y="25"/>
                    <a:pt x="391" y="25"/>
                    <a:pt x="391" y="25"/>
                  </a:cubicBezTo>
                  <a:cubicBezTo>
                    <a:pt x="394" y="18"/>
                    <a:pt x="399" y="12"/>
                    <a:pt x="405" y="8"/>
                  </a:cubicBezTo>
                  <a:cubicBezTo>
                    <a:pt x="406" y="7"/>
                    <a:pt x="408" y="6"/>
                    <a:pt x="409" y="6"/>
                  </a:cubicBezTo>
                  <a:cubicBezTo>
                    <a:pt x="408" y="5"/>
                    <a:pt x="408" y="5"/>
                    <a:pt x="408" y="5"/>
                  </a:cubicBezTo>
                  <a:cubicBezTo>
                    <a:pt x="408" y="5"/>
                    <a:pt x="408" y="5"/>
                    <a:pt x="408" y="5"/>
                  </a:cubicBezTo>
                  <a:cubicBezTo>
                    <a:pt x="408" y="5"/>
                    <a:pt x="408" y="5"/>
                    <a:pt x="408" y="5"/>
                  </a:cubicBezTo>
                  <a:cubicBezTo>
                    <a:pt x="406" y="5"/>
                    <a:pt x="406" y="5"/>
                    <a:pt x="406" y="5"/>
                  </a:cubicBezTo>
                  <a:cubicBezTo>
                    <a:pt x="401" y="2"/>
                    <a:pt x="395" y="0"/>
                    <a:pt x="389" y="0"/>
                  </a:cubicBezTo>
                </a:path>
              </a:pathLst>
            </a:custGeom>
            <a:solidFill>
              <a:srgbClr val="66D7F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56" name="Freeform 104"/>
            <p:cNvSpPr>
              <a:spLocks/>
            </p:cNvSpPr>
            <p:nvPr/>
          </p:nvSpPr>
          <p:spPr bwMode="auto">
            <a:xfrm>
              <a:off x="3508376" y="3981450"/>
              <a:ext cx="346075" cy="531813"/>
            </a:xfrm>
            <a:custGeom>
              <a:avLst/>
              <a:gdLst>
                <a:gd name="T0" fmla="*/ 276 w 322"/>
                <a:gd name="T1" fmla="*/ 0 h 499"/>
                <a:gd name="T2" fmla="*/ 287 w 322"/>
                <a:gd name="T3" fmla="*/ 19 h 499"/>
                <a:gd name="T4" fmla="*/ 287 w 322"/>
                <a:gd name="T5" fmla="*/ 21 h 499"/>
                <a:gd name="T6" fmla="*/ 286 w 322"/>
                <a:gd name="T7" fmla="*/ 45 h 499"/>
                <a:gd name="T8" fmla="*/ 284 w 322"/>
                <a:gd name="T9" fmla="*/ 49 h 499"/>
                <a:gd name="T10" fmla="*/ 277 w 322"/>
                <a:gd name="T11" fmla="*/ 59 h 499"/>
                <a:gd name="T12" fmla="*/ 0 w 322"/>
                <a:gd name="T13" fmla="*/ 499 h 499"/>
                <a:gd name="T14" fmla="*/ 44 w 322"/>
                <a:gd name="T15" fmla="*/ 499 h 499"/>
                <a:gd name="T16" fmla="*/ 318 w 322"/>
                <a:gd name="T17" fmla="*/ 65 h 499"/>
                <a:gd name="T18" fmla="*/ 321 w 322"/>
                <a:gd name="T19" fmla="*/ 59 h 499"/>
                <a:gd name="T20" fmla="*/ 322 w 322"/>
                <a:gd name="T21" fmla="*/ 48 h 499"/>
                <a:gd name="T22" fmla="*/ 322 w 322"/>
                <a:gd name="T23" fmla="*/ 45 h 499"/>
                <a:gd name="T24" fmla="*/ 322 w 322"/>
                <a:gd name="T25" fmla="*/ 45 h 499"/>
                <a:gd name="T26" fmla="*/ 301 w 322"/>
                <a:gd name="T27" fmla="*/ 13 h 499"/>
                <a:gd name="T28" fmla="*/ 299 w 322"/>
                <a:gd name="T29" fmla="*/ 12 h 499"/>
                <a:gd name="T30" fmla="*/ 293 w 322"/>
                <a:gd name="T31" fmla="*/ 9 h 499"/>
                <a:gd name="T32" fmla="*/ 276 w 322"/>
                <a:gd name="T33" fmla="*/ 0 h 4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22" h="499">
                  <a:moveTo>
                    <a:pt x="276" y="0"/>
                  </a:moveTo>
                  <a:cubicBezTo>
                    <a:pt x="281" y="6"/>
                    <a:pt x="285" y="12"/>
                    <a:pt x="287" y="19"/>
                  </a:cubicBezTo>
                  <a:cubicBezTo>
                    <a:pt x="287" y="19"/>
                    <a:pt x="287" y="20"/>
                    <a:pt x="287" y="21"/>
                  </a:cubicBezTo>
                  <a:cubicBezTo>
                    <a:pt x="289" y="29"/>
                    <a:pt x="289" y="37"/>
                    <a:pt x="286" y="45"/>
                  </a:cubicBezTo>
                  <a:cubicBezTo>
                    <a:pt x="285" y="46"/>
                    <a:pt x="285" y="48"/>
                    <a:pt x="284" y="49"/>
                  </a:cubicBezTo>
                  <a:cubicBezTo>
                    <a:pt x="277" y="59"/>
                    <a:pt x="277" y="59"/>
                    <a:pt x="277" y="59"/>
                  </a:cubicBezTo>
                  <a:cubicBezTo>
                    <a:pt x="0" y="499"/>
                    <a:pt x="0" y="499"/>
                    <a:pt x="0" y="499"/>
                  </a:cubicBezTo>
                  <a:cubicBezTo>
                    <a:pt x="44" y="499"/>
                    <a:pt x="44" y="499"/>
                    <a:pt x="44" y="499"/>
                  </a:cubicBezTo>
                  <a:cubicBezTo>
                    <a:pt x="318" y="65"/>
                    <a:pt x="318" y="65"/>
                    <a:pt x="318" y="65"/>
                  </a:cubicBezTo>
                  <a:cubicBezTo>
                    <a:pt x="319" y="63"/>
                    <a:pt x="320" y="61"/>
                    <a:pt x="321" y="59"/>
                  </a:cubicBezTo>
                  <a:cubicBezTo>
                    <a:pt x="322" y="55"/>
                    <a:pt x="322" y="52"/>
                    <a:pt x="322" y="48"/>
                  </a:cubicBezTo>
                  <a:cubicBezTo>
                    <a:pt x="322" y="47"/>
                    <a:pt x="322" y="46"/>
                    <a:pt x="322" y="45"/>
                  </a:cubicBezTo>
                  <a:cubicBezTo>
                    <a:pt x="322" y="45"/>
                    <a:pt x="322" y="45"/>
                    <a:pt x="322" y="45"/>
                  </a:cubicBezTo>
                  <a:cubicBezTo>
                    <a:pt x="321" y="31"/>
                    <a:pt x="314" y="19"/>
                    <a:pt x="301" y="13"/>
                  </a:cubicBezTo>
                  <a:cubicBezTo>
                    <a:pt x="299" y="12"/>
                    <a:pt x="299" y="12"/>
                    <a:pt x="299" y="12"/>
                  </a:cubicBezTo>
                  <a:cubicBezTo>
                    <a:pt x="293" y="9"/>
                    <a:pt x="293" y="9"/>
                    <a:pt x="293" y="9"/>
                  </a:cubicBezTo>
                  <a:cubicBezTo>
                    <a:pt x="276" y="0"/>
                    <a:pt x="276" y="0"/>
                    <a:pt x="276" y="0"/>
                  </a:cubicBezTo>
                </a:path>
              </a:pathLst>
            </a:custGeom>
            <a:solidFill>
              <a:srgbClr val="39B8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57" name="Freeform 105"/>
            <p:cNvSpPr>
              <a:spLocks noEditPoints="1"/>
            </p:cNvSpPr>
            <p:nvPr/>
          </p:nvSpPr>
          <p:spPr bwMode="auto">
            <a:xfrm>
              <a:off x="4000501" y="3656013"/>
              <a:ext cx="52388" cy="28575"/>
            </a:xfrm>
            <a:custGeom>
              <a:avLst/>
              <a:gdLst>
                <a:gd name="T0" fmla="*/ 0 w 48"/>
                <a:gd name="T1" fmla="*/ 26 h 27"/>
                <a:gd name="T2" fmla="*/ 0 w 48"/>
                <a:gd name="T3" fmla="*/ 27 h 27"/>
                <a:gd name="T4" fmla="*/ 0 w 48"/>
                <a:gd name="T5" fmla="*/ 27 h 27"/>
                <a:gd name="T6" fmla="*/ 0 w 48"/>
                <a:gd name="T7" fmla="*/ 26 h 27"/>
                <a:gd name="T8" fmla="*/ 48 w 48"/>
                <a:gd name="T9" fmla="*/ 0 h 27"/>
                <a:gd name="T10" fmla="*/ 48 w 48"/>
                <a:gd name="T11" fmla="*/ 0 h 27"/>
                <a:gd name="T12" fmla="*/ 48 w 48"/>
                <a:gd name="T13" fmla="*/ 0 h 27"/>
                <a:gd name="T14" fmla="*/ 48 w 48"/>
                <a:gd name="T15" fmla="*/ 0 h 2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27">
                  <a:moveTo>
                    <a:pt x="0" y="26"/>
                  </a:moveTo>
                  <a:cubicBezTo>
                    <a:pt x="0" y="26"/>
                    <a:pt x="0" y="27"/>
                    <a:pt x="0" y="27"/>
                  </a:cubicBezTo>
                  <a:cubicBezTo>
                    <a:pt x="0" y="27"/>
                    <a:pt x="0" y="27"/>
                    <a:pt x="0" y="27"/>
                  </a:cubicBezTo>
                  <a:cubicBezTo>
                    <a:pt x="0" y="27"/>
                    <a:pt x="0" y="27"/>
                    <a:pt x="0" y="26"/>
                  </a:cubicBezTo>
                  <a:moveTo>
                    <a:pt x="48" y="0"/>
                  </a:moveTo>
                  <a:cubicBezTo>
                    <a:pt x="48" y="0"/>
                    <a:pt x="48" y="0"/>
                    <a:pt x="48" y="0"/>
                  </a:cubicBezTo>
                  <a:cubicBezTo>
                    <a:pt x="48" y="0"/>
                    <a:pt x="48" y="0"/>
                    <a:pt x="48" y="0"/>
                  </a:cubicBezTo>
                  <a:cubicBezTo>
                    <a:pt x="48" y="0"/>
                    <a:pt x="48" y="0"/>
                    <a:pt x="48" y="0"/>
                  </a:cubicBezTo>
                </a:path>
              </a:pathLst>
            </a:custGeom>
            <a:solidFill>
              <a:srgbClr val="006CC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58" name="Freeform 106"/>
            <p:cNvSpPr>
              <a:spLocks/>
            </p:cNvSpPr>
            <p:nvPr/>
          </p:nvSpPr>
          <p:spPr bwMode="auto">
            <a:xfrm>
              <a:off x="3948113" y="3625850"/>
              <a:ext cx="104775" cy="58738"/>
            </a:xfrm>
            <a:custGeom>
              <a:avLst/>
              <a:gdLst>
                <a:gd name="T0" fmla="*/ 0 w 97"/>
                <a:gd name="T1" fmla="*/ 0 h 55"/>
                <a:gd name="T2" fmla="*/ 49 w 97"/>
                <a:gd name="T3" fmla="*/ 55 h 55"/>
                <a:gd name="T4" fmla="*/ 49 w 97"/>
                <a:gd name="T5" fmla="*/ 54 h 55"/>
                <a:gd name="T6" fmla="*/ 97 w 97"/>
                <a:gd name="T7" fmla="*/ 28 h 55"/>
                <a:gd name="T8" fmla="*/ 97 w 97"/>
                <a:gd name="T9" fmla="*/ 28 h 55"/>
                <a:gd name="T10" fmla="*/ 0 w 97"/>
                <a:gd name="T11" fmla="*/ 0 h 55"/>
              </a:gdLst>
              <a:ahLst/>
              <a:cxnLst>
                <a:cxn ang="0">
                  <a:pos x="T0" y="T1"/>
                </a:cxn>
                <a:cxn ang="0">
                  <a:pos x="T2" y="T3"/>
                </a:cxn>
                <a:cxn ang="0">
                  <a:pos x="T4" y="T5"/>
                </a:cxn>
                <a:cxn ang="0">
                  <a:pos x="T6" y="T7"/>
                </a:cxn>
                <a:cxn ang="0">
                  <a:pos x="T8" y="T9"/>
                </a:cxn>
                <a:cxn ang="0">
                  <a:pos x="T10" y="T11"/>
                </a:cxn>
              </a:cxnLst>
              <a:rect l="0" t="0" r="r" b="b"/>
              <a:pathLst>
                <a:path w="97" h="55">
                  <a:moveTo>
                    <a:pt x="0" y="0"/>
                  </a:moveTo>
                  <a:cubicBezTo>
                    <a:pt x="0" y="0"/>
                    <a:pt x="17" y="38"/>
                    <a:pt x="49" y="55"/>
                  </a:cubicBezTo>
                  <a:cubicBezTo>
                    <a:pt x="49" y="55"/>
                    <a:pt x="49" y="54"/>
                    <a:pt x="49" y="54"/>
                  </a:cubicBezTo>
                  <a:cubicBezTo>
                    <a:pt x="50" y="53"/>
                    <a:pt x="65" y="30"/>
                    <a:pt x="97" y="28"/>
                  </a:cubicBezTo>
                  <a:cubicBezTo>
                    <a:pt x="97" y="28"/>
                    <a:pt x="97" y="28"/>
                    <a:pt x="97" y="28"/>
                  </a:cubicBezTo>
                  <a:cubicBezTo>
                    <a:pt x="49" y="23"/>
                    <a:pt x="21" y="19"/>
                    <a:pt x="0" y="0"/>
                  </a:cubicBezTo>
                </a:path>
              </a:pathLst>
            </a:custGeom>
            <a:solidFill>
              <a:srgbClr val="C29E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pic>
        <p:nvPicPr>
          <p:cNvPr id="366" name="Picture 365"/>
          <p:cNvPicPr>
            <a:picLocks noChangeAspect="1"/>
          </p:cNvPicPr>
          <p:nvPr/>
        </p:nvPicPr>
        <p:blipFill>
          <a:blip r:embed="rId22"/>
          <a:stretch>
            <a:fillRect/>
          </a:stretch>
        </p:blipFill>
        <p:spPr>
          <a:xfrm>
            <a:off x="528171" y="2083623"/>
            <a:ext cx="682369" cy="357356"/>
          </a:xfrm>
          <a:prstGeom prst="rect">
            <a:avLst/>
          </a:prstGeom>
        </p:spPr>
      </p:pic>
      <p:pic>
        <p:nvPicPr>
          <p:cNvPr id="367" name="Picture 366"/>
          <p:cNvPicPr>
            <a:picLocks noChangeAspect="1"/>
          </p:cNvPicPr>
          <p:nvPr/>
        </p:nvPicPr>
        <p:blipFill>
          <a:blip r:embed="rId23"/>
          <a:stretch>
            <a:fillRect/>
          </a:stretch>
        </p:blipFill>
        <p:spPr>
          <a:xfrm>
            <a:off x="1074152" y="2045541"/>
            <a:ext cx="126106" cy="241403"/>
          </a:xfrm>
          <a:prstGeom prst="rect">
            <a:avLst/>
          </a:prstGeom>
        </p:spPr>
      </p:pic>
      <p:sp>
        <p:nvSpPr>
          <p:cNvPr id="65" name="Rectangle 64"/>
          <p:cNvSpPr/>
          <p:nvPr/>
        </p:nvSpPr>
        <p:spPr bwMode="auto">
          <a:xfrm>
            <a:off x="8176574" y="4018524"/>
            <a:ext cx="988157" cy="547842"/>
          </a:xfrm>
          <a:prstGeom prst="rect">
            <a:avLst/>
          </a:prstGeom>
          <a:noFill/>
          <a:ln>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73152" rIns="0" bIns="73152" numCol="1" rtlCol="0" anchor="t" anchorCtr="0" compatLnSpc="1">
            <a:prstTxWarp prst="textNoShape">
              <a:avLst/>
            </a:prstTxWarp>
            <a:spAutoFit/>
          </a:bodyPr>
          <a:lstStyle/>
          <a:p>
            <a:pPr marL="0" marR="0" lvl="0" indent="0" defTabSz="914102" eaLnBrk="1" fontAlgn="base" latinLnBrk="0" hangingPunct="1">
              <a:lnSpc>
                <a:spcPct val="100000"/>
              </a:lnSpc>
              <a:spcBef>
                <a:spcPct val="0"/>
              </a:spcBef>
              <a:spcAft>
                <a:spcPct val="0"/>
              </a:spcAft>
              <a:buClrTx/>
              <a:buSzTx/>
              <a:buFontTx/>
              <a:buNone/>
              <a:tabLst/>
              <a:defRPr/>
            </a:pPr>
            <a:r>
              <a:rPr kumimoji="0" lang="en-US" sz="1400" b="1" i="0" u="none" strike="noStrike" kern="0" cap="none" spc="0" normalizeH="0" baseline="0" noProof="0" dirty="0">
                <a:ln>
                  <a:noFill/>
                </a:ln>
                <a:solidFill>
                  <a:srgbClr val="001A41"/>
                </a:solidFill>
                <a:effectLst/>
                <a:uLnTx/>
                <a:uFillTx/>
              </a:rPr>
              <a:t>Batch</a:t>
            </a:r>
            <a:endParaRPr kumimoji="0" lang="en-US" sz="1400" b="0" i="0" u="none" strike="noStrike" kern="0" cap="none" spc="0" normalizeH="0" baseline="0" noProof="0" dirty="0">
              <a:ln>
                <a:noFill/>
              </a:ln>
              <a:solidFill>
                <a:srgbClr val="001A41"/>
              </a:solidFill>
              <a:effectLst/>
              <a:uLnTx/>
              <a:uFillTx/>
            </a:endParaRPr>
          </a:p>
          <a:p>
            <a:pPr marL="0" marR="0" lvl="0" indent="0" defTabSz="914102"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dirty="0">
                <a:ln>
                  <a:noFill/>
                </a:ln>
                <a:solidFill>
                  <a:srgbClr val="001A41"/>
                </a:solidFill>
                <a:effectLst/>
                <a:uLnTx/>
                <a:uFillTx/>
              </a:rPr>
              <a:t>MapReduce</a:t>
            </a:r>
          </a:p>
        </p:txBody>
      </p:sp>
      <p:sp>
        <p:nvSpPr>
          <p:cNvPr id="66" name="Rectangle 65"/>
          <p:cNvSpPr/>
          <p:nvPr/>
        </p:nvSpPr>
        <p:spPr bwMode="auto">
          <a:xfrm>
            <a:off x="8176574" y="4947914"/>
            <a:ext cx="711495" cy="547842"/>
          </a:xfrm>
          <a:prstGeom prst="rect">
            <a:avLst/>
          </a:prstGeom>
          <a:noFill/>
          <a:ln>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73152" rIns="0" bIns="73152" numCol="1" rtlCol="0" anchor="t" anchorCtr="0" compatLnSpc="1">
            <a:prstTxWarp prst="textNoShape">
              <a:avLst/>
            </a:prstTxWarp>
            <a:spAutoFit/>
          </a:bodyPr>
          <a:lstStyle/>
          <a:p>
            <a:pPr marL="0" marR="0" lvl="0" indent="0" defTabSz="914102" eaLnBrk="1" fontAlgn="base" latinLnBrk="0" hangingPunct="1">
              <a:lnSpc>
                <a:spcPct val="100000"/>
              </a:lnSpc>
              <a:spcBef>
                <a:spcPct val="0"/>
              </a:spcBef>
              <a:spcAft>
                <a:spcPct val="0"/>
              </a:spcAft>
              <a:buClrTx/>
              <a:buSzTx/>
              <a:buFontTx/>
              <a:buNone/>
              <a:tabLst/>
              <a:defRPr/>
            </a:pPr>
            <a:r>
              <a:rPr kumimoji="0" lang="en-US" sz="1400" b="1" i="0" u="none" strike="noStrike" kern="0" cap="none" spc="0" normalizeH="0" baseline="0" noProof="0" dirty="0">
                <a:ln>
                  <a:noFill/>
                </a:ln>
                <a:solidFill>
                  <a:srgbClr val="001A41"/>
                </a:solidFill>
                <a:effectLst/>
                <a:uLnTx/>
                <a:uFillTx/>
              </a:rPr>
              <a:t>Script</a:t>
            </a:r>
            <a:endParaRPr kumimoji="0" lang="en-US" sz="1400" b="0" i="0" u="none" strike="noStrike" kern="0" cap="none" spc="0" normalizeH="0" baseline="0" noProof="0" dirty="0">
              <a:ln>
                <a:noFill/>
              </a:ln>
              <a:solidFill>
                <a:srgbClr val="001A41"/>
              </a:solidFill>
              <a:effectLst/>
              <a:uLnTx/>
              <a:uFillTx/>
            </a:endParaRPr>
          </a:p>
          <a:p>
            <a:pPr marL="0" marR="0" lvl="0" indent="0" defTabSz="914102"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dirty="0">
                <a:ln>
                  <a:noFill/>
                </a:ln>
                <a:solidFill>
                  <a:srgbClr val="001A41"/>
                </a:solidFill>
                <a:effectLst/>
                <a:uLnTx/>
                <a:uFillTx/>
              </a:rPr>
              <a:t>Pig</a:t>
            </a:r>
            <a:endParaRPr kumimoji="0" lang="en-US" sz="1400" b="0" i="0" u="none" strike="noStrike" kern="0" cap="none" spc="0" normalizeH="0" baseline="0" noProof="0" dirty="0">
              <a:ln>
                <a:noFill/>
              </a:ln>
              <a:solidFill>
                <a:srgbClr val="001A41"/>
              </a:solidFill>
              <a:effectLst/>
              <a:uLnTx/>
              <a:uFillTx/>
            </a:endParaRPr>
          </a:p>
        </p:txBody>
      </p:sp>
      <p:sp>
        <p:nvSpPr>
          <p:cNvPr id="67" name="Rectangle 66"/>
          <p:cNvSpPr/>
          <p:nvPr/>
        </p:nvSpPr>
        <p:spPr bwMode="auto">
          <a:xfrm>
            <a:off x="8176574" y="5843266"/>
            <a:ext cx="1097280" cy="547842"/>
          </a:xfrm>
          <a:prstGeom prst="rect">
            <a:avLst/>
          </a:prstGeom>
          <a:noFill/>
          <a:ln>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73152" rIns="0" bIns="73152" numCol="1" rtlCol="0" anchor="t" anchorCtr="0" compatLnSpc="1">
            <a:prstTxWarp prst="textNoShape">
              <a:avLst/>
            </a:prstTxWarp>
            <a:spAutoFit/>
          </a:bodyPr>
          <a:lstStyle/>
          <a:p>
            <a:pPr marL="0" marR="0" lvl="0" indent="0" defTabSz="914102" eaLnBrk="1" fontAlgn="base" latinLnBrk="0" hangingPunct="1">
              <a:lnSpc>
                <a:spcPct val="100000"/>
              </a:lnSpc>
              <a:spcBef>
                <a:spcPct val="0"/>
              </a:spcBef>
              <a:spcAft>
                <a:spcPct val="0"/>
              </a:spcAft>
              <a:buClrTx/>
              <a:buSzTx/>
              <a:buFontTx/>
              <a:buNone/>
              <a:tabLst/>
              <a:defRPr/>
            </a:pPr>
            <a:r>
              <a:rPr kumimoji="0" lang="en-US" sz="1400" b="1" i="0" u="none" strike="noStrike" kern="0" cap="none" spc="0" normalizeH="0" baseline="0" noProof="0" dirty="0">
                <a:ln>
                  <a:noFill/>
                </a:ln>
                <a:solidFill>
                  <a:srgbClr val="001A41"/>
                </a:solidFill>
                <a:effectLst/>
                <a:uLnTx/>
                <a:uFillTx/>
              </a:rPr>
              <a:t>SQL</a:t>
            </a:r>
            <a:endParaRPr kumimoji="0" lang="en-US" sz="1400" b="0" i="0" u="none" strike="noStrike" kern="0" cap="none" spc="0" normalizeH="0" baseline="0" noProof="0" dirty="0">
              <a:ln>
                <a:noFill/>
              </a:ln>
              <a:solidFill>
                <a:srgbClr val="001A41"/>
              </a:solidFill>
              <a:effectLst/>
              <a:uLnTx/>
              <a:uFillTx/>
            </a:endParaRPr>
          </a:p>
          <a:p>
            <a:pPr marL="0" marR="0" lvl="0" indent="0" defTabSz="914102"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dirty="0">
                <a:ln>
                  <a:noFill/>
                </a:ln>
                <a:solidFill>
                  <a:srgbClr val="001A41"/>
                </a:solidFill>
                <a:effectLst/>
                <a:uLnTx/>
                <a:uFillTx/>
              </a:rPr>
              <a:t>Hive</a:t>
            </a:r>
            <a:endParaRPr kumimoji="0" lang="en-US" sz="1400" b="0" i="0" u="none" strike="noStrike" kern="0" cap="none" spc="0" normalizeH="0" baseline="0" noProof="0" dirty="0">
              <a:ln>
                <a:noFill/>
              </a:ln>
              <a:solidFill>
                <a:srgbClr val="001A41"/>
              </a:solidFill>
              <a:effectLst/>
              <a:uLnTx/>
              <a:uFillTx/>
            </a:endParaRPr>
          </a:p>
        </p:txBody>
      </p:sp>
      <p:sp>
        <p:nvSpPr>
          <p:cNvPr id="69" name="Rectangle 68"/>
          <p:cNvSpPr/>
          <p:nvPr/>
        </p:nvSpPr>
        <p:spPr bwMode="auto">
          <a:xfrm>
            <a:off x="10049751" y="4018524"/>
            <a:ext cx="1097280" cy="547842"/>
          </a:xfrm>
          <a:prstGeom prst="rect">
            <a:avLst/>
          </a:prstGeom>
          <a:noFill/>
          <a:ln>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73152" rIns="0" bIns="73152" numCol="1" rtlCol="0" anchor="t" anchorCtr="0" compatLnSpc="1">
            <a:prstTxWarp prst="textNoShape">
              <a:avLst/>
            </a:prstTxWarp>
            <a:spAutoFit/>
          </a:bodyPr>
          <a:lstStyle/>
          <a:p>
            <a:pPr marL="0" marR="0" lvl="0" indent="0" defTabSz="914102" eaLnBrk="1" fontAlgn="base" latinLnBrk="0" hangingPunct="1">
              <a:lnSpc>
                <a:spcPct val="100000"/>
              </a:lnSpc>
              <a:spcBef>
                <a:spcPct val="0"/>
              </a:spcBef>
              <a:spcAft>
                <a:spcPct val="0"/>
              </a:spcAft>
              <a:buClrTx/>
              <a:buSzTx/>
              <a:buFontTx/>
              <a:buNone/>
              <a:tabLst/>
              <a:defRPr/>
            </a:pPr>
            <a:r>
              <a:rPr kumimoji="0" lang="en-US" sz="1400" b="1" i="0" u="none" strike="noStrike" kern="0" cap="none" spc="0" normalizeH="0" baseline="0" noProof="0" dirty="0">
                <a:ln>
                  <a:noFill/>
                </a:ln>
                <a:solidFill>
                  <a:srgbClr val="001A41"/>
                </a:solidFill>
                <a:effectLst/>
                <a:uLnTx/>
                <a:uFillTx/>
              </a:rPr>
              <a:t>NoSQL</a:t>
            </a:r>
            <a:endParaRPr kumimoji="0" lang="en-US" sz="1400" b="0" i="0" u="none" strike="noStrike" kern="0" cap="none" spc="0" normalizeH="0" baseline="0" noProof="0" dirty="0">
              <a:ln>
                <a:noFill/>
              </a:ln>
              <a:solidFill>
                <a:srgbClr val="001A41"/>
              </a:solidFill>
              <a:effectLst/>
              <a:uLnTx/>
              <a:uFillTx/>
            </a:endParaRPr>
          </a:p>
          <a:p>
            <a:pPr marL="0" marR="0" lvl="0" indent="0" defTabSz="914102"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dirty="0" err="1">
                <a:ln>
                  <a:noFill/>
                </a:ln>
                <a:solidFill>
                  <a:srgbClr val="001A41"/>
                </a:solidFill>
                <a:effectLst/>
                <a:uLnTx/>
                <a:uFillTx/>
              </a:rPr>
              <a:t>HBase</a:t>
            </a:r>
            <a:endParaRPr kumimoji="0" lang="en-US" sz="1400" b="0" i="0" u="none" strike="noStrike" kern="0" cap="none" spc="0" normalizeH="0" baseline="0" noProof="0" dirty="0">
              <a:ln>
                <a:noFill/>
              </a:ln>
              <a:solidFill>
                <a:srgbClr val="001A41"/>
              </a:solidFill>
              <a:effectLst/>
              <a:uLnTx/>
              <a:uFillTx/>
            </a:endParaRPr>
          </a:p>
        </p:txBody>
      </p:sp>
      <p:sp>
        <p:nvSpPr>
          <p:cNvPr id="80" name="Rectangle 79"/>
          <p:cNvSpPr/>
          <p:nvPr/>
        </p:nvSpPr>
        <p:spPr bwMode="auto">
          <a:xfrm>
            <a:off x="10049751" y="4947914"/>
            <a:ext cx="1097280" cy="547842"/>
          </a:xfrm>
          <a:prstGeom prst="rect">
            <a:avLst/>
          </a:prstGeom>
          <a:noFill/>
          <a:ln>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73152" rIns="0" bIns="73152" numCol="1" rtlCol="0" anchor="t" anchorCtr="0" compatLnSpc="1">
            <a:prstTxWarp prst="textNoShape">
              <a:avLst/>
            </a:prstTxWarp>
            <a:spAutoFit/>
          </a:bodyPr>
          <a:lstStyle/>
          <a:p>
            <a:pPr marL="0" marR="0" lvl="0" indent="0" defTabSz="914102" eaLnBrk="1" fontAlgn="base" latinLnBrk="0" hangingPunct="1">
              <a:lnSpc>
                <a:spcPct val="100000"/>
              </a:lnSpc>
              <a:spcBef>
                <a:spcPct val="0"/>
              </a:spcBef>
              <a:spcAft>
                <a:spcPct val="0"/>
              </a:spcAft>
              <a:buClrTx/>
              <a:buSzTx/>
              <a:buFontTx/>
              <a:buNone/>
              <a:tabLst/>
              <a:defRPr/>
            </a:pPr>
            <a:r>
              <a:rPr kumimoji="0" lang="en-US" sz="1400" b="1" i="0" u="none" strike="noStrike" kern="0" cap="none" spc="0" normalizeH="0" baseline="0" noProof="0" dirty="0">
                <a:ln>
                  <a:noFill/>
                </a:ln>
                <a:solidFill>
                  <a:srgbClr val="001A41"/>
                </a:solidFill>
                <a:effectLst/>
                <a:uLnTx/>
                <a:uFillTx/>
              </a:rPr>
              <a:t>In-Memory</a:t>
            </a:r>
            <a:endParaRPr kumimoji="0" lang="en-US" sz="1400" b="0" i="0" u="none" strike="noStrike" kern="0" cap="none" spc="0" normalizeH="0" baseline="0" noProof="0" dirty="0">
              <a:ln>
                <a:noFill/>
              </a:ln>
              <a:solidFill>
                <a:srgbClr val="001A41"/>
              </a:solidFill>
              <a:effectLst/>
              <a:uLnTx/>
              <a:uFillTx/>
            </a:endParaRPr>
          </a:p>
          <a:p>
            <a:pPr marL="0" marR="0" lvl="0" indent="0" defTabSz="914102"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dirty="0">
                <a:ln>
                  <a:noFill/>
                </a:ln>
                <a:solidFill>
                  <a:srgbClr val="001A41"/>
                </a:solidFill>
                <a:effectLst/>
                <a:uLnTx/>
                <a:uFillTx/>
              </a:rPr>
              <a:t>Spark</a:t>
            </a:r>
            <a:endParaRPr kumimoji="0" lang="en-US" sz="1400" b="0" i="0" u="none" strike="noStrike" kern="0" cap="none" spc="0" normalizeH="0" baseline="0" noProof="0" dirty="0">
              <a:ln>
                <a:noFill/>
              </a:ln>
              <a:solidFill>
                <a:srgbClr val="001A41"/>
              </a:solidFill>
              <a:effectLst/>
              <a:uLnTx/>
              <a:uFillTx/>
            </a:endParaRPr>
          </a:p>
        </p:txBody>
      </p:sp>
      <p:sp>
        <p:nvSpPr>
          <p:cNvPr id="81" name="Rectangle 80"/>
          <p:cNvSpPr/>
          <p:nvPr/>
        </p:nvSpPr>
        <p:spPr bwMode="auto">
          <a:xfrm>
            <a:off x="10049751" y="5843266"/>
            <a:ext cx="1097280" cy="547842"/>
          </a:xfrm>
          <a:prstGeom prst="rect">
            <a:avLst/>
          </a:prstGeom>
          <a:noFill/>
          <a:ln>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73152" rIns="0" bIns="73152" numCol="1" rtlCol="0" anchor="t" anchorCtr="0" compatLnSpc="1">
            <a:prstTxWarp prst="textNoShape">
              <a:avLst/>
            </a:prstTxWarp>
            <a:spAutoFit/>
          </a:bodyPr>
          <a:lstStyle/>
          <a:p>
            <a:pPr marL="0" marR="0" lvl="0" indent="0" defTabSz="914102" eaLnBrk="1" fontAlgn="base" latinLnBrk="0" hangingPunct="1">
              <a:lnSpc>
                <a:spcPct val="100000"/>
              </a:lnSpc>
              <a:spcBef>
                <a:spcPct val="0"/>
              </a:spcBef>
              <a:spcAft>
                <a:spcPct val="0"/>
              </a:spcAft>
              <a:buClrTx/>
              <a:buSzTx/>
              <a:buFontTx/>
              <a:buNone/>
              <a:tabLst/>
              <a:defRPr/>
            </a:pPr>
            <a:r>
              <a:rPr kumimoji="0" lang="en-US" sz="1400" b="1" i="0" u="none" strike="noStrike" kern="0" cap="none" spc="0" normalizeH="0" baseline="0" noProof="0" dirty="0">
                <a:ln>
                  <a:noFill/>
                </a:ln>
                <a:solidFill>
                  <a:srgbClr val="001A41"/>
                </a:solidFill>
                <a:effectLst/>
                <a:uLnTx/>
                <a:uFillTx/>
              </a:rPr>
              <a:t>Predictive</a:t>
            </a:r>
            <a:endParaRPr kumimoji="0" lang="en-US" sz="1400" b="0" i="0" u="none" strike="noStrike" kern="0" cap="none" spc="0" normalizeH="0" baseline="0" noProof="0" dirty="0">
              <a:ln>
                <a:noFill/>
              </a:ln>
              <a:solidFill>
                <a:srgbClr val="001A41"/>
              </a:solidFill>
              <a:effectLst/>
              <a:uLnTx/>
              <a:uFillTx/>
            </a:endParaRPr>
          </a:p>
          <a:p>
            <a:pPr marL="0" marR="0" lvl="0" indent="0" defTabSz="914102"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dirty="0">
                <a:ln>
                  <a:noFill/>
                </a:ln>
                <a:solidFill>
                  <a:srgbClr val="001A41"/>
                </a:solidFill>
                <a:effectLst/>
                <a:uLnTx/>
                <a:uFillTx/>
              </a:rPr>
              <a:t>R Server</a:t>
            </a:r>
          </a:p>
        </p:txBody>
      </p:sp>
      <p:sp>
        <p:nvSpPr>
          <p:cNvPr id="85" name="Rectangle 84"/>
          <p:cNvSpPr/>
          <p:nvPr/>
        </p:nvSpPr>
        <p:spPr bwMode="auto">
          <a:xfrm>
            <a:off x="9367776" y="2534206"/>
            <a:ext cx="662390" cy="412994"/>
          </a:xfrm>
          <a:prstGeom prst="rect">
            <a:avLst/>
          </a:prstGeom>
          <a:noFill/>
          <a:ln>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defTabSz="914102" eaLnBrk="1" fontAlgn="base" latinLnBrk="0" hangingPunct="1">
              <a:lnSpc>
                <a:spcPct val="100000"/>
              </a:lnSpc>
              <a:spcBef>
                <a:spcPct val="0"/>
              </a:spcBef>
              <a:spcAft>
                <a:spcPct val="0"/>
              </a:spcAft>
              <a:buClrTx/>
              <a:buSzTx/>
              <a:buFontTx/>
              <a:buNone/>
              <a:tabLst/>
              <a:defRPr/>
            </a:pPr>
            <a:r>
              <a:rPr kumimoji="0" lang="en-US" sz="1400" b="1" i="0" u="none" strike="noStrike" kern="0" cap="none" spc="0" normalizeH="0" baseline="0" noProof="0" dirty="0">
                <a:ln>
                  <a:noFill/>
                </a:ln>
                <a:solidFill>
                  <a:srgbClr val="001A41"/>
                </a:solidFill>
                <a:effectLst/>
                <a:uLnTx/>
                <a:uFillTx/>
              </a:rPr>
              <a:t>Batch</a:t>
            </a:r>
          </a:p>
          <a:p>
            <a:pPr marL="0" marR="0" lvl="0" indent="0" defTabSz="914102"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dirty="0">
                <a:ln>
                  <a:noFill/>
                </a:ln>
                <a:solidFill>
                  <a:srgbClr val="001A41"/>
                </a:solidFill>
                <a:effectLst/>
                <a:uLnTx/>
                <a:uFillTx/>
              </a:rPr>
              <a:t>U-SQL</a:t>
            </a:r>
          </a:p>
        </p:txBody>
      </p:sp>
      <p:pic>
        <p:nvPicPr>
          <p:cNvPr id="371" name="Picture 370"/>
          <p:cNvPicPr>
            <a:picLocks noChangeAspect="1"/>
          </p:cNvPicPr>
          <p:nvPr/>
        </p:nvPicPr>
        <p:blipFill>
          <a:blip r:embed="rId24" cstate="print">
            <a:extLst>
              <a:ext uri="{28A0092B-C50C-407E-A947-70E740481C1C}">
                <a14:useLocalDpi xmlns:a14="http://schemas.microsoft.com/office/drawing/2010/main" val="0"/>
              </a:ext>
            </a:extLst>
          </a:blip>
          <a:stretch>
            <a:fillRect/>
          </a:stretch>
        </p:blipFill>
        <p:spPr>
          <a:xfrm>
            <a:off x="9112097" y="4932877"/>
            <a:ext cx="384314" cy="577916"/>
          </a:xfrm>
          <a:prstGeom prst="rect">
            <a:avLst/>
          </a:prstGeom>
        </p:spPr>
      </p:pic>
      <p:pic>
        <p:nvPicPr>
          <p:cNvPr id="10286" name="Picture 46" descr="http://ccs.miami.edu/wp-content/uploads/2016/05/Hadoop-Map-Reduce.png"/>
          <p:cNvPicPr>
            <a:picLocks noChangeAspect="1" noChangeArrowheads="1"/>
          </p:cNvPicPr>
          <p:nvPr/>
        </p:nvPicPr>
        <p:blipFill>
          <a:blip r:embed="rId25" cstate="print">
            <a:extLst>
              <a:ext uri="{28A0092B-C50C-407E-A947-70E740481C1C}">
                <a14:useLocalDpi xmlns:a14="http://schemas.microsoft.com/office/drawing/2010/main" val="0"/>
              </a:ext>
            </a:extLst>
          </a:blip>
          <a:srcRect/>
          <a:stretch>
            <a:fillRect/>
          </a:stretch>
        </p:blipFill>
        <p:spPr bwMode="auto">
          <a:xfrm>
            <a:off x="8984987" y="4171179"/>
            <a:ext cx="765578" cy="242533"/>
          </a:xfrm>
          <a:prstGeom prst="rect">
            <a:avLst/>
          </a:prstGeom>
          <a:noFill/>
          <a:extLst>
            <a:ext uri="{909E8E84-426E-40DD-AFC4-6F175D3DCCD1}">
              <a14:hiddenFill xmlns:a14="http://schemas.microsoft.com/office/drawing/2010/main">
                <a:solidFill>
                  <a:srgbClr val="FFFFFF"/>
                </a:solidFill>
              </a14:hiddenFill>
            </a:ext>
          </a:extLst>
        </p:spPr>
      </p:pic>
      <p:sp>
        <p:nvSpPr>
          <p:cNvPr id="373" name="Freeform 5"/>
          <p:cNvSpPr>
            <a:spLocks noEditPoints="1"/>
          </p:cNvSpPr>
          <p:nvPr/>
        </p:nvSpPr>
        <p:spPr bwMode="auto">
          <a:xfrm>
            <a:off x="4359632" y="3194040"/>
            <a:ext cx="1787070" cy="1406414"/>
          </a:xfrm>
          <a:custGeom>
            <a:avLst/>
            <a:gdLst>
              <a:gd name="T0" fmla="*/ 3752 w 5983"/>
              <a:gd name="T1" fmla="*/ 2549 h 4697"/>
              <a:gd name="T2" fmla="*/ 2693 w 5983"/>
              <a:gd name="T3" fmla="*/ 4063 h 4697"/>
              <a:gd name="T4" fmla="*/ 2651 w 5983"/>
              <a:gd name="T5" fmla="*/ 4087 h 4697"/>
              <a:gd name="T6" fmla="*/ 2627 w 5983"/>
              <a:gd name="T7" fmla="*/ 4081 h 4697"/>
              <a:gd name="T8" fmla="*/ 2603 w 5983"/>
              <a:gd name="T9" fmla="*/ 4021 h 4697"/>
              <a:gd name="T10" fmla="*/ 2878 w 5983"/>
              <a:gd name="T11" fmla="*/ 3117 h 4697"/>
              <a:gd name="T12" fmla="*/ 2262 w 5983"/>
              <a:gd name="T13" fmla="*/ 3117 h 4697"/>
              <a:gd name="T14" fmla="*/ 2214 w 5983"/>
              <a:gd name="T15" fmla="*/ 3087 h 4697"/>
              <a:gd name="T16" fmla="*/ 2220 w 5983"/>
              <a:gd name="T17" fmla="*/ 3034 h 4697"/>
              <a:gd name="T18" fmla="*/ 3249 w 5983"/>
              <a:gd name="T19" fmla="*/ 1538 h 4697"/>
              <a:gd name="T20" fmla="*/ 3291 w 5983"/>
              <a:gd name="T21" fmla="*/ 1514 h 4697"/>
              <a:gd name="T22" fmla="*/ 3315 w 5983"/>
              <a:gd name="T23" fmla="*/ 1520 h 4697"/>
              <a:gd name="T24" fmla="*/ 3339 w 5983"/>
              <a:gd name="T25" fmla="*/ 1580 h 4697"/>
              <a:gd name="T26" fmla="*/ 3075 w 5983"/>
              <a:gd name="T27" fmla="*/ 2465 h 4697"/>
              <a:gd name="T28" fmla="*/ 3710 w 5983"/>
              <a:gd name="T29" fmla="*/ 2465 h 4697"/>
              <a:gd name="T30" fmla="*/ 3763 w 5983"/>
              <a:gd name="T31" fmla="*/ 2519 h 4697"/>
              <a:gd name="T32" fmla="*/ 3752 w 5983"/>
              <a:gd name="T33" fmla="*/ 2549 h 4697"/>
              <a:gd name="T34" fmla="*/ 5750 w 5983"/>
              <a:gd name="T35" fmla="*/ 754 h 4697"/>
              <a:gd name="T36" fmla="*/ 0 w 5983"/>
              <a:gd name="T37" fmla="*/ 754 h 4697"/>
              <a:gd name="T38" fmla="*/ 0 w 5983"/>
              <a:gd name="T39" fmla="*/ 4326 h 4697"/>
              <a:gd name="T40" fmla="*/ 371 w 5983"/>
              <a:gd name="T41" fmla="*/ 4697 h 4697"/>
              <a:gd name="T42" fmla="*/ 5612 w 5983"/>
              <a:gd name="T43" fmla="*/ 4697 h 4697"/>
              <a:gd name="T44" fmla="*/ 5983 w 5983"/>
              <a:gd name="T45" fmla="*/ 4326 h 4697"/>
              <a:gd name="T46" fmla="*/ 5983 w 5983"/>
              <a:gd name="T47" fmla="*/ 1095 h 4697"/>
              <a:gd name="T48" fmla="*/ 5750 w 5983"/>
              <a:gd name="T49" fmla="*/ 754 h 4697"/>
              <a:gd name="T50" fmla="*/ 3536 w 5983"/>
              <a:gd name="T51" fmla="*/ 485 h 4697"/>
              <a:gd name="T52" fmla="*/ 3363 w 5983"/>
              <a:gd name="T53" fmla="*/ 186 h 4697"/>
              <a:gd name="T54" fmla="*/ 3040 w 5983"/>
              <a:gd name="T55" fmla="*/ 0 h 4697"/>
              <a:gd name="T56" fmla="*/ 371 w 5983"/>
              <a:gd name="T57" fmla="*/ 0 h 4697"/>
              <a:gd name="T58" fmla="*/ 0 w 5983"/>
              <a:gd name="T59" fmla="*/ 371 h 4697"/>
              <a:gd name="T60" fmla="*/ 0 w 5983"/>
              <a:gd name="T61" fmla="*/ 563 h 4697"/>
              <a:gd name="T62" fmla="*/ 3602 w 5983"/>
              <a:gd name="T63" fmla="*/ 563 h 4697"/>
              <a:gd name="T64" fmla="*/ 3536 w 5983"/>
              <a:gd name="T65" fmla="*/ 485 h 46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983" h="4697">
                <a:moveTo>
                  <a:pt x="3752" y="2549"/>
                </a:moveTo>
                <a:lnTo>
                  <a:pt x="2693" y="4063"/>
                </a:lnTo>
                <a:cubicBezTo>
                  <a:pt x="2681" y="4075"/>
                  <a:pt x="2669" y="4087"/>
                  <a:pt x="2651" y="4087"/>
                </a:cubicBezTo>
                <a:cubicBezTo>
                  <a:pt x="2645" y="4087"/>
                  <a:pt x="2633" y="4087"/>
                  <a:pt x="2627" y="4081"/>
                </a:cubicBezTo>
                <a:cubicBezTo>
                  <a:pt x="2603" y="4069"/>
                  <a:pt x="2591" y="4045"/>
                  <a:pt x="2603" y="4021"/>
                </a:cubicBezTo>
                <a:lnTo>
                  <a:pt x="2878" y="3117"/>
                </a:lnTo>
                <a:lnTo>
                  <a:pt x="2262" y="3117"/>
                </a:lnTo>
                <a:cubicBezTo>
                  <a:pt x="2244" y="3117"/>
                  <a:pt x="2226" y="3105"/>
                  <a:pt x="2214" y="3087"/>
                </a:cubicBezTo>
                <a:cubicBezTo>
                  <a:pt x="2208" y="3070"/>
                  <a:pt x="2208" y="3052"/>
                  <a:pt x="2220" y="3034"/>
                </a:cubicBezTo>
                <a:lnTo>
                  <a:pt x="3249" y="1538"/>
                </a:lnTo>
                <a:cubicBezTo>
                  <a:pt x="3261" y="1526"/>
                  <a:pt x="3273" y="1514"/>
                  <a:pt x="3291" y="1514"/>
                </a:cubicBezTo>
                <a:cubicBezTo>
                  <a:pt x="3297" y="1514"/>
                  <a:pt x="3303" y="1514"/>
                  <a:pt x="3315" y="1520"/>
                </a:cubicBezTo>
                <a:cubicBezTo>
                  <a:pt x="3339" y="1532"/>
                  <a:pt x="3351" y="1556"/>
                  <a:pt x="3339" y="1580"/>
                </a:cubicBezTo>
                <a:lnTo>
                  <a:pt x="3075" y="2465"/>
                </a:lnTo>
                <a:lnTo>
                  <a:pt x="3710" y="2465"/>
                </a:lnTo>
                <a:cubicBezTo>
                  <a:pt x="3740" y="2465"/>
                  <a:pt x="3763" y="2489"/>
                  <a:pt x="3763" y="2519"/>
                </a:cubicBezTo>
                <a:cubicBezTo>
                  <a:pt x="3763" y="2531"/>
                  <a:pt x="3758" y="2537"/>
                  <a:pt x="3752" y="2549"/>
                </a:cubicBezTo>
                <a:close/>
                <a:moveTo>
                  <a:pt x="5750" y="754"/>
                </a:moveTo>
                <a:lnTo>
                  <a:pt x="0" y="754"/>
                </a:lnTo>
                <a:lnTo>
                  <a:pt x="0" y="4326"/>
                </a:lnTo>
                <a:cubicBezTo>
                  <a:pt x="0" y="4529"/>
                  <a:pt x="168" y="4697"/>
                  <a:pt x="371" y="4697"/>
                </a:cubicBezTo>
                <a:lnTo>
                  <a:pt x="5612" y="4697"/>
                </a:lnTo>
                <a:cubicBezTo>
                  <a:pt x="5816" y="4697"/>
                  <a:pt x="5983" y="4529"/>
                  <a:pt x="5983" y="4326"/>
                </a:cubicBezTo>
                <a:lnTo>
                  <a:pt x="5983" y="1095"/>
                </a:lnTo>
                <a:cubicBezTo>
                  <a:pt x="5983" y="946"/>
                  <a:pt x="5887" y="814"/>
                  <a:pt x="5750" y="754"/>
                </a:cubicBezTo>
                <a:close/>
                <a:moveTo>
                  <a:pt x="3536" y="485"/>
                </a:moveTo>
                <a:lnTo>
                  <a:pt x="3363" y="186"/>
                </a:lnTo>
                <a:cubicBezTo>
                  <a:pt x="3297" y="72"/>
                  <a:pt x="3171" y="0"/>
                  <a:pt x="3040" y="0"/>
                </a:cubicBezTo>
                <a:lnTo>
                  <a:pt x="371" y="0"/>
                </a:lnTo>
                <a:cubicBezTo>
                  <a:pt x="168" y="0"/>
                  <a:pt x="0" y="168"/>
                  <a:pt x="0" y="371"/>
                </a:cubicBezTo>
                <a:lnTo>
                  <a:pt x="0" y="563"/>
                </a:lnTo>
                <a:lnTo>
                  <a:pt x="3602" y="563"/>
                </a:lnTo>
                <a:cubicBezTo>
                  <a:pt x="3572" y="545"/>
                  <a:pt x="3554" y="515"/>
                  <a:pt x="3536" y="485"/>
                </a:cubicBezTo>
                <a:close/>
              </a:path>
            </a:pathLst>
          </a:custGeom>
          <a:solidFill>
            <a:schemeClr val="accent1"/>
          </a:solidFill>
          <a:ln w="0">
            <a:noFill/>
            <a:prstDash val="solid"/>
            <a:round/>
            <a:headEnd/>
            <a:tailEnd/>
          </a:ln>
        </p:spPr>
        <p:txBody>
          <a:bodyPr vert="horz" wrap="square" lIns="74702" tIns="37351" rIns="74702" bIns="37351" numCol="1" anchor="t" anchorCtr="0" compatLnSpc="1">
            <a:prstTxWarp prst="textNoShape">
              <a:avLst/>
            </a:prstTxWarp>
          </a:bodyPr>
          <a:lstStyle/>
          <a:p>
            <a:pPr marL="0" marR="0" lvl="0" indent="0" defTabSz="896350" eaLnBrk="1" fontAlgn="base" latinLnBrk="0" hangingPunct="1">
              <a:lnSpc>
                <a:spcPct val="100000"/>
              </a:lnSpc>
              <a:spcBef>
                <a:spcPct val="0"/>
              </a:spcBef>
              <a:spcAft>
                <a:spcPct val="0"/>
              </a:spcAft>
              <a:buClrTx/>
              <a:buSzTx/>
              <a:buFontTx/>
              <a:buNone/>
              <a:tabLst/>
              <a:defRPr/>
            </a:pPr>
            <a:endParaRPr kumimoji="0" lang="en-US" sz="2353" b="0" i="0" u="none" strike="noStrike" kern="0" cap="none" spc="0" normalizeH="0" baseline="0" noProof="0">
              <a:ln>
                <a:noFill/>
              </a:ln>
              <a:solidFill>
                <a:prstClr val="white"/>
              </a:solidFill>
              <a:effectLst/>
              <a:uLnTx/>
              <a:uFillTx/>
            </a:endParaRPr>
          </a:p>
        </p:txBody>
      </p:sp>
      <p:grpSp>
        <p:nvGrpSpPr>
          <p:cNvPr id="210" name="Group 209"/>
          <p:cNvGrpSpPr/>
          <p:nvPr/>
        </p:nvGrpSpPr>
        <p:grpSpPr>
          <a:xfrm flipH="1">
            <a:off x="6391106" y="2588079"/>
            <a:ext cx="1483004" cy="2937261"/>
            <a:chOff x="778955" y="2053801"/>
            <a:chExt cx="488076" cy="2937261"/>
          </a:xfrm>
        </p:grpSpPr>
        <p:cxnSp>
          <p:nvCxnSpPr>
            <p:cNvPr id="211" name="Straight Connector 210"/>
            <p:cNvCxnSpPr/>
            <p:nvPr/>
          </p:nvCxnSpPr>
          <p:spPr>
            <a:xfrm>
              <a:off x="891733" y="2053801"/>
              <a:ext cx="9541" cy="2937261"/>
            </a:xfrm>
            <a:prstGeom prst="line">
              <a:avLst/>
            </a:prstGeom>
            <a:ln w="38100" cap="sq">
              <a:solidFill>
                <a:schemeClr val="accent1"/>
              </a:solidFill>
              <a:prstDash val="sysDash"/>
              <a:miter lim="800000"/>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12" name="Straight Connector 211"/>
            <p:cNvCxnSpPr/>
            <p:nvPr/>
          </p:nvCxnSpPr>
          <p:spPr>
            <a:xfrm>
              <a:off x="785855" y="2053801"/>
              <a:ext cx="99580" cy="0"/>
            </a:xfrm>
            <a:prstGeom prst="line">
              <a:avLst/>
            </a:prstGeom>
            <a:ln w="38100" cap="sq">
              <a:solidFill>
                <a:schemeClr val="accent1"/>
              </a:solidFill>
              <a:prstDash val="sysDash"/>
              <a:miter lim="800000"/>
              <a:headEnd type="triangl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13" name="Straight Connector 212"/>
            <p:cNvCxnSpPr/>
            <p:nvPr/>
          </p:nvCxnSpPr>
          <p:spPr>
            <a:xfrm flipH="1">
              <a:off x="902617" y="3744981"/>
              <a:ext cx="364414" cy="0"/>
            </a:xfrm>
            <a:prstGeom prst="line">
              <a:avLst/>
            </a:prstGeom>
            <a:ln w="38100" cap="sq">
              <a:solidFill>
                <a:schemeClr val="accent1"/>
              </a:solidFill>
              <a:prstDash val="sysDash"/>
              <a:miter lim="800000"/>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14" name="Straight Connector 213"/>
            <p:cNvCxnSpPr/>
            <p:nvPr/>
          </p:nvCxnSpPr>
          <p:spPr>
            <a:xfrm>
              <a:off x="778955" y="4991062"/>
              <a:ext cx="120487" cy="0"/>
            </a:xfrm>
            <a:prstGeom prst="line">
              <a:avLst/>
            </a:prstGeom>
            <a:ln w="38100" cap="sq">
              <a:solidFill>
                <a:schemeClr val="accent1"/>
              </a:solidFill>
              <a:prstDash val="sysDash"/>
              <a:miter lim="800000"/>
              <a:headEnd type="triangle" w="lg" len="med"/>
              <a:tailEnd type="none" w="lg" len="med"/>
            </a:ln>
          </p:spPr>
          <p:style>
            <a:lnRef idx="1">
              <a:schemeClr val="accent1"/>
            </a:lnRef>
            <a:fillRef idx="0">
              <a:schemeClr val="accent1"/>
            </a:fillRef>
            <a:effectRef idx="0">
              <a:schemeClr val="accent1"/>
            </a:effectRef>
            <a:fontRef idx="minor">
              <a:schemeClr val="tx1"/>
            </a:fontRef>
          </p:style>
        </p:cxnSp>
      </p:grpSp>
      <p:cxnSp>
        <p:nvCxnSpPr>
          <p:cNvPr id="363" name="Straight Arrow Connector 362"/>
          <p:cNvCxnSpPr/>
          <p:nvPr/>
        </p:nvCxnSpPr>
        <p:spPr>
          <a:xfrm>
            <a:off x="2865074" y="4263066"/>
            <a:ext cx="1293346" cy="0"/>
          </a:xfrm>
          <a:prstGeom prst="straightConnector1">
            <a:avLst/>
          </a:prstGeom>
          <a:ln w="38100">
            <a:solidFill>
              <a:schemeClr val="accent1"/>
            </a:solidFill>
            <a:prstDash val="sysDash"/>
            <a:headEnd type="none" w="lg" len="med"/>
            <a:tailEnd type="triangle" w="lg" len="med"/>
          </a:ln>
        </p:spPr>
        <p:style>
          <a:lnRef idx="1">
            <a:schemeClr val="accent1"/>
          </a:lnRef>
          <a:fillRef idx="0">
            <a:schemeClr val="accent1"/>
          </a:fillRef>
          <a:effectRef idx="0">
            <a:schemeClr val="accent1"/>
          </a:effectRef>
          <a:fontRef idx="minor">
            <a:schemeClr val="tx1"/>
          </a:fontRef>
        </p:style>
      </p:cxnSp>
      <p:grpSp>
        <p:nvGrpSpPr>
          <p:cNvPr id="3" name="Group 2"/>
          <p:cNvGrpSpPr/>
          <p:nvPr/>
        </p:nvGrpSpPr>
        <p:grpSpPr>
          <a:xfrm>
            <a:off x="2593730" y="1964052"/>
            <a:ext cx="271724" cy="4592592"/>
            <a:chOff x="2516027" y="1964052"/>
            <a:chExt cx="271724" cy="4592592"/>
          </a:xfrm>
        </p:grpSpPr>
        <p:cxnSp>
          <p:nvCxnSpPr>
            <p:cNvPr id="217" name="Straight Connector 216"/>
            <p:cNvCxnSpPr/>
            <p:nvPr/>
          </p:nvCxnSpPr>
          <p:spPr>
            <a:xfrm>
              <a:off x="2787751" y="1971989"/>
              <a:ext cx="0" cy="4584655"/>
            </a:xfrm>
            <a:prstGeom prst="line">
              <a:avLst/>
            </a:prstGeom>
            <a:ln w="38100" cap="sq">
              <a:solidFill>
                <a:schemeClr val="accent1"/>
              </a:solidFill>
              <a:prstDash val="sysDash"/>
              <a:miter lim="800000"/>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215" name="Group 214"/>
            <p:cNvGrpSpPr/>
            <p:nvPr/>
          </p:nvGrpSpPr>
          <p:grpSpPr>
            <a:xfrm flipH="1">
              <a:off x="2516027" y="1964052"/>
              <a:ext cx="271344" cy="4592591"/>
              <a:chOff x="778955" y="2315543"/>
              <a:chExt cx="120487" cy="2675519"/>
            </a:xfrm>
          </p:grpSpPr>
          <p:cxnSp>
            <p:nvCxnSpPr>
              <p:cNvPr id="218" name="Straight Connector 217"/>
              <p:cNvCxnSpPr/>
              <p:nvPr/>
            </p:nvCxnSpPr>
            <p:spPr>
              <a:xfrm>
                <a:off x="785855" y="2315543"/>
                <a:ext cx="99580" cy="0"/>
              </a:xfrm>
              <a:prstGeom prst="line">
                <a:avLst/>
              </a:prstGeom>
              <a:ln w="38100" cap="sq">
                <a:solidFill>
                  <a:schemeClr val="accent1"/>
                </a:solidFill>
                <a:prstDash val="sysDash"/>
                <a:miter lim="800000"/>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20" name="Straight Connector 219"/>
              <p:cNvCxnSpPr/>
              <p:nvPr/>
            </p:nvCxnSpPr>
            <p:spPr>
              <a:xfrm>
                <a:off x="778955" y="4991062"/>
                <a:ext cx="120487" cy="0"/>
              </a:xfrm>
              <a:prstGeom prst="line">
                <a:avLst/>
              </a:prstGeom>
              <a:ln w="38100" cap="sq">
                <a:solidFill>
                  <a:schemeClr val="accent1"/>
                </a:solidFill>
                <a:prstDash val="sysDash"/>
                <a:miter lim="800000"/>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388111542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MT_TILE" val="YES"/>
</p:tagLst>
</file>

<file path=ppt/tags/tag11.xml><?xml version="1.0" encoding="utf-8"?>
<p:tagLst xmlns:a="http://schemas.openxmlformats.org/drawingml/2006/main" xmlns:r="http://schemas.openxmlformats.org/officeDocument/2006/relationships" xmlns:p="http://schemas.openxmlformats.org/presentationml/2006/main">
  <p:tag name="MT_TILE" val="YES"/>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TN23NoVXbkS5ILObizlpN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MT_TILE" val="YES"/>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MT_TILE" val="YES"/>
</p:tagLst>
</file>

<file path=ppt/tags/tag22.xml><?xml version="1.0" encoding="utf-8"?>
<p:tagLst xmlns:a="http://schemas.openxmlformats.org/drawingml/2006/main" xmlns:r="http://schemas.openxmlformats.org/officeDocument/2006/relationships" xmlns:p="http://schemas.openxmlformats.org/presentationml/2006/main">
  <p:tag name="MT_TILE" val="YES"/>
</p:tagLst>
</file>

<file path=ppt/tags/tag23.xml><?xml version="1.0" encoding="utf-8"?>
<p:tagLst xmlns:a="http://schemas.openxmlformats.org/drawingml/2006/main" xmlns:r="http://schemas.openxmlformats.org/officeDocument/2006/relationships" xmlns:p="http://schemas.openxmlformats.org/presentationml/2006/main">
  <p:tag name="MT_TILE" val="YES"/>
</p:tagLst>
</file>

<file path=ppt/tags/tag24.xml><?xml version="1.0" encoding="utf-8"?>
<p:tagLst xmlns:a="http://schemas.openxmlformats.org/drawingml/2006/main" xmlns:r="http://schemas.openxmlformats.org/officeDocument/2006/relationships" xmlns:p="http://schemas.openxmlformats.org/presentationml/2006/main">
  <p:tag name="MT_TILE" val="YES"/>
</p:tagLst>
</file>

<file path=ppt/tags/tag25.xml><?xml version="1.0" encoding="utf-8"?>
<p:tagLst xmlns:a="http://schemas.openxmlformats.org/drawingml/2006/main" xmlns:r="http://schemas.openxmlformats.org/officeDocument/2006/relationships" xmlns:p="http://schemas.openxmlformats.org/presentationml/2006/main">
  <p:tag name="MT_TILE" val="YES"/>
</p:tagLst>
</file>

<file path=ppt/tags/tag26.xml><?xml version="1.0" encoding="utf-8"?>
<p:tagLst xmlns:a="http://schemas.openxmlformats.org/drawingml/2006/main" xmlns:r="http://schemas.openxmlformats.org/officeDocument/2006/relationships" xmlns:p="http://schemas.openxmlformats.org/presentationml/2006/main">
  <p:tag name="MT_TILE" val="YES"/>
</p:tagLst>
</file>

<file path=ppt/tags/tag27.xml><?xml version="1.0" encoding="utf-8"?>
<p:tagLst xmlns:a="http://schemas.openxmlformats.org/drawingml/2006/main" xmlns:r="http://schemas.openxmlformats.org/officeDocument/2006/relationships" xmlns:p="http://schemas.openxmlformats.org/presentationml/2006/main">
  <p:tag name="MT_TILE" val="YES"/>
</p:tagLst>
</file>

<file path=ppt/tags/tag28.xml><?xml version="1.0" encoding="utf-8"?>
<p:tagLst xmlns:a="http://schemas.openxmlformats.org/drawingml/2006/main" xmlns:r="http://schemas.openxmlformats.org/officeDocument/2006/relationships" xmlns:p="http://schemas.openxmlformats.org/presentationml/2006/main">
  <p:tag name="MT_TILE" val="YES"/>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MT_TILE" val="YES"/>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MT_TILE" val="YES"/>
</p:tagLst>
</file>

<file path=ppt/tags/tag5.xml><?xml version="1.0" encoding="utf-8"?>
<p:tagLst xmlns:a="http://schemas.openxmlformats.org/drawingml/2006/main" xmlns:r="http://schemas.openxmlformats.org/officeDocument/2006/relationships" xmlns:p="http://schemas.openxmlformats.org/presentationml/2006/main">
  <p:tag name="MT_TILE" val="YES"/>
</p:tagLst>
</file>

<file path=ppt/tags/tag6.xml><?xml version="1.0" encoding="utf-8"?>
<p:tagLst xmlns:a="http://schemas.openxmlformats.org/drawingml/2006/main" xmlns:r="http://schemas.openxmlformats.org/officeDocument/2006/relationships" xmlns:p="http://schemas.openxmlformats.org/presentationml/2006/main">
  <p:tag name="MT_TILE" val="YES"/>
</p:tagLst>
</file>

<file path=ppt/tags/tag7.xml><?xml version="1.0" encoding="utf-8"?>
<p:tagLst xmlns:a="http://schemas.openxmlformats.org/drawingml/2006/main" xmlns:r="http://schemas.openxmlformats.org/officeDocument/2006/relationships" xmlns:p="http://schemas.openxmlformats.org/presentationml/2006/main">
  <p:tag name="MT_TILE" val="YES"/>
</p:tagLst>
</file>

<file path=ppt/tags/tag8.xml><?xml version="1.0" encoding="utf-8"?>
<p:tagLst xmlns:a="http://schemas.openxmlformats.org/drawingml/2006/main" xmlns:r="http://schemas.openxmlformats.org/officeDocument/2006/relationships" xmlns:p="http://schemas.openxmlformats.org/presentationml/2006/main">
  <p:tag name="MT_TILE" val="YES"/>
</p:tagLst>
</file>

<file path=ppt/tags/tag9.xml><?xml version="1.0" encoding="utf-8"?>
<p:tagLst xmlns:a="http://schemas.openxmlformats.org/drawingml/2006/main" xmlns:r="http://schemas.openxmlformats.org/officeDocument/2006/relationships" xmlns:p="http://schemas.openxmlformats.org/presentationml/2006/main">
  <p:tag name="MT_TILE" val="YES"/>
</p:tagLst>
</file>

<file path=ppt/theme/theme1.xml><?xml version="1.0" encoding="utf-8"?>
<a:theme xmlns:a="http://schemas.openxmlformats.org/drawingml/2006/main" name="1_Theme1">
  <a:themeElements>
    <a:clrScheme name="Custom 3">
      <a:dk1>
        <a:srgbClr val="000000"/>
      </a:dk1>
      <a:lt1>
        <a:srgbClr val="FFFFFF"/>
      </a:lt1>
      <a:dk2>
        <a:srgbClr val="505050"/>
      </a:dk2>
      <a:lt2>
        <a:srgbClr val="D2D2D2"/>
      </a:lt2>
      <a:accent1>
        <a:srgbClr val="0D163D"/>
      </a:accent1>
      <a:accent2>
        <a:srgbClr val="50B347"/>
      </a:accent2>
      <a:accent3>
        <a:srgbClr val="FEF808"/>
      </a:accent3>
      <a:accent4>
        <a:srgbClr val="A5ACAF"/>
      </a:accent4>
      <a:accent5>
        <a:srgbClr val="FB7D37"/>
      </a:accent5>
      <a:accent6>
        <a:srgbClr val="00BCF2"/>
      </a:accent6>
      <a:hlink>
        <a:srgbClr val="505050"/>
      </a:hlink>
      <a:folHlink>
        <a:srgbClr val="505050"/>
      </a:folHlink>
    </a:clrScheme>
    <a:fontScheme name="STB-2013-SegoeUI">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4"/>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000" b="1" dirty="0" smtClean="0">
            <a:solidFill>
              <a:schemeClr val="bg1"/>
            </a:solidFill>
            <a:latin typeface="+mj-lt"/>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182880" tIns="146304" rIns="182880" bIns="146304" rtlCol="0">
        <a:spAutoFit/>
      </a:bodyPr>
      <a:lstStyle>
        <a:defPPr>
          <a:lnSpc>
            <a:spcPct val="90000"/>
          </a:lnSpc>
          <a:spcAft>
            <a:spcPts val="600"/>
          </a:spcAft>
          <a:defRPr sz="2400" dirty="0"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heme1" id="{3B365E36-265F-42ED-90CB-897686AA20D5}" vid="{42BB44ED-578C-437B-982F-BE4F33A2196C}"/>
    </a:ext>
  </a:extLst>
</a:theme>
</file>

<file path=ppt/theme/theme2.xml><?xml version="1.0" encoding="utf-8"?>
<a:theme xmlns:a="http://schemas.openxmlformats.org/drawingml/2006/main" name="ADLSE_Template">
  <a:themeElements>
    <a:clrScheme name="ADL">
      <a:dk1>
        <a:srgbClr val="505050"/>
      </a:dk1>
      <a:lt1>
        <a:srgbClr val="FFFFFF"/>
      </a:lt1>
      <a:dk2>
        <a:srgbClr val="002050"/>
      </a:dk2>
      <a:lt2>
        <a:srgbClr val="F2F2F2"/>
      </a:lt2>
      <a:accent1>
        <a:srgbClr val="7FBA00"/>
      </a:accent1>
      <a:accent2>
        <a:srgbClr val="0078D7"/>
      </a:accent2>
      <a:accent3>
        <a:srgbClr val="00BCF2"/>
      </a:accent3>
      <a:accent4>
        <a:srgbClr val="FF8C00"/>
      </a:accent4>
      <a:accent5>
        <a:srgbClr val="FFB900"/>
      </a:accent5>
      <a:accent6>
        <a:srgbClr val="5C2D91"/>
      </a:accent6>
      <a:hlink>
        <a:srgbClr val="00BCF2"/>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5439">
                  <a:srgbClr val="F8F8F8"/>
                </a:gs>
                <a:gs pos="10000">
                  <a:srgbClr val="F8F8F8"/>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6_16x9_Template.potx" id="{61D5EBA6-A23E-492C-8A07-E4BCB14E768B}" vid="{2C5385DD-25CC-4B4A-8E83-9D91F0EF820F}"/>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4.0.0.0, Culture=neutral, PublicKeyToken=71e9bce111e9429c</Assembly>
    <Class>Microsoft.Office.DocumentManagement.Internal.DocIdHandler</Class>
    <Data/>
    <Filter/>
  </Receiver>
</spe:Receivers>
</file>

<file path=customXml/item3.xml><?xml version="1.0" encoding="utf-8"?>
<p:properties xmlns:p="http://schemas.microsoft.com/office/2006/metadata/properties" xmlns:xsi="http://www.w3.org/2001/XMLSchema-instance" xmlns:pc="http://schemas.microsoft.com/office/infopath/2007/PartnerControls">
  <documentManagement>
    <DocumentDescription xmlns="230e9df3-be65-4c73-a93b-d1236ebd677e">This deck gives a technical overview of the Azure Data Lake Store. The massive scale data lake store is a WebHDFS store which allows you to bring any data, big and small, to perform analysis upon. Use this deck for conversations with technical teams.​</DocumentDescription>
    <hd9637eefc984b85b6097c6374e15725 xmlns="230e9df3-be65-4c73-a93b-d1236ebd677e">
      <Terms xmlns="http://schemas.microsoft.com/office/infopath/2007/PartnerControls">
        <TermInfo xmlns="http://schemas.microsoft.com/office/infopath/2007/PartnerControls">
          <TermName xmlns="http://schemas.microsoft.com/office/infopath/2007/PartnerControls">technical presentations</TermName>
          <TermId xmlns="http://schemas.microsoft.com/office/infopath/2007/PartnerControls">83a894cf-702b-47fc-aba5-41bd10dc1e75</TermId>
        </TermInfo>
      </Terms>
    </hd9637eefc984b85b6097c6374e15725>
    <od9986d31974458fb3007746ec0bce5f xmlns="230e9df3-be65-4c73-a93b-d1236ebd677e">
      <Terms xmlns="http://schemas.microsoft.com/office/infopath/2007/PartnerControls"/>
    </od9986d31974458fb3007746ec0bce5f>
    <k20e0dfa74bf4e44818db03027b0ccd8 xmlns="230e9df3-be65-4c73-a93b-d1236ebd677e">
      <Terms xmlns="http://schemas.microsoft.com/office/infopath/2007/PartnerControls"/>
    </k20e0dfa74bf4e44818db03027b0ccd8>
    <Owner xmlns="230e9df3-be65-4c73-a93b-d1236ebd677e">
      <UserInfo>
        <DisplayName>Oliver Chiu</DisplayName>
        <AccountId>123</AccountId>
        <AccountType/>
      </UserInfo>
    </Owner>
    <PublishDate xmlns="230E9DF3-BE65-4C73-A93B-D1236EBD677E" xsi:nil="true"/>
    <k21a64daf20d4502b2796a1c6b8ce6c8 xmlns="230e9df3-be65-4c73-a93b-d1236ebd677e">
      <Terms xmlns="http://schemas.microsoft.com/office/infopath/2007/PartnerControls"/>
    </k21a64daf20d4502b2796a1c6b8ce6c8>
    <GenericHTML1 xmlns="230e9df3-be65-4c73-a93b-d1236ebd677e" xsi:nil="true"/>
    <ConfidentialityTaxHTField0 xmlns="230e9df3-be65-4c73-a93b-d1236ebd677e">
      <Terms xmlns="http://schemas.microsoft.com/office/infopath/2007/PartnerControls">
        <TermInfo xmlns="http://schemas.microsoft.com/office/infopath/2007/PartnerControls">
          <TermName xmlns="http://schemas.microsoft.com/office/infopath/2007/PartnerControls">customer ready</TermName>
          <TermId xmlns="http://schemas.microsoft.com/office/infopath/2007/PartnerControls">8986c41d-21c5-4f8f-8a12-ea4625b46858</TermId>
        </TermInfo>
      </Terms>
    </ConfidentialityTaxHTField0>
    <l3c3ea61849e4288a8acc49bb5388e8c xmlns="230e9df3-be65-4c73-a93b-d1236ebd677e">
      <Terms xmlns="http://schemas.microsoft.com/office/infopath/2007/PartnerControls">
        <TermInfo xmlns="http://schemas.microsoft.com/office/infopath/2007/PartnerControls">
          <TermName xmlns="http://schemas.microsoft.com/office/infopath/2007/PartnerControls">SQL Server Marketing</TermName>
          <TermId xmlns="http://schemas.microsoft.com/office/infopath/2007/PartnerControls">bb7921b3-c1d8-4da4-b894-8b6075d9546d</TermId>
        </TermInfo>
        <TermInfo xmlns="http://schemas.microsoft.com/office/infopath/2007/PartnerControls">
          <TermName xmlns="http://schemas.microsoft.com/office/infopath/2007/PartnerControls">Cloud and Enterprise Marketing Group</TermName>
          <TermId xmlns="http://schemas.microsoft.com/office/infopath/2007/PartnerControls">4f75e184-e5aa-4234-a07f-b032d60df254</TermId>
        </TermInfo>
        <TermInfo xmlns="http://schemas.microsoft.com/office/infopath/2007/PartnerControls">
          <TermName xmlns="http://schemas.microsoft.com/office/infopath/2007/PartnerControls">Worldwide Readiness</TermName>
          <TermId xmlns="http://schemas.microsoft.com/office/infopath/2007/PartnerControls">c6595b84-b463-470a-bb46-2a47364645be</TermId>
        </TermInfo>
      </Terms>
    </l3c3ea61849e4288a8acc49bb5388e8c>
    <Blog_x0020_Name xmlns="230e9df3-be65-4c73-a93b-d1236ebd677e" xsi:nil="true"/>
    <eb54ac91059940029a3cc8a4ff5af673 xmlns="230e9df3-be65-4c73-a93b-d1236ebd677e">
      <Terms xmlns="http://schemas.microsoft.com/office/infopath/2007/PartnerControls">
        <TermInfo xmlns="http://schemas.microsoft.com/office/infopath/2007/PartnerControls">
          <TermName xmlns="http://schemas.microsoft.com/office/infopath/2007/PartnerControls">Server and Tools Business</TermName>
          <TermId xmlns="http://schemas.microsoft.com/office/infopath/2007/PartnerControls">6783548d-8609-4f97-be4a-4ca2616905a6</TermId>
        </TermInfo>
        <TermInfo xmlns="http://schemas.microsoft.com/office/infopath/2007/PartnerControls">
          <TermName xmlns="http://schemas.microsoft.com/office/infopath/2007/PartnerControls">SQL Server Domain</TermName>
          <TermId xmlns="http://schemas.microsoft.com/office/infopath/2007/PartnerControls">0c0f1824-39dc-4b26-8c74-eff4364b812b</TermId>
        </TermInfo>
        <TermInfo xmlns="http://schemas.microsoft.com/office/infopath/2007/PartnerControls">
          <TermName xmlns="http://schemas.microsoft.com/office/infopath/2007/PartnerControls">Cloud and Enterprise</TermName>
          <TermId xmlns="http://schemas.microsoft.com/office/infopath/2007/PartnerControls">adc2fe87-c79a-4ded-a449-3f86b954069d</TermId>
        </TermInfo>
        <TermInfo xmlns="http://schemas.microsoft.com/office/infopath/2007/PartnerControls">
          <TermName xmlns="http://schemas.microsoft.com/office/infopath/2007/PartnerControls">Microsoft Azure Domain</TermName>
          <TermId xmlns="http://schemas.microsoft.com/office/infopath/2007/PartnerControls">d600a391-d529-4311-892b-2c05c1ab2538</TermId>
        </TermInfo>
      </Terms>
    </eb54ac91059940029a3cc8a4ff5af673>
    <PublishingPageContent xmlns="http://schemas.microsoft.com/sharepoint/v3" xsi:nil="true"/>
    <ContentID xmlns="230e9df3-be65-4c73-a93b-d1236ebd677e" xsi:nil="true"/>
    <Coowner xmlns="230e9df3-be65-4c73-a93b-d1236ebd677e">
      <UserInfo>
        <DisplayName>i:0#.f|membership|meeryan@microsoft.com</DisplayName>
        <AccountId>37</AccountId>
        <AccountType/>
      </UserInfo>
      <UserInfo>
        <DisplayName>i:0#.f|membership|v-anmarv@microsoft.com</DisplayName>
        <AccountId>45</AccountId>
        <AccountType/>
      </UserInfo>
      <UserInfo>
        <DisplayName>i:0#.f|membership|v-danaja@microsoft.com</DisplayName>
        <AccountId>176</AccountId>
        <AccountType/>
      </UserInfo>
    </Coowner>
    <ef109fd36bcf4bcd9dd945731030600b xmlns="230e9df3-be65-4c73-a93b-d1236ebd677e">
      <Terms xmlns="http://schemas.microsoft.com/office/infopath/2007/PartnerControls"/>
    </ef109fd36bcf4bcd9dd945731030600b>
    <ApplyWorkflowRules xmlns="230E9DF3-BE65-4C73-A93B-D1236EBD677E">Yes</ApplyWorkflowRules>
    <bf80e81150e248c48aa8cffdf0021a1f xmlns="230e9df3-be65-4c73-a93b-d1236ebd677e">
      <Terms xmlns="http://schemas.microsoft.com/office/infopath/2007/PartnerControls">
        <TermInfo xmlns="http://schemas.microsoft.com/office/infopath/2007/PartnerControls">
          <TermName xmlns="http://schemas.microsoft.com/office/infopath/2007/PartnerControls">Microsoft SQL Server</TermName>
          <TermId xmlns="http://schemas.microsoft.com/office/infopath/2007/PartnerControls">261ba873-f3ab-420e-96d6-e3004596a551</TermId>
        </TermInfo>
        <TermInfo xmlns="http://schemas.microsoft.com/office/infopath/2007/PartnerControls">
          <TermName xmlns="http://schemas.microsoft.com/office/infopath/2007/PartnerControls">Microsoft Azure</TermName>
          <TermId xmlns="http://schemas.microsoft.com/office/infopath/2007/PartnerControls">669a3112-5edf-444b-a003-630063601f07</TermId>
        </TermInfo>
      </Terms>
    </bf80e81150e248c48aa8cffdf0021a1f>
    <ec5b2ad5c27b45fb8a00a1f27c7ce1ae xmlns="230e9df3-be65-4c73-a93b-d1236ebd677e">
      <Terms xmlns="http://schemas.microsoft.com/office/infopath/2007/PartnerControls"/>
    </ec5b2ad5c27b45fb8a00a1f27c7ce1ae>
    <RatingCount xmlns="http://schemas.microsoft.com/sharepoint/v3" xsi:nil="true"/>
    <m6d26e40ac264097a006193f92232ece xmlns="230e9df3-be65-4c73-a93b-d1236ebd677e">
      <Terms xmlns="http://schemas.microsoft.com/office/infopath/2007/PartnerControls"/>
    </m6d26e40ac264097a006193f92232ece>
    <b60f8d2dbb984f349d80d8196897f4d3 xmlns="230e9df3-be65-4c73-a93b-d1236ebd677e">
      <Terms xmlns="http://schemas.microsoft.com/office/infopath/2007/PartnerControls"/>
    </b60f8d2dbb984f349d80d8196897f4d3>
    <Thumbnail1 xmlns="230e9df3-be65-4c73-a93b-d1236ebd677e">
      <Url>https://microsoft.sharepoint.com/sites/Infopedia_G01KC/Media/Thumbnails/G01KC-1-3614/Azure%20Data%20Lake%20Store%20-%20Technical%20Overview.png</Url>
      <Description>/sites/Infopedia_G01KC/Media/Thumbnails/G01KC-1-3614/Azure Data Lake Store - Technical Overview.png</Description>
    </Thumbnail1>
    <i0d941ee1e744ffea7aeee9924c91cbb xmlns="230e9df3-be65-4c73-a93b-d1236ebd677e">
      <Terms xmlns="http://schemas.microsoft.com/office/infopath/2007/PartnerControls">
        <TermInfo xmlns="http://schemas.microsoft.com/office/infopath/2007/PartnerControls">
          <TermName xmlns="http://schemas.microsoft.com/office/infopath/2007/PartnerControls">modern data warehouses</TermName>
          <TermId xmlns="http://schemas.microsoft.com/office/infopath/2007/PartnerControls">73a3f3c0-b1f4-4059-b3f7-d568167cd895</TermId>
        </TermInfo>
      </Terms>
    </i0d941ee1e744ffea7aeee9924c91cbb>
    <RoutingRuleDescription xmlns="http://schemas.microsoft.com/sharepoint/v3" xsi:nil="true"/>
    <PublishingExpirationDate xmlns="http://schemas.microsoft.com/sharepoint/v3" xsi:nil="true"/>
    <AverageRating xmlns="http://schemas.microsoft.com/sharepoint/v3" xsi:nil="true"/>
    <TaxKeywordTaxHTField xmlns="230e9df3-be65-4c73-a93b-d1236ebd677e">
      <Terms xmlns="http://schemas.microsoft.com/office/infopath/2007/PartnerControls">
        <TermInfo xmlns="http://schemas.microsoft.com/office/infopath/2007/PartnerControls">
          <TermName xmlns="http://schemas.microsoft.com/office/infopath/2007/PartnerControls">Microsoft Azure Data Factory</TermName>
          <TermId xmlns="http://schemas.microsoft.com/office/infopath/2007/PartnerControls">fdd46938-00cb-4956-a9bd-9ee636ecbeaa</TermId>
        </TermInfo>
      </Terms>
    </TaxKeywordTaxHTField>
    <ReportOwner xmlns="http://schemas.microsoft.com/sharepoint/v3">
      <UserInfo>
        <DisplayName/>
        <AccountId xsi:nil="true"/>
        <AccountType/>
      </UserInfo>
    </ReportOwner>
    <i1b478372f814787abd313030b81fcb2 xmlns="230e9df3-be65-4c73-a93b-d1236ebd677e">
      <Terms xmlns="http://schemas.microsoft.com/office/infopath/2007/PartnerControls"/>
    </i1b478372f814787abd313030b81fcb2>
    <b4224c12c78d42ea9b214de0badf8358 xmlns="230e9df3-be65-4c73-a93b-d1236ebd677e">
      <Terms xmlns="http://schemas.microsoft.com/office/infopath/2007/PartnerControls"/>
    </b4224c12c78d42ea9b214de0badf8358>
    <TaxCatchAll xmlns="230e9df3-be65-4c73-a93b-d1236ebd677e">
      <Value>73</Value>
      <Value>34</Value>
      <Value>401</Value>
      <Value>30</Value>
      <Value>29</Value>
      <Value>435</Value>
      <Value>26</Value>
      <Value>399</Value>
      <Value>22</Value>
      <Value>21</Value>
      <Value>20</Value>
      <Value>14</Value>
      <Value>82</Value>
      <Value>42</Value>
      <Value>1741</Value>
    </TaxCatchAll>
    <mb88723863e1404388ba3733387d48df xmlns="230e9df3-be65-4c73-a93b-d1236ebd677e">
      <Terms xmlns="http://schemas.microsoft.com/office/infopath/2007/PartnerControls"/>
    </mb88723863e1404388ba3733387d48df>
    <m6c7b4717b6346e6a075a59dd47eac69 xmlns="230e9df3-be65-4c73-a93b-d1236ebd677e">
      <Terms xmlns="http://schemas.microsoft.com/office/infopath/2007/PartnerControls">
        <TermInfo xmlns="http://schemas.microsoft.com/office/infopath/2007/PartnerControls">
          <TermName xmlns="http://schemas.microsoft.com/office/infopath/2007/PartnerControls">hub subset</TermName>
          <TermId xmlns="http://schemas.microsoft.com/office/infopath/2007/PartnerControls">c6bfd112-b986-4a0a-aa8d-90e767bfdfa6</TermId>
        </TermInfo>
        <TermInfo xmlns="http://schemas.microsoft.com/office/infopath/2007/PartnerControls">
          <TermName xmlns="http://schemas.microsoft.com/office/infopath/2007/PartnerControls">features</TermName>
          <TermId xmlns="http://schemas.microsoft.com/office/infopath/2007/PartnerControls">94b87768-f145-4764-adbd-fec700e47348</TermId>
        </TermInfo>
      </Terms>
    </m6c7b4717b6346e6a075a59dd47eac69>
    <kf34bcdc8fc34e479d3f94c6210e8e27 xmlns="230e9df3-be65-4c73-a93b-d1236ebd677e">
      <Terms xmlns="http://schemas.microsoft.com/office/infopath/2007/PartnerControls"/>
    </kf34bcdc8fc34e479d3f94c6210e8e27>
    <GenericText2 xmlns="230e9df3-be65-4c73-a93b-d1236ebd677e">G01KC-1-3614 KC02-23-50139</GenericText2>
    <_dlc_DocId xmlns="230e9df3-be65-4c73-a93b-d1236ebd677e">G01KC-99682991-19577</_dlc_DocId>
    <_dlc_DocIdUrl xmlns="230e9df3-be65-4c73-a93b-d1236ebd677e">
      <Url>https://microsoft.sharepoint.com/sites/Infopedia_G01KC/_layouts/15/DocIdRedir.aspx?ID=G01KC-99682991-19577</Url>
      <Description>G01KC-99682991-19577</Description>
    </_dlc_DocIdUrl>
    <ga0c0bf70a6644469c61b3efa7025301 xmlns="230e9df3-be65-4c73-a93b-d1236ebd677e">
      <Terms xmlns="http://schemas.microsoft.com/office/infopath/2007/PartnerControls"/>
    </ga0c0bf70a6644469c61b3efa7025301>
    <FolderExtensions xmlns="230e9df3-be65-4c73-a93b-d1236ebd677e" xsi:nil="true"/>
    <ParentID1 xmlns="230e9df3-be65-4c73-a93b-d1236ebd677e">G01KC-1-3614</ParentID1>
  </documentManagement>
</p:properties>
</file>

<file path=customXml/item4.xml><?xml version="1.0" encoding="utf-8"?>
<?mso-contentType ?>
<SharedContentType xmlns="Microsoft.SharePoint.Taxonomy.ContentTypeSync" SourceId="e385fb40-52d4-4fae-9c5b-3e8ff8a5878e" ContentTypeId="0x0101000E4CB7077FEE4FF7AE86D4A500EEC780030016C849C62B10EB41ACA8C7EEDEF40BB2" PreviousValue="false"/>
</file>

<file path=customXml/item5.xml><?xml version="1.0" encoding="utf-8"?>
<ct:contentTypeSchema xmlns:ct="http://schemas.microsoft.com/office/2006/metadata/contentType" xmlns:ma="http://schemas.microsoft.com/office/2006/metadata/properties/metaAttributes" ct:_="" ma:_="" ma:contentTypeName="SMSG KM Open Document" ma:contentTypeID="0x0101000E4CB7077FEE4FF7AE86D4A500EEC780030016C849C62B10EB41ACA8C7EEDEF40BB20099ECF64382448D48A56095091C66B1A9" ma:contentTypeVersion="12" ma:contentTypeDescription="" ma:contentTypeScope="" ma:versionID="cab718cc75007fb06ecfcec41a645951">
  <xsd:schema xmlns:xsd="http://www.w3.org/2001/XMLSchema" xmlns:xs="http://www.w3.org/2001/XMLSchema" xmlns:p="http://schemas.microsoft.com/office/2006/metadata/properties" xmlns:ns1="http://schemas.microsoft.com/sharepoint/v3" xmlns:ns2="230e9df3-be65-4c73-a93b-d1236ebd677e" xmlns:ns3="230E9DF3-BE65-4C73-A93B-D1236EBD677E" xmlns:ns4="b3bc04a5-d503-43b1-b98c-a8cf663329d9" targetNamespace="http://schemas.microsoft.com/office/2006/metadata/properties" ma:root="true" ma:fieldsID="f4e592e9555a19ee659e283868ab05a8" ns1:_="" ns2:_="" ns3:_="" ns4:_="">
    <xsd:import namespace="http://schemas.microsoft.com/sharepoint/v3"/>
    <xsd:import namespace="230e9df3-be65-4c73-a93b-d1236ebd677e"/>
    <xsd:import namespace="230E9DF3-BE65-4C73-A93B-D1236EBD677E"/>
    <xsd:import namespace="b3bc04a5-d503-43b1-b98c-a8cf663329d9"/>
    <xsd:element name="properties">
      <xsd:complexType>
        <xsd:sequence>
          <xsd:element name="documentManagement">
            <xsd:complexType>
              <xsd:all>
                <xsd:element ref="ns2:DocumentDescription" minOccurs="0"/>
                <xsd:element ref="ns2:Owner" minOccurs="0"/>
                <xsd:element ref="ns3:PublishDate" minOccurs="0"/>
                <xsd:element ref="ns1:PublishingPageContent" minOccurs="0"/>
                <xsd:element ref="ns2:Thumbnail1" minOccurs="0"/>
                <xsd:element ref="ns1:PublishingExpirationDate" minOccurs="0"/>
                <xsd:element ref="ns3:ApplyWorkflowRules" minOccurs="0"/>
                <xsd:element ref="ns2:ContentID" minOccurs="0"/>
                <xsd:element ref="ns2:Blog_x0020_Name" minOccurs="0"/>
                <xsd:element ref="ns2:Coowner" minOccurs="0"/>
                <xsd:element ref="ns1:RatingCount" minOccurs="0"/>
                <xsd:element ref="ns2:FolderExtensions" minOccurs="0"/>
                <xsd:element ref="ns2:ParentID1" minOccurs="0"/>
                <xsd:element ref="ns2:GenericText2" minOccurs="0"/>
                <xsd:element ref="ns2:GenericHTML1" minOccurs="0"/>
                <xsd:element ref="ns1:AverageRating" minOccurs="0"/>
                <xsd:element ref="ns2:bf80e81150e248c48aa8cffdf0021a1f" minOccurs="0"/>
                <xsd:element ref="ns2:od9986d31974458fb3007746ec0bce5f" minOccurs="0"/>
                <xsd:element ref="ns2:k21a64daf20d4502b2796a1c6b8ce6c8" minOccurs="0"/>
                <xsd:element ref="ns2:ef109fd36bcf4bcd9dd945731030600b" minOccurs="0"/>
                <xsd:element ref="ns2:hd9637eefc984b85b6097c6374e15725" minOccurs="0"/>
                <xsd:element ref="ns2:ga0c0bf70a6644469c61b3efa7025301" minOccurs="0"/>
                <xsd:element ref="ns2:i1b478372f814787abd313030b81fcb2" minOccurs="0"/>
                <xsd:element ref="ns2:i0d941ee1e744ffea7aeee9924c91cbb" minOccurs="0"/>
                <xsd:element ref="ns2:m6d26e40ac264097a006193f92232ece" minOccurs="0"/>
                <xsd:element ref="ns2:kf34bcdc8fc34e479d3f94c6210e8e27" minOccurs="0"/>
                <xsd:element ref="ns2:mb88723863e1404388ba3733387d48df" minOccurs="0"/>
                <xsd:element ref="ns2:TaxCatchAll" minOccurs="0"/>
                <xsd:element ref="ns2:k20e0dfa74bf4e44818db03027b0ccd8" minOccurs="0"/>
                <xsd:element ref="ns2:l3c3ea61849e4288a8acc49bb5388e8c" minOccurs="0"/>
                <xsd:element ref="ns2:ec5b2ad5c27b45fb8a00a1f27c7ce1ae" minOccurs="0"/>
                <xsd:element ref="ns2:TaxCatchAllLabel" minOccurs="0"/>
                <xsd:element ref="ns2:b60f8d2dbb984f349d80d8196897f4d3" minOccurs="0"/>
                <xsd:element ref="ns2:TaxKeywordTaxHTField" minOccurs="0"/>
                <xsd:element ref="ns2:m6c7b4717b6346e6a075a59dd47eac69" minOccurs="0"/>
                <xsd:element ref="ns2:ConfidentialityTaxHTField0" minOccurs="0"/>
                <xsd:element ref="ns2:b4224c12c78d42ea9b214de0badf8358" minOccurs="0"/>
                <xsd:element ref="ns2:_dlc_DocId" minOccurs="0"/>
                <xsd:element ref="ns1:RoutingRuleDescription" minOccurs="0"/>
                <xsd:element ref="ns1:ReportOwner" minOccurs="0"/>
                <xsd:element ref="ns2:_dlc_DocIdUrl" minOccurs="0"/>
                <xsd:element ref="ns2:_dlc_DocIdPersistId" minOccurs="0"/>
                <xsd:element ref="ns2:eb54ac91059940029a3cc8a4ff5af673" minOccurs="0"/>
                <xsd:element ref="ns4:MediaServiceDateTaken" minOccurs="0"/>
                <xsd:element ref="ns4:MediaServiceAutoTag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PublishingPageContent" ma:index="8" nillable="true" ma:displayName="Page Content" ma:description="Page Content is a site column created by the Publishing feature. It is used on the Article Page Content Type as the content of the page." ma:internalName="PublishingPageContent">
      <xsd:simpleType>
        <xsd:restriction base="dms:Unknown"/>
      </xsd:simpleType>
    </xsd:element>
    <xsd:element name="PublishingExpirationDate" ma:index="13" nillable="true" ma:displayName="Scheduling End Date" ma:description="Scheduling End Date is a site column created by the Publishing feature. It is used to specify the date and time on which this page will no longer appear to site visitors." ma:internalName="PublishingExpirationDate">
      <xsd:simpleType>
        <xsd:restriction base="dms:Unknown"/>
      </xsd:simpleType>
    </xsd:element>
    <xsd:element name="RatingCount" ma:index="31" nillable="true" ma:displayName="Number of Ratings" ma:decimals="0" ma:description="Number of ratings submitted" ma:internalName="RatingCount" ma:readOnly="true">
      <xsd:simpleType>
        <xsd:restriction base="dms:Number"/>
      </xsd:simpleType>
    </xsd:element>
    <xsd:element name="AverageRating" ma:index="38" nillable="true" ma:displayName="Rating (0-5)" ma:decimals="2" ma:description="Average value of all the ratings that have been submitted" ma:internalName="AverageRating" ma:readOnly="true">
      <xsd:simpleType>
        <xsd:restriction base="dms:Number"/>
      </xsd:simpleType>
    </xsd:element>
    <xsd:element name="RoutingRuleDescription" ma:index="67" nillable="true" ma:displayName="Description" ma:description="" ma:hidden="true" ma:internalName="RoutingRuleDescription" ma:readOnly="false">
      <xsd:simpleType>
        <xsd:restriction base="dms:Text">
          <xsd:maxLength value="255"/>
        </xsd:restriction>
      </xsd:simpleType>
    </xsd:element>
    <xsd:element name="ReportOwner" ma:index="68" nillable="true" ma:displayName="Owner (People and Groups)" ma:description="Owner of this document" ma:hidden="true" ma:list="UserInfo" ma:SearchPeopleOnly="false" ma:SharePointGroup="0" ma:internalName="ReportOwner" ma:readOnly="false"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DocumentDescription" ma:index="2" nillable="true" ma:displayName="Document Description" ma:description="Alternate description for documents that can be used for display." ma:internalName="DocumentDescription">
      <xsd:simpleType>
        <xsd:restriction base="dms:Note">
          <xsd:maxLength value="255"/>
        </xsd:restriction>
      </xsd:simpleType>
    </xsd:element>
    <xsd:element name="Owner" ma:index="3" nillable="true" ma:displayName="Owner" ma:list="UserInfo" ma:SharePointGroup="0" ma:internalName="Owner" ma:readOnly="false"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Thumbnail1" ma:index="9" nillable="true" ma:displayName="Thumbnail" ma:format="Hyperlink" ma:internalName="Thumbnail1" ma:readOnly="false">
      <xsd:complexType>
        <xsd:complexContent>
          <xsd:extension base="dms:URL">
            <xsd:sequence>
              <xsd:element name="Url" type="dms:ValidUrl" minOccurs="0" nillable="true"/>
              <xsd:element name="Description" type="xsd:string" nillable="true"/>
            </xsd:sequence>
          </xsd:extension>
        </xsd:complexContent>
      </xsd:complexType>
    </xsd:element>
    <xsd:element name="ContentID" ma:index="15" nillable="true" ma:displayName="ContentID" ma:indexed="true" ma:internalName="ContentID" ma:readOnly="false">
      <xsd:simpleType>
        <xsd:restriction base="dms:Text">
          <xsd:maxLength value="255"/>
        </xsd:restriction>
      </xsd:simpleType>
    </xsd:element>
    <xsd:element name="Blog_x0020_Name" ma:index="16" nillable="true" ma:displayName="Blog Name" ma:description="Title of an Infopedia Blog" ma:internalName="Blog_x0020_Name">
      <xsd:simpleType>
        <xsd:restriction base="dms:Text">
          <xsd:maxLength value="255"/>
        </xsd:restriction>
      </xsd:simpleType>
    </xsd:element>
    <xsd:element name="Coowner" ma:index="22" nillable="true" ma:displayName="Co-owner" ma:list="UserInfo" ma:SearchPeopleOnly="false" ma:SharePointGroup="0" ma:internalName="Coowner" ma:showField="Nam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FolderExtensions" ma:index="34" nillable="true" ma:displayName="Folder Extensions" ma:description="On-DocSet sub folder to support inactive documents views." ma:internalName="FolderExtensions">
      <xsd:simpleType>
        <xsd:restriction base="dms:Unknown"/>
      </xsd:simpleType>
    </xsd:element>
    <xsd:element name="ParentID1" ma:index="35" nillable="true" ma:displayName="ParentID" ma:description="Used to maintain the parent-child relationship within Document Set and Documents" ma:indexed="true" ma:internalName="ParentID1">
      <xsd:simpleType>
        <xsd:restriction base="dms:Text">
          <xsd:maxLength value="255"/>
        </xsd:restriction>
      </xsd:simpleType>
    </xsd:element>
    <xsd:element name="GenericText2" ma:index="36" nillable="true" ma:displayName="GenericText2" ma:description="Generic field for future features in implementation" ma:indexed="true" ma:internalName="GenericText2">
      <xsd:simpleType>
        <xsd:restriction base="dms:Text">
          <xsd:maxLength value="255"/>
        </xsd:restriction>
      </xsd:simpleType>
    </xsd:element>
    <xsd:element name="GenericHTML1" ma:index="37" nillable="true" ma:displayName="GenericHTML1" ma:description="Generic field for future features in implementation" ma:internalName="GenericHTML1">
      <xsd:simpleType>
        <xsd:restriction base="dms:Unknown"/>
      </xsd:simpleType>
    </xsd:element>
    <xsd:element name="bf80e81150e248c48aa8cffdf0021a1f" ma:index="39" nillable="true" ma:taxonomy="true" ma:internalName="bf80e81150e248c48aa8cffdf0021a1f" ma:taxonomyFieldName="Products" ma:displayName="SMSG Products &amp; Technologies" ma:default="" ma:fieldId="{bf80e811-50e2-48c4-8aa8-cffdf0021a1f}" ma:taxonomyMulti="true" ma:sspId="e385fb40-52d4-4fae-9c5b-3e8ff8a5878e" ma:termSetId="a611a704-4666-406e-a571-a6e9bb4a2dcc" ma:anchorId="f7bdd4ba-8e81-43d6-a504-860f505d5c97" ma:open="false" ma:isKeyword="false">
      <xsd:complexType>
        <xsd:sequence>
          <xsd:element ref="pc:Terms" minOccurs="0" maxOccurs="1"/>
        </xsd:sequence>
      </xsd:complexType>
    </xsd:element>
    <xsd:element name="od9986d31974458fb3007746ec0bce5f" ma:index="40" nillable="true" ma:taxonomy="true" ma:internalName="od9986d31974458fb3007746ec0bce5f" ma:taxonomyFieldName="Languages" ma:displayName="SMSG Languages" ma:default="" ma:fieldId="{8d9986d3-1974-458f-b300-7746ec0bce5f}" ma:taxonomyMulti="true" ma:sspId="e385fb40-52d4-4fae-9c5b-3e8ff8a5878e" ma:termSetId="a611a704-4666-406e-a571-a6e9bb4a2dcc" ma:anchorId="c5f267fd-fa38-4ffe-a1d8-2693d87e90bc" ma:open="false" ma:isKeyword="false">
      <xsd:complexType>
        <xsd:sequence>
          <xsd:element ref="pc:Terms" minOccurs="0" maxOccurs="1"/>
        </xsd:sequence>
      </xsd:complexType>
    </xsd:element>
    <xsd:element name="k21a64daf20d4502b2796a1c6b8ce6c8" ma:index="41" nillable="true" ma:taxonomy="true" ma:internalName="k21a64daf20d4502b2796a1c6b8ce6c8" ma:taxonomyFieldName="Industries" ma:displayName="SMSG Industries" ma:default="" ma:fieldId="{421a64da-f20d-4502-b279-6a1c6b8ce6c8}" ma:taxonomyMulti="true" ma:sspId="e385fb40-52d4-4fae-9c5b-3e8ff8a5878e" ma:termSetId="a611a704-4666-406e-a571-a6e9bb4a2dcc" ma:anchorId="322da17f-7441-43de-8ac8-ca7d62aec02b" ma:open="false" ma:isKeyword="false">
      <xsd:complexType>
        <xsd:sequence>
          <xsd:element ref="pc:Terms" minOccurs="0" maxOccurs="1"/>
        </xsd:sequence>
      </xsd:complexType>
    </xsd:element>
    <xsd:element name="ef109fd36bcf4bcd9dd945731030600b" ma:index="43" nillable="true" ma:taxonomy="true" ma:internalName="ef109fd36bcf4bcd9dd945731030600b" ma:taxonomyFieldName="Region" ma:displayName="SMSG Region" ma:default="" ma:fieldId="{ef109fd3-6bcf-4bcd-9dd9-45731030600b}" ma:taxonomyMulti="true" ma:sspId="e385fb40-52d4-4fae-9c5b-3e8ff8a5878e" ma:termSetId="a611a704-4666-406e-a571-a6e9bb4a2dcc" ma:anchorId="c5404caa-7d82-41c6-82c2-0230c1d96864" ma:open="false" ma:isKeyword="false">
      <xsd:complexType>
        <xsd:sequence>
          <xsd:element ref="pc:Terms" minOccurs="0" maxOccurs="1"/>
        </xsd:sequence>
      </xsd:complexType>
    </xsd:element>
    <xsd:element name="hd9637eefc984b85b6097c6374e15725" ma:index="44" nillable="true" ma:taxonomy="true" ma:internalName="hd9637eefc984b85b6097c6374e15725" ma:taxonomyFieldName="ItemType" ma:displayName="SMSG Item Type" ma:default="" ma:fieldId="{1d9637ee-fc98-4b85-b609-7c6374e15725}" ma:taxonomyMulti="true" ma:sspId="e385fb40-52d4-4fae-9c5b-3e8ff8a5878e" ma:termSetId="a611a704-4666-406e-a571-a6e9bb4a2dcc" ma:anchorId="3d59bf14-be35-4b82-81a4-70bbe2a90cc2" ma:open="false" ma:isKeyword="false">
      <xsd:complexType>
        <xsd:sequence>
          <xsd:element ref="pc:Terms" minOccurs="0" maxOccurs="1"/>
        </xsd:sequence>
      </xsd:complexType>
    </xsd:element>
    <xsd:element name="ga0c0bf70a6644469c61b3efa7025301" ma:index="45" nillable="true" ma:taxonomy="true" ma:internalName="ga0c0bf70a6644469c61b3efa7025301" ma:taxonomyFieldName="ExperienceContentType" ma:displayName="Experience Content Type" ma:default="" ma:fieldId="{0a0c0bf7-0a66-4446-9c61-b3efa7025301}" ma:sspId="e385fb40-52d4-4fae-9c5b-3e8ff8a5878e" ma:termSetId="5ebd4bde-7300-4f6f-8671-0d8e806c9260" ma:anchorId="f79c226e-0a27-41a1-99b5-91ff9ea65615" ma:open="false" ma:isKeyword="false">
      <xsd:complexType>
        <xsd:sequence>
          <xsd:element ref="pc:Terms" minOccurs="0" maxOccurs="1"/>
        </xsd:sequence>
      </xsd:complexType>
    </xsd:element>
    <xsd:element name="i1b478372f814787abd313030b81fcb2" ma:index="47" nillable="true" ma:taxonomy="true" ma:internalName="i1b478372f814787abd313030b81fcb2" ma:taxonomyFieldName="ActivitiesAndPrograms" ma:displayName="SMSG Activities &amp; Programs" ma:default="" ma:fieldId="{21b47837-2f81-4787-abd3-13030b81fcb2}" ma:taxonomyMulti="true" ma:sspId="e385fb40-52d4-4fae-9c5b-3e8ff8a5878e" ma:termSetId="d039009f-2da8-468b-bf5e-ff4693a9f72f" ma:anchorId="846d39ff-6475-4006-99df-de42970d666e" ma:open="false" ma:isKeyword="false">
      <xsd:complexType>
        <xsd:sequence>
          <xsd:element ref="pc:Terms" minOccurs="0" maxOccurs="1"/>
        </xsd:sequence>
      </xsd:complexType>
    </xsd:element>
    <xsd:element name="i0d941ee1e744ffea7aeee9924c91cbb" ma:index="49" nillable="true" ma:taxonomy="true" ma:internalName="i0d941ee1e744ffea7aeee9924c91cbb" ma:taxonomyFieldName="BusinessArchitecture" ma:displayName="SMSG Business Architecture" ma:default="" ma:fieldId="{20d941ee-1e74-4ffe-a7ae-ee9924c91cbb}" ma:taxonomyMulti="true" ma:sspId="e385fb40-52d4-4fae-9c5b-3e8ff8a5878e" ma:termSetId="d039009f-2da8-468b-bf5e-ff4693a9f72f" ma:anchorId="1951c1e0-4cc7-414f-a435-7369277bc757" ma:open="false" ma:isKeyword="false">
      <xsd:complexType>
        <xsd:sequence>
          <xsd:element ref="pc:Terms" minOccurs="0" maxOccurs="1"/>
        </xsd:sequence>
      </xsd:complexType>
    </xsd:element>
    <xsd:element name="m6d26e40ac264097a006193f92232ece" ma:index="50" nillable="true" ma:taxonomy="true" ma:internalName="m6d26e40ac264097a006193f92232ece" ma:taxonomyFieldName="TechnicalLevel" ma:displayName="Technical Level" ma:default="" ma:fieldId="{66d26e40-ac26-4097-a006-193f92232ece}" ma:sspId="e385fb40-52d4-4fae-9c5b-3e8ff8a5878e" ma:termSetId="7123edbd-7265-47b9-9049-04e46d245d8e" ma:anchorId="3c636e1e-6390-429f-a144-68438d32bffe" ma:open="false" ma:isKeyword="false">
      <xsd:complexType>
        <xsd:sequence>
          <xsd:element ref="pc:Terms" minOccurs="0" maxOccurs="1"/>
        </xsd:sequence>
      </xsd:complexType>
    </xsd:element>
    <xsd:element name="kf34bcdc8fc34e479d3f94c6210e8e27" ma:index="51" nillable="true" ma:taxonomy="true" ma:internalName="kf34bcdc8fc34e479d3f94c6210e8e27" ma:taxonomyFieldName="Competitors" ma:displayName="SMSG Competition" ma:default="" ma:fieldId="{4f34bcdc-8fc3-4e47-9d3f-94c6210e8e27}" ma:taxonomyMulti="true" ma:sspId="e385fb40-52d4-4fae-9c5b-3e8ff8a5878e" ma:termSetId="a611a704-4666-406e-a571-a6e9bb4a2dcc" ma:anchorId="718f8fd0-b740-48bc-92ad-5700213c04b2" ma:open="false" ma:isKeyword="false">
      <xsd:complexType>
        <xsd:sequence>
          <xsd:element ref="pc:Terms" minOccurs="0" maxOccurs="1"/>
        </xsd:sequence>
      </xsd:complexType>
    </xsd:element>
    <xsd:element name="mb88723863e1404388ba3733387d48df" ma:index="53" nillable="true" ma:taxonomy="true" ma:internalName="mb88723863e1404388ba3733387d48df" ma:taxonomyFieldName="Audiences" ma:displayName="SMSG Customer Audiences" ma:default="" ma:fieldId="{6b887238-63e1-4043-88ba-3733387d48df}" ma:taxonomyMulti="true" ma:sspId="e385fb40-52d4-4fae-9c5b-3e8ff8a5878e" ma:termSetId="a611a704-4666-406e-a571-a6e9bb4a2dcc" ma:anchorId="8a0280e9-c6e8-4e3c-80d6-8db643b96ddd" ma:open="false" ma:isKeyword="false">
      <xsd:complexType>
        <xsd:sequence>
          <xsd:element ref="pc:Terms" minOccurs="0" maxOccurs="1"/>
        </xsd:sequence>
      </xsd:complexType>
    </xsd:element>
    <xsd:element name="TaxCatchAll" ma:index="54" nillable="true" ma:displayName="Taxonomy Catch All Column" ma:description="" ma:hidden="true" ma:list="{8e3d5b1f-74bf-4cd5-90f8-860d03c4e4d4}" ma:internalName="TaxCatchAll" ma:showField="CatchAllData" ma:web="2478d1b8-79bf-461f-b8e8-704d21601f1a">
      <xsd:complexType>
        <xsd:complexContent>
          <xsd:extension base="dms:MultiChoiceLookup">
            <xsd:sequence>
              <xsd:element name="Value" type="dms:Lookup" maxOccurs="unbounded" minOccurs="0" nillable="true"/>
            </xsd:sequence>
          </xsd:extension>
        </xsd:complexContent>
      </xsd:complexType>
    </xsd:element>
    <xsd:element name="k20e0dfa74bf4e44818db03027b0ccd8" ma:index="55" nillable="true" ma:taxonomy="true" ma:internalName="k20e0dfa74bf4e44818db03027b0ccd8" ma:taxonomyFieldName="Segments" ma:displayName="SMSG Customer Segments" ma:default="" ma:fieldId="{420e0dfa-74bf-4e44-818d-b03027b0ccd8}" ma:taxonomyMulti="true" ma:sspId="e385fb40-52d4-4fae-9c5b-3e8ff8a5878e" ma:termSetId="a611a704-4666-406e-a571-a6e9bb4a2dcc" ma:anchorId="dd7a2ee5-7d01-4a82-9346-1eefa47ece8b" ma:open="false" ma:isKeyword="false">
      <xsd:complexType>
        <xsd:sequence>
          <xsd:element ref="pc:Terms" minOccurs="0" maxOccurs="1"/>
        </xsd:sequence>
      </xsd:complexType>
    </xsd:element>
    <xsd:element name="l3c3ea61849e4288a8acc49bb5388e8c" ma:index="57" nillable="true" ma:taxonomy="true" ma:internalName="l3c3ea61849e4288a8acc49bb5388e8c" ma:taxonomyFieldName="Groups" ma:displayName="SMSG Groups" ma:default="" ma:fieldId="{53c3ea61-849e-4288-a8ac-c49bb5388e8c}" ma:taxonomyMulti="true" ma:sspId="e385fb40-52d4-4fae-9c5b-3e8ff8a5878e" ma:termSetId="d039009f-2da8-468b-bf5e-ff4693a9f72f" ma:anchorId="ec38e82f-eddf-4553-aa72-f3bd3c1d5855" ma:open="false" ma:isKeyword="false">
      <xsd:complexType>
        <xsd:sequence>
          <xsd:element ref="pc:Terms" minOccurs="0" maxOccurs="1"/>
        </xsd:sequence>
      </xsd:complexType>
    </xsd:element>
    <xsd:element name="ec5b2ad5c27b45fb8a00a1f27c7ce1ae" ma:index="59" nillable="true" ma:taxonomy="true" ma:internalName="ec5b2ad5c27b45fb8a00a1f27c7ce1ae" ma:taxonomyFieldName="Partners" ma:displayName="SMSG Partners" ma:default="" ma:fieldId="{ec5b2ad5-c27b-45fb-8a00-a1f27c7ce1ae}" ma:taxonomyMulti="true" ma:sspId="e385fb40-52d4-4fae-9c5b-3e8ff8a5878e" ma:termSetId="a611a704-4666-406e-a571-a6e9bb4a2dcc" ma:anchorId="dd1a91fa-3198-4561-9b04-bc737b2a8291" ma:open="false" ma:isKeyword="false">
      <xsd:complexType>
        <xsd:sequence>
          <xsd:element ref="pc:Terms" minOccurs="0" maxOccurs="1"/>
        </xsd:sequence>
      </xsd:complexType>
    </xsd:element>
    <xsd:element name="TaxCatchAllLabel" ma:index="60" nillable="true" ma:displayName="Taxonomy Catch All Column1" ma:description="" ma:hidden="true" ma:list="{8e3d5b1f-74bf-4cd5-90f8-860d03c4e4d4}" ma:internalName="TaxCatchAllLabel" ma:readOnly="true" ma:showField="CatchAllDataLabel" ma:web="2478d1b8-79bf-461f-b8e8-704d21601f1a">
      <xsd:complexType>
        <xsd:complexContent>
          <xsd:extension base="dms:MultiChoiceLookup">
            <xsd:sequence>
              <xsd:element name="Value" type="dms:Lookup" maxOccurs="unbounded" minOccurs="0" nillable="true"/>
            </xsd:sequence>
          </xsd:extension>
        </xsd:complexContent>
      </xsd:complexType>
    </xsd:element>
    <xsd:element name="b60f8d2dbb984f349d80d8196897f4d3" ma:index="61" nillable="true" ma:taxonomy="true" ma:internalName="b60f8d2dbb984f349d80d8196897f4d3" ma:taxonomyFieldName="Roles" ma:displayName="SMSG Roles" ma:default="" ma:fieldId="{b60f8d2d-bb98-4f34-9d80-d8196897f4d3}" ma:taxonomyMulti="true" ma:sspId="e385fb40-52d4-4fae-9c5b-3e8ff8a5878e" ma:termSetId="a611a704-4666-406e-a571-a6e9bb4a2dcc" ma:anchorId="c9a07ef0-4236-4915-97ca-1b3392dac369" ma:open="false" ma:isKeyword="false">
      <xsd:complexType>
        <xsd:sequence>
          <xsd:element ref="pc:Terms" minOccurs="0" maxOccurs="1"/>
        </xsd:sequence>
      </xsd:complexType>
    </xsd:element>
    <xsd:element name="TaxKeywordTaxHTField" ma:index="62" nillable="true" ma:taxonomy="true" ma:internalName="TaxKeywordTaxHTField" ma:taxonomyFieldName="TaxKeyword" ma:displayName="Enterprise Keywords" ma:readOnly="false" ma:fieldId="{23f27201-bee3-471e-b2e7-b64fd8b7ca38}" ma:taxonomyMulti="true" ma:sspId="e385fb40-52d4-4fae-9c5b-3e8ff8a5878e" ma:termSetId="00000000-0000-0000-0000-000000000000" ma:anchorId="00000000-0000-0000-0000-000000000000" ma:open="true" ma:isKeyword="true">
      <xsd:complexType>
        <xsd:sequence>
          <xsd:element ref="pc:Terms" minOccurs="0" maxOccurs="1"/>
        </xsd:sequence>
      </xsd:complexType>
    </xsd:element>
    <xsd:element name="m6c7b4717b6346e6a075a59dd47eac69" ma:index="63" nillable="true" ma:taxonomy="true" ma:internalName="m6c7b4717b6346e6a075a59dd47eac69" ma:taxonomyFieldName="Topics" ma:displayName="SMSG Topics" ma:default="" ma:fieldId="{66c7b471-7b63-46e6-a075-a59dd47eac69}" ma:taxonomyMulti="true" ma:sspId="e385fb40-52d4-4fae-9c5b-3e8ff8a5878e" ma:termSetId="d039009f-2da8-468b-bf5e-ff4693a9f72f" ma:anchorId="ddcce936-3357-448e-8326-e6fdfddfb752" ma:open="false" ma:isKeyword="false">
      <xsd:complexType>
        <xsd:sequence>
          <xsd:element ref="pc:Terms" minOccurs="0" maxOccurs="1"/>
        </xsd:sequence>
      </xsd:complexType>
    </xsd:element>
    <xsd:element name="ConfidentialityTaxHTField0" ma:index="64" ma:taxonomy="true" ma:internalName="ConfidentialityTaxHTField0" ma:taxonomyFieldName="Confidentiality" ma:displayName="Confidentiality" ma:default="5;#Microsoft confidential|461efa83-0283-486a-a8d5-943328f3693f" ma:fieldId="{840a9f3c-1e14-4c21-9dbf-5637765665db}" ma:sspId="e385fb40-52d4-4fae-9c5b-3e8ff8a5878e" ma:termSetId="e0e820dc-7da0-48b9-8472-209c7e82d1d0" ma:anchorId="00000000-0000-0000-0000-000000000000" ma:open="false" ma:isKeyword="false">
      <xsd:complexType>
        <xsd:sequence>
          <xsd:element ref="pc:Terms" minOccurs="0" maxOccurs="1"/>
        </xsd:sequence>
      </xsd:complexType>
    </xsd:element>
    <xsd:element name="b4224c12c78d42ea9b214de0badf8358" ma:index="65" nillable="true" ma:taxonomy="true" ma:internalName="b4224c12c78d42ea9b214de0badf8358" ma:taxonomyFieldName="EnterpriseDomainTags" ma:displayName="EnterpriseDomainTags" ma:default="" ma:fieldId="{b4224c12-c78d-42ea-9b21-4de0badf8358}" ma:taxonomyMulti="true" ma:sspId="e385fb40-52d4-4fae-9c5b-3e8ff8a5878e" ma:termSetId="d039009f-2da8-468b-bf5e-ff4693a9f72f" ma:anchorId="00000000-0000-0000-0000-000000000000" ma:open="false" ma:isKeyword="false">
      <xsd:complexType>
        <xsd:sequence>
          <xsd:element ref="pc:Terms" minOccurs="0" maxOccurs="1"/>
        </xsd:sequence>
      </xsd:complexType>
    </xsd:element>
    <xsd:element name="_dlc_DocId" ma:index="66" nillable="true" ma:displayName="Document ID Value" ma:description="The value of the document ID assigned to this item." ma:indexed="true" ma:internalName="_dlc_DocId" ma:readOnly="true">
      <xsd:simpleType>
        <xsd:restriction base="dms:Text"/>
      </xsd:simpleType>
    </xsd:element>
    <xsd:element name="_dlc_DocIdUrl" ma:index="69"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70" nillable="true" ma:displayName="Persist ID" ma:description="Keep ID on add." ma:hidden="true" ma:internalName="_dlc_DocIdPersistId" ma:readOnly="true">
      <xsd:simpleType>
        <xsd:restriction base="dms:Boolean"/>
      </xsd:simpleType>
    </xsd:element>
    <xsd:element name="eb54ac91059940029a3cc8a4ff5af673" ma:index="71" nillable="true" ma:taxonomy="true" ma:internalName="eb54ac91059940029a3cc8a4ff5af673" ma:taxonomyFieldName="SMSGDomain" ma:displayName="SMSG Domain" ma:default="" ma:fieldId="{eb54ac91-0599-4002-9a3c-c8a4ff5af673}" ma:taxonomyMulti="true" ma:sspId="e385fb40-52d4-4fae-9c5b-3e8ff8a5878e" ma:termSetId="a611a704-4666-406e-a571-a6e9bb4a2dcc" ma:anchorId="dd7a2ee5-7d01-4a82-9346-1eefa47ece8b"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PublishDate" ma:index="4" nillable="true" ma:displayName="PublishDate" ma:description="Used in Blog Posts, this date is used to specify the Blog Article Date." ma:format="DateOnly" ma:internalName="PublishDate">
      <xsd:simpleType>
        <xsd:restriction base="dms:DateTime"/>
      </xsd:simpleType>
    </xsd:element>
    <xsd:element name="ApplyWorkflowRules" ma:index="14" nillable="true" ma:displayName="ApplyWorkflowRules" ma:default="Yes" ma:description="This columns is used to help to apply the workflow rules on Document Sets / Documents. by Default the Value is Yes" ma:format="Dropdown" ma:internalName="ApplyWorkflowRules" ma:readOnly="false">
      <xsd:simpleType>
        <xsd:restriction base="dms:Choice">
          <xsd:enumeration value="Yes"/>
          <xsd:enumeration value="No"/>
        </xsd:restriction>
      </xsd:simpleType>
    </xsd:element>
  </xsd:schema>
  <xsd:schema xmlns:xsd="http://www.w3.org/2001/XMLSchema" xmlns:xs="http://www.w3.org/2001/XMLSchema" xmlns:dms="http://schemas.microsoft.com/office/2006/documentManagement/types" xmlns:pc="http://schemas.microsoft.com/office/infopath/2007/PartnerControls" targetNamespace="b3bc04a5-d503-43b1-b98c-a8cf663329d9" elementFormDefault="qualified">
    <xsd:import namespace="http://schemas.microsoft.com/office/2006/documentManagement/types"/>
    <xsd:import namespace="http://schemas.microsoft.com/office/infopath/2007/PartnerControls"/>
    <xsd:element name="MediaServiceDateTaken" ma:index="72" nillable="true" ma:displayName="MediaServiceDateTaken" ma:description="" ma:hidden="true" ma:internalName="MediaServiceDateTaken" ma:readOnly="true">
      <xsd:simpleType>
        <xsd:restriction base="dms:Text"/>
      </xsd:simpleType>
    </xsd:element>
    <xsd:element name="MediaServiceAutoTags" ma:index="73" nillable="true" ma:displayName="MediaServiceAutoTags" ma:description="" ma:internalName="MediaServiceAutoTags"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52" ma:displayName="Content Type"/>
        <xsd:element ref="dc:title" minOccurs="0" maxOccurs="1" ma:index="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E8347FFA-2A30-4459-8794-F6854837E1F9}">
  <ds:schemaRefs>
    <ds:schemaRef ds:uri="http://schemas.microsoft.com/sharepoint/v3/contenttype/forms"/>
  </ds:schemaRefs>
</ds:datastoreItem>
</file>

<file path=customXml/itemProps2.xml><?xml version="1.0" encoding="utf-8"?>
<ds:datastoreItem xmlns:ds="http://schemas.openxmlformats.org/officeDocument/2006/customXml" ds:itemID="{9C63B9C7-C57B-4240-8039-93E2BB6DE3DC}">
  <ds:schemaRefs>
    <ds:schemaRef ds:uri="http://schemas.microsoft.com/sharepoint/events"/>
  </ds:schemaRefs>
</ds:datastoreItem>
</file>

<file path=customXml/itemProps3.xml><?xml version="1.0" encoding="utf-8"?>
<ds:datastoreItem xmlns:ds="http://schemas.openxmlformats.org/officeDocument/2006/customXml" ds:itemID="{9A99FE18-AC4A-45FF-A627-0D354561A418}">
  <ds:schemaRefs>
    <ds:schemaRef ds:uri="230E9DF3-BE65-4C73-A93B-D1236EBD677E"/>
    <ds:schemaRef ds:uri="http://schemas.microsoft.com/sharepoint/v3"/>
    <ds:schemaRef ds:uri="http://schemas.microsoft.com/office/2006/documentManagement/types"/>
    <ds:schemaRef ds:uri="http://schemas.microsoft.com/office/2006/metadata/properties"/>
    <ds:schemaRef ds:uri="b3bc04a5-d503-43b1-b98c-a8cf663329d9"/>
    <ds:schemaRef ds:uri="http://purl.org/dc/dcmitype/"/>
    <ds:schemaRef ds:uri="http://schemas.microsoft.com/office/infopath/2007/PartnerControls"/>
    <ds:schemaRef ds:uri="http://purl.org/dc/elements/1.1/"/>
    <ds:schemaRef ds:uri="http://schemas.openxmlformats.org/package/2006/metadata/core-properties"/>
    <ds:schemaRef ds:uri="230e9df3-be65-4c73-a93b-d1236ebd677e"/>
    <ds:schemaRef ds:uri="http://www.w3.org/XML/1998/namespace"/>
    <ds:schemaRef ds:uri="http://purl.org/dc/terms/"/>
  </ds:schemaRefs>
</ds:datastoreItem>
</file>

<file path=customXml/itemProps4.xml><?xml version="1.0" encoding="utf-8"?>
<ds:datastoreItem xmlns:ds="http://schemas.openxmlformats.org/officeDocument/2006/customXml" ds:itemID="{0619AEA7-1D7A-44C7-B286-551C8B08AE80}">
  <ds:schemaRefs>
    <ds:schemaRef ds:uri="Microsoft.SharePoint.Taxonomy.ContentTypeSync"/>
  </ds:schemaRefs>
</ds:datastoreItem>
</file>

<file path=customXml/itemProps5.xml><?xml version="1.0" encoding="utf-8"?>
<ds:datastoreItem xmlns:ds="http://schemas.openxmlformats.org/officeDocument/2006/customXml" ds:itemID="{20726DAE-301E-481E-BA32-07B8079A4AF0}">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230e9df3-be65-4c73-a93b-d1236ebd677e"/>
    <ds:schemaRef ds:uri="230E9DF3-BE65-4C73-A93B-D1236EBD677E"/>
    <ds:schemaRef ds:uri="b3bc04a5-d503-43b1-b98c-a8cf663329d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23743</TotalTime>
  <Words>3100</Words>
  <Application>Microsoft Office PowerPoint</Application>
  <PresentationFormat>Widescreen</PresentationFormat>
  <Paragraphs>695</Paragraphs>
  <Slides>51</Slides>
  <Notes>44</Notes>
  <HiddenSlides>0</HiddenSlides>
  <MMClips>0</MMClips>
  <ScaleCrop>false</ScaleCrop>
  <HeadingPairs>
    <vt:vector size="8" baseType="variant">
      <vt:variant>
        <vt:lpstr>Fonts Used</vt:lpstr>
      </vt:variant>
      <vt:variant>
        <vt:i4>15</vt:i4>
      </vt:variant>
      <vt:variant>
        <vt:lpstr>Theme</vt:lpstr>
      </vt:variant>
      <vt:variant>
        <vt:i4>2</vt:i4>
      </vt:variant>
      <vt:variant>
        <vt:lpstr>Embedded OLE Servers</vt:lpstr>
      </vt:variant>
      <vt:variant>
        <vt:i4>1</vt:i4>
      </vt:variant>
      <vt:variant>
        <vt:lpstr>Slide Titles</vt:lpstr>
      </vt:variant>
      <vt:variant>
        <vt:i4>51</vt:i4>
      </vt:variant>
    </vt:vector>
  </HeadingPairs>
  <TitlesOfParts>
    <vt:vector size="69" baseType="lpstr">
      <vt:lpstr>MS PGothic</vt:lpstr>
      <vt:lpstr>MS PGothic</vt:lpstr>
      <vt:lpstr>Arial</vt:lpstr>
      <vt:lpstr>Arial Unicode MS</vt:lpstr>
      <vt:lpstr>Calibri</vt:lpstr>
      <vt:lpstr>Cambria</vt:lpstr>
      <vt:lpstr>Consolas</vt:lpstr>
      <vt:lpstr>Segoe Light</vt:lpstr>
      <vt:lpstr>Segoe UI</vt:lpstr>
      <vt:lpstr>Segoe UI Black</vt:lpstr>
      <vt:lpstr>Segoe UI Light</vt:lpstr>
      <vt:lpstr>Segoe UI Semibold</vt:lpstr>
      <vt:lpstr>Segoe UI Semilight</vt:lpstr>
      <vt:lpstr>Wingdings</vt:lpstr>
      <vt:lpstr>Wingdings 3</vt:lpstr>
      <vt:lpstr>1_Theme1</vt:lpstr>
      <vt:lpstr>ADLSE_Template</vt:lpstr>
      <vt:lpstr>think-cell Slide</vt:lpstr>
      <vt:lpstr>Azure Data Lake Store Technical overview</vt:lpstr>
      <vt:lpstr>Azure Data Lake as part of Cortana Intelligence Suite</vt:lpstr>
      <vt:lpstr>PowerPoint Presentation</vt:lpstr>
      <vt:lpstr>Why data lakes?</vt:lpstr>
      <vt:lpstr>Traditional business analytics process</vt:lpstr>
      <vt:lpstr>New big data thinking: All data has value</vt:lpstr>
      <vt:lpstr>Data Lake Store: Technical Requirements</vt:lpstr>
      <vt:lpstr>Azure Data Lake Store Overview </vt:lpstr>
      <vt:lpstr>Big Data analytics workloads</vt:lpstr>
      <vt:lpstr>Scale, performance, reliability </vt:lpstr>
      <vt:lpstr>Azure Data Lake Store: no scale limits</vt:lpstr>
      <vt:lpstr>ADL Store Unlimited Scale – How it works</vt:lpstr>
      <vt:lpstr>ADL Store offers massive throughput</vt:lpstr>
      <vt:lpstr>ADL Store: high availability and reliability</vt:lpstr>
      <vt:lpstr>PowerPoint Presentation</vt:lpstr>
      <vt:lpstr>Big Data Flow</vt:lpstr>
      <vt:lpstr>Ingestion tools – Getting started</vt:lpstr>
      <vt:lpstr>Azure Data Factory</vt:lpstr>
      <vt:lpstr>Azure Data Factory  </vt:lpstr>
      <vt:lpstr>Visualizing data</vt:lpstr>
      <vt:lpstr>Customizing using SDKs/APIs</vt:lpstr>
      <vt:lpstr>Building pipelines - Management and orchestration</vt:lpstr>
      <vt:lpstr>Security </vt:lpstr>
      <vt:lpstr>Security features</vt:lpstr>
      <vt:lpstr>ADL Store Security: AAD integration</vt:lpstr>
      <vt:lpstr>Leveraging Azure Active Directory</vt:lpstr>
      <vt:lpstr>ADL Store security: Role-based access </vt:lpstr>
      <vt:lpstr>Granular control of file and folder access</vt:lpstr>
      <vt:lpstr>IP address ACLs</vt:lpstr>
      <vt:lpstr>Encryption of data at rest*</vt:lpstr>
      <vt:lpstr>Audit logs for data access </vt:lpstr>
      <vt:lpstr>ADL Store  Hadoop integration </vt:lpstr>
      <vt:lpstr>ADL Store is HDFS-compatible</vt:lpstr>
      <vt:lpstr>ADL Store: ingress and egress </vt:lpstr>
      <vt:lpstr>ADL Store: Ingress</vt:lpstr>
      <vt:lpstr>ADL Store: Egress</vt:lpstr>
      <vt:lpstr>ADL Store: Azure Portal integration</vt:lpstr>
      <vt:lpstr>Creating a new ADL Store</vt:lpstr>
      <vt:lpstr>ADL Store: Properties</vt:lpstr>
      <vt:lpstr>Viewing Users and their Roles &amp; Privileges</vt:lpstr>
      <vt:lpstr>Adding Users </vt:lpstr>
      <vt:lpstr>File Upload</vt:lpstr>
      <vt:lpstr>File Preview</vt:lpstr>
      <vt:lpstr>App Development – Languages and Tools Azure Data Lake Store supports multiple languages for application development </vt:lpstr>
      <vt:lpstr>Developing scripting applications</vt:lpstr>
      <vt:lpstr>PowerPoint Presentation</vt:lpstr>
      <vt:lpstr>Lambda architecture</vt:lpstr>
      <vt:lpstr>PowerPoint Presentation</vt:lpstr>
      <vt:lpstr>Costs breakdown by stage</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zure Data Lake Store - Technical Overview</dc:title>
  <dc:creator>Nishant Thacker</dc:creator>
  <cp:keywords>Microsoft Azure Data Factory</cp:keywords>
  <cp:lastModifiedBy>Andy Roberts</cp:lastModifiedBy>
  <cp:revision>1088</cp:revision>
  <dcterms:created xsi:type="dcterms:W3CDTF">2015-02-08T05:05:03Z</dcterms:created>
  <dcterms:modified xsi:type="dcterms:W3CDTF">2017-12-07T04:57:5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of67e5d4b76f4a9db8769983fda9cec0">
    <vt:lpwstr/>
  </property>
  <property fmtid="{D5CDD505-2E9C-101B-9397-08002B2CF9AE}" pid="3" name="TaxKeyword">
    <vt:lpwstr>1741;#Microsoft Azure Data Factory|fdd46938-00cb-4956-a9bd-9ee636ecbeaa</vt:lpwstr>
  </property>
  <property fmtid="{D5CDD505-2E9C-101B-9397-08002B2CF9AE}" pid="4" name="NewsType">
    <vt:lpwstr/>
  </property>
  <property fmtid="{D5CDD505-2E9C-101B-9397-08002B2CF9AE}" pid="5" name="_dlc_policyId">
    <vt:lpwstr/>
  </property>
  <property fmtid="{D5CDD505-2E9C-101B-9397-08002B2CF9AE}" pid="6" name="Region">
    <vt:lpwstr/>
  </property>
  <property fmtid="{D5CDD505-2E9C-101B-9397-08002B2CF9AE}" pid="7" name="Confidentiality">
    <vt:lpwstr>14;#customer ready|8986c41d-21c5-4f8f-8a12-ea4625b46858</vt:lpwstr>
  </property>
  <property fmtid="{D5CDD505-2E9C-101B-9397-08002B2CF9AE}" pid="8" name="ItemType">
    <vt:lpwstr>435;#technical presentations|83a894cf-702b-47fc-aba5-41bd10dc1e75</vt:lpwstr>
  </property>
  <property fmtid="{D5CDD505-2E9C-101B-9397-08002B2CF9AE}" pid="9" name="ContentTypeId">
    <vt:lpwstr>0x0101000E4CB7077FEE4FF7AE86D4A500EEC780030016C849C62B10EB41ACA8C7EEDEF40BB20099ECF64382448D48A56095091C66B1A9</vt:lpwstr>
  </property>
  <property fmtid="{D5CDD505-2E9C-101B-9397-08002B2CF9AE}" pid="10" name="ga0c0bf70a6644469c61b3efa7025301">
    <vt:lpwstr/>
  </property>
  <property fmtid="{D5CDD505-2E9C-101B-9397-08002B2CF9AE}" pid="11" name="Industries">
    <vt:lpwstr/>
  </property>
  <property fmtid="{D5CDD505-2E9C-101B-9397-08002B2CF9AE}" pid="12" name="MSProducts">
    <vt:lpwstr/>
  </property>
  <property fmtid="{D5CDD505-2E9C-101B-9397-08002B2CF9AE}" pid="13" name="Competitors">
    <vt:lpwstr/>
  </property>
  <property fmtid="{D5CDD505-2E9C-101B-9397-08002B2CF9AE}" pid="14" name="SMSGDomain">
    <vt:lpwstr>22;#Server and Tools Business|6783548d-8609-4f97-be4a-4ca2616905a6;#82;#SQL Server Domain|0c0f1824-39dc-4b26-8c74-eff4364b812b;#21;#Cloud and Enterprise|adc2fe87-c79a-4ded-a449-3f86b954069d;#20;#Microsoft Azure Domain|d600a391-d529-4311-892b-2c05c1ab2538</vt:lpwstr>
  </property>
  <property fmtid="{D5CDD505-2E9C-101B-9397-08002B2CF9AE}" pid="15" name="ExperienceContentType">
    <vt:lpwstr/>
  </property>
  <property fmtid="{D5CDD505-2E9C-101B-9397-08002B2CF9AE}" pid="16" name="BusinessArchitecture">
    <vt:lpwstr>401;#modern data warehouses|73a3f3c0-b1f4-4059-b3f7-d568167cd895</vt:lpwstr>
  </property>
  <property fmtid="{D5CDD505-2E9C-101B-9397-08002B2CF9AE}" pid="17" name="Products">
    <vt:lpwstr>73;#Microsoft SQL Server|261ba873-f3ab-420e-96d6-e3004596a551;#26;#Microsoft Azure|669a3112-5edf-444b-a003-630063601f07</vt:lpwstr>
  </property>
  <property fmtid="{D5CDD505-2E9C-101B-9397-08002B2CF9AE}" pid="18" name="_dlc_DocIdItemGuid">
    <vt:lpwstr>c1a11286-4480-4a42-90aa-0bca3a91581d</vt:lpwstr>
  </property>
  <property fmtid="{D5CDD505-2E9C-101B-9397-08002B2CF9AE}" pid="19" name="MSPhysicalGeography">
    <vt:lpwstr/>
  </property>
  <property fmtid="{D5CDD505-2E9C-101B-9397-08002B2CF9AE}" pid="20" name="j3562c58ee414e028925bc902cfc01a1">
    <vt:lpwstr/>
  </property>
  <property fmtid="{D5CDD505-2E9C-101B-9397-08002B2CF9AE}" pid="21" name="EnterpriseDomainTags">
    <vt:lpwstr/>
  </property>
  <property fmtid="{D5CDD505-2E9C-101B-9397-08002B2CF9AE}" pid="22" name="l6f004f21209409da86a713c0f24627d">
    <vt:lpwstr/>
  </property>
  <property fmtid="{D5CDD505-2E9C-101B-9397-08002B2CF9AE}" pid="23" name="Segments">
    <vt:lpwstr/>
  </property>
  <property fmtid="{D5CDD505-2E9C-101B-9397-08002B2CF9AE}" pid="24" name="ActivitiesAndPrograms">
    <vt:lpwstr/>
  </property>
  <property fmtid="{D5CDD505-2E9C-101B-9397-08002B2CF9AE}" pid="25" name="Partners">
    <vt:lpwstr/>
  </property>
  <property fmtid="{D5CDD505-2E9C-101B-9397-08002B2CF9AE}" pid="26" name="la4444b61d19467597d63190b69ac227">
    <vt:lpwstr/>
  </property>
  <property fmtid="{D5CDD505-2E9C-101B-9397-08002B2CF9AE}" pid="27" name="MSProductsTaxHTField0">
    <vt:lpwstr/>
  </property>
  <property fmtid="{D5CDD505-2E9C-101B-9397-08002B2CF9AE}" pid="28" name="Topics">
    <vt:lpwstr>30;#hub subset|c6bfd112-b986-4a0a-aa8d-90e767bfdfa6;#29;#features|94b87768-f145-4764-adbd-fec700e47348</vt:lpwstr>
  </property>
  <property fmtid="{D5CDD505-2E9C-101B-9397-08002B2CF9AE}" pid="29" name="Groups">
    <vt:lpwstr>399;#SQL Server Marketing|bb7921b3-c1d8-4da4-b894-8b6075d9546d;#42;#Cloud and Enterprise Marketing Group|4f75e184-e5aa-4234-a07f-b032d60df254;#34;#Worldwide Readiness|c6595b84-b463-470a-bb46-2a47364645be</vt:lpwstr>
  </property>
  <property fmtid="{D5CDD505-2E9C-101B-9397-08002B2CF9AE}" pid="30" name="Languages">
    <vt:lpwstr/>
  </property>
  <property fmtid="{D5CDD505-2E9C-101B-9397-08002B2CF9AE}" pid="31" name="e8080b0481964c759b2c36ae49591b31">
    <vt:lpwstr/>
  </property>
  <property fmtid="{D5CDD505-2E9C-101B-9397-08002B2CF9AE}" pid="32" name="_docset_NoMedatataSyncRequired">
    <vt:lpwstr>False</vt:lpwstr>
  </property>
  <property fmtid="{D5CDD505-2E9C-101B-9397-08002B2CF9AE}" pid="33" name="TechnicalLevel">
    <vt:lpwstr/>
  </property>
  <property fmtid="{D5CDD505-2E9C-101B-9397-08002B2CF9AE}" pid="34" name="Audiences">
    <vt:lpwstr/>
  </property>
  <property fmtid="{D5CDD505-2E9C-101B-9397-08002B2CF9AE}" pid="35" name="ldac8aee9d1f469e8cd8c3f8d6a615f2">
    <vt:lpwstr/>
  </property>
  <property fmtid="{D5CDD505-2E9C-101B-9397-08002B2CF9AE}" pid="36" name="EmployeeRole">
    <vt:lpwstr/>
  </property>
  <property fmtid="{D5CDD505-2E9C-101B-9397-08002B2CF9AE}" pid="37" name="NewsTopic">
    <vt:lpwstr/>
  </property>
  <property fmtid="{D5CDD505-2E9C-101B-9397-08002B2CF9AE}" pid="38" name="Roles">
    <vt:lpwstr/>
  </property>
  <property fmtid="{D5CDD505-2E9C-101B-9397-08002B2CF9AE}" pid="39" name="ItemRetentionFormula">
    <vt:lpwstr/>
  </property>
  <property fmtid="{D5CDD505-2E9C-101B-9397-08002B2CF9AE}" pid="40" name="NewsSource">
    <vt:lpwstr/>
  </property>
  <property fmtid="{D5CDD505-2E9C-101B-9397-08002B2CF9AE}" pid="41" name="SMSGTags">
    <vt:lpwstr/>
  </property>
  <property fmtid="{D5CDD505-2E9C-101B-9397-08002B2CF9AE}" pid="42" name="FolderExtensions">
    <vt:lpwstr/>
  </property>
  <property fmtid="{D5CDD505-2E9C-101B-9397-08002B2CF9AE}" pid="43" name="ParentID1">
    <vt:lpwstr>G01KC-1-3614</vt:lpwstr>
  </property>
  <property fmtid="{D5CDD505-2E9C-101B-9397-08002B2CF9AE}" pid="44" name="Update Parent Child Relation(1)0">
    <vt:lpwstr>, </vt:lpwstr>
  </property>
  <property fmtid="{D5CDD505-2E9C-101B-9397-08002B2CF9AE}" pid="45" name="ODSWF1">
    <vt:lpwstr>, </vt:lpwstr>
  </property>
  <property fmtid="{D5CDD505-2E9C-101B-9397-08002B2CF9AE}" pid="46" name="ODSWF(1)0">
    <vt:lpwstr>, </vt:lpwstr>
  </property>
  <property fmtid="{D5CDD505-2E9C-101B-9397-08002B2CF9AE}" pid="47" name="Update Parent Child Relation(1)1">
    <vt:lpwstr>, </vt:lpwstr>
  </property>
  <property fmtid="{D5CDD505-2E9C-101B-9397-08002B2CF9AE}" pid="48" name="ODSWF2">
    <vt:lpwstr>, </vt:lpwstr>
  </property>
  <property fmtid="{D5CDD505-2E9C-101B-9397-08002B2CF9AE}" pid="49" name="ODSWF(1)1">
    <vt:lpwstr>, </vt:lpwstr>
  </property>
  <property fmtid="{D5CDD505-2E9C-101B-9397-08002B2CF9AE}" pid="50" name="_ip_UnifiedCompliancePolicyUIAction">
    <vt:lpwstr/>
  </property>
  <property fmtid="{D5CDD505-2E9C-101B-9397-08002B2CF9AE}" pid="51" name="_ip_UnifiedCompliancePolicyProperties">
    <vt:lpwstr/>
  </property>
  <property fmtid="{D5CDD505-2E9C-101B-9397-08002B2CF9AE}" pid="52" name="ODSWF2(1)">
    <vt:lpwstr>, </vt:lpwstr>
  </property>
  <property fmtid="{D5CDD505-2E9C-101B-9397-08002B2CF9AE}" pid="53" name="ODSWF2(1)0">
    <vt:lpwstr>, </vt:lpwstr>
  </property>
  <property fmtid="{D5CDD505-2E9C-101B-9397-08002B2CF9AE}" pid="54" name="ODSWF(1)">
    <vt:lpwstr>, </vt:lpwstr>
  </property>
</Properties>
</file>